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7" r:id="rId1"/>
    <p:sldMasterId id="2147483691" r:id="rId2"/>
    <p:sldMasterId id="2147483721" r:id="rId3"/>
    <p:sldMasterId id="2147483724" r:id="rId4"/>
  </p:sldMasterIdLst>
  <p:notesMasterIdLst>
    <p:notesMasterId r:id="rId66"/>
  </p:notesMasterIdLst>
  <p:sldIdLst>
    <p:sldId id="293" r:id="rId5"/>
    <p:sldId id="292" r:id="rId6"/>
    <p:sldId id="294" r:id="rId7"/>
    <p:sldId id="295" r:id="rId8"/>
    <p:sldId id="296" r:id="rId9"/>
    <p:sldId id="302" r:id="rId10"/>
    <p:sldId id="298" r:id="rId11"/>
    <p:sldId id="299" r:id="rId12"/>
    <p:sldId id="300" r:id="rId13"/>
    <p:sldId id="301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  <p:sldId id="312" r:id="rId24"/>
    <p:sldId id="313" r:id="rId25"/>
    <p:sldId id="314" r:id="rId26"/>
    <p:sldId id="315" r:id="rId27"/>
    <p:sldId id="393" r:id="rId28"/>
    <p:sldId id="316" r:id="rId29"/>
    <p:sldId id="317" r:id="rId30"/>
    <p:sldId id="318" r:id="rId31"/>
    <p:sldId id="319" r:id="rId32"/>
    <p:sldId id="320" r:id="rId33"/>
    <p:sldId id="321" r:id="rId34"/>
    <p:sldId id="322" r:id="rId35"/>
    <p:sldId id="323" r:id="rId36"/>
    <p:sldId id="272" r:id="rId37"/>
    <p:sldId id="273" r:id="rId38"/>
    <p:sldId id="274" r:id="rId39"/>
    <p:sldId id="275" r:id="rId40"/>
    <p:sldId id="276" r:id="rId41"/>
    <p:sldId id="277" r:id="rId42"/>
    <p:sldId id="278" r:id="rId43"/>
    <p:sldId id="279" r:id="rId44"/>
    <p:sldId id="280" r:id="rId45"/>
    <p:sldId id="281" r:id="rId46"/>
    <p:sldId id="397" r:id="rId47"/>
    <p:sldId id="284" r:id="rId48"/>
    <p:sldId id="283" r:id="rId49"/>
    <p:sldId id="288" r:id="rId50"/>
    <p:sldId id="324" r:id="rId51"/>
    <p:sldId id="325" r:id="rId52"/>
    <p:sldId id="333" r:id="rId53"/>
    <p:sldId id="326" r:id="rId54"/>
    <p:sldId id="327" r:id="rId55"/>
    <p:sldId id="328" r:id="rId56"/>
    <p:sldId id="285" r:id="rId57"/>
    <p:sldId id="286" r:id="rId58"/>
    <p:sldId id="287" r:id="rId59"/>
    <p:sldId id="396" r:id="rId60"/>
    <p:sldId id="257" r:id="rId61"/>
    <p:sldId id="258" r:id="rId62"/>
    <p:sldId id="329" r:id="rId63"/>
    <p:sldId id="330" r:id="rId64"/>
    <p:sldId id="331" r:id="rId65"/>
  </p:sldIdLst>
  <p:sldSz cx="12192000" cy="6858000"/>
  <p:notesSz cx="6858000" cy="9144000"/>
  <p:embeddedFontLst>
    <p:embeddedFont>
      <p:font typeface="맑은 고딕" panose="020B0503020000020004" pitchFamily="50" charset="-127"/>
      <p:regular r:id="rId67"/>
      <p:bold r:id="rId68"/>
    </p:embeddedFont>
    <p:embeddedFont>
      <p:font typeface="Calibri" panose="020F0502020204030204" pitchFamily="34" charset="0"/>
      <p:regular r:id="rId69"/>
      <p:bold r:id="rId70"/>
      <p:italic r:id="rId71"/>
      <p:boldItalic r:id="rId72"/>
    </p:embeddedFont>
    <p:embeddedFont>
      <p:font typeface="Arial Unicode MS" panose="020B0604020202020204" pitchFamily="50" charset="-127"/>
      <p:regular r:id="rId73"/>
    </p:embeddedFont>
    <p:embeddedFont>
      <p:font typeface="Segoe UI Light" panose="020B0502040204020203" pitchFamily="34" charset="0"/>
      <p:regular r:id="rId74"/>
      <p:italic r:id="rId75"/>
    </p:embeddedFont>
    <p:embeddedFont>
      <p:font typeface="Segoe UI" panose="020B0502040204020203" pitchFamily="34" charset="0"/>
      <p:regular r:id="rId76"/>
      <p:bold r:id="rId77"/>
      <p:italic r:id="rId78"/>
      <p:boldItalic r:id="rId79"/>
    </p:embeddedFont>
    <p:embeddedFont>
      <p:font typeface="08서울남산체 B" panose="02020603020101020101" pitchFamily="18" charset="-127"/>
      <p:regular r:id="rId80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BE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29" autoAdjust="0"/>
    <p:restoredTop sz="94660"/>
  </p:normalViewPr>
  <p:slideViewPr>
    <p:cSldViewPr snapToGrid="0">
      <p:cViewPr varScale="1">
        <p:scale>
          <a:sx n="83" d="100"/>
          <a:sy n="83" d="100"/>
        </p:scale>
        <p:origin x="10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font" Target="fonts/font2.fntdata"/><Relationship Id="rId76" Type="http://schemas.openxmlformats.org/officeDocument/2006/relationships/font" Target="fonts/font10.fntdata"/><Relationship Id="rId84" Type="http://schemas.openxmlformats.org/officeDocument/2006/relationships/tableStyles" Target="tableStyles.xml"/><Relationship Id="rId7" Type="http://schemas.openxmlformats.org/officeDocument/2006/relationships/slide" Target="slides/slide3.xml"/><Relationship Id="rId71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notesMaster" Target="notesMasters/notesMaster1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viewProps" Target="viewProps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font" Target="fonts/font3.fntdata"/><Relationship Id="rId77" Type="http://schemas.openxmlformats.org/officeDocument/2006/relationships/font" Target="fonts/font11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6.fntdata"/><Relationship Id="rId80" Type="http://schemas.openxmlformats.org/officeDocument/2006/relationships/font" Target="fonts/font1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1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83" Type="http://schemas.openxmlformats.org/officeDocument/2006/relationships/theme" Target="theme/theme1.xml"/><Relationship Id="rId88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759262a56f62bf4e" providerId="LiveId" clId="{106CBB55-D58E-41B4-9B71-C6E859B4AB24}"/>
    <pc:docChg chg="undo custSel addSld modSld sldOrd">
      <pc:chgData name="" userId="759262a56f62bf4e" providerId="LiveId" clId="{106CBB55-D58E-41B4-9B71-C6E859B4AB24}" dt="2020-11-10T03:27:46.640" v="986"/>
      <pc:docMkLst>
        <pc:docMk/>
      </pc:docMkLst>
      <pc:sldChg chg="add">
        <pc:chgData name="" userId="759262a56f62bf4e" providerId="LiveId" clId="{106CBB55-D58E-41B4-9B71-C6E859B4AB24}" dt="2020-11-10T03:27:45.889" v="985"/>
        <pc:sldMkLst>
          <pc:docMk/>
          <pc:sldMk cId="3191147130" sldId="257"/>
        </pc:sldMkLst>
      </pc:sldChg>
      <pc:sldChg chg="add">
        <pc:chgData name="" userId="759262a56f62bf4e" providerId="LiveId" clId="{106CBB55-D58E-41B4-9B71-C6E859B4AB24}" dt="2020-11-10T03:27:46.640" v="986"/>
        <pc:sldMkLst>
          <pc:docMk/>
          <pc:sldMk cId="546680563" sldId="258"/>
        </pc:sldMkLst>
      </pc:sldChg>
      <pc:sldChg chg="modSp">
        <pc:chgData name="" userId="759262a56f62bf4e" providerId="LiveId" clId="{106CBB55-D58E-41B4-9B71-C6E859B4AB24}" dt="2020-11-09T19:11:42.091" v="305" actId="20577"/>
        <pc:sldMkLst>
          <pc:docMk/>
          <pc:sldMk cId="489763419" sldId="294"/>
        </pc:sldMkLst>
        <pc:spChg chg="mod">
          <ac:chgData name="" userId="759262a56f62bf4e" providerId="LiveId" clId="{106CBB55-D58E-41B4-9B71-C6E859B4AB24}" dt="2020-11-09T18:56:55.841" v="37" actId="20577"/>
          <ac:spMkLst>
            <pc:docMk/>
            <pc:sldMk cId="489763419" sldId="294"/>
            <ac:spMk id="49" creationId="{27AFECB2-61EE-433E-A4A6-F6420C9D290A}"/>
          </ac:spMkLst>
        </pc:spChg>
        <pc:spChg chg="mod">
          <ac:chgData name="" userId="759262a56f62bf4e" providerId="LiveId" clId="{106CBB55-D58E-41B4-9B71-C6E859B4AB24}" dt="2020-11-09T19:11:42.091" v="305" actId="20577"/>
          <ac:spMkLst>
            <pc:docMk/>
            <pc:sldMk cId="489763419" sldId="294"/>
            <ac:spMk id="52" creationId="{268AF331-F89E-4A80-BE5E-059DA3F977C5}"/>
          </ac:spMkLst>
        </pc:spChg>
        <pc:picChg chg="mod">
          <ac:chgData name="" userId="759262a56f62bf4e" providerId="LiveId" clId="{106CBB55-D58E-41B4-9B71-C6E859B4AB24}" dt="2020-11-09T18:55:34.884" v="13" actId="1038"/>
          <ac:picMkLst>
            <pc:docMk/>
            <pc:sldMk cId="489763419" sldId="294"/>
            <ac:picMk id="3" creationId="{00000000-0000-0000-0000-000000000000}"/>
          </ac:picMkLst>
        </pc:picChg>
      </pc:sldChg>
      <pc:sldChg chg="modSp">
        <pc:chgData name="" userId="759262a56f62bf4e" providerId="LiveId" clId="{106CBB55-D58E-41B4-9B71-C6E859B4AB24}" dt="2020-11-09T18:58:45.189" v="43" actId="1035"/>
        <pc:sldMkLst>
          <pc:docMk/>
          <pc:sldMk cId="1747036318" sldId="295"/>
        </pc:sldMkLst>
        <pc:spChg chg="mod">
          <ac:chgData name="" userId="759262a56f62bf4e" providerId="LiveId" clId="{106CBB55-D58E-41B4-9B71-C6E859B4AB24}" dt="2020-11-09T18:58:45.189" v="43" actId="1035"/>
          <ac:spMkLst>
            <pc:docMk/>
            <pc:sldMk cId="1747036318" sldId="295"/>
            <ac:spMk id="19" creationId="{1EEF13D7-5387-4C21-908F-17FDC29E3292}"/>
          </ac:spMkLst>
        </pc:spChg>
      </pc:sldChg>
      <pc:sldChg chg="modSp">
        <pc:chgData name="" userId="759262a56f62bf4e" providerId="LiveId" clId="{106CBB55-D58E-41B4-9B71-C6E859B4AB24}" dt="2020-11-10T01:21:02.343" v="978" actId="1038"/>
        <pc:sldMkLst>
          <pc:docMk/>
          <pc:sldMk cId="2137729231" sldId="300"/>
        </pc:sldMkLst>
        <pc:spChg chg="mod">
          <ac:chgData name="" userId="759262a56f62bf4e" providerId="LiveId" clId="{106CBB55-D58E-41B4-9B71-C6E859B4AB24}" dt="2020-11-10T01:20:47.180" v="953" actId="1036"/>
          <ac:spMkLst>
            <pc:docMk/>
            <pc:sldMk cId="2137729231" sldId="300"/>
            <ac:spMk id="2" creationId="{00000000-0000-0000-0000-000000000000}"/>
          </ac:spMkLst>
        </pc:spChg>
        <pc:spChg chg="mod">
          <ac:chgData name="" userId="759262a56f62bf4e" providerId="LiveId" clId="{106CBB55-D58E-41B4-9B71-C6E859B4AB24}" dt="2020-11-10T01:21:02.343" v="978" actId="1038"/>
          <ac:spMkLst>
            <pc:docMk/>
            <pc:sldMk cId="2137729231" sldId="300"/>
            <ac:spMk id="9" creationId="{BCF22CFF-449C-457E-AC9F-86D35D0C91EB}"/>
          </ac:spMkLst>
        </pc:spChg>
      </pc:sldChg>
      <pc:sldChg chg="addSp delSp modSp">
        <pc:chgData name="" userId="759262a56f62bf4e" providerId="LiveId" clId="{106CBB55-D58E-41B4-9B71-C6E859B4AB24}" dt="2020-11-10T01:20:21.251" v="925" actId="1036"/>
        <pc:sldMkLst>
          <pc:docMk/>
          <pc:sldMk cId="1455348013" sldId="301"/>
        </pc:sldMkLst>
        <pc:spChg chg="del">
          <ac:chgData name="" userId="759262a56f62bf4e" providerId="LiveId" clId="{106CBB55-D58E-41B4-9B71-C6E859B4AB24}" dt="2020-11-10T01:15:28.501" v="775"/>
          <ac:spMkLst>
            <pc:docMk/>
            <pc:sldMk cId="1455348013" sldId="301"/>
            <ac:spMk id="2" creationId="{00000000-0000-0000-0000-000000000000}"/>
          </ac:spMkLst>
        </pc:spChg>
        <pc:spChg chg="mod">
          <ac:chgData name="" userId="759262a56f62bf4e" providerId="LiveId" clId="{106CBB55-D58E-41B4-9B71-C6E859B4AB24}" dt="2020-11-10T01:20:16.059" v="915" actId="1036"/>
          <ac:spMkLst>
            <pc:docMk/>
            <pc:sldMk cId="1455348013" sldId="301"/>
            <ac:spMk id="3" creationId="{B4EA07FC-CED0-4AF3-A319-75B9D85BEA54}"/>
          </ac:spMkLst>
        </pc:spChg>
        <pc:spChg chg="add del mod">
          <ac:chgData name="" userId="759262a56f62bf4e" providerId="LiveId" clId="{106CBB55-D58E-41B4-9B71-C6E859B4AB24}" dt="2020-11-10T01:15:31.818" v="776" actId="478"/>
          <ac:spMkLst>
            <pc:docMk/>
            <pc:sldMk cId="1455348013" sldId="301"/>
            <ac:spMk id="4" creationId="{32B1488F-F5DA-4791-B3E4-F2E1A7B0DF29}"/>
          </ac:spMkLst>
        </pc:spChg>
        <pc:spChg chg="add del mod">
          <ac:chgData name="" userId="759262a56f62bf4e" providerId="LiveId" clId="{106CBB55-D58E-41B4-9B71-C6E859B4AB24}" dt="2020-11-10T01:19:15.493" v="856" actId="478"/>
          <ac:spMkLst>
            <pc:docMk/>
            <pc:sldMk cId="1455348013" sldId="301"/>
            <ac:spMk id="9" creationId="{AD21B469-6657-4413-A4C6-03F98A69A392}"/>
          </ac:spMkLst>
        </pc:spChg>
        <pc:spChg chg="add del mod">
          <ac:chgData name="" userId="759262a56f62bf4e" providerId="LiveId" clId="{106CBB55-D58E-41B4-9B71-C6E859B4AB24}" dt="2020-11-10T01:20:12.162" v="908" actId="478"/>
          <ac:spMkLst>
            <pc:docMk/>
            <pc:sldMk cId="1455348013" sldId="301"/>
            <ac:spMk id="10" creationId="{AED5CAE7-B47C-4B57-A0F1-79748FEE35CC}"/>
          </ac:spMkLst>
        </pc:spChg>
        <pc:spChg chg="add del">
          <ac:chgData name="" userId="759262a56f62bf4e" providerId="LiveId" clId="{106CBB55-D58E-41B4-9B71-C6E859B4AB24}" dt="2020-11-10T01:19:13.132" v="854"/>
          <ac:spMkLst>
            <pc:docMk/>
            <pc:sldMk cId="1455348013" sldId="301"/>
            <ac:spMk id="34" creationId="{32CDF44E-99DC-4997-B4BE-DD091D586313}"/>
          </ac:spMkLst>
        </pc:spChg>
        <pc:spChg chg="add del">
          <ac:chgData name="" userId="759262a56f62bf4e" providerId="LiveId" clId="{106CBB55-D58E-41B4-9B71-C6E859B4AB24}" dt="2020-11-10T01:19:23.008" v="867"/>
          <ac:spMkLst>
            <pc:docMk/>
            <pc:sldMk cId="1455348013" sldId="301"/>
            <ac:spMk id="35" creationId="{1FEAB5E2-674D-4478-9665-8FCC3193BF31}"/>
          </ac:spMkLst>
        </pc:spChg>
        <pc:spChg chg="add del">
          <ac:chgData name="" userId="759262a56f62bf4e" providerId="LiveId" clId="{106CBB55-D58E-41B4-9B71-C6E859B4AB24}" dt="2020-11-10T01:19:27.232" v="874"/>
          <ac:spMkLst>
            <pc:docMk/>
            <pc:sldMk cId="1455348013" sldId="301"/>
            <ac:spMk id="36" creationId="{49889903-21C0-4D07-8B6B-610CA9519D8F}"/>
          </ac:spMkLst>
        </pc:spChg>
        <pc:spChg chg="add del">
          <ac:chgData name="" userId="759262a56f62bf4e" providerId="LiveId" clId="{106CBB55-D58E-41B4-9B71-C6E859B4AB24}" dt="2020-11-10T01:19:39.781" v="895"/>
          <ac:spMkLst>
            <pc:docMk/>
            <pc:sldMk cId="1455348013" sldId="301"/>
            <ac:spMk id="37" creationId="{460D3157-5291-472E-B8BD-5A3C55ADCA03}"/>
          </ac:spMkLst>
        </pc:spChg>
        <pc:spChg chg="add del">
          <ac:chgData name="" userId="759262a56f62bf4e" providerId="LiveId" clId="{106CBB55-D58E-41B4-9B71-C6E859B4AB24}" dt="2020-11-10T01:19:42.322" v="899"/>
          <ac:spMkLst>
            <pc:docMk/>
            <pc:sldMk cId="1455348013" sldId="301"/>
            <ac:spMk id="38" creationId="{6F8584D5-9237-4AF5-8031-748530BC4B44}"/>
          </ac:spMkLst>
        </pc:spChg>
        <pc:spChg chg="add del">
          <ac:chgData name="" userId="759262a56f62bf4e" providerId="LiveId" clId="{106CBB55-D58E-41B4-9B71-C6E859B4AB24}" dt="2020-11-10T01:20:09.948" v="906"/>
          <ac:spMkLst>
            <pc:docMk/>
            <pc:sldMk cId="1455348013" sldId="301"/>
            <ac:spMk id="39" creationId="{3BE554B1-C44F-4222-9CD7-AE93FCCCAF71}"/>
          </ac:spMkLst>
        </pc:spChg>
        <pc:spChg chg="add mod">
          <ac:chgData name="" userId="759262a56f62bf4e" providerId="LiveId" clId="{106CBB55-D58E-41B4-9B71-C6E859B4AB24}" dt="2020-11-10T01:20:21.251" v="925" actId="1036"/>
          <ac:spMkLst>
            <pc:docMk/>
            <pc:sldMk cId="1455348013" sldId="301"/>
            <ac:spMk id="40" creationId="{CFB1FEB7-D8B4-4637-95AB-F4393EB47FB3}"/>
          </ac:spMkLst>
        </pc:spChg>
      </pc:sldChg>
      <pc:sldChg chg="modSp">
        <pc:chgData name="" userId="759262a56f62bf4e" providerId="LiveId" clId="{106CBB55-D58E-41B4-9B71-C6E859B4AB24}" dt="2020-11-10T01:16:35.668" v="818" actId="1036"/>
        <pc:sldMkLst>
          <pc:docMk/>
          <pc:sldMk cId="2148491775" sldId="303"/>
        </pc:sldMkLst>
        <pc:spChg chg="mod">
          <ac:chgData name="" userId="759262a56f62bf4e" providerId="LiveId" clId="{106CBB55-D58E-41B4-9B71-C6E859B4AB24}" dt="2020-11-10T01:16:35.668" v="818" actId="1036"/>
          <ac:spMkLst>
            <pc:docMk/>
            <pc:sldMk cId="2148491775" sldId="303"/>
            <ac:spMk id="18" creationId="{E16FAC40-0D5A-4471-BB34-B0A0F79BD29E}"/>
          </ac:spMkLst>
        </pc:spChg>
      </pc:sldChg>
      <pc:sldChg chg="addSp delSp modSp">
        <pc:chgData name="" userId="759262a56f62bf4e" providerId="LiveId" clId="{106CBB55-D58E-41B4-9B71-C6E859B4AB24}" dt="2020-11-09T18:54:11.478" v="8"/>
        <pc:sldMkLst>
          <pc:docMk/>
          <pc:sldMk cId="825639042" sldId="315"/>
        </pc:sldMkLst>
        <pc:spChg chg="add del mod">
          <ac:chgData name="" userId="759262a56f62bf4e" providerId="LiveId" clId="{106CBB55-D58E-41B4-9B71-C6E859B4AB24}" dt="2020-11-09T18:54:04.795" v="5" actId="478"/>
          <ac:spMkLst>
            <pc:docMk/>
            <pc:sldMk cId="825639042" sldId="315"/>
            <ac:spMk id="10" creationId="{4CE9D114-B725-480A-A9EE-AABA0AF3B49F}"/>
          </ac:spMkLst>
        </pc:spChg>
        <pc:spChg chg="add">
          <ac:chgData name="" userId="759262a56f62bf4e" providerId="LiveId" clId="{106CBB55-D58E-41B4-9B71-C6E859B4AB24}" dt="2020-11-09T18:54:06.865" v="7"/>
          <ac:spMkLst>
            <pc:docMk/>
            <pc:sldMk cId="825639042" sldId="315"/>
            <ac:spMk id="39" creationId="{241A53BA-63CE-4F26-8521-56A04D519B56}"/>
          </ac:spMkLst>
        </pc:spChg>
        <pc:spChg chg="add">
          <ac:chgData name="" userId="759262a56f62bf4e" providerId="LiveId" clId="{106CBB55-D58E-41B4-9B71-C6E859B4AB24}" dt="2020-11-09T18:54:11.478" v="8"/>
          <ac:spMkLst>
            <pc:docMk/>
            <pc:sldMk cId="825639042" sldId="315"/>
            <ac:spMk id="40" creationId="{B4258764-64E3-4372-8D5E-D59917B8F0C5}"/>
          </ac:spMkLst>
        </pc:spChg>
        <pc:spChg chg="del mod">
          <ac:chgData name="" userId="759262a56f62bf4e" providerId="LiveId" clId="{106CBB55-D58E-41B4-9B71-C6E859B4AB24}" dt="2020-11-09T18:54:02.088" v="4" actId="478"/>
          <ac:spMkLst>
            <pc:docMk/>
            <pc:sldMk cId="825639042" sldId="315"/>
            <ac:spMk id="61" creationId="{1AC1AC5A-B873-4A79-8CA2-36056BD1BB0F}"/>
          </ac:spMkLst>
        </pc:spChg>
        <pc:spChg chg="del">
          <ac:chgData name="" userId="759262a56f62bf4e" providerId="LiveId" clId="{106CBB55-D58E-41B4-9B71-C6E859B4AB24}" dt="2020-11-09T18:54:05.748" v="6" actId="478"/>
          <ac:spMkLst>
            <pc:docMk/>
            <pc:sldMk cId="825639042" sldId="315"/>
            <ac:spMk id="63" creationId="{5D5041F9-95D7-4DA2-B1E0-F8990B2E50B3}"/>
          </ac:spMkLst>
        </pc:spChg>
      </pc:sldChg>
      <pc:sldChg chg="modSp">
        <pc:chgData name="" userId="759262a56f62bf4e" providerId="LiveId" clId="{106CBB55-D58E-41B4-9B71-C6E859B4AB24}" dt="2020-11-10T01:36:45.548" v="983" actId="1035"/>
        <pc:sldMkLst>
          <pc:docMk/>
          <pc:sldMk cId="4255766512" sldId="317"/>
        </pc:sldMkLst>
        <pc:spChg chg="mod">
          <ac:chgData name="" userId="759262a56f62bf4e" providerId="LiveId" clId="{106CBB55-D58E-41B4-9B71-C6E859B4AB24}" dt="2020-11-09T19:06:33.153" v="208" actId="1036"/>
          <ac:spMkLst>
            <pc:docMk/>
            <pc:sldMk cId="4255766512" sldId="317"/>
            <ac:spMk id="6" creationId="{12F6DA05-8992-47A1-80D0-FCD4A693AE7E}"/>
          </ac:spMkLst>
        </pc:spChg>
        <pc:spChg chg="mod">
          <ac:chgData name="" userId="759262a56f62bf4e" providerId="LiveId" clId="{106CBB55-D58E-41B4-9B71-C6E859B4AB24}" dt="2020-11-09T19:06:36.261" v="212" actId="1035"/>
          <ac:spMkLst>
            <pc:docMk/>
            <pc:sldMk cId="4255766512" sldId="317"/>
            <ac:spMk id="7" creationId="{3C1A4290-18EF-483B-8598-13BB844BEF50}"/>
          </ac:spMkLst>
        </pc:spChg>
        <pc:spChg chg="mod">
          <ac:chgData name="" userId="759262a56f62bf4e" providerId="LiveId" clId="{106CBB55-D58E-41B4-9B71-C6E859B4AB24}" dt="2020-11-09T19:07:29.187" v="229" actId="1036"/>
          <ac:spMkLst>
            <pc:docMk/>
            <pc:sldMk cId="4255766512" sldId="317"/>
            <ac:spMk id="9" creationId="{61AA0139-EF56-4E3D-81B3-D235A3D8B9FE}"/>
          </ac:spMkLst>
        </pc:spChg>
        <pc:spChg chg="mod">
          <ac:chgData name="" userId="759262a56f62bf4e" providerId="LiveId" clId="{106CBB55-D58E-41B4-9B71-C6E859B4AB24}" dt="2020-11-10T01:36:45.548" v="983" actId="1035"/>
          <ac:spMkLst>
            <pc:docMk/>
            <pc:sldMk cId="4255766512" sldId="317"/>
            <ac:spMk id="21" creationId="{87B7DABF-1EAA-413F-9DAE-E14C254EA776}"/>
          </ac:spMkLst>
        </pc:spChg>
        <pc:spChg chg="mod">
          <ac:chgData name="" userId="759262a56f62bf4e" providerId="LiveId" clId="{106CBB55-D58E-41B4-9B71-C6E859B4AB24}" dt="2020-11-09T19:07:29.187" v="229" actId="1036"/>
          <ac:spMkLst>
            <pc:docMk/>
            <pc:sldMk cId="4255766512" sldId="317"/>
            <ac:spMk id="22" creationId="{6570E486-E53A-4DB7-A37C-155406FA742B}"/>
          </ac:spMkLst>
        </pc:spChg>
        <pc:spChg chg="mod">
          <ac:chgData name="" userId="759262a56f62bf4e" providerId="LiveId" clId="{106CBB55-D58E-41B4-9B71-C6E859B4AB24}" dt="2020-11-09T19:06:33.153" v="208" actId="1036"/>
          <ac:spMkLst>
            <pc:docMk/>
            <pc:sldMk cId="4255766512" sldId="317"/>
            <ac:spMk id="23" creationId="{0AD5D89C-74C2-4EA5-B6A6-18ECD4DE3C8B}"/>
          </ac:spMkLst>
        </pc:spChg>
        <pc:spChg chg="mod">
          <ac:chgData name="" userId="759262a56f62bf4e" providerId="LiveId" clId="{106CBB55-D58E-41B4-9B71-C6E859B4AB24}" dt="2020-11-09T19:06:33.153" v="208" actId="1036"/>
          <ac:spMkLst>
            <pc:docMk/>
            <pc:sldMk cId="4255766512" sldId="317"/>
            <ac:spMk id="25" creationId="{FE2501F1-E398-455D-BCEC-8263295F14DF}"/>
          </ac:spMkLst>
        </pc:spChg>
        <pc:spChg chg="mod">
          <ac:chgData name="" userId="759262a56f62bf4e" providerId="LiveId" clId="{106CBB55-D58E-41B4-9B71-C6E859B4AB24}" dt="2020-11-09T19:07:29.187" v="229" actId="1036"/>
          <ac:spMkLst>
            <pc:docMk/>
            <pc:sldMk cId="4255766512" sldId="317"/>
            <ac:spMk id="26" creationId="{746AAF37-A308-4569-8B0D-BD0271E7F7E2}"/>
          </ac:spMkLst>
        </pc:spChg>
        <pc:spChg chg="mod">
          <ac:chgData name="" userId="759262a56f62bf4e" providerId="LiveId" clId="{106CBB55-D58E-41B4-9B71-C6E859B4AB24}" dt="2020-11-10T01:18:44.979" v="853" actId="1035"/>
          <ac:spMkLst>
            <pc:docMk/>
            <pc:sldMk cId="4255766512" sldId="317"/>
            <ac:spMk id="43" creationId="{408E13FF-390E-47EB-830F-E9895968DF17}"/>
          </ac:spMkLst>
        </pc:spChg>
        <pc:grpChg chg="mod">
          <ac:chgData name="" userId="759262a56f62bf4e" providerId="LiveId" clId="{106CBB55-D58E-41B4-9B71-C6E859B4AB24}" dt="2020-11-09T19:06:33.153" v="208" actId="1036"/>
          <ac:grpSpMkLst>
            <pc:docMk/>
            <pc:sldMk cId="4255766512" sldId="317"/>
            <ac:grpSpMk id="3" creationId="{2A586704-8D41-4B1F-B150-69DC54379A4A}"/>
          </ac:grpSpMkLst>
        </pc:grpChg>
        <pc:grpChg chg="mod">
          <ac:chgData name="" userId="759262a56f62bf4e" providerId="LiveId" clId="{106CBB55-D58E-41B4-9B71-C6E859B4AB24}" dt="2020-11-09T19:06:33.153" v="208" actId="1036"/>
          <ac:grpSpMkLst>
            <pc:docMk/>
            <pc:sldMk cId="4255766512" sldId="317"/>
            <ac:grpSpMk id="10" creationId="{B862592B-8A1F-4E9D-A248-F40C7EBD027E}"/>
          </ac:grpSpMkLst>
        </pc:grpChg>
        <pc:cxnChg chg="mod">
          <ac:chgData name="" userId="759262a56f62bf4e" providerId="LiveId" clId="{106CBB55-D58E-41B4-9B71-C6E859B4AB24}" dt="2020-11-09T19:06:33.153" v="208" actId="1036"/>
          <ac:cxnSpMkLst>
            <pc:docMk/>
            <pc:sldMk cId="4255766512" sldId="317"/>
            <ac:cxnSpMk id="8" creationId="{2C93CAA0-6A90-4A29-8CCC-DDA0FB46EEC0}"/>
          </ac:cxnSpMkLst>
        </pc:cxnChg>
      </pc:sldChg>
      <pc:sldChg chg="modSp">
        <pc:chgData name="" userId="759262a56f62bf4e" providerId="LiveId" clId="{106CBB55-D58E-41B4-9B71-C6E859B4AB24}" dt="2020-11-10T01:18:36.046" v="850" actId="1036"/>
        <pc:sldMkLst>
          <pc:docMk/>
          <pc:sldMk cId="3252739644" sldId="319"/>
        </pc:sldMkLst>
        <pc:spChg chg="mod">
          <ac:chgData name="" userId="759262a56f62bf4e" providerId="LiveId" clId="{106CBB55-D58E-41B4-9B71-C6E859B4AB24}" dt="2020-11-10T01:18:36.046" v="850" actId="1036"/>
          <ac:spMkLst>
            <pc:docMk/>
            <pc:sldMk cId="3252739644" sldId="319"/>
            <ac:spMk id="2" creationId="{206381AD-4C2B-4745-99B1-0BBCE6131A71}"/>
          </ac:spMkLst>
        </pc:spChg>
      </pc:sldChg>
      <pc:sldChg chg="addSp delSp modSp">
        <pc:chgData name="" userId="759262a56f62bf4e" providerId="LiveId" clId="{106CBB55-D58E-41B4-9B71-C6E859B4AB24}" dt="2020-11-10T01:17:26.438" v="828" actId="1035"/>
        <pc:sldMkLst>
          <pc:docMk/>
          <pc:sldMk cId="2395335424" sldId="321"/>
        </pc:sldMkLst>
        <pc:spChg chg="del">
          <ac:chgData name="" userId="759262a56f62bf4e" providerId="LiveId" clId="{106CBB55-D58E-41B4-9B71-C6E859B4AB24}" dt="2020-11-10T01:17:12.816" v="819"/>
          <ac:spMkLst>
            <pc:docMk/>
            <pc:sldMk cId="2395335424" sldId="321"/>
            <ac:spMk id="2" creationId="{00000000-0000-0000-0000-000000000000}"/>
          </ac:spMkLst>
        </pc:spChg>
        <pc:spChg chg="mod">
          <ac:chgData name="" userId="759262a56f62bf4e" providerId="LiveId" clId="{106CBB55-D58E-41B4-9B71-C6E859B4AB24}" dt="2020-11-10T01:17:18.860" v="824" actId="1036"/>
          <ac:spMkLst>
            <pc:docMk/>
            <pc:sldMk cId="2395335424" sldId="321"/>
            <ac:spMk id="6" creationId="{03238CDC-9619-4967-9F2A-D80B06E62587}"/>
          </ac:spMkLst>
        </pc:spChg>
        <pc:spChg chg="add del mod">
          <ac:chgData name="" userId="759262a56f62bf4e" providerId="LiveId" clId="{106CBB55-D58E-41B4-9B71-C6E859B4AB24}" dt="2020-11-10T01:17:15.069" v="820" actId="478"/>
          <ac:spMkLst>
            <pc:docMk/>
            <pc:sldMk cId="2395335424" sldId="321"/>
            <ac:spMk id="8" creationId="{069EC1EE-4CBC-4569-BD25-326B77522620}"/>
          </ac:spMkLst>
        </pc:spChg>
        <pc:spChg chg="add mod">
          <ac:chgData name="" userId="759262a56f62bf4e" providerId="LiveId" clId="{106CBB55-D58E-41B4-9B71-C6E859B4AB24}" dt="2020-11-10T01:17:26.438" v="828" actId="1035"/>
          <ac:spMkLst>
            <pc:docMk/>
            <pc:sldMk cId="2395335424" sldId="321"/>
            <ac:spMk id="23" creationId="{6E699DFE-9B8F-4C5F-B594-F69B4FD33017}"/>
          </ac:spMkLst>
        </pc:spChg>
      </pc:sldChg>
      <pc:sldChg chg="modSp">
        <pc:chgData name="" userId="759262a56f62bf4e" providerId="LiveId" clId="{106CBB55-D58E-41B4-9B71-C6E859B4AB24}" dt="2020-11-10T01:17:35.378" v="832" actId="1035"/>
        <pc:sldMkLst>
          <pc:docMk/>
          <pc:sldMk cId="1410176645" sldId="323"/>
        </pc:sldMkLst>
        <pc:spChg chg="mod">
          <ac:chgData name="" userId="759262a56f62bf4e" providerId="LiveId" clId="{106CBB55-D58E-41B4-9B71-C6E859B4AB24}" dt="2020-11-10T01:17:35.378" v="832" actId="1035"/>
          <ac:spMkLst>
            <pc:docMk/>
            <pc:sldMk cId="1410176645" sldId="323"/>
            <ac:spMk id="29" creationId="{7C729CD2-8224-4AF6-97C9-5E6710EFF3BA}"/>
          </ac:spMkLst>
        </pc:spChg>
      </pc:sldChg>
      <pc:sldChg chg="modSp">
        <pc:chgData name="" userId="759262a56f62bf4e" providerId="LiveId" clId="{106CBB55-D58E-41B4-9B71-C6E859B4AB24}" dt="2020-11-09T19:01:40.085" v="92" actId="1036"/>
        <pc:sldMkLst>
          <pc:docMk/>
          <pc:sldMk cId="262050705" sldId="326"/>
        </pc:sldMkLst>
        <pc:spChg chg="mod">
          <ac:chgData name="" userId="759262a56f62bf4e" providerId="LiveId" clId="{106CBB55-D58E-41B4-9B71-C6E859B4AB24}" dt="2020-11-09T19:01:40.085" v="92" actId="1036"/>
          <ac:spMkLst>
            <pc:docMk/>
            <pc:sldMk cId="262050705" sldId="326"/>
            <ac:spMk id="23" creationId="{A909A382-6E3B-475C-BA67-23F97FD4F8DD}"/>
          </ac:spMkLst>
        </pc:spChg>
      </pc:sldChg>
      <pc:sldChg chg="modSp">
        <pc:chgData name="" userId="759262a56f62bf4e" providerId="LiveId" clId="{106CBB55-D58E-41B4-9B71-C6E859B4AB24}" dt="2020-11-09T19:00:52.942" v="70" actId="1036"/>
        <pc:sldMkLst>
          <pc:docMk/>
          <pc:sldMk cId="1063261475" sldId="327"/>
        </pc:sldMkLst>
        <pc:spChg chg="mod">
          <ac:chgData name="" userId="759262a56f62bf4e" providerId="LiveId" clId="{106CBB55-D58E-41B4-9B71-C6E859B4AB24}" dt="2020-11-09T19:00:52.942" v="70" actId="1036"/>
          <ac:spMkLst>
            <pc:docMk/>
            <pc:sldMk cId="1063261475" sldId="327"/>
            <ac:spMk id="14" creationId="{84545E4A-45B4-46CF-A07E-9675D993B5CD}"/>
          </ac:spMkLst>
        </pc:spChg>
      </pc:sldChg>
      <pc:sldChg chg="addSp delSp modSp">
        <pc:chgData name="" userId="759262a56f62bf4e" providerId="LiveId" clId="{106CBB55-D58E-41B4-9B71-C6E859B4AB24}" dt="2020-11-10T01:26:43.019" v="981" actId="313"/>
        <pc:sldMkLst>
          <pc:docMk/>
          <pc:sldMk cId="2537207362" sldId="328"/>
        </pc:sldMkLst>
        <pc:spChg chg="del">
          <ac:chgData name="" userId="759262a56f62bf4e" providerId="LiveId" clId="{106CBB55-D58E-41B4-9B71-C6E859B4AB24}" dt="2020-11-09T19:01:17.440" v="75" actId="478"/>
          <ac:spMkLst>
            <pc:docMk/>
            <pc:sldMk cId="2537207362" sldId="328"/>
            <ac:spMk id="5" creationId="{00000000-0000-0000-0000-000000000000}"/>
          </ac:spMkLst>
        </pc:spChg>
        <pc:spChg chg="add del mod">
          <ac:chgData name="" userId="759262a56f62bf4e" providerId="LiveId" clId="{106CBB55-D58E-41B4-9B71-C6E859B4AB24}" dt="2020-11-09T19:01:19.517" v="76" actId="478"/>
          <ac:spMkLst>
            <pc:docMk/>
            <pc:sldMk cId="2537207362" sldId="328"/>
            <ac:spMk id="6" creationId="{6AF02ED1-2CDE-4519-9C4C-52C5B1DB0275}"/>
          </ac:spMkLst>
        </pc:spChg>
        <pc:spChg chg="del">
          <ac:chgData name="" userId="759262a56f62bf4e" providerId="LiveId" clId="{106CBB55-D58E-41B4-9B71-C6E859B4AB24}" dt="2020-11-09T19:00:58.256" v="71" actId="478"/>
          <ac:spMkLst>
            <pc:docMk/>
            <pc:sldMk cId="2537207362" sldId="328"/>
            <ac:spMk id="14" creationId="{00538FAF-47BB-4474-8397-CB8260728BBD}"/>
          </ac:spMkLst>
        </pc:spChg>
        <pc:spChg chg="add del mod">
          <ac:chgData name="" userId="759262a56f62bf4e" providerId="LiveId" clId="{106CBB55-D58E-41B4-9B71-C6E859B4AB24}" dt="2020-11-09T19:01:17.440" v="75" actId="478"/>
          <ac:spMkLst>
            <pc:docMk/>
            <pc:sldMk cId="2537207362" sldId="328"/>
            <ac:spMk id="21" creationId="{649E93BF-7477-4B65-8419-ACDD903D900E}"/>
          </ac:spMkLst>
        </pc:spChg>
        <pc:spChg chg="mod">
          <ac:chgData name="" userId="759262a56f62bf4e" providerId="LiveId" clId="{106CBB55-D58E-41B4-9B71-C6E859B4AB24}" dt="2020-11-10T01:26:43.019" v="981" actId="313"/>
          <ac:spMkLst>
            <pc:docMk/>
            <pc:sldMk cId="2537207362" sldId="328"/>
            <ac:spMk id="22" creationId="{4501A46A-E964-4510-B3B1-ED9907264830}"/>
          </ac:spMkLst>
        </pc:spChg>
        <pc:spChg chg="add">
          <ac:chgData name="" userId="759262a56f62bf4e" providerId="LiveId" clId="{106CBB55-D58E-41B4-9B71-C6E859B4AB24}" dt="2020-11-09T19:01:19.985" v="77"/>
          <ac:spMkLst>
            <pc:docMk/>
            <pc:sldMk cId="2537207362" sldId="328"/>
            <ac:spMk id="23" creationId="{CD86985F-AD47-464A-84F5-DA1AFDE9C0C2}"/>
          </ac:spMkLst>
        </pc:spChg>
        <pc:spChg chg="add">
          <ac:chgData name="" userId="759262a56f62bf4e" providerId="LiveId" clId="{106CBB55-D58E-41B4-9B71-C6E859B4AB24}" dt="2020-11-09T19:01:19.985" v="77"/>
          <ac:spMkLst>
            <pc:docMk/>
            <pc:sldMk cId="2537207362" sldId="328"/>
            <ac:spMk id="25" creationId="{D62D3A06-BA0B-4889-B559-FCC7D4BA7C07}"/>
          </ac:spMkLst>
        </pc:spChg>
      </pc:sldChg>
      <pc:sldChg chg="addSp delSp modSp">
        <pc:chgData name="" userId="759262a56f62bf4e" providerId="LiveId" clId="{106CBB55-D58E-41B4-9B71-C6E859B4AB24}" dt="2020-11-10T01:18:07.636" v="842"/>
        <pc:sldMkLst>
          <pc:docMk/>
          <pc:sldMk cId="3794746325" sldId="329"/>
        </pc:sldMkLst>
        <pc:spChg chg="del mod">
          <ac:chgData name="" userId="759262a56f62bf4e" providerId="LiveId" clId="{106CBB55-D58E-41B4-9B71-C6E859B4AB24}" dt="2020-11-10T01:18:05.110" v="839" actId="478"/>
          <ac:spMkLst>
            <pc:docMk/>
            <pc:sldMk cId="3794746325" sldId="329"/>
            <ac:spMk id="2" creationId="{206381AD-4C2B-4745-99B1-0BBCE6131A71}"/>
          </ac:spMkLst>
        </pc:spChg>
        <pc:spChg chg="add del mod">
          <ac:chgData name="" userId="759262a56f62bf4e" providerId="LiveId" clId="{106CBB55-D58E-41B4-9B71-C6E859B4AB24}" dt="2020-11-10T01:18:07.235" v="841" actId="478"/>
          <ac:spMkLst>
            <pc:docMk/>
            <pc:sldMk cId="3794746325" sldId="329"/>
            <ac:spMk id="14" creationId="{F914DC6C-18BC-4A27-A51D-E22BA2DF871F}"/>
          </ac:spMkLst>
        </pc:spChg>
        <pc:spChg chg="mod">
          <ac:chgData name="" userId="759262a56f62bf4e" providerId="LiveId" clId="{106CBB55-D58E-41B4-9B71-C6E859B4AB24}" dt="2020-11-09T19:02:06.003" v="110" actId="1035"/>
          <ac:spMkLst>
            <pc:docMk/>
            <pc:sldMk cId="3794746325" sldId="329"/>
            <ac:spMk id="18" creationId="{99E6567E-A65C-403C-8976-FEB2D257B4D4}"/>
          </ac:spMkLst>
        </pc:spChg>
        <pc:spChg chg="add mod">
          <ac:chgData name="" userId="759262a56f62bf4e" providerId="LiveId" clId="{106CBB55-D58E-41B4-9B71-C6E859B4AB24}" dt="2020-11-09T19:05:48.426" v="191" actId="571"/>
          <ac:spMkLst>
            <pc:docMk/>
            <pc:sldMk cId="3794746325" sldId="329"/>
            <ac:spMk id="20" creationId="{A31BE218-8AB9-4DE4-AB4E-C5CC1B77C619}"/>
          </ac:spMkLst>
        </pc:spChg>
        <pc:spChg chg="add mod">
          <ac:chgData name="" userId="759262a56f62bf4e" providerId="LiveId" clId="{106CBB55-D58E-41B4-9B71-C6E859B4AB24}" dt="2020-11-09T19:05:48.426" v="191" actId="571"/>
          <ac:spMkLst>
            <pc:docMk/>
            <pc:sldMk cId="3794746325" sldId="329"/>
            <ac:spMk id="21" creationId="{94D27A3E-49E6-4D72-AA8E-14C1E8FB8978}"/>
          </ac:spMkLst>
        </pc:spChg>
        <pc:spChg chg="add">
          <ac:chgData name="" userId="759262a56f62bf4e" providerId="LiveId" clId="{106CBB55-D58E-41B4-9B71-C6E859B4AB24}" dt="2020-11-10T01:18:07.636" v="842"/>
          <ac:spMkLst>
            <pc:docMk/>
            <pc:sldMk cId="3794746325" sldId="329"/>
            <ac:spMk id="22" creationId="{BB90143F-D058-41CD-9A7D-559C112CE806}"/>
          </ac:spMkLst>
        </pc:spChg>
      </pc:sldChg>
      <pc:sldChg chg="addSp delSp modSp">
        <pc:chgData name="" userId="759262a56f62bf4e" providerId="LiveId" clId="{106CBB55-D58E-41B4-9B71-C6E859B4AB24}" dt="2020-11-10T01:17:58.007" v="838" actId="1036"/>
        <pc:sldMkLst>
          <pc:docMk/>
          <pc:sldMk cId="2381878153" sldId="330"/>
        </pc:sldMkLst>
        <pc:spChg chg="del">
          <ac:chgData name="" userId="759262a56f62bf4e" providerId="LiveId" clId="{106CBB55-D58E-41B4-9B71-C6E859B4AB24}" dt="2020-11-09T19:02:30.443" v="127" actId="478"/>
          <ac:spMkLst>
            <pc:docMk/>
            <pc:sldMk cId="2381878153" sldId="330"/>
            <ac:spMk id="2" creationId="{206381AD-4C2B-4745-99B1-0BBCE6131A71}"/>
          </ac:spMkLst>
        </pc:spChg>
        <pc:spChg chg="add del mod">
          <ac:chgData name="" userId="759262a56f62bf4e" providerId="LiveId" clId="{106CBB55-D58E-41B4-9B71-C6E859B4AB24}" dt="2020-11-09T19:02:32.547" v="128" actId="478"/>
          <ac:spMkLst>
            <pc:docMk/>
            <pc:sldMk cId="2381878153" sldId="330"/>
            <ac:spMk id="12" creationId="{8A3DC0BA-B026-4E79-9A9A-BBB97FCCE341}"/>
          </ac:spMkLst>
        </pc:spChg>
        <pc:spChg chg="add del">
          <ac:chgData name="" userId="759262a56f62bf4e" providerId="LiveId" clId="{106CBB55-D58E-41B4-9B71-C6E859B4AB24}" dt="2020-11-09T19:05:38.032" v="188"/>
          <ac:spMkLst>
            <pc:docMk/>
            <pc:sldMk cId="2381878153" sldId="330"/>
            <ac:spMk id="21" creationId="{CBCCEB8F-452F-456F-95E8-084BDE7E690D}"/>
          </ac:spMkLst>
        </pc:spChg>
        <pc:spChg chg="add del">
          <ac:chgData name="" userId="759262a56f62bf4e" providerId="LiveId" clId="{106CBB55-D58E-41B4-9B71-C6E859B4AB24}" dt="2020-11-09T19:05:38.032" v="188"/>
          <ac:spMkLst>
            <pc:docMk/>
            <pc:sldMk cId="2381878153" sldId="330"/>
            <ac:spMk id="22" creationId="{4924EAAD-BA02-4428-B01E-25DC1613DCE7}"/>
          </ac:spMkLst>
        </pc:spChg>
        <pc:spChg chg="add">
          <ac:chgData name="" userId="759262a56f62bf4e" providerId="LiveId" clId="{106CBB55-D58E-41B4-9B71-C6E859B4AB24}" dt="2020-11-09T19:05:51.511" v="192"/>
          <ac:spMkLst>
            <pc:docMk/>
            <pc:sldMk cId="2381878153" sldId="330"/>
            <ac:spMk id="23" creationId="{AE4345B1-00CD-4D3F-AABB-51548067AE35}"/>
          </ac:spMkLst>
        </pc:spChg>
        <pc:spChg chg="add mod">
          <ac:chgData name="" userId="759262a56f62bf4e" providerId="LiveId" clId="{106CBB55-D58E-41B4-9B71-C6E859B4AB24}" dt="2020-11-10T01:17:58.007" v="838" actId="1036"/>
          <ac:spMkLst>
            <pc:docMk/>
            <pc:sldMk cId="2381878153" sldId="330"/>
            <ac:spMk id="24" creationId="{73E36A1C-E08F-4673-835E-CB0C9B8F0359}"/>
          </ac:spMkLst>
        </pc:spChg>
        <pc:spChg chg="del">
          <ac:chgData name="" userId="759262a56f62bf4e" providerId="LiveId" clId="{106CBB55-D58E-41B4-9B71-C6E859B4AB24}" dt="2020-11-09T19:02:30.443" v="127" actId="478"/>
          <ac:spMkLst>
            <pc:docMk/>
            <pc:sldMk cId="2381878153" sldId="330"/>
            <ac:spMk id="43" creationId="{60CE125B-E2B5-4022-AEE7-F26B7ED86C48}"/>
          </ac:spMkLst>
        </pc:spChg>
      </pc:sldChg>
      <pc:sldChg chg="modSp ord">
        <pc:chgData name="" userId="759262a56f62bf4e" providerId="LiveId" clId="{106CBB55-D58E-41B4-9B71-C6E859B4AB24}" dt="2020-11-09T19:09:11.353" v="231"/>
        <pc:sldMkLst>
          <pc:docMk/>
          <pc:sldMk cId="2137600983" sldId="333"/>
        </pc:sldMkLst>
        <pc:picChg chg="mod">
          <ac:chgData name="" userId="759262a56f62bf4e" providerId="LiveId" clId="{106CBB55-D58E-41B4-9B71-C6E859B4AB24}" dt="2020-11-09T19:00:27.565" v="44" actId="1035"/>
          <ac:picMkLst>
            <pc:docMk/>
            <pc:sldMk cId="2137600983" sldId="333"/>
            <ac:picMk id="43" creationId="{17461680-C2E4-4977-B1E4-468D6DD9C105}"/>
          </ac:picMkLst>
        </pc:picChg>
      </pc:sldChg>
      <pc:sldChg chg="modSp add">
        <pc:chgData name="" userId="759262a56f62bf4e" providerId="LiveId" clId="{106CBB55-D58E-41B4-9B71-C6E859B4AB24}" dt="2020-11-10T01:12:59.948" v="774" actId="1035"/>
        <pc:sldMkLst>
          <pc:docMk/>
          <pc:sldMk cId="1959376537" sldId="393"/>
        </pc:sldMkLst>
        <pc:spChg chg="mod">
          <ac:chgData name="" userId="759262a56f62bf4e" providerId="LiveId" clId="{106CBB55-D58E-41B4-9B71-C6E859B4AB24}" dt="2020-11-10T01:11:00.205" v="690" actId="1076"/>
          <ac:spMkLst>
            <pc:docMk/>
            <pc:sldMk cId="1959376537" sldId="393"/>
            <ac:spMk id="9" creationId="{7D931E19-1CBA-474C-A65D-49C03359F558}"/>
          </ac:spMkLst>
        </pc:spChg>
        <pc:spChg chg="mod">
          <ac:chgData name="" userId="759262a56f62bf4e" providerId="LiveId" clId="{106CBB55-D58E-41B4-9B71-C6E859B4AB24}" dt="2020-11-10T01:05:42.287" v="541" actId="1076"/>
          <ac:spMkLst>
            <pc:docMk/>
            <pc:sldMk cId="1959376537" sldId="393"/>
            <ac:spMk id="48" creationId="{AF1E24EC-FF7A-4535-95C0-16EE05F718D4}"/>
          </ac:spMkLst>
        </pc:spChg>
        <pc:spChg chg="mod">
          <ac:chgData name="" userId="759262a56f62bf4e" providerId="LiveId" clId="{106CBB55-D58E-41B4-9B71-C6E859B4AB24}" dt="2020-11-10T01:11:53.819" v="722" actId="122"/>
          <ac:spMkLst>
            <pc:docMk/>
            <pc:sldMk cId="1959376537" sldId="393"/>
            <ac:spMk id="93" creationId="{45C6B1B9-3E29-46E0-BF83-A32EB41E559F}"/>
          </ac:spMkLst>
        </pc:spChg>
        <pc:spChg chg="mod">
          <ac:chgData name="" userId="759262a56f62bf4e" providerId="LiveId" clId="{106CBB55-D58E-41B4-9B71-C6E859B4AB24}" dt="2020-11-10T01:12:59.948" v="774" actId="1035"/>
          <ac:spMkLst>
            <pc:docMk/>
            <pc:sldMk cId="1959376537" sldId="393"/>
            <ac:spMk id="95" creationId="{20012A25-D94C-464F-9629-DCCB47C72A14}"/>
          </ac:spMkLst>
        </pc:spChg>
        <pc:picChg chg="mod">
          <ac:chgData name="" userId="759262a56f62bf4e" providerId="LiveId" clId="{106CBB55-D58E-41B4-9B71-C6E859B4AB24}" dt="2020-11-10T01:11:08.874" v="715" actId="1037"/>
          <ac:picMkLst>
            <pc:docMk/>
            <pc:sldMk cId="1959376537" sldId="393"/>
            <ac:picMk id="16" creationId="{09B5AA9C-3CA0-428D-9CDE-C222313ABD4C}"/>
          </ac:picMkLst>
        </pc:picChg>
        <pc:picChg chg="mod">
          <ac:chgData name="" userId="759262a56f62bf4e" providerId="LiveId" clId="{106CBB55-D58E-41B4-9B71-C6E859B4AB24}" dt="2020-11-10T01:11:15.542" v="716" actId="14100"/>
          <ac:picMkLst>
            <pc:docMk/>
            <pc:sldMk cId="1959376537" sldId="393"/>
            <ac:picMk id="90" creationId="{BE4D2DF0-93B5-445F-9DE1-00D9F1DD00F0}"/>
          </ac:picMkLst>
        </pc:picChg>
        <pc:picChg chg="mod">
          <ac:chgData name="" userId="759262a56f62bf4e" providerId="LiveId" clId="{106CBB55-D58E-41B4-9B71-C6E859B4AB24}" dt="2020-11-10T01:02:09.147" v="385" actId="1035"/>
          <ac:picMkLst>
            <pc:docMk/>
            <pc:sldMk cId="1959376537" sldId="393"/>
            <ac:picMk id="92" creationId="{08D2310E-54E9-4E30-9E93-F66A96DA5132}"/>
          </ac:picMkLst>
        </pc:picChg>
        <pc:picChg chg="mod">
          <ac:chgData name="" userId="759262a56f62bf4e" providerId="LiveId" clId="{106CBB55-D58E-41B4-9B71-C6E859B4AB24}" dt="2020-11-10T01:10:51.796" v="689" actId="1076"/>
          <ac:picMkLst>
            <pc:docMk/>
            <pc:sldMk cId="1959376537" sldId="393"/>
            <ac:picMk id="1026" creationId="{544ADC55-EAB2-4BF2-B5A2-CE88A0488C92}"/>
          </ac:picMkLst>
        </pc:picChg>
        <pc:cxnChg chg="mod">
          <ac:chgData name="" userId="759262a56f62bf4e" providerId="LiveId" clId="{106CBB55-D58E-41B4-9B71-C6E859B4AB24}" dt="2020-11-10T01:11:58.801" v="728" actId="1036"/>
          <ac:cxnSpMkLst>
            <pc:docMk/>
            <pc:sldMk cId="1959376537" sldId="393"/>
            <ac:cxnSpMk id="79" creationId="{F78355CD-5AF4-43E8-99E1-93ECB646D94C}"/>
          </ac:cxnSpMkLst>
        </pc:cxnChg>
      </pc:sldChg>
      <pc:sldChg chg="add">
        <pc:chgData name="" userId="759262a56f62bf4e" providerId="LiveId" clId="{106CBB55-D58E-41B4-9B71-C6E859B4AB24}" dt="2020-11-10T03:27:34.264" v="984"/>
        <pc:sldMkLst>
          <pc:docMk/>
          <pc:sldMk cId="3525198115" sldId="39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00000000000001E-2"/>
          <c:y val="6.6397085942639003E-2"/>
          <c:w val="0.96458333333333335"/>
          <c:h val="0.8672058281147220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2769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C9E-4914-9AFF-B59EE6C477E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C9E-4914-9AFF-B59EE6C477EC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C9E-4914-9AFF-B59EE6C477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C9E-4914-9AFF-B59EE6C47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100"/>
        <c:axId val="415237776"/>
        <c:axId val="415233856"/>
      </c:barChart>
      <c:catAx>
        <c:axId val="41523777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15233856"/>
        <c:crosses val="autoZero"/>
        <c:auto val="1"/>
        <c:lblAlgn val="ctr"/>
        <c:lblOffset val="100"/>
        <c:noMultiLvlLbl val="0"/>
      </c:catAx>
      <c:valAx>
        <c:axId val="41523385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415237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87154049098444E-2"/>
          <c:y val="3.3774871070413426E-3"/>
          <c:w val="0.97262569190180315"/>
          <c:h val="0.996622863674991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6F4E-44D3-A66C-EE7D1A50B9B5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F4E-44D3-A66C-EE7D1A50B9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F4E-44D3-A66C-EE7D1A50B9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238168"/>
        <c:axId val="415239344"/>
      </c:barChart>
      <c:catAx>
        <c:axId val="41523816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15239344"/>
        <c:crosses val="autoZero"/>
        <c:auto val="1"/>
        <c:lblAlgn val="ctr"/>
        <c:lblOffset val="100"/>
        <c:noMultiLvlLbl val="0"/>
      </c:catAx>
      <c:valAx>
        <c:axId val="41523934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4152381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87154049098444E-2"/>
          <c:y val="3.3774871070413426E-3"/>
          <c:w val="0.97262569190180315"/>
          <c:h val="0.996622863674991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1186-4284-85B9-C97DE73DCDA0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186-4284-85B9-C97DE73DCD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186-4284-85B9-C97DE73DCD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235032"/>
        <c:axId val="415231504"/>
      </c:barChart>
      <c:catAx>
        <c:axId val="41523503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15231504"/>
        <c:crosses val="autoZero"/>
        <c:auto val="1"/>
        <c:lblAlgn val="ctr"/>
        <c:lblOffset val="100"/>
        <c:noMultiLvlLbl val="0"/>
      </c:catAx>
      <c:valAx>
        <c:axId val="41523150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415235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87154049098444E-2"/>
          <c:y val="3.3774871070413426E-3"/>
          <c:w val="0.97262569190180315"/>
          <c:h val="0.996622863674991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8FB-4BB4-A53A-2255B688A189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8FB-4BB4-A53A-2255B688A1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8FB-4BB4-A53A-2255B688A1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232288"/>
        <c:axId val="415233464"/>
      </c:barChart>
      <c:catAx>
        <c:axId val="41523228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15233464"/>
        <c:crosses val="autoZero"/>
        <c:auto val="1"/>
        <c:lblAlgn val="ctr"/>
        <c:lblOffset val="100"/>
        <c:noMultiLvlLbl val="0"/>
      </c:catAx>
      <c:valAx>
        <c:axId val="41523346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4152322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87154049098444E-2"/>
          <c:y val="3.3774871070413426E-3"/>
          <c:w val="0.97262569190180315"/>
          <c:h val="0.9966228636749913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7EC-4BE3-BA38-8CDB93636E9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7EC-4BE3-BA38-8CDB93636E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7EC-4BE3-BA38-8CDB93636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235424"/>
        <c:axId val="405464072"/>
      </c:barChart>
      <c:catAx>
        <c:axId val="41523542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05464072"/>
        <c:crosses val="autoZero"/>
        <c:auto val="1"/>
        <c:lblAlgn val="ctr"/>
        <c:lblOffset val="100"/>
        <c:noMultiLvlLbl val="0"/>
      </c:catAx>
      <c:valAx>
        <c:axId val="40546407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4152354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9235536"/>
        <c:axId val="409240632"/>
      </c:barChart>
      <c:catAx>
        <c:axId val="4092355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09240632"/>
        <c:crosses val="autoZero"/>
        <c:auto val="1"/>
        <c:lblAlgn val="ctr"/>
        <c:lblOffset val="100"/>
        <c:noMultiLvlLbl val="0"/>
      </c:catAx>
      <c:valAx>
        <c:axId val="40924063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409235536"/>
        <c:crosses val="autoZero"/>
        <c:crossBetween val="between"/>
      </c:valAx>
      <c:spPr>
        <a:solidFill>
          <a:schemeClr val="bg1">
            <a:alpha val="19000"/>
          </a:schemeClr>
        </a:solidFill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779D8C-42B0-429A-AB5A-81F25B602396}" type="datetimeFigureOut">
              <a:rPr lang="ko-KR" altLang="en-US" smtClean="0"/>
              <a:t>2020-11-1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E76372-2851-4302-89FD-3FD7A3FD2B8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4191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idea'&gt;Idea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41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408DF-C96A-4545-834F-B0E2D748C5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164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042B24-5628-4EE2-A5C0-B4E095A44801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4790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514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S LAYOUT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그림 개체 틀 2"/>
          <p:cNvSpPr>
            <a:spLocks noGrp="1"/>
          </p:cNvSpPr>
          <p:nvPr>
            <p:ph type="pic" sz="quarter" idx="46" hasCustomPrompt="1"/>
          </p:nvPr>
        </p:nvSpPr>
        <p:spPr>
          <a:xfrm>
            <a:off x="729574" y="1515298"/>
            <a:ext cx="3300639" cy="478017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2" name="그림 개체 틀 2"/>
          <p:cNvSpPr>
            <a:spLocks noGrp="1"/>
          </p:cNvSpPr>
          <p:nvPr>
            <p:ph type="pic" sz="quarter" idx="58" hasCustomPrompt="1"/>
          </p:nvPr>
        </p:nvSpPr>
        <p:spPr>
          <a:xfrm>
            <a:off x="8212091" y="1515298"/>
            <a:ext cx="3300639" cy="478017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xmlns="" id="{AE1361B6-8316-4AC7-8C5C-5371D9A5B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017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BASIC LAYOU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93053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794432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135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135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1351" dirty="0">
              <a:solidFill>
                <a:prstClr val="black">
                  <a:lumMod val="85000"/>
                  <a:lumOff val="1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 latinLnBrk="0"/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 latinLnBrk="0"/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You can Change Fill Color &amp;</a:t>
            </a:r>
          </a:p>
          <a:p>
            <a:pPr defTabSz="914286" latinLnBrk="0"/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 latinLnBrk="0"/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www.allppt.com</a:t>
            </a:r>
            <a:endParaRPr lang="ko-KR" altLang="en-US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 latinLnBrk="0"/>
            <a:r>
              <a:rPr lang="en-US" altLang="ko-KR" sz="28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FREE </a:t>
            </a:r>
          </a:p>
          <a:p>
            <a:pPr defTabSz="914286" latinLnBrk="0"/>
            <a:r>
              <a:rPr lang="en-US" altLang="ko-KR" sz="28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5647151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그림 개체 틀 20">
            <a:extLst>
              <a:ext uri="{FF2B5EF4-FFF2-40B4-BE49-F238E27FC236}">
                <a16:creationId xmlns:a16="http://schemas.microsoft.com/office/drawing/2014/main" xmlns="" id="{A1DEFAEA-9F02-4B9F-ACC6-353AF6C3EFF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55574" y="296099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2" name="그림 개체 틀 21">
            <a:extLst>
              <a:ext uri="{FF2B5EF4-FFF2-40B4-BE49-F238E27FC236}">
                <a16:creationId xmlns:a16="http://schemas.microsoft.com/office/drawing/2014/main" xmlns="" id="{03515A44-D3E9-44BA-B3D4-43ECDBD515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55574" y="2891254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3" name="그림 개체 틀 22">
            <a:extLst>
              <a:ext uri="{FF2B5EF4-FFF2-40B4-BE49-F238E27FC236}">
                <a16:creationId xmlns:a16="http://schemas.microsoft.com/office/drawing/2014/main" xmlns="" id="{5CED0A4D-1B43-4F94-A1B2-796349C976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51710" y="2891254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0" name="그림 개체 틀 19">
            <a:extLst>
              <a:ext uri="{FF2B5EF4-FFF2-40B4-BE49-F238E27FC236}">
                <a16:creationId xmlns:a16="http://schemas.microsoft.com/office/drawing/2014/main" xmlns="" id="{1D5AFB38-0AC4-4043-A23A-C86F3145AE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51710" y="296099"/>
            <a:ext cx="3644538" cy="3666309"/>
          </a:xfrm>
          <a:custGeom>
            <a:avLst/>
            <a:gdLst>
              <a:gd name="connsiteX0" fmla="*/ 1171303 w 3644538"/>
              <a:gd name="connsiteY0" fmla="*/ 1323703 h 3666309"/>
              <a:gd name="connsiteX1" fmla="*/ 2342606 w 3644538"/>
              <a:gd name="connsiteY1" fmla="*/ 2495006 h 3666309"/>
              <a:gd name="connsiteX2" fmla="*/ 1171303 w 3644538"/>
              <a:gd name="connsiteY2" fmla="*/ 3666309 h 3666309"/>
              <a:gd name="connsiteX3" fmla="*/ 0 w 3644538"/>
              <a:gd name="connsiteY3" fmla="*/ 2495006 h 3666309"/>
              <a:gd name="connsiteX4" fmla="*/ 2473235 w 3644538"/>
              <a:gd name="connsiteY4" fmla="*/ 0 h 3666309"/>
              <a:gd name="connsiteX5" fmla="*/ 3644538 w 3644538"/>
              <a:gd name="connsiteY5" fmla="*/ 1171303 h 3666309"/>
              <a:gd name="connsiteX6" fmla="*/ 2473235 w 3644538"/>
              <a:gd name="connsiteY6" fmla="*/ 2342606 h 3666309"/>
              <a:gd name="connsiteX7" fmla="*/ 1301932 w 3644538"/>
              <a:gd name="connsiteY7" fmla="*/ 1171303 h 366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4538" h="3666309">
                <a:moveTo>
                  <a:pt x="1171303" y="1323703"/>
                </a:moveTo>
                <a:lnTo>
                  <a:pt x="2342606" y="2495006"/>
                </a:lnTo>
                <a:lnTo>
                  <a:pt x="1171303" y="3666309"/>
                </a:lnTo>
                <a:lnTo>
                  <a:pt x="0" y="2495006"/>
                </a:lnTo>
                <a:close/>
                <a:moveTo>
                  <a:pt x="2473235" y="0"/>
                </a:moveTo>
                <a:lnTo>
                  <a:pt x="3644538" y="1171303"/>
                </a:lnTo>
                <a:lnTo>
                  <a:pt x="2473235" y="2342606"/>
                </a:lnTo>
                <a:lnTo>
                  <a:pt x="1301932" y="11713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34878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그림 개체 틀 23">
            <a:extLst>
              <a:ext uri="{FF2B5EF4-FFF2-40B4-BE49-F238E27FC236}">
                <a16:creationId xmlns:a16="http://schemas.microsoft.com/office/drawing/2014/main" xmlns="" id="{ADD85E6C-2694-4BB6-B396-E6F812C019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" y="3255649"/>
            <a:ext cx="11904055" cy="3602353"/>
          </a:xfrm>
          <a:custGeom>
            <a:avLst/>
            <a:gdLst>
              <a:gd name="connsiteX0" fmla="*/ 11582341 w 11904055"/>
              <a:gd name="connsiteY0" fmla="*/ 2503750 h 3602353"/>
              <a:gd name="connsiteX1" fmla="*/ 11769730 w 11904055"/>
              <a:gd name="connsiteY1" fmla="*/ 2573468 h 3602353"/>
              <a:gd name="connsiteX2" fmla="*/ 11833752 w 11904055"/>
              <a:gd name="connsiteY2" fmla="*/ 3052873 h 3602353"/>
              <a:gd name="connsiteX3" fmla="*/ 11413744 w 11904055"/>
              <a:gd name="connsiteY3" fmla="*/ 3602352 h 3602353"/>
              <a:gd name="connsiteX4" fmla="*/ 10552808 w 11904055"/>
              <a:gd name="connsiteY4" fmla="*/ 3602352 h 3602353"/>
              <a:gd name="connsiteX5" fmla="*/ 11290325 w 11904055"/>
              <a:gd name="connsiteY5" fmla="*/ 2637490 h 3602353"/>
              <a:gd name="connsiteX6" fmla="*/ 11582341 w 11904055"/>
              <a:gd name="connsiteY6" fmla="*/ 2503750 h 3602353"/>
              <a:gd name="connsiteX7" fmla="*/ 10782012 w 11904055"/>
              <a:gd name="connsiteY7" fmla="*/ 2174396 h 3602353"/>
              <a:gd name="connsiteX8" fmla="*/ 10969399 w 11904055"/>
              <a:gd name="connsiteY8" fmla="*/ 2244113 h 3602353"/>
              <a:gd name="connsiteX9" fmla="*/ 11033422 w 11904055"/>
              <a:gd name="connsiteY9" fmla="*/ 2723518 h 3602353"/>
              <a:gd name="connsiteX10" fmla="*/ 10361662 w 11904055"/>
              <a:gd name="connsiteY10" fmla="*/ 3602352 h 3602353"/>
              <a:gd name="connsiteX11" fmla="*/ 9500727 w 11904055"/>
              <a:gd name="connsiteY11" fmla="*/ 3602352 h 3602353"/>
              <a:gd name="connsiteX12" fmla="*/ 10489995 w 11904055"/>
              <a:gd name="connsiteY12" fmla="*/ 2308135 h 3602353"/>
              <a:gd name="connsiteX13" fmla="*/ 10782012 w 11904055"/>
              <a:gd name="connsiteY13" fmla="*/ 2174396 h 3602353"/>
              <a:gd name="connsiteX14" fmla="*/ 1691966 w 11904055"/>
              <a:gd name="connsiteY14" fmla="*/ 1637118 h 3602353"/>
              <a:gd name="connsiteX15" fmla="*/ 1879354 w 11904055"/>
              <a:gd name="connsiteY15" fmla="*/ 1706836 h 3602353"/>
              <a:gd name="connsiteX16" fmla="*/ 1943376 w 11904055"/>
              <a:gd name="connsiteY16" fmla="*/ 2186241 h 3602353"/>
              <a:gd name="connsiteX17" fmla="*/ 860935 w 11904055"/>
              <a:gd name="connsiteY17" fmla="*/ 3602352 h 3602353"/>
              <a:gd name="connsiteX18" fmla="*/ 0 w 11904055"/>
              <a:gd name="connsiteY18" fmla="*/ 3602352 h 3602353"/>
              <a:gd name="connsiteX19" fmla="*/ 0 w 11904055"/>
              <a:gd name="connsiteY19" fmla="*/ 3602351 h 3602353"/>
              <a:gd name="connsiteX20" fmla="*/ 1399949 w 11904055"/>
              <a:gd name="connsiteY20" fmla="*/ 1770858 h 3602353"/>
              <a:gd name="connsiteX21" fmla="*/ 1691966 w 11904055"/>
              <a:gd name="connsiteY21" fmla="*/ 1637118 h 3602353"/>
              <a:gd name="connsiteX22" fmla="*/ 8108140 w 11904055"/>
              <a:gd name="connsiteY22" fmla="*/ 1412767 h 3602353"/>
              <a:gd name="connsiteX23" fmla="*/ 8295528 w 11904055"/>
              <a:gd name="connsiteY23" fmla="*/ 1482484 h 3602353"/>
              <a:gd name="connsiteX24" fmla="*/ 8359550 w 11904055"/>
              <a:gd name="connsiteY24" fmla="*/ 1961890 h 3602353"/>
              <a:gd name="connsiteX25" fmla="*/ 7105620 w 11904055"/>
              <a:gd name="connsiteY25" fmla="*/ 3602352 h 3602353"/>
              <a:gd name="connsiteX26" fmla="*/ 6244685 w 11904055"/>
              <a:gd name="connsiteY26" fmla="*/ 3602352 h 3602353"/>
              <a:gd name="connsiteX27" fmla="*/ 7816123 w 11904055"/>
              <a:gd name="connsiteY27" fmla="*/ 1546506 h 3602353"/>
              <a:gd name="connsiteX28" fmla="*/ 8108140 w 11904055"/>
              <a:gd name="connsiteY28" fmla="*/ 1412767 h 3602353"/>
              <a:gd name="connsiteX29" fmla="*/ 9385014 w 11904055"/>
              <a:gd name="connsiteY29" fmla="*/ 1161427 h 3602353"/>
              <a:gd name="connsiteX30" fmla="*/ 9572402 w 11904055"/>
              <a:gd name="connsiteY30" fmla="*/ 1231145 h 3602353"/>
              <a:gd name="connsiteX31" fmla="*/ 9636423 w 11904055"/>
              <a:gd name="connsiteY31" fmla="*/ 1710549 h 3602353"/>
              <a:gd name="connsiteX32" fmla="*/ 8190375 w 11904055"/>
              <a:gd name="connsiteY32" fmla="*/ 3602352 h 3602353"/>
              <a:gd name="connsiteX33" fmla="*/ 7329441 w 11904055"/>
              <a:gd name="connsiteY33" fmla="*/ 3602352 h 3602353"/>
              <a:gd name="connsiteX34" fmla="*/ 9092997 w 11904055"/>
              <a:gd name="connsiteY34" fmla="*/ 1295167 h 3602353"/>
              <a:gd name="connsiteX35" fmla="*/ 9385014 w 11904055"/>
              <a:gd name="connsiteY35" fmla="*/ 1161427 h 3602353"/>
              <a:gd name="connsiteX36" fmla="*/ 3104652 w 11904055"/>
              <a:gd name="connsiteY36" fmla="*/ 1140248 h 3602353"/>
              <a:gd name="connsiteX37" fmla="*/ 3292040 w 11904055"/>
              <a:gd name="connsiteY37" fmla="*/ 1209966 h 3602353"/>
              <a:gd name="connsiteX38" fmla="*/ 3356063 w 11904055"/>
              <a:gd name="connsiteY38" fmla="*/ 1689371 h 3602353"/>
              <a:gd name="connsiteX39" fmla="*/ 1893826 w 11904055"/>
              <a:gd name="connsiteY39" fmla="*/ 3602352 h 3602353"/>
              <a:gd name="connsiteX40" fmla="*/ 1032889 w 11904055"/>
              <a:gd name="connsiteY40" fmla="*/ 3602352 h 3602353"/>
              <a:gd name="connsiteX41" fmla="*/ 2812635 w 11904055"/>
              <a:gd name="connsiteY41" fmla="*/ 1273988 h 3602353"/>
              <a:gd name="connsiteX42" fmla="*/ 3104652 w 11904055"/>
              <a:gd name="connsiteY42" fmla="*/ 1140248 h 3602353"/>
              <a:gd name="connsiteX43" fmla="*/ 10527184 w 11904055"/>
              <a:gd name="connsiteY43" fmla="*/ 1087492 h 3602353"/>
              <a:gd name="connsiteX44" fmla="*/ 10714572 w 11904055"/>
              <a:gd name="connsiteY44" fmla="*/ 1157209 h 3602353"/>
              <a:gd name="connsiteX45" fmla="*/ 10778593 w 11904055"/>
              <a:gd name="connsiteY45" fmla="*/ 1636614 h 3602353"/>
              <a:gd name="connsiteX46" fmla="*/ 9276031 w 11904055"/>
              <a:gd name="connsiteY46" fmla="*/ 3602352 h 3602353"/>
              <a:gd name="connsiteX47" fmla="*/ 8415095 w 11904055"/>
              <a:gd name="connsiteY47" fmla="*/ 3602352 h 3602353"/>
              <a:gd name="connsiteX48" fmla="*/ 10235167 w 11904055"/>
              <a:gd name="connsiteY48" fmla="*/ 1221231 h 3602353"/>
              <a:gd name="connsiteX49" fmla="*/ 10527184 w 11904055"/>
              <a:gd name="connsiteY49" fmla="*/ 1087492 h 3602353"/>
              <a:gd name="connsiteX50" fmla="*/ 4425492 w 11904055"/>
              <a:gd name="connsiteY50" fmla="*/ 821528 h 3602353"/>
              <a:gd name="connsiteX51" fmla="*/ 4612880 w 11904055"/>
              <a:gd name="connsiteY51" fmla="*/ 891246 h 3602353"/>
              <a:gd name="connsiteX52" fmla="*/ 4676903 w 11904055"/>
              <a:gd name="connsiteY52" fmla="*/ 1370650 h 3602353"/>
              <a:gd name="connsiteX53" fmla="*/ 2971045 w 11904055"/>
              <a:gd name="connsiteY53" fmla="*/ 3602352 h 3602353"/>
              <a:gd name="connsiteX54" fmla="*/ 2228075 w 11904055"/>
              <a:gd name="connsiteY54" fmla="*/ 3602352 h 3602353"/>
              <a:gd name="connsiteX55" fmla="*/ 2235176 w 11904055"/>
              <a:gd name="connsiteY55" fmla="*/ 3482988 h 3602353"/>
              <a:gd name="connsiteX56" fmla="*/ 2294666 w 11904055"/>
              <a:gd name="connsiteY56" fmla="*/ 3360904 h 3602353"/>
              <a:gd name="connsiteX57" fmla="*/ 4133476 w 11904055"/>
              <a:gd name="connsiteY57" fmla="*/ 955268 h 3602353"/>
              <a:gd name="connsiteX58" fmla="*/ 4425492 w 11904055"/>
              <a:gd name="connsiteY58" fmla="*/ 821528 h 3602353"/>
              <a:gd name="connsiteX59" fmla="*/ 5787281 w 11904055"/>
              <a:gd name="connsiteY59" fmla="*/ 372647 h 3602353"/>
              <a:gd name="connsiteX60" fmla="*/ 5974669 w 11904055"/>
              <a:gd name="connsiteY60" fmla="*/ 442365 h 3602353"/>
              <a:gd name="connsiteX61" fmla="*/ 6038692 w 11904055"/>
              <a:gd name="connsiteY61" fmla="*/ 921770 h 3602353"/>
              <a:gd name="connsiteX62" fmla="*/ 3989720 w 11904055"/>
              <a:gd name="connsiteY62" fmla="*/ 3602352 h 3602353"/>
              <a:gd name="connsiteX63" fmla="*/ 3227852 w 11904055"/>
              <a:gd name="connsiteY63" fmla="*/ 3602353 h 3602353"/>
              <a:gd name="connsiteX64" fmla="*/ 3233358 w 11904055"/>
              <a:gd name="connsiteY64" fmla="*/ 3509800 h 3602353"/>
              <a:gd name="connsiteX65" fmla="*/ 3292848 w 11904055"/>
              <a:gd name="connsiteY65" fmla="*/ 3387715 h 3602353"/>
              <a:gd name="connsiteX66" fmla="*/ 5495264 w 11904055"/>
              <a:gd name="connsiteY66" fmla="*/ 506388 h 3602353"/>
              <a:gd name="connsiteX67" fmla="*/ 5787281 w 11904055"/>
              <a:gd name="connsiteY67" fmla="*/ 372647 h 3602353"/>
              <a:gd name="connsiteX68" fmla="*/ 6896315 w 11904055"/>
              <a:gd name="connsiteY68" fmla="*/ 289347 h 3602353"/>
              <a:gd name="connsiteX69" fmla="*/ 7083704 w 11904055"/>
              <a:gd name="connsiteY69" fmla="*/ 359064 h 3602353"/>
              <a:gd name="connsiteX70" fmla="*/ 7147725 w 11904055"/>
              <a:gd name="connsiteY70" fmla="*/ 838469 h 3602353"/>
              <a:gd name="connsiteX71" fmla="*/ 5035081 w 11904055"/>
              <a:gd name="connsiteY71" fmla="*/ 3602353 h 3602353"/>
              <a:gd name="connsiteX72" fmla="*/ 4174147 w 11904055"/>
              <a:gd name="connsiteY72" fmla="*/ 3602352 h 3602353"/>
              <a:gd name="connsiteX73" fmla="*/ 6604298 w 11904055"/>
              <a:gd name="connsiteY73" fmla="*/ 423088 h 3602353"/>
              <a:gd name="connsiteX74" fmla="*/ 6896315 w 11904055"/>
              <a:gd name="connsiteY74" fmla="*/ 289347 h 3602353"/>
              <a:gd name="connsiteX75" fmla="*/ 8134781 w 11904055"/>
              <a:gd name="connsiteY75" fmla="*/ 587 h 3602353"/>
              <a:gd name="connsiteX76" fmla="*/ 8322169 w 11904055"/>
              <a:gd name="connsiteY76" fmla="*/ 70304 h 3602353"/>
              <a:gd name="connsiteX77" fmla="*/ 8386192 w 11904055"/>
              <a:gd name="connsiteY77" fmla="*/ 549710 h 3602353"/>
              <a:gd name="connsiteX78" fmla="*/ 6052827 w 11904055"/>
              <a:gd name="connsiteY78" fmla="*/ 3602352 h 3602353"/>
              <a:gd name="connsiteX79" fmla="*/ 5191892 w 11904055"/>
              <a:gd name="connsiteY79" fmla="*/ 3602352 h 3602353"/>
              <a:gd name="connsiteX80" fmla="*/ 7842765 w 11904055"/>
              <a:gd name="connsiteY80" fmla="*/ 134328 h 3602353"/>
              <a:gd name="connsiteX81" fmla="*/ 8134781 w 11904055"/>
              <a:gd name="connsiteY81" fmla="*/ 587 h 3602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11904055" h="3602353">
                <a:moveTo>
                  <a:pt x="11582341" y="2503750"/>
                </a:moveTo>
                <a:cubicBezTo>
                  <a:pt x="11648102" y="2507602"/>
                  <a:pt x="11713456" y="2530454"/>
                  <a:pt x="11769730" y="2573468"/>
                </a:cubicBezTo>
                <a:cubicBezTo>
                  <a:pt x="11919793" y="2688173"/>
                  <a:pt x="11948456" y="2902810"/>
                  <a:pt x="11833752" y="3052873"/>
                </a:cubicBezTo>
                <a:lnTo>
                  <a:pt x="11413744" y="3602352"/>
                </a:lnTo>
                <a:lnTo>
                  <a:pt x="10552808" y="3602352"/>
                </a:lnTo>
                <a:lnTo>
                  <a:pt x="11290325" y="2637490"/>
                </a:lnTo>
                <a:cubicBezTo>
                  <a:pt x="11362015" y="2543701"/>
                  <a:pt x="11472742" y="2497333"/>
                  <a:pt x="11582341" y="2503750"/>
                </a:cubicBezTo>
                <a:close/>
                <a:moveTo>
                  <a:pt x="10782012" y="2174396"/>
                </a:moveTo>
                <a:cubicBezTo>
                  <a:pt x="10847772" y="2178246"/>
                  <a:pt x="10913126" y="2201099"/>
                  <a:pt x="10969399" y="2244113"/>
                </a:cubicBezTo>
                <a:cubicBezTo>
                  <a:pt x="11119462" y="2358818"/>
                  <a:pt x="11148126" y="2573455"/>
                  <a:pt x="11033422" y="2723518"/>
                </a:cubicBezTo>
                <a:lnTo>
                  <a:pt x="10361662" y="3602352"/>
                </a:lnTo>
                <a:lnTo>
                  <a:pt x="9500727" y="3602352"/>
                </a:lnTo>
                <a:lnTo>
                  <a:pt x="10489995" y="2308135"/>
                </a:lnTo>
                <a:cubicBezTo>
                  <a:pt x="10561685" y="2214346"/>
                  <a:pt x="10672411" y="2167978"/>
                  <a:pt x="10782012" y="2174396"/>
                </a:cubicBezTo>
                <a:close/>
                <a:moveTo>
                  <a:pt x="1691966" y="1637118"/>
                </a:moveTo>
                <a:cubicBezTo>
                  <a:pt x="1757726" y="1640968"/>
                  <a:pt x="1823080" y="1663822"/>
                  <a:pt x="1879354" y="1706836"/>
                </a:cubicBezTo>
                <a:cubicBezTo>
                  <a:pt x="2029417" y="1821540"/>
                  <a:pt x="2058080" y="2036178"/>
                  <a:pt x="1943376" y="2186241"/>
                </a:cubicBezTo>
                <a:lnTo>
                  <a:pt x="860935" y="3602352"/>
                </a:lnTo>
                <a:lnTo>
                  <a:pt x="0" y="3602352"/>
                </a:lnTo>
                <a:lnTo>
                  <a:pt x="0" y="3602351"/>
                </a:lnTo>
                <a:lnTo>
                  <a:pt x="1399949" y="1770858"/>
                </a:lnTo>
                <a:cubicBezTo>
                  <a:pt x="1471639" y="1677069"/>
                  <a:pt x="1582366" y="1630701"/>
                  <a:pt x="1691966" y="1637118"/>
                </a:cubicBezTo>
                <a:close/>
                <a:moveTo>
                  <a:pt x="8108140" y="1412767"/>
                </a:moveTo>
                <a:cubicBezTo>
                  <a:pt x="8173900" y="1416618"/>
                  <a:pt x="8239254" y="1439471"/>
                  <a:pt x="8295528" y="1482484"/>
                </a:cubicBezTo>
                <a:cubicBezTo>
                  <a:pt x="8445591" y="1597188"/>
                  <a:pt x="8474254" y="1811827"/>
                  <a:pt x="8359550" y="1961890"/>
                </a:cubicBezTo>
                <a:lnTo>
                  <a:pt x="7105620" y="3602352"/>
                </a:lnTo>
                <a:lnTo>
                  <a:pt x="6244685" y="3602352"/>
                </a:lnTo>
                <a:lnTo>
                  <a:pt x="7816123" y="1546506"/>
                </a:lnTo>
                <a:cubicBezTo>
                  <a:pt x="7887814" y="1452716"/>
                  <a:pt x="7998540" y="1406349"/>
                  <a:pt x="8108140" y="1412767"/>
                </a:cubicBezTo>
                <a:close/>
                <a:moveTo>
                  <a:pt x="9385014" y="1161427"/>
                </a:moveTo>
                <a:cubicBezTo>
                  <a:pt x="9450774" y="1165277"/>
                  <a:pt x="9516128" y="1188130"/>
                  <a:pt x="9572402" y="1231145"/>
                </a:cubicBezTo>
                <a:cubicBezTo>
                  <a:pt x="9722465" y="1345849"/>
                  <a:pt x="9751129" y="1560486"/>
                  <a:pt x="9636423" y="1710549"/>
                </a:cubicBezTo>
                <a:lnTo>
                  <a:pt x="8190375" y="3602352"/>
                </a:lnTo>
                <a:lnTo>
                  <a:pt x="7329441" y="3602352"/>
                </a:lnTo>
                <a:lnTo>
                  <a:pt x="9092997" y="1295167"/>
                </a:lnTo>
                <a:cubicBezTo>
                  <a:pt x="9164687" y="1201377"/>
                  <a:pt x="9275414" y="1155009"/>
                  <a:pt x="9385014" y="1161427"/>
                </a:cubicBezTo>
                <a:close/>
                <a:moveTo>
                  <a:pt x="3104652" y="1140248"/>
                </a:moveTo>
                <a:cubicBezTo>
                  <a:pt x="3170412" y="1144098"/>
                  <a:pt x="3235766" y="1166952"/>
                  <a:pt x="3292040" y="1209966"/>
                </a:cubicBezTo>
                <a:cubicBezTo>
                  <a:pt x="3442103" y="1324671"/>
                  <a:pt x="3470767" y="1539308"/>
                  <a:pt x="3356063" y="1689371"/>
                </a:cubicBezTo>
                <a:lnTo>
                  <a:pt x="1893826" y="3602352"/>
                </a:lnTo>
                <a:lnTo>
                  <a:pt x="1032889" y="3602352"/>
                </a:lnTo>
                <a:lnTo>
                  <a:pt x="2812635" y="1273988"/>
                </a:lnTo>
                <a:cubicBezTo>
                  <a:pt x="2884326" y="1180199"/>
                  <a:pt x="2995052" y="1133831"/>
                  <a:pt x="3104652" y="1140248"/>
                </a:cubicBezTo>
                <a:close/>
                <a:moveTo>
                  <a:pt x="10527184" y="1087492"/>
                </a:moveTo>
                <a:cubicBezTo>
                  <a:pt x="10592944" y="1091342"/>
                  <a:pt x="10658298" y="1114195"/>
                  <a:pt x="10714572" y="1157209"/>
                </a:cubicBezTo>
                <a:cubicBezTo>
                  <a:pt x="10864635" y="1271913"/>
                  <a:pt x="10893299" y="1486551"/>
                  <a:pt x="10778593" y="1636614"/>
                </a:cubicBezTo>
                <a:lnTo>
                  <a:pt x="9276031" y="3602352"/>
                </a:lnTo>
                <a:lnTo>
                  <a:pt x="8415095" y="3602352"/>
                </a:lnTo>
                <a:lnTo>
                  <a:pt x="10235167" y="1221231"/>
                </a:lnTo>
                <a:cubicBezTo>
                  <a:pt x="10306857" y="1127442"/>
                  <a:pt x="10417583" y="1081074"/>
                  <a:pt x="10527184" y="1087492"/>
                </a:cubicBezTo>
                <a:close/>
                <a:moveTo>
                  <a:pt x="4425492" y="821528"/>
                </a:moveTo>
                <a:cubicBezTo>
                  <a:pt x="4491251" y="825379"/>
                  <a:pt x="4556607" y="848231"/>
                  <a:pt x="4612880" y="891246"/>
                </a:cubicBezTo>
                <a:cubicBezTo>
                  <a:pt x="4762943" y="1005950"/>
                  <a:pt x="4791607" y="1220588"/>
                  <a:pt x="4676903" y="1370650"/>
                </a:cubicBezTo>
                <a:lnTo>
                  <a:pt x="2971045" y="3602352"/>
                </a:lnTo>
                <a:lnTo>
                  <a:pt x="2228075" y="3602352"/>
                </a:lnTo>
                <a:lnTo>
                  <a:pt x="2235176" y="3482988"/>
                </a:lnTo>
                <a:cubicBezTo>
                  <a:pt x="2246274" y="3439971"/>
                  <a:pt x="2265990" y="3398420"/>
                  <a:pt x="2294666" y="3360904"/>
                </a:cubicBezTo>
                <a:lnTo>
                  <a:pt x="4133476" y="955268"/>
                </a:lnTo>
                <a:cubicBezTo>
                  <a:pt x="4205166" y="861479"/>
                  <a:pt x="4315892" y="815111"/>
                  <a:pt x="4425492" y="821528"/>
                </a:cubicBezTo>
                <a:close/>
                <a:moveTo>
                  <a:pt x="5787281" y="372647"/>
                </a:moveTo>
                <a:cubicBezTo>
                  <a:pt x="5853041" y="376498"/>
                  <a:pt x="5918396" y="399351"/>
                  <a:pt x="5974669" y="442365"/>
                </a:cubicBezTo>
                <a:cubicBezTo>
                  <a:pt x="6124732" y="557070"/>
                  <a:pt x="6153396" y="771707"/>
                  <a:pt x="6038692" y="921770"/>
                </a:cubicBezTo>
                <a:lnTo>
                  <a:pt x="3989720" y="3602352"/>
                </a:lnTo>
                <a:lnTo>
                  <a:pt x="3227852" y="3602353"/>
                </a:lnTo>
                <a:lnTo>
                  <a:pt x="3233358" y="3509800"/>
                </a:lnTo>
                <a:cubicBezTo>
                  <a:pt x="3244456" y="3466782"/>
                  <a:pt x="3264173" y="3425231"/>
                  <a:pt x="3292848" y="3387715"/>
                </a:cubicBezTo>
                <a:lnTo>
                  <a:pt x="5495264" y="506388"/>
                </a:lnTo>
                <a:cubicBezTo>
                  <a:pt x="5566956" y="412598"/>
                  <a:pt x="5677682" y="366230"/>
                  <a:pt x="5787281" y="372647"/>
                </a:cubicBezTo>
                <a:close/>
                <a:moveTo>
                  <a:pt x="6896315" y="289347"/>
                </a:moveTo>
                <a:cubicBezTo>
                  <a:pt x="6962075" y="293197"/>
                  <a:pt x="7027430" y="316050"/>
                  <a:pt x="7083704" y="359064"/>
                </a:cubicBezTo>
                <a:cubicBezTo>
                  <a:pt x="7233766" y="473768"/>
                  <a:pt x="7262430" y="688406"/>
                  <a:pt x="7147725" y="838469"/>
                </a:cubicBezTo>
                <a:lnTo>
                  <a:pt x="5035081" y="3602353"/>
                </a:lnTo>
                <a:lnTo>
                  <a:pt x="4174147" y="3602352"/>
                </a:lnTo>
                <a:lnTo>
                  <a:pt x="6604298" y="423088"/>
                </a:lnTo>
                <a:cubicBezTo>
                  <a:pt x="6675989" y="329298"/>
                  <a:pt x="6786715" y="282930"/>
                  <a:pt x="6896315" y="289347"/>
                </a:cubicBezTo>
                <a:close/>
                <a:moveTo>
                  <a:pt x="8134781" y="587"/>
                </a:moveTo>
                <a:cubicBezTo>
                  <a:pt x="8200542" y="4437"/>
                  <a:pt x="8265896" y="27291"/>
                  <a:pt x="8322169" y="70304"/>
                </a:cubicBezTo>
                <a:cubicBezTo>
                  <a:pt x="8472232" y="185009"/>
                  <a:pt x="8500896" y="399647"/>
                  <a:pt x="8386192" y="549710"/>
                </a:cubicBezTo>
                <a:lnTo>
                  <a:pt x="6052827" y="3602352"/>
                </a:lnTo>
                <a:lnTo>
                  <a:pt x="5191892" y="3602352"/>
                </a:lnTo>
                <a:lnTo>
                  <a:pt x="7842765" y="134328"/>
                </a:lnTo>
                <a:cubicBezTo>
                  <a:pt x="7914455" y="40538"/>
                  <a:pt x="8025182" y="-5830"/>
                  <a:pt x="8134781" y="5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306802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E69FBFC8-EC0E-4E14-905F-2E4D84D4D4B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" name="그림 개체 틀 8">
            <a:extLst>
              <a:ext uri="{FF2B5EF4-FFF2-40B4-BE49-F238E27FC236}">
                <a16:creationId xmlns:a16="http://schemas.microsoft.com/office/drawing/2014/main" xmlns="" id="{AAF3D6DC-4A0E-4BCA-9639-615F1AC589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5726" y="642257"/>
            <a:ext cx="10920548" cy="557348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872684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5">
            <a:extLst>
              <a:ext uri="{FF2B5EF4-FFF2-40B4-BE49-F238E27FC236}">
                <a16:creationId xmlns:a16="http://schemas.microsoft.com/office/drawing/2014/main" xmlns="" id="{67539AF6-5D49-44B8-BBE5-89EA831A487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038350" y="0"/>
            <a:ext cx="40576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4DAB0763-12DF-41B9-B692-22FB8DB24B15}"/>
              </a:ext>
            </a:extLst>
          </p:cNvPr>
          <p:cNvSpPr/>
          <p:nvPr userDrawn="1"/>
        </p:nvSpPr>
        <p:spPr>
          <a:xfrm>
            <a:off x="0" y="0"/>
            <a:ext cx="20383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4788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pPr defTabSz="914286" latinLnBrk="0"/>
            <a:fld id="{3DA1A576-034B-45D7-9F5B-548D28C1BC98}" type="datetimeFigureOut">
              <a:rPr lang="en-US" smtClean="0">
                <a:solidFill>
                  <a:prstClr val="black"/>
                </a:solidFill>
              </a:rPr>
              <a:pPr defTabSz="914286" latinLnBrk="0"/>
              <a:t>11/10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pPr defTabSz="914286" latinLnBrk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pPr defTabSz="914286" latinLnBrk="0"/>
            <a:fld id="{01345598-B2C9-4FFE-8967-D41635DDF549}" type="slidenum">
              <a:rPr lang="en-US" smtClean="0">
                <a:solidFill>
                  <a:prstClr val="black"/>
                </a:solidFill>
              </a:rPr>
              <a:pPr defTabSz="914286" latinLnBrk="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100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742500-F0DA-4441-ADE2-7B979DFAC0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ea typeface="08서울남산체 B" panose="02020603020101020101" pitchFamily="18" charset="-12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D5745FC-DE2E-4991-8357-72F01958E7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ea typeface="08서울남산체 B" panose="02020603020101020101" pitchFamily="18" charset="-12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C31BDDE-0959-4648-A501-9C46085849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fld id="{7DB435E8-A356-4610-8648-B0883ED2435D}" type="datetimeFigureOut">
              <a:rPr lang="en-US" smtClean="0"/>
              <a:pPr/>
              <a:t>11/1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4FCFBEE-D426-4848-9887-E8C2C169A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301D484-EF9B-41DA-AF20-940C29C15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08서울남산체 B" panose="02020603020101020101" pitchFamily="18" charset="-127"/>
              </a:defRPr>
            </a:lvl1pPr>
          </a:lstStyle>
          <a:p>
            <a:fld id="{B0B829E4-2C5D-4750-971D-1E445C1B07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59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AND CONTENTS LAYOU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2A63685B-5063-4C41-9D58-B233215F828A}"/>
              </a:ext>
            </a:extLst>
          </p:cNvPr>
          <p:cNvGrpSpPr/>
          <p:nvPr userDrawn="1"/>
        </p:nvGrpSpPr>
        <p:grpSpPr>
          <a:xfrm>
            <a:off x="8914194" y="1702663"/>
            <a:ext cx="2307768" cy="2309828"/>
            <a:chOff x="8582298" y="2310847"/>
            <a:chExt cx="2026966" cy="2028775"/>
          </a:xfrm>
        </p:grpSpPr>
        <p:sp>
          <p:nvSpPr>
            <p:cNvPr id="10" name="Oval 9"/>
            <p:cNvSpPr/>
            <p:nvPr/>
          </p:nvSpPr>
          <p:spPr>
            <a:xfrm>
              <a:off x="8582298" y="2310847"/>
              <a:ext cx="2026966" cy="2028775"/>
            </a:xfrm>
            <a:prstGeom prst="ellipse">
              <a:avLst/>
            </a:prstGeom>
            <a:noFill/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0287809" y="2607228"/>
              <a:ext cx="205017" cy="2052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5" name="그룹 4">
            <a:extLst>
              <a:ext uri="{FF2B5EF4-FFF2-40B4-BE49-F238E27FC236}">
                <a16:creationId xmlns:a16="http://schemas.microsoft.com/office/drawing/2014/main" xmlns="" id="{C14116F5-393E-4744-A622-A82EEA785FE3}"/>
              </a:ext>
            </a:extLst>
          </p:cNvPr>
          <p:cNvGrpSpPr/>
          <p:nvPr userDrawn="1"/>
        </p:nvGrpSpPr>
        <p:grpSpPr>
          <a:xfrm>
            <a:off x="925989" y="1702663"/>
            <a:ext cx="2307768" cy="2309828"/>
            <a:chOff x="853440" y="2310847"/>
            <a:chExt cx="2026966" cy="2028775"/>
          </a:xfrm>
        </p:grpSpPr>
        <p:sp>
          <p:nvSpPr>
            <p:cNvPr id="14" name="Oval 13"/>
            <p:cNvSpPr/>
            <p:nvPr/>
          </p:nvSpPr>
          <p:spPr>
            <a:xfrm>
              <a:off x="853440" y="2310847"/>
              <a:ext cx="2026966" cy="2028775"/>
            </a:xfrm>
            <a:prstGeom prst="ellipse">
              <a:avLst/>
            </a:prstGeom>
            <a:noFill/>
            <a:ln w="158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2558951" y="2607228"/>
              <a:ext cx="205017" cy="205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xmlns="" id="{06FEAAE9-970B-4450-A325-434A1A5C7E5D}"/>
              </a:ext>
            </a:extLst>
          </p:cNvPr>
          <p:cNvGrpSpPr/>
          <p:nvPr userDrawn="1"/>
        </p:nvGrpSpPr>
        <p:grpSpPr>
          <a:xfrm>
            <a:off x="4920091" y="1702663"/>
            <a:ext cx="2307768" cy="2309828"/>
            <a:chOff x="4717869" y="2310847"/>
            <a:chExt cx="2026966" cy="2028775"/>
          </a:xfrm>
        </p:grpSpPr>
        <p:sp>
          <p:nvSpPr>
            <p:cNvPr id="17" name="Oval 16"/>
            <p:cNvSpPr/>
            <p:nvPr/>
          </p:nvSpPr>
          <p:spPr>
            <a:xfrm>
              <a:off x="4717869" y="2310847"/>
              <a:ext cx="2026966" cy="2028775"/>
            </a:xfrm>
            <a:prstGeom prst="ellipse">
              <a:avLst/>
            </a:prstGeom>
            <a:noFill/>
            <a:ln w="158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6423380" y="2607228"/>
              <a:ext cx="205017" cy="20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19" name="Picture Placeholder 2"/>
          <p:cNvSpPr>
            <a:spLocks noGrp="1"/>
          </p:cNvSpPr>
          <p:nvPr userDrawn="1">
            <p:ph type="pic" sz="quarter" idx="42" hasCustomPrompt="1"/>
          </p:nvPr>
        </p:nvSpPr>
        <p:spPr>
          <a:xfrm>
            <a:off x="1096182" y="1873775"/>
            <a:ext cx="1967385" cy="196760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 userDrawn="1">
            <p:ph type="pic" sz="quarter" idx="43" hasCustomPrompt="1"/>
          </p:nvPr>
        </p:nvSpPr>
        <p:spPr>
          <a:xfrm>
            <a:off x="5090284" y="1873775"/>
            <a:ext cx="1967385" cy="196760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1" name="Picture Placeholder 2"/>
          <p:cNvSpPr>
            <a:spLocks noGrp="1"/>
          </p:cNvSpPr>
          <p:nvPr userDrawn="1">
            <p:ph type="pic" sz="quarter" idx="44" hasCustomPrompt="1"/>
          </p:nvPr>
        </p:nvSpPr>
        <p:spPr>
          <a:xfrm>
            <a:off x="9084387" y="1873775"/>
            <a:ext cx="1967385" cy="196760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848279" y="4911997"/>
            <a:ext cx="24631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4842381" y="4911997"/>
            <a:ext cx="24631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8836484" y="4911997"/>
            <a:ext cx="24631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73A474CB-69FD-4CBB-8A8B-BBEC652767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AD58C2A5-98FC-4D03-AF58-B0CF7460B76D}"/>
              </a:ext>
            </a:extLst>
          </p:cNvPr>
          <p:cNvSpPr txBox="1"/>
          <p:nvPr userDrawn="1"/>
        </p:nvSpPr>
        <p:spPr>
          <a:xfrm>
            <a:off x="0" y="6519446"/>
            <a:ext cx="12192000" cy="338554"/>
          </a:xfrm>
          <a:prstGeom prst="rect">
            <a:avLst/>
          </a:prstGeom>
          <a:gradFill flip="none" rotWithShape="1">
            <a:gsLst>
              <a:gs pos="77000">
                <a:schemeClr val="accent5"/>
              </a:gs>
              <a:gs pos="72000">
                <a:schemeClr val="accent4"/>
              </a:gs>
              <a:gs pos="62000">
                <a:schemeClr val="accent3"/>
              </a:gs>
              <a:gs pos="0">
                <a:schemeClr val="accent1"/>
              </a:gs>
              <a:gs pos="13000">
                <a:schemeClr val="accent1"/>
              </a:gs>
              <a:gs pos="18000">
                <a:schemeClr val="accent2"/>
              </a:gs>
              <a:gs pos="37000">
                <a:schemeClr val="accent2"/>
              </a:gs>
              <a:gs pos="42000">
                <a:schemeClr val="accent3"/>
              </a:gs>
              <a:gs pos="98980">
                <a:schemeClr val="accent5"/>
              </a:gs>
              <a:gs pos="67000">
                <a:schemeClr val="accent4"/>
              </a:gs>
            </a:gsLst>
            <a:lin ang="0" scaled="1"/>
            <a:tileRect/>
          </a:gradFill>
        </p:spPr>
        <p:txBody>
          <a:bodyPr wrap="square" rtlCol="0" anchor="ctr">
            <a:spAutoFit/>
          </a:bodyPr>
          <a:lstStyle/>
          <a:p>
            <a:pPr algn="dist"/>
            <a:r>
              <a:rPr lang="en-US" sz="1600" spc="300" dirty="0">
                <a:solidFill>
                  <a:schemeClr val="bg1"/>
                </a:solidFill>
                <a:ea typeface="08서울남산체 B" panose="02020603020101020101" pitchFamily="18" charset="-127"/>
              </a:rPr>
              <a:t>Science Technology Engineering Arts Mathematics</a:t>
            </a:r>
          </a:p>
        </p:txBody>
      </p:sp>
    </p:spTree>
    <p:extLst>
      <p:ext uri="{BB962C8B-B14F-4D97-AF65-F5344CB8AC3E}">
        <p14:creationId xmlns:p14="http://schemas.microsoft.com/office/powerpoint/2010/main" val="3839409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99906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988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그림 개체 틀 2">
            <a:extLst>
              <a:ext uri="{FF2B5EF4-FFF2-40B4-BE49-F238E27FC236}">
                <a16:creationId xmlns:a16="http://schemas.microsoft.com/office/drawing/2014/main" xmlns="" id="{FB18C16F-B5CD-49A5-9132-508D237A80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47973" y="244099"/>
            <a:ext cx="11696055" cy="636980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708084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8400916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1260000" anchor="ctr"/>
          <a:lstStyle>
            <a:lvl1pPr marL="0" indent="0" algn="l">
              <a:buNone/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426147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28056" y="1562579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34314"/>
            <a:ext cx="12192000" cy="1035373"/>
          </a:xfrm>
          <a:prstGeom prst="rect">
            <a:avLst/>
          </a:prstGeom>
        </p:spPr>
        <p:txBody>
          <a:bodyPr anchor="ctr"/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728056" y="3816222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728056" y="2956276"/>
            <a:ext cx="2592000" cy="707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28056" y="5447872"/>
            <a:ext cx="2592000" cy="7079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3444409" y="1562579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443961" y="3816222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443961" y="2956276"/>
            <a:ext cx="2592000" cy="7079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443513" y="5447872"/>
            <a:ext cx="2592000" cy="7079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6159867" y="1562579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6159419" y="3816222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159419" y="2956276"/>
            <a:ext cx="2592000" cy="7079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58971" y="5447872"/>
            <a:ext cx="2592000" cy="7079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875325" y="1562579"/>
            <a:ext cx="2592000" cy="13914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8875325" y="3816222"/>
            <a:ext cx="2592000" cy="16321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8875325" y="2956276"/>
            <a:ext cx="2592000" cy="7079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875325" y="5447872"/>
            <a:ext cx="2592000" cy="707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05845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3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ea typeface="08서울남산체 B" panose="02020603020101020101" pitchFamily="18" charset="-127"/>
            </a:endParaRP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01067" y="1578189"/>
            <a:ext cx="4195200" cy="25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120438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0"/>
            <a:ext cx="122086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 dirty="0">
              <a:ea typeface="08서울남산체 B" panose="02020603020101020101" pitchFamily="18" charset="-127"/>
            </a:endParaRPr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19739"/>
            <a:ext cx="5135893" cy="37494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88000" tIns="612000" anchor="ctr"/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7" name="Rectangle 36"/>
          <p:cNvSpPr/>
          <p:nvPr userDrawn="1"/>
        </p:nvSpPr>
        <p:spPr>
          <a:xfrm rot="10800000">
            <a:off x="5135892" y="1119739"/>
            <a:ext cx="4022165" cy="5305775"/>
          </a:xfrm>
          <a:prstGeom prst="round2SameRect">
            <a:avLst>
              <a:gd name="adj1" fmla="val 840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 dirty="0">
              <a:ea typeface="08서울남산체 B" panose="02020603020101020101" pitchFamily="18" charset="-127"/>
            </a:endParaRPr>
          </a:p>
        </p:txBody>
      </p:sp>
      <p:sp>
        <p:nvSpPr>
          <p:cNvPr id="40" name="Picture Placeholder 35"/>
          <p:cNvSpPr>
            <a:spLocks noGrp="1"/>
          </p:cNvSpPr>
          <p:nvPr>
            <p:ph type="pic" sz="quarter" idx="11" hasCustomPrompt="1"/>
          </p:nvPr>
        </p:nvSpPr>
        <p:spPr>
          <a:xfrm>
            <a:off x="9158060" y="1119739"/>
            <a:ext cx="3050616" cy="37494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88000" tIns="61200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3" name="제목 1">
            <a:extLst>
              <a:ext uri="{FF2B5EF4-FFF2-40B4-BE49-F238E27FC236}">
                <a16:creationId xmlns:a16="http://schemas.microsoft.com/office/drawing/2014/main" xmlns="" id="{C6F3612C-F0AE-484F-942A-DE2A058655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503" y="209181"/>
            <a:ext cx="12192000" cy="7013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BASIC LAYOU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246483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1528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650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8745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E6163A38-FF1F-4D4D-BD61-25510A4F4A10}"/>
              </a:ext>
            </a:extLst>
          </p:cNvPr>
          <p:cNvSpPr/>
          <p:nvPr userDrawn="1"/>
        </p:nvSpPr>
        <p:spPr>
          <a:xfrm>
            <a:off x="152400" y="-1"/>
            <a:ext cx="6562726" cy="6858001"/>
          </a:xfrm>
          <a:custGeom>
            <a:avLst/>
            <a:gdLst>
              <a:gd name="connsiteX0" fmla="*/ 0 w 6543676"/>
              <a:gd name="connsiteY0" fmla="*/ 0 h 6858001"/>
              <a:gd name="connsiteX1" fmla="*/ 4981576 w 6543676"/>
              <a:gd name="connsiteY1" fmla="*/ 0 h 6858001"/>
              <a:gd name="connsiteX2" fmla="*/ 6543676 w 6543676"/>
              <a:gd name="connsiteY2" fmla="*/ 1638300 h 6858001"/>
              <a:gd name="connsiteX3" fmla="*/ 5140390 w 6543676"/>
              <a:gd name="connsiteY3" fmla="*/ 6545233 h 6858001"/>
              <a:gd name="connsiteX4" fmla="*/ 5134165 w 6543676"/>
              <a:gd name="connsiteY4" fmla="*/ 6858001 h 6858001"/>
              <a:gd name="connsiteX5" fmla="*/ 552 w 6543676"/>
              <a:gd name="connsiteY5" fmla="*/ 6858001 h 6858001"/>
              <a:gd name="connsiteX6" fmla="*/ 0 w 6543676"/>
              <a:gd name="connsiteY6" fmla="*/ 6858000 h 6858001"/>
              <a:gd name="connsiteX0" fmla="*/ 0 w 6562726"/>
              <a:gd name="connsiteY0" fmla="*/ 0 h 6858001"/>
              <a:gd name="connsiteX1" fmla="*/ 4981576 w 6562726"/>
              <a:gd name="connsiteY1" fmla="*/ 0 h 6858001"/>
              <a:gd name="connsiteX2" fmla="*/ 6562726 w 6562726"/>
              <a:gd name="connsiteY2" fmla="*/ 1638300 h 6858001"/>
              <a:gd name="connsiteX3" fmla="*/ 5140390 w 6562726"/>
              <a:gd name="connsiteY3" fmla="*/ 6545233 h 6858001"/>
              <a:gd name="connsiteX4" fmla="*/ 5134165 w 6562726"/>
              <a:gd name="connsiteY4" fmla="*/ 6858001 h 6858001"/>
              <a:gd name="connsiteX5" fmla="*/ 552 w 6562726"/>
              <a:gd name="connsiteY5" fmla="*/ 6858001 h 6858001"/>
              <a:gd name="connsiteX6" fmla="*/ 0 w 6562726"/>
              <a:gd name="connsiteY6" fmla="*/ 6858000 h 6858001"/>
              <a:gd name="connsiteX7" fmla="*/ 0 w 6562726"/>
              <a:gd name="connsiteY7" fmla="*/ 0 h 6858001"/>
              <a:gd name="connsiteX0" fmla="*/ 0 w 6562726"/>
              <a:gd name="connsiteY0" fmla="*/ 0 h 6858001"/>
              <a:gd name="connsiteX1" fmla="*/ 4981576 w 6562726"/>
              <a:gd name="connsiteY1" fmla="*/ 0 h 6858001"/>
              <a:gd name="connsiteX2" fmla="*/ 6562726 w 6562726"/>
              <a:gd name="connsiteY2" fmla="*/ 1638300 h 6858001"/>
              <a:gd name="connsiteX3" fmla="*/ 5140390 w 6562726"/>
              <a:gd name="connsiteY3" fmla="*/ 6545233 h 6858001"/>
              <a:gd name="connsiteX4" fmla="*/ 5134165 w 6562726"/>
              <a:gd name="connsiteY4" fmla="*/ 6858001 h 6858001"/>
              <a:gd name="connsiteX5" fmla="*/ 552 w 6562726"/>
              <a:gd name="connsiteY5" fmla="*/ 6858001 h 6858001"/>
              <a:gd name="connsiteX6" fmla="*/ 0 w 6562726"/>
              <a:gd name="connsiteY6" fmla="*/ 6858000 h 6858001"/>
              <a:gd name="connsiteX7" fmla="*/ 0 w 6562726"/>
              <a:gd name="connsiteY7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62726" h="6858001">
                <a:moveTo>
                  <a:pt x="0" y="0"/>
                </a:moveTo>
                <a:lnTo>
                  <a:pt x="4981576" y="0"/>
                </a:lnTo>
                <a:cubicBezTo>
                  <a:pt x="5006977" y="371475"/>
                  <a:pt x="5765801" y="1114425"/>
                  <a:pt x="6562726" y="1638300"/>
                </a:cubicBezTo>
                <a:cubicBezTo>
                  <a:pt x="5759055" y="2900363"/>
                  <a:pt x="5204223" y="4907496"/>
                  <a:pt x="5140390" y="6545233"/>
                </a:cubicBezTo>
                <a:lnTo>
                  <a:pt x="5134165" y="6858001"/>
                </a:lnTo>
                <a:lnTo>
                  <a:pt x="552" y="685800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" name="자유형: 도형 4">
            <a:extLst>
              <a:ext uri="{FF2B5EF4-FFF2-40B4-BE49-F238E27FC236}">
                <a16:creationId xmlns:a16="http://schemas.microsoft.com/office/drawing/2014/main" xmlns="" id="{35A586F4-88B7-45EE-9708-47716F743070}"/>
              </a:ext>
            </a:extLst>
          </p:cNvPr>
          <p:cNvSpPr/>
          <p:nvPr userDrawn="1"/>
        </p:nvSpPr>
        <p:spPr>
          <a:xfrm flipV="1">
            <a:off x="152400" y="-1"/>
            <a:ext cx="6238876" cy="6848475"/>
          </a:xfrm>
          <a:custGeom>
            <a:avLst/>
            <a:gdLst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5" fmla="*/ 0 w 6238876"/>
              <a:gd name="connsiteY5" fmla="*/ 0 h 6858000"/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5" fmla="*/ 0 w 6238876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38876" h="6858000">
                <a:moveTo>
                  <a:pt x="0" y="0"/>
                </a:moveTo>
                <a:lnTo>
                  <a:pt x="4819651" y="0"/>
                </a:lnTo>
                <a:cubicBezTo>
                  <a:pt x="4819651" y="1689100"/>
                  <a:pt x="5153027" y="4273550"/>
                  <a:pt x="6238876" y="5229225"/>
                </a:cubicBezTo>
                <a:cubicBezTo>
                  <a:pt x="5286376" y="5778500"/>
                  <a:pt x="4883152" y="6283325"/>
                  <a:pt x="481965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xmlns="" id="{E34B3B3A-542A-46E1-A720-8928C9B91FC2}"/>
              </a:ext>
            </a:extLst>
          </p:cNvPr>
          <p:cNvCxnSpPr>
            <a:cxnSpLocks/>
          </p:cNvCxnSpPr>
          <p:nvPr userDrawn="1"/>
        </p:nvCxnSpPr>
        <p:spPr>
          <a:xfrm>
            <a:off x="6238876" y="1638302"/>
            <a:ext cx="5953124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그림 개체 틀 15">
            <a:extLst>
              <a:ext uri="{FF2B5EF4-FFF2-40B4-BE49-F238E27FC236}">
                <a16:creationId xmlns:a16="http://schemas.microsoft.com/office/drawing/2014/main" xmlns="" id="{F31766EE-B13B-4F0C-AAE1-FB140846B8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543676" cy="6867525"/>
          </a:xfrm>
          <a:custGeom>
            <a:avLst/>
            <a:gdLst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162877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0" fmla="*/ 0 w 6543676"/>
              <a:gd name="connsiteY0" fmla="*/ 0 h 6858000"/>
              <a:gd name="connsiteX1" fmla="*/ 4819651 w 6543676"/>
              <a:gd name="connsiteY1" fmla="*/ 0 h 6858000"/>
              <a:gd name="connsiteX2" fmla="*/ 6543676 w 6543676"/>
              <a:gd name="connsiteY2" fmla="*/ 1638300 h 6858000"/>
              <a:gd name="connsiteX3" fmla="*/ 4819651 w 6543676"/>
              <a:gd name="connsiteY3" fmla="*/ 6858000 h 6858000"/>
              <a:gd name="connsiteX4" fmla="*/ 0 w 6543676"/>
              <a:gd name="connsiteY4" fmla="*/ 6858000 h 6858000"/>
              <a:gd name="connsiteX5" fmla="*/ 0 w 6543676"/>
              <a:gd name="connsiteY5" fmla="*/ 0 h 6858000"/>
              <a:gd name="connsiteX0" fmla="*/ 0 w 6543676"/>
              <a:gd name="connsiteY0" fmla="*/ 0 h 6858000"/>
              <a:gd name="connsiteX1" fmla="*/ 4819651 w 6543676"/>
              <a:gd name="connsiteY1" fmla="*/ 0 h 6858000"/>
              <a:gd name="connsiteX2" fmla="*/ 6543676 w 6543676"/>
              <a:gd name="connsiteY2" fmla="*/ 1638300 h 6858000"/>
              <a:gd name="connsiteX3" fmla="*/ 4819651 w 6543676"/>
              <a:gd name="connsiteY3" fmla="*/ 6858000 h 6858000"/>
              <a:gd name="connsiteX4" fmla="*/ 0 w 6543676"/>
              <a:gd name="connsiteY4" fmla="*/ 6858000 h 6858000"/>
              <a:gd name="connsiteX5" fmla="*/ 0 w 6543676"/>
              <a:gd name="connsiteY5" fmla="*/ 0 h 6858000"/>
              <a:gd name="connsiteX0" fmla="*/ 0 w 6543676"/>
              <a:gd name="connsiteY0" fmla="*/ 0 h 6858000"/>
              <a:gd name="connsiteX1" fmla="*/ 4819651 w 6543676"/>
              <a:gd name="connsiteY1" fmla="*/ 0 h 6858000"/>
              <a:gd name="connsiteX2" fmla="*/ 6543676 w 6543676"/>
              <a:gd name="connsiteY2" fmla="*/ 1638300 h 6858000"/>
              <a:gd name="connsiteX3" fmla="*/ 4819651 w 6543676"/>
              <a:gd name="connsiteY3" fmla="*/ 6858000 h 6858000"/>
              <a:gd name="connsiteX4" fmla="*/ 0 w 6543676"/>
              <a:gd name="connsiteY4" fmla="*/ 6858000 h 6858000"/>
              <a:gd name="connsiteX5" fmla="*/ 0 w 6543676"/>
              <a:gd name="connsiteY5" fmla="*/ 0 h 6858000"/>
              <a:gd name="connsiteX0" fmla="*/ 0 w 6543676"/>
              <a:gd name="connsiteY0" fmla="*/ 0 h 6858000"/>
              <a:gd name="connsiteX1" fmla="*/ 4819651 w 6543676"/>
              <a:gd name="connsiteY1" fmla="*/ 0 h 6858000"/>
              <a:gd name="connsiteX2" fmla="*/ 6543676 w 6543676"/>
              <a:gd name="connsiteY2" fmla="*/ 1638300 h 6858000"/>
              <a:gd name="connsiteX3" fmla="*/ 4819651 w 6543676"/>
              <a:gd name="connsiteY3" fmla="*/ 6858000 h 6858000"/>
              <a:gd name="connsiteX4" fmla="*/ 0 w 6543676"/>
              <a:gd name="connsiteY4" fmla="*/ 6858000 h 6858000"/>
              <a:gd name="connsiteX5" fmla="*/ 0 w 6543676"/>
              <a:gd name="connsiteY5" fmla="*/ 0 h 6858000"/>
              <a:gd name="connsiteX0" fmla="*/ 0 w 6543676"/>
              <a:gd name="connsiteY0" fmla="*/ 0 h 6867525"/>
              <a:gd name="connsiteX1" fmla="*/ 4819651 w 6543676"/>
              <a:gd name="connsiteY1" fmla="*/ 0 h 6867525"/>
              <a:gd name="connsiteX2" fmla="*/ 6543676 w 6543676"/>
              <a:gd name="connsiteY2" fmla="*/ 1638300 h 6867525"/>
              <a:gd name="connsiteX3" fmla="*/ 5219701 w 6543676"/>
              <a:gd name="connsiteY3" fmla="*/ 6867525 h 6867525"/>
              <a:gd name="connsiteX4" fmla="*/ 0 w 6543676"/>
              <a:gd name="connsiteY4" fmla="*/ 6858000 h 6867525"/>
              <a:gd name="connsiteX5" fmla="*/ 0 w 6543676"/>
              <a:gd name="connsiteY5" fmla="*/ 0 h 6867525"/>
              <a:gd name="connsiteX0" fmla="*/ 0 w 6543676"/>
              <a:gd name="connsiteY0" fmla="*/ 0 h 6867525"/>
              <a:gd name="connsiteX1" fmla="*/ 4981576 w 6543676"/>
              <a:gd name="connsiteY1" fmla="*/ 19050 h 6867525"/>
              <a:gd name="connsiteX2" fmla="*/ 6543676 w 6543676"/>
              <a:gd name="connsiteY2" fmla="*/ 1638300 h 6867525"/>
              <a:gd name="connsiteX3" fmla="*/ 5219701 w 6543676"/>
              <a:gd name="connsiteY3" fmla="*/ 6867525 h 6867525"/>
              <a:gd name="connsiteX4" fmla="*/ 0 w 6543676"/>
              <a:gd name="connsiteY4" fmla="*/ 6858000 h 6867525"/>
              <a:gd name="connsiteX5" fmla="*/ 0 w 6543676"/>
              <a:gd name="connsiteY5" fmla="*/ 0 h 6867525"/>
              <a:gd name="connsiteX0" fmla="*/ 0 w 6543676"/>
              <a:gd name="connsiteY0" fmla="*/ 0 h 6867525"/>
              <a:gd name="connsiteX1" fmla="*/ 4981576 w 6543676"/>
              <a:gd name="connsiteY1" fmla="*/ 0 h 6867525"/>
              <a:gd name="connsiteX2" fmla="*/ 6543676 w 6543676"/>
              <a:gd name="connsiteY2" fmla="*/ 1638300 h 6867525"/>
              <a:gd name="connsiteX3" fmla="*/ 5219701 w 6543676"/>
              <a:gd name="connsiteY3" fmla="*/ 6867525 h 6867525"/>
              <a:gd name="connsiteX4" fmla="*/ 0 w 6543676"/>
              <a:gd name="connsiteY4" fmla="*/ 6858000 h 6867525"/>
              <a:gd name="connsiteX5" fmla="*/ 0 w 6543676"/>
              <a:gd name="connsiteY5" fmla="*/ 0 h 6867525"/>
              <a:gd name="connsiteX0" fmla="*/ 0 w 6543676"/>
              <a:gd name="connsiteY0" fmla="*/ 0 h 6867525"/>
              <a:gd name="connsiteX1" fmla="*/ 4981576 w 6543676"/>
              <a:gd name="connsiteY1" fmla="*/ 0 h 6867525"/>
              <a:gd name="connsiteX2" fmla="*/ 6543676 w 6543676"/>
              <a:gd name="connsiteY2" fmla="*/ 1638300 h 6867525"/>
              <a:gd name="connsiteX3" fmla="*/ 5133976 w 6543676"/>
              <a:gd name="connsiteY3" fmla="*/ 6867525 h 6867525"/>
              <a:gd name="connsiteX4" fmla="*/ 0 w 6543676"/>
              <a:gd name="connsiteY4" fmla="*/ 6858000 h 6867525"/>
              <a:gd name="connsiteX5" fmla="*/ 0 w 6543676"/>
              <a:gd name="connsiteY5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43676" h="6867525">
                <a:moveTo>
                  <a:pt x="0" y="0"/>
                </a:moveTo>
                <a:lnTo>
                  <a:pt x="4981576" y="0"/>
                </a:lnTo>
                <a:cubicBezTo>
                  <a:pt x="5006977" y="371475"/>
                  <a:pt x="5699126" y="1152525"/>
                  <a:pt x="6543676" y="1638300"/>
                </a:cubicBezTo>
                <a:cubicBezTo>
                  <a:pt x="5686427" y="2984500"/>
                  <a:pt x="5133976" y="5178425"/>
                  <a:pt x="5133976" y="6867525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2548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B4AE70F-BF4F-41FE-ABBC-2D33AA57CB75}"/>
              </a:ext>
            </a:extLst>
          </p:cNvPr>
          <p:cNvSpPr/>
          <p:nvPr userDrawn="1"/>
        </p:nvSpPr>
        <p:spPr>
          <a:xfrm>
            <a:off x="0" y="0"/>
            <a:ext cx="12192000" cy="1162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xmlns="" id="{942E463B-FB92-43C3-B3B3-02BEE25288E3}"/>
              </a:ext>
            </a:extLst>
          </p:cNvPr>
          <p:cNvSpPr/>
          <p:nvPr/>
        </p:nvSpPr>
        <p:spPr>
          <a:xfrm>
            <a:off x="1" y="0"/>
            <a:ext cx="4020670" cy="1325812"/>
          </a:xfrm>
          <a:custGeom>
            <a:avLst/>
            <a:gdLst>
              <a:gd name="connsiteX0" fmla="*/ 2921457 w 3751729"/>
              <a:gd name="connsiteY0" fmla="*/ 929082 h 1237129"/>
              <a:gd name="connsiteX1" fmla="*/ 2929580 w 3751729"/>
              <a:gd name="connsiteY1" fmla="*/ 931543 h 1237129"/>
              <a:gd name="connsiteX2" fmla="*/ 2939672 w 3751729"/>
              <a:gd name="connsiteY2" fmla="*/ 937451 h 1237129"/>
              <a:gd name="connsiteX3" fmla="*/ 2948781 w 3751729"/>
              <a:gd name="connsiteY3" fmla="*/ 946559 h 1237129"/>
              <a:gd name="connsiteX4" fmla="*/ 2952719 w 3751729"/>
              <a:gd name="connsiteY4" fmla="*/ 954190 h 1237129"/>
              <a:gd name="connsiteX5" fmla="*/ 2948781 w 3751729"/>
              <a:gd name="connsiteY5" fmla="*/ 956651 h 1237129"/>
              <a:gd name="connsiteX6" fmla="*/ 2944596 w 3751729"/>
              <a:gd name="connsiteY6" fmla="*/ 960835 h 1237129"/>
              <a:gd name="connsiteX7" fmla="*/ 2939672 w 3751729"/>
              <a:gd name="connsiteY7" fmla="*/ 964282 h 1237129"/>
              <a:gd name="connsiteX8" fmla="*/ 2933765 w 3751729"/>
              <a:gd name="connsiteY8" fmla="*/ 966743 h 1237129"/>
              <a:gd name="connsiteX9" fmla="*/ 2938688 w 3751729"/>
              <a:gd name="connsiteY9" fmla="*/ 980035 h 1237129"/>
              <a:gd name="connsiteX10" fmla="*/ 2944596 w 3751729"/>
              <a:gd name="connsiteY10" fmla="*/ 990128 h 1237129"/>
              <a:gd name="connsiteX11" fmla="*/ 2950257 w 3751729"/>
              <a:gd name="connsiteY11" fmla="*/ 1001944 h 1237129"/>
              <a:gd name="connsiteX12" fmla="*/ 2945334 w 3751729"/>
              <a:gd name="connsiteY12" fmla="*/ 1003666 h 1237129"/>
              <a:gd name="connsiteX13" fmla="*/ 2942872 w 3751729"/>
              <a:gd name="connsiteY13" fmla="*/ 1003666 h 1237129"/>
              <a:gd name="connsiteX14" fmla="*/ 2941150 w 3751729"/>
              <a:gd name="connsiteY14" fmla="*/ 1003666 h 1237129"/>
              <a:gd name="connsiteX15" fmla="*/ 2939672 w 3751729"/>
              <a:gd name="connsiteY15" fmla="*/ 1005389 h 1237129"/>
              <a:gd name="connsiteX16" fmla="*/ 2938688 w 3751729"/>
              <a:gd name="connsiteY16" fmla="*/ 1006128 h 1237129"/>
              <a:gd name="connsiteX17" fmla="*/ 2937212 w 3751729"/>
              <a:gd name="connsiteY17" fmla="*/ 1009574 h 1237129"/>
              <a:gd name="connsiteX18" fmla="*/ 2929580 w 3751729"/>
              <a:gd name="connsiteY18" fmla="*/ 1022867 h 1237129"/>
              <a:gd name="connsiteX19" fmla="*/ 2925642 w 3751729"/>
              <a:gd name="connsiteY19" fmla="*/ 1038866 h 1237129"/>
              <a:gd name="connsiteX20" fmla="*/ 2918011 w 3751729"/>
              <a:gd name="connsiteY20" fmla="*/ 1053143 h 1237129"/>
              <a:gd name="connsiteX21" fmla="*/ 2914073 w 3751729"/>
              <a:gd name="connsiteY21" fmla="*/ 1056589 h 1237129"/>
              <a:gd name="connsiteX22" fmla="*/ 2909888 w 3751729"/>
              <a:gd name="connsiteY22" fmla="*/ 1056589 h 1237129"/>
              <a:gd name="connsiteX23" fmla="*/ 2904965 w 3751729"/>
              <a:gd name="connsiteY23" fmla="*/ 1057327 h 1237129"/>
              <a:gd name="connsiteX24" fmla="*/ 2900041 w 3751729"/>
              <a:gd name="connsiteY24" fmla="*/ 1057327 h 1237129"/>
              <a:gd name="connsiteX25" fmla="*/ 2890935 w 3751729"/>
              <a:gd name="connsiteY25" fmla="*/ 1052404 h 1237129"/>
              <a:gd name="connsiteX26" fmla="*/ 2882565 w 3751729"/>
              <a:gd name="connsiteY26" fmla="*/ 1050681 h 1237129"/>
              <a:gd name="connsiteX27" fmla="*/ 2871981 w 3751729"/>
              <a:gd name="connsiteY27" fmla="*/ 1050681 h 1237129"/>
              <a:gd name="connsiteX28" fmla="*/ 2861888 w 3751729"/>
              <a:gd name="connsiteY28" fmla="*/ 1048958 h 1237129"/>
              <a:gd name="connsiteX29" fmla="*/ 2852042 w 3751729"/>
              <a:gd name="connsiteY29" fmla="*/ 1044774 h 1237129"/>
              <a:gd name="connsiteX30" fmla="*/ 2842196 w 3751729"/>
              <a:gd name="connsiteY30" fmla="*/ 1031235 h 1237129"/>
              <a:gd name="connsiteX31" fmla="*/ 2834812 w 3751729"/>
              <a:gd name="connsiteY31" fmla="*/ 1013758 h 1237129"/>
              <a:gd name="connsiteX32" fmla="*/ 2833088 w 3751729"/>
              <a:gd name="connsiteY32" fmla="*/ 993574 h 1237129"/>
              <a:gd name="connsiteX33" fmla="*/ 2840472 w 3751729"/>
              <a:gd name="connsiteY33" fmla="*/ 990128 h 1237129"/>
              <a:gd name="connsiteX34" fmla="*/ 2846380 w 3751729"/>
              <a:gd name="connsiteY34" fmla="*/ 990128 h 1237129"/>
              <a:gd name="connsiteX35" fmla="*/ 2852042 w 3751729"/>
              <a:gd name="connsiteY35" fmla="*/ 991851 h 1237129"/>
              <a:gd name="connsiteX36" fmla="*/ 2857950 w 3751729"/>
              <a:gd name="connsiteY36" fmla="*/ 988651 h 1237129"/>
              <a:gd name="connsiteX37" fmla="*/ 2865334 w 3751729"/>
              <a:gd name="connsiteY37" fmla="*/ 976835 h 1237129"/>
              <a:gd name="connsiteX38" fmla="*/ 2883549 w 3751729"/>
              <a:gd name="connsiteY38" fmla="*/ 974374 h 1237129"/>
              <a:gd name="connsiteX39" fmla="*/ 2886749 w 3751729"/>
              <a:gd name="connsiteY39" fmla="*/ 971666 h 1237129"/>
              <a:gd name="connsiteX40" fmla="*/ 2889211 w 3751729"/>
              <a:gd name="connsiteY40" fmla="*/ 968466 h 1237129"/>
              <a:gd name="connsiteX41" fmla="*/ 2889211 w 3751729"/>
              <a:gd name="connsiteY41" fmla="*/ 966743 h 1237129"/>
              <a:gd name="connsiteX42" fmla="*/ 2890935 w 3751729"/>
              <a:gd name="connsiteY42" fmla="*/ 965758 h 1237129"/>
              <a:gd name="connsiteX43" fmla="*/ 2890935 w 3751729"/>
              <a:gd name="connsiteY43" fmla="*/ 964282 h 1237129"/>
              <a:gd name="connsiteX44" fmla="*/ 2890935 w 3751729"/>
              <a:gd name="connsiteY44" fmla="*/ 962559 h 1237129"/>
              <a:gd name="connsiteX45" fmla="*/ 2892411 w 3751729"/>
              <a:gd name="connsiteY45" fmla="*/ 960835 h 1237129"/>
              <a:gd name="connsiteX46" fmla="*/ 2895119 w 3751729"/>
              <a:gd name="connsiteY46" fmla="*/ 960835 h 1237129"/>
              <a:gd name="connsiteX47" fmla="*/ 2900041 w 3751729"/>
              <a:gd name="connsiteY47" fmla="*/ 960835 h 1237129"/>
              <a:gd name="connsiteX48" fmla="*/ 2904965 w 3751729"/>
              <a:gd name="connsiteY48" fmla="*/ 960835 h 1237129"/>
              <a:gd name="connsiteX49" fmla="*/ 2908165 w 3751729"/>
              <a:gd name="connsiteY49" fmla="*/ 950743 h 1237129"/>
              <a:gd name="connsiteX50" fmla="*/ 2912349 w 3751729"/>
              <a:gd name="connsiteY50" fmla="*/ 943112 h 1237129"/>
              <a:gd name="connsiteX51" fmla="*/ 2916534 w 3751729"/>
              <a:gd name="connsiteY51" fmla="*/ 936466 h 1237129"/>
              <a:gd name="connsiteX52" fmla="*/ 2505952 w 3751729"/>
              <a:gd name="connsiteY52" fmla="*/ 909636 h 1237129"/>
              <a:gd name="connsiteX53" fmla="*/ 2514321 w 3751729"/>
              <a:gd name="connsiteY53" fmla="*/ 915544 h 1237129"/>
              <a:gd name="connsiteX54" fmla="*/ 2519244 w 3751729"/>
              <a:gd name="connsiteY54" fmla="*/ 925636 h 1237129"/>
              <a:gd name="connsiteX55" fmla="*/ 2519244 w 3751729"/>
              <a:gd name="connsiteY55" fmla="*/ 940651 h 1237129"/>
              <a:gd name="connsiteX56" fmla="*/ 2519244 w 3751729"/>
              <a:gd name="connsiteY56" fmla="*/ 942374 h 1237129"/>
              <a:gd name="connsiteX57" fmla="*/ 2519983 w 3751729"/>
              <a:gd name="connsiteY57" fmla="*/ 942374 h 1237129"/>
              <a:gd name="connsiteX58" fmla="*/ 2521707 w 3751729"/>
              <a:gd name="connsiteY58" fmla="*/ 943113 h 1237129"/>
              <a:gd name="connsiteX59" fmla="*/ 2521707 w 3751729"/>
              <a:gd name="connsiteY59" fmla="*/ 944836 h 1237129"/>
              <a:gd name="connsiteX60" fmla="*/ 2521707 w 3751729"/>
              <a:gd name="connsiteY60" fmla="*/ 948282 h 1237129"/>
              <a:gd name="connsiteX61" fmla="*/ 2519244 w 3751729"/>
              <a:gd name="connsiteY61" fmla="*/ 948282 h 1237129"/>
              <a:gd name="connsiteX62" fmla="*/ 2515798 w 3751729"/>
              <a:gd name="connsiteY62" fmla="*/ 949021 h 1237129"/>
              <a:gd name="connsiteX63" fmla="*/ 2514321 w 3751729"/>
              <a:gd name="connsiteY63" fmla="*/ 952466 h 1237129"/>
              <a:gd name="connsiteX64" fmla="*/ 2511860 w 3751729"/>
              <a:gd name="connsiteY64" fmla="*/ 954190 h 1237129"/>
              <a:gd name="connsiteX65" fmla="*/ 2510137 w 3751729"/>
              <a:gd name="connsiteY65" fmla="*/ 954190 h 1237129"/>
              <a:gd name="connsiteX66" fmla="*/ 2508413 w 3751729"/>
              <a:gd name="connsiteY66" fmla="*/ 952466 h 1237129"/>
              <a:gd name="connsiteX67" fmla="*/ 2507675 w 3751729"/>
              <a:gd name="connsiteY67" fmla="*/ 952466 h 1237129"/>
              <a:gd name="connsiteX68" fmla="*/ 2505952 w 3751729"/>
              <a:gd name="connsiteY68" fmla="*/ 950743 h 1237129"/>
              <a:gd name="connsiteX69" fmla="*/ 2500290 w 3751729"/>
              <a:gd name="connsiteY69" fmla="*/ 938928 h 1237129"/>
              <a:gd name="connsiteX70" fmla="*/ 2500290 w 3751729"/>
              <a:gd name="connsiteY70" fmla="*/ 921452 h 1237129"/>
              <a:gd name="connsiteX71" fmla="*/ 2501768 w 3751729"/>
              <a:gd name="connsiteY71" fmla="*/ 918990 h 1237129"/>
              <a:gd name="connsiteX72" fmla="*/ 2503490 w 3751729"/>
              <a:gd name="connsiteY72" fmla="*/ 917267 h 1237129"/>
              <a:gd name="connsiteX73" fmla="*/ 2504229 w 3751729"/>
              <a:gd name="connsiteY73" fmla="*/ 913821 h 1237129"/>
              <a:gd name="connsiteX74" fmla="*/ 3023856 w 3751729"/>
              <a:gd name="connsiteY74" fmla="*/ 892159 h 1237129"/>
              <a:gd name="connsiteX75" fmla="*/ 3030503 w 3751729"/>
              <a:gd name="connsiteY75" fmla="*/ 899544 h 1237129"/>
              <a:gd name="connsiteX76" fmla="*/ 3035425 w 3751729"/>
              <a:gd name="connsiteY76" fmla="*/ 907913 h 1237129"/>
              <a:gd name="connsiteX77" fmla="*/ 3035425 w 3751729"/>
              <a:gd name="connsiteY77" fmla="*/ 921452 h 1237129"/>
              <a:gd name="connsiteX78" fmla="*/ 3036164 w 3751729"/>
              <a:gd name="connsiteY78" fmla="*/ 924652 h 1237129"/>
              <a:gd name="connsiteX79" fmla="*/ 3037887 w 3751729"/>
              <a:gd name="connsiteY79" fmla="*/ 924652 h 1237129"/>
              <a:gd name="connsiteX80" fmla="*/ 3037887 w 3751729"/>
              <a:gd name="connsiteY80" fmla="*/ 925637 h 1237129"/>
              <a:gd name="connsiteX81" fmla="*/ 3036164 w 3751729"/>
              <a:gd name="connsiteY81" fmla="*/ 925637 h 1237129"/>
              <a:gd name="connsiteX82" fmla="*/ 3035425 w 3751729"/>
              <a:gd name="connsiteY82" fmla="*/ 929083 h 1237129"/>
              <a:gd name="connsiteX83" fmla="*/ 3035425 w 3751729"/>
              <a:gd name="connsiteY83" fmla="*/ 931543 h 1237129"/>
              <a:gd name="connsiteX84" fmla="*/ 3033703 w 3751729"/>
              <a:gd name="connsiteY84" fmla="*/ 931543 h 1237129"/>
              <a:gd name="connsiteX85" fmla="*/ 3033703 w 3751729"/>
              <a:gd name="connsiteY85" fmla="*/ 933267 h 1237129"/>
              <a:gd name="connsiteX86" fmla="*/ 3032225 w 3751729"/>
              <a:gd name="connsiteY86" fmla="*/ 933267 h 1237129"/>
              <a:gd name="connsiteX87" fmla="*/ 3029519 w 3751729"/>
              <a:gd name="connsiteY87" fmla="*/ 934744 h 1237129"/>
              <a:gd name="connsiteX88" fmla="*/ 3028041 w 3751729"/>
              <a:gd name="connsiteY88" fmla="*/ 931543 h 1237129"/>
              <a:gd name="connsiteX89" fmla="*/ 3028041 w 3751729"/>
              <a:gd name="connsiteY89" fmla="*/ 930559 h 1237129"/>
              <a:gd name="connsiteX90" fmla="*/ 3026319 w 3751729"/>
              <a:gd name="connsiteY90" fmla="*/ 930559 h 1237129"/>
              <a:gd name="connsiteX91" fmla="*/ 3024595 w 3751729"/>
              <a:gd name="connsiteY91" fmla="*/ 930559 h 1237129"/>
              <a:gd name="connsiteX92" fmla="*/ 3023856 w 3751729"/>
              <a:gd name="connsiteY92" fmla="*/ 929083 h 1237129"/>
              <a:gd name="connsiteX93" fmla="*/ 3023856 w 3751729"/>
              <a:gd name="connsiteY93" fmla="*/ 931543 h 1237129"/>
              <a:gd name="connsiteX94" fmla="*/ 3024595 w 3751729"/>
              <a:gd name="connsiteY94" fmla="*/ 933267 h 1237129"/>
              <a:gd name="connsiteX95" fmla="*/ 3026319 w 3751729"/>
              <a:gd name="connsiteY95" fmla="*/ 934744 h 1237129"/>
              <a:gd name="connsiteX96" fmla="*/ 3028041 w 3751729"/>
              <a:gd name="connsiteY96" fmla="*/ 936467 h 1237129"/>
              <a:gd name="connsiteX97" fmla="*/ 3026319 w 3751729"/>
              <a:gd name="connsiteY97" fmla="*/ 937452 h 1237129"/>
              <a:gd name="connsiteX98" fmla="*/ 3026319 w 3751729"/>
              <a:gd name="connsiteY98" fmla="*/ 938929 h 1237129"/>
              <a:gd name="connsiteX99" fmla="*/ 3026319 w 3751729"/>
              <a:gd name="connsiteY99" fmla="*/ 940652 h 1237129"/>
              <a:gd name="connsiteX100" fmla="*/ 3026319 w 3751729"/>
              <a:gd name="connsiteY100" fmla="*/ 944836 h 1237129"/>
              <a:gd name="connsiteX101" fmla="*/ 3018933 w 3751729"/>
              <a:gd name="connsiteY101" fmla="*/ 944836 h 1237129"/>
              <a:gd name="connsiteX102" fmla="*/ 3018933 w 3751729"/>
              <a:gd name="connsiteY102" fmla="*/ 940652 h 1237129"/>
              <a:gd name="connsiteX103" fmla="*/ 3014749 w 3751729"/>
              <a:gd name="connsiteY103" fmla="*/ 938929 h 1237129"/>
              <a:gd name="connsiteX104" fmla="*/ 3010564 w 3751729"/>
              <a:gd name="connsiteY104" fmla="*/ 936467 h 1237129"/>
              <a:gd name="connsiteX105" fmla="*/ 3009087 w 3751729"/>
              <a:gd name="connsiteY105" fmla="*/ 933267 h 1237129"/>
              <a:gd name="connsiteX106" fmla="*/ 3007364 w 3751729"/>
              <a:gd name="connsiteY106" fmla="*/ 929083 h 1237129"/>
              <a:gd name="connsiteX107" fmla="*/ 3006626 w 3751729"/>
              <a:gd name="connsiteY107" fmla="*/ 924652 h 1237129"/>
              <a:gd name="connsiteX108" fmla="*/ 3003180 w 3751729"/>
              <a:gd name="connsiteY108" fmla="*/ 918990 h 1237129"/>
              <a:gd name="connsiteX109" fmla="*/ 2998995 w 3751729"/>
              <a:gd name="connsiteY109" fmla="*/ 921452 h 1237129"/>
              <a:gd name="connsiteX110" fmla="*/ 2993334 w 3751729"/>
              <a:gd name="connsiteY110" fmla="*/ 924652 h 1237129"/>
              <a:gd name="connsiteX111" fmla="*/ 2987426 w 3751729"/>
              <a:gd name="connsiteY111" fmla="*/ 925637 h 1237129"/>
              <a:gd name="connsiteX112" fmla="*/ 2981764 w 3751729"/>
              <a:gd name="connsiteY112" fmla="*/ 929083 h 1237129"/>
              <a:gd name="connsiteX113" fmla="*/ 2981764 w 3751729"/>
              <a:gd name="connsiteY113" fmla="*/ 921452 h 1237129"/>
              <a:gd name="connsiteX114" fmla="*/ 2983488 w 3751729"/>
              <a:gd name="connsiteY114" fmla="*/ 919729 h 1237129"/>
              <a:gd name="connsiteX115" fmla="*/ 2983488 w 3751729"/>
              <a:gd name="connsiteY115" fmla="*/ 918990 h 1237129"/>
              <a:gd name="connsiteX116" fmla="*/ 2984226 w 3751729"/>
              <a:gd name="connsiteY116" fmla="*/ 918990 h 1237129"/>
              <a:gd name="connsiteX117" fmla="*/ 2984226 w 3751729"/>
              <a:gd name="connsiteY117" fmla="*/ 915544 h 1237129"/>
              <a:gd name="connsiteX118" fmla="*/ 2995794 w 3751729"/>
              <a:gd name="connsiteY118" fmla="*/ 911360 h 1237129"/>
              <a:gd name="connsiteX119" fmla="*/ 3006626 w 3751729"/>
              <a:gd name="connsiteY119" fmla="*/ 907913 h 1237129"/>
              <a:gd name="connsiteX120" fmla="*/ 3016472 w 3751729"/>
              <a:gd name="connsiteY120" fmla="*/ 902005 h 1237129"/>
              <a:gd name="connsiteX121" fmla="*/ 2952719 w 3751729"/>
              <a:gd name="connsiteY121" fmla="*/ 876159 h 1237129"/>
              <a:gd name="connsiteX122" fmla="*/ 2956165 w 3751729"/>
              <a:gd name="connsiteY122" fmla="*/ 879359 h 1237129"/>
              <a:gd name="connsiteX123" fmla="*/ 2956904 w 3751729"/>
              <a:gd name="connsiteY123" fmla="*/ 879359 h 1237129"/>
              <a:gd name="connsiteX124" fmla="*/ 2958626 w 3751729"/>
              <a:gd name="connsiteY124" fmla="*/ 879359 h 1237129"/>
              <a:gd name="connsiteX125" fmla="*/ 2958626 w 3751729"/>
              <a:gd name="connsiteY125" fmla="*/ 880344 h 1237129"/>
              <a:gd name="connsiteX126" fmla="*/ 2958626 w 3751729"/>
              <a:gd name="connsiteY126" fmla="*/ 883543 h 1237129"/>
              <a:gd name="connsiteX127" fmla="*/ 2960350 w 3751729"/>
              <a:gd name="connsiteY127" fmla="*/ 886251 h 1237129"/>
              <a:gd name="connsiteX128" fmla="*/ 2951242 w 3751729"/>
              <a:gd name="connsiteY128" fmla="*/ 893636 h 1237129"/>
              <a:gd name="connsiteX129" fmla="*/ 2945334 w 3751729"/>
              <a:gd name="connsiteY129" fmla="*/ 901267 h 1237129"/>
              <a:gd name="connsiteX130" fmla="*/ 2938687 w 3751729"/>
              <a:gd name="connsiteY130" fmla="*/ 907175 h 1237129"/>
              <a:gd name="connsiteX131" fmla="*/ 2928103 w 3751729"/>
              <a:gd name="connsiteY131" fmla="*/ 913082 h 1237129"/>
              <a:gd name="connsiteX132" fmla="*/ 2928103 w 3751729"/>
              <a:gd name="connsiteY132" fmla="*/ 909636 h 1237129"/>
              <a:gd name="connsiteX133" fmla="*/ 2937212 w 3751729"/>
              <a:gd name="connsiteY133" fmla="*/ 899544 h 1237129"/>
              <a:gd name="connsiteX134" fmla="*/ 2947058 w 3751729"/>
              <a:gd name="connsiteY134" fmla="*/ 889451 h 1237129"/>
              <a:gd name="connsiteX135" fmla="*/ 882825 w 3751729"/>
              <a:gd name="connsiteY135" fmla="*/ 798867 h 1237129"/>
              <a:gd name="connsiteX136" fmla="*/ 888734 w 3751729"/>
              <a:gd name="connsiteY136" fmla="*/ 798867 h 1237129"/>
              <a:gd name="connsiteX137" fmla="*/ 894395 w 3751729"/>
              <a:gd name="connsiteY137" fmla="*/ 799852 h 1237129"/>
              <a:gd name="connsiteX138" fmla="*/ 901041 w 3751729"/>
              <a:gd name="connsiteY138" fmla="*/ 803052 h 1237129"/>
              <a:gd name="connsiteX139" fmla="*/ 898579 w 3751729"/>
              <a:gd name="connsiteY139" fmla="*/ 804776 h 1237129"/>
              <a:gd name="connsiteX140" fmla="*/ 896857 w 3751729"/>
              <a:gd name="connsiteY140" fmla="*/ 807236 h 1237129"/>
              <a:gd name="connsiteX141" fmla="*/ 894395 w 3751729"/>
              <a:gd name="connsiteY141" fmla="*/ 808960 h 1237129"/>
              <a:gd name="connsiteX142" fmla="*/ 889472 w 3751729"/>
              <a:gd name="connsiteY142" fmla="*/ 808960 h 1237129"/>
              <a:gd name="connsiteX143" fmla="*/ 885288 w 3751729"/>
              <a:gd name="connsiteY143" fmla="*/ 807236 h 1237129"/>
              <a:gd name="connsiteX144" fmla="*/ 881350 w 3751729"/>
              <a:gd name="connsiteY144" fmla="*/ 807236 h 1237129"/>
              <a:gd name="connsiteX145" fmla="*/ 877164 w 3751729"/>
              <a:gd name="connsiteY145" fmla="*/ 807236 h 1237129"/>
              <a:gd name="connsiteX146" fmla="*/ 872241 w 3751729"/>
              <a:gd name="connsiteY146" fmla="*/ 808960 h 1237129"/>
              <a:gd name="connsiteX147" fmla="*/ 872241 w 3751729"/>
              <a:gd name="connsiteY147" fmla="*/ 799852 h 1237129"/>
              <a:gd name="connsiteX148" fmla="*/ 2977580 w 3751729"/>
              <a:gd name="connsiteY148" fmla="*/ 789759 h 1237129"/>
              <a:gd name="connsiteX149" fmla="*/ 2981764 w 3751729"/>
              <a:gd name="connsiteY149" fmla="*/ 789759 h 1237129"/>
              <a:gd name="connsiteX150" fmla="*/ 2987426 w 3751729"/>
              <a:gd name="connsiteY150" fmla="*/ 789759 h 1237129"/>
              <a:gd name="connsiteX151" fmla="*/ 2987426 w 3751729"/>
              <a:gd name="connsiteY151" fmla="*/ 804775 h 1237129"/>
              <a:gd name="connsiteX152" fmla="*/ 2985948 w 3751729"/>
              <a:gd name="connsiteY152" fmla="*/ 814867 h 1237129"/>
              <a:gd name="connsiteX153" fmla="*/ 2983488 w 3751729"/>
              <a:gd name="connsiteY153" fmla="*/ 823237 h 1237129"/>
              <a:gd name="connsiteX154" fmla="*/ 2981764 w 3751729"/>
              <a:gd name="connsiteY154" fmla="*/ 838251 h 1237129"/>
              <a:gd name="connsiteX155" fmla="*/ 2984226 w 3751729"/>
              <a:gd name="connsiteY155" fmla="*/ 838251 h 1237129"/>
              <a:gd name="connsiteX156" fmla="*/ 2984226 w 3751729"/>
              <a:gd name="connsiteY156" fmla="*/ 840960 h 1237129"/>
              <a:gd name="connsiteX157" fmla="*/ 2989888 w 3751729"/>
              <a:gd name="connsiteY157" fmla="*/ 840960 h 1237129"/>
              <a:gd name="connsiteX158" fmla="*/ 2993334 w 3751729"/>
              <a:gd name="connsiteY158" fmla="*/ 840960 h 1237129"/>
              <a:gd name="connsiteX159" fmla="*/ 2995794 w 3751729"/>
              <a:gd name="connsiteY159" fmla="*/ 840960 h 1237129"/>
              <a:gd name="connsiteX160" fmla="*/ 2998995 w 3751729"/>
              <a:gd name="connsiteY160" fmla="*/ 842435 h 1237129"/>
              <a:gd name="connsiteX161" fmla="*/ 3001457 w 3751729"/>
              <a:gd name="connsiteY161" fmla="*/ 844160 h 1237129"/>
              <a:gd name="connsiteX162" fmla="*/ 3007364 w 3751729"/>
              <a:gd name="connsiteY162" fmla="*/ 845144 h 1237129"/>
              <a:gd name="connsiteX163" fmla="*/ 3010564 w 3751729"/>
              <a:gd name="connsiteY163" fmla="*/ 855974 h 1237129"/>
              <a:gd name="connsiteX164" fmla="*/ 3016472 w 3751729"/>
              <a:gd name="connsiteY164" fmla="*/ 862621 h 1237129"/>
              <a:gd name="connsiteX165" fmla="*/ 3023856 w 3751729"/>
              <a:gd name="connsiteY165" fmla="*/ 870251 h 1237129"/>
              <a:gd name="connsiteX166" fmla="*/ 3029519 w 3751729"/>
              <a:gd name="connsiteY166" fmla="*/ 880344 h 1237129"/>
              <a:gd name="connsiteX167" fmla="*/ 3024595 w 3751729"/>
              <a:gd name="connsiteY167" fmla="*/ 882066 h 1237129"/>
              <a:gd name="connsiteX168" fmla="*/ 3022133 w 3751729"/>
              <a:gd name="connsiteY168" fmla="*/ 883544 h 1237129"/>
              <a:gd name="connsiteX169" fmla="*/ 3020656 w 3751729"/>
              <a:gd name="connsiteY169" fmla="*/ 883544 h 1237129"/>
              <a:gd name="connsiteX170" fmla="*/ 3020656 w 3751729"/>
              <a:gd name="connsiteY170" fmla="*/ 885267 h 1237129"/>
              <a:gd name="connsiteX171" fmla="*/ 3020656 w 3751729"/>
              <a:gd name="connsiteY171" fmla="*/ 886252 h 1237129"/>
              <a:gd name="connsiteX172" fmla="*/ 3020656 w 3751729"/>
              <a:gd name="connsiteY172" fmla="*/ 887728 h 1237129"/>
              <a:gd name="connsiteX173" fmla="*/ 3017948 w 3751729"/>
              <a:gd name="connsiteY173" fmla="*/ 887728 h 1237129"/>
              <a:gd name="connsiteX174" fmla="*/ 3013026 w 3751729"/>
              <a:gd name="connsiteY174" fmla="*/ 889452 h 1237129"/>
              <a:gd name="connsiteX175" fmla="*/ 3012287 w 3751729"/>
              <a:gd name="connsiteY175" fmla="*/ 886252 h 1237129"/>
              <a:gd name="connsiteX176" fmla="*/ 3012287 w 3751729"/>
              <a:gd name="connsiteY176" fmla="*/ 885267 h 1237129"/>
              <a:gd name="connsiteX177" fmla="*/ 3010564 w 3751729"/>
              <a:gd name="connsiteY177" fmla="*/ 885267 h 1237129"/>
              <a:gd name="connsiteX178" fmla="*/ 3009087 w 3751729"/>
              <a:gd name="connsiteY178" fmla="*/ 885267 h 1237129"/>
              <a:gd name="connsiteX179" fmla="*/ 3007364 w 3751729"/>
              <a:gd name="connsiteY179" fmla="*/ 883544 h 1237129"/>
              <a:gd name="connsiteX180" fmla="*/ 3004903 w 3751729"/>
              <a:gd name="connsiteY180" fmla="*/ 889452 h 1237129"/>
              <a:gd name="connsiteX181" fmla="*/ 3003180 w 3751729"/>
              <a:gd name="connsiteY181" fmla="*/ 893636 h 1237129"/>
              <a:gd name="connsiteX182" fmla="*/ 3000718 w 3751729"/>
              <a:gd name="connsiteY182" fmla="*/ 897821 h 1237129"/>
              <a:gd name="connsiteX183" fmla="*/ 2995794 w 3751729"/>
              <a:gd name="connsiteY183" fmla="*/ 899544 h 1237129"/>
              <a:gd name="connsiteX184" fmla="*/ 2991611 w 3751729"/>
              <a:gd name="connsiteY184" fmla="*/ 902005 h 1237129"/>
              <a:gd name="connsiteX185" fmla="*/ 2991611 w 3751729"/>
              <a:gd name="connsiteY185" fmla="*/ 899544 h 1237129"/>
              <a:gd name="connsiteX186" fmla="*/ 2989148 w 3751729"/>
              <a:gd name="connsiteY186" fmla="*/ 896343 h 1237129"/>
              <a:gd name="connsiteX187" fmla="*/ 2989148 w 3751729"/>
              <a:gd name="connsiteY187" fmla="*/ 893636 h 1237129"/>
              <a:gd name="connsiteX188" fmla="*/ 2989148 w 3751729"/>
              <a:gd name="connsiteY188" fmla="*/ 892159 h 1237129"/>
              <a:gd name="connsiteX189" fmla="*/ 2989148 w 3751729"/>
              <a:gd name="connsiteY189" fmla="*/ 891175 h 1237129"/>
              <a:gd name="connsiteX190" fmla="*/ 2989148 w 3751729"/>
              <a:gd name="connsiteY190" fmla="*/ 889452 h 1237129"/>
              <a:gd name="connsiteX191" fmla="*/ 2987426 w 3751729"/>
              <a:gd name="connsiteY191" fmla="*/ 887728 h 1237129"/>
              <a:gd name="connsiteX192" fmla="*/ 2985948 w 3751729"/>
              <a:gd name="connsiteY192" fmla="*/ 887728 h 1237129"/>
              <a:gd name="connsiteX193" fmla="*/ 2981764 w 3751729"/>
              <a:gd name="connsiteY193" fmla="*/ 886252 h 1237129"/>
              <a:gd name="connsiteX194" fmla="*/ 2981764 w 3751729"/>
              <a:gd name="connsiteY194" fmla="*/ 882066 h 1237129"/>
              <a:gd name="connsiteX195" fmla="*/ 2981764 w 3751729"/>
              <a:gd name="connsiteY195" fmla="*/ 877882 h 1237129"/>
              <a:gd name="connsiteX196" fmla="*/ 2983488 w 3751729"/>
              <a:gd name="connsiteY196" fmla="*/ 874435 h 1237129"/>
              <a:gd name="connsiteX197" fmla="*/ 2983488 w 3751729"/>
              <a:gd name="connsiteY197" fmla="*/ 873698 h 1237129"/>
              <a:gd name="connsiteX198" fmla="*/ 2984226 w 3751729"/>
              <a:gd name="connsiteY198" fmla="*/ 871975 h 1237129"/>
              <a:gd name="connsiteX199" fmla="*/ 2987426 w 3751729"/>
              <a:gd name="connsiteY199" fmla="*/ 871975 h 1237129"/>
              <a:gd name="connsiteX200" fmla="*/ 2991611 w 3751729"/>
              <a:gd name="connsiteY200" fmla="*/ 870251 h 1237129"/>
              <a:gd name="connsiteX201" fmla="*/ 2997519 w 3751729"/>
              <a:gd name="connsiteY201" fmla="*/ 870251 h 1237129"/>
              <a:gd name="connsiteX202" fmla="*/ 2997519 w 3751729"/>
              <a:gd name="connsiteY202" fmla="*/ 880344 h 1237129"/>
              <a:gd name="connsiteX203" fmla="*/ 3007364 w 3751729"/>
              <a:gd name="connsiteY203" fmla="*/ 880344 h 1237129"/>
              <a:gd name="connsiteX204" fmla="*/ 3007364 w 3751729"/>
              <a:gd name="connsiteY204" fmla="*/ 877882 h 1237129"/>
              <a:gd name="connsiteX205" fmla="*/ 3009087 w 3751729"/>
              <a:gd name="connsiteY205" fmla="*/ 874435 h 1237129"/>
              <a:gd name="connsiteX206" fmla="*/ 3010564 w 3751729"/>
              <a:gd name="connsiteY206" fmla="*/ 873698 h 1237129"/>
              <a:gd name="connsiteX207" fmla="*/ 3010564 w 3751729"/>
              <a:gd name="connsiteY207" fmla="*/ 871975 h 1237129"/>
              <a:gd name="connsiteX208" fmla="*/ 3012287 w 3751729"/>
              <a:gd name="connsiteY208" fmla="*/ 870251 h 1237129"/>
              <a:gd name="connsiteX209" fmla="*/ 3013026 w 3751729"/>
              <a:gd name="connsiteY209" fmla="*/ 867789 h 1237129"/>
              <a:gd name="connsiteX210" fmla="*/ 3010564 w 3751729"/>
              <a:gd name="connsiteY210" fmla="*/ 867789 h 1237129"/>
              <a:gd name="connsiteX211" fmla="*/ 2995794 w 3751729"/>
              <a:gd name="connsiteY211" fmla="*/ 855974 h 1237129"/>
              <a:gd name="connsiteX212" fmla="*/ 2979303 w 3751729"/>
              <a:gd name="connsiteY212" fmla="*/ 848344 h 1237129"/>
              <a:gd name="connsiteX213" fmla="*/ 2979303 w 3751729"/>
              <a:gd name="connsiteY213" fmla="*/ 854252 h 1237129"/>
              <a:gd name="connsiteX214" fmla="*/ 2977580 w 3751729"/>
              <a:gd name="connsiteY214" fmla="*/ 858436 h 1237129"/>
              <a:gd name="connsiteX215" fmla="*/ 2975857 w 3751729"/>
              <a:gd name="connsiteY215" fmla="*/ 862621 h 1237129"/>
              <a:gd name="connsiteX216" fmla="*/ 2975857 w 3751729"/>
              <a:gd name="connsiteY216" fmla="*/ 867789 h 1237129"/>
              <a:gd name="connsiteX217" fmla="*/ 2974380 w 3751729"/>
              <a:gd name="connsiteY217" fmla="*/ 866067 h 1237129"/>
              <a:gd name="connsiteX218" fmla="*/ 2973396 w 3751729"/>
              <a:gd name="connsiteY218" fmla="*/ 864344 h 1237129"/>
              <a:gd name="connsiteX219" fmla="*/ 2973396 w 3751729"/>
              <a:gd name="connsiteY219" fmla="*/ 862621 h 1237129"/>
              <a:gd name="connsiteX220" fmla="*/ 2971918 w 3751729"/>
              <a:gd name="connsiteY220" fmla="*/ 861883 h 1237129"/>
              <a:gd name="connsiteX221" fmla="*/ 2967734 w 3751729"/>
              <a:gd name="connsiteY221" fmla="*/ 850806 h 1237129"/>
              <a:gd name="connsiteX222" fmla="*/ 2962810 w 3751729"/>
              <a:gd name="connsiteY222" fmla="*/ 838251 h 1237129"/>
              <a:gd name="connsiteX223" fmla="*/ 2961826 w 3751729"/>
              <a:gd name="connsiteY223" fmla="*/ 821513 h 1237129"/>
              <a:gd name="connsiteX224" fmla="*/ 2962810 w 3751729"/>
              <a:gd name="connsiteY224" fmla="*/ 807236 h 1237129"/>
              <a:gd name="connsiteX225" fmla="*/ 2968472 w 3751729"/>
              <a:gd name="connsiteY225" fmla="*/ 792959 h 1237129"/>
              <a:gd name="connsiteX226" fmla="*/ 2973396 w 3751729"/>
              <a:gd name="connsiteY226" fmla="*/ 791237 h 1237129"/>
              <a:gd name="connsiteX227" fmla="*/ 835074 w 3751729"/>
              <a:gd name="connsiteY227" fmla="*/ 789759 h 1237129"/>
              <a:gd name="connsiteX228" fmla="*/ 840735 w 3751729"/>
              <a:gd name="connsiteY228" fmla="*/ 789759 h 1237129"/>
              <a:gd name="connsiteX229" fmla="*/ 846643 w 3751729"/>
              <a:gd name="connsiteY229" fmla="*/ 791237 h 1237129"/>
              <a:gd name="connsiteX230" fmla="*/ 852305 w 3751729"/>
              <a:gd name="connsiteY230" fmla="*/ 791237 h 1237129"/>
              <a:gd name="connsiteX231" fmla="*/ 856490 w 3751729"/>
              <a:gd name="connsiteY231" fmla="*/ 792959 h 1237129"/>
              <a:gd name="connsiteX232" fmla="*/ 856490 w 3751729"/>
              <a:gd name="connsiteY232" fmla="*/ 799852 h 1237129"/>
              <a:gd name="connsiteX233" fmla="*/ 835074 w 3751729"/>
              <a:gd name="connsiteY233" fmla="*/ 799852 h 1237129"/>
              <a:gd name="connsiteX234" fmla="*/ 713473 w 3751729"/>
              <a:gd name="connsiteY234" fmla="*/ 789759 h 1237129"/>
              <a:gd name="connsiteX235" fmla="*/ 721104 w 3751729"/>
              <a:gd name="connsiteY235" fmla="*/ 791237 h 1237129"/>
              <a:gd name="connsiteX236" fmla="*/ 725043 w 3751729"/>
              <a:gd name="connsiteY236" fmla="*/ 793944 h 1237129"/>
              <a:gd name="connsiteX237" fmla="*/ 730950 w 3751729"/>
              <a:gd name="connsiteY237" fmla="*/ 797144 h 1237129"/>
              <a:gd name="connsiteX238" fmla="*/ 735873 w 3751729"/>
              <a:gd name="connsiteY238" fmla="*/ 799852 h 1237129"/>
              <a:gd name="connsiteX239" fmla="*/ 735873 w 3751729"/>
              <a:gd name="connsiteY239" fmla="*/ 803052 h 1237129"/>
              <a:gd name="connsiteX240" fmla="*/ 730212 w 3751729"/>
              <a:gd name="connsiteY240" fmla="*/ 803052 h 1237129"/>
              <a:gd name="connsiteX241" fmla="*/ 725043 w 3751729"/>
              <a:gd name="connsiteY241" fmla="*/ 804776 h 1237129"/>
              <a:gd name="connsiteX242" fmla="*/ 721104 w 3751729"/>
              <a:gd name="connsiteY242" fmla="*/ 805515 h 1237129"/>
              <a:gd name="connsiteX243" fmla="*/ 718642 w 3751729"/>
              <a:gd name="connsiteY243" fmla="*/ 804776 h 1237129"/>
              <a:gd name="connsiteX244" fmla="*/ 712735 w 3751729"/>
              <a:gd name="connsiteY244" fmla="*/ 804776 h 1237129"/>
              <a:gd name="connsiteX245" fmla="*/ 707812 w 3751729"/>
              <a:gd name="connsiteY245" fmla="*/ 803052 h 1237129"/>
              <a:gd name="connsiteX246" fmla="*/ 707812 w 3751729"/>
              <a:gd name="connsiteY246" fmla="*/ 792959 h 1237129"/>
              <a:gd name="connsiteX247" fmla="*/ 709535 w 3751729"/>
              <a:gd name="connsiteY247" fmla="*/ 792959 h 1237129"/>
              <a:gd name="connsiteX248" fmla="*/ 711012 w 3751729"/>
              <a:gd name="connsiteY248" fmla="*/ 791237 h 1237129"/>
              <a:gd name="connsiteX249" fmla="*/ 712735 w 3751729"/>
              <a:gd name="connsiteY249" fmla="*/ 791237 h 1237129"/>
              <a:gd name="connsiteX250" fmla="*/ 763934 w 3751729"/>
              <a:gd name="connsiteY250" fmla="*/ 776221 h 1237129"/>
              <a:gd name="connsiteX251" fmla="*/ 781411 w 3751729"/>
              <a:gd name="connsiteY251" fmla="*/ 777945 h 1237129"/>
              <a:gd name="connsiteX252" fmla="*/ 796181 w 3751729"/>
              <a:gd name="connsiteY252" fmla="*/ 781391 h 1237129"/>
              <a:gd name="connsiteX253" fmla="*/ 807751 w 3751729"/>
              <a:gd name="connsiteY253" fmla="*/ 785575 h 1237129"/>
              <a:gd name="connsiteX254" fmla="*/ 821781 w 3751729"/>
              <a:gd name="connsiteY254" fmla="*/ 789760 h 1237129"/>
              <a:gd name="connsiteX255" fmla="*/ 821781 w 3751729"/>
              <a:gd name="connsiteY255" fmla="*/ 797144 h 1237129"/>
              <a:gd name="connsiteX256" fmla="*/ 816120 w 3751729"/>
              <a:gd name="connsiteY256" fmla="*/ 797144 h 1237129"/>
              <a:gd name="connsiteX257" fmla="*/ 813412 w 3751729"/>
              <a:gd name="connsiteY257" fmla="*/ 798867 h 1237129"/>
              <a:gd name="connsiteX258" fmla="*/ 809474 w 3751729"/>
              <a:gd name="connsiteY258" fmla="*/ 799852 h 1237129"/>
              <a:gd name="connsiteX259" fmla="*/ 806028 w 3751729"/>
              <a:gd name="connsiteY259" fmla="*/ 801330 h 1237129"/>
              <a:gd name="connsiteX260" fmla="*/ 803565 w 3751729"/>
              <a:gd name="connsiteY260" fmla="*/ 803052 h 1237129"/>
              <a:gd name="connsiteX261" fmla="*/ 798643 w 3751729"/>
              <a:gd name="connsiteY261" fmla="*/ 803052 h 1237129"/>
              <a:gd name="connsiteX262" fmla="*/ 798643 w 3751729"/>
              <a:gd name="connsiteY262" fmla="*/ 801330 h 1237129"/>
              <a:gd name="connsiteX263" fmla="*/ 798643 w 3751729"/>
              <a:gd name="connsiteY263" fmla="*/ 799852 h 1237129"/>
              <a:gd name="connsiteX264" fmla="*/ 797904 w 3751729"/>
              <a:gd name="connsiteY264" fmla="*/ 798867 h 1237129"/>
              <a:gd name="connsiteX265" fmla="*/ 796181 w 3751729"/>
              <a:gd name="connsiteY265" fmla="*/ 797144 h 1237129"/>
              <a:gd name="connsiteX266" fmla="*/ 794458 w 3751729"/>
              <a:gd name="connsiteY266" fmla="*/ 795667 h 1237129"/>
              <a:gd name="connsiteX267" fmla="*/ 792981 w 3751729"/>
              <a:gd name="connsiteY267" fmla="*/ 797144 h 1237129"/>
              <a:gd name="connsiteX268" fmla="*/ 790519 w 3751729"/>
              <a:gd name="connsiteY268" fmla="*/ 805513 h 1237129"/>
              <a:gd name="connsiteX269" fmla="*/ 786335 w 3751729"/>
              <a:gd name="connsiteY269" fmla="*/ 805513 h 1237129"/>
              <a:gd name="connsiteX270" fmla="*/ 775504 w 3751729"/>
              <a:gd name="connsiteY270" fmla="*/ 804776 h 1237129"/>
              <a:gd name="connsiteX271" fmla="*/ 763934 w 3751729"/>
              <a:gd name="connsiteY271" fmla="*/ 803052 h 1237129"/>
              <a:gd name="connsiteX272" fmla="*/ 755812 w 3751729"/>
              <a:gd name="connsiteY272" fmla="*/ 803052 h 1237129"/>
              <a:gd name="connsiteX273" fmla="*/ 751627 w 3751729"/>
              <a:gd name="connsiteY273" fmla="*/ 792959 h 1237129"/>
              <a:gd name="connsiteX274" fmla="*/ 759011 w 3751729"/>
              <a:gd name="connsiteY274" fmla="*/ 792959 h 1237129"/>
              <a:gd name="connsiteX275" fmla="*/ 763934 w 3751729"/>
              <a:gd name="connsiteY275" fmla="*/ 792959 h 1237129"/>
              <a:gd name="connsiteX276" fmla="*/ 769842 w 3751729"/>
              <a:gd name="connsiteY276" fmla="*/ 791237 h 1237129"/>
              <a:gd name="connsiteX277" fmla="*/ 774765 w 3751729"/>
              <a:gd name="connsiteY277" fmla="*/ 789760 h 1237129"/>
              <a:gd name="connsiteX278" fmla="*/ 771319 w 3751729"/>
              <a:gd name="connsiteY278" fmla="*/ 788037 h 1237129"/>
              <a:gd name="connsiteX279" fmla="*/ 768858 w 3751729"/>
              <a:gd name="connsiteY279" fmla="*/ 785575 h 1237129"/>
              <a:gd name="connsiteX280" fmla="*/ 767381 w 3751729"/>
              <a:gd name="connsiteY280" fmla="*/ 783853 h 1237129"/>
              <a:gd name="connsiteX281" fmla="*/ 765658 w 3751729"/>
              <a:gd name="connsiteY281" fmla="*/ 781391 h 1237129"/>
              <a:gd name="connsiteX282" fmla="*/ 663259 w 3751729"/>
              <a:gd name="connsiteY282" fmla="*/ 735114 h 1237129"/>
              <a:gd name="connsiteX283" fmla="*/ 686398 w 3751729"/>
              <a:gd name="connsiteY283" fmla="*/ 740283 h 1237129"/>
              <a:gd name="connsiteX284" fmla="*/ 707074 w 3751729"/>
              <a:gd name="connsiteY284" fmla="*/ 746929 h 1237129"/>
              <a:gd name="connsiteX285" fmla="*/ 722582 w 3751729"/>
              <a:gd name="connsiteY285" fmla="*/ 754314 h 1237129"/>
              <a:gd name="connsiteX286" fmla="*/ 738335 w 3751729"/>
              <a:gd name="connsiteY286" fmla="*/ 761944 h 1237129"/>
              <a:gd name="connsiteX287" fmla="*/ 755813 w 3751729"/>
              <a:gd name="connsiteY287" fmla="*/ 770315 h 1237129"/>
              <a:gd name="connsiteX288" fmla="*/ 755813 w 3751729"/>
              <a:gd name="connsiteY288" fmla="*/ 776221 h 1237129"/>
              <a:gd name="connsiteX289" fmla="*/ 748182 w 3751729"/>
              <a:gd name="connsiteY289" fmla="*/ 776221 h 1237129"/>
              <a:gd name="connsiteX290" fmla="*/ 740059 w 3751729"/>
              <a:gd name="connsiteY290" fmla="*/ 779668 h 1237129"/>
              <a:gd name="connsiteX291" fmla="*/ 730212 w 3751729"/>
              <a:gd name="connsiteY291" fmla="*/ 782130 h 1237129"/>
              <a:gd name="connsiteX292" fmla="*/ 719382 w 3751729"/>
              <a:gd name="connsiteY292" fmla="*/ 783853 h 1237129"/>
              <a:gd name="connsiteX293" fmla="*/ 721105 w 3751729"/>
              <a:gd name="connsiteY293" fmla="*/ 781392 h 1237129"/>
              <a:gd name="connsiteX294" fmla="*/ 721105 w 3751729"/>
              <a:gd name="connsiteY294" fmla="*/ 777945 h 1237129"/>
              <a:gd name="connsiteX295" fmla="*/ 721105 w 3751729"/>
              <a:gd name="connsiteY295" fmla="*/ 776221 h 1237129"/>
              <a:gd name="connsiteX296" fmla="*/ 721105 w 3751729"/>
              <a:gd name="connsiteY296" fmla="*/ 775484 h 1237129"/>
              <a:gd name="connsiteX297" fmla="*/ 721105 w 3751729"/>
              <a:gd name="connsiteY297" fmla="*/ 773761 h 1237129"/>
              <a:gd name="connsiteX298" fmla="*/ 719382 w 3751729"/>
              <a:gd name="connsiteY298" fmla="*/ 770315 h 1237129"/>
              <a:gd name="connsiteX299" fmla="*/ 697966 w 3751729"/>
              <a:gd name="connsiteY299" fmla="*/ 764406 h 1237129"/>
              <a:gd name="connsiteX300" fmla="*/ 678028 w 3751729"/>
              <a:gd name="connsiteY300" fmla="*/ 754314 h 1237129"/>
              <a:gd name="connsiteX301" fmla="*/ 656613 w 3751729"/>
              <a:gd name="connsiteY301" fmla="*/ 744468 h 1237129"/>
              <a:gd name="connsiteX302" fmla="*/ 651689 w 3751729"/>
              <a:gd name="connsiteY302" fmla="*/ 748653 h 1237129"/>
              <a:gd name="connsiteX303" fmla="*/ 649228 w 3751729"/>
              <a:gd name="connsiteY303" fmla="*/ 752837 h 1237129"/>
              <a:gd name="connsiteX304" fmla="*/ 645043 w 3751729"/>
              <a:gd name="connsiteY304" fmla="*/ 757760 h 1237129"/>
              <a:gd name="connsiteX305" fmla="*/ 640120 w 3751729"/>
              <a:gd name="connsiteY305" fmla="*/ 756038 h 1237129"/>
              <a:gd name="connsiteX306" fmla="*/ 634212 w 3751729"/>
              <a:gd name="connsiteY306" fmla="*/ 752837 h 1237129"/>
              <a:gd name="connsiteX307" fmla="*/ 631751 w 3751729"/>
              <a:gd name="connsiteY307" fmla="*/ 751853 h 1237129"/>
              <a:gd name="connsiteX308" fmla="*/ 637659 w 3751729"/>
              <a:gd name="connsiteY308" fmla="*/ 751853 h 1237129"/>
              <a:gd name="connsiteX309" fmla="*/ 641597 w 3751729"/>
              <a:gd name="connsiteY309" fmla="*/ 745945 h 1237129"/>
              <a:gd name="connsiteX310" fmla="*/ 645781 w 3751729"/>
              <a:gd name="connsiteY310" fmla="*/ 742745 h 1237129"/>
              <a:gd name="connsiteX311" fmla="*/ 650704 w 3751729"/>
              <a:gd name="connsiteY311" fmla="*/ 738560 h 1237129"/>
              <a:gd name="connsiteX312" fmla="*/ 654889 w 3751729"/>
              <a:gd name="connsiteY312" fmla="*/ 738560 h 1237129"/>
              <a:gd name="connsiteX313" fmla="*/ 657351 w 3751729"/>
              <a:gd name="connsiteY313" fmla="*/ 736837 h 1237129"/>
              <a:gd name="connsiteX314" fmla="*/ 660797 w 3751729"/>
              <a:gd name="connsiteY314" fmla="*/ 736837 h 1237129"/>
              <a:gd name="connsiteX315" fmla="*/ 707812 w 3751729"/>
              <a:gd name="connsiteY315" fmla="*/ 712468 h 1237129"/>
              <a:gd name="connsiteX316" fmla="*/ 712736 w 3751729"/>
              <a:gd name="connsiteY316" fmla="*/ 714929 h 1237129"/>
              <a:gd name="connsiteX317" fmla="*/ 715197 w 3751729"/>
              <a:gd name="connsiteY317" fmla="*/ 718376 h 1237129"/>
              <a:gd name="connsiteX318" fmla="*/ 718643 w 3751729"/>
              <a:gd name="connsiteY318" fmla="*/ 720838 h 1237129"/>
              <a:gd name="connsiteX319" fmla="*/ 719382 w 3751729"/>
              <a:gd name="connsiteY319" fmla="*/ 725023 h 1237129"/>
              <a:gd name="connsiteX320" fmla="*/ 719382 w 3751729"/>
              <a:gd name="connsiteY320" fmla="*/ 732654 h 1237129"/>
              <a:gd name="connsiteX321" fmla="*/ 713473 w 3751729"/>
              <a:gd name="connsiteY321" fmla="*/ 732654 h 1237129"/>
              <a:gd name="connsiteX322" fmla="*/ 712736 w 3751729"/>
              <a:gd name="connsiteY322" fmla="*/ 728469 h 1237129"/>
              <a:gd name="connsiteX323" fmla="*/ 711012 w 3751729"/>
              <a:gd name="connsiteY323" fmla="*/ 726745 h 1237129"/>
              <a:gd name="connsiteX324" fmla="*/ 709535 w 3751729"/>
              <a:gd name="connsiteY324" fmla="*/ 724284 h 1237129"/>
              <a:gd name="connsiteX325" fmla="*/ 707812 w 3751729"/>
              <a:gd name="connsiteY325" fmla="*/ 720838 h 1237129"/>
              <a:gd name="connsiteX326" fmla="*/ 707812 w 3751729"/>
              <a:gd name="connsiteY326" fmla="*/ 718376 h 1237129"/>
              <a:gd name="connsiteX327" fmla="*/ 2981766 w 3751729"/>
              <a:gd name="connsiteY327" fmla="*/ 706561 h 1237129"/>
              <a:gd name="connsiteX328" fmla="*/ 2984227 w 3751729"/>
              <a:gd name="connsiteY328" fmla="*/ 709022 h 1237129"/>
              <a:gd name="connsiteX329" fmla="*/ 2985950 w 3751729"/>
              <a:gd name="connsiteY329" fmla="*/ 712468 h 1237129"/>
              <a:gd name="connsiteX330" fmla="*/ 2987428 w 3751729"/>
              <a:gd name="connsiteY330" fmla="*/ 714930 h 1237129"/>
              <a:gd name="connsiteX331" fmla="*/ 2987428 w 3751729"/>
              <a:gd name="connsiteY331" fmla="*/ 719115 h 1237129"/>
              <a:gd name="connsiteX332" fmla="*/ 2987428 w 3751729"/>
              <a:gd name="connsiteY332" fmla="*/ 725022 h 1237129"/>
              <a:gd name="connsiteX333" fmla="*/ 2975858 w 3751729"/>
              <a:gd name="connsiteY333" fmla="*/ 754316 h 1237129"/>
              <a:gd name="connsiteX334" fmla="*/ 2970196 w 3751729"/>
              <a:gd name="connsiteY334" fmla="*/ 746931 h 1237129"/>
              <a:gd name="connsiteX335" fmla="*/ 2967735 w 3751729"/>
              <a:gd name="connsiteY335" fmla="*/ 740284 h 1237129"/>
              <a:gd name="connsiteX336" fmla="*/ 2966011 w 3751729"/>
              <a:gd name="connsiteY336" fmla="*/ 728469 h 1237129"/>
              <a:gd name="connsiteX337" fmla="*/ 701166 w 3751729"/>
              <a:gd name="connsiteY337" fmla="*/ 693268 h 1237129"/>
              <a:gd name="connsiteX338" fmla="*/ 719382 w 3751729"/>
              <a:gd name="connsiteY338" fmla="*/ 693268 h 1237129"/>
              <a:gd name="connsiteX339" fmla="*/ 721104 w 3751729"/>
              <a:gd name="connsiteY339" fmla="*/ 695729 h 1237129"/>
              <a:gd name="connsiteX340" fmla="*/ 724304 w 3751729"/>
              <a:gd name="connsiteY340" fmla="*/ 697452 h 1237129"/>
              <a:gd name="connsiteX341" fmla="*/ 724304 w 3751729"/>
              <a:gd name="connsiteY341" fmla="*/ 699176 h 1237129"/>
              <a:gd name="connsiteX342" fmla="*/ 725043 w 3751729"/>
              <a:gd name="connsiteY342" fmla="*/ 700652 h 1237129"/>
              <a:gd name="connsiteX343" fmla="*/ 725043 w 3751729"/>
              <a:gd name="connsiteY343" fmla="*/ 701637 h 1237129"/>
              <a:gd name="connsiteX344" fmla="*/ 724304 w 3751729"/>
              <a:gd name="connsiteY344" fmla="*/ 703361 h 1237129"/>
              <a:gd name="connsiteX345" fmla="*/ 724304 w 3751729"/>
              <a:gd name="connsiteY345" fmla="*/ 706561 h 1237129"/>
              <a:gd name="connsiteX346" fmla="*/ 719382 w 3751729"/>
              <a:gd name="connsiteY346" fmla="*/ 703361 h 1237129"/>
              <a:gd name="connsiteX347" fmla="*/ 715197 w 3751729"/>
              <a:gd name="connsiteY347" fmla="*/ 701637 h 1237129"/>
              <a:gd name="connsiteX348" fmla="*/ 711012 w 3751729"/>
              <a:gd name="connsiteY348" fmla="*/ 701637 h 1237129"/>
              <a:gd name="connsiteX349" fmla="*/ 707812 w 3751729"/>
              <a:gd name="connsiteY349" fmla="*/ 700652 h 1237129"/>
              <a:gd name="connsiteX350" fmla="*/ 705350 w 3751729"/>
              <a:gd name="connsiteY350" fmla="*/ 700652 h 1237129"/>
              <a:gd name="connsiteX351" fmla="*/ 701904 w 3751729"/>
              <a:gd name="connsiteY351" fmla="*/ 699176 h 1237129"/>
              <a:gd name="connsiteX352" fmla="*/ 701166 w 3751729"/>
              <a:gd name="connsiteY352" fmla="*/ 695729 h 1237129"/>
              <a:gd name="connsiteX353" fmla="*/ 3074318 w 3751729"/>
              <a:gd name="connsiteY353" fmla="*/ 638622 h 1237129"/>
              <a:gd name="connsiteX354" fmla="*/ 3076780 w 3751729"/>
              <a:gd name="connsiteY354" fmla="*/ 640346 h 1237129"/>
              <a:gd name="connsiteX355" fmla="*/ 3078256 w 3751729"/>
              <a:gd name="connsiteY355" fmla="*/ 640346 h 1237129"/>
              <a:gd name="connsiteX356" fmla="*/ 3078256 w 3751729"/>
              <a:gd name="connsiteY356" fmla="*/ 642068 h 1237129"/>
              <a:gd name="connsiteX357" fmla="*/ 3079980 w 3751729"/>
              <a:gd name="connsiteY357" fmla="*/ 644530 h 1237129"/>
              <a:gd name="connsiteX358" fmla="*/ 3079980 w 3751729"/>
              <a:gd name="connsiteY358" fmla="*/ 647977 h 1237129"/>
              <a:gd name="connsiteX359" fmla="*/ 3078256 w 3751729"/>
              <a:gd name="connsiteY359" fmla="*/ 652161 h 1237129"/>
              <a:gd name="connsiteX360" fmla="*/ 3075056 w 3751729"/>
              <a:gd name="connsiteY360" fmla="*/ 656345 h 1237129"/>
              <a:gd name="connsiteX361" fmla="*/ 3074318 w 3751729"/>
              <a:gd name="connsiteY361" fmla="*/ 660530 h 1237129"/>
              <a:gd name="connsiteX362" fmla="*/ 3066687 w 3751729"/>
              <a:gd name="connsiteY362" fmla="*/ 660530 h 1237129"/>
              <a:gd name="connsiteX363" fmla="*/ 3066687 w 3751729"/>
              <a:gd name="connsiteY363" fmla="*/ 650438 h 1237129"/>
              <a:gd name="connsiteX364" fmla="*/ 3069395 w 3751729"/>
              <a:gd name="connsiteY364" fmla="*/ 649454 h 1237129"/>
              <a:gd name="connsiteX365" fmla="*/ 3070871 w 3751729"/>
              <a:gd name="connsiteY365" fmla="*/ 646253 h 1237129"/>
              <a:gd name="connsiteX366" fmla="*/ 3072596 w 3751729"/>
              <a:gd name="connsiteY366" fmla="*/ 643792 h 1237129"/>
              <a:gd name="connsiteX367" fmla="*/ 3035426 w 3751729"/>
              <a:gd name="connsiteY367" fmla="*/ 599238 h 1237129"/>
              <a:gd name="connsiteX368" fmla="*/ 3045272 w 3751729"/>
              <a:gd name="connsiteY368" fmla="*/ 599238 h 1237129"/>
              <a:gd name="connsiteX369" fmla="*/ 3045272 w 3751729"/>
              <a:gd name="connsiteY369" fmla="*/ 609331 h 1237129"/>
              <a:gd name="connsiteX370" fmla="*/ 3032226 w 3751729"/>
              <a:gd name="connsiteY370" fmla="*/ 609331 h 1237129"/>
              <a:gd name="connsiteX371" fmla="*/ 3032226 w 3751729"/>
              <a:gd name="connsiteY371" fmla="*/ 602684 h 1237129"/>
              <a:gd name="connsiteX372" fmla="*/ 3035426 w 3751729"/>
              <a:gd name="connsiteY372" fmla="*/ 602684 h 1237129"/>
              <a:gd name="connsiteX373" fmla="*/ 1985586 w 3751729"/>
              <a:gd name="connsiteY373" fmla="*/ 571424 h 1237129"/>
              <a:gd name="connsiteX374" fmla="*/ 1992971 w 3751729"/>
              <a:gd name="connsiteY374" fmla="*/ 571424 h 1237129"/>
              <a:gd name="connsiteX375" fmla="*/ 1989771 w 3751729"/>
              <a:gd name="connsiteY375" fmla="*/ 575609 h 1237129"/>
              <a:gd name="connsiteX376" fmla="*/ 1987309 w 3751729"/>
              <a:gd name="connsiteY376" fmla="*/ 579053 h 1237129"/>
              <a:gd name="connsiteX377" fmla="*/ 1983863 w 3751729"/>
              <a:gd name="connsiteY377" fmla="*/ 581514 h 1237129"/>
              <a:gd name="connsiteX378" fmla="*/ 1981401 w 3751729"/>
              <a:gd name="connsiteY378" fmla="*/ 584961 h 1237129"/>
              <a:gd name="connsiteX379" fmla="*/ 1976479 w 3751729"/>
              <a:gd name="connsiteY379" fmla="*/ 587422 h 1237129"/>
              <a:gd name="connsiteX380" fmla="*/ 1974017 w 3751729"/>
              <a:gd name="connsiteY380" fmla="*/ 587422 h 1237129"/>
              <a:gd name="connsiteX381" fmla="*/ 1974017 w 3751729"/>
              <a:gd name="connsiteY381" fmla="*/ 589145 h 1237129"/>
              <a:gd name="connsiteX382" fmla="*/ 1972294 w 3751729"/>
              <a:gd name="connsiteY382" fmla="*/ 589145 h 1237129"/>
              <a:gd name="connsiteX383" fmla="*/ 1969832 w 3751729"/>
              <a:gd name="connsiteY383" fmla="*/ 589145 h 1237129"/>
              <a:gd name="connsiteX384" fmla="*/ 1966632 w 3751729"/>
              <a:gd name="connsiteY384" fmla="*/ 590868 h 1237129"/>
              <a:gd name="connsiteX385" fmla="*/ 1964171 w 3751729"/>
              <a:gd name="connsiteY385" fmla="*/ 579792 h 1237129"/>
              <a:gd name="connsiteX386" fmla="*/ 1969832 w 3751729"/>
              <a:gd name="connsiteY386" fmla="*/ 579053 h 1237129"/>
              <a:gd name="connsiteX387" fmla="*/ 1975740 w 3751729"/>
              <a:gd name="connsiteY387" fmla="*/ 575609 h 1237129"/>
              <a:gd name="connsiteX388" fmla="*/ 1981401 w 3751729"/>
              <a:gd name="connsiteY388" fmla="*/ 574133 h 1237129"/>
              <a:gd name="connsiteX389" fmla="*/ 1865710 w 3751729"/>
              <a:gd name="connsiteY389" fmla="*/ 567240 h 1237129"/>
              <a:gd name="connsiteX390" fmla="*/ 1873341 w 3751729"/>
              <a:gd name="connsiteY390" fmla="*/ 569949 h 1237129"/>
              <a:gd name="connsiteX391" fmla="*/ 1881464 w 3751729"/>
              <a:gd name="connsiteY391" fmla="*/ 573149 h 1237129"/>
              <a:gd name="connsiteX392" fmla="*/ 1891310 w 3751729"/>
              <a:gd name="connsiteY392" fmla="*/ 575609 h 1237129"/>
              <a:gd name="connsiteX393" fmla="*/ 1897218 w 3751729"/>
              <a:gd name="connsiteY393" fmla="*/ 579793 h 1237129"/>
              <a:gd name="connsiteX394" fmla="*/ 1874080 w 3751729"/>
              <a:gd name="connsiteY394" fmla="*/ 579793 h 1237129"/>
              <a:gd name="connsiteX395" fmla="*/ 1871618 w 3751729"/>
              <a:gd name="connsiteY395" fmla="*/ 579053 h 1237129"/>
              <a:gd name="connsiteX396" fmla="*/ 1869895 w 3751729"/>
              <a:gd name="connsiteY396" fmla="*/ 579053 h 1237129"/>
              <a:gd name="connsiteX397" fmla="*/ 1867434 w 3751729"/>
              <a:gd name="connsiteY397" fmla="*/ 577331 h 1237129"/>
              <a:gd name="connsiteX398" fmla="*/ 1861772 w 3751729"/>
              <a:gd name="connsiteY398" fmla="*/ 577331 h 1237129"/>
              <a:gd name="connsiteX399" fmla="*/ 1861772 w 3751729"/>
              <a:gd name="connsiteY399" fmla="*/ 574133 h 1237129"/>
              <a:gd name="connsiteX400" fmla="*/ 1863249 w 3751729"/>
              <a:gd name="connsiteY400" fmla="*/ 573149 h 1237129"/>
              <a:gd name="connsiteX401" fmla="*/ 1864233 w 3751729"/>
              <a:gd name="connsiteY401" fmla="*/ 571425 h 1237129"/>
              <a:gd name="connsiteX402" fmla="*/ 1864233 w 3751729"/>
              <a:gd name="connsiteY402" fmla="*/ 569949 h 1237129"/>
              <a:gd name="connsiteX403" fmla="*/ 1608239 w 3751729"/>
              <a:gd name="connsiteY403" fmla="*/ 510379 h 1237129"/>
              <a:gd name="connsiteX404" fmla="*/ 1627932 w 3751729"/>
              <a:gd name="connsiteY404" fmla="*/ 510379 h 1237129"/>
              <a:gd name="connsiteX405" fmla="*/ 1627932 w 3751729"/>
              <a:gd name="connsiteY405" fmla="*/ 512840 h 1237129"/>
              <a:gd name="connsiteX406" fmla="*/ 1623747 w 3751729"/>
              <a:gd name="connsiteY406" fmla="*/ 514564 h 1237129"/>
              <a:gd name="connsiteX407" fmla="*/ 1622269 w 3751729"/>
              <a:gd name="connsiteY407" fmla="*/ 516041 h 1237129"/>
              <a:gd name="connsiteX408" fmla="*/ 1619561 w 3751729"/>
              <a:gd name="connsiteY408" fmla="*/ 517025 h 1237129"/>
              <a:gd name="connsiteX409" fmla="*/ 1616362 w 3751729"/>
              <a:gd name="connsiteY409" fmla="*/ 518748 h 1237129"/>
              <a:gd name="connsiteX410" fmla="*/ 1612177 w 3751729"/>
              <a:gd name="connsiteY410" fmla="*/ 518748 h 1237129"/>
              <a:gd name="connsiteX411" fmla="*/ 1913957 w 3751729"/>
              <a:gd name="connsiteY411" fmla="*/ 493394 h 1237129"/>
              <a:gd name="connsiteX412" fmla="*/ 1912234 w 3751729"/>
              <a:gd name="connsiteY412" fmla="*/ 495118 h 1237129"/>
              <a:gd name="connsiteX413" fmla="*/ 1910511 w 3751729"/>
              <a:gd name="connsiteY413" fmla="*/ 496840 h 1237129"/>
              <a:gd name="connsiteX414" fmla="*/ 1908787 w 3751729"/>
              <a:gd name="connsiteY414" fmla="*/ 496840 h 1237129"/>
              <a:gd name="connsiteX415" fmla="*/ 1908787 w 3751729"/>
              <a:gd name="connsiteY415" fmla="*/ 498563 h 1237129"/>
              <a:gd name="connsiteX416" fmla="*/ 1908049 w 3751729"/>
              <a:gd name="connsiteY416" fmla="*/ 499302 h 1237129"/>
              <a:gd name="connsiteX417" fmla="*/ 1906819 w 3751729"/>
              <a:gd name="connsiteY417" fmla="*/ 502749 h 1237129"/>
              <a:gd name="connsiteX418" fmla="*/ 1909280 w 3751729"/>
              <a:gd name="connsiteY418" fmla="*/ 502749 h 1237129"/>
              <a:gd name="connsiteX419" fmla="*/ 1914203 w 3751729"/>
              <a:gd name="connsiteY419" fmla="*/ 501025 h 1237129"/>
              <a:gd name="connsiteX420" fmla="*/ 1916665 w 3751729"/>
              <a:gd name="connsiteY420" fmla="*/ 499302 h 1237129"/>
              <a:gd name="connsiteX421" fmla="*/ 1919864 w 3751729"/>
              <a:gd name="connsiteY421" fmla="*/ 498563 h 1237129"/>
              <a:gd name="connsiteX422" fmla="*/ 1922326 w 3751729"/>
              <a:gd name="connsiteY422" fmla="*/ 496840 h 1237129"/>
              <a:gd name="connsiteX423" fmla="*/ 1925526 w 3751729"/>
              <a:gd name="connsiteY423" fmla="*/ 493394 h 1237129"/>
              <a:gd name="connsiteX424" fmla="*/ 1697345 w 3751729"/>
              <a:gd name="connsiteY424" fmla="*/ 493394 h 1237129"/>
              <a:gd name="connsiteX425" fmla="*/ 1701530 w 3751729"/>
              <a:gd name="connsiteY425" fmla="*/ 493394 h 1237129"/>
              <a:gd name="connsiteX426" fmla="*/ 1707192 w 3751729"/>
              <a:gd name="connsiteY426" fmla="*/ 493394 h 1237129"/>
              <a:gd name="connsiteX427" fmla="*/ 1708914 w 3751729"/>
              <a:gd name="connsiteY427" fmla="*/ 506934 h 1237129"/>
              <a:gd name="connsiteX428" fmla="*/ 1710639 w 3751729"/>
              <a:gd name="connsiteY428" fmla="*/ 522933 h 1237129"/>
              <a:gd name="connsiteX429" fmla="*/ 1703008 w 3751729"/>
              <a:gd name="connsiteY429" fmla="*/ 522933 h 1237129"/>
              <a:gd name="connsiteX430" fmla="*/ 1701530 w 3751729"/>
              <a:gd name="connsiteY430" fmla="*/ 524410 h 1237129"/>
              <a:gd name="connsiteX431" fmla="*/ 1699068 w 3751729"/>
              <a:gd name="connsiteY431" fmla="*/ 524410 h 1237129"/>
              <a:gd name="connsiteX432" fmla="*/ 1695621 w 3751729"/>
              <a:gd name="connsiteY432" fmla="*/ 524410 h 1237129"/>
              <a:gd name="connsiteX433" fmla="*/ 1691438 w 3751729"/>
              <a:gd name="connsiteY433" fmla="*/ 526133 h 1237129"/>
              <a:gd name="connsiteX434" fmla="*/ 1689960 w 3751729"/>
              <a:gd name="connsiteY434" fmla="*/ 514564 h 1237129"/>
              <a:gd name="connsiteX435" fmla="*/ 1689960 w 3751729"/>
              <a:gd name="connsiteY435" fmla="*/ 502749 h 1237129"/>
              <a:gd name="connsiteX436" fmla="*/ 1691438 w 3751729"/>
              <a:gd name="connsiteY436" fmla="*/ 496840 h 1237129"/>
              <a:gd name="connsiteX437" fmla="*/ 1693899 w 3751729"/>
              <a:gd name="connsiteY437" fmla="*/ 495118 h 1237129"/>
              <a:gd name="connsiteX438" fmla="*/ 1699807 w 3751729"/>
              <a:gd name="connsiteY438" fmla="*/ 464841 h 1237129"/>
              <a:gd name="connsiteX439" fmla="*/ 1707192 w 3751729"/>
              <a:gd name="connsiteY439" fmla="*/ 464841 h 1237129"/>
              <a:gd name="connsiteX440" fmla="*/ 1705468 w 3751729"/>
              <a:gd name="connsiteY440" fmla="*/ 470750 h 1237129"/>
              <a:gd name="connsiteX441" fmla="*/ 1705468 w 3751729"/>
              <a:gd name="connsiteY441" fmla="*/ 474934 h 1237129"/>
              <a:gd name="connsiteX442" fmla="*/ 1705468 w 3751729"/>
              <a:gd name="connsiteY442" fmla="*/ 479119 h 1237129"/>
              <a:gd name="connsiteX443" fmla="*/ 1704729 w 3751729"/>
              <a:gd name="connsiteY443" fmla="*/ 482565 h 1237129"/>
              <a:gd name="connsiteX444" fmla="*/ 1703007 w 3751729"/>
              <a:gd name="connsiteY444" fmla="*/ 486750 h 1237129"/>
              <a:gd name="connsiteX445" fmla="*/ 1697345 w 3751729"/>
              <a:gd name="connsiteY445" fmla="*/ 486750 h 1237129"/>
              <a:gd name="connsiteX446" fmla="*/ 1697345 w 3751729"/>
              <a:gd name="connsiteY446" fmla="*/ 480841 h 1237129"/>
              <a:gd name="connsiteX447" fmla="*/ 1699068 w 3751729"/>
              <a:gd name="connsiteY447" fmla="*/ 474934 h 1237129"/>
              <a:gd name="connsiteX448" fmla="*/ 1699068 w 3751729"/>
              <a:gd name="connsiteY448" fmla="*/ 469272 h 1237129"/>
              <a:gd name="connsiteX449" fmla="*/ 757274 w 3751729"/>
              <a:gd name="connsiteY449" fmla="*/ 424736 h 1237129"/>
              <a:gd name="connsiteX450" fmla="*/ 755814 w 3751729"/>
              <a:gd name="connsiteY450" fmla="*/ 426195 h 1237129"/>
              <a:gd name="connsiteX451" fmla="*/ 754104 w 3751729"/>
              <a:gd name="connsiteY451" fmla="*/ 427905 h 1237129"/>
              <a:gd name="connsiteX452" fmla="*/ 755812 w 3751729"/>
              <a:gd name="connsiteY452" fmla="*/ 426441 h 1237129"/>
              <a:gd name="connsiteX453" fmla="*/ 3219548 w 3751729"/>
              <a:gd name="connsiteY453" fmla="*/ 424717 h 1237129"/>
              <a:gd name="connsiteX454" fmla="*/ 3226933 w 3751729"/>
              <a:gd name="connsiteY454" fmla="*/ 435548 h 1237129"/>
              <a:gd name="connsiteX455" fmla="*/ 3233579 w 3751729"/>
              <a:gd name="connsiteY455" fmla="*/ 441455 h 1237129"/>
              <a:gd name="connsiteX456" fmla="*/ 3242687 w 3751729"/>
              <a:gd name="connsiteY456" fmla="*/ 443917 h 1237129"/>
              <a:gd name="connsiteX457" fmla="*/ 3248595 w 3751729"/>
              <a:gd name="connsiteY457" fmla="*/ 447363 h 1237129"/>
              <a:gd name="connsiteX458" fmla="*/ 3254257 w 3751729"/>
              <a:gd name="connsiteY458" fmla="*/ 451548 h 1237129"/>
              <a:gd name="connsiteX459" fmla="*/ 3255979 w 3751729"/>
              <a:gd name="connsiteY459" fmla="*/ 454009 h 1237129"/>
              <a:gd name="connsiteX460" fmla="*/ 3256717 w 3751729"/>
              <a:gd name="connsiteY460" fmla="*/ 457455 h 1237129"/>
              <a:gd name="connsiteX461" fmla="*/ 3256717 w 3751729"/>
              <a:gd name="connsiteY461" fmla="*/ 459917 h 1237129"/>
              <a:gd name="connsiteX462" fmla="*/ 3256717 w 3751729"/>
              <a:gd name="connsiteY462" fmla="*/ 464840 h 1237129"/>
              <a:gd name="connsiteX463" fmla="*/ 3246871 w 3751729"/>
              <a:gd name="connsiteY463" fmla="*/ 467548 h 1237129"/>
              <a:gd name="connsiteX464" fmla="*/ 3239487 w 3751729"/>
              <a:gd name="connsiteY464" fmla="*/ 473455 h 1237129"/>
              <a:gd name="connsiteX465" fmla="*/ 3233579 w 3751729"/>
              <a:gd name="connsiteY465" fmla="*/ 479117 h 1237129"/>
              <a:gd name="connsiteX466" fmla="*/ 3225457 w 3751729"/>
              <a:gd name="connsiteY466" fmla="*/ 483301 h 1237129"/>
              <a:gd name="connsiteX467" fmla="*/ 3222010 w 3751729"/>
              <a:gd name="connsiteY467" fmla="*/ 479117 h 1237129"/>
              <a:gd name="connsiteX468" fmla="*/ 3219548 w 3751729"/>
              <a:gd name="connsiteY468" fmla="*/ 477639 h 1237129"/>
              <a:gd name="connsiteX469" fmla="*/ 3217087 w 3751729"/>
              <a:gd name="connsiteY469" fmla="*/ 476655 h 1237129"/>
              <a:gd name="connsiteX470" fmla="*/ 3213887 w 3751729"/>
              <a:gd name="connsiteY470" fmla="*/ 477639 h 1237129"/>
              <a:gd name="connsiteX471" fmla="*/ 3211426 w 3751729"/>
              <a:gd name="connsiteY471" fmla="*/ 479117 h 1237129"/>
              <a:gd name="connsiteX472" fmla="*/ 3209702 w 3751729"/>
              <a:gd name="connsiteY472" fmla="*/ 482563 h 1237129"/>
              <a:gd name="connsiteX473" fmla="*/ 3206502 w 3751729"/>
              <a:gd name="connsiteY473" fmla="*/ 483301 h 1237129"/>
              <a:gd name="connsiteX474" fmla="*/ 3211426 w 3751729"/>
              <a:gd name="connsiteY474" fmla="*/ 501024 h 1237129"/>
              <a:gd name="connsiteX475" fmla="*/ 3212164 w 3751729"/>
              <a:gd name="connsiteY475" fmla="*/ 514563 h 1237129"/>
              <a:gd name="connsiteX476" fmla="*/ 3212164 w 3751729"/>
              <a:gd name="connsiteY476" fmla="*/ 524409 h 1237129"/>
              <a:gd name="connsiteX477" fmla="*/ 3211426 w 3751729"/>
              <a:gd name="connsiteY477" fmla="*/ 534501 h 1237129"/>
              <a:gd name="connsiteX478" fmla="*/ 3207980 w 3751729"/>
              <a:gd name="connsiteY478" fmla="*/ 545578 h 1237129"/>
              <a:gd name="connsiteX479" fmla="*/ 3205518 w 3751729"/>
              <a:gd name="connsiteY479" fmla="*/ 559855 h 1237129"/>
              <a:gd name="connsiteX480" fmla="*/ 3203795 w 3751729"/>
              <a:gd name="connsiteY480" fmla="*/ 577330 h 1237129"/>
              <a:gd name="connsiteX481" fmla="*/ 3184841 w 3751729"/>
              <a:gd name="connsiteY481" fmla="*/ 587423 h 1237129"/>
              <a:gd name="connsiteX482" fmla="*/ 3163425 w 3751729"/>
              <a:gd name="connsiteY482" fmla="*/ 597515 h 1237129"/>
              <a:gd name="connsiteX483" fmla="*/ 3142749 w 3751729"/>
              <a:gd name="connsiteY483" fmla="*/ 606868 h 1237129"/>
              <a:gd name="connsiteX484" fmla="*/ 3138564 w 3751729"/>
              <a:gd name="connsiteY484" fmla="*/ 599238 h 1237129"/>
              <a:gd name="connsiteX485" fmla="*/ 3134625 w 3751729"/>
              <a:gd name="connsiteY485" fmla="*/ 593330 h 1237129"/>
              <a:gd name="connsiteX486" fmla="*/ 3132903 w 3751729"/>
              <a:gd name="connsiteY486" fmla="*/ 599238 h 1237129"/>
              <a:gd name="connsiteX487" fmla="*/ 3132903 w 3751729"/>
              <a:gd name="connsiteY487" fmla="*/ 602684 h 1237129"/>
              <a:gd name="connsiteX488" fmla="*/ 3132165 w 3751729"/>
              <a:gd name="connsiteY488" fmla="*/ 606868 h 1237129"/>
              <a:gd name="connsiteX489" fmla="*/ 3130441 w 3751729"/>
              <a:gd name="connsiteY489" fmla="*/ 609330 h 1237129"/>
              <a:gd name="connsiteX490" fmla="*/ 3126257 w 3751729"/>
              <a:gd name="connsiteY490" fmla="*/ 609330 h 1237129"/>
              <a:gd name="connsiteX491" fmla="*/ 3123056 w 3751729"/>
              <a:gd name="connsiteY491" fmla="*/ 609330 h 1237129"/>
              <a:gd name="connsiteX492" fmla="*/ 3121333 w 3751729"/>
              <a:gd name="connsiteY492" fmla="*/ 611053 h 1237129"/>
              <a:gd name="connsiteX493" fmla="*/ 3120595 w 3751729"/>
              <a:gd name="connsiteY493" fmla="*/ 611053 h 1237129"/>
              <a:gd name="connsiteX494" fmla="*/ 3118873 w 3751729"/>
              <a:gd name="connsiteY494" fmla="*/ 612530 h 1237129"/>
              <a:gd name="connsiteX495" fmla="*/ 3117149 w 3751729"/>
              <a:gd name="connsiteY495" fmla="*/ 614253 h 1237129"/>
              <a:gd name="connsiteX496" fmla="*/ 3112964 w 3751729"/>
              <a:gd name="connsiteY496" fmla="*/ 614253 h 1237129"/>
              <a:gd name="connsiteX497" fmla="*/ 3109026 w 3751729"/>
              <a:gd name="connsiteY497" fmla="*/ 615238 h 1237129"/>
              <a:gd name="connsiteX498" fmla="*/ 3107303 w 3751729"/>
              <a:gd name="connsiteY498" fmla="*/ 612530 h 1237129"/>
              <a:gd name="connsiteX499" fmla="*/ 3107303 w 3751729"/>
              <a:gd name="connsiteY499" fmla="*/ 608346 h 1237129"/>
              <a:gd name="connsiteX500" fmla="*/ 3107303 w 3751729"/>
              <a:gd name="connsiteY500" fmla="*/ 606868 h 1237129"/>
              <a:gd name="connsiteX501" fmla="*/ 3107303 w 3751729"/>
              <a:gd name="connsiteY501" fmla="*/ 603422 h 1237129"/>
              <a:gd name="connsiteX502" fmla="*/ 3107303 w 3751729"/>
              <a:gd name="connsiteY502" fmla="*/ 602684 h 1237129"/>
              <a:gd name="connsiteX503" fmla="*/ 3103856 w 3751729"/>
              <a:gd name="connsiteY503" fmla="*/ 602684 h 1237129"/>
              <a:gd name="connsiteX504" fmla="*/ 3101395 w 3751729"/>
              <a:gd name="connsiteY504" fmla="*/ 600961 h 1237129"/>
              <a:gd name="connsiteX505" fmla="*/ 3095734 w 3751729"/>
              <a:gd name="connsiteY505" fmla="*/ 599238 h 1237129"/>
              <a:gd name="connsiteX506" fmla="*/ 3095734 w 3751729"/>
              <a:gd name="connsiteY506" fmla="*/ 602684 h 1237129"/>
              <a:gd name="connsiteX507" fmla="*/ 3098194 w 3751729"/>
              <a:gd name="connsiteY507" fmla="*/ 606868 h 1237129"/>
              <a:gd name="connsiteX508" fmla="*/ 3101395 w 3751729"/>
              <a:gd name="connsiteY508" fmla="*/ 608346 h 1237129"/>
              <a:gd name="connsiteX509" fmla="*/ 3101395 w 3751729"/>
              <a:gd name="connsiteY509" fmla="*/ 611053 h 1237129"/>
              <a:gd name="connsiteX510" fmla="*/ 3101395 w 3751729"/>
              <a:gd name="connsiteY510" fmla="*/ 615238 h 1237129"/>
              <a:gd name="connsiteX511" fmla="*/ 3103118 w 3751729"/>
              <a:gd name="connsiteY511" fmla="*/ 622623 h 1237129"/>
              <a:gd name="connsiteX512" fmla="*/ 3098194 w 3751729"/>
              <a:gd name="connsiteY512" fmla="*/ 626807 h 1237129"/>
              <a:gd name="connsiteX513" fmla="*/ 3095734 w 3751729"/>
              <a:gd name="connsiteY513" fmla="*/ 632715 h 1237129"/>
              <a:gd name="connsiteX514" fmla="*/ 3092288 w 3751729"/>
              <a:gd name="connsiteY514" fmla="*/ 638621 h 1237129"/>
              <a:gd name="connsiteX515" fmla="*/ 3082442 w 3751729"/>
              <a:gd name="connsiteY515" fmla="*/ 638621 h 1237129"/>
              <a:gd name="connsiteX516" fmla="*/ 3080964 w 3751729"/>
              <a:gd name="connsiteY516" fmla="*/ 626807 h 1237129"/>
              <a:gd name="connsiteX517" fmla="*/ 3079980 w 3751729"/>
              <a:gd name="connsiteY517" fmla="*/ 620899 h 1237129"/>
              <a:gd name="connsiteX518" fmla="*/ 3076779 w 3751729"/>
              <a:gd name="connsiteY518" fmla="*/ 615238 h 1237129"/>
              <a:gd name="connsiteX519" fmla="*/ 3074318 w 3751729"/>
              <a:gd name="connsiteY519" fmla="*/ 606868 h 1237129"/>
              <a:gd name="connsiteX520" fmla="*/ 3082442 w 3751729"/>
              <a:gd name="connsiteY520" fmla="*/ 606868 h 1237129"/>
              <a:gd name="connsiteX521" fmla="*/ 3092288 w 3751729"/>
              <a:gd name="connsiteY521" fmla="*/ 593330 h 1237129"/>
              <a:gd name="connsiteX522" fmla="*/ 3105579 w 3751729"/>
              <a:gd name="connsiteY522" fmla="*/ 581515 h 1237129"/>
              <a:gd name="connsiteX523" fmla="*/ 3121333 w 3751729"/>
              <a:gd name="connsiteY523" fmla="*/ 574132 h 1237129"/>
              <a:gd name="connsiteX524" fmla="*/ 3126994 w 3751729"/>
              <a:gd name="connsiteY524" fmla="*/ 573148 h 1237129"/>
              <a:gd name="connsiteX525" fmla="*/ 3132903 w 3751729"/>
              <a:gd name="connsiteY525" fmla="*/ 573148 h 1237129"/>
              <a:gd name="connsiteX526" fmla="*/ 3137825 w 3751729"/>
              <a:gd name="connsiteY526" fmla="*/ 574132 h 1237129"/>
              <a:gd name="connsiteX527" fmla="*/ 3140288 w 3751729"/>
              <a:gd name="connsiteY527" fmla="*/ 574132 h 1237129"/>
              <a:gd name="connsiteX528" fmla="*/ 3142749 w 3751729"/>
              <a:gd name="connsiteY528" fmla="*/ 574132 h 1237129"/>
              <a:gd name="connsiteX529" fmla="*/ 3146195 w 3751729"/>
              <a:gd name="connsiteY529" fmla="*/ 569947 h 1237129"/>
              <a:gd name="connsiteX530" fmla="*/ 3148656 w 3751729"/>
              <a:gd name="connsiteY530" fmla="*/ 565763 h 1237129"/>
              <a:gd name="connsiteX531" fmla="*/ 3150133 w 3751729"/>
              <a:gd name="connsiteY531" fmla="*/ 561331 h 1237129"/>
              <a:gd name="connsiteX532" fmla="*/ 3151856 w 3751729"/>
              <a:gd name="connsiteY532" fmla="*/ 558132 h 1237129"/>
              <a:gd name="connsiteX533" fmla="*/ 3154318 w 3751729"/>
              <a:gd name="connsiteY533" fmla="*/ 553947 h 1237129"/>
              <a:gd name="connsiteX534" fmla="*/ 3159241 w 3751729"/>
              <a:gd name="connsiteY534" fmla="*/ 551486 h 1237129"/>
              <a:gd name="connsiteX535" fmla="*/ 3160226 w 3751729"/>
              <a:gd name="connsiteY535" fmla="*/ 553947 h 1237129"/>
              <a:gd name="connsiteX536" fmla="*/ 3161703 w 3751729"/>
              <a:gd name="connsiteY536" fmla="*/ 555671 h 1237129"/>
              <a:gd name="connsiteX537" fmla="*/ 3163425 w 3751729"/>
              <a:gd name="connsiteY537" fmla="*/ 555671 h 1237129"/>
              <a:gd name="connsiteX538" fmla="*/ 3165150 w 3751729"/>
              <a:gd name="connsiteY538" fmla="*/ 555671 h 1237129"/>
              <a:gd name="connsiteX539" fmla="*/ 3165887 w 3751729"/>
              <a:gd name="connsiteY539" fmla="*/ 553947 h 1237129"/>
              <a:gd name="connsiteX540" fmla="*/ 3177456 w 3751729"/>
              <a:gd name="connsiteY540" fmla="*/ 543855 h 1237129"/>
              <a:gd name="connsiteX541" fmla="*/ 3184841 w 3751729"/>
              <a:gd name="connsiteY541" fmla="*/ 534501 h 1237129"/>
              <a:gd name="connsiteX542" fmla="*/ 3188288 w 3751729"/>
              <a:gd name="connsiteY542" fmla="*/ 524409 h 1237129"/>
              <a:gd name="connsiteX543" fmla="*/ 3190748 w 3751729"/>
              <a:gd name="connsiteY543" fmla="*/ 512840 h 1237129"/>
              <a:gd name="connsiteX544" fmla="*/ 3194933 w 3751729"/>
              <a:gd name="connsiteY544" fmla="*/ 502747 h 1237129"/>
              <a:gd name="connsiteX545" fmla="*/ 3203795 w 3751729"/>
              <a:gd name="connsiteY545" fmla="*/ 489209 h 1237129"/>
              <a:gd name="connsiteX546" fmla="*/ 3198133 w 3751729"/>
              <a:gd name="connsiteY546" fmla="*/ 489209 h 1237129"/>
              <a:gd name="connsiteX547" fmla="*/ 3193949 w 3751729"/>
              <a:gd name="connsiteY547" fmla="*/ 486747 h 1237129"/>
              <a:gd name="connsiteX548" fmla="*/ 3192472 w 3751729"/>
              <a:gd name="connsiteY548" fmla="*/ 483301 h 1237129"/>
              <a:gd name="connsiteX549" fmla="*/ 3190748 w 3751729"/>
              <a:gd name="connsiteY549" fmla="*/ 480841 h 1237129"/>
              <a:gd name="connsiteX550" fmla="*/ 3190748 w 3751729"/>
              <a:gd name="connsiteY550" fmla="*/ 474932 h 1237129"/>
              <a:gd name="connsiteX551" fmla="*/ 3190748 w 3751729"/>
              <a:gd name="connsiteY551" fmla="*/ 467548 h 1237129"/>
              <a:gd name="connsiteX552" fmla="*/ 3192472 w 3751729"/>
              <a:gd name="connsiteY552" fmla="*/ 465824 h 1237129"/>
              <a:gd name="connsiteX553" fmla="*/ 3193949 w 3751729"/>
              <a:gd name="connsiteY553" fmla="*/ 464840 h 1237129"/>
              <a:gd name="connsiteX554" fmla="*/ 3193949 w 3751729"/>
              <a:gd name="connsiteY554" fmla="*/ 463363 h 1237129"/>
              <a:gd name="connsiteX555" fmla="*/ 3193949 w 3751729"/>
              <a:gd name="connsiteY555" fmla="*/ 461640 h 1237129"/>
              <a:gd name="connsiteX556" fmla="*/ 3199856 w 3751729"/>
              <a:gd name="connsiteY556" fmla="*/ 459917 h 1237129"/>
              <a:gd name="connsiteX557" fmla="*/ 3203795 w 3751729"/>
              <a:gd name="connsiteY557" fmla="*/ 459917 h 1237129"/>
              <a:gd name="connsiteX558" fmla="*/ 3206502 w 3751729"/>
              <a:gd name="connsiteY558" fmla="*/ 459178 h 1237129"/>
              <a:gd name="connsiteX559" fmla="*/ 3209702 w 3751729"/>
              <a:gd name="connsiteY559" fmla="*/ 459178 h 1237129"/>
              <a:gd name="connsiteX560" fmla="*/ 3209702 w 3751729"/>
              <a:gd name="connsiteY560" fmla="*/ 443917 h 1237129"/>
              <a:gd name="connsiteX561" fmla="*/ 3212164 w 3751729"/>
              <a:gd name="connsiteY561" fmla="*/ 432348 h 1237129"/>
              <a:gd name="connsiteX562" fmla="*/ 763197 w 3751729"/>
              <a:gd name="connsiteY562" fmla="*/ 422258 h 1237129"/>
              <a:gd name="connsiteX563" fmla="*/ 761474 w 3751729"/>
              <a:gd name="connsiteY563" fmla="*/ 423733 h 1237129"/>
              <a:gd name="connsiteX564" fmla="*/ 759751 w 3751729"/>
              <a:gd name="connsiteY564" fmla="*/ 426442 h 1237129"/>
              <a:gd name="connsiteX565" fmla="*/ 759751 w 3751729"/>
              <a:gd name="connsiteY565" fmla="*/ 427918 h 1237129"/>
              <a:gd name="connsiteX566" fmla="*/ 759071 w 3751729"/>
              <a:gd name="connsiteY566" fmla="*/ 432000 h 1237129"/>
              <a:gd name="connsiteX567" fmla="*/ 759260 w 3751729"/>
              <a:gd name="connsiteY567" fmla="*/ 432103 h 1237129"/>
              <a:gd name="connsiteX568" fmla="*/ 759999 w 3751729"/>
              <a:gd name="connsiteY568" fmla="*/ 427918 h 1237129"/>
              <a:gd name="connsiteX569" fmla="*/ 759999 w 3751729"/>
              <a:gd name="connsiteY569" fmla="*/ 426195 h 1237129"/>
              <a:gd name="connsiteX570" fmla="*/ 761721 w 3751729"/>
              <a:gd name="connsiteY570" fmla="*/ 423733 h 1237129"/>
              <a:gd name="connsiteX571" fmla="*/ 1749281 w 3751729"/>
              <a:gd name="connsiteY571" fmla="*/ 422010 h 1237129"/>
              <a:gd name="connsiteX572" fmla="*/ 1748542 w 3751729"/>
              <a:gd name="connsiteY572" fmla="*/ 423733 h 1237129"/>
              <a:gd name="connsiteX573" fmla="*/ 1746819 w 3751729"/>
              <a:gd name="connsiteY573" fmla="*/ 423733 h 1237129"/>
              <a:gd name="connsiteX574" fmla="*/ 1745097 w 3751729"/>
              <a:gd name="connsiteY574" fmla="*/ 423733 h 1237129"/>
              <a:gd name="connsiteX575" fmla="*/ 1745097 w 3751729"/>
              <a:gd name="connsiteY575" fmla="*/ 424472 h 1237129"/>
              <a:gd name="connsiteX576" fmla="*/ 1743373 w 3751729"/>
              <a:gd name="connsiteY576" fmla="*/ 424472 h 1237129"/>
              <a:gd name="connsiteX577" fmla="*/ 1740911 w 3751729"/>
              <a:gd name="connsiteY577" fmla="*/ 427918 h 1237129"/>
              <a:gd name="connsiteX578" fmla="*/ 1737711 w 3751729"/>
              <a:gd name="connsiteY578" fmla="*/ 429640 h 1237129"/>
              <a:gd name="connsiteX579" fmla="*/ 1737711 w 3751729"/>
              <a:gd name="connsiteY579" fmla="*/ 430379 h 1237129"/>
              <a:gd name="connsiteX580" fmla="*/ 1737711 w 3751729"/>
              <a:gd name="connsiteY580" fmla="*/ 433825 h 1237129"/>
              <a:gd name="connsiteX581" fmla="*/ 1737711 w 3751729"/>
              <a:gd name="connsiteY581" fmla="*/ 436286 h 1237129"/>
              <a:gd name="connsiteX582" fmla="*/ 1737711 w 3751729"/>
              <a:gd name="connsiteY582" fmla="*/ 441210 h 1237129"/>
              <a:gd name="connsiteX583" fmla="*/ 1749281 w 3751729"/>
              <a:gd name="connsiteY583" fmla="*/ 453026 h 1237129"/>
              <a:gd name="connsiteX584" fmla="*/ 1760112 w 3751729"/>
              <a:gd name="connsiteY584" fmla="*/ 465578 h 1237129"/>
              <a:gd name="connsiteX585" fmla="*/ 1769958 w 3751729"/>
              <a:gd name="connsiteY585" fmla="*/ 480595 h 1237129"/>
              <a:gd name="connsiteX586" fmla="*/ 1781527 w 3751729"/>
              <a:gd name="connsiteY586" fmla="*/ 480595 h 1237129"/>
              <a:gd name="connsiteX587" fmla="*/ 1781527 w 3751729"/>
              <a:gd name="connsiteY587" fmla="*/ 488964 h 1237129"/>
              <a:gd name="connsiteX588" fmla="*/ 1793096 w 3751729"/>
              <a:gd name="connsiteY588" fmla="*/ 493147 h 1237129"/>
              <a:gd name="connsiteX589" fmla="*/ 1801465 w 3751729"/>
              <a:gd name="connsiteY589" fmla="*/ 499056 h 1237129"/>
              <a:gd name="connsiteX590" fmla="*/ 1810572 w 3751729"/>
              <a:gd name="connsiteY590" fmla="*/ 506687 h 1237129"/>
              <a:gd name="connsiteX591" fmla="*/ 1810572 w 3751729"/>
              <a:gd name="connsiteY591" fmla="*/ 510133 h 1237129"/>
              <a:gd name="connsiteX592" fmla="*/ 1807373 w 3751729"/>
              <a:gd name="connsiteY592" fmla="*/ 510133 h 1237129"/>
              <a:gd name="connsiteX593" fmla="*/ 1804911 w 3751729"/>
              <a:gd name="connsiteY593" fmla="*/ 510133 h 1237129"/>
              <a:gd name="connsiteX594" fmla="*/ 1801711 w 3751729"/>
              <a:gd name="connsiteY594" fmla="*/ 510133 h 1237129"/>
              <a:gd name="connsiteX595" fmla="*/ 1799988 w 3751729"/>
              <a:gd name="connsiteY595" fmla="*/ 510133 h 1237129"/>
              <a:gd name="connsiteX596" fmla="*/ 1797527 w 3751729"/>
              <a:gd name="connsiteY596" fmla="*/ 508409 h 1237129"/>
              <a:gd name="connsiteX597" fmla="*/ 1793342 w 3751729"/>
              <a:gd name="connsiteY597" fmla="*/ 506687 h 1237129"/>
              <a:gd name="connsiteX598" fmla="*/ 1789158 w 3751729"/>
              <a:gd name="connsiteY598" fmla="*/ 506687 h 1237129"/>
              <a:gd name="connsiteX599" fmla="*/ 1789158 w 3751729"/>
              <a:gd name="connsiteY599" fmla="*/ 510871 h 1237129"/>
              <a:gd name="connsiteX600" fmla="*/ 1789896 w 3751729"/>
              <a:gd name="connsiteY600" fmla="*/ 514317 h 1237129"/>
              <a:gd name="connsiteX601" fmla="*/ 1791619 w 3751729"/>
              <a:gd name="connsiteY601" fmla="*/ 516779 h 1237129"/>
              <a:gd name="connsiteX602" fmla="*/ 1791619 w 3751729"/>
              <a:gd name="connsiteY602" fmla="*/ 518501 h 1237129"/>
              <a:gd name="connsiteX603" fmla="*/ 1793342 w 3751729"/>
              <a:gd name="connsiteY603" fmla="*/ 521947 h 1237129"/>
              <a:gd name="connsiteX604" fmla="*/ 1794081 w 3751729"/>
              <a:gd name="connsiteY604" fmla="*/ 526132 h 1237129"/>
              <a:gd name="connsiteX605" fmla="*/ 1789896 w 3751729"/>
              <a:gd name="connsiteY605" fmla="*/ 528594 h 1237129"/>
              <a:gd name="connsiteX606" fmla="*/ 1787435 w 3751729"/>
              <a:gd name="connsiteY606" fmla="*/ 532040 h 1237129"/>
              <a:gd name="connsiteX607" fmla="*/ 1784235 w 3751729"/>
              <a:gd name="connsiteY607" fmla="*/ 536224 h 1237129"/>
              <a:gd name="connsiteX608" fmla="*/ 1781773 w 3751729"/>
              <a:gd name="connsiteY608" fmla="*/ 542133 h 1237129"/>
              <a:gd name="connsiteX609" fmla="*/ 1772666 w 3751729"/>
              <a:gd name="connsiteY609" fmla="*/ 542133 h 1237129"/>
              <a:gd name="connsiteX610" fmla="*/ 1772666 w 3751729"/>
              <a:gd name="connsiteY610" fmla="*/ 561578 h 1237129"/>
              <a:gd name="connsiteX611" fmla="*/ 1766020 w 3751729"/>
              <a:gd name="connsiteY611" fmla="*/ 561578 h 1237129"/>
              <a:gd name="connsiteX612" fmla="*/ 1758634 w 3751729"/>
              <a:gd name="connsiteY612" fmla="*/ 555672 h 1237129"/>
              <a:gd name="connsiteX613" fmla="*/ 1749528 w 3751729"/>
              <a:gd name="connsiteY613" fmla="*/ 552225 h 1237129"/>
              <a:gd name="connsiteX614" fmla="*/ 1742882 w 3751729"/>
              <a:gd name="connsiteY614" fmla="*/ 548040 h 1237129"/>
              <a:gd name="connsiteX615" fmla="*/ 1737958 w 3751729"/>
              <a:gd name="connsiteY615" fmla="*/ 537948 h 1237129"/>
              <a:gd name="connsiteX616" fmla="*/ 1749528 w 3751729"/>
              <a:gd name="connsiteY616" fmla="*/ 539671 h 1237129"/>
              <a:gd name="connsiteX617" fmla="*/ 1761096 w 3751729"/>
              <a:gd name="connsiteY617" fmla="*/ 537948 h 1237129"/>
              <a:gd name="connsiteX618" fmla="*/ 1770204 w 3751729"/>
              <a:gd name="connsiteY618" fmla="*/ 534502 h 1237129"/>
              <a:gd name="connsiteX619" fmla="*/ 1775866 w 3751729"/>
              <a:gd name="connsiteY619" fmla="*/ 528594 h 1237129"/>
              <a:gd name="connsiteX620" fmla="*/ 1777589 w 3751729"/>
              <a:gd name="connsiteY620" fmla="*/ 527856 h 1237129"/>
              <a:gd name="connsiteX621" fmla="*/ 1777589 w 3751729"/>
              <a:gd name="connsiteY621" fmla="*/ 526132 h 1237129"/>
              <a:gd name="connsiteX622" fmla="*/ 1778326 w 3751729"/>
              <a:gd name="connsiteY622" fmla="*/ 524410 h 1237129"/>
              <a:gd name="connsiteX623" fmla="*/ 1778326 w 3751729"/>
              <a:gd name="connsiteY623" fmla="*/ 521947 h 1237129"/>
              <a:gd name="connsiteX624" fmla="*/ 1778326 w 3751729"/>
              <a:gd name="connsiteY624" fmla="*/ 518501 h 1237129"/>
              <a:gd name="connsiteX625" fmla="*/ 1756912 w 3751729"/>
              <a:gd name="connsiteY625" fmla="*/ 502502 h 1237129"/>
              <a:gd name="connsiteX626" fmla="*/ 1733773 w 3751729"/>
              <a:gd name="connsiteY626" fmla="*/ 486501 h 1237129"/>
              <a:gd name="connsiteX627" fmla="*/ 1726389 w 3751729"/>
              <a:gd name="connsiteY627" fmla="*/ 477394 h 1237129"/>
              <a:gd name="connsiteX628" fmla="*/ 1719745 w 3751729"/>
              <a:gd name="connsiteY628" fmla="*/ 469025 h 1237129"/>
              <a:gd name="connsiteX629" fmla="*/ 1714084 w 3751729"/>
              <a:gd name="connsiteY629" fmla="*/ 458932 h 1237129"/>
              <a:gd name="connsiteX630" fmla="*/ 1704976 w 3751729"/>
              <a:gd name="connsiteY630" fmla="*/ 449826 h 1237129"/>
              <a:gd name="connsiteX631" fmla="*/ 1693406 w 3751729"/>
              <a:gd name="connsiteY631" fmla="*/ 445640 h 1237129"/>
              <a:gd name="connsiteX632" fmla="*/ 1683560 w 3751729"/>
              <a:gd name="connsiteY632" fmla="*/ 454009 h 1237129"/>
              <a:gd name="connsiteX633" fmla="*/ 1670268 w 3751729"/>
              <a:gd name="connsiteY633" fmla="*/ 461640 h 1237129"/>
              <a:gd name="connsiteX634" fmla="*/ 1654516 w 3751729"/>
              <a:gd name="connsiteY634" fmla="*/ 465086 h 1237129"/>
              <a:gd name="connsiteX635" fmla="*/ 1652792 w 3751729"/>
              <a:gd name="connsiteY635" fmla="*/ 461640 h 1237129"/>
              <a:gd name="connsiteX636" fmla="*/ 1652053 w 3751729"/>
              <a:gd name="connsiteY636" fmla="*/ 459179 h 1237129"/>
              <a:gd name="connsiteX637" fmla="*/ 1650330 w 3751729"/>
              <a:gd name="connsiteY637" fmla="*/ 457456 h 1237129"/>
              <a:gd name="connsiteX638" fmla="*/ 1647130 w 3751729"/>
              <a:gd name="connsiteY638" fmla="*/ 457456 h 1237129"/>
              <a:gd name="connsiteX639" fmla="*/ 1646392 w 3751729"/>
              <a:gd name="connsiteY639" fmla="*/ 457456 h 1237129"/>
              <a:gd name="connsiteX640" fmla="*/ 1643191 w 3751729"/>
              <a:gd name="connsiteY640" fmla="*/ 459179 h 1237129"/>
              <a:gd name="connsiteX641" fmla="*/ 1635808 w 3751729"/>
              <a:gd name="connsiteY641" fmla="*/ 465086 h 1237129"/>
              <a:gd name="connsiteX642" fmla="*/ 1633346 w 3751729"/>
              <a:gd name="connsiteY642" fmla="*/ 473456 h 1237129"/>
              <a:gd name="connsiteX643" fmla="*/ 1631622 w 3751729"/>
              <a:gd name="connsiteY643" fmla="*/ 482563 h 1237129"/>
              <a:gd name="connsiteX644" fmla="*/ 1627438 w 3751729"/>
              <a:gd name="connsiteY644" fmla="*/ 489210 h 1237129"/>
              <a:gd name="connsiteX645" fmla="*/ 1611685 w 3751729"/>
              <a:gd name="connsiteY645" fmla="*/ 489210 h 1237129"/>
              <a:gd name="connsiteX646" fmla="*/ 1606024 w 3751729"/>
              <a:gd name="connsiteY646" fmla="*/ 496840 h 1237129"/>
              <a:gd name="connsiteX647" fmla="*/ 1601838 w 3751729"/>
              <a:gd name="connsiteY647" fmla="*/ 505209 h 1237129"/>
              <a:gd name="connsiteX648" fmla="*/ 1598638 w 3751729"/>
              <a:gd name="connsiteY648" fmla="*/ 516041 h 1237129"/>
              <a:gd name="connsiteX649" fmla="*/ 1596915 w 3751729"/>
              <a:gd name="connsiteY649" fmla="*/ 516779 h 1237129"/>
              <a:gd name="connsiteX650" fmla="*/ 1596915 w 3751729"/>
              <a:gd name="connsiteY650" fmla="*/ 520225 h 1237129"/>
              <a:gd name="connsiteX651" fmla="*/ 1598638 w 3751729"/>
              <a:gd name="connsiteY651" fmla="*/ 521947 h 1237129"/>
              <a:gd name="connsiteX652" fmla="*/ 1600362 w 3751729"/>
              <a:gd name="connsiteY652" fmla="*/ 522686 h 1237129"/>
              <a:gd name="connsiteX653" fmla="*/ 1602823 w 3751729"/>
              <a:gd name="connsiteY653" fmla="*/ 526132 h 1237129"/>
              <a:gd name="connsiteX654" fmla="*/ 1604546 w 3751729"/>
              <a:gd name="connsiteY654" fmla="*/ 528594 h 1237129"/>
              <a:gd name="connsiteX655" fmla="*/ 1600362 w 3751729"/>
              <a:gd name="connsiteY655" fmla="*/ 528594 h 1237129"/>
              <a:gd name="connsiteX656" fmla="*/ 1598638 w 3751729"/>
              <a:gd name="connsiteY656" fmla="*/ 530318 h 1237129"/>
              <a:gd name="connsiteX657" fmla="*/ 1596915 w 3751729"/>
              <a:gd name="connsiteY657" fmla="*/ 530318 h 1237129"/>
              <a:gd name="connsiteX658" fmla="*/ 1596177 w 3751729"/>
              <a:gd name="connsiteY658" fmla="*/ 532040 h 1237129"/>
              <a:gd name="connsiteX659" fmla="*/ 1594454 w 3751729"/>
              <a:gd name="connsiteY659" fmla="*/ 533763 h 1237129"/>
              <a:gd name="connsiteX660" fmla="*/ 1591254 w 3751729"/>
              <a:gd name="connsiteY660" fmla="*/ 534502 h 1237129"/>
              <a:gd name="connsiteX661" fmla="*/ 1591254 w 3751729"/>
              <a:gd name="connsiteY661" fmla="*/ 537948 h 1237129"/>
              <a:gd name="connsiteX662" fmla="*/ 1591254 w 3751729"/>
              <a:gd name="connsiteY662" fmla="*/ 539671 h 1237129"/>
              <a:gd name="connsiteX663" fmla="*/ 1591254 w 3751729"/>
              <a:gd name="connsiteY663" fmla="*/ 541148 h 1237129"/>
              <a:gd name="connsiteX664" fmla="*/ 1591254 w 3751729"/>
              <a:gd name="connsiteY664" fmla="*/ 546071 h 1237129"/>
              <a:gd name="connsiteX665" fmla="*/ 1581408 w 3751729"/>
              <a:gd name="connsiteY665" fmla="*/ 546809 h 1237129"/>
              <a:gd name="connsiteX666" fmla="*/ 1577224 w 3751729"/>
              <a:gd name="connsiteY666" fmla="*/ 550255 h 1237129"/>
              <a:gd name="connsiteX667" fmla="*/ 1574024 w 3751729"/>
              <a:gd name="connsiteY667" fmla="*/ 552717 h 1237129"/>
              <a:gd name="connsiteX668" fmla="*/ 1571562 w 3751729"/>
              <a:gd name="connsiteY668" fmla="*/ 557640 h 1237129"/>
              <a:gd name="connsiteX669" fmla="*/ 1567377 w 3751729"/>
              <a:gd name="connsiteY669" fmla="*/ 561825 h 1237129"/>
              <a:gd name="connsiteX670" fmla="*/ 1562454 w 3751729"/>
              <a:gd name="connsiteY670" fmla="*/ 563548 h 1237129"/>
              <a:gd name="connsiteX671" fmla="*/ 1559993 w 3751729"/>
              <a:gd name="connsiteY671" fmla="*/ 563548 h 1237129"/>
              <a:gd name="connsiteX672" fmla="*/ 1555808 w 3751729"/>
              <a:gd name="connsiteY672" fmla="*/ 561825 h 1237129"/>
              <a:gd name="connsiteX673" fmla="*/ 1552608 w 3751729"/>
              <a:gd name="connsiteY673" fmla="*/ 560102 h 1237129"/>
              <a:gd name="connsiteX674" fmla="*/ 1550147 w 3751729"/>
              <a:gd name="connsiteY674" fmla="*/ 558378 h 1237129"/>
              <a:gd name="connsiteX675" fmla="*/ 1548424 w 3751729"/>
              <a:gd name="connsiteY675" fmla="*/ 558378 h 1237129"/>
              <a:gd name="connsiteX676" fmla="*/ 1545962 w 3751729"/>
              <a:gd name="connsiteY676" fmla="*/ 560102 h 1237129"/>
              <a:gd name="connsiteX677" fmla="*/ 1542761 w 3751729"/>
              <a:gd name="connsiteY677" fmla="*/ 561825 h 1237129"/>
              <a:gd name="connsiteX678" fmla="*/ 1540300 w 3751729"/>
              <a:gd name="connsiteY678" fmla="*/ 563548 h 1237129"/>
              <a:gd name="connsiteX679" fmla="*/ 1535378 w 3751729"/>
              <a:gd name="connsiteY679" fmla="*/ 564286 h 1237129"/>
              <a:gd name="connsiteX680" fmla="*/ 1535378 w 3751729"/>
              <a:gd name="connsiteY680" fmla="*/ 571917 h 1237129"/>
              <a:gd name="connsiteX681" fmla="*/ 1575746 w 3751729"/>
              <a:gd name="connsiteY681" fmla="*/ 577823 h 1237129"/>
              <a:gd name="connsiteX682" fmla="*/ 1587316 w 3751729"/>
              <a:gd name="connsiteY682" fmla="*/ 571917 h 1237129"/>
              <a:gd name="connsiteX683" fmla="*/ 1598884 w 3751729"/>
              <a:gd name="connsiteY683" fmla="*/ 564286 h 1237129"/>
              <a:gd name="connsiteX684" fmla="*/ 1607993 w 3751729"/>
              <a:gd name="connsiteY684" fmla="*/ 558378 h 1237129"/>
              <a:gd name="connsiteX685" fmla="*/ 1620300 w 3751729"/>
              <a:gd name="connsiteY685" fmla="*/ 555917 h 1237129"/>
              <a:gd name="connsiteX686" fmla="*/ 1639253 w 3751729"/>
              <a:gd name="connsiteY686" fmla="*/ 552471 h 1237129"/>
              <a:gd name="connsiteX687" fmla="*/ 1659191 w 3751729"/>
              <a:gd name="connsiteY687" fmla="*/ 551732 h 1237129"/>
              <a:gd name="connsiteX688" fmla="*/ 1681592 w 3751729"/>
              <a:gd name="connsiteY688" fmla="*/ 551732 h 1237129"/>
              <a:gd name="connsiteX689" fmla="*/ 1699807 w 3751729"/>
              <a:gd name="connsiteY689" fmla="*/ 551732 h 1237129"/>
              <a:gd name="connsiteX690" fmla="*/ 1715560 w 3751729"/>
              <a:gd name="connsiteY690" fmla="*/ 552471 h 1237129"/>
              <a:gd name="connsiteX691" fmla="*/ 1722943 w 3751729"/>
              <a:gd name="connsiteY691" fmla="*/ 554194 h 1237129"/>
              <a:gd name="connsiteX692" fmla="*/ 1726634 w 3751729"/>
              <a:gd name="connsiteY692" fmla="*/ 554194 h 1237129"/>
              <a:gd name="connsiteX693" fmla="*/ 1721712 w 3751729"/>
              <a:gd name="connsiteY693" fmla="*/ 567732 h 1237129"/>
              <a:gd name="connsiteX694" fmla="*/ 1719253 w 3751729"/>
              <a:gd name="connsiteY694" fmla="*/ 582007 h 1237129"/>
              <a:gd name="connsiteX695" fmla="*/ 1716053 w 3751729"/>
              <a:gd name="connsiteY695" fmla="*/ 597022 h 1237129"/>
              <a:gd name="connsiteX696" fmla="*/ 1720975 w 3751729"/>
              <a:gd name="connsiteY696" fmla="*/ 599484 h 1237129"/>
              <a:gd name="connsiteX697" fmla="*/ 1721712 w 3751729"/>
              <a:gd name="connsiteY697" fmla="*/ 602930 h 1237129"/>
              <a:gd name="connsiteX698" fmla="*/ 1724912 w 3751729"/>
              <a:gd name="connsiteY698" fmla="*/ 605392 h 1237129"/>
              <a:gd name="connsiteX699" fmla="*/ 1726634 w 3751729"/>
              <a:gd name="connsiteY699" fmla="*/ 607115 h 1237129"/>
              <a:gd name="connsiteX700" fmla="*/ 1729096 w 3751729"/>
              <a:gd name="connsiteY700" fmla="*/ 609576 h 1237129"/>
              <a:gd name="connsiteX701" fmla="*/ 1738943 w 3751729"/>
              <a:gd name="connsiteY701" fmla="*/ 613022 h 1237129"/>
              <a:gd name="connsiteX702" fmla="*/ 1750512 w 3751729"/>
              <a:gd name="connsiteY702" fmla="*/ 613022 h 1237129"/>
              <a:gd name="connsiteX703" fmla="*/ 1762081 w 3751729"/>
              <a:gd name="connsiteY703" fmla="*/ 614746 h 1237129"/>
              <a:gd name="connsiteX704" fmla="*/ 1773650 w 3751729"/>
              <a:gd name="connsiteY704" fmla="*/ 620653 h 1237129"/>
              <a:gd name="connsiteX705" fmla="*/ 1776850 w 3751729"/>
              <a:gd name="connsiteY705" fmla="*/ 632469 h 1237129"/>
              <a:gd name="connsiteX706" fmla="*/ 1782512 w 3751729"/>
              <a:gd name="connsiteY706" fmla="*/ 634930 h 1237129"/>
              <a:gd name="connsiteX707" fmla="*/ 1790881 w 3751729"/>
              <a:gd name="connsiteY707" fmla="*/ 638376 h 1237129"/>
              <a:gd name="connsiteX708" fmla="*/ 1802451 w 3751729"/>
              <a:gd name="connsiteY708" fmla="*/ 640837 h 1237129"/>
              <a:gd name="connsiteX709" fmla="*/ 1812296 w 3751729"/>
              <a:gd name="connsiteY709" fmla="*/ 644283 h 1237129"/>
              <a:gd name="connsiteX710" fmla="*/ 1817958 w 3751729"/>
              <a:gd name="connsiteY710" fmla="*/ 645022 h 1237129"/>
              <a:gd name="connsiteX711" fmla="*/ 1819681 w 3751729"/>
              <a:gd name="connsiteY711" fmla="*/ 636653 h 1237129"/>
              <a:gd name="connsiteX712" fmla="*/ 1822881 w 3751729"/>
              <a:gd name="connsiteY712" fmla="*/ 629022 h 1237129"/>
              <a:gd name="connsiteX713" fmla="*/ 1825342 w 3751729"/>
              <a:gd name="connsiteY713" fmla="*/ 621392 h 1237129"/>
              <a:gd name="connsiteX714" fmla="*/ 1834450 w 3751729"/>
              <a:gd name="connsiteY714" fmla="*/ 615484 h 1237129"/>
              <a:gd name="connsiteX715" fmla="*/ 1846757 w 3751729"/>
              <a:gd name="connsiteY715" fmla="*/ 613022 h 1237129"/>
              <a:gd name="connsiteX716" fmla="*/ 1858327 w 3751729"/>
              <a:gd name="connsiteY716" fmla="*/ 615484 h 1237129"/>
              <a:gd name="connsiteX717" fmla="*/ 1869895 w 3751729"/>
              <a:gd name="connsiteY717" fmla="*/ 621392 h 1237129"/>
              <a:gd name="connsiteX718" fmla="*/ 1881465 w 3751729"/>
              <a:gd name="connsiteY718" fmla="*/ 626315 h 1237129"/>
              <a:gd name="connsiteX719" fmla="*/ 1887126 w 3751729"/>
              <a:gd name="connsiteY719" fmla="*/ 627053 h 1237129"/>
              <a:gd name="connsiteX720" fmla="*/ 1898695 w 3751729"/>
              <a:gd name="connsiteY720" fmla="*/ 628776 h 1237129"/>
              <a:gd name="connsiteX721" fmla="*/ 1910265 w 3751729"/>
              <a:gd name="connsiteY721" fmla="*/ 632222 h 1237129"/>
              <a:gd name="connsiteX722" fmla="*/ 1921834 w 3751729"/>
              <a:gd name="connsiteY722" fmla="*/ 632961 h 1237129"/>
              <a:gd name="connsiteX723" fmla="*/ 1930941 w 3751729"/>
              <a:gd name="connsiteY723" fmla="*/ 634684 h 1237129"/>
              <a:gd name="connsiteX724" fmla="*/ 1935126 w 3751729"/>
              <a:gd name="connsiteY724" fmla="*/ 636407 h 1237129"/>
              <a:gd name="connsiteX725" fmla="*/ 1937587 w 3751729"/>
              <a:gd name="connsiteY725" fmla="*/ 634684 h 1237129"/>
              <a:gd name="connsiteX726" fmla="*/ 1939311 w 3751729"/>
              <a:gd name="connsiteY726" fmla="*/ 632222 h 1237129"/>
              <a:gd name="connsiteX727" fmla="*/ 1941034 w 3751729"/>
              <a:gd name="connsiteY727" fmla="*/ 630499 h 1237129"/>
              <a:gd name="connsiteX728" fmla="*/ 1943495 w 3751729"/>
              <a:gd name="connsiteY728" fmla="*/ 627053 h 1237129"/>
              <a:gd name="connsiteX729" fmla="*/ 1946695 w 3751729"/>
              <a:gd name="connsiteY729" fmla="*/ 626315 h 1237129"/>
              <a:gd name="connsiteX730" fmla="*/ 1949156 w 3751729"/>
              <a:gd name="connsiteY730" fmla="*/ 626315 h 1237129"/>
              <a:gd name="connsiteX731" fmla="*/ 1953342 w 3751729"/>
              <a:gd name="connsiteY731" fmla="*/ 626315 h 1237129"/>
              <a:gd name="connsiteX732" fmla="*/ 1964172 w 3751729"/>
              <a:gd name="connsiteY732" fmla="*/ 628776 h 1237129"/>
              <a:gd name="connsiteX733" fmla="*/ 1972541 w 3751729"/>
              <a:gd name="connsiteY733" fmla="*/ 632961 h 1237129"/>
              <a:gd name="connsiteX734" fmla="*/ 1982387 w 3751729"/>
              <a:gd name="connsiteY734" fmla="*/ 632222 h 1237129"/>
              <a:gd name="connsiteX735" fmla="*/ 1993217 w 3751729"/>
              <a:gd name="connsiteY735" fmla="*/ 628776 h 1237129"/>
              <a:gd name="connsiteX736" fmla="*/ 1993956 w 3751729"/>
              <a:gd name="connsiteY736" fmla="*/ 616960 h 1237129"/>
              <a:gd name="connsiteX737" fmla="*/ 1999618 w 3751729"/>
              <a:gd name="connsiteY737" fmla="*/ 602684 h 1237129"/>
              <a:gd name="connsiteX738" fmla="*/ 2004541 w 3751729"/>
              <a:gd name="connsiteY738" fmla="*/ 589145 h 1237129"/>
              <a:gd name="connsiteX739" fmla="*/ 2006018 w 3751729"/>
              <a:gd name="connsiteY739" fmla="*/ 577823 h 1237129"/>
              <a:gd name="connsiteX740" fmla="*/ 2003556 w 3751729"/>
              <a:gd name="connsiteY740" fmla="*/ 567732 h 1237129"/>
              <a:gd name="connsiteX741" fmla="*/ 2001834 w 3751729"/>
              <a:gd name="connsiteY741" fmla="*/ 564286 h 1237129"/>
              <a:gd name="connsiteX742" fmla="*/ 2001834 w 3751729"/>
              <a:gd name="connsiteY742" fmla="*/ 561825 h 1237129"/>
              <a:gd name="connsiteX743" fmla="*/ 2000110 w 3751729"/>
              <a:gd name="connsiteY743" fmla="*/ 560102 h 1237129"/>
              <a:gd name="connsiteX744" fmla="*/ 1998388 w 3751729"/>
              <a:gd name="connsiteY744" fmla="*/ 558378 h 1237129"/>
              <a:gd name="connsiteX745" fmla="*/ 1995925 w 3751729"/>
              <a:gd name="connsiteY745" fmla="*/ 558378 h 1237129"/>
              <a:gd name="connsiteX746" fmla="*/ 1992725 w 3751729"/>
              <a:gd name="connsiteY746" fmla="*/ 558378 h 1237129"/>
              <a:gd name="connsiteX747" fmla="*/ 1987064 w 3751729"/>
              <a:gd name="connsiteY747" fmla="*/ 558378 h 1237129"/>
              <a:gd name="connsiteX748" fmla="*/ 1980418 w 3751729"/>
              <a:gd name="connsiteY748" fmla="*/ 564286 h 1237129"/>
              <a:gd name="connsiteX749" fmla="*/ 1974756 w 3751729"/>
              <a:gd name="connsiteY749" fmla="*/ 566009 h 1237129"/>
              <a:gd name="connsiteX750" fmla="*/ 1969094 w 3751729"/>
              <a:gd name="connsiteY750" fmla="*/ 564286 h 1237129"/>
              <a:gd name="connsiteX751" fmla="*/ 1963433 w 3751729"/>
              <a:gd name="connsiteY751" fmla="*/ 561825 h 1237129"/>
              <a:gd name="connsiteX752" fmla="*/ 1956049 w 3751729"/>
              <a:gd name="connsiteY752" fmla="*/ 558378 h 1237129"/>
              <a:gd name="connsiteX753" fmla="*/ 1951864 w 3751729"/>
              <a:gd name="connsiteY753" fmla="*/ 557640 h 1237129"/>
              <a:gd name="connsiteX754" fmla="*/ 1948665 w 3751729"/>
              <a:gd name="connsiteY754" fmla="*/ 558378 h 1237129"/>
              <a:gd name="connsiteX755" fmla="*/ 1944480 w 3751729"/>
              <a:gd name="connsiteY755" fmla="*/ 560102 h 1237129"/>
              <a:gd name="connsiteX756" fmla="*/ 1942757 w 3751729"/>
              <a:gd name="connsiteY756" fmla="*/ 563548 h 1237129"/>
              <a:gd name="connsiteX757" fmla="*/ 1940295 w 3751729"/>
              <a:gd name="connsiteY757" fmla="*/ 566009 h 1237129"/>
              <a:gd name="connsiteX758" fmla="*/ 1937095 w 3751729"/>
              <a:gd name="connsiteY758" fmla="*/ 567732 h 1237129"/>
              <a:gd name="connsiteX759" fmla="*/ 1924788 w 3751729"/>
              <a:gd name="connsiteY759" fmla="*/ 564286 h 1237129"/>
              <a:gd name="connsiteX760" fmla="*/ 1911496 w 3751729"/>
              <a:gd name="connsiteY760" fmla="*/ 555917 h 1237129"/>
              <a:gd name="connsiteX761" fmla="*/ 1901649 w 3751729"/>
              <a:gd name="connsiteY761" fmla="*/ 542379 h 1237129"/>
              <a:gd name="connsiteX762" fmla="*/ 1896726 w 3751729"/>
              <a:gd name="connsiteY762" fmla="*/ 528840 h 1237129"/>
              <a:gd name="connsiteX763" fmla="*/ 1896726 w 3751729"/>
              <a:gd name="connsiteY763" fmla="*/ 526378 h 1237129"/>
              <a:gd name="connsiteX764" fmla="*/ 1896726 w 3751729"/>
              <a:gd name="connsiteY764" fmla="*/ 522932 h 1237129"/>
              <a:gd name="connsiteX765" fmla="*/ 1896726 w 3751729"/>
              <a:gd name="connsiteY765" fmla="*/ 520471 h 1237129"/>
              <a:gd name="connsiteX766" fmla="*/ 1896726 w 3751729"/>
              <a:gd name="connsiteY766" fmla="*/ 517025 h 1237129"/>
              <a:gd name="connsiteX767" fmla="*/ 1896726 w 3751729"/>
              <a:gd name="connsiteY767" fmla="*/ 514563 h 1237129"/>
              <a:gd name="connsiteX768" fmla="*/ 1898449 w 3751729"/>
              <a:gd name="connsiteY768" fmla="*/ 511117 h 1237129"/>
              <a:gd name="connsiteX769" fmla="*/ 1900173 w 3751729"/>
              <a:gd name="connsiteY769" fmla="*/ 506933 h 1237129"/>
              <a:gd name="connsiteX770" fmla="*/ 1896973 w 3751729"/>
              <a:gd name="connsiteY770" fmla="*/ 504471 h 1237129"/>
              <a:gd name="connsiteX771" fmla="*/ 1894510 w 3751729"/>
              <a:gd name="connsiteY771" fmla="*/ 502749 h 1237129"/>
              <a:gd name="connsiteX772" fmla="*/ 1892788 w 3751729"/>
              <a:gd name="connsiteY772" fmla="*/ 501025 h 1237129"/>
              <a:gd name="connsiteX773" fmla="*/ 1891064 w 3751729"/>
              <a:gd name="connsiteY773" fmla="*/ 499302 h 1237129"/>
              <a:gd name="connsiteX774" fmla="*/ 1888603 w 3751729"/>
              <a:gd name="connsiteY774" fmla="*/ 498563 h 1237129"/>
              <a:gd name="connsiteX775" fmla="*/ 1884418 w 3751729"/>
              <a:gd name="connsiteY775" fmla="*/ 496840 h 1237129"/>
              <a:gd name="connsiteX776" fmla="*/ 1882696 w 3751729"/>
              <a:gd name="connsiteY776" fmla="*/ 495118 h 1237129"/>
              <a:gd name="connsiteX777" fmla="*/ 1880972 w 3751729"/>
              <a:gd name="connsiteY777" fmla="*/ 495118 h 1237129"/>
              <a:gd name="connsiteX778" fmla="*/ 1879250 w 3751729"/>
              <a:gd name="connsiteY778" fmla="*/ 493394 h 1237129"/>
              <a:gd name="connsiteX779" fmla="*/ 1876787 w 3751729"/>
              <a:gd name="connsiteY779" fmla="*/ 493394 h 1237129"/>
              <a:gd name="connsiteX780" fmla="*/ 1873588 w 3751729"/>
              <a:gd name="connsiteY780" fmla="*/ 493394 h 1237129"/>
              <a:gd name="connsiteX781" fmla="*/ 1873588 w 3751729"/>
              <a:gd name="connsiteY781" fmla="*/ 496840 h 1237129"/>
              <a:gd name="connsiteX782" fmla="*/ 1871126 w 3751729"/>
              <a:gd name="connsiteY782" fmla="*/ 496840 h 1237129"/>
              <a:gd name="connsiteX783" fmla="*/ 1871126 w 3751729"/>
              <a:gd name="connsiteY783" fmla="*/ 501025 h 1237129"/>
              <a:gd name="connsiteX784" fmla="*/ 1872850 w 3751729"/>
              <a:gd name="connsiteY784" fmla="*/ 504471 h 1237129"/>
              <a:gd name="connsiteX785" fmla="*/ 1872850 w 3751729"/>
              <a:gd name="connsiteY785" fmla="*/ 505209 h 1237129"/>
              <a:gd name="connsiteX786" fmla="*/ 1872850 w 3751729"/>
              <a:gd name="connsiteY786" fmla="*/ 506933 h 1237129"/>
              <a:gd name="connsiteX787" fmla="*/ 1871126 w 3751729"/>
              <a:gd name="connsiteY787" fmla="*/ 508655 h 1237129"/>
              <a:gd name="connsiteX788" fmla="*/ 1869404 w 3751729"/>
              <a:gd name="connsiteY788" fmla="*/ 508655 h 1237129"/>
              <a:gd name="connsiteX789" fmla="*/ 1866942 w 3751729"/>
              <a:gd name="connsiteY789" fmla="*/ 508655 h 1237129"/>
              <a:gd name="connsiteX790" fmla="*/ 1861280 w 3751729"/>
              <a:gd name="connsiteY790" fmla="*/ 510380 h 1237129"/>
              <a:gd name="connsiteX791" fmla="*/ 1859557 w 3751729"/>
              <a:gd name="connsiteY791" fmla="*/ 506933 h 1237129"/>
              <a:gd name="connsiteX792" fmla="*/ 1857834 w 3751729"/>
              <a:gd name="connsiteY792" fmla="*/ 505209 h 1237129"/>
              <a:gd name="connsiteX793" fmla="*/ 1857834 w 3751729"/>
              <a:gd name="connsiteY793" fmla="*/ 504471 h 1237129"/>
              <a:gd name="connsiteX794" fmla="*/ 1855373 w 3751729"/>
              <a:gd name="connsiteY794" fmla="*/ 502749 h 1237129"/>
              <a:gd name="connsiteX795" fmla="*/ 1855373 w 3751729"/>
              <a:gd name="connsiteY795" fmla="*/ 506687 h 1237129"/>
              <a:gd name="connsiteX796" fmla="*/ 1862757 w 3751729"/>
              <a:gd name="connsiteY796" fmla="*/ 515794 h 1237129"/>
              <a:gd name="connsiteX797" fmla="*/ 1868419 w 3751729"/>
              <a:gd name="connsiteY797" fmla="*/ 528347 h 1237129"/>
              <a:gd name="connsiteX798" fmla="*/ 1870880 w 3751729"/>
              <a:gd name="connsiteY798" fmla="*/ 541887 h 1237129"/>
              <a:gd name="connsiteX799" fmla="*/ 1866695 w 3751729"/>
              <a:gd name="connsiteY799" fmla="*/ 545333 h 1237129"/>
              <a:gd name="connsiteX800" fmla="*/ 1863495 w 3751729"/>
              <a:gd name="connsiteY800" fmla="*/ 546071 h 1237129"/>
              <a:gd name="connsiteX801" fmla="*/ 1862757 w 3751729"/>
              <a:gd name="connsiteY801" fmla="*/ 549517 h 1237129"/>
              <a:gd name="connsiteX802" fmla="*/ 1861034 w 3751729"/>
              <a:gd name="connsiteY802" fmla="*/ 551979 h 1237129"/>
              <a:gd name="connsiteX803" fmla="*/ 1861034 w 3751729"/>
              <a:gd name="connsiteY803" fmla="*/ 553701 h 1237129"/>
              <a:gd name="connsiteX804" fmla="*/ 1859311 w 3751729"/>
              <a:gd name="connsiteY804" fmla="*/ 557147 h 1237129"/>
              <a:gd name="connsiteX805" fmla="*/ 1857589 w 3751729"/>
              <a:gd name="connsiteY805" fmla="*/ 557887 h 1237129"/>
              <a:gd name="connsiteX806" fmla="*/ 1853403 w 3751729"/>
              <a:gd name="connsiteY806" fmla="*/ 559610 h 1237129"/>
              <a:gd name="connsiteX807" fmla="*/ 1849218 w 3751729"/>
              <a:gd name="connsiteY807" fmla="*/ 561332 h 1237129"/>
              <a:gd name="connsiteX808" fmla="*/ 1847496 w 3751729"/>
              <a:gd name="connsiteY808" fmla="*/ 559610 h 1237129"/>
              <a:gd name="connsiteX809" fmla="*/ 1845772 w 3751729"/>
              <a:gd name="connsiteY809" fmla="*/ 559610 h 1237129"/>
              <a:gd name="connsiteX810" fmla="*/ 1845034 w 3751729"/>
              <a:gd name="connsiteY810" fmla="*/ 557887 h 1237129"/>
              <a:gd name="connsiteX811" fmla="*/ 1841834 w 3751729"/>
              <a:gd name="connsiteY811" fmla="*/ 557887 h 1237129"/>
              <a:gd name="connsiteX812" fmla="*/ 1828542 w 3751729"/>
              <a:gd name="connsiteY812" fmla="*/ 518501 h 1237129"/>
              <a:gd name="connsiteX813" fmla="*/ 1826081 w 3751729"/>
              <a:gd name="connsiteY813" fmla="*/ 516779 h 1237129"/>
              <a:gd name="connsiteX814" fmla="*/ 1822881 w 3751729"/>
              <a:gd name="connsiteY814" fmla="*/ 514317 h 1237129"/>
              <a:gd name="connsiteX815" fmla="*/ 1818696 w 3751729"/>
              <a:gd name="connsiteY815" fmla="*/ 510871 h 1237129"/>
              <a:gd name="connsiteX816" fmla="*/ 1816235 w 3751729"/>
              <a:gd name="connsiteY816" fmla="*/ 510133 h 1237129"/>
              <a:gd name="connsiteX817" fmla="*/ 1813035 w 3751729"/>
              <a:gd name="connsiteY817" fmla="*/ 506687 h 1237129"/>
              <a:gd name="connsiteX818" fmla="*/ 1811312 w 3751729"/>
              <a:gd name="connsiteY818" fmla="*/ 498318 h 1237129"/>
              <a:gd name="connsiteX819" fmla="*/ 1813035 w 3751729"/>
              <a:gd name="connsiteY819" fmla="*/ 490687 h 1237129"/>
              <a:gd name="connsiteX820" fmla="*/ 1814757 w 3751729"/>
              <a:gd name="connsiteY820" fmla="*/ 484779 h 1237129"/>
              <a:gd name="connsiteX821" fmla="*/ 1814757 w 3751729"/>
              <a:gd name="connsiteY821" fmla="*/ 478871 h 1237129"/>
              <a:gd name="connsiteX822" fmla="*/ 1810572 w 3751729"/>
              <a:gd name="connsiteY822" fmla="*/ 474687 h 1237129"/>
              <a:gd name="connsiteX823" fmla="*/ 1799742 w 3751729"/>
              <a:gd name="connsiteY823" fmla="*/ 467056 h 1237129"/>
              <a:gd name="connsiteX824" fmla="*/ 1791374 w 3751729"/>
              <a:gd name="connsiteY824" fmla="*/ 462871 h 1237129"/>
              <a:gd name="connsiteX825" fmla="*/ 1783988 w 3751729"/>
              <a:gd name="connsiteY825" fmla="*/ 461147 h 1237129"/>
              <a:gd name="connsiteX826" fmla="*/ 1777342 w 3751729"/>
              <a:gd name="connsiteY826" fmla="*/ 456964 h 1237129"/>
              <a:gd name="connsiteX827" fmla="*/ 1771681 w 3751729"/>
              <a:gd name="connsiteY827" fmla="*/ 447855 h 1237129"/>
              <a:gd name="connsiteX828" fmla="*/ 1766020 w 3751729"/>
              <a:gd name="connsiteY828" fmla="*/ 431856 h 1237129"/>
              <a:gd name="connsiteX829" fmla="*/ 1754450 w 3751729"/>
              <a:gd name="connsiteY829" fmla="*/ 435303 h 1237129"/>
              <a:gd name="connsiteX830" fmla="*/ 1752728 w 3751729"/>
              <a:gd name="connsiteY830" fmla="*/ 430379 h 1237129"/>
              <a:gd name="connsiteX831" fmla="*/ 1752728 w 3751729"/>
              <a:gd name="connsiteY831" fmla="*/ 427918 h 1237129"/>
              <a:gd name="connsiteX832" fmla="*/ 1751004 w 3751729"/>
              <a:gd name="connsiteY832" fmla="*/ 424472 h 1237129"/>
              <a:gd name="connsiteX833" fmla="*/ 761721 w 3751729"/>
              <a:gd name="connsiteY833" fmla="*/ 418564 h 1237129"/>
              <a:gd name="connsiteX834" fmla="*/ 761599 w 3751729"/>
              <a:gd name="connsiteY834" fmla="*/ 418810 h 1237129"/>
              <a:gd name="connsiteX835" fmla="*/ 763935 w 3751729"/>
              <a:gd name="connsiteY835" fmla="*/ 418810 h 1237129"/>
              <a:gd name="connsiteX836" fmla="*/ 763935 w 3751729"/>
              <a:gd name="connsiteY836" fmla="*/ 418811 h 1237129"/>
              <a:gd name="connsiteX837" fmla="*/ 763936 w 3751729"/>
              <a:gd name="connsiteY837" fmla="*/ 418811 h 1237129"/>
              <a:gd name="connsiteX838" fmla="*/ 763198 w 3751729"/>
              <a:gd name="connsiteY838" fmla="*/ 422257 h 1237129"/>
              <a:gd name="connsiteX839" fmla="*/ 763445 w 3751729"/>
              <a:gd name="connsiteY839" fmla="*/ 422010 h 1237129"/>
              <a:gd name="connsiteX840" fmla="*/ 764184 w 3751729"/>
              <a:gd name="connsiteY840" fmla="*/ 418564 h 1237129"/>
              <a:gd name="connsiteX841" fmla="*/ 1948172 w 3751729"/>
              <a:gd name="connsiteY841" fmla="*/ 406502 h 1237129"/>
              <a:gd name="connsiteX842" fmla="*/ 1944972 w 3751729"/>
              <a:gd name="connsiteY842" fmla="*/ 413148 h 1237129"/>
              <a:gd name="connsiteX843" fmla="*/ 1939311 w 3751729"/>
              <a:gd name="connsiteY843" fmla="*/ 423979 h 1237129"/>
              <a:gd name="connsiteX844" fmla="*/ 1931926 w 3751729"/>
              <a:gd name="connsiteY844" fmla="*/ 435794 h 1237129"/>
              <a:gd name="connsiteX845" fmla="*/ 1925280 w 3751729"/>
              <a:gd name="connsiteY845" fmla="*/ 447610 h 1237129"/>
              <a:gd name="connsiteX846" fmla="*/ 1919618 w 3751729"/>
              <a:gd name="connsiteY846" fmla="*/ 457702 h 1237129"/>
              <a:gd name="connsiteX847" fmla="*/ 1916418 w 3751729"/>
              <a:gd name="connsiteY847" fmla="*/ 466071 h 1237129"/>
              <a:gd name="connsiteX848" fmla="*/ 1916418 w 3751729"/>
              <a:gd name="connsiteY848" fmla="*/ 470994 h 1237129"/>
              <a:gd name="connsiteX849" fmla="*/ 1918142 w 3751729"/>
              <a:gd name="connsiteY849" fmla="*/ 476902 h 1237129"/>
              <a:gd name="connsiteX850" fmla="*/ 1918142 w 3751729"/>
              <a:gd name="connsiteY850" fmla="*/ 479363 h 1237129"/>
              <a:gd name="connsiteX851" fmla="*/ 1919864 w 3751729"/>
              <a:gd name="connsiteY851" fmla="*/ 482810 h 1237129"/>
              <a:gd name="connsiteX852" fmla="*/ 1922326 w 3751729"/>
              <a:gd name="connsiteY852" fmla="*/ 483548 h 1237129"/>
              <a:gd name="connsiteX853" fmla="*/ 1925526 w 3751729"/>
              <a:gd name="connsiteY853" fmla="*/ 485271 h 1237129"/>
              <a:gd name="connsiteX854" fmla="*/ 1929710 w 3751729"/>
              <a:gd name="connsiteY854" fmla="*/ 486994 h 1237129"/>
              <a:gd name="connsiteX855" fmla="*/ 1941280 w 3751729"/>
              <a:gd name="connsiteY855" fmla="*/ 491179 h 1237129"/>
              <a:gd name="connsiteX856" fmla="*/ 1952849 w 3751729"/>
              <a:gd name="connsiteY856" fmla="*/ 489456 h 1237129"/>
              <a:gd name="connsiteX857" fmla="*/ 1962695 w 3751729"/>
              <a:gd name="connsiteY857" fmla="*/ 485271 h 1237129"/>
              <a:gd name="connsiteX858" fmla="*/ 1974265 w 3751729"/>
              <a:gd name="connsiteY858" fmla="*/ 479363 h 1237129"/>
              <a:gd name="connsiteX859" fmla="*/ 1985833 w 3751729"/>
              <a:gd name="connsiteY859" fmla="*/ 477640 h 1237129"/>
              <a:gd name="connsiteX860" fmla="*/ 1997403 w 3751729"/>
              <a:gd name="connsiteY860" fmla="*/ 477640 h 1237129"/>
              <a:gd name="connsiteX861" fmla="*/ 2004787 w 3751729"/>
              <a:gd name="connsiteY861" fmla="*/ 482563 h 1237129"/>
              <a:gd name="connsiteX862" fmla="*/ 2010448 w 3751729"/>
              <a:gd name="connsiteY862" fmla="*/ 486748 h 1237129"/>
              <a:gd name="connsiteX863" fmla="*/ 2017094 w 3751729"/>
              <a:gd name="connsiteY863" fmla="*/ 489210 h 1237129"/>
              <a:gd name="connsiteX864" fmla="*/ 2034325 w 3751729"/>
              <a:gd name="connsiteY864" fmla="*/ 492656 h 1237129"/>
              <a:gd name="connsiteX865" fmla="*/ 2051556 w 3751729"/>
              <a:gd name="connsiteY865" fmla="*/ 490932 h 1237129"/>
              <a:gd name="connsiteX866" fmla="*/ 2067309 w 3751729"/>
              <a:gd name="connsiteY866" fmla="*/ 486748 h 1237129"/>
              <a:gd name="connsiteX867" fmla="*/ 2071740 w 3751729"/>
              <a:gd name="connsiteY867" fmla="*/ 477887 h 1237129"/>
              <a:gd name="connsiteX868" fmla="*/ 2066818 w 3751729"/>
              <a:gd name="connsiteY868" fmla="*/ 477887 h 1237129"/>
              <a:gd name="connsiteX869" fmla="*/ 2060171 w 3751729"/>
              <a:gd name="connsiteY869" fmla="*/ 466071 h 1237129"/>
              <a:gd name="connsiteX870" fmla="*/ 2048601 w 3751729"/>
              <a:gd name="connsiteY870" fmla="*/ 455979 h 1237129"/>
              <a:gd name="connsiteX871" fmla="*/ 2032110 w 3751729"/>
              <a:gd name="connsiteY871" fmla="*/ 445887 h 1237129"/>
              <a:gd name="connsiteX872" fmla="*/ 2016356 w 3751729"/>
              <a:gd name="connsiteY872" fmla="*/ 436778 h 1237129"/>
              <a:gd name="connsiteX873" fmla="*/ 2004049 w 3751729"/>
              <a:gd name="connsiteY873" fmla="*/ 432595 h 1237129"/>
              <a:gd name="connsiteX874" fmla="*/ 1996663 w 3751729"/>
              <a:gd name="connsiteY874" fmla="*/ 438502 h 1237129"/>
              <a:gd name="connsiteX875" fmla="*/ 1986818 w 3751729"/>
              <a:gd name="connsiteY875" fmla="*/ 442687 h 1237129"/>
              <a:gd name="connsiteX876" fmla="*/ 1979433 w 3751729"/>
              <a:gd name="connsiteY876" fmla="*/ 441949 h 1237129"/>
              <a:gd name="connsiteX877" fmla="*/ 1975249 w 3751729"/>
              <a:gd name="connsiteY877" fmla="*/ 436041 h 1237129"/>
              <a:gd name="connsiteX878" fmla="*/ 1969587 w 3751729"/>
              <a:gd name="connsiteY878" fmla="*/ 430133 h 1237129"/>
              <a:gd name="connsiteX879" fmla="*/ 1966388 w 3751729"/>
              <a:gd name="connsiteY879" fmla="*/ 422502 h 1237129"/>
              <a:gd name="connsiteX880" fmla="*/ 1976233 w 3751729"/>
              <a:gd name="connsiteY880" fmla="*/ 419056 h 1237129"/>
              <a:gd name="connsiteX881" fmla="*/ 1975495 w 3751729"/>
              <a:gd name="connsiteY881" fmla="*/ 418318 h 1237129"/>
              <a:gd name="connsiteX882" fmla="*/ 1973772 w 3751729"/>
              <a:gd name="connsiteY882" fmla="*/ 418318 h 1237129"/>
              <a:gd name="connsiteX883" fmla="*/ 1972049 w 3751729"/>
              <a:gd name="connsiteY883" fmla="*/ 418318 h 1237129"/>
              <a:gd name="connsiteX884" fmla="*/ 1969587 w 3751729"/>
              <a:gd name="connsiteY884" fmla="*/ 416595 h 1237129"/>
              <a:gd name="connsiteX885" fmla="*/ 1964664 w 3751729"/>
              <a:gd name="connsiteY885" fmla="*/ 412410 h 1237129"/>
              <a:gd name="connsiteX886" fmla="*/ 1960480 w 3751729"/>
              <a:gd name="connsiteY886" fmla="*/ 410687 h 1237129"/>
              <a:gd name="connsiteX887" fmla="*/ 1954818 w 3751729"/>
              <a:gd name="connsiteY887" fmla="*/ 408224 h 1237129"/>
              <a:gd name="connsiteX888" fmla="*/ 2179063 w 3751729"/>
              <a:gd name="connsiteY888" fmla="*/ 402318 h 1237129"/>
              <a:gd name="connsiteX889" fmla="*/ 2169955 w 3751729"/>
              <a:gd name="connsiteY889" fmla="*/ 409949 h 1237129"/>
              <a:gd name="connsiteX890" fmla="*/ 2160109 w 3751729"/>
              <a:gd name="connsiteY890" fmla="*/ 414133 h 1237129"/>
              <a:gd name="connsiteX891" fmla="*/ 2150263 w 3751729"/>
              <a:gd name="connsiteY891" fmla="*/ 418318 h 1237129"/>
              <a:gd name="connsiteX892" fmla="*/ 2141155 w 3751729"/>
              <a:gd name="connsiteY892" fmla="*/ 425948 h 1237129"/>
              <a:gd name="connsiteX893" fmla="*/ 2135494 w 3751729"/>
              <a:gd name="connsiteY893" fmla="*/ 435056 h 1237129"/>
              <a:gd name="connsiteX894" fmla="*/ 2133032 w 3751729"/>
              <a:gd name="connsiteY894" fmla="*/ 447610 h 1237129"/>
              <a:gd name="connsiteX895" fmla="*/ 2137217 w 3751729"/>
              <a:gd name="connsiteY895" fmla="*/ 461147 h 1237129"/>
              <a:gd name="connsiteX896" fmla="*/ 2146324 w 3751729"/>
              <a:gd name="connsiteY896" fmla="*/ 474687 h 1237129"/>
              <a:gd name="connsiteX897" fmla="*/ 2154694 w 3751729"/>
              <a:gd name="connsiteY897" fmla="*/ 488225 h 1237129"/>
              <a:gd name="connsiteX898" fmla="*/ 2164540 w 3751729"/>
              <a:gd name="connsiteY898" fmla="*/ 499056 h 1237129"/>
              <a:gd name="connsiteX899" fmla="*/ 2170202 w 3751729"/>
              <a:gd name="connsiteY899" fmla="*/ 509887 h 1237129"/>
              <a:gd name="connsiteX900" fmla="*/ 2160356 w 3751729"/>
              <a:gd name="connsiteY900" fmla="*/ 509887 h 1237129"/>
              <a:gd name="connsiteX901" fmla="*/ 2160356 w 3751729"/>
              <a:gd name="connsiteY901" fmla="*/ 528347 h 1237129"/>
              <a:gd name="connsiteX902" fmla="*/ 2163556 w 3751729"/>
              <a:gd name="connsiteY902" fmla="*/ 541887 h 1237129"/>
              <a:gd name="connsiteX903" fmla="*/ 2171924 w 3751729"/>
              <a:gd name="connsiteY903" fmla="*/ 549517 h 1237129"/>
              <a:gd name="connsiteX904" fmla="*/ 2186694 w 3751729"/>
              <a:gd name="connsiteY904" fmla="*/ 551979 h 1237129"/>
              <a:gd name="connsiteX905" fmla="*/ 2208108 w 3751729"/>
              <a:gd name="connsiteY905" fmla="*/ 551241 h 1237129"/>
              <a:gd name="connsiteX906" fmla="*/ 2206385 w 3751729"/>
              <a:gd name="connsiteY906" fmla="*/ 534502 h 1237129"/>
              <a:gd name="connsiteX907" fmla="*/ 2203185 w 3751729"/>
              <a:gd name="connsiteY907" fmla="*/ 524410 h 1237129"/>
              <a:gd name="connsiteX908" fmla="*/ 2199002 w 3751729"/>
              <a:gd name="connsiteY908" fmla="*/ 516041 h 1237129"/>
              <a:gd name="connsiteX909" fmla="*/ 2197278 w 3751729"/>
              <a:gd name="connsiteY909" fmla="*/ 506933 h 1237129"/>
              <a:gd name="connsiteX910" fmla="*/ 2199002 w 3751729"/>
              <a:gd name="connsiteY910" fmla="*/ 493394 h 1237129"/>
              <a:gd name="connsiteX911" fmla="*/ 2202201 w 3751729"/>
              <a:gd name="connsiteY911" fmla="*/ 495118 h 1237129"/>
              <a:gd name="connsiteX912" fmla="*/ 2204663 w 3751729"/>
              <a:gd name="connsiteY912" fmla="*/ 495118 h 1237129"/>
              <a:gd name="connsiteX913" fmla="*/ 2207863 w 3751729"/>
              <a:gd name="connsiteY913" fmla="*/ 495118 h 1237129"/>
              <a:gd name="connsiteX914" fmla="*/ 2210323 w 3751729"/>
              <a:gd name="connsiteY914" fmla="*/ 495118 h 1237129"/>
              <a:gd name="connsiteX915" fmla="*/ 2214509 w 3751729"/>
              <a:gd name="connsiteY915" fmla="*/ 493147 h 1237129"/>
              <a:gd name="connsiteX916" fmla="*/ 2212047 w 3751729"/>
              <a:gd name="connsiteY916" fmla="*/ 490687 h 1237129"/>
              <a:gd name="connsiteX917" fmla="*/ 2208848 w 3751729"/>
              <a:gd name="connsiteY917" fmla="*/ 488964 h 1237129"/>
              <a:gd name="connsiteX918" fmla="*/ 2208108 w 3751729"/>
              <a:gd name="connsiteY918" fmla="*/ 488225 h 1237129"/>
              <a:gd name="connsiteX919" fmla="*/ 2204909 w 3751729"/>
              <a:gd name="connsiteY919" fmla="*/ 484779 h 1237129"/>
              <a:gd name="connsiteX920" fmla="*/ 2202447 w 3751729"/>
              <a:gd name="connsiteY920" fmla="*/ 483055 h 1237129"/>
              <a:gd name="connsiteX921" fmla="*/ 2200724 w 3751729"/>
              <a:gd name="connsiteY921" fmla="*/ 484779 h 1237129"/>
              <a:gd name="connsiteX922" fmla="*/ 2200724 w 3751729"/>
              <a:gd name="connsiteY922" fmla="*/ 488225 h 1237129"/>
              <a:gd name="connsiteX923" fmla="*/ 2199002 w 3751729"/>
              <a:gd name="connsiteY923" fmla="*/ 490687 h 1237129"/>
              <a:gd name="connsiteX924" fmla="*/ 2199002 w 3751729"/>
              <a:gd name="connsiteY924" fmla="*/ 492410 h 1237129"/>
              <a:gd name="connsiteX925" fmla="*/ 2197278 w 3751729"/>
              <a:gd name="connsiteY925" fmla="*/ 493147 h 1237129"/>
              <a:gd name="connsiteX926" fmla="*/ 2196539 w 3751729"/>
              <a:gd name="connsiteY926" fmla="*/ 492410 h 1237129"/>
              <a:gd name="connsiteX927" fmla="*/ 2194816 w 3751729"/>
              <a:gd name="connsiteY927" fmla="*/ 488964 h 1237129"/>
              <a:gd name="connsiteX928" fmla="*/ 2190632 w 3751729"/>
              <a:gd name="connsiteY928" fmla="*/ 482317 h 1237129"/>
              <a:gd name="connsiteX929" fmla="*/ 2186447 w 3751729"/>
              <a:gd name="connsiteY929" fmla="*/ 474687 h 1237129"/>
              <a:gd name="connsiteX930" fmla="*/ 2187185 w 3751729"/>
              <a:gd name="connsiteY930" fmla="*/ 471241 h 1237129"/>
              <a:gd name="connsiteX931" fmla="*/ 2188909 w 3751729"/>
              <a:gd name="connsiteY931" fmla="*/ 471241 h 1237129"/>
              <a:gd name="connsiteX932" fmla="*/ 2190632 w 3751729"/>
              <a:gd name="connsiteY932" fmla="*/ 470502 h 1237129"/>
              <a:gd name="connsiteX933" fmla="*/ 2191371 w 3751729"/>
              <a:gd name="connsiteY933" fmla="*/ 467056 h 1237129"/>
              <a:gd name="connsiteX934" fmla="*/ 2179063 w 3751729"/>
              <a:gd name="connsiteY934" fmla="*/ 459425 h 1237129"/>
              <a:gd name="connsiteX935" fmla="*/ 2169217 w 3751729"/>
              <a:gd name="connsiteY935" fmla="*/ 447610 h 1237129"/>
              <a:gd name="connsiteX936" fmla="*/ 2163556 w 3751729"/>
              <a:gd name="connsiteY936" fmla="*/ 435056 h 1237129"/>
              <a:gd name="connsiteX937" fmla="*/ 2179309 w 3751729"/>
              <a:gd name="connsiteY937" fmla="*/ 433333 h 1237129"/>
              <a:gd name="connsiteX938" fmla="*/ 2190878 w 3751729"/>
              <a:gd name="connsiteY938" fmla="*/ 429148 h 1237129"/>
              <a:gd name="connsiteX939" fmla="*/ 2196539 w 3751729"/>
              <a:gd name="connsiteY939" fmla="*/ 418318 h 1237129"/>
              <a:gd name="connsiteX940" fmla="*/ 2199002 w 3751729"/>
              <a:gd name="connsiteY940" fmla="*/ 405764 h 1237129"/>
              <a:gd name="connsiteX941" fmla="*/ 2194816 w 3751729"/>
              <a:gd name="connsiteY941" fmla="*/ 404041 h 1237129"/>
              <a:gd name="connsiteX942" fmla="*/ 2190632 w 3751729"/>
              <a:gd name="connsiteY942" fmla="*/ 404041 h 1237129"/>
              <a:gd name="connsiteX943" fmla="*/ 2186447 w 3751729"/>
              <a:gd name="connsiteY943" fmla="*/ 402318 h 1237129"/>
              <a:gd name="connsiteX944" fmla="*/ 2024479 w 3751729"/>
              <a:gd name="connsiteY944" fmla="*/ 400349 h 1237129"/>
              <a:gd name="connsiteX945" fmla="*/ 2012911 w 3751729"/>
              <a:gd name="connsiteY945" fmla="*/ 406256 h 1237129"/>
              <a:gd name="connsiteX946" fmla="*/ 1998879 w 3751729"/>
              <a:gd name="connsiteY946" fmla="*/ 410440 h 1237129"/>
              <a:gd name="connsiteX947" fmla="*/ 1998879 w 3751729"/>
              <a:gd name="connsiteY947" fmla="*/ 422256 h 1237129"/>
              <a:gd name="connsiteX948" fmla="*/ 2004541 w 3751729"/>
              <a:gd name="connsiteY948" fmla="*/ 423979 h 1237129"/>
              <a:gd name="connsiteX949" fmla="*/ 2011187 w 3751729"/>
              <a:gd name="connsiteY949" fmla="*/ 424717 h 1237129"/>
              <a:gd name="connsiteX950" fmla="*/ 2020295 w 3751729"/>
              <a:gd name="connsiteY950" fmla="*/ 424717 h 1237129"/>
              <a:gd name="connsiteX951" fmla="*/ 2020295 w 3751729"/>
              <a:gd name="connsiteY951" fmla="*/ 418810 h 1237129"/>
              <a:gd name="connsiteX952" fmla="*/ 2022757 w 3751729"/>
              <a:gd name="connsiteY952" fmla="*/ 414626 h 1237129"/>
              <a:gd name="connsiteX953" fmla="*/ 2024479 w 3751729"/>
              <a:gd name="connsiteY953" fmla="*/ 410440 h 1237129"/>
              <a:gd name="connsiteX954" fmla="*/ 2024479 w 3751729"/>
              <a:gd name="connsiteY954" fmla="*/ 406256 h 1237129"/>
              <a:gd name="connsiteX955" fmla="*/ 2024479 w 3751729"/>
              <a:gd name="connsiteY955" fmla="*/ 402810 h 1237129"/>
              <a:gd name="connsiteX956" fmla="*/ 904489 w 3751729"/>
              <a:gd name="connsiteY956" fmla="*/ 392717 h 1237129"/>
              <a:gd name="connsiteX957" fmla="*/ 906951 w 3751729"/>
              <a:gd name="connsiteY957" fmla="*/ 400348 h 1237129"/>
              <a:gd name="connsiteX958" fmla="*/ 908427 w 3751729"/>
              <a:gd name="connsiteY958" fmla="*/ 410440 h 1237129"/>
              <a:gd name="connsiteX959" fmla="*/ 910151 w 3751729"/>
              <a:gd name="connsiteY959" fmla="*/ 418809 h 1237129"/>
              <a:gd name="connsiteX960" fmla="*/ 908427 w 3751729"/>
              <a:gd name="connsiteY960" fmla="*/ 420532 h 1237129"/>
              <a:gd name="connsiteX961" fmla="*/ 906951 w 3751729"/>
              <a:gd name="connsiteY961" fmla="*/ 420532 h 1237129"/>
              <a:gd name="connsiteX962" fmla="*/ 905966 w 3751729"/>
              <a:gd name="connsiteY962" fmla="*/ 420532 h 1237129"/>
              <a:gd name="connsiteX963" fmla="*/ 905966 w 3751729"/>
              <a:gd name="connsiteY963" fmla="*/ 422255 h 1237129"/>
              <a:gd name="connsiteX964" fmla="*/ 904489 w 3751729"/>
              <a:gd name="connsiteY964" fmla="*/ 422255 h 1237129"/>
              <a:gd name="connsiteX965" fmla="*/ 898581 w 3751729"/>
              <a:gd name="connsiteY965" fmla="*/ 422255 h 1237129"/>
              <a:gd name="connsiteX966" fmla="*/ 896858 w 3751729"/>
              <a:gd name="connsiteY966" fmla="*/ 420532 h 1237129"/>
              <a:gd name="connsiteX967" fmla="*/ 896858 w 3751729"/>
              <a:gd name="connsiteY967" fmla="*/ 418809 h 1237129"/>
              <a:gd name="connsiteX968" fmla="*/ 896858 w 3751729"/>
              <a:gd name="connsiteY968" fmla="*/ 418071 h 1237129"/>
              <a:gd name="connsiteX969" fmla="*/ 895381 w 3751729"/>
              <a:gd name="connsiteY969" fmla="*/ 418071 h 1237129"/>
              <a:gd name="connsiteX970" fmla="*/ 894396 w 3751729"/>
              <a:gd name="connsiteY970" fmla="*/ 416348 h 1237129"/>
              <a:gd name="connsiteX971" fmla="*/ 583999 w 3751729"/>
              <a:gd name="connsiteY971" fmla="*/ 365149 h 1237129"/>
              <a:gd name="connsiteX972" fmla="*/ 577353 w 3751729"/>
              <a:gd name="connsiteY972" fmla="*/ 375241 h 1237129"/>
              <a:gd name="connsiteX973" fmla="*/ 569969 w 3751729"/>
              <a:gd name="connsiteY973" fmla="*/ 384349 h 1237129"/>
              <a:gd name="connsiteX974" fmla="*/ 565784 w 3751729"/>
              <a:gd name="connsiteY974" fmla="*/ 396903 h 1237129"/>
              <a:gd name="connsiteX975" fmla="*/ 574153 w 3751729"/>
              <a:gd name="connsiteY975" fmla="*/ 396164 h 1237129"/>
              <a:gd name="connsiteX976" fmla="*/ 579815 w 3751729"/>
              <a:gd name="connsiteY976" fmla="*/ 398626 h 1237129"/>
              <a:gd name="connsiteX977" fmla="*/ 583999 w 3751729"/>
              <a:gd name="connsiteY977" fmla="*/ 402810 h 1237129"/>
              <a:gd name="connsiteX978" fmla="*/ 589661 w 3751729"/>
              <a:gd name="connsiteY978" fmla="*/ 410441 h 1237129"/>
              <a:gd name="connsiteX979" fmla="*/ 591385 w 3751729"/>
              <a:gd name="connsiteY979" fmla="*/ 404534 h 1237129"/>
              <a:gd name="connsiteX980" fmla="*/ 591385 w 3751729"/>
              <a:gd name="connsiteY980" fmla="*/ 400349 h 1237129"/>
              <a:gd name="connsiteX981" fmla="*/ 593107 w 3751729"/>
              <a:gd name="connsiteY981" fmla="*/ 396903 h 1237129"/>
              <a:gd name="connsiteX982" fmla="*/ 593107 w 3751729"/>
              <a:gd name="connsiteY982" fmla="*/ 392718 h 1237129"/>
              <a:gd name="connsiteX983" fmla="*/ 600491 w 3751729"/>
              <a:gd name="connsiteY983" fmla="*/ 392718 h 1237129"/>
              <a:gd name="connsiteX984" fmla="*/ 604677 w 3751729"/>
              <a:gd name="connsiteY984" fmla="*/ 402810 h 1237129"/>
              <a:gd name="connsiteX985" fmla="*/ 611323 w 3751729"/>
              <a:gd name="connsiteY985" fmla="*/ 406257 h 1237129"/>
              <a:gd name="connsiteX986" fmla="*/ 616984 w 3751729"/>
              <a:gd name="connsiteY986" fmla="*/ 408718 h 1237129"/>
              <a:gd name="connsiteX987" fmla="*/ 622645 w 3751729"/>
              <a:gd name="connsiteY987" fmla="*/ 412164 h 1237129"/>
              <a:gd name="connsiteX988" fmla="*/ 628306 w 3751729"/>
              <a:gd name="connsiteY988" fmla="*/ 418810 h 1237129"/>
              <a:gd name="connsiteX989" fmla="*/ 622645 w 3751729"/>
              <a:gd name="connsiteY989" fmla="*/ 427918 h 1237129"/>
              <a:gd name="connsiteX990" fmla="*/ 615999 w 3751729"/>
              <a:gd name="connsiteY990" fmla="*/ 438010 h 1237129"/>
              <a:gd name="connsiteX991" fmla="*/ 610338 w 3751729"/>
              <a:gd name="connsiteY991" fmla="*/ 451549 h 1237129"/>
              <a:gd name="connsiteX992" fmla="*/ 605415 w 3751729"/>
              <a:gd name="connsiteY992" fmla="*/ 463364 h 1237129"/>
              <a:gd name="connsiteX993" fmla="*/ 605415 w 3751729"/>
              <a:gd name="connsiteY993" fmla="*/ 470749 h 1237129"/>
              <a:gd name="connsiteX994" fmla="*/ 606400 w 3751729"/>
              <a:gd name="connsiteY994" fmla="*/ 475671 h 1237129"/>
              <a:gd name="connsiteX995" fmla="*/ 606400 w 3751729"/>
              <a:gd name="connsiteY995" fmla="*/ 478134 h 1237129"/>
              <a:gd name="connsiteX996" fmla="*/ 608122 w 3751729"/>
              <a:gd name="connsiteY996" fmla="*/ 479856 h 1237129"/>
              <a:gd name="connsiteX997" fmla="*/ 609846 w 3751729"/>
              <a:gd name="connsiteY997" fmla="*/ 481580 h 1237129"/>
              <a:gd name="connsiteX998" fmla="*/ 610584 w 3751729"/>
              <a:gd name="connsiteY998" fmla="*/ 483302 h 1237129"/>
              <a:gd name="connsiteX999" fmla="*/ 615507 w 3751729"/>
              <a:gd name="connsiteY999" fmla="*/ 484042 h 1237129"/>
              <a:gd name="connsiteX1000" fmla="*/ 615507 w 3751729"/>
              <a:gd name="connsiteY1000" fmla="*/ 481580 h 1237129"/>
              <a:gd name="connsiteX1001" fmla="*/ 617969 w 3751729"/>
              <a:gd name="connsiteY1001" fmla="*/ 475671 h 1237129"/>
              <a:gd name="connsiteX1002" fmla="*/ 622153 w 3751729"/>
              <a:gd name="connsiteY1002" fmla="*/ 466564 h 1237129"/>
              <a:gd name="connsiteX1003" fmla="*/ 627076 w 3751729"/>
              <a:gd name="connsiteY1003" fmla="*/ 454749 h 1237129"/>
              <a:gd name="connsiteX1004" fmla="*/ 631261 w 3751729"/>
              <a:gd name="connsiteY1004" fmla="*/ 444656 h 1237129"/>
              <a:gd name="connsiteX1005" fmla="*/ 635445 w 3751729"/>
              <a:gd name="connsiteY1005" fmla="*/ 436287 h 1237129"/>
              <a:gd name="connsiteX1006" fmla="*/ 637169 w 3751729"/>
              <a:gd name="connsiteY1006" fmla="*/ 430379 h 1237129"/>
              <a:gd name="connsiteX1007" fmla="*/ 647014 w 3751729"/>
              <a:gd name="connsiteY1007" fmla="*/ 430379 h 1237129"/>
              <a:gd name="connsiteX1008" fmla="*/ 648738 w 3751729"/>
              <a:gd name="connsiteY1008" fmla="*/ 446379 h 1237129"/>
              <a:gd name="connsiteX1009" fmla="*/ 648738 w 3751729"/>
              <a:gd name="connsiteY1009" fmla="*/ 460657 h 1237129"/>
              <a:gd name="connsiteX1010" fmla="*/ 648738 w 3751729"/>
              <a:gd name="connsiteY1010" fmla="*/ 478379 h 1237129"/>
              <a:gd name="connsiteX1011" fmla="*/ 650461 w 3751729"/>
              <a:gd name="connsiteY1011" fmla="*/ 497579 h 1237129"/>
              <a:gd name="connsiteX1012" fmla="*/ 668677 w 3751729"/>
              <a:gd name="connsiteY1012" fmla="*/ 500041 h 1237129"/>
              <a:gd name="connsiteX1013" fmla="*/ 676061 w 3751729"/>
              <a:gd name="connsiteY1013" fmla="*/ 489210 h 1237129"/>
              <a:gd name="connsiteX1014" fmla="*/ 689353 w 3751729"/>
              <a:gd name="connsiteY1014" fmla="*/ 481580 h 1237129"/>
              <a:gd name="connsiteX1015" fmla="*/ 703383 w 3751729"/>
              <a:gd name="connsiteY1015" fmla="*/ 473949 h 1237129"/>
              <a:gd name="connsiteX1016" fmla="*/ 718153 w 3751729"/>
              <a:gd name="connsiteY1016" fmla="*/ 468041 h 1237129"/>
              <a:gd name="connsiteX1017" fmla="*/ 732184 w 3751729"/>
              <a:gd name="connsiteY1017" fmla="*/ 462133 h 1237129"/>
              <a:gd name="connsiteX1018" fmla="*/ 745476 w 3751729"/>
              <a:gd name="connsiteY1018" fmla="*/ 454502 h 1237129"/>
              <a:gd name="connsiteX1019" fmla="*/ 751137 w 3751729"/>
              <a:gd name="connsiteY1019" fmla="*/ 446133 h 1237129"/>
              <a:gd name="connsiteX1020" fmla="*/ 747937 w 3751729"/>
              <a:gd name="connsiteY1020" fmla="*/ 446133 h 1237129"/>
              <a:gd name="connsiteX1021" fmla="*/ 747198 w 3751729"/>
              <a:gd name="connsiteY1021" fmla="*/ 442688 h 1237129"/>
              <a:gd name="connsiteX1022" fmla="*/ 747198 w 3751729"/>
              <a:gd name="connsiteY1022" fmla="*/ 441949 h 1237129"/>
              <a:gd name="connsiteX1023" fmla="*/ 745476 w 3751729"/>
              <a:gd name="connsiteY1023" fmla="*/ 440225 h 1237129"/>
              <a:gd name="connsiteX1024" fmla="*/ 743752 w 3751729"/>
              <a:gd name="connsiteY1024" fmla="*/ 440225 h 1237129"/>
              <a:gd name="connsiteX1025" fmla="*/ 742029 w 3751729"/>
              <a:gd name="connsiteY1025" fmla="*/ 440225 h 1237129"/>
              <a:gd name="connsiteX1026" fmla="*/ 739568 w 3751729"/>
              <a:gd name="connsiteY1026" fmla="*/ 438503 h 1237129"/>
              <a:gd name="connsiteX1027" fmla="*/ 733906 w 3751729"/>
              <a:gd name="connsiteY1027" fmla="*/ 442688 h 1237129"/>
              <a:gd name="connsiteX1028" fmla="*/ 724060 w 3751729"/>
              <a:gd name="connsiteY1028" fmla="*/ 448595 h 1237129"/>
              <a:gd name="connsiteX1029" fmla="*/ 712491 w 3751729"/>
              <a:gd name="connsiteY1029" fmla="*/ 457702 h 1237129"/>
              <a:gd name="connsiteX1030" fmla="*/ 697722 w 3751729"/>
              <a:gd name="connsiteY1030" fmla="*/ 465334 h 1237129"/>
              <a:gd name="connsiteX1031" fmla="*/ 684429 w 3751729"/>
              <a:gd name="connsiteY1031" fmla="*/ 473703 h 1237129"/>
              <a:gd name="connsiteX1032" fmla="*/ 672122 w 3751729"/>
              <a:gd name="connsiteY1032" fmla="*/ 479611 h 1237129"/>
              <a:gd name="connsiteX1033" fmla="*/ 663014 w 3751729"/>
              <a:gd name="connsiteY1033" fmla="*/ 483056 h 1237129"/>
              <a:gd name="connsiteX1034" fmla="*/ 660553 w 3751729"/>
              <a:gd name="connsiteY1034" fmla="*/ 483795 h 1237129"/>
              <a:gd name="connsiteX1035" fmla="*/ 658830 w 3751729"/>
              <a:gd name="connsiteY1035" fmla="*/ 483056 h 1237129"/>
              <a:gd name="connsiteX1036" fmla="*/ 657107 w 3751729"/>
              <a:gd name="connsiteY1036" fmla="*/ 481334 h 1237129"/>
              <a:gd name="connsiteX1037" fmla="*/ 657107 w 3751729"/>
              <a:gd name="connsiteY1037" fmla="*/ 479611 h 1237129"/>
              <a:gd name="connsiteX1038" fmla="*/ 657107 w 3751729"/>
              <a:gd name="connsiteY1038" fmla="*/ 477887 h 1237129"/>
              <a:gd name="connsiteX1039" fmla="*/ 656368 w 3751729"/>
              <a:gd name="connsiteY1039" fmla="*/ 475425 h 1237129"/>
              <a:gd name="connsiteX1040" fmla="*/ 660553 w 3751729"/>
              <a:gd name="connsiteY1040" fmla="*/ 467794 h 1237129"/>
              <a:gd name="connsiteX1041" fmla="*/ 660553 w 3751729"/>
              <a:gd name="connsiteY1041" fmla="*/ 461887 h 1237129"/>
              <a:gd name="connsiteX1042" fmla="*/ 658830 w 3751729"/>
              <a:gd name="connsiteY1042" fmla="*/ 457702 h 1237129"/>
              <a:gd name="connsiteX1043" fmla="*/ 657107 w 3751729"/>
              <a:gd name="connsiteY1043" fmla="*/ 450071 h 1237129"/>
              <a:gd name="connsiteX1044" fmla="*/ 660306 w 3751729"/>
              <a:gd name="connsiteY1044" fmla="*/ 441703 h 1237129"/>
              <a:gd name="connsiteX1045" fmla="*/ 662031 w 3751729"/>
              <a:gd name="connsiteY1045" fmla="*/ 439980 h 1237129"/>
              <a:gd name="connsiteX1046" fmla="*/ 662768 w 3751729"/>
              <a:gd name="connsiteY1046" fmla="*/ 438257 h 1237129"/>
              <a:gd name="connsiteX1047" fmla="*/ 664491 w 3751729"/>
              <a:gd name="connsiteY1047" fmla="*/ 436534 h 1237129"/>
              <a:gd name="connsiteX1048" fmla="*/ 666215 w 3751729"/>
              <a:gd name="connsiteY1048" fmla="*/ 436534 h 1237129"/>
              <a:gd name="connsiteX1049" fmla="*/ 667937 w 3751729"/>
              <a:gd name="connsiteY1049" fmla="*/ 436534 h 1237129"/>
              <a:gd name="connsiteX1050" fmla="*/ 668677 w 3751729"/>
              <a:gd name="connsiteY1050" fmla="*/ 435794 h 1237129"/>
              <a:gd name="connsiteX1051" fmla="*/ 670399 w 3751729"/>
              <a:gd name="connsiteY1051" fmla="*/ 434072 h 1237129"/>
              <a:gd name="connsiteX1052" fmla="*/ 670399 w 3751729"/>
              <a:gd name="connsiteY1052" fmla="*/ 430626 h 1237129"/>
              <a:gd name="connsiteX1053" fmla="*/ 672122 w 3751729"/>
              <a:gd name="connsiteY1053" fmla="*/ 426441 h 1237129"/>
              <a:gd name="connsiteX1054" fmla="*/ 672122 w 3751729"/>
              <a:gd name="connsiteY1054" fmla="*/ 418810 h 1237129"/>
              <a:gd name="connsiteX1055" fmla="*/ 664738 w 3751729"/>
              <a:gd name="connsiteY1055" fmla="*/ 414626 h 1237129"/>
              <a:gd name="connsiteX1056" fmla="*/ 657353 w 3751729"/>
              <a:gd name="connsiteY1056" fmla="*/ 412903 h 1237129"/>
              <a:gd name="connsiteX1057" fmla="*/ 651692 w 3751729"/>
              <a:gd name="connsiteY1057" fmla="*/ 412903 h 1237129"/>
              <a:gd name="connsiteX1058" fmla="*/ 645046 w 3751729"/>
              <a:gd name="connsiteY1058" fmla="*/ 410441 h 1237129"/>
              <a:gd name="connsiteX1059" fmla="*/ 634215 w 3751729"/>
              <a:gd name="connsiteY1059" fmla="*/ 402810 h 1237129"/>
              <a:gd name="connsiteX1060" fmla="*/ 627569 w 3751729"/>
              <a:gd name="connsiteY1060" fmla="*/ 396164 h 1237129"/>
              <a:gd name="connsiteX1061" fmla="*/ 622645 w 3751729"/>
              <a:gd name="connsiteY1061" fmla="*/ 387057 h 1237129"/>
              <a:gd name="connsiteX1062" fmla="*/ 616984 w 3751729"/>
              <a:gd name="connsiteY1062" fmla="*/ 378687 h 1237129"/>
              <a:gd name="connsiteX1063" fmla="*/ 610338 w 3751729"/>
              <a:gd name="connsiteY1063" fmla="*/ 372780 h 1237129"/>
              <a:gd name="connsiteX1064" fmla="*/ 598769 w 3751729"/>
              <a:gd name="connsiteY1064" fmla="*/ 366872 h 1237129"/>
              <a:gd name="connsiteX1065" fmla="*/ 873963 w 3751729"/>
              <a:gd name="connsiteY1065" fmla="*/ 351856 h 1237129"/>
              <a:gd name="connsiteX1066" fmla="*/ 884795 w 3751729"/>
              <a:gd name="connsiteY1066" fmla="*/ 352594 h 1237129"/>
              <a:gd name="connsiteX1067" fmla="*/ 891195 w 3751729"/>
              <a:gd name="connsiteY1067" fmla="*/ 354317 h 1237129"/>
              <a:gd name="connsiteX1068" fmla="*/ 900304 w 3751729"/>
              <a:gd name="connsiteY1068" fmla="*/ 357764 h 1237129"/>
              <a:gd name="connsiteX1069" fmla="*/ 900304 w 3751729"/>
              <a:gd name="connsiteY1069" fmla="*/ 364410 h 1237129"/>
              <a:gd name="connsiteX1070" fmla="*/ 897102 w 3751729"/>
              <a:gd name="connsiteY1070" fmla="*/ 364410 h 1237129"/>
              <a:gd name="connsiteX1071" fmla="*/ 894641 w 3751729"/>
              <a:gd name="connsiteY1071" fmla="*/ 366134 h 1237129"/>
              <a:gd name="connsiteX1072" fmla="*/ 891195 w 3751729"/>
              <a:gd name="connsiteY1072" fmla="*/ 366134 h 1237129"/>
              <a:gd name="connsiteX1073" fmla="*/ 888733 w 3751729"/>
              <a:gd name="connsiteY1073" fmla="*/ 366134 h 1237129"/>
              <a:gd name="connsiteX1074" fmla="*/ 884795 w 3751729"/>
              <a:gd name="connsiteY1074" fmla="*/ 367611 h 1237129"/>
              <a:gd name="connsiteX1075" fmla="*/ 881348 w 3751729"/>
              <a:gd name="connsiteY1075" fmla="*/ 363426 h 1237129"/>
              <a:gd name="connsiteX1076" fmla="*/ 879625 w 3751729"/>
              <a:gd name="connsiteY1076" fmla="*/ 361948 h 1237129"/>
              <a:gd name="connsiteX1077" fmla="*/ 878887 w 3751729"/>
              <a:gd name="connsiteY1077" fmla="*/ 358503 h 1237129"/>
              <a:gd name="connsiteX1078" fmla="*/ 877164 w 3751729"/>
              <a:gd name="connsiteY1078" fmla="*/ 356041 h 1237129"/>
              <a:gd name="connsiteX1079" fmla="*/ 941657 w 3751729"/>
              <a:gd name="connsiteY1079" fmla="*/ 335118 h 1237129"/>
              <a:gd name="connsiteX1080" fmla="*/ 950765 w 3751729"/>
              <a:gd name="connsiteY1080" fmla="*/ 335118 h 1237129"/>
              <a:gd name="connsiteX1081" fmla="*/ 950765 w 3751729"/>
              <a:gd name="connsiteY1081" fmla="*/ 346932 h 1237129"/>
              <a:gd name="connsiteX1082" fmla="*/ 950765 w 3751729"/>
              <a:gd name="connsiteY1082" fmla="*/ 357763 h 1237129"/>
              <a:gd name="connsiteX1083" fmla="*/ 952488 w 3751729"/>
              <a:gd name="connsiteY1083" fmla="*/ 366133 h 1237129"/>
              <a:gd name="connsiteX1084" fmla="*/ 953226 w 3751729"/>
              <a:gd name="connsiteY1084" fmla="*/ 375979 h 1237129"/>
              <a:gd name="connsiteX1085" fmla="*/ 969718 w 3751729"/>
              <a:gd name="connsiteY1085" fmla="*/ 375979 h 1237129"/>
              <a:gd name="connsiteX1086" fmla="*/ 969718 w 3751729"/>
              <a:gd name="connsiteY1086" fmla="*/ 392717 h 1237129"/>
              <a:gd name="connsiteX1087" fmla="*/ 976365 w 3751729"/>
              <a:gd name="connsiteY1087" fmla="*/ 392717 h 1237129"/>
              <a:gd name="connsiteX1088" fmla="*/ 978089 w 3751729"/>
              <a:gd name="connsiteY1088" fmla="*/ 393456 h 1237129"/>
              <a:gd name="connsiteX1089" fmla="*/ 979811 w 3751729"/>
              <a:gd name="connsiteY1089" fmla="*/ 393456 h 1237129"/>
              <a:gd name="connsiteX1090" fmla="*/ 981288 w 3751729"/>
              <a:gd name="connsiteY1090" fmla="*/ 393456 h 1237129"/>
              <a:gd name="connsiteX1091" fmla="*/ 982272 w 3751729"/>
              <a:gd name="connsiteY1091" fmla="*/ 393456 h 1237129"/>
              <a:gd name="connsiteX1092" fmla="*/ 983750 w 3751729"/>
              <a:gd name="connsiteY1092" fmla="*/ 393456 h 1237129"/>
              <a:gd name="connsiteX1093" fmla="*/ 985472 w 3751729"/>
              <a:gd name="connsiteY1093" fmla="*/ 395179 h 1237129"/>
              <a:gd name="connsiteX1094" fmla="*/ 983750 w 3751729"/>
              <a:gd name="connsiteY1094" fmla="*/ 404286 h 1237129"/>
              <a:gd name="connsiteX1095" fmla="*/ 981288 w 3751729"/>
              <a:gd name="connsiteY1095" fmla="*/ 414379 h 1237129"/>
              <a:gd name="connsiteX1096" fmla="*/ 979811 w 3751729"/>
              <a:gd name="connsiteY1096" fmla="*/ 424225 h 1237129"/>
              <a:gd name="connsiteX1097" fmla="*/ 976365 w 3751729"/>
              <a:gd name="connsiteY1097" fmla="*/ 424225 h 1237129"/>
              <a:gd name="connsiteX1098" fmla="*/ 975626 w 3751729"/>
              <a:gd name="connsiteY1098" fmla="*/ 421025 h 1237129"/>
              <a:gd name="connsiteX1099" fmla="*/ 975626 w 3751729"/>
              <a:gd name="connsiteY1099" fmla="*/ 420041 h 1237129"/>
              <a:gd name="connsiteX1100" fmla="*/ 975626 w 3751729"/>
              <a:gd name="connsiteY1100" fmla="*/ 418563 h 1237129"/>
              <a:gd name="connsiteX1101" fmla="*/ 973904 w 3751729"/>
              <a:gd name="connsiteY1101" fmla="*/ 416841 h 1237129"/>
              <a:gd name="connsiteX1102" fmla="*/ 973904 w 3751729"/>
              <a:gd name="connsiteY1102" fmla="*/ 415117 h 1237129"/>
              <a:gd name="connsiteX1103" fmla="*/ 972180 w 3751729"/>
              <a:gd name="connsiteY1103" fmla="*/ 418563 h 1237129"/>
              <a:gd name="connsiteX1104" fmla="*/ 970703 w 3751729"/>
              <a:gd name="connsiteY1104" fmla="*/ 418563 h 1237129"/>
              <a:gd name="connsiteX1105" fmla="*/ 970703 w 3751729"/>
              <a:gd name="connsiteY1105" fmla="*/ 420041 h 1237129"/>
              <a:gd name="connsiteX1106" fmla="*/ 969718 w 3751729"/>
              <a:gd name="connsiteY1106" fmla="*/ 420041 h 1237129"/>
              <a:gd name="connsiteX1107" fmla="*/ 966519 w 3751729"/>
              <a:gd name="connsiteY1107" fmla="*/ 421025 h 1237129"/>
              <a:gd name="connsiteX1108" fmla="*/ 966519 w 3751729"/>
              <a:gd name="connsiteY1108" fmla="*/ 415117 h 1237129"/>
              <a:gd name="connsiteX1109" fmla="*/ 968242 w 3751729"/>
              <a:gd name="connsiteY1109" fmla="*/ 414379 h 1237129"/>
              <a:gd name="connsiteX1110" fmla="*/ 968242 w 3751729"/>
              <a:gd name="connsiteY1110" fmla="*/ 412655 h 1237129"/>
              <a:gd name="connsiteX1111" fmla="*/ 969718 w 3751729"/>
              <a:gd name="connsiteY1111" fmla="*/ 410932 h 1237129"/>
              <a:gd name="connsiteX1112" fmla="*/ 969718 w 3751729"/>
              <a:gd name="connsiteY1112" fmla="*/ 408471 h 1237129"/>
              <a:gd name="connsiteX1113" fmla="*/ 969718 w 3751729"/>
              <a:gd name="connsiteY1113" fmla="*/ 405271 h 1237129"/>
              <a:gd name="connsiteX1114" fmla="*/ 966519 w 3751729"/>
              <a:gd name="connsiteY1114" fmla="*/ 405271 h 1237129"/>
              <a:gd name="connsiteX1115" fmla="*/ 960611 w 3751729"/>
              <a:gd name="connsiteY1115" fmla="*/ 410932 h 1237129"/>
              <a:gd name="connsiteX1116" fmla="*/ 954950 w 3751729"/>
              <a:gd name="connsiteY1116" fmla="*/ 416841 h 1237129"/>
              <a:gd name="connsiteX1117" fmla="*/ 947565 w 3751729"/>
              <a:gd name="connsiteY1117" fmla="*/ 421025 h 1237129"/>
              <a:gd name="connsiteX1118" fmla="*/ 947565 w 3751729"/>
              <a:gd name="connsiteY1118" fmla="*/ 416841 h 1237129"/>
              <a:gd name="connsiteX1119" fmla="*/ 947565 w 3751729"/>
              <a:gd name="connsiteY1119" fmla="*/ 412655 h 1237129"/>
              <a:gd name="connsiteX1120" fmla="*/ 947565 w 3751729"/>
              <a:gd name="connsiteY1120" fmla="*/ 410932 h 1237129"/>
              <a:gd name="connsiteX1121" fmla="*/ 946580 w 3751729"/>
              <a:gd name="connsiteY1121" fmla="*/ 410194 h 1237129"/>
              <a:gd name="connsiteX1122" fmla="*/ 943380 w 3751729"/>
              <a:gd name="connsiteY1122" fmla="*/ 408471 h 1237129"/>
              <a:gd name="connsiteX1123" fmla="*/ 939195 w 3751729"/>
              <a:gd name="connsiteY1123" fmla="*/ 408471 h 1237129"/>
              <a:gd name="connsiteX1124" fmla="*/ 931811 w 3751729"/>
              <a:gd name="connsiteY1124" fmla="*/ 408471 h 1237129"/>
              <a:gd name="connsiteX1125" fmla="*/ 929349 w 3751729"/>
              <a:gd name="connsiteY1125" fmla="*/ 408471 h 1237129"/>
              <a:gd name="connsiteX1126" fmla="*/ 925903 w 3751729"/>
              <a:gd name="connsiteY1126" fmla="*/ 408471 h 1237129"/>
              <a:gd name="connsiteX1127" fmla="*/ 921965 w 3751729"/>
              <a:gd name="connsiteY1127" fmla="*/ 406748 h 1237129"/>
              <a:gd name="connsiteX1128" fmla="*/ 917780 w 3751729"/>
              <a:gd name="connsiteY1128" fmla="*/ 406748 h 1237129"/>
              <a:gd name="connsiteX1129" fmla="*/ 913595 w 3751729"/>
              <a:gd name="connsiteY1129" fmla="*/ 405271 h 1237129"/>
              <a:gd name="connsiteX1130" fmla="*/ 910395 w 3751729"/>
              <a:gd name="connsiteY1130" fmla="*/ 402564 h 1237129"/>
              <a:gd name="connsiteX1131" fmla="*/ 918519 w 3751729"/>
              <a:gd name="connsiteY1131" fmla="*/ 390994 h 1237129"/>
              <a:gd name="connsiteX1132" fmla="*/ 927626 w 3751729"/>
              <a:gd name="connsiteY1132" fmla="*/ 373518 h 1237129"/>
              <a:gd name="connsiteX1133" fmla="*/ 933534 w 3751729"/>
              <a:gd name="connsiteY1133" fmla="*/ 354317 h 1237129"/>
              <a:gd name="connsiteX1134" fmla="*/ 668181 w 3751729"/>
              <a:gd name="connsiteY1134" fmla="*/ 284409 h 1237129"/>
              <a:gd name="connsiteX1135" fmla="*/ 680489 w 3751729"/>
              <a:gd name="connsiteY1135" fmla="*/ 284409 h 1237129"/>
              <a:gd name="connsiteX1136" fmla="*/ 680489 w 3751729"/>
              <a:gd name="connsiteY1136" fmla="*/ 290318 h 1237129"/>
              <a:gd name="connsiteX1137" fmla="*/ 678027 w 3751729"/>
              <a:gd name="connsiteY1137" fmla="*/ 290318 h 1237129"/>
              <a:gd name="connsiteX1138" fmla="*/ 676551 w 3751729"/>
              <a:gd name="connsiteY1138" fmla="*/ 291793 h 1237129"/>
              <a:gd name="connsiteX1139" fmla="*/ 675565 w 3751729"/>
              <a:gd name="connsiteY1139" fmla="*/ 291793 h 1237129"/>
              <a:gd name="connsiteX1140" fmla="*/ 674089 w 3751729"/>
              <a:gd name="connsiteY1140" fmla="*/ 291793 h 1237129"/>
              <a:gd name="connsiteX1141" fmla="*/ 672366 w 3751729"/>
              <a:gd name="connsiteY1141" fmla="*/ 293518 h 1237129"/>
              <a:gd name="connsiteX1142" fmla="*/ 668181 w 3751729"/>
              <a:gd name="connsiteY1142" fmla="*/ 293518 h 1237129"/>
              <a:gd name="connsiteX1143" fmla="*/ 3216347 w 3751729"/>
              <a:gd name="connsiteY1143" fmla="*/ 266933 h 1237129"/>
              <a:gd name="connsiteX1144" fmla="*/ 3218071 w 3751729"/>
              <a:gd name="connsiteY1144" fmla="*/ 268656 h 1237129"/>
              <a:gd name="connsiteX1145" fmla="*/ 3218071 w 3751729"/>
              <a:gd name="connsiteY1145" fmla="*/ 270133 h 1237129"/>
              <a:gd name="connsiteX1146" fmla="*/ 3218809 w 3751729"/>
              <a:gd name="connsiteY1146" fmla="*/ 270133 h 1237129"/>
              <a:gd name="connsiteX1147" fmla="*/ 3218809 w 3751729"/>
              <a:gd name="connsiteY1147" fmla="*/ 271856 h 1237129"/>
              <a:gd name="connsiteX1148" fmla="*/ 3223732 w 3751729"/>
              <a:gd name="connsiteY1148" fmla="*/ 281948 h 1237129"/>
              <a:gd name="connsiteX1149" fmla="*/ 3223732 w 3751729"/>
              <a:gd name="connsiteY1149" fmla="*/ 295240 h 1237129"/>
              <a:gd name="connsiteX1150" fmla="*/ 3223732 w 3751729"/>
              <a:gd name="connsiteY1150" fmla="*/ 307795 h 1237129"/>
              <a:gd name="connsiteX1151" fmla="*/ 3226193 w 3751729"/>
              <a:gd name="connsiteY1151" fmla="*/ 322810 h 1237129"/>
              <a:gd name="connsiteX1152" fmla="*/ 3230377 w 3751729"/>
              <a:gd name="connsiteY1152" fmla="*/ 336841 h 1237129"/>
              <a:gd name="connsiteX1153" fmla="*/ 3237763 w 3751729"/>
              <a:gd name="connsiteY1153" fmla="*/ 352595 h 1237129"/>
              <a:gd name="connsiteX1154" fmla="*/ 3241947 w 3751729"/>
              <a:gd name="connsiteY1154" fmla="*/ 370071 h 1237129"/>
              <a:gd name="connsiteX1155" fmla="*/ 3222255 w 3751729"/>
              <a:gd name="connsiteY1155" fmla="*/ 367609 h 1237129"/>
              <a:gd name="connsiteX1156" fmla="*/ 3222255 w 3751729"/>
              <a:gd name="connsiteY1156" fmla="*/ 380902 h 1237129"/>
              <a:gd name="connsiteX1157" fmla="*/ 3224717 w 3751729"/>
              <a:gd name="connsiteY1157" fmla="*/ 390995 h 1237129"/>
              <a:gd name="connsiteX1158" fmla="*/ 3226193 w 3751729"/>
              <a:gd name="connsiteY1158" fmla="*/ 401087 h 1237129"/>
              <a:gd name="connsiteX1159" fmla="*/ 3229639 w 3751729"/>
              <a:gd name="connsiteY1159" fmla="*/ 415117 h 1237129"/>
              <a:gd name="connsiteX1160" fmla="*/ 3224717 w 3751729"/>
              <a:gd name="connsiteY1160" fmla="*/ 415117 h 1237129"/>
              <a:gd name="connsiteX1161" fmla="*/ 3222255 w 3751729"/>
              <a:gd name="connsiteY1161" fmla="*/ 415117 h 1237129"/>
              <a:gd name="connsiteX1162" fmla="*/ 3218071 w 3751729"/>
              <a:gd name="connsiteY1162" fmla="*/ 416840 h 1237129"/>
              <a:gd name="connsiteX1163" fmla="*/ 3216347 w 3751729"/>
              <a:gd name="connsiteY1163" fmla="*/ 416840 h 1237129"/>
              <a:gd name="connsiteX1164" fmla="*/ 3213885 w 3751729"/>
              <a:gd name="connsiteY1164" fmla="*/ 418564 h 1237129"/>
              <a:gd name="connsiteX1165" fmla="*/ 3210686 w 3751729"/>
              <a:gd name="connsiteY1165" fmla="*/ 410194 h 1237129"/>
              <a:gd name="connsiteX1166" fmla="*/ 3208962 w 3751729"/>
              <a:gd name="connsiteY1166" fmla="*/ 393456 h 1237129"/>
              <a:gd name="connsiteX1167" fmla="*/ 3208962 w 3751729"/>
              <a:gd name="connsiteY1167" fmla="*/ 375240 h 1237129"/>
              <a:gd name="connsiteX1168" fmla="*/ 3208962 w 3751729"/>
              <a:gd name="connsiteY1168" fmla="*/ 354317 h 1237129"/>
              <a:gd name="connsiteX1169" fmla="*/ 3208962 w 3751729"/>
              <a:gd name="connsiteY1169" fmla="*/ 335117 h 1237129"/>
              <a:gd name="connsiteX1170" fmla="*/ 3206501 w 3751729"/>
              <a:gd name="connsiteY1170" fmla="*/ 322810 h 1237129"/>
              <a:gd name="connsiteX1171" fmla="*/ 3206501 w 3751729"/>
              <a:gd name="connsiteY1171" fmla="*/ 290318 h 1237129"/>
              <a:gd name="connsiteX1172" fmla="*/ 3208962 w 3751729"/>
              <a:gd name="connsiteY1172" fmla="*/ 286133 h 1237129"/>
              <a:gd name="connsiteX1173" fmla="*/ 3210686 w 3751729"/>
              <a:gd name="connsiteY1173" fmla="*/ 283672 h 1237129"/>
              <a:gd name="connsiteX1174" fmla="*/ 3212163 w 3751729"/>
              <a:gd name="connsiteY1174" fmla="*/ 280226 h 1237129"/>
              <a:gd name="connsiteX1175" fmla="*/ 3213885 w 3751729"/>
              <a:gd name="connsiteY1175" fmla="*/ 277764 h 1237129"/>
              <a:gd name="connsiteX1176" fmla="*/ 3214625 w 3751729"/>
              <a:gd name="connsiteY1176" fmla="*/ 272841 h 1237129"/>
              <a:gd name="connsiteX1177" fmla="*/ 1521837 w 3751729"/>
              <a:gd name="connsiteY1177" fmla="*/ 255363 h 1237129"/>
              <a:gd name="connsiteX1178" fmla="*/ 1525037 w 3751729"/>
              <a:gd name="connsiteY1178" fmla="*/ 272840 h 1237129"/>
              <a:gd name="connsiteX1179" fmla="*/ 1523314 w 3751729"/>
              <a:gd name="connsiteY1179" fmla="*/ 290318 h 1237129"/>
              <a:gd name="connsiteX1180" fmla="*/ 1519375 w 3751729"/>
              <a:gd name="connsiteY1180" fmla="*/ 309272 h 1237129"/>
              <a:gd name="connsiteX1181" fmla="*/ 1507806 w 3751729"/>
              <a:gd name="connsiteY1181" fmla="*/ 315179 h 1237129"/>
              <a:gd name="connsiteX1182" fmla="*/ 1496976 w 3751729"/>
              <a:gd name="connsiteY1182" fmla="*/ 318626 h 1237129"/>
              <a:gd name="connsiteX1183" fmla="*/ 1481221 w 3751729"/>
              <a:gd name="connsiteY1183" fmla="*/ 319364 h 1237129"/>
              <a:gd name="connsiteX1184" fmla="*/ 1481221 w 3751729"/>
              <a:gd name="connsiteY1184" fmla="*/ 312718 h 1237129"/>
              <a:gd name="connsiteX1185" fmla="*/ 1485406 w 3751729"/>
              <a:gd name="connsiteY1185" fmla="*/ 301887 h 1237129"/>
              <a:gd name="connsiteX1186" fmla="*/ 1485406 w 3751729"/>
              <a:gd name="connsiteY1186" fmla="*/ 289332 h 1237129"/>
              <a:gd name="connsiteX1187" fmla="*/ 1484667 w 3751729"/>
              <a:gd name="connsiteY1187" fmla="*/ 274317 h 1237129"/>
              <a:gd name="connsiteX1188" fmla="*/ 1492791 w 3751729"/>
              <a:gd name="connsiteY1188" fmla="*/ 266933 h 1237129"/>
              <a:gd name="connsiteX1189" fmla="*/ 1500175 w 3751729"/>
              <a:gd name="connsiteY1189" fmla="*/ 261025 h 1237129"/>
              <a:gd name="connsiteX1190" fmla="*/ 1508545 w 3751729"/>
              <a:gd name="connsiteY1190" fmla="*/ 256841 h 1237129"/>
              <a:gd name="connsiteX1191" fmla="*/ 1728358 w 3751729"/>
              <a:gd name="connsiteY1191" fmla="*/ 232718 h 1237129"/>
              <a:gd name="connsiteX1192" fmla="*/ 1730820 w 3751729"/>
              <a:gd name="connsiteY1192" fmla="*/ 235180 h 1237129"/>
              <a:gd name="connsiteX1193" fmla="*/ 1732542 w 3751729"/>
              <a:gd name="connsiteY1193" fmla="*/ 236903 h 1237129"/>
              <a:gd name="connsiteX1194" fmla="*/ 1734019 w 3751729"/>
              <a:gd name="connsiteY1194" fmla="*/ 238625 h 1237129"/>
              <a:gd name="connsiteX1195" fmla="*/ 1734019 w 3751729"/>
              <a:gd name="connsiteY1195" fmla="*/ 241087 h 1237129"/>
              <a:gd name="connsiteX1196" fmla="*/ 1734019 w 3751729"/>
              <a:gd name="connsiteY1196" fmla="*/ 244533 h 1237129"/>
              <a:gd name="connsiteX1197" fmla="*/ 1735004 w 3751729"/>
              <a:gd name="connsiteY1197" fmla="*/ 248472 h 1237129"/>
              <a:gd name="connsiteX1198" fmla="*/ 1734019 w 3751729"/>
              <a:gd name="connsiteY1198" fmla="*/ 251179 h 1237129"/>
              <a:gd name="connsiteX1199" fmla="*/ 1732542 w 3751729"/>
              <a:gd name="connsiteY1199" fmla="*/ 252656 h 1237129"/>
              <a:gd name="connsiteX1200" fmla="*/ 1732542 w 3751729"/>
              <a:gd name="connsiteY1200" fmla="*/ 254379 h 1237129"/>
              <a:gd name="connsiteX1201" fmla="*/ 1732542 w 3751729"/>
              <a:gd name="connsiteY1201" fmla="*/ 255364 h 1237129"/>
              <a:gd name="connsiteX1202" fmla="*/ 1732542 w 3751729"/>
              <a:gd name="connsiteY1202" fmla="*/ 256841 h 1237129"/>
              <a:gd name="connsiteX1203" fmla="*/ 1730820 w 3751729"/>
              <a:gd name="connsiteY1203" fmla="*/ 258564 h 1237129"/>
              <a:gd name="connsiteX1204" fmla="*/ 1729095 w 3751729"/>
              <a:gd name="connsiteY1204" fmla="*/ 260287 h 1237129"/>
              <a:gd name="connsiteX1205" fmla="*/ 1728358 w 3751729"/>
              <a:gd name="connsiteY1205" fmla="*/ 260287 h 1237129"/>
              <a:gd name="connsiteX1206" fmla="*/ 1726634 w 3751729"/>
              <a:gd name="connsiteY1206" fmla="*/ 260287 h 1237129"/>
              <a:gd name="connsiteX1207" fmla="*/ 1724911 w 3751729"/>
              <a:gd name="connsiteY1207" fmla="*/ 261025 h 1237129"/>
              <a:gd name="connsiteX1208" fmla="*/ 1722449 w 3751729"/>
              <a:gd name="connsiteY1208" fmla="*/ 261025 h 1237129"/>
              <a:gd name="connsiteX1209" fmla="*/ 1717527 w 3751729"/>
              <a:gd name="connsiteY1209" fmla="*/ 251179 h 1237129"/>
              <a:gd name="connsiteX1210" fmla="*/ 1715066 w 3751729"/>
              <a:gd name="connsiteY1210" fmla="*/ 246995 h 1237129"/>
              <a:gd name="connsiteX1211" fmla="*/ 1715066 w 3751729"/>
              <a:gd name="connsiteY1211" fmla="*/ 245271 h 1237129"/>
              <a:gd name="connsiteX1212" fmla="*/ 1716788 w 3751729"/>
              <a:gd name="connsiteY1212" fmla="*/ 244533 h 1237129"/>
              <a:gd name="connsiteX1213" fmla="*/ 1722449 w 3751729"/>
              <a:gd name="connsiteY1213" fmla="*/ 241087 h 1237129"/>
              <a:gd name="connsiteX1214" fmla="*/ 1794327 w 3751729"/>
              <a:gd name="connsiteY1214" fmla="*/ 200225 h 1237129"/>
              <a:gd name="connsiteX1215" fmla="*/ 1798512 w 3751729"/>
              <a:gd name="connsiteY1215" fmla="*/ 201949 h 1237129"/>
              <a:gd name="connsiteX1216" fmla="*/ 1800236 w 3751729"/>
              <a:gd name="connsiteY1216" fmla="*/ 201949 h 1237129"/>
              <a:gd name="connsiteX1217" fmla="*/ 1801712 w 3751729"/>
              <a:gd name="connsiteY1217" fmla="*/ 201949 h 1237129"/>
              <a:gd name="connsiteX1218" fmla="*/ 1802696 w 3751729"/>
              <a:gd name="connsiteY1218" fmla="*/ 203671 h 1237129"/>
              <a:gd name="connsiteX1219" fmla="*/ 1804420 w 3751729"/>
              <a:gd name="connsiteY1219" fmla="*/ 203671 h 1237129"/>
              <a:gd name="connsiteX1220" fmla="*/ 1801712 w 3751729"/>
              <a:gd name="connsiteY1220" fmla="*/ 207856 h 1237129"/>
              <a:gd name="connsiteX1221" fmla="*/ 1800236 w 3751729"/>
              <a:gd name="connsiteY1221" fmla="*/ 212041 h 1237129"/>
              <a:gd name="connsiteX1222" fmla="*/ 1798512 w 3751729"/>
              <a:gd name="connsiteY1222" fmla="*/ 216226 h 1237129"/>
              <a:gd name="connsiteX1223" fmla="*/ 1796050 w 3751729"/>
              <a:gd name="connsiteY1223" fmla="*/ 221148 h 1237129"/>
              <a:gd name="connsiteX1224" fmla="*/ 1791127 w 3751729"/>
              <a:gd name="connsiteY1224" fmla="*/ 223610 h 1237129"/>
              <a:gd name="connsiteX1225" fmla="*/ 1791127 w 3751729"/>
              <a:gd name="connsiteY1225" fmla="*/ 219426 h 1237129"/>
              <a:gd name="connsiteX1226" fmla="*/ 1790143 w 3751729"/>
              <a:gd name="connsiteY1226" fmla="*/ 219426 h 1237129"/>
              <a:gd name="connsiteX1227" fmla="*/ 1790143 w 3751729"/>
              <a:gd name="connsiteY1227" fmla="*/ 217703 h 1237129"/>
              <a:gd name="connsiteX1228" fmla="*/ 1790143 w 3751729"/>
              <a:gd name="connsiteY1228" fmla="*/ 216226 h 1237129"/>
              <a:gd name="connsiteX1229" fmla="*/ 1788665 w 3751729"/>
              <a:gd name="connsiteY1229" fmla="*/ 213518 h 1237129"/>
              <a:gd name="connsiteX1230" fmla="*/ 1791127 w 3751729"/>
              <a:gd name="connsiteY1230" fmla="*/ 210317 h 1237129"/>
              <a:gd name="connsiteX1231" fmla="*/ 1792850 w 3751729"/>
              <a:gd name="connsiteY1231" fmla="*/ 207856 h 1237129"/>
              <a:gd name="connsiteX1232" fmla="*/ 1794327 w 3751729"/>
              <a:gd name="connsiteY1232" fmla="*/ 204411 h 1237129"/>
              <a:gd name="connsiteX1233" fmla="*/ 1846512 w 3751729"/>
              <a:gd name="connsiteY1233" fmla="*/ 178564 h 1237129"/>
              <a:gd name="connsiteX1234" fmla="*/ 1858082 w 3751729"/>
              <a:gd name="connsiteY1234" fmla="*/ 184473 h 1237129"/>
              <a:gd name="connsiteX1235" fmla="*/ 1858082 w 3751729"/>
              <a:gd name="connsiteY1235" fmla="*/ 188657 h 1237129"/>
              <a:gd name="connsiteX1236" fmla="*/ 1854635 w 3751729"/>
              <a:gd name="connsiteY1236" fmla="*/ 188657 h 1237129"/>
              <a:gd name="connsiteX1237" fmla="*/ 1853897 w 3751729"/>
              <a:gd name="connsiteY1237" fmla="*/ 190380 h 1237129"/>
              <a:gd name="connsiteX1238" fmla="*/ 1850696 w 3751729"/>
              <a:gd name="connsiteY1238" fmla="*/ 191858 h 1237129"/>
              <a:gd name="connsiteX1239" fmla="*/ 1848973 w 3751729"/>
              <a:gd name="connsiteY1239" fmla="*/ 194565 h 1237129"/>
              <a:gd name="connsiteX1240" fmla="*/ 1846512 w 3751729"/>
              <a:gd name="connsiteY1240" fmla="*/ 192842 h 1237129"/>
              <a:gd name="connsiteX1241" fmla="*/ 1844788 w 3751729"/>
              <a:gd name="connsiteY1241" fmla="*/ 192842 h 1237129"/>
              <a:gd name="connsiteX1242" fmla="*/ 1843065 w 3751729"/>
              <a:gd name="connsiteY1242" fmla="*/ 191858 h 1237129"/>
              <a:gd name="connsiteX1243" fmla="*/ 1842326 w 3751729"/>
              <a:gd name="connsiteY1243" fmla="*/ 191858 h 1237129"/>
              <a:gd name="connsiteX1244" fmla="*/ 1842326 w 3751729"/>
              <a:gd name="connsiteY1244" fmla="*/ 188657 h 1237129"/>
              <a:gd name="connsiteX1245" fmla="*/ 1842326 w 3751729"/>
              <a:gd name="connsiteY1245" fmla="*/ 186196 h 1237129"/>
              <a:gd name="connsiteX1246" fmla="*/ 1842326 w 3751729"/>
              <a:gd name="connsiteY1246" fmla="*/ 184473 h 1237129"/>
              <a:gd name="connsiteX1247" fmla="*/ 1843065 w 3751729"/>
              <a:gd name="connsiteY1247" fmla="*/ 181026 h 1237129"/>
              <a:gd name="connsiteX1248" fmla="*/ 1537343 w 3751729"/>
              <a:gd name="connsiteY1248" fmla="*/ 171179 h 1237129"/>
              <a:gd name="connsiteX1249" fmla="*/ 1552360 w 3751729"/>
              <a:gd name="connsiteY1249" fmla="*/ 172902 h 1237129"/>
              <a:gd name="connsiteX1250" fmla="*/ 1563928 w 3751729"/>
              <a:gd name="connsiteY1250" fmla="*/ 175364 h 1237129"/>
              <a:gd name="connsiteX1251" fmla="*/ 1560482 w 3751729"/>
              <a:gd name="connsiteY1251" fmla="*/ 181025 h 1237129"/>
              <a:gd name="connsiteX1252" fmla="*/ 1559006 w 3751729"/>
              <a:gd name="connsiteY1252" fmla="*/ 186194 h 1237129"/>
              <a:gd name="connsiteX1253" fmla="*/ 1556544 w 3751729"/>
              <a:gd name="connsiteY1253" fmla="*/ 190379 h 1237129"/>
              <a:gd name="connsiteX1254" fmla="*/ 1553098 w 3751729"/>
              <a:gd name="connsiteY1254" fmla="*/ 194564 h 1237129"/>
              <a:gd name="connsiteX1255" fmla="*/ 1560482 w 3751729"/>
              <a:gd name="connsiteY1255" fmla="*/ 194564 h 1237129"/>
              <a:gd name="connsiteX1256" fmla="*/ 1563928 w 3751729"/>
              <a:gd name="connsiteY1256" fmla="*/ 191856 h 1237129"/>
              <a:gd name="connsiteX1257" fmla="*/ 1564667 w 3751729"/>
              <a:gd name="connsiteY1257" fmla="*/ 190379 h 1237129"/>
              <a:gd name="connsiteX1258" fmla="*/ 1568112 w 3751729"/>
              <a:gd name="connsiteY1258" fmla="*/ 188656 h 1237129"/>
              <a:gd name="connsiteX1259" fmla="*/ 1572051 w 3751729"/>
              <a:gd name="connsiteY1259" fmla="*/ 188656 h 1237129"/>
              <a:gd name="connsiteX1260" fmla="*/ 1572051 w 3751729"/>
              <a:gd name="connsiteY1260" fmla="*/ 194564 h 1237129"/>
              <a:gd name="connsiteX1261" fmla="*/ 1576236 w 3751729"/>
              <a:gd name="connsiteY1261" fmla="*/ 204410 h 1237129"/>
              <a:gd name="connsiteX1262" fmla="*/ 1573774 w 3751729"/>
              <a:gd name="connsiteY1262" fmla="*/ 213517 h 1237129"/>
              <a:gd name="connsiteX1263" fmla="*/ 1569590 w 3751729"/>
              <a:gd name="connsiteY1263" fmla="*/ 221148 h 1237129"/>
              <a:gd name="connsiteX1264" fmla="*/ 1566390 w 3751729"/>
              <a:gd name="connsiteY1264" fmla="*/ 227055 h 1237129"/>
              <a:gd name="connsiteX1265" fmla="*/ 1573774 w 3751729"/>
              <a:gd name="connsiteY1265" fmla="*/ 233702 h 1237129"/>
              <a:gd name="connsiteX1266" fmla="*/ 1581159 w 3751729"/>
              <a:gd name="connsiteY1266" fmla="*/ 244532 h 1237129"/>
              <a:gd name="connsiteX1267" fmla="*/ 1591251 w 3751729"/>
              <a:gd name="connsiteY1267" fmla="*/ 255363 h 1237129"/>
              <a:gd name="connsiteX1268" fmla="*/ 1599374 w 3751729"/>
              <a:gd name="connsiteY1268" fmla="*/ 268655 h 1237129"/>
              <a:gd name="connsiteX1269" fmla="*/ 1606758 w 3751729"/>
              <a:gd name="connsiteY1269" fmla="*/ 283671 h 1237129"/>
              <a:gd name="connsiteX1270" fmla="*/ 1612667 w 3751729"/>
              <a:gd name="connsiteY1270" fmla="*/ 295978 h 1237129"/>
              <a:gd name="connsiteX1271" fmla="*/ 1614389 w 3751729"/>
              <a:gd name="connsiteY1271" fmla="*/ 306810 h 1237129"/>
              <a:gd name="connsiteX1272" fmla="*/ 1610943 w 3751729"/>
              <a:gd name="connsiteY1272" fmla="*/ 316901 h 1237129"/>
              <a:gd name="connsiteX1273" fmla="*/ 1604297 w 3751729"/>
              <a:gd name="connsiteY1273" fmla="*/ 322809 h 1237129"/>
              <a:gd name="connsiteX1274" fmla="*/ 1595190 w 3751729"/>
              <a:gd name="connsiteY1274" fmla="*/ 328471 h 1237129"/>
              <a:gd name="connsiteX1275" fmla="*/ 1581159 w 3751729"/>
              <a:gd name="connsiteY1275" fmla="*/ 334379 h 1237129"/>
              <a:gd name="connsiteX1276" fmla="*/ 1563928 w 3751729"/>
              <a:gd name="connsiteY1276" fmla="*/ 338563 h 1237129"/>
              <a:gd name="connsiteX1277" fmla="*/ 1548175 w 3751729"/>
              <a:gd name="connsiteY1277" fmla="*/ 342747 h 1237129"/>
              <a:gd name="connsiteX1278" fmla="*/ 1534883 w 3751729"/>
              <a:gd name="connsiteY1278" fmla="*/ 344470 h 1237129"/>
              <a:gd name="connsiteX1279" fmla="*/ 1534883 w 3751729"/>
              <a:gd name="connsiteY1279" fmla="*/ 341025 h 1237129"/>
              <a:gd name="connsiteX1280" fmla="*/ 1543251 w 3751729"/>
              <a:gd name="connsiteY1280" fmla="*/ 328471 h 1237129"/>
              <a:gd name="connsiteX1281" fmla="*/ 1550635 w 3751729"/>
              <a:gd name="connsiteY1281" fmla="*/ 315178 h 1237129"/>
              <a:gd name="connsiteX1282" fmla="*/ 1546451 w 3751729"/>
              <a:gd name="connsiteY1282" fmla="*/ 315178 h 1237129"/>
              <a:gd name="connsiteX1283" fmla="*/ 1543251 w 3751729"/>
              <a:gd name="connsiteY1283" fmla="*/ 315178 h 1237129"/>
              <a:gd name="connsiteX1284" fmla="*/ 1540790 w 3751729"/>
              <a:gd name="connsiteY1284" fmla="*/ 313456 h 1237129"/>
              <a:gd name="connsiteX1285" fmla="*/ 1540790 w 3751729"/>
              <a:gd name="connsiteY1285" fmla="*/ 312716 h 1237129"/>
              <a:gd name="connsiteX1286" fmla="*/ 1539067 w 3751729"/>
              <a:gd name="connsiteY1286" fmla="*/ 310994 h 1237129"/>
              <a:gd name="connsiteX1287" fmla="*/ 1539067 w 3751729"/>
              <a:gd name="connsiteY1287" fmla="*/ 307793 h 1237129"/>
              <a:gd name="connsiteX1288" fmla="*/ 1537343 w 3751729"/>
              <a:gd name="connsiteY1288" fmla="*/ 303609 h 1237129"/>
              <a:gd name="connsiteX1289" fmla="*/ 1548175 w 3751729"/>
              <a:gd name="connsiteY1289" fmla="*/ 301147 h 1237129"/>
              <a:gd name="connsiteX1290" fmla="*/ 1544974 w 3751729"/>
              <a:gd name="connsiteY1290" fmla="*/ 297701 h 1237129"/>
              <a:gd name="connsiteX1291" fmla="*/ 1544974 w 3751729"/>
              <a:gd name="connsiteY1291" fmla="*/ 295978 h 1237129"/>
              <a:gd name="connsiteX1292" fmla="*/ 1543251 w 3751729"/>
              <a:gd name="connsiteY1292" fmla="*/ 295240 h 1237129"/>
              <a:gd name="connsiteX1293" fmla="*/ 1543251 w 3751729"/>
              <a:gd name="connsiteY1293" fmla="*/ 293517 h 1237129"/>
              <a:gd name="connsiteX1294" fmla="*/ 1544974 w 3751729"/>
              <a:gd name="connsiteY1294" fmla="*/ 290317 h 1237129"/>
              <a:gd name="connsiteX1295" fmla="*/ 1546451 w 3751729"/>
              <a:gd name="connsiteY1295" fmla="*/ 284409 h 1237129"/>
              <a:gd name="connsiteX1296" fmla="*/ 1550635 w 3751729"/>
              <a:gd name="connsiteY1296" fmla="*/ 280225 h 1237129"/>
              <a:gd name="connsiteX1297" fmla="*/ 1553098 w 3751729"/>
              <a:gd name="connsiteY1297" fmla="*/ 277763 h 1237129"/>
              <a:gd name="connsiteX1298" fmla="*/ 1559006 w 3751729"/>
              <a:gd name="connsiteY1298" fmla="*/ 274317 h 1237129"/>
              <a:gd name="connsiteX1299" fmla="*/ 1563928 w 3751729"/>
              <a:gd name="connsiteY1299" fmla="*/ 271855 h 1237129"/>
              <a:gd name="connsiteX1300" fmla="*/ 1562205 w 3751729"/>
              <a:gd name="connsiteY1300" fmla="*/ 268655 h 1237129"/>
              <a:gd name="connsiteX1301" fmla="*/ 1562205 w 3751729"/>
              <a:gd name="connsiteY1301" fmla="*/ 266932 h 1237129"/>
              <a:gd name="connsiteX1302" fmla="*/ 1560482 w 3751729"/>
              <a:gd name="connsiteY1302" fmla="*/ 266194 h 1237129"/>
              <a:gd name="connsiteX1303" fmla="*/ 1560482 w 3751729"/>
              <a:gd name="connsiteY1303" fmla="*/ 264471 h 1237129"/>
              <a:gd name="connsiteX1304" fmla="*/ 1559006 w 3751729"/>
              <a:gd name="connsiteY1304" fmla="*/ 261025 h 1237129"/>
              <a:gd name="connsiteX1305" fmla="*/ 1558021 w 3751729"/>
              <a:gd name="connsiteY1305" fmla="*/ 261025 h 1237129"/>
              <a:gd name="connsiteX1306" fmla="*/ 1558021 w 3751729"/>
              <a:gd name="connsiteY1306" fmla="*/ 260286 h 1237129"/>
              <a:gd name="connsiteX1307" fmla="*/ 1556544 w 3751729"/>
              <a:gd name="connsiteY1307" fmla="*/ 260286 h 1237129"/>
              <a:gd name="connsiteX1308" fmla="*/ 1553098 w 3751729"/>
              <a:gd name="connsiteY1308" fmla="*/ 258562 h 1237129"/>
              <a:gd name="connsiteX1309" fmla="*/ 1550635 w 3751729"/>
              <a:gd name="connsiteY1309" fmla="*/ 256840 h 1237129"/>
              <a:gd name="connsiteX1310" fmla="*/ 1548913 w 3751729"/>
              <a:gd name="connsiteY1310" fmla="*/ 256840 h 1237129"/>
              <a:gd name="connsiteX1311" fmla="*/ 1546451 w 3751729"/>
              <a:gd name="connsiteY1311" fmla="*/ 256840 h 1237129"/>
              <a:gd name="connsiteX1312" fmla="*/ 1543251 w 3751729"/>
              <a:gd name="connsiteY1312" fmla="*/ 255363 h 1237129"/>
              <a:gd name="connsiteX1313" fmla="*/ 1540790 w 3751729"/>
              <a:gd name="connsiteY1313" fmla="*/ 255363 h 1237129"/>
              <a:gd name="connsiteX1314" fmla="*/ 1540790 w 3751729"/>
              <a:gd name="connsiteY1314" fmla="*/ 254379 h 1237129"/>
              <a:gd name="connsiteX1315" fmla="*/ 1539067 w 3751729"/>
              <a:gd name="connsiteY1315" fmla="*/ 252656 h 1237129"/>
              <a:gd name="connsiteX1316" fmla="*/ 1539067 w 3751729"/>
              <a:gd name="connsiteY1316" fmla="*/ 251178 h 1237129"/>
              <a:gd name="connsiteX1317" fmla="*/ 1539067 w 3751729"/>
              <a:gd name="connsiteY1317" fmla="*/ 248471 h 1237129"/>
              <a:gd name="connsiteX1318" fmla="*/ 1537343 w 3751729"/>
              <a:gd name="connsiteY1318" fmla="*/ 245271 h 1237129"/>
              <a:gd name="connsiteX1319" fmla="*/ 1539067 w 3751729"/>
              <a:gd name="connsiteY1319" fmla="*/ 244532 h 1237129"/>
              <a:gd name="connsiteX1320" fmla="*/ 1539067 w 3751729"/>
              <a:gd name="connsiteY1320" fmla="*/ 242810 h 1237129"/>
              <a:gd name="connsiteX1321" fmla="*/ 1540790 w 3751729"/>
              <a:gd name="connsiteY1321" fmla="*/ 241086 h 1237129"/>
              <a:gd name="connsiteX1322" fmla="*/ 1540790 w 3751729"/>
              <a:gd name="connsiteY1322" fmla="*/ 239364 h 1237129"/>
              <a:gd name="connsiteX1323" fmla="*/ 1540790 w 3751729"/>
              <a:gd name="connsiteY1323" fmla="*/ 236902 h 1237129"/>
              <a:gd name="connsiteX1324" fmla="*/ 1537343 w 3751729"/>
              <a:gd name="connsiteY1324" fmla="*/ 236902 h 1237129"/>
              <a:gd name="connsiteX1325" fmla="*/ 1536605 w 3751729"/>
              <a:gd name="connsiteY1325" fmla="*/ 239364 h 1237129"/>
              <a:gd name="connsiteX1326" fmla="*/ 1536605 w 3751729"/>
              <a:gd name="connsiteY1326" fmla="*/ 241086 h 1237129"/>
              <a:gd name="connsiteX1327" fmla="*/ 1536605 w 3751729"/>
              <a:gd name="connsiteY1327" fmla="*/ 242810 h 1237129"/>
              <a:gd name="connsiteX1328" fmla="*/ 1534883 w 3751729"/>
              <a:gd name="connsiteY1328" fmla="*/ 242810 h 1237129"/>
              <a:gd name="connsiteX1329" fmla="*/ 1533405 w 3751729"/>
              <a:gd name="connsiteY1329" fmla="*/ 244532 h 1237129"/>
              <a:gd name="connsiteX1330" fmla="*/ 1531682 w 3751729"/>
              <a:gd name="connsiteY1330" fmla="*/ 245271 h 1237129"/>
              <a:gd name="connsiteX1331" fmla="*/ 1529221 w 3751729"/>
              <a:gd name="connsiteY1331" fmla="*/ 230994 h 1237129"/>
              <a:gd name="connsiteX1332" fmla="*/ 1525774 w 3751729"/>
              <a:gd name="connsiteY1332" fmla="*/ 217702 h 1237129"/>
              <a:gd name="connsiteX1333" fmla="*/ 1525036 w 3751729"/>
              <a:gd name="connsiteY1333" fmla="*/ 207856 h 1237129"/>
              <a:gd name="connsiteX1334" fmla="*/ 1527497 w 3751729"/>
              <a:gd name="connsiteY1334" fmla="*/ 200225 h 1237129"/>
              <a:gd name="connsiteX1335" fmla="*/ 1531682 w 3751729"/>
              <a:gd name="connsiteY1335" fmla="*/ 192840 h 1237129"/>
              <a:gd name="connsiteX1336" fmla="*/ 1536605 w 3751729"/>
              <a:gd name="connsiteY1336" fmla="*/ 184471 h 1237129"/>
              <a:gd name="connsiteX1337" fmla="*/ 683935 w 3751729"/>
              <a:gd name="connsiteY1337" fmla="*/ 95365 h 1237129"/>
              <a:gd name="connsiteX1338" fmla="*/ 688119 w 3751729"/>
              <a:gd name="connsiteY1338" fmla="*/ 98810 h 1237129"/>
              <a:gd name="connsiteX1339" fmla="*/ 692058 w 3751729"/>
              <a:gd name="connsiteY1339" fmla="*/ 102749 h 1237129"/>
              <a:gd name="connsiteX1340" fmla="*/ 695504 w 3751729"/>
              <a:gd name="connsiteY1340" fmla="*/ 108657 h 1237129"/>
              <a:gd name="connsiteX1341" fmla="*/ 697227 w 3751729"/>
              <a:gd name="connsiteY1341" fmla="*/ 114565 h 1237129"/>
              <a:gd name="connsiteX1342" fmla="*/ 693781 w 3751729"/>
              <a:gd name="connsiteY1342" fmla="*/ 114565 h 1237129"/>
              <a:gd name="connsiteX1343" fmla="*/ 691319 w 3751729"/>
              <a:gd name="connsiteY1343" fmla="*/ 116288 h 1237129"/>
              <a:gd name="connsiteX1344" fmla="*/ 689596 w 3751729"/>
              <a:gd name="connsiteY1344" fmla="*/ 116288 h 1237129"/>
              <a:gd name="connsiteX1345" fmla="*/ 685657 w 3751729"/>
              <a:gd name="connsiteY1345" fmla="*/ 117765 h 1237129"/>
              <a:gd name="connsiteX1346" fmla="*/ 680488 w 3751729"/>
              <a:gd name="connsiteY1346" fmla="*/ 117765 h 1237129"/>
              <a:gd name="connsiteX1347" fmla="*/ 680488 w 3751729"/>
              <a:gd name="connsiteY1347" fmla="*/ 114565 h 1237129"/>
              <a:gd name="connsiteX1348" fmla="*/ 679750 w 3751729"/>
              <a:gd name="connsiteY1348" fmla="*/ 114565 h 1237129"/>
              <a:gd name="connsiteX1349" fmla="*/ 679750 w 3751729"/>
              <a:gd name="connsiteY1349" fmla="*/ 112843 h 1237129"/>
              <a:gd name="connsiteX1350" fmla="*/ 678027 w 3751729"/>
              <a:gd name="connsiteY1350" fmla="*/ 112103 h 1237129"/>
              <a:gd name="connsiteX1351" fmla="*/ 679750 w 3751729"/>
              <a:gd name="connsiteY1351" fmla="*/ 108657 h 1237129"/>
              <a:gd name="connsiteX1352" fmla="*/ 679750 w 3751729"/>
              <a:gd name="connsiteY1352" fmla="*/ 106934 h 1237129"/>
              <a:gd name="connsiteX1353" fmla="*/ 679750 w 3751729"/>
              <a:gd name="connsiteY1353" fmla="*/ 106196 h 1237129"/>
              <a:gd name="connsiteX1354" fmla="*/ 680488 w 3751729"/>
              <a:gd name="connsiteY1354" fmla="*/ 104473 h 1237129"/>
              <a:gd name="connsiteX1355" fmla="*/ 659074 w 3751729"/>
              <a:gd name="connsiteY1355" fmla="*/ 85274 h 1237129"/>
              <a:gd name="connsiteX1356" fmla="*/ 662520 w 3751729"/>
              <a:gd name="connsiteY1356" fmla="*/ 88719 h 1237129"/>
              <a:gd name="connsiteX1357" fmla="*/ 663997 w 3751729"/>
              <a:gd name="connsiteY1357" fmla="*/ 90442 h 1237129"/>
              <a:gd name="connsiteX1358" fmla="*/ 663997 w 3751729"/>
              <a:gd name="connsiteY1358" fmla="*/ 91181 h 1237129"/>
              <a:gd name="connsiteX1359" fmla="*/ 664982 w 3751729"/>
              <a:gd name="connsiteY1359" fmla="*/ 94627 h 1237129"/>
              <a:gd name="connsiteX1360" fmla="*/ 664982 w 3751729"/>
              <a:gd name="connsiteY1360" fmla="*/ 97088 h 1237129"/>
              <a:gd name="connsiteX1361" fmla="*/ 664982 w 3751729"/>
              <a:gd name="connsiteY1361" fmla="*/ 101273 h 1237129"/>
              <a:gd name="connsiteX1362" fmla="*/ 662520 w 3751729"/>
              <a:gd name="connsiteY1362" fmla="*/ 101273 h 1237129"/>
              <a:gd name="connsiteX1363" fmla="*/ 662520 w 3751729"/>
              <a:gd name="connsiteY1363" fmla="*/ 104473 h 1237129"/>
              <a:gd name="connsiteX1364" fmla="*/ 656613 w 3751729"/>
              <a:gd name="connsiteY1364" fmla="*/ 102751 h 1237129"/>
              <a:gd name="connsiteX1365" fmla="*/ 650951 w 3751729"/>
              <a:gd name="connsiteY1365" fmla="*/ 101273 h 1237129"/>
              <a:gd name="connsiteX1366" fmla="*/ 646766 w 3751729"/>
              <a:gd name="connsiteY1366" fmla="*/ 98812 h 1237129"/>
              <a:gd name="connsiteX1367" fmla="*/ 643320 w 3751729"/>
              <a:gd name="connsiteY1367" fmla="*/ 98812 h 1237129"/>
              <a:gd name="connsiteX1368" fmla="*/ 643320 w 3751729"/>
              <a:gd name="connsiteY1368" fmla="*/ 95365 h 1237129"/>
              <a:gd name="connsiteX1369" fmla="*/ 649228 w 3751729"/>
              <a:gd name="connsiteY1369" fmla="*/ 92904 h 1237129"/>
              <a:gd name="connsiteX1370" fmla="*/ 654889 w 3751729"/>
              <a:gd name="connsiteY1370" fmla="*/ 90442 h 1237129"/>
              <a:gd name="connsiteX1371" fmla="*/ 722827 w 3751729"/>
              <a:gd name="connsiteY1371" fmla="*/ 59426 h 1237129"/>
              <a:gd name="connsiteX1372" fmla="*/ 726028 w 3751729"/>
              <a:gd name="connsiteY1372" fmla="*/ 61150 h 1237129"/>
              <a:gd name="connsiteX1373" fmla="*/ 726766 w 3751729"/>
              <a:gd name="connsiteY1373" fmla="*/ 62135 h 1237129"/>
              <a:gd name="connsiteX1374" fmla="*/ 728489 w 3751729"/>
              <a:gd name="connsiteY1374" fmla="*/ 63611 h 1237129"/>
              <a:gd name="connsiteX1375" fmla="*/ 731935 w 3751729"/>
              <a:gd name="connsiteY1375" fmla="*/ 63611 h 1237129"/>
              <a:gd name="connsiteX1376" fmla="*/ 731935 w 3751729"/>
              <a:gd name="connsiteY1376" fmla="*/ 65335 h 1237129"/>
              <a:gd name="connsiteX1377" fmla="*/ 731935 w 3751729"/>
              <a:gd name="connsiteY1377" fmla="*/ 67057 h 1237129"/>
              <a:gd name="connsiteX1378" fmla="*/ 730213 w 3751729"/>
              <a:gd name="connsiteY1378" fmla="*/ 67796 h 1237129"/>
              <a:gd name="connsiteX1379" fmla="*/ 728489 w 3751729"/>
              <a:gd name="connsiteY1379" fmla="*/ 69519 h 1237129"/>
              <a:gd name="connsiteX1380" fmla="*/ 726766 w 3751729"/>
              <a:gd name="connsiteY1380" fmla="*/ 71242 h 1237129"/>
              <a:gd name="connsiteX1381" fmla="*/ 726028 w 3751729"/>
              <a:gd name="connsiteY1381" fmla="*/ 71242 h 1237129"/>
              <a:gd name="connsiteX1382" fmla="*/ 724304 w 3751729"/>
              <a:gd name="connsiteY1382" fmla="*/ 72966 h 1237129"/>
              <a:gd name="connsiteX1383" fmla="*/ 722827 w 3751729"/>
              <a:gd name="connsiteY1383" fmla="*/ 72966 h 1237129"/>
              <a:gd name="connsiteX1384" fmla="*/ 720366 w 3751729"/>
              <a:gd name="connsiteY1384" fmla="*/ 72966 h 1237129"/>
              <a:gd name="connsiteX1385" fmla="*/ 720366 w 3751729"/>
              <a:gd name="connsiteY1385" fmla="*/ 67796 h 1237129"/>
              <a:gd name="connsiteX1386" fmla="*/ 720366 w 3751729"/>
              <a:gd name="connsiteY1386" fmla="*/ 65335 h 1237129"/>
              <a:gd name="connsiteX1387" fmla="*/ 721104 w 3751729"/>
              <a:gd name="connsiteY1387" fmla="*/ 63611 h 1237129"/>
              <a:gd name="connsiteX1388" fmla="*/ 633474 w 3751729"/>
              <a:gd name="connsiteY1388" fmla="*/ 8720 h 1237129"/>
              <a:gd name="connsiteX1389" fmla="*/ 633474 w 3751729"/>
              <a:gd name="connsiteY1389" fmla="*/ 15366 h 1237129"/>
              <a:gd name="connsiteX1390" fmla="*/ 635197 w 3751729"/>
              <a:gd name="connsiteY1390" fmla="*/ 18812 h 1237129"/>
              <a:gd name="connsiteX1391" fmla="*/ 635936 w 3751729"/>
              <a:gd name="connsiteY1391" fmla="*/ 21274 h 1237129"/>
              <a:gd name="connsiteX1392" fmla="*/ 635936 w 3751729"/>
              <a:gd name="connsiteY1392" fmla="*/ 26197 h 1237129"/>
              <a:gd name="connsiteX1393" fmla="*/ 635936 w 3751729"/>
              <a:gd name="connsiteY1393" fmla="*/ 32104 h 1237129"/>
              <a:gd name="connsiteX1394" fmla="*/ 652428 w 3751729"/>
              <a:gd name="connsiteY1394" fmla="*/ 32104 h 1237129"/>
              <a:gd name="connsiteX1395" fmla="*/ 666459 w 3751729"/>
              <a:gd name="connsiteY1395" fmla="*/ 47859 h 1237129"/>
              <a:gd name="connsiteX1396" fmla="*/ 680489 w 3751729"/>
              <a:gd name="connsiteY1396" fmla="*/ 63611 h 1237129"/>
              <a:gd name="connsiteX1397" fmla="*/ 680489 w 3751729"/>
              <a:gd name="connsiteY1397" fmla="*/ 65336 h 1237129"/>
              <a:gd name="connsiteX1398" fmla="*/ 679752 w 3751729"/>
              <a:gd name="connsiteY1398" fmla="*/ 67058 h 1237129"/>
              <a:gd name="connsiteX1399" fmla="*/ 679752 w 3751729"/>
              <a:gd name="connsiteY1399" fmla="*/ 67796 h 1237129"/>
              <a:gd name="connsiteX1400" fmla="*/ 678028 w 3751729"/>
              <a:gd name="connsiteY1400" fmla="*/ 69520 h 1237129"/>
              <a:gd name="connsiteX1401" fmla="*/ 675566 w 3751729"/>
              <a:gd name="connsiteY1401" fmla="*/ 72966 h 1237129"/>
              <a:gd name="connsiteX1402" fmla="*/ 674090 w 3751729"/>
              <a:gd name="connsiteY1402" fmla="*/ 73704 h 1237129"/>
              <a:gd name="connsiteX1403" fmla="*/ 672367 w 3751729"/>
              <a:gd name="connsiteY1403" fmla="*/ 75428 h 1237129"/>
              <a:gd name="connsiteX1404" fmla="*/ 670643 w 3751729"/>
              <a:gd name="connsiteY1404" fmla="*/ 75428 h 1237129"/>
              <a:gd name="connsiteX1405" fmla="*/ 666459 w 3751729"/>
              <a:gd name="connsiteY1405" fmla="*/ 75428 h 1237129"/>
              <a:gd name="connsiteX1406" fmla="*/ 662520 w 3751729"/>
              <a:gd name="connsiteY1406" fmla="*/ 77151 h 1237129"/>
              <a:gd name="connsiteX1407" fmla="*/ 662520 w 3751729"/>
              <a:gd name="connsiteY1407" fmla="*/ 72966 h 1237129"/>
              <a:gd name="connsiteX1408" fmla="*/ 662520 w 3751729"/>
              <a:gd name="connsiteY1408" fmla="*/ 67796 h 1237129"/>
              <a:gd name="connsiteX1409" fmla="*/ 662520 w 3751729"/>
              <a:gd name="connsiteY1409" fmla="*/ 65336 h 1237129"/>
              <a:gd name="connsiteX1410" fmla="*/ 662520 w 3751729"/>
              <a:gd name="connsiteY1410" fmla="*/ 63611 h 1237129"/>
              <a:gd name="connsiteX1411" fmla="*/ 659074 w 3751729"/>
              <a:gd name="connsiteY1411" fmla="*/ 61151 h 1237129"/>
              <a:gd name="connsiteX1412" fmla="*/ 656613 w 3751729"/>
              <a:gd name="connsiteY1412" fmla="*/ 59427 h 1237129"/>
              <a:gd name="connsiteX1413" fmla="*/ 652428 w 3751729"/>
              <a:gd name="connsiteY1413" fmla="*/ 56227 h 1237129"/>
              <a:gd name="connsiteX1414" fmla="*/ 647505 w 3751729"/>
              <a:gd name="connsiteY1414" fmla="*/ 67796 h 1237129"/>
              <a:gd name="connsiteX1415" fmla="*/ 639381 w 3751729"/>
              <a:gd name="connsiteY1415" fmla="*/ 75428 h 1237129"/>
              <a:gd name="connsiteX1416" fmla="*/ 627813 w 3751729"/>
              <a:gd name="connsiteY1416" fmla="*/ 79612 h 1237129"/>
              <a:gd name="connsiteX1417" fmla="*/ 627813 w 3751729"/>
              <a:gd name="connsiteY1417" fmla="*/ 75428 h 1237129"/>
              <a:gd name="connsiteX1418" fmla="*/ 627813 w 3751729"/>
              <a:gd name="connsiteY1418" fmla="*/ 72966 h 1237129"/>
              <a:gd name="connsiteX1419" fmla="*/ 629290 w 3751729"/>
              <a:gd name="connsiteY1419" fmla="*/ 69520 h 1237129"/>
              <a:gd name="connsiteX1420" fmla="*/ 627813 w 3751729"/>
              <a:gd name="connsiteY1420" fmla="*/ 67058 h 1237129"/>
              <a:gd name="connsiteX1421" fmla="*/ 626089 w 3751729"/>
              <a:gd name="connsiteY1421" fmla="*/ 63611 h 1237129"/>
              <a:gd name="connsiteX1422" fmla="*/ 624367 w 3751729"/>
              <a:gd name="connsiteY1422" fmla="*/ 59427 h 1237129"/>
              <a:gd name="connsiteX1423" fmla="*/ 620182 w 3751729"/>
              <a:gd name="connsiteY1423" fmla="*/ 57950 h 1237129"/>
              <a:gd name="connsiteX1424" fmla="*/ 617720 w 3751729"/>
              <a:gd name="connsiteY1424" fmla="*/ 56227 h 1237129"/>
              <a:gd name="connsiteX1425" fmla="*/ 614520 w 3751729"/>
              <a:gd name="connsiteY1425" fmla="*/ 56227 h 1237129"/>
              <a:gd name="connsiteX1426" fmla="*/ 612058 w 3751729"/>
              <a:gd name="connsiteY1426" fmla="*/ 55490 h 1237129"/>
              <a:gd name="connsiteX1427" fmla="*/ 610335 w 3751729"/>
              <a:gd name="connsiteY1427" fmla="*/ 55490 h 1237129"/>
              <a:gd name="connsiteX1428" fmla="*/ 607135 w 3751729"/>
              <a:gd name="connsiteY1428" fmla="*/ 53766 h 1237129"/>
              <a:gd name="connsiteX1429" fmla="*/ 604674 w 3751729"/>
              <a:gd name="connsiteY1429" fmla="*/ 50319 h 1237129"/>
              <a:gd name="connsiteX1430" fmla="*/ 612797 w 3751729"/>
              <a:gd name="connsiteY1430" fmla="*/ 40474 h 1237129"/>
              <a:gd name="connsiteX1431" fmla="*/ 618704 w 3751729"/>
              <a:gd name="connsiteY1431" fmla="*/ 28658 h 1237129"/>
              <a:gd name="connsiteX1432" fmla="*/ 624367 w 3751729"/>
              <a:gd name="connsiteY1432" fmla="*/ 17089 h 1237129"/>
              <a:gd name="connsiteX1433" fmla="*/ 3641951 w 3751729"/>
              <a:gd name="connsiteY1433" fmla="*/ 0 h 1237129"/>
              <a:gd name="connsiteX1434" fmla="*/ 3750040 w 3751729"/>
              <a:gd name="connsiteY1434" fmla="*/ 0 h 1237129"/>
              <a:gd name="connsiteX1435" fmla="*/ 3751729 w 3751729"/>
              <a:gd name="connsiteY1435" fmla="*/ 7982 h 1237129"/>
              <a:gd name="connsiteX1436" fmla="*/ 3722929 w 3751729"/>
              <a:gd name="connsiteY1436" fmla="*/ 7982 h 1237129"/>
              <a:gd name="connsiteX1437" fmla="*/ 3721206 w 3751729"/>
              <a:gd name="connsiteY1437" fmla="*/ 10443 h 1237129"/>
              <a:gd name="connsiteX1438" fmla="*/ 3718744 w 3751729"/>
              <a:gd name="connsiteY1438" fmla="*/ 13888 h 1237129"/>
              <a:gd name="connsiteX1439" fmla="*/ 3717022 w 3751729"/>
              <a:gd name="connsiteY1439" fmla="*/ 15612 h 1237129"/>
              <a:gd name="connsiteX1440" fmla="*/ 3715298 w 3751729"/>
              <a:gd name="connsiteY1440" fmla="*/ 19797 h 1237129"/>
              <a:gd name="connsiteX1441" fmla="*/ 3713576 w 3751729"/>
              <a:gd name="connsiteY1441" fmla="*/ 23981 h 1237129"/>
              <a:gd name="connsiteX1442" fmla="*/ 3716775 w 3751729"/>
              <a:gd name="connsiteY1442" fmla="*/ 25705 h 1237129"/>
              <a:gd name="connsiteX1443" fmla="*/ 3718497 w 3751729"/>
              <a:gd name="connsiteY1443" fmla="*/ 27428 h 1237129"/>
              <a:gd name="connsiteX1444" fmla="*/ 3719237 w 3751729"/>
              <a:gd name="connsiteY1444" fmla="*/ 28166 h 1237129"/>
              <a:gd name="connsiteX1445" fmla="*/ 3720959 w 3751729"/>
              <a:gd name="connsiteY1445" fmla="*/ 31611 h 1237129"/>
              <a:gd name="connsiteX1446" fmla="*/ 3720959 w 3751729"/>
              <a:gd name="connsiteY1446" fmla="*/ 33335 h 1237129"/>
              <a:gd name="connsiteX1447" fmla="*/ 3719237 w 3751729"/>
              <a:gd name="connsiteY1447" fmla="*/ 35797 h 1237129"/>
              <a:gd name="connsiteX1448" fmla="*/ 3716775 w 3751729"/>
              <a:gd name="connsiteY1448" fmla="*/ 39982 h 1237129"/>
              <a:gd name="connsiteX1449" fmla="*/ 3715052 w 3751729"/>
              <a:gd name="connsiteY1449" fmla="*/ 41704 h 1237129"/>
              <a:gd name="connsiteX1450" fmla="*/ 3712591 w 3751729"/>
              <a:gd name="connsiteY1450" fmla="*/ 43428 h 1237129"/>
              <a:gd name="connsiteX1451" fmla="*/ 3709391 w 3751729"/>
              <a:gd name="connsiteY1451" fmla="*/ 43428 h 1237129"/>
              <a:gd name="connsiteX1452" fmla="*/ 3706929 w 3751729"/>
              <a:gd name="connsiteY1452" fmla="*/ 43428 h 1237129"/>
              <a:gd name="connsiteX1453" fmla="*/ 3701267 w 3751729"/>
              <a:gd name="connsiteY1453" fmla="*/ 43428 h 1237129"/>
              <a:gd name="connsiteX1454" fmla="*/ 3695606 w 3751729"/>
              <a:gd name="connsiteY1454" fmla="*/ 34320 h 1237129"/>
              <a:gd name="connsiteX1455" fmla="*/ 3686498 w 3751729"/>
              <a:gd name="connsiteY1455" fmla="*/ 30136 h 1237129"/>
              <a:gd name="connsiteX1456" fmla="*/ 3674930 w 3751729"/>
              <a:gd name="connsiteY1456" fmla="*/ 27674 h 1237129"/>
              <a:gd name="connsiteX1457" fmla="*/ 3674930 w 3751729"/>
              <a:gd name="connsiteY1457" fmla="*/ 16844 h 1237129"/>
              <a:gd name="connsiteX1458" fmla="*/ 3672467 w 3751729"/>
              <a:gd name="connsiteY1458" fmla="*/ 16104 h 1237129"/>
              <a:gd name="connsiteX1459" fmla="*/ 3669267 w 3751729"/>
              <a:gd name="connsiteY1459" fmla="*/ 14381 h 1237129"/>
              <a:gd name="connsiteX1460" fmla="*/ 3668529 w 3751729"/>
              <a:gd name="connsiteY1460" fmla="*/ 12659 h 1237129"/>
              <a:gd name="connsiteX1461" fmla="*/ 3665329 w 3751729"/>
              <a:gd name="connsiteY1461" fmla="*/ 10935 h 1237129"/>
              <a:gd name="connsiteX1462" fmla="*/ 3659668 w 3751729"/>
              <a:gd name="connsiteY1462" fmla="*/ 10935 h 1237129"/>
              <a:gd name="connsiteX1463" fmla="*/ 3657944 w 3751729"/>
              <a:gd name="connsiteY1463" fmla="*/ 10935 h 1237129"/>
              <a:gd name="connsiteX1464" fmla="*/ 3657207 w 3751729"/>
              <a:gd name="connsiteY1464" fmla="*/ 12659 h 1237129"/>
              <a:gd name="connsiteX1465" fmla="*/ 3655483 w 3751729"/>
              <a:gd name="connsiteY1465" fmla="*/ 12659 h 1237129"/>
              <a:gd name="connsiteX1466" fmla="*/ 3653760 w 3751729"/>
              <a:gd name="connsiteY1466" fmla="*/ 12659 h 1237129"/>
              <a:gd name="connsiteX1467" fmla="*/ 3651298 w 3751729"/>
              <a:gd name="connsiteY1467" fmla="*/ 14381 h 1237129"/>
              <a:gd name="connsiteX1468" fmla="*/ 3648098 w 3751729"/>
              <a:gd name="connsiteY1468" fmla="*/ 8474 h 1237129"/>
              <a:gd name="connsiteX1469" fmla="*/ 3643914 w 3751729"/>
              <a:gd name="connsiteY1469" fmla="*/ 2567 h 1237129"/>
              <a:gd name="connsiteX1470" fmla="*/ 1870193 w 3751729"/>
              <a:gd name="connsiteY1470" fmla="*/ 0 h 1237129"/>
              <a:gd name="connsiteX1471" fmla="*/ 1986120 w 3751729"/>
              <a:gd name="connsiteY1471" fmla="*/ 0 h 1237129"/>
              <a:gd name="connsiteX1472" fmla="*/ 1986571 w 3751729"/>
              <a:gd name="connsiteY1472" fmla="*/ 3551 h 1237129"/>
              <a:gd name="connsiteX1473" fmla="*/ 1988295 w 3751729"/>
              <a:gd name="connsiteY1473" fmla="*/ 17827 h 1237129"/>
              <a:gd name="connsiteX1474" fmla="*/ 1990757 w 3751729"/>
              <a:gd name="connsiteY1474" fmla="*/ 29643 h 1237129"/>
              <a:gd name="connsiteX1475" fmla="*/ 1993956 w 3751729"/>
              <a:gd name="connsiteY1475" fmla="*/ 37274 h 1237129"/>
              <a:gd name="connsiteX1476" fmla="*/ 1996418 w 3751729"/>
              <a:gd name="connsiteY1476" fmla="*/ 41458 h 1237129"/>
              <a:gd name="connsiteX1477" fmla="*/ 2000603 w 3751729"/>
              <a:gd name="connsiteY1477" fmla="*/ 43181 h 1237129"/>
              <a:gd name="connsiteX1478" fmla="*/ 2003802 w 3751729"/>
              <a:gd name="connsiteY1478" fmla="*/ 46628 h 1237129"/>
              <a:gd name="connsiteX1479" fmla="*/ 2009465 w 3751729"/>
              <a:gd name="connsiteY1479" fmla="*/ 47366 h 1237129"/>
              <a:gd name="connsiteX1480" fmla="*/ 2007741 w 3751729"/>
              <a:gd name="connsiteY1480" fmla="*/ 37274 h 1237129"/>
              <a:gd name="connsiteX1481" fmla="*/ 2006018 w 3751729"/>
              <a:gd name="connsiteY1481" fmla="*/ 29643 h 1237129"/>
              <a:gd name="connsiteX1482" fmla="*/ 2006018 w 3751729"/>
              <a:gd name="connsiteY1482" fmla="*/ 21274 h 1237129"/>
              <a:gd name="connsiteX1483" fmla="*/ 2011187 w 3751729"/>
              <a:gd name="connsiteY1483" fmla="*/ 21274 h 1237129"/>
              <a:gd name="connsiteX1484" fmla="*/ 2011187 w 3751729"/>
              <a:gd name="connsiteY1484" fmla="*/ 17827 h 1237129"/>
              <a:gd name="connsiteX1485" fmla="*/ 2021032 w 3751729"/>
              <a:gd name="connsiteY1485" fmla="*/ 23735 h 1237129"/>
              <a:gd name="connsiteX1486" fmla="*/ 2030879 w 3751729"/>
              <a:gd name="connsiteY1486" fmla="*/ 29643 h 1237129"/>
              <a:gd name="connsiteX1487" fmla="*/ 2042448 w 3751729"/>
              <a:gd name="connsiteY1487" fmla="*/ 34566 h 1237129"/>
              <a:gd name="connsiteX1488" fmla="*/ 2044171 w 3751729"/>
              <a:gd name="connsiteY1488" fmla="*/ 31120 h 1237129"/>
              <a:gd name="connsiteX1489" fmla="*/ 2045895 w 3751729"/>
              <a:gd name="connsiteY1489" fmla="*/ 28658 h 1237129"/>
              <a:gd name="connsiteX1490" fmla="*/ 2046633 w 3751729"/>
              <a:gd name="connsiteY1490" fmla="*/ 26936 h 1237129"/>
              <a:gd name="connsiteX1491" fmla="*/ 2048355 w 3751729"/>
              <a:gd name="connsiteY1491" fmla="*/ 22750 h 1237129"/>
              <a:gd name="connsiteX1492" fmla="*/ 2048355 w 3751729"/>
              <a:gd name="connsiteY1492" fmla="*/ 17827 h 1237129"/>
              <a:gd name="connsiteX1493" fmla="*/ 2046633 w 3751729"/>
              <a:gd name="connsiteY1493" fmla="*/ 17089 h 1237129"/>
              <a:gd name="connsiteX1494" fmla="*/ 2045895 w 3751729"/>
              <a:gd name="connsiteY1494" fmla="*/ 15366 h 1237129"/>
              <a:gd name="connsiteX1495" fmla="*/ 2044171 w 3751729"/>
              <a:gd name="connsiteY1495" fmla="*/ 13643 h 1237129"/>
              <a:gd name="connsiteX1496" fmla="*/ 2044171 w 3751729"/>
              <a:gd name="connsiteY1496" fmla="*/ 11920 h 1237129"/>
              <a:gd name="connsiteX1497" fmla="*/ 2044171 w 3751729"/>
              <a:gd name="connsiteY1497" fmla="*/ 9458 h 1237129"/>
              <a:gd name="connsiteX1498" fmla="*/ 2042448 w 3751729"/>
              <a:gd name="connsiteY1498" fmla="*/ 5274 h 1237129"/>
              <a:gd name="connsiteX1499" fmla="*/ 2054314 w 3751729"/>
              <a:gd name="connsiteY1499" fmla="*/ 0 h 1237129"/>
              <a:gd name="connsiteX1500" fmla="*/ 3640714 w 3751729"/>
              <a:gd name="connsiteY1500" fmla="*/ 0 h 1237129"/>
              <a:gd name="connsiteX1501" fmla="*/ 3640714 w 3751729"/>
              <a:gd name="connsiteY1501" fmla="*/ 8474 h 1237129"/>
              <a:gd name="connsiteX1502" fmla="*/ 3638252 w 3751729"/>
              <a:gd name="connsiteY1502" fmla="*/ 20290 h 1237129"/>
              <a:gd name="connsiteX1503" fmla="*/ 3635053 w 3751729"/>
              <a:gd name="connsiteY1503" fmla="*/ 30382 h 1237129"/>
              <a:gd name="connsiteX1504" fmla="*/ 3628406 w 3751729"/>
              <a:gd name="connsiteY1504" fmla="*/ 36289 h 1237129"/>
              <a:gd name="connsiteX1505" fmla="*/ 3625207 w 3751729"/>
              <a:gd name="connsiteY1505" fmla="*/ 38012 h 1237129"/>
              <a:gd name="connsiteX1506" fmla="*/ 3622745 w 3751729"/>
              <a:gd name="connsiteY1506" fmla="*/ 38012 h 1237129"/>
              <a:gd name="connsiteX1507" fmla="*/ 3621022 w 3751729"/>
              <a:gd name="connsiteY1507" fmla="*/ 38012 h 1237129"/>
              <a:gd name="connsiteX1508" fmla="*/ 3619298 w 3751729"/>
              <a:gd name="connsiteY1508" fmla="*/ 38012 h 1237129"/>
              <a:gd name="connsiteX1509" fmla="*/ 3617576 w 3751729"/>
              <a:gd name="connsiteY1509" fmla="*/ 36289 h 1237129"/>
              <a:gd name="connsiteX1510" fmla="*/ 3616838 w 3751729"/>
              <a:gd name="connsiteY1510" fmla="*/ 36289 h 1237129"/>
              <a:gd name="connsiteX1511" fmla="*/ 3615114 w 3751729"/>
              <a:gd name="connsiteY1511" fmla="*/ 36289 h 1237129"/>
              <a:gd name="connsiteX1512" fmla="*/ 3613391 w 3751729"/>
              <a:gd name="connsiteY1512" fmla="*/ 38012 h 1237129"/>
              <a:gd name="connsiteX1513" fmla="*/ 3611668 w 3751729"/>
              <a:gd name="connsiteY1513" fmla="*/ 39735 h 1237129"/>
              <a:gd name="connsiteX1514" fmla="*/ 3609207 w 3751729"/>
              <a:gd name="connsiteY1514" fmla="*/ 43920 h 1237129"/>
              <a:gd name="connsiteX1515" fmla="*/ 3617576 w 3751729"/>
              <a:gd name="connsiteY1515" fmla="*/ 54012 h 1237129"/>
              <a:gd name="connsiteX1516" fmla="*/ 3626683 w 3751729"/>
              <a:gd name="connsiteY1516" fmla="*/ 71735 h 1237129"/>
              <a:gd name="connsiteX1517" fmla="*/ 3630868 w 3751729"/>
              <a:gd name="connsiteY1517" fmla="*/ 91920 h 1237129"/>
              <a:gd name="connsiteX1518" fmla="*/ 3628406 w 3751729"/>
              <a:gd name="connsiteY1518" fmla="*/ 91920 h 1237129"/>
              <a:gd name="connsiteX1519" fmla="*/ 3626683 w 3751729"/>
              <a:gd name="connsiteY1519" fmla="*/ 93643 h 1237129"/>
              <a:gd name="connsiteX1520" fmla="*/ 3623483 w 3751729"/>
              <a:gd name="connsiteY1520" fmla="*/ 93643 h 1237129"/>
              <a:gd name="connsiteX1521" fmla="*/ 3619298 w 3751729"/>
              <a:gd name="connsiteY1521" fmla="*/ 95365 h 1237129"/>
              <a:gd name="connsiteX1522" fmla="*/ 3613637 w 3751729"/>
              <a:gd name="connsiteY1522" fmla="*/ 91181 h 1237129"/>
              <a:gd name="connsiteX1523" fmla="*/ 3609452 w 3751729"/>
              <a:gd name="connsiteY1523" fmla="*/ 87734 h 1237129"/>
              <a:gd name="connsiteX1524" fmla="*/ 3603791 w 3751729"/>
              <a:gd name="connsiteY1524" fmla="*/ 86996 h 1237129"/>
              <a:gd name="connsiteX1525" fmla="*/ 3596406 w 3751729"/>
              <a:gd name="connsiteY1525" fmla="*/ 85274 h 1237129"/>
              <a:gd name="connsiteX1526" fmla="*/ 3592222 w 3751729"/>
              <a:gd name="connsiteY1526" fmla="*/ 97089 h 1237129"/>
              <a:gd name="connsiteX1527" fmla="*/ 3583854 w 3751729"/>
              <a:gd name="connsiteY1527" fmla="*/ 102997 h 1237129"/>
              <a:gd name="connsiteX1528" fmla="*/ 3573022 w 3751729"/>
              <a:gd name="connsiteY1528" fmla="*/ 107181 h 1237129"/>
              <a:gd name="connsiteX1529" fmla="*/ 3561453 w 3751729"/>
              <a:gd name="connsiteY1529" fmla="*/ 111366 h 1237129"/>
              <a:gd name="connsiteX1530" fmla="*/ 3560715 w 3751729"/>
              <a:gd name="connsiteY1530" fmla="*/ 123180 h 1237129"/>
              <a:gd name="connsiteX1531" fmla="*/ 3557514 w 3751729"/>
              <a:gd name="connsiteY1531" fmla="*/ 132289 h 1237129"/>
              <a:gd name="connsiteX1532" fmla="*/ 3551854 w 3751729"/>
              <a:gd name="connsiteY1532" fmla="*/ 140657 h 1237129"/>
              <a:gd name="connsiteX1533" fmla="*/ 3540284 w 3751729"/>
              <a:gd name="connsiteY1533" fmla="*/ 142381 h 1237129"/>
              <a:gd name="connsiteX1534" fmla="*/ 3531915 w 3751729"/>
              <a:gd name="connsiteY1534" fmla="*/ 144842 h 1237129"/>
              <a:gd name="connsiteX1535" fmla="*/ 3526253 w 3751729"/>
              <a:gd name="connsiteY1535" fmla="*/ 148288 h 1237129"/>
              <a:gd name="connsiteX1536" fmla="*/ 3520592 w 3751729"/>
              <a:gd name="connsiteY1536" fmla="*/ 150012 h 1237129"/>
              <a:gd name="connsiteX1537" fmla="*/ 3516408 w 3751729"/>
              <a:gd name="connsiteY1537" fmla="*/ 146565 h 1237129"/>
              <a:gd name="connsiteX1538" fmla="*/ 3511484 w 3751729"/>
              <a:gd name="connsiteY1538" fmla="*/ 142381 h 1237129"/>
              <a:gd name="connsiteX1539" fmla="*/ 3509022 w 3751729"/>
              <a:gd name="connsiteY1539" fmla="*/ 138196 h 1237129"/>
              <a:gd name="connsiteX1540" fmla="*/ 3503362 w 3751729"/>
              <a:gd name="connsiteY1540" fmla="*/ 138935 h 1237129"/>
              <a:gd name="connsiteX1541" fmla="*/ 3495977 w 3751729"/>
              <a:gd name="connsiteY1541" fmla="*/ 140657 h 1237129"/>
              <a:gd name="connsiteX1542" fmla="*/ 3490315 w 3751729"/>
              <a:gd name="connsiteY1542" fmla="*/ 144103 h 1237129"/>
              <a:gd name="connsiteX1543" fmla="*/ 3486130 w 3751729"/>
              <a:gd name="connsiteY1543" fmla="*/ 146565 h 1237129"/>
              <a:gd name="connsiteX1544" fmla="*/ 3486130 w 3751729"/>
              <a:gd name="connsiteY1544" fmla="*/ 152473 h 1237129"/>
              <a:gd name="connsiteX1545" fmla="*/ 3481946 w 3751729"/>
              <a:gd name="connsiteY1545" fmla="*/ 154195 h 1237129"/>
              <a:gd name="connsiteX1546" fmla="*/ 3474562 w 3751729"/>
              <a:gd name="connsiteY1546" fmla="*/ 154195 h 1237129"/>
              <a:gd name="connsiteX1547" fmla="*/ 3464716 w 3751729"/>
              <a:gd name="connsiteY1547" fmla="*/ 154195 h 1237129"/>
              <a:gd name="connsiteX1548" fmla="*/ 3455608 w 3751729"/>
              <a:gd name="connsiteY1548" fmla="*/ 155919 h 1237129"/>
              <a:gd name="connsiteX1549" fmla="*/ 3451423 w 3751729"/>
              <a:gd name="connsiteY1549" fmla="*/ 156658 h 1237129"/>
              <a:gd name="connsiteX1550" fmla="*/ 3444038 w 3751729"/>
              <a:gd name="connsiteY1550" fmla="*/ 174381 h 1237129"/>
              <a:gd name="connsiteX1551" fmla="*/ 3443300 w 3751729"/>
              <a:gd name="connsiteY1551" fmla="*/ 193580 h 1237129"/>
              <a:gd name="connsiteX1552" fmla="*/ 3443300 w 3751729"/>
              <a:gd name="connsiteY1552" fmla="*/ 215488 h 1237129"/>
              <a:gd name="connsiteX1553" fmla="*/ 3445762 w 3751729"/>
              <a:gd name="connsiteY1553" fmla="*/ 234687 h 1237129"/>
              <a:gd name="connsiteX1554" fmla="*/ 3441577 w 3751729"/>
              <a:gd name="connsiteY1554" fmla="*/ 234687 h 1237129"/>
              <a:gd name="connsiteX1555" fmla="*/ 3439854 w 3751729"/>
              <a:gd name="connsiteY1555" fmla="*/ 234687 h 1237129"/>
              <a:gd name="connsiteX1556" fmla="*/ 3438131 w 3751729"/>
              <a:gd name="connsiteY1556" fmla="*/ 234687 h 1237129"/>
              <a:gd name="connsiteX1557" fmla="*/ 3437392 w 3751729"/>
              <a:gd name="connsiteY1557" fmla="*/ 236410 h 1237129"/>
              <a:gd name="connsiteX1558" fmla="*/ 3435670 w 3751729"/>
              <a:gd name="connsiteY1558" fmla="*/ 237150 h 1237129"/>
              <a:gd name="connsiteX1559" fmla="*/ 3433946 w 3751729"/>
              <a:gd name="connsiteY1559" fmla="*/ 242072 h 1237129"/>
              <a:gd name="connsiteX1560" fmla="*/ 3432223 w 3751729"/>
              <a:gd name="connsiteY1560" fmla="*/ 246257 h 1237129"/>
              <a:gd name="connsiteX1561" fmla="*/ 3432223 w 3751729"/>
              <a:gd name="connsiteY1561" fmla="*/ 252164 h 1237129"/>
              <a:gd name="connsiteX1562" fmla="*/ 3432223 w 3751729"/>
              <a:gd name="connsiteY1562" fmla="*/ 258810 h 1237129"/>
              <a:gd name="connsiteX1563" fmla="*/ 3422377 w 3751729"/>
              <a:gd name="connsiteY1563" fmla="*/ 258810 h 1237129"/>
              <a:gd name="connsiteX1564" fmla="*/ 3416715 w 3751729"/>
              <a:gd name="connsiteY1564" fmla="*/ 267918 h 1237129"/>
              <a:gd name="connsiteX1565" fmla="*/ 3412531 w 3751729"/>
              <a:gd name="connsiteY1565" fmla="*/ 273825 h 1237129"/>
              <a:gd name="connsiteX1566" fmla="*/ 3410808 w 3751729"/>
              <a:gd name="connsiteY1566" fmla="*/ 279734 h 1237129"/>
              <a:gd name="connsiteX1567" fmla="*/ 3409084 w 3751729"/>
              <a:gd name="connsiteY1567" fmla="*/ 291548 h 1237129"/>
              <a:gd name="connsiteX1568" fmla="*/ 3406623 w 3751729"/>
              <a:gd name="connsiteY1568" fmla="*/ 291548 h 1237129"/>
              <a:gd name="connsiteX1569" fmla="*/ 3403423 w 3751729"/>
              <a:gd name="connsiteY1569" fmla="*/ 291548 h 1237129"/>
              <a:gd name="connsiteX1570" fmla="*/ 3402685 w 3751729"/>
              <a:gd name="connsiteY1570" fmla="*/ 291548 h 1237129"/>
              <a:gd name="connsiteX1571" fmla="*/ 3400962 w 3751729"/>
              <a:gd name="connsiteY1571" fmla="*/ 291548 h 1237129"/>
              <a:gd name="connsiteX1572" fmla="*/ 3397762 w 3751729"/>
              <a:gd name="connsiteY1572" fmla="*/ 291548 h 1237129"/>
              <a:gd name="connsiteX1573" fmla="*/ 3392100 w 3751729"/>
              <a:gd name="connsiteY1573" fmla="*/ 303365 h 1237129"/>
              <a:gd name="connsiteX1574" fmla="*/ 3387915 w 3751729"/>
              <a:gd name="connsiteY1574" fmla="*/ 317641 h 1237129"/>
              <a:gd name="connsiteX1575" fmla="*/ 3378069 w 3751729"/>
              <a:gd name="connsiteY1575" fmla="*/ 317641 h 1237129"/>
              <a:gd name="connsiteX1576" fmla="*/ 3374869 w 3751729"/>
              <a:gd name="connsiteY1576" fmla="*/ 333640 h 1237129"/>
              <a:gd name="connsiteX1577" fmla="*/ 3369947 w 3751729"/>
              <a:gd name="connsiteY1577" fmla="*/ 333640 h 1237129"/>
              <a:gd name="connsiteX1578" fmla="*/ 3369947 w 3751729"/>
              <a:gd name="connsiteY1578" fmla="*/ 329457 h 1237129"/>
              <a:gd name="connsiteX1579" fmla="*/ 3358378 w 3751729"/>
              <a:gd name="connsiteY1579" fmla="*/ 313456 h 1237129"/>
              <a:gd name="connsiteX1580" fmla="*/ 3350993 w 3751729"/>
              <a:gd name="connsiteY1580" fmla="*/ 294256 h 1237129"/>
              <a:gd name="connsiteX1581" fmla="*/ 3349270 w 3751729"/>
              <a:gd name="connsiteY1581" fmla="*/ 272349 h 1237129"/>
              <a:gd name="connsiteX1582" fmla="*/ 3350993 w 3751729"/>
              <a:gd name="connsiteY1582" fmla="*/ 246257 h 1237129"/>
              <a:gd name="connsiteX1583" fmla="*/ 3355178 w 3751729"/>
              <a:gd name="connsiteY1583" fmla="*/ 242811 h 1237129"/>
              <a:gd name="connsiteX1584" fmla="*/ 3358378 w 3751729"/>
              <a:gd name="connsiteY1584" fmla="*/ 240349 h 1237129"/>
              <a:gd name="connsiteX1585" fmla="*/ 3362562 w 3751729"/>
              <a:gd name="connsiteY1585" fmla="*/ 236903 h 1237129"/>
              <a:gd name="connsiteX1586" fmla="*/ 3364285 w 3751729"/>
              <a:gd name="connsiteY1586" fmla="*/ 232719 h 1237129"/>
              <a:gd name="connsiteX1587" fmla="*/ 3366747 w 3751729"/>
              <a:gd name="connsiteY1587" fmla="*/ 226811 h 1237129"/>
              <a:gd name="connsiteX1588" fmla="*/ 3362562 w 3751729"/>
              <a:gd name="connsiteY1588" fmla="*/ 219180 h 1237129"/>
              <a:gd name="connsiteX1589" fmla="*/ 3360839 w 3751729"/>
              <a:gd name="connsiteY1589" fmla="*/ 209088 h 1237129"/>
              <a:gd name="connsiteX1590" fmla="*/ 3366501 w 3751729"/>
              <a:gd name="connsiteY1590" fmla="*/ 197272 h 1237129"/>
              <a:gd name="connsiteX1591" fmla="*/ 3372162 w 3751729"/>
              <a:gd name="connsiteY1591" fmla="*/ 193088 h 1237129"/>
              <a:gd name="connsiteX1592" fmla="*/ 3379547 w 3751729"/>
              <a:gd name="connsiteY1592" fmla="*/ 189642 h 1237129"/>
              <a:gd name="connsiteX1593" fmla="*/ 3387915 w 3751729"/>
              <a:gd name="connsiteY1593" fmla="*/ 187180 h 1237129"/>
              <a:gd name="connsiteX1594" fmla="*/ 3393577 w 3751729"/>
              <a:gd name="connsiteY1594" fmla="*/ 181272 h 1237129"/>
              <a:gd name="connsiteX1595" fmla="*/ 3405147 w 3751729"/>
              <a:gd name="connsiteY1595" fmla="*/ 163550 h 1237129"/>
              <a:gd name="connsiteX1596" fmla="*/ 3416715 w 3751729"/>
              <a:gd name="connsiteY1596" fmla="*/ 145827 h 1237129"/>
              <a:gd name="connsiteX1597" fmla="*/ 3425824 w 3751729"/>
              <a:gd name="connsiteY1597" fmla="*/ 138196 h 1237129"/>
              <a:gd name="connsiteX1598" fmla="*/ 3435670 w 3751729"/>
              <a:gd name="connsiteY1598" fmla="*/ 131550 h 1237129"/>
              <a:gd name="connsiteX1599" fmla="*/ 3445515 w 3751729"/>
              <a:gd name="connsiteY1599" fmla="*/ 123920 h 1237129"/>
              <a:gd name="connsiteX1600" fmla="*/ 3449700 w 3751729"/>
              <a:gd name="connsiteY1600" fmla="*/ 113827 h 1237129"/>
              <a:gd name="connsiteX1601" fmla="*/ 3452900 w 3751729"/>
              <a:gd name="connsiteY1601" fmla="*/ 102011 h 1237129"/>
              <a:gd name="connsiteX1602" fmla="*/ 3457085 w 3751729"/>
              <a:gd name="connsiteY1602" fmla="*/ 91181 h 1237129"/>
              <a:gd name="connsiteX1603" fmla="*/ 3457085 w 3751729"/>
              <a:gd name="connsiteY1603" fmla="*/ 90443 h 1237129"/>
              <a:gd name="connsiteX1604" fmla="*/ 3455361 w 3751729"/>
              <a:gd name="connsiteY1604" fmla="*/ 90443 h 1237129"/>
              <a:gd name="connsiteX1605" fmla="*/ 3455361 w 3751729"/>
              <a:gd name="connsiteY1605" fmla="*/ 88719 h 1237129"/>
              <a:gd name="connsiteX1606" fmla="*/ 3453639 w 3751729"/>
              <a:gd name="connsiteY1606" fmla="*/ 86996 h 1237129"/>
              <a:gd name="connsiteX1607" fmla="*/ 3451176 w 3751729"/>
              <a:gd name="connsiteY1607" fmla="*/ 88719 h 1237129"/>
              <a:gd name="connsiteX1608" fmla="*/ 3449454 w 3751729"/>
              <a:gd name="connsiteY1608" fmla="*/ 90443 h 1237129"/>
              <a:gd name="connsiteX1609" fmla="*/ 3448715 w 3751729"/>
              <a:gd name="connsiteY1609" fmla="*/ 91181 h 1237129"/>
              <a:gd name="connsiteX1610" fmla="*/ 3441331 w 3751729"/>
              <a:gd name="connsiteY1610" fmla="*/ 102011 h 1237129"/>
              <a:gd name="connsiteX1611" fmla="*/ 3433946 w 3751729"/>
              <a:gd name="connsiteY1611" fmla="*/ 113827 h 1237129"/>
              <a:gd name="connsiteX1612" fmla="*/ 3426561 w 3751729"/>
              <a:gd name="connsiteY1612" fmla="*/ 123920 h 1237129"/>
              <a:gd name="connsiteX1613" fmla="*/ 3416715 w 3751729"/>
              <a:gd name="connsiteY1613" fmla="*/ 131550 h 1237129"/>
              <a:gd name="connsiteX1614" fmla="*/ 3403423 w 3751729"/>
              <a:gd name="connsiteY1614" fmla="*/ 137457 h 1237129"/>
              <a:gd name="connsiteX1615" fmla="*/ 3402685 w 3751729"/>
              <a:gd name="connsiteY1615" fmla="*/ 132535 h 1237129"/>
              <a:gd name="connsiteX1616" fmla="*/ 3402685 w 3751729"/>
              <a:gd name="connsiteY1616" fmla="*/ 131796 h 1237129"/>
              <a:gd name="connsiteX1617" fmla="*/ 3400962 w 3751729"/>
              <a:gd name="connsiteY1617" fmla="*/ 128350 h 1237129"/>
              <a:gd name="connsiteX1618" fmla="*/ 3400962 w 3751729"/>
              <a:gd name="connsiteY1618" fmla="*/ 124165 h 1237129"/>
              <a:gd name="connsiteX1619" fmla="*/ 3402685 w 3751729"/>
              <a:gd name="connsiteY1619" fmla="*/ 122442 h 1237129"/>
              <a:gd name="connsiteX1620" fmla="*/ 3402685 w 3751729"/>
              <a:gd name="connsiteY1620" fmla="*/ 120719 h 1237129"/>
              <a:gd name="connsiteX1621" fmla="*/ 3402685 w 3751729"/>
              <a:gd name="connsiteY1621" fmla="*/ 119980 h 1237129"/>
              <a:gd name="connsiteX1622" fmla="*/ 3403423 w 3751729"/>
              <a:gd name="connsiteY1622" fmla="*/ 116534 h 1237129"/>
              <a:gd name="connsiteX1623" fmla="*/ 3403423 w 3751729"/>
              <a:gd name="connsiteY1623" fmla="*/ 114073 h 1237129"/>
              <a:gd name="connsiteX1624" fmla="*/ 3399238 w 3751729"/>
              <a:gd name="connsiteY1624" fmla="*/ 110628 h 1237129"/>
              <a:gd name="connsiteX1625" fmla="*/ 3395054 w 3751729"/>
              <a:gd name="connsiteY1625" fmla="*/ 108903 h 1237129"/>
              <a:gd name="connsiteX1626" fmla="*/ 3391854 w 3751729"/>
              <a:gd name="connsiteY1626" fmla="*/ 108166 h 1237129"/>
              <a:gd name="connsiteX1627" fmla="*/ 3387670 w 3751729"/>
              <a:gd name="connsiteY1627" fmla="*/ 106442 h 1237129"/>
              <a:gd name="connsiteX1628" fmla="*/ 3385208 w 3751729"/>
              <a:gd name="connsiteY1628" fmla="*/ 108166 h 1237129"/>
              <a:gd name="connsiteX1629" fmla="*/ 3377824 w 3751729"/>
              <a:gd name="connsiteY1629" fmla="*/ 112350 h 1237129"/>
              <a:gd name="connsiteX1630" fmla="*/ 3367978 w 3751729"/>
              <a:gd name="connsiteY1630" fmla="*/ 120719 h 1237129"/>
              <a:gd name="connsiteX1631" fmla="*/ 3358870 w 3751729"/>
              <a:gd name="connsiteY1631" fmla="*/ 131550 h 1237129"/>
              <a:gd name="connsiteX1632" fmla="*/ 3350500 w 3751729"/>
              <a:gd name="connsiteY1632" fmla="*/ 141642 h 1237129"/>
              <a:gd name="connsiteX1633" fmla="*/ 3346316 w 3751729"/>
              <a:gd name="connsiteY1633" fmla="*/ 149273 h 1237129"/>
              <a:gd name="connsiteX1634" fmla="*/ 3346316 w 3751729"/>
              <a:gd name="connsiteY1634" fmla="*/ 151734 h 1237129"/>
              <a:gd name="connsiteX1635" fmla="*/ 3346316 w 3751729"/>
              <a:gd name="connsiteY1635" fmla="*/ 155180 h 1237129"/>
              <a:gd name="connsiteX1636" fmla="*/ 3347055 w 3751729"/>
              <a:gd name="connsiteY1636" fmla="*/ 157642 h 1237129"/>
              <a:gd name="connsiteX1637" fmla="*/ 3348778 w 3751729"/>
              <a:gd name="connsiteY1637" fmla="*/ 161826 h 1237129"/>
              <a:gd name="connsiteX1638" fmla="*/ 3350500 w 3751729"/>
              <a:gd name="connsiteY1638" fmla="*/ 165272 h 1237129"/>
              <a:gd name="connsiteX1639" fmla="*/ 3350500 w 3751729"/>
              <a:gd name="connsiteY1639" fmla="*/ 167734 h 1237129"/>
              <a:gd name="connsiteX1640" fmla="*/ 3341394 w 3751729"/>
              <a:gd name="connsiteY1640" fmla="*/ 171918 h 1237129"/>
              <a:gd name="connsiteX1641" fmla="*/ 3331548 w 3751729"/>
              <a:gd name="connsiteY1641" fmla="*/ 173642 h 1237129"/>
              <a:gd name="connsiteX1642" fmla="*/ 3318255 w 3751729"/>
              <a:gd name="connsiteY1642" fmla="*/ 175365 h 1237129"/>
              <a:gd name="connsiteX1643" fmla="*/ 3305947 w 3751729"/>
              <a:gd name="connsiteY1643" fmla="*/ 175365 h 1237129"/>
              <a:gd name="connsiteX1644" fmla="*/ 3305947 w 3751729"/>
              <a:gd name="connsiteY1644" fmla="*/ 159365 h 1237129"/>
              <a:gd name="connsiteX1645" fmla="*/ 3292655 w 3751729"/>
              <a:gd name="connsiteY1645" fmla="*/ 161826 h 1237129"/>
              <a:gd name="connsiteX1646" fmla="*/ 3281085 w 3751729"/>
              <a:gd name="connsiteY1646" fmla="*/ 166750 h 1237129"/>
              <a:gd name="connsiteX1647" fmla="*/ 3271240 w 3751729"/>
              <a:gd name="connsiteY1647" fmla="*/ 165026 h 1237129"/>
              <a:gd name="connsiteX1648" fmla="*/ 3263855 w 3751729"/>
              <a:gd name="connsiteY1648" fmla="*/ 155919 h 1237129"/>
              <a:gd name="connsiteX1649" fmla="*/ 3235055 w 3751729"/>
              <a:gd name="connsiteY1649" fmla="*/ 151734 h 1237129"/>
              <a:gd name="connsiteX1650" fmla="*/ 3225209 w 3751729"/>
              <a:gd name="connsiteY1650" fmla="*/ 161826 h 1237129"/>
              <a:gd name="connsiteX1651" fmla="*/ 3213640 w 3751729"/>
              <a:gd name="connsiteY1651" fmla="*/ 169457 h 1237129"/>
              <a:gd name="connsiteX1652" fmla="*/ 3203794 w 3751729"/>
              <a:gd name="connsiteY1652" fmla="*/ 177827 h 1237129"/>
              <a:gd name="connsiteX1653" fmla="*/ 3198133 w 3751729"/>
              <a:gd name="connsiteY1653" fmla="*/ 188657 h 1237129"/>
              <a:gd name="connsiteX1654" fmla="*/ 3192471 w 3751729"/>
              <a:gd name="connsiteY1654" fmla="*/ 198750 h 1237129"/>
              <a:gd name="connsiteX1655" fmla="*/ 3186810 w 3751729"/>
              <a:gd name="connsiteY1655" fmla="*/ 208841 h 1237129"/>
              <a:gd name="connsiteX1656" fmla="*/ 3179425 w 3751729"/>
              <a:gd name="connsiteY1656" fmla="*/ 216473 h 1237129"/>
              <a:gd name="connsiteX1657" fmla="*/ 3156287 w 3751729"/>
              <a:gd name="connsiteY1657" fmla="*/ 224103 h 1237129"/>
              <a:gd name="connsiteX1658" fmla="*/ 3150625 w 3751729"/>
              <a:gd name="connsiteY1658" fmla="*/ 230011 h 1237129"/>
              <a:gd name="connsiteX1659" fmla="*/ 3146441 w 3751729"/>
              <a:gd name="connsiteY1659" fmla="*/ 236657 h 1237129"/>
              <a:gd name="connsiteX1660" fmla="*/ 3142256 w 3751729"/>
              <a:gd name="connsiteY1660" fmla="*/ 242564 h 1237129"/>
              <a:gd name="connsiteX1661" fmla="*/ 3132409 w 3751729"/>
              <a:gd name="connsiteY1661" fmla="*/ 250195 h 1237129"/>
              <a:gd name="connsiteX1662" fmla="*/ 3132409 w 3751729"/>
              <a:gd name="connsiteY1662" fmla="*/ 258564 h 1237129"/>
              <a:gd name="connsiteX1663" fmla="*/ 3144717 w 3751729"/>
              <a:gd name="connsiteY1663" fmla="*/ 258564 h 1237129"/>
              <a:gd name="connsiteX1664" fmla="*/ 3146441 w 3751729"/>
              <a:gd name="connsiteY1664" fmla="*/ 263487 h 1237129"/>
              <a:gd name="connsiteX1665" fmla="*/ 3148164 w 3751729"/>
              <a:gd name="connsiteY1665" fmla="*/ 265949 h 1237129"/>
              <a:gd name="connsiteX1666" fmla="*/ 3148902 w 3751729"/>
              <a:gd name="connsiteY1666" fmla="*/ 269395 h 1237129"/>
              <a:gd name="connsiteX1667" fmla="*/ 3152102 w 3751729"/>
              <a:gd name="connsiteY1667" fmla="*/ 271857 h 1237129"/>
              <a:gd name="connsiteX1668" fmla="*/ 3154563 w 3751729"/>
              <a:gd name="connsiteY1668" fmla="*/ 273580 h 1237129"/>
              <a:gd name="connsiteX1669" fmla="*/ 3160225 w 3751729"/>
              <a:gd name="connsiteY1669" fmla="*/ 275303 h 1237129"/>
              <a:gd name="connsiteX1670" fmla="*/ 3163425 w 3751729"/>
              <a:gd name="connsiteY1670" fmla="*/ 271857 h 1237129"/>
              <a:gd name="connsiteX1671" fmla="*/ 3165887 w 3751729"/>
              <a:gd name="connsiteY1671" fmla="*/ 270133 h 1237129"/>
              <a:gd name="connsiteX1672" fmla="*/ 3170809 w 3751729"/>
              <a:gd name="connsiteY1672" fmla="*/ 269395 h 1237129"/>
              <a:gd name="connsiteX1673" fmla="*/ 3174994 w 3751729"/>
              <a:gd name="connsiteY1673" fmla="*/ 269395 h 1237129"/>
              <a:gd name="connsiteX1674" fmla="*/ 3182379 w 3751729"/>
              <a:gd name="connsiteY1674" fmla="*/ 269395 h 1237129"/>
              <a:gd name="connsiteX1675" fmla="*/ 3188041 w 3751729"/>
              <a:gd name="connsiteY1675" fmla="*/ 276041 h 1237129"/>
              <a:gd name="connsiteX1676" fmla="*/ 3192225 w 3751729"/>
              <a:gd name="connsiteY1676" fmla="*/ 281949 h 1237129"/>
              <a:gd name="connsiteX1677" fmla="*/ 3194687 w 3751729"/>
              <a:gd name="connsiteY1677" fmla="*/ 289580 h 1237129"/>
              <a:gd name="connsiteX1678" fmla="*/ 3197887 w 3751729"/>
              <a:gd name="connsiteY1678" fmla="*/ 301394 h 1237129"/>
              <a:gd name="connsiteX1679" fmla="*/ 3199609 w 3751729"/>
              <a:gd name="connsiteY1679" fmla="*/ 309026 h 1237129"/>
              <a:gd name="connsiteX1680" fmla="*/ 3197887 w 3751729"/>
              <a:gd name="connsiteY1680" fmla="*/ 313210 h 1237129"/>
              <a:gd name="connsiteX1681" fmla="*/ 3193702 w 3751729"/>
              <a:gd name="connsiteY1681" fmla="*/ 317395 h 1237129"/>
              <a:gd name="connsiteX1682" fmla="*/ 3191978 w 3751729"/>
              <a:gd name="connsiteY1682" fmla="*/ 325026 h 1237129"/>
              <a:gd name="connsiteX1683" fmla="*/ 3191978 w 3751729"/>
              <a:gd name="connsiteY1683" fmla="*/ 333395 h 1237129"/>
              <a:gd name="connsiteX1684" fmla="*/ 3194441 w 3751729"/>
              <a:gd name="connsiteY1684" fmla="*/ 341025 h 1237129"/>
              <a:gd name="connsiteX1685" fmla="*/ 3197640 w 3751729"/>
              <a:gd name="connsiteY1685" fmla="*/ 348656 h 1237129"/>
              <a:gd name="connsiteX1686" fmla="*/ 3200102 w 3751729"/>
              <a:gd name="connsiteY1686" fmla="*/ 358748 h 1237129"/>
              <a:gd name="connsiteX1687" fmla="*/ 3191733 w 3751729"/>
              <a:gd name="connsiteY1687" fmla="*/ 367856 h 1237129"/>
              <a:gd name="connsiteX1688" fmla="*/ 3186072 w 3751729"/>
              <a:gd name="connsiteY1688" fmla="*/ 377949 h 1237129"/>
              <a:gd name="connsiteX1689" fmla="*/ 3181886 w 3751729"/>
              <a:gd name="connsiteY1689" fmla="*/ 388041 h 1237129"/>
              <a:gd name="connsiteX1690" fmla="*/ 3176226 w 3751729"/>
              <a:gd name="connsiteY1690" fmla="*/ 401579 h 1237129"/>
              <a:gd name="connsiteX1691" fmla="*/ 3173025 w 3751729"/>
              <a:gd name="connsiteY1691" fmla="*/ 404041 h 1237129"/>
              <a:gd name="connsiteX1692" fmla="*/ 3165640 w 3751729"/>
              <a:gd name="connsiteY1692" fmla="*/ 413148 h 1237129"/>
              <a:gd name="connsiteX1693" fmla="*/ 3157271 w 3751729"/>
              <a:gd name="connsiteY1693" fmla="*/ 423241 h 1237129"/>
              <a:gd name="connsiteX1694" fmla="*/ 3148164 w 3751729"/>
              <a:gd name="connsiteY1694" fmla="*/ 435056 h 1237129"/>
              <a:gd name="connsiteX1695" fmla="*/ 3138318 w 3751729"/>
              <a:gd name="connsiteY1695" fmla="*/ 445148 h 1237129"/>
              <a:gd name="connsiteX1696" fmla="*/ 3129949 w 3751729"/>
              <a:gd name="connsiteY1696" fmla="*/ 455241 h 1237129"/>
              <a:gd name="connsiteX1697" fmla="*/ 3124288 w 3751729"/>
              <a:gd name="connsiteY1697" fmla="*/ 462871 h 1237129"/>
              <a:gd name="connsiteX1698" fmla="*/ 3121088 w 3751729"/>
              <a:gd name="connsiteY1698" fmla="*/ 466318 h 1237129"/>
              <a:gd name="connsiteX1699" fmla="*/ 3111241 w 3751729"/>
              <a:gd name="connsiteY1699" fmla="*/ 468778 h 1237129"/>
              <a:gd name="connsiteX1700" fmla="*/ 3101395 w 3751729"/>
              <a:gd name="connsiteY1700" fmla="*/ 467056 h 1237129"/>
              <a:gd name="connsiteX1701" fmla="*/ 3092288 w 3751729"/>
              <a:gd name="connsiteY1701" fmla="*/ 467056 h 1237129"/>
              <a:gd name="connsiteX1702" fmla="*/ 3083918 w 3751729"/>
              <a:gd name="connsiteY1702" fmla="*/ 468778 h 1237129"/>
              <a:gd name="connsiteX1703" fmla="*/ 3076533 w 3751729"/>
              <a:gd name="connsiteY1703" fmla="*/ 476409 h 1237129"/>
              <a:gd name="connsiteX1704" fmla="*/ 3070872 w 3751729"/>
              <a:gd name="connsiteY1704" fmla="*/ 484779 h 1237129"/>
              <a:gd name="connsiteX1705" fmla="*/ 3066687 w 3751729"/>
              <a:gd name="connsiteY1705" fmla="*/ 493887 h 1237129"/>
              <a:gd name="connsiteX1706" fmla="*/ 3061026 w 3751729"/>
              <a:gd name="connsiteY1706" fmla="*/ 502256 h 1237129"/>
              <a:gd name="connsiteX1707" fmla="*/ 3052657 w 3751729"/>
              <a:gd name="connsiteY1707" fmla="*/ 508164 h 1237129"/>
              <a:gd name="connsiteX1708" fmla="*/ 3050934 w 3751729"/>
              <a:gd name="connsiteY1708" fmla="*/ 508164 h 1237129"/>
              <a:gd name="connsiteX1709" fmla="*/ 3049211 w 3751729"/>
              <a:gd name="connsiteY1709" fmla="*/ 509887 h 1237129"/>
              <a:gd name="connsiteX1710" fmla="*/ 3047487 w 3751729"/>
              <a:gd name="connsiteY1710" fmla="*/ 509887 h 1237129"/>
              <a:gd name="connsiteX1711" fmla="*/ 3045026 w 3751729"/>
              <a:gd name="connsiteY1711" fmla="*/ 509887 h 1237129"/>
              <a:gd name="connsiteX1712" fmla="*/ 3041826 w 3751729"/>
              <a:gd name="connsiteY1712" fmla="*/ 511610 h 1237129"/>
              <a:gd name="connsiteX1713" fmla="*/ 3045026 w 3751729"/>
              <a:gd name="connsiteY1713" fmla="*/ 519979 h 1237129"/>
              <a:gd name="connsiteX1714" fmla="*/ 3050688 w 3751729"/>
              <a:gd name="connsiteY1714" fmla="*/ 529086 h 1237129"/>
              <a:gd name="connsiteX1715" fmla="*/ 3054872 w 3751729"/>
              <a:gd name="connsiteY1715" fmla="*/ 539179 h 1237129"/>
              <a:gd name="connsiteX1716" fmla="*/ 3060534 w 3751729"/>
              <a:gd name="connsiteY1716" fmla="*/ 549271 h 1237129"/>
              <a:gd name="connsiteX1717" fmla="*/ 3062995 w 3751729"/>
              <a:gd name="connsiteY1717" fmla="*/ 558378 h 1237129"/>
              <a:gd name="connsiteX1718" fmla="*/ 3064719 w 3751729"/>
              <a:gd name="connsiteY1718" fmla="*/ 568471 h 1237129"/>
              <a:gd name="connsiteX1719" fmla="*/ 3062256 w 3751729"/>
              <a:gd name="connsiteY1719" fmla="*/ 575117 h 1237129"/>
              <a:gd name="connsiteX1720" fmla="*/ 3056595 w 3751729"/>
              <a:gd name="connsiteY1720" fmla="*/ 581022 h 1237129"/>
              <a:gd name="connsiteX1721" fmla="*/ 3045026 w 3751729"/>
              <a:gd name="connsiteY1721" fmla="*/ 585945 h 1237129"/>
              <a:gd name="connsiteX1722" fmla="*/ 3026073 w 3751729"/>
              <a:gd name="connsiteY1722" fmla="*/ 588407 h 1237129"/>
              <a:gd name="connsiteX1723" fmla="*/ 3026073 w 3751729"/>
              <a:gd name="connsiteY1723" fmla="*/ 580776 h 1237129"/>
              <a:gd name="connsiteX1724" fmla="*/ 3024348 w 3751729"/>
              <a:gd name="connsiteY1724" fmla="*/ 574133 h 1237129"/>
              <a:gd name="connsiteX1725" fmla="*/ 3024348 w 3751729"/>
              <a:gd name="connsiteY1725" fmla="*/ 564040 h 1237129"/>
              <a:gd name="connsiteX1726" fmla="*/ 3026073 w 3751729"/>
              <a:gd name="connsiteY1726" fmla="*/ 552225 h 1237129"/>
              <a:gd name="connsiteX1727" fmla="*/ 3026073 w 3751729"/>
              <a:gd name="connsiteY1727" fmla="*/ 543117 h 1237129"/>
              <a:gd name="connsiteX1728" fmla="*/ 3021888 w 3751729"/>
              <a:gd name="connsiteY1728" fmla="*/ 543117 h 1237129"/>
              <a:gd name="connsiteX1729" fmla="*/ 3018688 w 3751729"/>
              <a:gd name="connsiteY1729" fmla="*/ 543117 h 1237129"/>
              <a:gd name="connsiteX1730" fmla="*/ 3016226 w 3751729"/>
              <a:gd name="connsiteY1730" fmla="*/ 543117 h 1237129"/>
              <a:gd name="connsiteX1731" fmla="*/ 3014503 w 3751729"/>
              <a:gd name="connsiteY1731" fmla="*/ 543117 h 1237129"/>
              <a:gd name="connsiteX1732" fmla="*/ 3012780 w 3751729"/>
              <a:gd name="connsiteY1732" fmla="*/ 541394 h 1237129"/>
              <a:gd name="connsiteX1733" fmla="*/ 3010318 w 3751729"/>
              <a:gd name="connsiteY1733" fmla="*/ 540655 h 1237129"/>
              <a:gd name="connsiteX1734" fmla="*/ 3007118 w 3751729"/>
              <a:gd name="connsiteY1734" fmla="*/ 535733 h 1237129"/>
              <a:gd name="connsiteX1735" fmla="*/ 3010318 w 3751729"/>
              <a:gd name="connsiteY1735" fmla="*/ 531548 h 1237129"/>
              <a:gd name="connsiteX1736" fmla="*/ 3012780 w 3751729"/>
              <a:gd name="connsiteY1736" fmla="*/ 527363 h 1237129"/>
              <a:gd name="connsiteX1737" fmla="*/ 3014503 w 3751729"/>
              <a:gd name="connsiteY1737" fmla="*/ 523179 h 1237129"/>
              <a:gd name="connsiteX1738" fmla="*/ 3017703 w 3751729"/>
              <a:gd name="connsiteY1738" fmla="*/ 517271 h 1237129"/>
              <a:gd name="connsiteX1739" fmla="*/ 3010318 w 3751729"/>
              <a:gd name="connsiteY1739" fmla="*/ 517271 h 1237129"/>
              <a:gd name="connsiteX1740" fmla="*/ 3001211 w 3751729"/>
              <a:gd name="connsiteY1740" fmla="*/ 515548 h 1237129"/>
              <a:gd name="connsiteX1741" fmla="*/ 2991365 w 3751729"/>
              <a:gd name="connsiteY1741" fmla="*/ 518010 h 1237129"/>
              <a:gd name="connsiteX1742" fmla="*/ 2979796 w 3751729"/>
              <a:gd name="connsiteY1742" fmla="*/ 522932 h 1237129"/>
              <a:gd name="connsiteX1743" fmla="*/ 2969950 w 3751729"/>
              <a:gd name="connsiteY1743" fmla="*/ 527117 h 1237129"/>
              <a:gd name="connsiteX1744" fmla="*/ 2969950 w 3751729"/>
              <a:gd name="connsiteY1744" fmla="*/ 523672 h 1237129"/>
              <a:gd name="connsiteX1745" fmla="*/ 2971672 w 3751729"/>
              <a:gd name="connsiteY1745" fmla="*/ 519486 h 1237129"/>
              <a:gd name="connsiteX1746" fmla="*/ 2973396 w 3751729"/>
              <a:gd name="connsiteY1746" fmla="*/ 517025 h 1237129"/>
              <a:gd name="connsiteX1747" fmla="*/ 2974134 w 3751729"/>
              <a:gd name="connsiteY1747" fmla="*/ 512102 h 1237129"/>
              <a:gd name="connsiteX1748" fmla="*/ 2975857 w 3751729"/>
              <a:gd name="connsiteY1748" fmla="*/ 509640 h 1237129"/>
              <a:gd name="connsiteX1749" fmla="*/ 2978318 w 3751729"/>
              <a:gd name="connsiteY1749" fmla="*/ 503733 h 1237129"/>
              <a:gd name="connsiteX1750" fmla="*/ 2975857 w 3751729"/>
              <a:gd name="connsiteY1750" fmla="*/ 503733 h 1237129"/>
              <a:gd name="connsiteX1751" fmla="*/ 2973396 w 3751729"/>
              <a:gd name="connsiteY1751" fmla="*/ 502009 h 1237129"/>
              <a:gd name="connsiteX1752" fmla="*/ 2970196 w 3751729"/>
              <a:gd name="connsiteY1752" fmla="*/ 502009 h 1237129"/>
              <a:gd name="connsiteX1753" fmla="*/ 2966011 w 3751729"/>
              <a:gd name="connsiteY1753" fmla="*/ 500287 h 1237129"/>
              <a:gd name="connsiteX1754" fmla="*/ 2956904 w 3751729"/>
              <a:gd name="connsiteY1754" fmla="*/ 509395 h 1237129"/>
              <a:gd name="connsiteX1755" fmla="*/ 2947058 w 3751729"/>
              <a:gd name="connsiteY1755" fmla="*/ 517025 h 1237129"/>
              <a:gd name="connsiteX1756" fmla="*/ 2937212 w 3751729"/>
              <a:gd name="connsiteY1756" fmla="*/ 525394 h 1237129"/>
              <a:gd name="connsiteX1757" fmla="*/ 2931550 w 3751729"/>
              <a:gd name="connsiteY1757" fmla="*/ 535487 h 1237129"/>
              <a:gd name="connsiteX1758" fmla="*/ 2937212 w 3751729"/>
              <a:gd name="connsiteY1758" fmla="*/ 538932 h 1237129"/>
              <a:gd name="connsiteX1759" fmla="*/ 2941396 w 3751729"/>
              <a:gd name="connsiteY1759" fmla="*/ 541394 h 1237129"/>
              <a:gd name="connsiteX1760" fmla="*/ 2944596 w 3751729"/>
              <a:gd name="connsiteY1760" fmla="*/ 544840 h 1237129"/>
              <a:gd name="connsiteX1761" fmla="*/ 2947058 w 3751729"/>
              <a:gd name="connsiteY1761" fmla="*/ 547301 h 1237129"/>
              <a:gd name="connsiteX1762" fmla="*/ 2950257 w 3751729"/>
              <a:gd name="connsiteY1762" fmla="*/ 552225 h 1237129"/>
              <a:gd name="connsiteX1763" fmla="*/ 2958626 w 3751729"/>
              <a:gd name="connsiteY1763" fmla="*/ 547301 h 1237129"/>
              <a:gd name="connsiteX1764" fmla="*/ 2966011 w 3751729"/>
              <a:gd name="connsiteY1764" fmla="*/ 544840 h 1237129"/>
              <a:gd name="connsiteX1765" fmla="*/ 2973396 w 3751729"/>
              <a:gd name="connsiteY1765" fmla="*/ 544840 h 1237129"/>
              <a:gd name="connsiteX1766" fmla="*/ 2981764 w 3751729"/>
              <a:gd name="connsiteY1766" fmla="*/ 549025 h 1237129"/>
              <a:gd name="connsiteX1767" fmla="*/ 2985949 w 3751729"/>
              <a:gd name="connsiteY1767" fmla="*/ 549025 h 1237129"/>
              <a:gd name="connsiteX1768" fmla="*/ 2985949 w 3751729"/>
              <a:gd name="connsiteY1768" fmla="*/ 559117 h 1237129"/>
              <a:gd name="connsiteX1769" fmla="*/ 2970196 w 3751729"/>
              <a:gd name="connsiteY1769" fmla="*/ 559117 h 1237129"/>
              <a:gd name="connsiteX1770" fmla="*/ 2964534 w 3751729"/>
              <a:gd name="connsiteY1770" fmla="*/ 566748 h 1237129"/>
              <a:gd name="connsiteX1771" fmla="*/ 2958873 w 3751729"/>
              <a:gd name="connsiteY1771" fmla="*/ 572655 h 1237129"/>
              <a:gd name="connsiteX1772" fmla="*/ 2954688 w 3751729"/>
              <a:gd name="connsiteY1772" fmla="*/ 578561 h 1237129"/>
              <a:gd name="connsiteX1773" fmla="*/ 2950503 w 3751729"/>
              <a:gd name="connsiteY1773" fmla="*/ 588653 h 1237129"/>
              <a:gd name="connsiteX1774" fmla="*/ 2962073 w 3751729"/>
              <a:gd name="connsiteY1774" fmla="*/ 596284 h 1237129"/>
              <a:gd name="connsiteX1775" fmla="*/ 2968719 w 3751729"/>
              <a:gd name="connsiteY1775" fmla="*/ 608099 h 1237129"/>
              <a:gd name="connsiteX1776" fmla="*/ 2974380 w 3751729"/>
              <a:gd name="connsiteY1776" fmla="*/ 624099 h 1237129"/>
              <a:gd name="connsiteX1777" fmla="*/ 2977581 w 3751729"/>
              <a:gd name="connsiteY1777" fmla="*/ 640099 h 1237129"/>
              <a:gd name="connsiteX1778" fmla="*/ 2978318 w 3751729"/>
              <a:gd name="connsiteY1778" fmla="*/ 657822 h 1237129"/>
              <a:gd name="connsiteX1779" fmla="*/ 2978318 w 3751729"/>
              <a:gd name="connsiteY1779" fmla="*/ 673330 h 1237129"/>
              <a:gd name="connsiteX1780" fmla="*/ 2968472 w 3751729"/>
              <a:gd name="connsiteY1780" fmla="*/ 679976 h 1237129"/>
              <a:gd name="connsiteX1781" fmla="*/ 2962811 w 3751729"/>
              <a:gd name="connsiteY1781" fmla="*/ 691791 h 1237129"/>
              <a:gd name="connsiteX1782" fmla="*/ 2957149 w 3751729"/>
              <a:gd name="connsiteY1782" fmla="*/ 702622 h 1237129"/>
              <a:gd name="connsiteX1783" fmla="*/ 2950503 w 3751729"/>
              <a:gd name="connsiteY1783" fmla="*/ 714437 h 1237129"/>
              <a:gd name="connsiteX1784" fmla="*/ 2935734 w 3751729"/>
              <a:gd name="connsiteY1784" fmla="*/ 730437 h 1237129"/>
              <a:gd name="connsiteX1785" fmla="*/ 2916781 w 3751729"/>
              <a:gd name="connsiteY1785" fmla="*/ 742251 h 1237129"/>
              <a:gd name="connsiteX1786" fmla="*/ 2896842 w 3751729"/>
              <a:gd name="connsiteY1786" fmla="*/ 750622 h 1237129"/>
              <a:gd name="connsiteX1787" fmla="*/ 2873704 w 3751729"/>
              <a:gd name="connsiteY1787" fmla="*/ 758252 h 1237129"/>
              <a:gd name="connsiteX1788" fmla="*/ 2852289 w 3751729"/>
              <a:gd name="connsiteY1788" fmla="*/ 762437 h 1237129"/>
              <a:gd name="connsiteX1789" fmla="*/ 2852289 w 3751729"/>
              <a:gd name="connsiteY1789" fmla="*/ 768345 h 1237129"/>
              <a:gd name="connsiteX1790" fmla="*/ 2852289 w 3751729"/>
              <a:gd name="connsiteY1790" fmla="*/ 771791 h 1237129"/>
              <a:gd name="connsiteX1791" fmla="*/ 2852289 w 3751729"/>
              <a:gd name="connsiteY1791" fmla="*/ 774251 h 1237129"/>
              <a:gd name="connsiteX1792" fmla="*/ 2852289 w 3751729"/>
              <a:gd name="connsiteY1792" fmla="*/ 775976 h 1237129"/>
              <a:gd name="connsiteX1793" fmla="*/ 2854012 w 3751729"/>
              <a:gd name="connsiteY1793" fmla="*/ 777698 h 1237129"/>
              <a:gd name="connsiteX1794" fmla="*/ 2854012 w 3751729"/>
              <a:gd name="connsiteY1794" fmla="*/ 781882 h 1237129"/>
              <a:gd name="connsiteX1795" fmla="*/ 2854750 w 3751729"/>
              <a:gd name="connsiteY1795" fmla="*/ 786068 h 1237129"/>
              <a:gd name="connsiteX1796" fmla="*/ 2852289 w 3751729"/>
              <a:gd name="connsiteY1796" fmla="*/ 789513 h 1237129"/>
              <a:gd name="connsiteX1797" fmla="*/ 2849089 w 3751729"/>
              <a:gd name="connsiteY1797" fmla="*/ 791974 h 1237129"/>
              <a:gd name="connsiteX1798" fmla="*/ 2848350 w 3751729"/>
              <a:gd name="connsiteY1798" fmla="*/ 793699 h 1237129"/>
              <a:gd name="connsiteX1799" fmla="*/ 2845150 w 3751729"/>
              <a:gd name="connsiteY1799" fmla="*/ 796159 h 1237129"/>
              <a:gd name="connsiteX1800" fmla="*/ 2839489 w 3751729"/>
              <a:gd name="connsiteY1800" fmla="*/ 799605 h 1237129"/>
              <a:gd name="connsiteX1801" fmla="*/ 2837766 w 3751729"/>
              <a:gd name="connsiteY1801" fmla="*/ 799605 h 1237129"/>
              <a:gd name="connsiteX1802" fmla="*/ 2837027 w 3751729"/>
              <a:gd name="connsiteY1802" fmla="*/ 801329 h 1237129"/>
              <a:gd name="connsiteX1803" fmla="*/ 2835304 w 3751729"/>
              <a:gd name="connsiteY1803" fmla="*/ 801329 h 1237129"/>
              <a:gd name="connsiteX1804" fmla="*/ 2833582 w 3751729"/>
              <a:gd name="connsiteY1804" fmla="*/ 801329 h 1237129"/>
              <a:gd name="connsiteX1805" fmla="*/ 2831119 w 3751729"/>
              <a:gd name="connsiteY1805" fmla="*/ 802067 h 1237129"/>
              <a:gd name="connsiteX1806" fmla="*/ 2829396 w 3751729"/>
              <a:gd name="connsiteY1806" fmla="*/ 797883 h 1237129"/>
              <a:gd name="connsiteX1807" fmla="*/ 2827673 w 3751729"/>
              <a:gd name="connsiteY1807" fmla="*/ 793699 h 1237129"/>
              <a:gd name="connsiteX1808" fmla="*/ 2827673 w 3751729"/>
              <a:gd name="connsiteY1808" fmla="*/ 789513 h 1237129"/>
              <a:gd name="connsiteX1809" fmla="*/ 2827673 w 3751729"/>
              <a:gd name="connsiteY1809" fmla="*/ 781882 h 1237129"/>
              <a:gd name="connsiteX1810" fmla="*/ 2830873 w 3751729"/>
              <a:gd name="connsiteY1810" fmla="*/ 780160 h 1237129"/>
              <a:gd name="connsiteX1811" fmla="*/ 2833336 w 3751729"/>
              <a:gd name="connsiteY1811" fmla="*/ 780160 h 1237129"/>
              <a:gd name="connsiteX1812" fmla="*/ 2836535 w 3751729"/>
              <a:gd name="connsiteY1812" fmla="*/ 778437 h 1237129"/>
              <a:gd name="connsiteX1813" fmla="*/ 2837274 w 3751729"/>
              <a:gd name="connsiteY1813" fmla="*/ 775976 h 1237129"/>
              <a:gd name="connsiteX1814" fmla="*/ 2838997 w 3751729"/>
              <a:gd name="connsiteY1814" fmla="*/ 772529 h 1237129"/>
              <a:gd name="connsiteX1815" fmla="*/ 2837274 w 3751729"/>
              <a:gd name="connsiteY1815" fmla="*/ 770067 h 1237129"/>
              <a:gd name="connsiteX1816" fmla="*/ 2834812 w 3751729"/>
              <a:gd name="connsiteY1816" fmla="*/ 765883 h 1237129"/>
              <a:gd name="connsiteX1817" fmla="*/ 2833089 w 3751729"/>
              <a:gd name="connsiteY1817" fmla="*/ 762437 h 1237129"/>
              <a:gd name="connsiteX1818" fmla="*/ 2830627 w 3751729"/>
              <a:gd name="connsiteY1818" fmla="*/ 760714 h 1237129"/>
              <a:gd name="connsiteX1819" fmla="*/ 2828905 w 3751729"/>
              <a:gd name="connsiteY1819" fmla="*/ 760714 h 1237129"/>
              <a:gd name="connsiteX1820" fmla="*/ 2824720 w 3751729"/>
              <a:gd name="connsiteY1820" fmla="*/ 759975 h 1237129"/>
              <a:gd name="connsiteX1821" fmla="*/ 2819797 w 3751729"/>
              <a:gd name="connsiteY1821" fmla="*/ 759975 h 1237129"/>
              <a:gd name="connsiteX1822" fmla="*/ 2814874 w 3751729"/>
              <a:gd name="connsiteY1822" fmla="*/ 766621 h 1237129"/>
              <a:gd name="connsiteX1823" fmla="*/ 2809213 w 3751729"/>
              <a:gd name="connsiteY1823" fmla="*/ 771545 h 1237129"/>
              <a:gd name="connsiteX1824" fmla="*/ 2804289 w 3751729"/>
              <a:gd name="connsiteY1824" fmla="*/ 775729 h 1237129"/>
              <a:gd name="connsiteX1825" fmla="*/ 2800104 w 3751729"/>
              <a:gd name="connsiteY1825" fmla="*/ 783360 h 1237129"/>
              <a:gd name="connsiteX1826" fmla="*/ 2798382 w 3751729"/>
              <a:gd name="connsiteY1826" fmla="*/ 795174 h 1237129"/>
              <a:gd name="connsiteX1827" fmla="*/ 2811674 w 3751729"/>
              <a:gd name="connsiteY1827" fmla="*/ 807729 h 1237129"/>
              <a:gd name="connsiteX1828" fmla="*/ 2821520 w 3751729"/>
              <a:gd name="connsiteY1828" fmla="*/ 821268 h 1237129"/>
              <a:gd name="connsiteX1829" fmla="*/ 2830627 w 3751729"/>
              <a:gd name="connsiteY1829" fmla="*/ 835544 h 1237129"/>
              <a:gd name="connsiteX1830" fmla="*/ 2834812 w 3751729"/>
              <a:gd name="connsiteY1830" fmla="*/ 854743 h 1237129"/>
              <a:gd name="connsiteX1831" fmla="*/ 2836535 w 3751729"/>
              <a:gd name="connsiteY1831" fmla="*/ 878129 h 1237129"/>
              <a:gd name="connsiteX1832" fmla="*/ 2788535 w 3751729"/>
              <a:gd name="connsiteY1832" fmla="*/ 917512 h 1237129"/>
              <a:gd name="connsiteX1833" fmla="*/ 2782874 w 3751729"/>
              <a:gd name="connsiteY1833" fmla="*/ 917512 h 1237129"/>
              <a:gd name="connsiteX1834" fmla="*/ 2778689 w 3751729"/>
              <a:gd name="connsiteY1834" fmla="*/ 901513 h 1237129"/>
              <a:gd name="connsiteX1835" fmla="*/ 2769582 w 3751729"/>
              <a:gd name="connsiteY1835" fmla="*/ 889697 h 1237129"/>
              <a:gd name="connsiteX1836" fmla="*/ 2758012 w 3751729"/>
              <a:gd name="connsiteY1836" fmla="*/ 879605 h 1237129"/>
              <a:gd name="connsiteX1837" fmla="*/ 2745705 w 3751729"/>
              <a:gd name="connsiteY1837" fmla="*/ 869513 h 1237129"/>
              <a:gd name="connsiteX1838" fmla="*/ 2732412 w 3751729"/>
              <a:gd name="connsiteY1838" fmla="*/ 858682 h 1237129"/>
              <a:gd name="connsiteX1839" fmla="*/ 2726752 w 3751729"/>
              <a:gd name="connsiteY1839" fmla="*/ 882067 h 1237129"/>
              <a:gd name="connsiteX1840" fmla="*/ 2719366 w 3751729"/>
              <a:gd name="connsiteY1840" fmla="*/ 901266 h 1237129"/>
              <a:gd name="connsiteX1841" fmla="*/ 2726752 w 3751729"/>
              <a:gd name="connsiteY1841" fmla="*/ 905451 h 1237129"/>
              <a:gd name="connsiteX1842" fmla="*/ 2729951 w 3751729"/>
              <a:gd name="connsiteY1842" fmla="*/ 911359 h 1237129"/>
              <a:gd name="connsiteX1843" fmla="*/ 2730690 w 3751729"/>
              <a:gd name="connsiteY1843" fmla="*/ 918989 h 1237129"/>
              <a:gd name="connsiteX1844" fmla="*/ 2735613 w 3751729"/>
              <a:gd name="connsiteY1844" fmla="*/ 927359 h 1237129"/>
              <a:gd name="connsiteX1845" fmla="*/ 2736351 w 3751729"/>
              <a:gd name="connsiteY1845" fmla="*/ 929082 h 1237129"/>
              <a:gd name="connsiteX1846" fmla="*/ 2739551 w 3751729"/>
              <a:gd name="connsiteY1846" fmla="*/ 929082 h 1237129"/>
              <a:gd name="connsiteX1847" fmla="*/ 2742013 w 3751729"/>
              <a:gd name="connsiteY1847" fmla="*/ 929082 h 1237129"/>
              <a:gd name="connsiteX1848" fmla="*/ 2745213 w 3751729"/>
              <a:gd name="connsiteY1848" fmla="*/ 929082 h 1237129"/>
              <a:gd name="connsiteX1849" fmla="*/ 2747675 w 3751729"/>
              <a:gd name="connsiteY1849" fmla="*/ 930805 h 1237129"/>
              <a:gd name="connsiteX1850" fmla="*/ 2759243 w 3751729"/>
              <a:gd name="connsiteY1850" fmla="*/ 942619 h 1237129"/>
              <a:gd name="connsiteX1851" fmla="*/ 2768351 w 3751729"/>
              <a:gd name="connsiteY1851" fmla="*/ 960342 h 1237129"/>
              <a:gd name="connsiteX1852" fmla="*/ 2774013 w 3751729"/>
              <a:gd name="connsiteY1852" fmla="*/ 980527 h 1237129"/>
              <a:gd name="connsiteX1853" fmla="*/ 2774751 w 3751729"/>
              <a:gd name="connsiteY1853" fmla="*/ 1001451 h 1237129"/>
              <a:gd name="connsiteX1854" fmla="*/ 2766382 w 3751729"/>
              <a:gd name="connsiteY1854" fmla="*/ 1001451 h 1237129"/>
              <a:gd name="connsiteX1855" fmla="*/ 2757274 w 3751729"/>
              <a:gd name="connsiteY1855" fmla="*/ 993820 h 1237129"/>
              <a:gd name="connsiteX1856" fmla="*/ 2748905 w 3751729"/>
              <a:gd name="connsiteY1856" fmla="*/ 989635 h 1237129"/>
              <a:gd name="connsiteX1857" fmla="*/ 2747182 w 3751729"/>
              <a:gd name="connsiteY1857" fmla="*/ 987911 h 1237129"/>
              <a:gd name="connsiteX1858" fmla="*/ 2739797 w 3751729"/>
              <a:gd name="connsiteY1858" fmla="*/ 982005 h 1237129"/>
              <a:gd name="connsiteX1859" fmla="*/ 2734874 w 3751729"/>
              <a:gd name="connsiteY1859" fmla="*/ 970188 h 1237129"/>
              <a:gd name="connsiteX1860" fmla="*/ 2731675 w 3751729"/>
              <a:gd name="connsiteY1860" fmla="*/ 956651 h 1237129"/>
              <a:gd name="connsiteX1861" fmla="*/ 2727490 w 3751729"/>
              <a:gd name="connsiteY1861" fmla="*/ 944835 h 1237129"/>
              <a:gd name="connsiteX1862" fmla="*/ 2723305 w 3751729"/>
              <a:gd name="connsiteY1862" fmla="*/ 933020 h 1237129"/>
              <a:gd name="connsiteX1863" fmla="*/ 2715920 w 3751729"/>
              <a:gd name="connsiteY1863" fmla="*/ 922928 h 1237129"/>
              <a:gd name="connsiteX1864" fmla="*/ 2715920 w 3751729"/>
              <a:gd name="connsiteY1864" fmla="*/ 920467 h 1237129"/>
              <a:gd name="connsiteX1865" fmla="*/ 2708536 w 3751729"/>
              <a:gd name="connsiteY1865" fmla="*/ 922928 h 1237129"/>
              <a:gd name="connsiteX1866" fmla="*/ 2708536 w 3751729"/>
              <a:gd name="connsiteY1866" fmla="*/ 920467 h 1237129"/>
              <a:gd name="connsiteX1867" fmla="*/ 2706074 w 3751729"/>
              <a:gd name="connsiteY1867" fmla="*/ 908651 h 1237129"/>
              <a:gd name="connsiteX1868" fmla="*/ 2706074 w 3751729"/>
              <a:gd name="connsiteY1868" fmla="*/ 893636 h 1237129"/>
              <a:gd name="connsiteX1869" fmla="*/ 2706074 w 3751729"/>
              <a:gd name="connsiteY1869" fmla="*/ 877636 h 1237129"/>
              <a:gd name="connsiteX1870" fmla="*/ 2706074 w 3751729"/>
              <a:gd name="connsiteY1870" fmla="*/ 859913 h 1237129"/>
              <a:gd name="connsiteX1871" fmla="*/ 2704351 w 3751729"/>
              <a:gd name="connsiteY1871" fmla="*/ 843913 h 1237129"/>
              <a:gd name="connsiteX1872" fmla="*/ 2698690 w 3751729"/>
              <a:gd name="connsiteY1872" fmla="*/ 830374 h 1237129"/>
              <a:gd name="connsiteX1873" fmla="*/ 2689582 w 3751729"/>
              <a:gd name="connsiteY1873" fmla="*/ 820283 h 1237129"/>
              <a:gd name="connsiteX1874" fmla="*/ 2687121 w 3751729"/>
              <a:gd name="connsiteY1874" fmla="*/ 822744 h 1237129"/>
              <a:gd name="connsiteX1875" fmla="*/ 2682936 w 3751729"/>
              <a:gd name="connsiteY1875" fmla="*/ 826190 h 1237129"/>
              <a:gd name="connsiteX1876" fmla="*/ 2679736 w 3751729"/>
              <a:gd name="connsiteY1876" fmla="*/ 827913 h 1237129"/>
              <a:gd name="connsiteX1877" fmla="*/ 2674074 w 3751729"/>
              <a:gd name="connsiteY1877" fmla="*/ 828652 h 1237129"/>
              <a:gd name="connsiteX1878" fmla="*/ 2668414 w 3751729"/>
              <a:gd name="connsiteY1878" fmla="*/ 828652 h 1237129"/>
              <a:gd name="connsiteX1879" fmla="*/ 2666690 w 3751729"/>
              <a:gd name="connsiteY1879" fmla="*/ 828652 h 1237129"/>
              <a:gd name="connsiteX1880" fmla="*/ 2666690 w 3751729"/>
              <a:gd name="connsiteY1880" fmla="*/ 827913 h 1237129"/>
              <a:gd name="connsiteX1881" fmla="*/ 2665951 w 3751729"/>
              <a:gd name="connsiteY1881" fmla="*/ 827913 h 1237129"/>
              <a:gd name="connsiteX1882" fmla="*/ 2664228 w 3751729"/>
              <a:gd name="connsiteY1882" fmla="*/ 826190 h 1237129"/>
              <a:gd name="connsiteX1883" fmla="*/ 2664228 w 3751729"/>
              <a:gd name="connsiteY1883" fmla="*/ 808467 h 1237129"/>
              <a:gd name="connsiteX1884" fmla="*/ 2660044 w 3751729"/>
              <a:gd name="connsiteY1884" fmla="*/ 794191 h 1237129"/>
              <a:gd name="connsiteX1885" fmla="*/ 2654383 w 3751729"/>
              <a:gd name="connsiteY1885" fmla="*/ 782375 h 1237129"/>
              <a:gd name="connsiteX1886" fmla="*/ 2645275 w 3751729"/>
              <a:gd name="connsiteY1886" fmla="*/ 771545 h 1237129"/>
              <a:gd name="connsiteX1887" fmla="*/ 2638629 w 3751729"/>
              <a:gd name="connsiteY1887" fmla="*/ 759729 h 1237129"/>
              <a:gd name="connsiteX1888" fmla="*/ 2629522 w 3751729"/>
              <a:gd name="connsiteY1888" fmla="*/ 745452 h 1237129"/>
              <a:gd name="connsiteX1889" fmla="*/ 2627059 w 3751729"/>
              <a:gd name="connsiteY1889" fmla="*/ 747914 h 1237129"/>
              <a:gd name="connsiteX1890" fmla="*/ 2625337 w 3751729"/>
              <a:gd name="connsiteY1890" fmla="*/ 749637 h 1237129"/>
              <a:gd name="connsiteX1891" fmla="*/ 2623613 w 3751729"/>
              <a:gd name="connsiteY1891" fmla="*/ 753083 h 1237129"/>
              <a:gd name="connsiteX1892" fmla="*/ 2621891 w 3751729"/>
              <a:gd name="connsiteY1892" fmla="*/ 753821 h 1237129"/>
              <a:gd name="connsiteX1893" fmla="*/ 2621151 w 3751729"/>
              <a:gd name="connsiteY1893" fmla="*/ 755545 h 1237129"/>
              <a:gd name="connsiteX1894" fmla="*/ 2607860 w 3751729"/>
              <a:gd name="connsiteY1894" fmla="*/ 757268 h 1237129"/>
              <a:gd name="connsiteX1895" fmla="*/ 2596290 w 3751729"/>
              <a:gd name="connsiteY1895" fmla="*/ 755545 h 1237129"/>
              <a:gd name="connsiteX1896" fmla="*/ 2584721 w 3751729"/>
              <a:gd name="connsiteY1896" fmla="*/ 755545 h 1237129"/>
              <a:gd name="connsiteX1897" fmla="*/ 2581521 w 3751729"/>
              <a:gd name="connsiteY1897" fmla="*/ 767360 h 1237129"/>
              <a:gd name="connsiteX1898" fmla="*/ 2577337 w 3751729"/>
              <a:gd name="connsiteY1898" fmla="*/ 773268 h 1237129"/>
              <a:gd name="connsiteX1899" fmla="*/ 2574875 w 3751729"/>
              <a:gd name="connsiteY1899" fmla="*/ 774991 h 1237129"/>
              <a:gd name="connsiteX1900" fmla="*/ 2569214 w 3751729"/>
              <a:gd name="connsiteY1900" fmla="*/ 774991 h 1237129"/>
              <a:gd name="connsiteX1901" fmla="*/ 2563553 w 3751729"/>
              <a:gd name="connsiteY1901" fmla="*/ 776714 h 1237129"/>
              <a:gd name="connsiteX1902" fmla="*/ 2557891 w 3751729"/>
              <a:gd name="connsiteY1902" fmla="*/ 780897 h 1237129"/>
              <a:gd name="connsiteX1903" fmla="*/ 2548045 w 3751729"/>
              <a:gd name="connsiteY1903" fmla="*/ 806991 h 1237129"/>
              <a:gd name="connsiteX1904" fmla="*/ 2534753 w 3751729"/>
              <a:gd name="connsiteY1904" fmla="*/ 806991 h 1237129"/>
              <a:gd name="connsiteX1905" fmla="*/ 2527369 w 3751729"/>
              <a:gd name="connsiteY1905" fmla="*/ 812897 h 1237129"/>
              <a:gd name="connsiteX1906" fmla="*/ 2519983 w 3751729"/>
              <a:gd name="connsiteY1906" fmla="*/ 820528 h 1237129"/>
              <a:gd name="connsiteX1907" fmla="*/ 2510137 w 3751729"/>
              <a:gd name="connsiteY1907" fmla="*/ 826436 h 1237129"/>
              <a:gd name="connsiteX1908" fmla="*/ 2507676 w 3751729"/>
              <a:gd name="connsiteY1908" fmla="*/ 855728 h 1237129"/>
              <a:gd name="connsiteX1909" fmla="*/ 2500292 w 3751729"/>
              <a:gd name="connsiteY1909" fmla="*/ 880836 h 1237129"/>
              <a:gd name="connsiteX1910" fmla="*/ 2490445 w 3751729"/>
              <a:gd name="connsiteY1910" fmla="*/ 901020 h 1237129"/>
              <a:gd name="connsiteX1911" fmla="*/ 2474691 w 3751729"/>
              <a:gd name="connsiteY1911" fmla="*/ 920221 h 1237129"/>
              <a:gd name="connsiteX1912" fmla="*/ 2472968 w 3751729"/>
              <a:gd name="connsiteY1912" fmla="*/ 920221 h 1237129"/>
              <a:gd name="connsiteX1913" fmla="*/ 2471245 w 3751729"/>
              <a:gd name="connsiteY1913" fmla="*/ 918497 h 1237129"/>
              <a:gd name="connsiteX1914" fmla="*/ 2469522 w 3751729"/>
              <a:gd name="connsiteY1914" fmla="*/ 918497 h 1237129"/>
              <a:gd name="connsiteX1915" fmla="*/ 2468784 w 3751729"/>
              <a:gd name="connsiteY1915" fmla="*/ 916775 h 1237129"/>
              <a:gd name="connsiteX1916" fmla="*/ 2459676 w 3751729"/>
              <a:gd name="connsiteY1916" fmla="*/ 906682 h 1237129"/>
              <a:gd name="connsiteX1917" fmla="*/ 2451308 w 3751729"/>
              <a:gd name="connsiteY1917" fmla="*/ 890682 h 1237129"/>
              <a:gd name="connsiteX1918" fmla="*/ 2446384 w 3751729"/>
              <a:gd name="connsiteY1918" fmla="*/ 877144 h 1237129"/>
              <a:gd name="connsiteX1919" fmla="*/ 2445645 w 3751729"/>
              <a:gd name="connsiteY1919" fmla="*/ 874682 h 1237129"/>
              <a:gd name="connsiteX1920" fmla="*/ 2446384 w 3751729"/>
              <a:gd name="connsiteY1920" fmla="*/ 871236 h 1237129"/>
              <a:gd name="connsiteX1921" fmla="*/ 2448107 w 3751729"/>
              <a:gd name="connsiteY1921" fmla="*/ 868774 h 1237129"/>
              <a:gd name="connsiteX1922" fmla="*/ 2449830 w 3751729"/>
              <a:gd name="connsiteY1922" fmla="*/ 867051 h 1237129"/>
              <a:gd name="connsiteX1923" fmla="*/ 2449830 w 3751729"/>
              <a:gd name="connsiteY1923" fmla="*/ 865328 h 1237129"/>
              <a:gd name="connsiteX1924" fmla="*/ 2435061 w 3751729"/>
              <a:gd name="connsiteY1924" fmla="*/ 843421 h 1237129"/>
              <a:gd name="connsiteX1925" fmla="*/ 2425215 w 3751729"/>
              <a:gd name="connsiteY1925" fmla="*/ 820036 h 1237129"/>
              <a:gd name="connsiteX1926" fmla="*/ 2418568 w 3751729"/>
              <a:gd name="connsiteY1926" fmla="*/ 794929 h 1237129"/>
              <a:gd name="connsiteX1927" fmla="*/ 2415369 w 3751729"/>
              <a:gd name="connsiteY1927" fmla="*/ 764652 h 1237129"/>
              <a:gd name="connsiteX1928" fmla="*/ 2405523 w 3751729"/>
              <a:gd name="connsiteY1928" fmla="*/ 765390 h 1237129"/>
              <a:gd name="connsiteX1929" fmla="*/ 2398139 w 3751729"/>
              <a:gd name="connsiteY1929" fmla="*/ 765390 h 1237129"/>
              <a:gd name="connsiteX1930" fmla="*/ 2389769 w 3751729"/>
              <a:gd name="connsiteY1930" fmla="*/ 764652 h 1237129"/>
              <a:gd name="connsiteX1931" fmla="*/ 2386568 w 3751729"/>
              <a:gd name="connsiteY1931" fmla="*/ 761206 h 1237129"/>
              <a:gd name="connsiteX1932" fmla="*/ 2382384 w 3751729"/>
              <a:gd name="connsiteY1932" fmla="*/ 758744 h 1237129"/>
              <a:gd name="connsiteX1933" fmla="*/ 2379184 w 3751729"/>
              <a:gd name="connsiteY1933" fmla="*/ 755298 h 1237129"/>
              <a:gd name="connsiteX1934" fmla="*/ 2376723 w 3751729"/>
              <a:gd name="connsiteY1934" fmla="*/ 752837 h 1237129"/>
              <a:gd name="connsiteX1935" fmla="*/ 2379184 w 3751729"/>
              <a:gd name="connsiteY1935" fmla="*/ 742006 h 1237129"/>
              <a:gd name="connsiteX1936" fmla="*/ 2373523 w 3751729"/>
              <a:gd name="connsiteY1936" fmla="*/ 733637 h 1237129"/>
              <a:gd name="connsiteX1937" fmla="*/ 2363677 w 3751729"/>
              <a:gd name="connsiteY1937" fmla="*/ 726006 h 1237129"/>
              <a:gd name="connsiteX1938" fmla="*/ 2353830 w 3751729"/>
              <a:gd name="connsiteY1938" fmla="*/ 719360 h 1237129"/>
              <a:gd name="connsiteX1939" fmla="*/ 2344723 w 3751729"/>
              <a:gd name="connsiteY1939" fmla="*/ 710252 h 1237129"/>
              <a:gd name="connsiteX1940" fmla="*/ 2320847 w 3751729"/>
              <a:gd name="connsiteY1940" fmla="*/ 713699 h 1237129"/>
              <a:gd name="connsiteX1941" fmla="*/ 2295986 w 3751729"/>
              <a:gd name="connsiteY1941" fmla="*/ 713699 h 1237129"/>
              <a:gd name="connsiteX1942" fmla="*/ 2271123 w 3751729"/>
              <a:gd name="connsiteY1942" fmla="*/ 711976 h 1237129"/>
              <a:gd name="connsiteX1943" fmla="*/ 2247247 w 3751729"/>
              <a:gd name="connsiteY1943" fmla="*/ 710252 h 1237129"/>
              <a:gd name="connsiteX1944" fmla="*/ 2243063 w 3751729"/>
              <a:gd name="connsiteY1944" fmla="*/ 701883 h 1237129"/>
              <a:gd name="connsiteX1945" fmla="*/ 2237401 w 3751729"/>
              <a:gd name="connsiteY1945" fmla="*/ 691053 h 1237129"/>
              <a:gd name="connsiteX1946" fmla="*/ 2228293 w 3751729"/>
              <a:gd name="connsiteY1946" fmla="*/ 694499 h 1237129"/>
              <a:gd name="connsiteX1947" fmla="*/ 2222632 w 3751729"/>
              <a:gd name="connsiteY1947" fmla="*/ 696222 h 1237129"/>
              <a:gd name="connsiteX1948" fmla="*/ 2215247 w 3751729"/>
              <a:gd name="connsiteY1948" fmla="*/ 696960 h 1237129"/>
              <a:gd name="connsiteX1949" fmla="*/ 2205401 w 3751729"/>
              <a:gd name="connsiteY1949" fmla="*/ 696960 h 1237129"/>
              <a:gd name="connsiteX1950" fmla="*/ 2197031 w 3751729"/>
              <a:gd name="connsiteY1950" fmla="*/ 691053 h 1237129"/>
              <a:gd name="connsiteX1951" fmla="*/ 2187925 w 3751729"/>
              <a:gd name="connsiteY1951" fmla="*/ 686868 h 1237129"/>
              <a:gd name="connsiteX1952" fmla="*/ 2178078 w 3751729"/>
              <a:gd name="connsiteY1952" fmla="*/ 680960 h 1237129"/>
              <a:gd name="connsiteX1953" fmla="*/ 2170694 w 3751729"/>
              <a:gd name="connsiteY1953" fmla="*/ 675053 h 1237129"/>
              <a:gd name="connsiteX1954" fmla="*/ 2168232 w 3751729"/>
              <a:gd name="connsiteY1954" fmla="*/ 666683 h 1237129"/>
              <a:gd name="connsiteX1955" fmla="*/ 2164047 w 3751729"/>
              <a:gd name="connsiteY1955" fmla="*/ 659053 h 1237129"/>
              <a:gd name="connsiteX1956" fmla="*/ 2154940 w 3751729"/>
              <a:gd name="connsiteY1956" fmla="*/ 651422 h 1237129"/>
              <a:gd name="connsiteX1957" fmla="*/ 2153217 w 3751729"/>
              <a:gd name="connsiteY1957" fmla="*/ 651422 h 1237129"/>
              <a:gd name="connsiteX1958" fmla="*/ 2152479 w 3751729"/>
              <a:gd name="connsiteY1958" fmla="*/ 651422 h 1237129"/>
              <a:gd name="connsiteX1959" fmla="*/ 2150754 w 3751729"/>
              <a:gd name="connsiteY1959" fmla="*/ 651422 h 1237129"/>
              <a:gd name="connsiteX1960" fmla="*/ 2147555 w 3751729"/>
              <a:gd name="connsiteY1960" fmla="*/ 651422 h 1237129"/>
              <a:gd name="connsiteX1961" fmla="*/ 2141893 w 3751729"/>
              <a:gd name="connsiteY1961" fmla="*/ 651422 h 1237129"/>
              <a:gd name="connsiteX1962" fmla="*/ 2145094 w 3751729"/>
              <a:gd name="connsiteY1962" fmla="*/ 663237 h 1237129"/>
              <a:gd name="connsiteX1963" fmla="*/ 2149279 w 3751729"/>
              <a:gd name="connsiteY1963" fmla="*/ 676776 h 1237129"/>
              <a:gd name="connsiteX1964" fmla="*/ 2156663 w 3751729"/>
              <a:gd name="connsiteY1964" fmla="*/ 690314 h 1237129"/>
              <a:gd name="connsiteX1965" fmla="*/ 2162324 w 3751729"/>
              <a:gd name="connsiteY1965" fmla="*/ 702130 h 1237129"/>
              <a:gd name="connsiteX1966" fmla="*/ 2167986 w 3751729"/>
              <a:gd name="connsiteY1966" fmla="*/ 710498 h 1237129"/>
              <a:gd name="connsiteX1967" fmla="*/ 2169709 w 3751729"/>
              <a:gd name="connsiteY1967" fmla="*/ 706314 h 1237129"/>
              <a:gd name="connsiteX1968" fmla="*/ 2170448 w 3751729"/>
              <a:gd name="connsiteY1968" fmla="*/ 704591 h 1237129"/>
              <a:gd name="connsiteX1969" fmla="*/ 2170448 w 3751729"/>
              <a:gd name="connsiteY1969" fmla="*/ 702868 h 1237129"/>
              <a:gd name="connsiteX1970" fmla="*/ 2172170 w 3751729"/>
              <a:gd name="connsiteY1970" fmla="*/ 702868 h 1237129"/>
              <a:gd name="connsiteX1971" fmla="*/ 2173893 w 3751729"/>
              <a:gd name="connsiteY1971" fmla="*/ 702868 h 1237129"/>
              <a:gd name="connsiteX1972" fmla="*/ 2178078 w 3751729"/>
              <a:gd name="connsiteY1972" fmla="*/ 704591 h 1237129"/>
              <a:gd name="connsiteX1973" fmla="*/ 2179801 w 3751729"/>
              <a:gd name="connsiteY1973" fmla="*/ 708776 h 1237129"/>
              <a:gd name="connsiteX1974" fmla="*/ 2181524 w 3751729"/>
              <a:gd name="connsiteY1974" fmla="*/ 713699 h 1237129"/>
              <a:gd name="connsiteX1975" fmla="*/ 2181524 w 3751729"/>
              <a:gd name="connsiteY1975" fmla="*/ 717883 h 1237129"/>
              <a:gd name="connsiteX1976" fmla="*/ 2182262 w 3751729"/>
              <a:gd name="connsiteY1976" fmla="*/ 722068 h 1237129"/>
              <a:gd name="connsiteX1977" fmla="*/ 2183986 w 3751729"/>
              <a:gd name="connsiteY1977" fmla="*/ 726252 h 1237129"/>
              <a:gd name="connsiteX1978" fmla="*/ 2189647 w 3751729"/>
              <a:gd name="connsiteY1978" fmla="*/ 725514 h 1237129"/>
              <a:gd name="connsiteX1979" fmla="*/ 2197031 w 3751729"/>
              <a:gd name="connsiteY1979" fmla="*/ 723791 h 1237129"/>
              <a:gd name="connsiteX1980" fmla="*/ 2205401 w 3751729"/>
              <a:gd name="connsiteY1980" fmla="*/ 723791 h 1237129"/>
              <a:gd name="connsiteX1981" fmla="*/ 2218694 w 3751729"/>
              <a:gd name="connsiteY1981" fmla="*/ 708776 h 1237129"/>
              <a:gd name="connsiteX1982" fmla="*/ 2234447 w 3751729"/>
              <a:gd name="connsiteY1982" fmla="*/ 696960 h 1237129"/>
              <a:gd name="connsiteX1983" fmla="*/ 2236170 w 3751729"/>
              <a:gd name="connsiteY1983" fmla="*/ 711976 h 1237129"/>
              <a:gd name="connsiteX1984" fmla="*/ 2237892 w 3751729"/>
              <a:gd name="connsiteY1984" fmla="*/ 723791 h 1237129"/>
              <a:gd name="connsiteX1985" fmla="*/ 2259308 w 3751729"/>
              <a:gd name="connsiteY1985" fmla="*/ 735605 h 1237129"/>
              <a:gd name="connsiteX1986" fmla="*/ 2276538 w 3751729"/>
              <a:gd name="connsiteY1986" fmla="*/ 749882 h 1237129"/>
              <a:gd name="connsiteX1987" fmla="*/ 2270877 w 3751729"/>
              <a:gd name="connsiteY1987" fmla="*/ 757513 h 1237129"/>
              <a:gd name="connsiteX1988" fmla="*/ 2265954 w 3751729"/>
              <a:gd name="connsiteY1988" fmla="*/ 765145 h 1237129"/>
              <a:gd name="connsiteX1989" fmla="*/ 2261031 w 3751729"/>
              <a:gd name="connsiteY1989" fmla="*/ 771052 h 1237129"/>
              <a:gd name="connsiteX1990" fmla="*/ 2250200 w 3751729"/>
              <a:gd name="connsiteY1990" fmla="*/ 775236 h 1237129"/>
              <a:gd name="connsiteX1991" fmla="*/ 2250200 w 3751729"/>
              <a:gd name="connsiteY1991" fmla="*/ 791236 h 1237129"/>
              <a:gd name="connsiteX1992" fmla="*/ 2236170 w 3751729"/>
              <a:gd name="connsiteY1992" fmla="*/ 800345 h 1237129"/>
              <a:gd name="connsiteX1993" fmla="*/ 2221400 w 3751729"/>
              <a:gd name="connsiteY1993" fmla="*/ 810436 h 1237129"/>
              <a:gd name="connsiteX1994" fmla="*/ 2221400 w 3751729"/>
              <a:gd name="connsiteY1994" fmla="*/ 817575 h 1237129"/>
              <a:gd name="connsiteX1995" fmla="*/ 2203185 w 3751729"/>
              <a:gd name="connsiteY1995" fmla="*/ 817575 h 1237129"/>
              <a:gd name="connsiteX1996" fmla="*/ 2192355 w 3751729"/>
              <a:gd name="connsiteY1996" fmla="*/ 823483 h 1237129"/>
              <a:gd name="connsiteX1997" fmla="*/ 2183986 w 3751729"/>
              <a:gd name="connsiteY1997" fmla="*/ 832590 h 1237129"/>
              <a:gd name="connsiteX1998" fmla="*/ 2174140 w 3751729"/>
              <a:gd name="connsiteY1998" fmla="*/ 840220 h 1237129"/>
              <a:gd name="connsiteX1999" fmla="*/ 2160847 w 3751729"/>
              <a:gd name="connsiteY1999" fmla="*/ 846129 h 1237129"/>
              <a:gd name="connsiteX2000" fmla="*/ 2147555 w 3751729"/>
              <a:gd name="connsiteY2000" fmla="*/ 848590 h 1237129"/>
              <a:gd name="connsiteX2001" fmla="*/ 2133524 w 3751729"/>
              <a:gd name="connsiteY2001" fmla="*/ 852775 h 1237129"/>
              <a:gd name="connsiteX2002" fmla="*/ 2121956 w 3751729"/>
              <a:gd name="connsiteY2002" fmla="*/ 857698 h 1237129"/>
              <a:gd name="connsiteX2003" fmla="*/ 2112109 w 3751729"/>
              <a:gd name="connsiteY2003" fmla="*/ 863605 h 1237129"/>
              <a:gd name="connsiteX2004" fmla="*/ 2102263 w 3751729"/>
              <a:gd name="connsiteY2004" fmla="*/ 866067 h 1237129"/>
              <a:gd name="connsiteX2005" fmla="*/ 2094878 w 3751729"/>
              <a:gd name="connsiteY2005" fmla="*/ 866067 h 1237129"/>
              <a:gd name="connsiteX2006" fmla="*/ 2091678 w 3751729"/>
              <a:gd name="connsiteY2006" fmla="*/ 864344 h 1237129"/>
              <a:gd name="connsiteX2007" fmla="*/ 2090940 w 3751729"/>
              <a:gd name="connsiteY2007" fmla="*/ 864344 h 1237129"/>
              <a:gd name="connsiteX2008" fmla="*/ 2089217 w 3751729"/>
              <a:gd name="connsiteY2008" fmla="*/ 863605 h 1237129"/>
              <a:gd name="connsiteX2009" fmla="*/ 2087494 w 3751729"/>
              <a:gd name="connsiteY2009" fmla="*/ 861882 h 1237129"/>
              <a:gd name="connsiteX2010" fmla="*/ 2085771 w 3751729"/>
              <a:gd name="connsiteY2010" fmla="*/ 858436 h 1237129"/>
              <a:gd name="connsiteX2011" fmla="*/ 2081586 w 3751729"/>
              <a:gd name="connsiteY2011" fmla="*/ 850067 h 1237129"/>
              <a:gd name="connsiteX2012" fmla="*/ 2079864 w 3751729"/>
              <a:gd name="connsiteY2012" fmla="*/ 840959 h 1237129"/>
              <a:gd name="connsiteX2013" fmla="*/ 2079864 w 3751729"/>
              <a:gd name="connsiteY2013" fmla="*/ 832590 h 1237129"/>
              <a:gd name="connsiteX2014" fmla="*/ 2079125 w 3751729"/>
              <a:gd name="connsiteY2014" fmla="*/ 823483 h 1237129"/>
              <a:gd name="connsiteX2015" fmla="*/ 2071740 w 3751729"/>
              <a:gd name="connsiteY2015" fmla="*/ 809206 h 1237129"/>
              <a:gd name="connsiteX2016" fmla="*/ 2061895 w 3751729"/>
              <a:gd name="connsiteY2016" fmla="*/ 795667 h 1237129"/>
              <a:gd name="connsiteX2017" fmla="*/ 2051064 w 3751729"/>
              <a:gd name="connsiteY2017" fmla="*/ 783853 h 1237129"/>
              <a:gd name="connsiteX2018" fmla="*/ 2041218 w 3751729"/>
              <a:gd name="connsiteY2018" fmla="*/ 772036 h 1237129"/>
              <a:gd name="connsiteX2019" fmla="*/ 2038756 w 3751729"/>
              <a:gd name="connsiteY2019" fmla="*/ 763667 h 1237129"/>
              <a:gd name="connsiteX2020" fmla="*/ 2037033 w 3751729"/>
              <a:gd name="connsiteY2020" fmla="*/ 753575 h 1237129"/>
              <a:gd name="connsiteX2021" fmla="*/ 2035309 w 3751729"/>
              <a:gd name="connsiteY2021" fmla="*/ 742744 h 1237129"/>
              <a:gd name="connsiteX2022" fmla="*/ 2031125 w 3751729"/>
              <a:gd name="connsiteY2022" fmla="*/ 734375 h 1237129"/>
              <a:gd name="connsiteX2023" fmla="*/ 2015371 w 3751729"/>
              <a:gd name="connsiteY2023" fmla="*/ 724284 h 1237129"/>
              <a:gd name="connsiteX2024" fmla="*/ 2011187 w 3751729"/>
              <a:gd name="connsiteY2024" fmla="*/ 714191 h 1237129"/>
              <a:gd name="connsiteX2025" fmla="*/ 2006264 w 3751729"/>
              <a:gd name="connsiteY2025" fmla="*/ 703361 h 1237129"/>
              <a:gd name="connsiteX2026" fmla="*/ 2002079 w 3751729"/>
              <a:gd name="connsiteY2026" fmla="*/ 693268 h 1237129"/>
              <a:gd name="connsiteX2027" fmla="*/ 1996418 w 3751729"/>
              <a:gd name="connsiteY2027" fmla="*/ 684899 h 1237129"/>
              <a:gd name="connsiteX2028" fmla="*/ 1988049 w 3751729"/>
              <a:gd name="connsiteY2028" fmla="*/ 678991 h 1237129"/>
              <a:gd name="connsiteX2029" fmla="*/ 1983126 w 3751729"/>
              <a:gd name="connsiteY2029" fmla="*/ 677268 h 1237129"/>
              <a:gd name="connsiteX2030" fmla="*/ 1982387 w 3751729"/>
              <a:gd name="connsiteY2030" fmla="*/ 673821 h 1237129"/>
              <a:gd name="connsiteX2031" fmla="*/ 1979187 w 3751729"/>
              <a:gd name="connsiteY2031" fmla="*/ 673083 h 1237129"/>
              <a:gd name="connsiteX2032" fmla="*/ 1976725 w 3751729"/>
              <a:gd name="connsiteY2032" fmla="*/ 671361 h 1237129"/>
              <a:gd name="connsiteX2033" fmla="*/ 1973525 w 3751729"/>
              <a:gd name="connsiteY2033" fmla="*/ 669637 h 1237129"/>
              <a:gd name="connsiteX2034" fmla="*/ 1971065 w 3751729"/>
              <a:gd name="connsiteY2034" fmla="*/ 667176 h 1237129"/>
              <a:gd name="connsiteX2035" fmla="*/ 1967864 w 3751729"/>
              <a:gd name="connsiteY2035" fmla="*/ 662253 h 1237129"/>
              <a:gd name="connsiteX2036" fmla="*/ 1965403 w 3751729"/>
              <a:gd name="connsiteY2036" fmla="*/ 656345 h 1237129"/>
              <a:gd name="connsiteX2037" fmla="*/ 1962203 w 3751729"/>
              <a:gd name="connsiteY2037" fmla="*/ 656345 h 1237129"/>
              <a:gd name="connsiteX2038" fmla="*/ 1962203 w 3751729"/>
              <a:gd name="connsiteY2038" fmla="*/ 662253 h 1237129"/>
              <a:gd name="connsiteX2039" fmla="*/ 1972049 w 3751729"/>
              <a:gd name="connsiteY2039" fmla="*/ 675791 h 1237129"/>
              <a:gd name="connsiteX2040" fmla="*/ 1981156 w 3751729"/>
              <a:gd name="connsiteY2040" fmla="*/ 690806 h 1237129"/>
              <a:gd name="connsiteX2041" fmla="*/ 1986818 w 3751729"/>
              <a:gd name="connsiteY2041" fmla="*/ 708529 h 1237129"/>
              <a:gd name="connsiteX2042" fmla="*/ 1992479 w 3751729"/>
              <a:gd name="connsiteY2042" fmla="*/ 724529 h 1237129"/>
              <a:gd name="connsiteX2043" fmla="*/ 1999863 w 3751729"/>
              <a:gd name="connsiteY2043" fmla="*/ 740529 h 1237129"/>
              <a:gd name="connsiteX2044" fmla="*/ 2002326 w 3751729"/>
              <a:gd name="connsiteY2044" fmla="*/ 742991 h 1237129"/>
              <a:gd name="connsiteX2045" fmla="*/ 2006509 w 3751729"/>
              <a:gd name="connsiteY2045" fmla="*/ 746437 h 1237129"/>
              <a:gd name="connsiteX2046" fmla="*/ 2009710 w 3751729"/>
              <a:gd name="connsiteY2046" fmla="*/ 748898 h 1237129"/>
              <a:gd name="connsiteX2047" fmla="*/ 2013895 w 3751729"/>
              <a:gd name="connsiteY2047" fmla="*/ 752344 h 1237129"/>
              <a:gd name="connsiteX2048" fmla="*/ 2015618 w 3751729"/>
              <a:gd name="connsiteY2048" fmla="*/ 756528 h 1237129"/>
              <a:gd name="connsiteX2049" fmla="*/ 2015618 w 3751729"/>
              <a:gd name="connsiteY2049" fmla="*/ 785821 h 1237129"/>
              <a:gd name="connsiteX2050" fmla="*/ 2018079 w 3751729"/>
              <a:gd name="connsiteY2050" fmla="*/ 789268 h 1237129"/>
              <a:gd name="connsiteX2051" fmla="*/ 2021279 w 3751729"/>
              <a:gd name="connsiteY2051" fmla="*/ 793452 h 1237129"/>
              <a:gd name="connsiteX2052" fmla="*/ 2025464 w 3751729"/>
              <a:gd name="connsiteY2052" fmla="*/ 795914 h 1237129"/>
              <a:gd name="connsiteX2053" fmla="*/ 2029648 w 3751729"/>
              <a:gd name="connsiteY2053" fmla="*/ 799360 h 1237129"/>
              <a:gd name="connsiteX2054" fmla="*/ 2031371 w 3751729"/>
              <a:gd name="connsiteY2054" fmla="*/ 801820 h 1237129"/>
              <a:gd name="connsiteX2055" fmla="*/ 2033834 w 3751729"/>
              <a:gd name="connsiteY2055" fmla="*/ 810929 h 1237129"/>
              <a:gd name="connsiteX2056" fmla="*/ 2035556 w 3751729"/>
              <a:gd name="connsiteY2056" fmla="*/ 817575 h 1237129"/>
              <a:gd name="connsiteX2057" fmla="*/ 2038756 w 3751729"/>
              <a:gd name="connsiteY2057" fmla="*/ 826682 h 1237129"/>
              <a:gd name="connsiteX2058" fmla="*/ 2047125 w 3751729"/>
              <a:gd name="connsiteY2058" fmla="*/ 836775 h 1237129"/>
              <a:gd name="connsiteX2059" fmla="*/ 2060417 w 3751729"/>
              <a:gd name="connsiteY2059" fmla="*/ 845882 h 1237129"/>
              <a:gd name="connsiteX2060" fmla="*/ 2074448 w 3751729"/>
              <a:gd name="connsiteY2060" fmla="*/ 854252 h 1237129"/>
              <a:gd name="connsiteX2061" fmla="*/ 2086017 w 3751729"/>
              <a:gd name="connsiteY2061" fmla="*/ 863359 h 1237129"/>
              <a:gd name="connsiteX2062" fmla="*/ 2089217 w 3751729"/>
              <a:gd name="connsiteY2062" fmla="*/ 867544 h 1237129"/>
              <a:gd name="connsiteX2063" fmla="*/ 2089217 w 3751729"/>
              <a:gd name="connsiteY2063" fmla="*/ 873451 h 1237129"/>
              <a:gd name="connsiteX2064" fmla="*/ 2089217 w 3751729"/>
              <a:gd name="connsiteY2064" fmla="*/ 877636 h 1237129"/>
              <a:gd name="connsiteX2065" fmla="*/ 2090940 w 3751729"/>
              <a:gd name="connsiteY2065" fmla="*/ 881821 h 1237129"/>
              <a:gd name="connsiteX2066" fmla="*/ 2095125 w 3751729"/>
              <a:gd name="connsiteY2066" fmla="*/ 886743 h 1237129"/>
              <a:gd name="connsiteX2067" fmla="*/ 2107433 w 3751729"/>
              <a:gd name="connsiteY2067" fmla="*/ 887482 h 1237129"/>
              <a:gd name="connsiteX2068" fmla="*/ 2122201 w 3751729"/>
              <a:gd name="connsiteY2068" fmla="*/ 880836 h 1237129"/>
              <a:gd name="connsiteX2069" fmla="*/ 2142140 w 3751729"/>
              <a:gd name="connsiteY2069" fmla="*/ 875912 h 1237129"/>
              <a:gd name="connsiteX2070" fmla="*/ 2161093 w 3751729"/>
              <a:gd name="connsiteY2070" fmla="*/ 871728 h 1237129"/>
              <a:gd name="connsiteX2071" fmla="*/ 2178323 w 3751729"/>
              <a:gd name="connsiteY2071" fmla="*/ 869267 h 1237129"/>
              <a:gd name="connsiteX2072" fmla="*/ 2178323 w 3751729"/>
              <a:gd name="connsiteY2072" fmla="*/ 871728 h 1237129"/>
              <a:gd name="connsiteX2073" fmla="*/ 2174140 w 3751729"/>
              <a:gd name="connsiteY2073" fmla="*/ 879359 h 1237129"/>
              <a:gd name="connsiteX2074" fmla="*/ 2174140 w 3751729"/>
              <a:gd name="connsiteY2074" fmla="*/ 888221 h 1237129"/>
              <a:gd name="connsiteX2075" fmla="*/ 2170940 w 3751729"/>
              <a:gd name="connsiteY2075" fmla="*/ 898313 h 1237129"/>
              <a:gd name="connsiteX2076" fmla="*/ 2165278 w 3751729"/>
              <a:gd name="connsiteY2076" fmla="*/ 913328 h 1237129"/>
              <a:gd name="connsiteX2077" fmla="*/ 2156909 w 3751729"/>
              <a:gd name="connsiteY2077" fmla="*/ 931051 h 1237129"/>
              <a:gd name="connsiteX2078" fmla="*/ 2147063 w 3751729"/>
              <a:gd name="connsiteY2078" fmla="*/ 948774 h 1237129"/>
              <a:gd name="connsiteX2079" fmla="*/ 2136232 w 3751729"/>
              <a:gd name="connsiteY2079" fmla="*/ 963051 h 1237129"/>
              <a:gd name="connsiteX2080" fmla="*/ 2120479 w 3751729"/>
              <a:gd name="connsiteY2080" fmla="*/ 979050 h 1237129"/>
              <a:gd name="connsiteX2081" fmla="*/ 2103248 w 3751729"/>
              <a:gd name="connsiteY2081" fmla="*/ 994066 h 1237129"/>
              <a:gd name="connsiteX2082" fmla="*/ 2085032 w 3751729"/>
              <a:gd name="connsiteY2082" fmla="*/ 1008343 h 1237129"/>
              <a:gd name="connsiteX2083" fmla="*/ 2067802 w 3751729"/>
              <a:gd name="connsiteY2083" fmla="*/ 1025082 h 1237129"/>
              <a:gd name="connsiteX2084" fmla="*/ 2053032 w 3751729"/>
              <a:gd name="connsiteY2084" fmla="*/ 1042804 h 1237129"/>
              <a:gd name="connsiteX2085" fmla="*/ 2041464 w 3751729"/>
              <a:gd name="connsiteY2085" fmla="*/ 1062988 h 1237129"/>
              <a:gd name="connsiteX2086" fmla="*/ 2037279 w 3751729"/>
              <a:gd name="connsiteY2086" fmla="*/ 1082189 h 1237129"/>
              <a:gd name="connsiteX2087" fmla="*/ 2039740 w 3751729"/>
              <a:gd name="connsiteY2087" fmla="*/ 1099911 h 1237129"/>
              <a:gd name="connsiteX2088" fmla="*/ 2045402 w 3751729"/>
              <a:gd name="connsiteY2088" fmla="*/ 1117634 h 1237129"/>
              <a:gd name="connsiteX2089" fmla="*/ 2051064 w 3751729"/>
              <a:gd name="connsiteY2089" fmla="*/ 1133634 h 1237129"/>
              <a:gd name="connsiteX2090" fmla="*/ 2056725 w 3751729"/>
              <a:gd name="connsiteY2090" fmla="*/ 1151357 h 1237129"/>
              <a:gd name="connsiteX2091" fmla="*/ 2061648 w 3751729"/>
              <a:gd name="connsiteY2091" fmla="*/ 1169080 h 1237129"/>
              <a:gd name="connsiteX2092" fmla="*/ 2059925 w 3751729"/>
              <a:gd name="connsiteY2092" fmla="*/ 1186804 h 1237129"/>
              <a:gd name="connsiteX2093" fmla="*/ 2050818 w 3751729"/>
              <a:gd name="connsiteY2093" fmla="*/ 1205264 h 1237129"/>
              <a:gd name="connsiteX2094" fmla="*/ 2038509 w 3751729"/>
              <a:gd name="connsiteY2094" fmla="*/ 1214372 h 1237129"/>
              <a:gd name="connsiteX2095" fmla="*/ 2023741 w 3751729"/>
              <a:gd name="connsiteY2095" fmla="*/ 1221018 h 1237129"/>
              <a:gd name="connsiteX2096" fmla="*/ 2009710 w 3751729"/>
              <a:gd name="connsiteY2096" fmla="*/ 1228649 h 1237129"/>
              <a:gd name="connsiteX2097" fmla="*/ 1999990 w 3751729"/>
              <a:gd name="connsiteY2097" fmla="*/ 1237129 h 1237129"/>
              <a:gd name="connsiteX2098" fmla="*/ 1730490 w 3751729"/>
              <a:gd name="connsiteY2098" fmla="*/ 1237129 h 1237129"/>
              <a:gd name="connsiteX2099" fmla="*/ 1729835 w 3751729"/>
              <a:gd name="connsiteY2099" fmla="*/ 1236280 h 1237129"/>
              <a:gd name="connsiteX2100" fmla="*/ 1724174 w 3751729"/>
              <a:gd name="connsiteY2100" fmla="*/ 1224465 h 1237129"/>
              <a:gd name="connsiteX2101" fmla="*/ 1722450 w 3751729"/>
              <a:gd name="connsiteY2101" fmla="*/ 1210188 h 1237129"/>
              <a:gd name="connsiteX2102" fmla="*/ 1725650 w 3751729"/>
              <a:gd name="connsiteY2102" fmla="*/ 1193450 h 1237129"/>
              <a:gd name="connsiteX2103" fmla="*/ 1731312 w 3751729"/>
              <a:gd name="connsiteY2103" fmla="*/ 1179173 h 1237129"/>
              <a:gd name="connsiteX2104" fmla="*/ 1739681 w 3751729"/>
              <a:gd name="connsiteY2104" fmla="*/ 1163172 h 1237129"/>
              <a:gd name="connsiteX2105" fmla="*/ 1745342 w 3751729"/>
              <a:gd name="connsiteY2105" fmla="*/ 1149634 h 1237129"/>
              <a:gd name="connsiteX2106" fmla="*/ 1750265 w 3751729"/>
              <a:gd name="connsiteY2106" fmla="*/ 1137819 h 1237129"/>
              <a:gd name="connsiteX2107" fmla="*/ 1744604 w 3751729"/>
              <a:gd name="connsiteY2107" fmla="*/ 1126003 h 1237129"/>
              <a:gd name="connsiteX2108" fmla="*/ 1742882 w 3751729"/>
              <a:gd name="connsiteY2108" fmla="*/ 1115911 h 1237129"/>
              <a:gd name="connsiteX2109" fmla="*/ 1742882 w 3751729"/>
              <a:gd name="connsiteY2109" fmla="*/ 1105819 h 1237129"/>
              <a:gd name="connsiteX2110" fmla="*/ 1739681 w 3751729"/>
              <a:gd name="connsiteY2110" fmla="*/ 1092281 h 1237129"/>
              <a:gd name="connsiteX2111" fmla="*/ 1731312 w 3751729"/>
              <a:gd name="connsiteY2111" fmla="*/ 1074558 h 1237129"/>
              <a:gd name="connsiteX2112" fmla="*/ 1718022 w 3751729"/>
              <a:gd name="connsiteY2112" fmla="*/ 1056835 h 1237129"/>
              <a:gd name="connsiteX2113" fmla="*/ 1705715 w 3751729"/>
              <a:gd name="connsiteY2113" fmla="*/ 1040834 h 1237129"/>
              <a:gd name="connsiteX2114" fmla="*/ 1692422 w 3751729"/>
              <a:gd name="connsiteY2114" fmla="*/ 1027297 h 1237129"/>
              <a:gd name="connsiteX2115" fmla="*/ 1696606 w 3751729"/>
              <a:gd name="connsiteY2115" fmla="*/ 1009574 h 1237129"/>
              <a:gd name="connsiteX2116" fmla="*/ 1700792 w 3751729"/>
              <a:gd name="connsiteY2116" fmla="*/ 993574 h 1237129"/>
              <a:gd name="connsiteX2117" fmla="*/ 1705715 w 3751729"/>
              <a:gd name="connsiteY2117" fmla="*/ 975851 h 1237129"/>
              <a:gd name="connsiteX2118" fmla="*/ 1700792 w 3751729"/>
              <a:gd name="connsiteY2118" fmla="*/ 973389 h 1237129"/>
              <a:gd name="connsiteX2119" fmla="*/ 1698330 w 3751729"/>
              <a:gd name="connsiteY2119" fmla="*/ 971666 h 1237129"/>
              <a:gd name="connsiteX2120" fmla="*/ 1695130 w 3751729"/>
              <a:gd name="connsiteY2120" fmla="*/ 968220 h 1237129"/>
              <a:gd name="connsiteX2121" fmla="*/ 1692669 w 3751729"/>
              <a:gd name="connsiteY2121" fmla="*/ 967481 h 1237129"/>
              <a:gd name="connsiteX2122" fmla="*/ 1688484 w 3751729"/>
              <a:gd name="connsiteY2122" fmla="*/ 967481 h 1237129"/>
              <a:gd name="connsiteX2123" fmla="*/ 1682823 w 3751729"/>
              <a:gd name="connsiteY2123" fmla="*/ 965758 h 1237129"/>
              <a:gd name="connsiteX2124" fmla="*/ 1679622 w 3751729"/>
              <a:gd name="connsiteY2124" fmla="*/ 968220 h 1237129"/>
              <a:gd name="connsiteX2125" fmla="*/ 1677899 w 3751729"/>
              <a:gd name="connsiteY2125" fmla="*/ 969943 h 1237129"/>
              <a:gd name="connsiteX2126" fmla="*/ 1673715 w 3751729"/>
              <a:gd name="connsiteY2126" fmla="*/ 971666 h 1237129"/>
              <a:gd name="connsiteX2127" fmla="*/ 1669530 w 3751729"/>
              <a:gd name="connsiteY2127" fmla="*/ 971666 h 1237129"/>
              <a:gd name="connsiteX2128" fmla="*/ 1663869 w 3751729"/>
              <a:gd name="connsiteY2128" fmla="*/ 971666 h 1237129"/>
              <a:gd name="connsiteX2129" fmla="*/ 1648114 w 3751729"/>
              <a:gd name="connsiteY2129" fmla="*/ 946558 h 1237129"/>
              <a:gd name="connsiteX2130" fmla="*/ 1637284 w 3751729"/>
              <a:gd name="connsiteY2130" fmla="*/ 944835 h 1237129"/>
              <a:gd name="connsiteX2131" fmla="*/ 1627438 w 3751729"/>
              <a:gd name="connsiteY2131" fmla="*/ 944097 h 1237129"/>
              <a:gd name="connsiteX2132" fmla="*/ 1615870 w 3751729"/>
              <a:gd name="connsiteY2132" fmla="*/ 942374 h 1237129"/>
              <a:gd name="connsiteX2133" fmla="*/ 1601838 w 3751729"/>
              <a:gd name="connsiteY2133" fmla="*/ 948282 h 1237129"/>
              <a:gd name="connsiteX2134" fmla="*/ 1587070 w 3751729"/>
              <a:gd name="connsiteY2134" fmla="*/ 954189 h 1237129"/>
              <a:gd name="connsiteX2135" fmla="*/ 1575500 w 3751729"/>
              <a:gd name="connsiteY2135" fmla="*/ 958374 h 1237129"/>
              <a:gd name="connsiteX2136" fmla="*/ 1547439 w 3751729"/>
              <a:gd name="connsiteY2136" fmla="*/ 952466 h 1237129"/>
              <a:gd name="connsiteX2137" fmla="*/ 1544239 w 3751729"/>
              <a:gd name="connsiteY2137" fmla="*/ 962558 h 1237129"/>
              <a:gd name="connsiteX2138" fmla="*/ 1534393 w 3751729"/>
              <a:gd name="connsiteY2138" fmla="*/ 962558 h 1237129"/>
              <a:gd name="connsiteX2139" fmla="*/ 1525285 w 3751729"/>
              <a:gd name="connsiteY2139" fmla="*/ 960097 h 1237129"/>
              <a:gd name="connsiteX2140" fmla="*/ 1518639 w 3751729"/>
              <a:gd name="connsiteY2140" fmla="*/ 958374 h 1237129"/>
              <a:gd name="connsiteX2141" fmla="*/ 1515439 w 3751729"/>
              <a:gd name="connsiteY2141" fmla="*/ 960097 h 1237129"/>
              <a:gd name="connsiteX2142" fmla="*/ 1512978 w 3751729"/>
              <a:gd name="connsiteY2142" fmla="*/ 962558 h 1237129"/>
              <a:gd name="connsiteX2143" fmla="*/ 1508055 w 3751729"/>
              <a:gd name="connsiteY2143" fmla="*/ 964282 h 1237129"/>
              <a:gd name="connsiteX2144" fmla="*/ 1502393 w 3751729"/>
              <a:gd name="connsiteY2144" fmla="*/ 966005 h 1237129"/>
              <a:gd name="connsiteX2145" fmla="*/ 1494024 w 3751729"/>
              <a:gd name="connsiteY2145" fmla="*/ 955912 h 1237129"/>
              <a:gd name="connsiteX2146" fmla="*/ 1482455 w 3751729"/>
              <a:gd name="connsiteY2146" fmla="*/ 950005 h 1237129"/>
              <a:gd name="connsiteX2147" fmla="*/ 1470885 w 3751729"/>
              <a:gd name="connsiteY2147" fmla="*/ 944097 h 1237129"/>
              <a:gd name="connsiteX2148" fmla="*/ 1459316 w 3751729"/>
              <a:gd name="connsiteY2148" fmla="*/ 938189 h 1237129"/>
              <a:gd name="connsiteX2149" fmla="*/ 1449471 w 3751729"/>
              <a:gd name="connsiteY2149" fmla="*/ 930558 h 1237129"/>
              <a:gd name="connsiteX2150" fmla="*/ 1442086 w 3751729"/>
              <a:gd name="connsiteY2150" fmla="*/ 911359 h 1237129"/>
              <a:gd name="connsiteX2151" fmla="*/ 1433717 w 3751729"/>
              <a:gd name="connsiteY2151" fmla="*/ 901266 h 1237129"/>
              <a:gd name="connsiteX2152" fmla="*/ 1420424 w 3751729"/>
              <a:gd name="connsiteY2152" fmla="*/ 891174 h 1237129"/>
              <a:gd name="connsiteX2153" fmla="*/ 1408856 w 3751729"/>
              <a:gd name="connsiteY2153" fmla="*/ 881082 h 1237129"/>
              <a:gd name="connsiteX2154" fmla="*/ 1401471 w 3751729"/>
              <a:gd name="connsiteY2154" fmla="*/ 871974 h 1237129"/>
              <a:gd name="connsiteX2155" fmla="*/ 1401471 w 3751729"/>
              <a:gd name="connsiteY2155" fmla="*/ 852775 h 1237129"/>
              <a:gd name="connsiteX2156" fmla="*/ 1399010 w 3751729"/>
              <a:gd name="connsiteY2156" fmla="*/ 844405 h 1237129"/>
              <a:gd name="connsiteX2157" fmla="*/ 1399748 w 3751729"/>
              <a:gd name="connsiteY2157" fmla="*/ 830867 h 1237129"/>
              <a:gd name="connsiteX2158" fmla="*/ 1402948 w 3751729"/>
              <a:gd name="connsiteY2158" fmla="*/ 819052 h 1237129"/>
              <a:gd name="connsiteX2159" fmla="*/ 1405410 w 3751729"/>
              <a:gd name="connsiteY2159" fmla="*/ 808959 h 1237129"/>
              <a:gd name="connsiteX2160" fmla="*/ 1407132 w 3751729"/>
              <a:gd name="connsiteY2160" fmla="*/ 801329 h 1237129"/>
              <a:gd name="connsiteX2161" fmla="*/ 1407132 w 3751729"/>
              <a:gd name="connsiteY2161" fmla="*/ 789513 h 1237129"/>
              <a:gd name="connsiteX2162" fmla="*/ 1404671 w 3751729"/>
              <a:gd name="connsiteY2162" fmla="*/ 782867 h 1237129"/>
              <a:gd name="connsiteX2163" fmla="*/ 1399748 w 3751729"/>
              <a:gd name="connsiteY2163" fmla="*/ 775236 h 1237129"/>
              <a:gd name="connsiteX2164" fmla="*/ 1397286 w 3751729"/>
              <a:gd name="connsiteY2164" fmla="*/ 769329 h 1237129"/>
              <a:gd name="connsiteX2165" fmla="*/ 1397286 w 3751729"/>
              <a:gd name="connsiteY2165" fmla="*/ 760221 h 1237129"/>
              <a:gd name="connsiteX2166" fmla="*/ 1399748 w 3751729"/>
              <a:gd name="connsiteY2166" fmla="*/ 748407 h 1237129"/>
              <a:gd name="connsiteX2167" fmla="*/ 1405410 w 3751729"/>
              <a:gd name="connsiteY2167" fmla="*/ 735852 h 1237129"/>
              <a:gd name="connsiteX2168" fmla="*/ 1411071 w 3751729"/>
              <a:gd name="connsiteY2168" fmla="*/ 720837 h 1237129"/>
              <a:gd name="connsiteX2169" fmla="*/ 1416733 w 3751729"/>
              <a:gd name="connsiteY2169" fmla="*/ 708283 h 1237129"/>
              <a:gd name="connsiteX2170" fmla="*/ 1422394 w 3751729"/>
              <a:gd name="connsiteY2170" fmla="*/ 697452 h 1237129"/>
              <a:gd name="connsiteX2171" fmla="*/ 1425594 w 3751729"/>
              <a:gd name="connsiteY2171" fmla="*/ 691545 h 1237129"/>
              <a:gd name="connsiteX2172" fmla="*/ 1435439 w 3751729"/>
              <a:gd name="connsiteY2172" fmla="*/ 683175 h 1237129"/>
              <a:gd name="connsiteX2173" fmla="*/ 1447009 w 3751729"/>
              <a:gd name="connsiteY2173" fmla="*/ 675545 h 1237129"/>
              <a:gd name="connsiteX2174" fmla="*/ 1458578 w 3751729"/>
              <a:gd name="connsiteY2174" fmla="*/ 669637 h 1237129"/>
              <a:gd name="connsiteX2175" fmla="*/ 1470147 w 3751729"/>
              <a:gd name="connsiteY2175" fmla="*/ 662006 h 1237129"/>
              <a:gd name="connsiteX2176" fmla="*/ 1472608 w 3751729"/>
              <a:gd name="connsiteY2176" fmla="*/ 655360 h 1237129"/>
              <a:gd name="connsiteX2177" fmla="*/ 1472608 w 3751729"/>
              <a:gd name="connsiteY2177" fmla="*/ 646253 h 1237129"/>
              <a:gd name="connsiteX2178" fmla="*/ 1471871 w 3751729"/>
              <a:gd name="connsiteY2178" fmla="*/ 636161 h 1237129"/>
              <a:gd name="connsiteX2179" fmla="*/ 1472608 w 3751729"/>
              <a:gd name="connsiteY2179" fmla="*/ 627791 h 1237129"/>
              <a:gd name="connsiteX2180" fmla="*/ 1479993 w 3751729"/>
              <a:gd name="connsiteY2180" fmla="*/ 615976 h 1237129"/>
              <a:gd name="connsiteX2181" fmla="*/ 1489839 w 3751729"/>
              <a:gd name="connsiteY2181" fmla="*/ 606868 h 1237129"/>
              <a:gd name="connsiteX2182" fmla="*/ 1500669 w 3751729"/>
              <a:gd name="connsiteY2182" fmla="*/ 598499 h 1237129"/>
              <a:gd name="connsiteX2183" fmla="*/ 1510516 w 3751729"/>
              <a:gd name="connsiteY2183" fmla="*/ 589392 h 1237129"/>
              <a:gd name="connsiteX2184" fmla="*/ 1518885 w 3751729"/>
              <a:gd name="connsiteY2184" fmla="*/ 579299 h 1237129"/>
              <a:gd name="connsiteX2185" fmla="*/ 1523808 w 3751729"/>
              <a:gd name="connsiteY2185" fmla="*/ 565763 h 1237129"/>
              <a:gd name="connsiteX2186" fmla="*/ 1523808 w 3751729"/>
              <a:gd name="connsiteY2186" fmla="*/ 565024 h 1237129"/>
              <a:gd name="connsiteX2187" fmla="*/ 1522085 w 3751729"/>
              <a:gd name="connsiteY2187" fmla="*/ 565024 h 1237129"/>
              <a:gd name="connsiteX2188" fmla="*/ 1522085 w 3751729"/>
              <a:gd name="connsiteY2188" fmla="*/ 563302 h 1237129"/>
              <a:gd name="connsiteX2189" fmla="*/ 1522085 w 3751729"/>
              <a:gd name="connsiteY2189" fmla="*/ 561578 h 1237129"/>
              <a:gd name="connsiteX2190" fmla="*/ 1520363 w 3751729"/>
              <a:gd name="connsiteY2190" fmla="*/ 559856 h 1237129"/>
              <a:gd name="connsiteX2191" fmla="*/ 1517901 w 3751729"/>
              <a:gd name="connsiteY2191" fmla="*/ 559117 h 1237129"/>
              <a:gd name="connsiteX2192" fmla="*/ 1514701 w 3751729"/>
              <a:gd name="connsiteY2192" fmla="*/ 557394 h 1237129"/>
              <a:gd name="connsiteX2193" fmla="*/ 1512239 w 3751729"/>
              <a:gd name="connsiteY2193" fmla="*/ 557394 h 1237129"/>
              <a:gd name="connsiteX2194" fmla="*/ 1507316 w 3751729"/>
              <a:gd name="connsiteY2194" fmla="*/ 555672 h 1237129"/>
              <a:gd name="connsiteX2195" fmla="*/ 1504855 w 3751729"/>
              <a:gd name="connsiteY2195" fmla="*/ 559117 h 1237129"/>
              <a:gd name="connsiteX2196" fmla="*/ 1501655 w 3751729"/>
              <a:gd name="connsiteY2196" fmla="*/ 559117 h 1237129"/>
              <a:gd name="connsiteX2197" fmla="*/ 1497469 w 3751729"/>
              <a:gd name="connsiteY2197" fmla="*/ 559856 h 1237129"/>
              <a:gd name="connsiteX2198" fmla="*/ 1491808 w 3751729"/>
              <a:gd name="connsiteY2198" fmla="*/ 559856 h 1237129"/>
              <a:gd name="connsiteX2199" fmla="*/ 1491808 w 3751729"/>
              <a:gd name="connsiteY2199" fmla="*/ 555672 h 1237129"/>
              <a:gd name="connsiteX2200" fmla="*/ 1489348 w 3751729"/>
              <a:gd name="connsiteY2200" fmla="*/ 555672 h 1237129"/>
              <a:gd name="connsiteX2201" fmla="*/ 1489348 w 3751729"/>
              <a:gd name="connsiteY2201" fmla="*/ 543855 h 1237129"/>
              <a:gd name="connsiteX2202" fmla="*/ 1487624 w 3751729"/>
              <a:gd name="connsiteY2202" fmla="*/ 527856 h 1237129"/>
              <a:gd name="connsiteX2203" fmla="*/ 1485901 w 3751729"/>
              <a:gd name="connsiteY2203" fmla="*/ 508655 h 1237129"/>
              <a:gd name="connsiteX2204" fmla="*/ 1485901 w 3751729"/>
              <a:gd name="connsiteY2204" fmla="*/ 490194 h 1237129"/>
              <a:gd name="connsiteX2205" fmla="*/ 1485901 w 3751729"/>
              <a:gd name="connsiteY2205" fmla="*/ 473456 h 1237129"/>
              <a:gd name="connsiteX2206" fmla="*/ 1489101 w 3751729"/>
              <a:gd name="connsiteY2206" fmla="*/ 463363 h 1237129"/>
              <a:gd name="connsiteX2207" fmla="*/ 1489593 w 3751729"/>
              <a:gd name="connsiteY2207" fmla="*/ 460410 h 1237129"/>
              <a:gd name="connsiteX2208" fmla="*/ 1491316 w 3751729"/>
              <a:gd name="connsiteY2208" fmla="*/ 456964 h 1237129"/>
              <a:gd name="connsiteX2209" fmla="*/ 1493038 w 3751729"/>
              <a:gd name="connsiteY2209" fmla="*/ 456225 h 1237129"/>
              <a:gd name="connsiteX2210" fmla="*/ 1494762 w 3751729"/>
              <a:gd name="connsiteY2210" fmla="*/ 456225 h 1237129"/>
              <a:gd name="connsiteX2211" fmla="*/ 1497224 w 3751729"/>
              <a:gd name="connsiteY2211" fmla="*/ 456225 h 1237129"/>
              <a:gd name="connsiteX2212" fmla="*/ 1500424 w 3751729"/>
              <a:gd name="connsiteY2212" fmla="*/ 454501 h 1237129"/>
              <a:gd name="connsiteX2213" fmla="*/ 1504609 w 3751729"/>
              <a:gd name="connsiteY2213" fmla="*/ 454501 h 1237129"/>
              <a:gd name="connsiteX2214" fmla="*/ 1516177 w 3751729"/>
              <a:gd name="connsiteY2214" fmla="*/ 458687 h 1237129"/>
              <a:gd name="connsiteX2215" fmla="*/ 1529469 w 3751729"/>
              <a:gd name="connsiteY2215" fmla="*/ 462133 h 1237129"/>
              <a:gd name="connsiteX2216" fmla="*/ 1543501 w 3751729"/>
              <a:gd name="connsiteY2216" fmla="*/ 462133 h 1237129"/>
              <a:gd name="connsiteX2217" fmla="*/ 1557531 w 3751729"/>
              <a:gd name="connsiteY2217" fmla="*/ 458687 h 1237129"/>
              <a:gd name="connsiteX2218" fmla="*/ 1568362 w 3751729"/>
              <a:gd name="connsiteY2218" fmla="*/ 454501 h 1237129"/>
              <a:gd name="connsiteX2219" fmla="*/ 1569100 w 3751729"/>
              <a:gd name="connsiteY2219" fmla="*/ 452779 h 1237129"/>
              <a:gd name="connsiteX2220" fmla="*/ 1569100 w 3751729"/>
              <a:gd name="connsiteY2220" fmla="*/ 451056 h 1237129"/>
              <a:gd name="connsiteX2221" fmla="*/ 1570824 w 3751729"/>
              <a:gd name="connsiteY2221" fmla="*/ 451056 h 1237129"/>
              <a:gd name="connsiteX2222" fmla="*/ 1570824 w 3751729"/>
              <a:gd name="connsiteY2222" fmla="*/ 450318 h 1237129"/>
              <a:gd name="connsiteX2223" fmla="*/ 1570824 w 3751729"/>
              <a:gd name="connsiteY2223" fmla="*/ 448595 h 1237129"/>
              <a:gd name="connsiteX2224" fmla="*/ 1574024 w 3751729"/>
              <a:gd name="connsiteY2224" fmla="*/ 436778 h 1237129"/>
              <a:gd name="connsiteX2225" fmla="*/ 1574024 w 3751729"/>
              <a:gd name="connsiteY2225" fmla="*/ 423241 h 1237129"/>
              <a:gd name="connsiteX2226" fmla="*/ 1572300 w 3751729"/>
              <a:gd name="connsiteY2226" fmla="*/ 410687 h 1237129"/>
              <a:gd name="connsiteX2227" fmla="*/ 1570578 w 3751729"/>
              <a:gd name="connsiteY2227" fmla="*/ 395672 h 1237129"/>
              <a:gd name="connsiteX2228" fmla="*/ 1560731 w 3751729"/>
              <a:gd name="connsiteY2228" fmla="*/ 393210 h 1237129"/>
              <a:gd name="connsiteX2229" fmla="*/ 1550885 w 3751729"/>
              <a:gd name="connsiteY2229" fmla="*/ 389764 h 1237129"/>
              <a:gd name="connsiteX2230" fmla="*/ 1541039 w 3751729"/>
              <a:gd name="connsiteY2230" fmla="*/ 383856 h 1237129"/>
              <a:gd name="connsiteX2231" fmla="*/ 1533654 w 3751729"/>
              <a:gd name="connsiteY2231" fmla="*/ 376225 h 1237129"/>
              <a:gd name="connsiteX2232" fmla="*/ 1536115 w 3751729"/>
              <a:gd name="connsiteY2232" fmla="*/ 375487 h 1237129"/>
              <a:gd name="connsiteX2233" fmla="*/ 1539316 w 3751729"/>
              <a:gd name="connsiteY2233" fmla="*/ 373764 h 1237129"/>
              <a:gd name="connsiteX2234" fmla="*/ 1541039 w 3751729"/>
              <a:gd name="connsiteY2234" fmla="*/ 372041 h 1237129"/>
              <a:gd name="connsiteX2235" fmla="*/ 1543501 w 3751729"/>
              <a:gd name="connsiteY2235" fmla="*/ 372041 h 1237129"/>
              <a:gd name="connsiteX2236" fmla="*/ 1546701 w 3751729"/>
              <a:gd name="connsiteY2236" fmla="*/ 370318 h 1237129"/>
              <a:gd name="connsiteX2237" fmla="*/ 1551624 w 3751729"/>
              <a:gd name="connsiteY2237" fmla="*/ 370318 h 1237129"/>
              <a:gd name="connsiteX2238" fmla="*/ 1554823 w 3751729"/>
              <a:gd name="connsiteY2238" fmla="*/ 369579 h 1237129"/>
              <a:gd name="connsiteX2239" fmla="*/ 1559008 w 3751729"/>
              <a:gd name="connsiteY2239" fmla="*/ 367856 h 1237129"/>
              <a:gd name="connsiteX2240" fmla="*/ 1563193 w 3751729"/>
              <a:gd name="connsiteY2240" fmla="*/ 367856 h 1237129"/>
              <a:gd name="connsiteX2241" fmla="*/ 1568115 w 3751729"/>
              <a:gd name="connsiteY2241" fmla="*/ 367856 h 1237129"/>
              <a:gd name="connsiteX2242" fmla="*/ 1568115 w 3751729"/>
              <a:gd name="connsiteY2242" fmla="*/ 351856 h 1237129"/>
              <a:gd name="connsiteX2243" fmla="*/ 1572300 w 3751729"/>
              <a:gd name="connsiteY2243" fmla="*/ 351856 h 1237129"/>
              <a:gd name="connsiteX2244" fmla="*/ 1576484 w 3751729"/>
              <a:gd name="connsiteY2244" fmla="*/ 352595 h 1237129"/>
              <a:gd name="connsiteX2245" fmla="*/ 1578208 w 3751729"/>
              <a:gd name="connsiteY2245" fmla="*/ 354318 h 1237129"/>
              <a:gd name="connsiteX2246" fmla="*/ 1580670 w 3751729"/>
              <a:gd name="connsiteY2246" fmla="*/ 354318 h 1237129"/>
              <a:gd name="connsiteX2247" fmla="*/ 1583870 w 3751729"/>
              <a:gd name="connsiteY2247" fmla="*/ 356041 h 1237129"/>
              <a:gd name="connsiteX2248" fmla="*/ 1586331 w 3751729"/>
              <a:gd name="connsiteY2248" fmla="*/ 357764 h 1237129"/>
              <a:gd name="connsiteX2249" fmla="*/ 1589531 w 3751729"/>
              <a:gd name="connsiteY2249" fmla="*/ 354318 h 1237129"/>
              <a:gd name="connsiteX2250" fmla="*/ 1593716 w 3751729"/>
              <a:gd name="connsiteY2250" fmla="*/ 352595 h 1237129"/>
              <a:gd name="connsiteX2251" fmla="*/ 1596915 w 3751729"/>
              <a:gd name="connsiteY2251" fmla="*/ 351856 h 1237129"/>
              <a:gd name="connsiteX2252" fmla="*/ 1601100 w 3751729"/>
              <a:gd name="connsiteY2252" fmla="*/ 350133 h 1237129"/>
              <a:gd name="connsiteX2253" fmla="*/ 1602823 w 3751729"/>
              <a:gd name="connsiteY2253" fmla="*/ 348410 h 1237129"/>
              <a:gd name="connsiteX2254" fmla="*/ 1603562 w 3751729"/>
              <a:gd name="connsiteY2254" fmla="*/ 345949 h 1237129"/>
              <a:gd name="connsiteX2255" fmla="*/ 1603562 w 3751729"/>
              <a:gd name="connsiteY2255" fmla="*/ 342502 h 1237129"/>
              <a:gd name="connsiteX2256" fmla="*/ 1603562 w 3751729"/>
              <a:gd name="connsiteY2256" fmla="*/ 340041 h 1237129"/>
              <a:gd name="connsiteX2257" fmla="*/ 1603562 w 3751729"/>
              <a:gd name="connsiteY2257" fmla="*/ 336595 h 1237129"/>
              <a:gd name="connsiteX2258" fmla="*/ 1605285 w 3751729"/>
              <a:gd name="connsiteY2258" fmla="*/ 334133 h 1237129"/>
              <a:gd name="connsiteX2259" fmla="*/ 1607008 w 3751729"/>
              <a:gd name="connsiteY2259" fmla="*/ 330687 h 1237129"/>
              <a:gd name="connsiteX2260" fmla="*/ 1634331 w 3751729"/>
              <a:gd name="connsiteY2260" fmla="*/ 322318 h 1237129"/>
              <a:gd name="connsiteX2261" fmla="*/ 1639992 w 3751729"/>
              <a:gd name="connsiteY2261" fmla="*/ 313210 h 1237129"/>
              <a:gd name="connsiteX2262" fmla="*/ 1641715 w 3751729"/>
              <a:gd name="connsiteY2262" fmla="*/ 304840 h 1237129"/>
              <a:gd name="connsiteX2263" fmla="*/ 1645899 w 3751729"/>
              <a:gd name="connsiteY2263" fmla="*/ 295734 h 1237129"/>
              <a:gd name="connsiteX2264" fmla="*/ 1654269 w 3751729"/>
              <a:gd name="connsiteY2264" fmla="*/ 289826 h 1237129"/>
              <a:gd name="connsiteX2265" fmla="*/ 1665100 w 3751729"/>
              <a:gd name="connsiteY2265" fmla="*/ 285641 h 1237129"/>
              <a:gd name="connsiteX2266" fmla="*/ 1677407 w 3751729"/>
              <a:gd name="connsiteY2266" fmla="*/ 281457 h 1237129"/>
              <a:gd name="connsiteX2267" fmla="*/ 1688976 w 3751729"/>
              <a:gd name="connsiteY2267" fmla="*/ 277271 h 1237129"/>
              <a:gd name="connsiteX2268" fmla="*/ 1690699 w 3751729"/>
              <a:gd name="connsiteY2268" fmla="*/ 275549 h 1237129"/>
              <a:gd name="connsiteX2269" fmla="*/ 1690699 w 3751729"/>
              <a:gd name="connsiteY2269" fmla="*/ 273825 h 1237129"/>
              <a:gd name="connsiteX2270" fmla="*/ 1690699 w 3751729"/>
              <a:gd name="connsiteY2270" fmla="*/ 272103 h 1237129"/>
              <a:gd name="connsiteX2271" fmla="*/ 1692422 w 3751729"/>
              <a:gd name="connsiteY2271" fmla="*/ 271365 h 1237129"/>
              <a:gd name="connsiteX2272" fmla="*/ 1686760 w 3751729"/>
              <a:gd name="connsiteY2272" fmla="*/ 256348 h 1237129"/>
              <a:gd name="connsiteX2273" fmla="*/ 1683560 w 3751729"/>
              <a:gd name="connsiteY2273" fmla="*/ 238625 h 1237129"/>
              <a:gd name="connsiteX2274" fmla="*/ 1683560 w 3751729"/>
              <a:gd name="connsiteY2274" fmla="*/ 222626 h 1237129"/>
              <a:gd name="connsiteX2275" fmla="*/ 1682823 w 3751729"/>
              <a:gd name="connsiteY2275" fmla="*/ 209088 h 1237129"/>
              <a:gd name="connsiteX2276" fmla="*/ 1695130 w 3751729"/>
              <a:gd name="connsiteY2276" fmla="*/ 208349 h 1237129"/>
              <a:gd name="connsiteX2277" fmla="*/ 1704238 w 3751729"/>
              <a:gd name="connsiteY2277" fmla="*/ 204903 h 1237129"/>
              <a:gd name="connsiteX2278" fmla="*/ 1714084 w 3751729"/>
              <a:gd name="connsiteY2278" fmla="*/ 202441 h 1237129"/>
              <a:gd name="connsiteX2279" fmla="*/ 1714084 w 3751729"/>
              <a:gd name="connsiteY2279" fmla="*/ 209088 h 1237129"/>
              <a:gd name="connsiteX2280" fmla="*/ 1712361 w 3751729"/>
              <a:gd name="connsiteY2280" fmla="*/ 214996 h 1237129"/>
              <a:gd name="connsiteX2281" fmla="*/ 1710637 w 3751729"/>
              <a:gd name="connsiteY2281" fmla="*/ 225826 h 1237129"/>
              <a:gd name="connsiteX2282" fmla="*/ 1709899 w 3751729"/>
              <a:gd name="connsiteY2282" fmla="*/ 240103 h 1237129"/>
              <a:gd name="connsiteX2283" fmla="*/ 1708176 w 3751729"/>
              <a:gd name="connsiteY2283" fmla="*/ 253641 h 1237129"/>
              <a:gd name="connsiteX2284" fmla="*/ 1708176 w 3751729"/>
              <a:gd name="connsiteY2284" fmla="*/ 263734 h 1237129"/>
              <a:gd name="connsiteX2285" fmla="*/ 1712361 w 3751729"/>
              <a:gd name="connsiteY2285" fmla="*/ 266194 h 1237129"/>
              <a:gd name="connsiteX2286" fmla="*/ 1715560 w 3751729"/>
              <a:gd name="connsiteY2286" fmla="*/ 267918 h 1237129"/>
              <a:gd name="connsiteX2287" fmla="*/ 1716300 w 3751729"/>
              <a:gd name="connsiteY2287" fmla="*/ 269640 h 1237129"/>
              <a:gd name="connsiteX2288" fmla="*/ 1719499 w 3751729"/>
              <a:gd name="connsiteY2288" fmla="*/ 271365 h 1237129"/>
              <a:gd name="connsiteX2289" fmla="*/ 1723681 w 3751729"/>
              <a:gd name="connsiteY2289" fmla="*/ 273825 h 1237129"/>
              <a:gd name="connsiteX2290" fmla="*/ 1732789 w 3751729"/>
              <a:gd name="connsiteY2290" fmla="*/ 269640 h 1237129"/>
              <a:gd name="connsiteX2291" fmla="*/ 1739189 w 3751729"/>
              <a:gd name="connsiteY2291" fmla="*/ 269640 h 1237129"/>
              <a:gd name="connsiteX2292" fmla="*/ 1743373 w 3751729"/>
              <a:gd name="connsiteY2292" fmla="*/ 272103 h 1237129"/>
              <a:gd name="connsiteX2293" fmla="*/ 1749035 w 3751729"/>
              <a:gd name="connsiteY2293" fmla="*/ 277026 h 1237129"/>
              <a:gd name="connsiteX2294" fmla="*/ 1756419 w 3751729"/>
              <a:gd name="connsiteY2294" fmla="*/ 277026 h 1237129"/>
              <a:gd name="connsiteX2295" fmla="*/ 1764788 w 3751729"/>
              <a:gd name="connsiteY2295" fmla="*/ 273580 h 1237129"/>
              <a:gd name="connsiteX2296" fmla="*/ 1772173 w 3751729"/>
              <a:gd name="connsiteY2296" fmla="*/ 269395 h 1237129"/>
              <a:gd name="connsiteX2297" fmla="*/ 1776357 w 3751729"/>
              <a:gd name="connsiteY2297" fmla="*/ 265210 h 1237129"/>
              <a:gd name="connsiteX2298" fmla="*/ 1782019 w 3751729"/>
              <a:gd name="connsiteY2298" fmla="*/ 261764 h 1237129"/>
              <a:gd name="connsiteX2299" fmla="*/ 1789403 w 3751729"/>
              <a:gd name="connsiteY2299" fmla="*/ 259303 h 1237129"/>
              <a:gd name="connsiteX2300" fmla="*/ 1800973 w 3751729"/>
              <a:gd name="connsiteY2300" fmla="*/ 260041 h 1237129"/>
              <a:gd name="connsiteX2301" fmla="*/ 1816727 w 3751729"/>
              <a:gd name="connsiteY2301" fmla="*/ 263487 h 1237129"/>
              <a:gd name="connsiteX2302" fmla="*/ 1818450 w 3751729"/>
              <a:gd name="connsiteY2302" fmla="*/ 259303 h 1237129"/>
              <a:gd name="connsiteX2303" fmla="*/ 1819188 w 3751729"/>
              <a:gd name="connsiteY2303" fmla="*/ 257580 h 1237129"/>
              <a:gd name="connsiteX2304" fmla="*/ 1822388 w 3751729"/>
              <a:gd name="connsiteY2304" fmla="*/ 254133 h 1237129"/>
              <a:gd name="connsiteX2305" fmla="*/ 1824849 w 3751729"/>
              <a:gd name="connsiteY2305" fmla="*/ 253395 h 1237129"/>
              <a:gd name="connsiteX2306" fmla="*/ 1828049 w 3751729"/>
              <a:gd name="connsiteY2306" fmla="*/ 253395 h 1237129"/>
              <a:gd name="connsiteX2307" fmla="*/ 1832235 w 3751729"/>
              <a:gd name="connsiteY2307" fmla="*/ 251673 h 1237129"/>
              <a:gd name="connsiteX2308" fmla="*/ 1832235 w 3751729"/>
              <a:gd name="connsiteY2308" fmla="*/ 226564 h 1237129"/>
              <a:gd name="connsiteX2309" fmla="*/ 1835434 w 3751729"/>
              <a:gd name="connsiteY2309" fmla="*/ 206380 h 1237129"/>
              <a:gd name="connsiteX2310" fmla="*/ 1837895 w 3751729"/>
              <a:gd name="connsiteY2310" fmla="*/ 202934 h 1237129"/>
              <a:gd name="connsiteX2311" fmla="*/ 1841096 w 3751729"/>
              <a:gd name="connsiteY2311" fmla="*/ 202195 h 1237129"/>
              <a:gd name="connsiteX2312" fmla="*/ 1843557 w 3751729"/>
              <a:gd name="connsiteY2312" fmla="*/ 198750 h 1237129"/>
              <a:gd name="connsiteX2313" fmla="*/ 1846757 w 3751729"/>
              <a:gd name="connsiteY2313" fmla="*/ 197026 h 1237129"/>
              <a:gd name="connsiteX2314" fmla="*/ 1850943 w 3751729"/>
              <a:gd name="connsiteY2314" fmla="*/ 196288 h 1237129"/>
              <a:gd name="connsiteX2315" fmla="*/ 1850943 w 3751729"/>
              <a:gd name="connsiteY2315" fmla="*/ 198750 h 1237129"/>
              <a:gd name="connsiteX2316" fmla="*/ 1853403 w 3751729"/>
              <a:gd name="connsiteY2316" fmla="*/ 202195 h 1237129"/>
              <a:gd name="connsiteX2317" fmla="*/ 1855127 w 3751729"/>
              <a:gd name="connsiteY2317" fmla="*/ 204657 h 1237129"/>
              <a:gd name="connsiteX2318" fmla="*/ 1856849 w 3751729"/>
              <a:gd name="connsiteY2318" fmla="*/ 208103 h 1237129"/>
              <a:gd name="connsiteX2319" fmla="*/ 1858573 w 3751729"/>
              <a:gd name="connsiteY2319" fmla="*/ 208841 h 1237129"/>
              <a:gd name="connsiteX2320" fmla="*/ 1862757 w 3751729"/>
              <a:gd name="connsiteY2320" fmla="*/ 210564 h 1237129"/>
              <a:gd name="connsiteX2321" fmla="*/ 1866942 w 3751729"/>
              <a:gd name="connsiteY2321" fmla="*/ 212288 h 1237129"/>
              <a:gd name="connsiteX2322" fmla="*/ 1865219 w 3751729"/>
              <a:gd name="connsiteY2322" fmla="*/ 198750 h 1237129"/>
              <a:gd name="connsiteX2323" fmla="*/ 1864480 w 3751729"/>
              <a:gd name="connsiteY2323" fmla="*/ 190380 h 1237129"/>
              <a:gd name="connsiteX2324" fmla="*/ 1861280 w 3751729"/>
              <a:gd name="connsiteY2324" fmla="*/ 184473 h 1237129"/>
              <a:gd name="connsiteX2325" fmla="*/ 1859557 w 3751729"/>
              <a:gd name="connsiteY2325" fmla="*/ 176842 h 1237129"/>
              <a:gd name="connsiteX2326" fmla="*/ 1857096 w 3751729"/>
              <a:gd name="connsiteY2326" fmla="*/ 163304 h 1237129"/>
              <a:gd name="connsiteX2327" fmla="*/ 1864480 w 3751729"/>
              <a:gd name="connsiteY2327" fmla="*/ 162565 h 1237129"/>
              <a:gd name="connsiteX2328" fmla="*/ 1869404 w 3751729"/>
              <a:gd name="connsiteY2328" fmla="*/ 159119 h 1237129"/>
              <a:gd name="connsiteX2329" fmla="*/ 1874326 w 3751729"/>
              <a:gd name="connsiteY2329" fmla="*/ 156658 h 1237129"/>
              <a:gd name="connsiteX2330" fmla="*/ 1879988 w 3751729"/>
              <a:gd name="connsiteY2330" fmla="*/ 153212 h 1237129"/>
              <a:gd name="connsiteX2331" fmla="*/ 1889834 w 3751729"/>
              <a:gd name="connsiteY2331" fmla="*/ 153212 h 1237129"/>
              <a:gd name="connsiteX2332" fmla="*/ 1899680 w 3751729"/>
              <a:gd name="connsiteY2332" fmla="*/ 154934 h 1237129"/>
              <a:gd name="connsiteX2333" fmla="*/ 1907065 w 3751729"/>
              <a:gd name="connsiteY2333" fmla="*/ 156658 h 1237129"/>
              <a:gd name="connsiteX2334" fmla="*/ 1914449 w 3751729"/>
              <a:gd name="connsiteY2334" fmla="*/ 153212 h 1237129"/>
              <a:gd name="connsiteX2335" fmla="*/ 1920111 w 3751729"/>
              <a:gd name="connsiteY2335" fmla="*/ 144842 h 1237129"/>
              <a:gd name="connsiteX2336" fmla="*/ 1915187 w 3751729"/>
              <a:gd name="connsiteY2336" fmla="*/ 143119 h 1237129"/>
              <a:gd name="connsiteX2337" fmla="*/ 1911003 w 3751729"/>
              <a:gd name="connsiteY2337" fmla="*/ 141396 h 1237129"/>
              <a:gd name="connsiteX2338" fmla="*/ 1908541 w 3751729"/>
              <a:gd name="connsiteY2338" fmla="*/ 139673 h 1237129"/>
              <a:gd name="connsiteX2339" fmla="*/ 1903619 w 3751729"/>
              <a:gd name="connsiteY2339" fmla="*/ 138935 h 1237129"/>
              <a:gd name="connsiteX2340" fmla="*/ 1897957 w 3751729"/>
              <a:gd name="connsiteY2340" fmla="*/ 138935 h 1237129"/>
              <a:gd name="connsiteX2341" fmla="*/ 1883926 w 3751729"/>
              <a:gd name="connsiteY2341" fmla="*/ 145581 h 1237129"/>
              <a:gd name="connsiteX2342" fmla="*/ 1868173 w 3751729"/>
              <a:gd name="connsiteY2342" fmla="*/ 150503 h 1237129"/>
              <a:gd name="connsiteX2343" fmla="*/ 1850943 w 3751729"/>
              <a:gd name="connsiteY2343" fmla="*/ 152965 h 1237129"/>
              <a:gd name="connsiteX2344" fmla="*/ 1847742 w 3751729"/>
              <a:gd name="connsiteY2344" fmla="*/ 145334 h 1237129"/>
              <a:gd name="connsiteX2345" fmla="*/ 1843557 w 3751729"/>
              <a:gd name="connsiteY2345" fmla="*/ 139427 h 1237129"/>
              <a:gd name="connsiteX2346" fmla="*/ 1839373 w 3751729"/>
              <a:gd name="connsiteY2346" fmla="*/ 133519 h 1237129"/>
              <a:gd name="connsiteX2347" fmla="*/ 1836173 w 3751729"/>
              <a:gd name="connsiteY2347" fmla="*/ 126873 h 1237129"/>
              <a:gd name="connsiteX2348" fmla="*/ 1835434 w 3751729"/>
              <a:gd name="connsiteY2348" fmla="*/ 115058 h 1237129"/>
              <a:gd name="connsiteX2349" fmla="*/ 1836173 w 3751729"/>
              <a:gd name="connsiteY2349" fmla="*/ 105950 h 1237129"/>
              <a:gd name="connsiteX2350" fmla="*/ 1835434 w 3751729"/>
              <a:gd name="connsiteY2350" fmla="*/ 95858 h 1237129"/>
              <a:gd name="connsiteX2351" fmla="*/ 1833711 w 3751729"/>
              <a:gd name="connsiteY2351" fmla="*/ 84042 h 1237129"/>
              <a:gd name="connsiteX2352" fmla="*/ 1835434 w 3751729"/>
              <a:gd name="connsiteY2352" fmla="*/ 73950 h 1237129"/>
              <a:gd name="connsiteX2353" fmla="*/ 1842081 w 3751729"/>
              <a:gd name="connsiteY2353" fmla="*/ 58935 h 1237129"/>
              <a:gd name="connsiteX2354" fmla="*/ 1853649 w 3751729"/>
              <a:gd name="connsiteY2354" fmla="*/ 48843 h 1237129"/>
              <a:gd name="connsiteX2355" fmla="*/ 1865219 w 3751729"/>
              <a:gd name="connsiteY2355" fmla="*/ 37027 h 1237129"/>
              <a:gd name="connsiteX2356" fmla="*/ 1875065 w 3751729"/>
              <a:gd name="connsiteY2356" fmla="*/ 25212 h 1237129"/>
              <a:gd name="connsiteX2357" fmla="*/ 1882450 w 3751729"/>
              <a:gd name="connsiteY2357" fmla="*/ 11673 h 1237129"/>
              <a:gd name="connsiteX2358" fmla="*/ 1878265 w 3751729"/>
              <a:gd name="connsiteY2358" fmla="*/ 7489 h 1237129"/>
              <a:gd name="connsiteX2359" fmla="*/ 1874081 w 3751729"/>
              <a:gd name="connsiteY2359" fmla="*/ 3304 h 1237129"/>
              <a:gd name="connsiteX2360" fmla="*/ 1731537 w 3751729"/>
              <a:gd name="connsiteY2360" fmla="*/ 0 h 1237129"/>
              <a:gd name="connsiteX2361" fmla="*/ 1863626 w 3751729"/>
              <a:gd name="connsiteY2361" fmla="*/ 0 h 1237129"/>
              <a:gd name="connsiteX2362" fmla="*/ 1858327 w 3751729"/>
              <a:gd name="connsiteY2362" fmla="*/ 843 h 1237129"/>
              <a:gd name="connsiteX2363" fmla="*/ 1845034 w 3751729"/>
              <a:gd name="connsiteY2363" fmla="*/ 1582 h 1237129"/>
              <a:gd name="connsiteX2364" fmla="*/ 1840850 w 3751729"/>
              <a:gd name="connsiteY2364" fmla="*/ 22505 h 1237129"/>
              <a:gd name="connsiteX2365" fmla="*/ 1833465 w 3751729"/>
              <a:gd name="connsiteY2365" fmla="*/ 38504 h 1237129"/>
              <a:gd name="connsiteX2366" fmla="*/ 1823619 w 3751729"/>
              <a:gd name="connsiteY2366" fmla="*/ 52043 h 1237129"/>
              <a:gd name="connsiteX2367" fmla="*/ 1812050 w 3751729"/>
              <a:gd name="connsiteY2367" fmla="*/ 64596 h 1237129"/>
              <a:gd name="connsiteX2368" fmla="*/ 1801219 w 3751729"/>
              <a:gd name="connsiteY2368" fmla="*/ 79612 h 1237129"/>
              <a:gd name="connsiteX2369" fmla="*/ 1794573 w 3751729"/>
              <a:gd name="connsiteY2369" fmla="*/ 97335 h 1237129"/>
              <a:gd name="connsiteX2370" fmla="*/ 1789649 w 3751729"/>
              <a:gd name="connsiteY2370" fmla="*/ 117519 h 1237129"/>
              <a:gd name="connsiteX2371" fmla="*/ 1798758 w 3751729"/>
              <a:gd name="connsiteY2371" fmla="*/ 125150 h 1237129"/>
              <a:gd name="connsiteX2372" fmla="*/ 1807126 w 3751729"/>
              <a:gd name="connsiteY2372" fmla="*/ 133519 h 1237129"/>
              <a:gd name="connsiteX2373" fmla="*/ 1812788 w 3751729"/>
              <a:gd name="connsiteY2373" fmla="*/ 144350 h 1237129"/>
              <a:gd name="connsiteX2374" fmla="*/ 1815988 w 3751729"/>
              <a:gd name="connsiteY2374" fmla="*/ 156904 h 1237129"/>
              <a:gd name="connsiteX2375" fmla="*/ 1811804 w 3751729"/>
              <a:gd name="connsiteY2375" fmla="*/ 158626 h 1237129"/>
              <a:gd name="connsiteX2376" fmla="*/ 1810081 w 3751729"/>
              <a:gd name="connsiteY2376" fmla="*/ 160350 h 1237129"/>
              <a:gd name="connsiteX2377" fmla="*/ 1808357 w 3751729"/>
              <a:gd name="connsiteY2377" fmla="*/ 162073 h 1237129"/>
              <a:gd name="connsiteX2378" fmla="*/ 1808357 w 3751729"/>
              <a:gd name="connsiteY2378" fmla="*/ 162811 h 1237129"/>
              <a:gd name="connsiteX2379" fmla="*/ 1806634 w 3751729"/>
              <a:gd name="connsiteY2379" fmla="*/ 164535 h 1237129"/>
              <a:gd name="connsiteX2380" fmla="*/ 1806634 w 3751729"/>
              <a:gd name="connsiteY2380" fmla="*/ 167981 h 1237129"/>
              <a:gd name="connsiteX2381" fmla="*/ 1805896 w 3751729"/>
              <a:gd name="connsiteY2381" fmla="*/ 168719 h 1237129"/>
              <a:gd name="connsiteX2382" fmla="*/ 1786943 w 3751729"/>
              <a:gd name="connsiteY2382" fmla="*/ 176349 h 1237129"/>
              <a:gd name="connsiteX2383" fmla="*/ 1784481 w 3751729"/>
              <a:gd name="connsiteY2383" fmla="*/ 194073 h 1237129"/>
              <a:gd name="connsiteX2384" fmla="*/ 1778819 w 3751729"/>
              <a:gd name="connsiteY2384" fmla="*/ 207611 h 1237129"/>
              <a:gd name="connsiteX2385" fmla="*/ 1773158 w 3751729"/>
              <a:gd name="connsiteY2385" fmla="*/ 217703 h 1237129"/>
              <a:gd name="connsiteX2386" fmla="*/ 1764050 w 3751729"/>
              <a:gd name="connsiteY2386" fmla="*/ 226073 h 1237129"/>
              <a:gd name="connsiteX2387" fmla="*/ 1756666 w 3751729"/>
              <a:gd name="connsiteY2387" fmla="*/ 235180 h 1237129"/>
              <a:gd name="connsiteX2388" fmla="*/ 1750019 w 3751729"/>
              <a:gd name="connsiteY2388" fmla="*/ 246995 h 1237129"/>
              <a:gd name="connsiteX2389" fmla="*/ 1745097 w 3751729"/>
              <a:gd name="connsiteY2389" fmla="*/ 246995 h 1237129"/>
              <a:gd name="connsiteX2390" fmla="*/ 1745097 w 3751729"/>
              <a:gd name="connsiteY2390" fmla="*/ 243549 h 1237129"/>
              <a:gd name="connsiteX2391" fmla="*/ 1733527 w 3751729"/>
              <a:gd name="connsiteY2391" fmla="*/ 227549 h 1237129"/>
              <a:gd name="connsiteX2392" fmla="*/ 1726881 w 3751729"/>
              <a:gd name="connsiteY2392" fmla="*/ 209826 h 1237129"/>
              <a:gd name="connsiteX2393" fmla="*/ 1721958 w 3751729"/>
              <a:gd name="connsiteY2393" fmla="*/ 190626 h 1237129"/>
              <a:gd name="connsiteX2394" fmla="*/ 1713592 w 3751729"/>
              <a:gd name="connsiteY2394" fmla="*/ 168719 h 1237129"/>
              <a:gd name="connsiteX2395" fmla="*/ 1702022 w 3751729"/>
              <a:gd name="connsiteY2395" fmla="*/ 174627 h 1237129"/>
              <a:gd name="connsiteX2396" fmla="*/ 1694637 w 3751729"/>
              <a:gd name="connsiteY2396" fmla="*/ 182257 h 1237129"/>
              <a:gd name="connsiteX2397" fmla="*/ 1686269 w 3751729"/>
              <a:gd name="connsiteY2397" fmla="*/ 188165 h 1237129"/>
              <a:gd name="connsiteX2398" fmla="*/ 1677161 w 3751729"/>
              <a:gd name="connsiteY2398" fmla="*/ 192349 h 1237129"/>
              <a:gd name="connsiteX2399" fmla="*/ 1663130 w 3751729"/>
              <a:gd name="connsiteY2399" fmla="*/ 195795 h 1237129"/>
              <a:gd name="connsiteX2400" fmla="*/ 1661407 w 3751729"/>
              <a:gd name="connsiteY2400" fmla="*/ 194073 h 1237129"/>
              <a:gd name="connsiteX2401" fmla="*/ 1659684 w 3751729"/>
              <a:gd name="connsiteY2401" fmla="*/ 194073 h 1237129"/>
              <a:gd name="connsiteX2402" fmla="*/ 1658946 w 3751729"/>
              <a:gd name="connsiteY2402" fmla="*/ 194073 h 1237129"/>
              <a:gd name="connsiteX2403" fmla="*/ 1657223 w 3751729"/>
              <a:gd name="connsiteY2403" fmla="*/ 192349 h 1237129"/>
              <a:gd name="connsiteX2404" fmla="*/ 1654023 w 3751729"/>
              <a:gd name="connsiteY2404" fmla="*/ 192349 h 1237129"/>
              <a:gd name="connsiteX2405" fmla="*/ 1653285 w 3751729"/>
              <a:gd name="connsiteY2405" fmla="*/ 174627 h 1237129"/>
              <a:gd name="connsiteX2406" fmla="*/ 1651560 w 3751729"/>
              <a:gd name="connsiteY2406" fmla="*/ 160350 h 1237129"/>
              <a:gd name="connsiteX2407" fmla="*/ 1648361 w 3751729"/>
              <a:gd name="connsiteY2407" fmla="*/ 148534 h 1237129"/>
              <a:gd name="connsiteX2408" fmla="*/ 1645899 w 3751729"/>
              <a:gd name="connsiteY2408" fmla="*/ 134996 h 1237129"/>
              <a:gd name="connsiteX2409" fmla="*/ 1644176 w 3751729"/>
              <a:gd name="connsiteY2409" fmla="*/ 117273 h 1237129"/>
              <a:gd name="connsiteX2410" fmla="*/ 1651560 w 3751729"/>
              <a:gd name="connsiteY2410" fmla="*/ 109642 h 1237129"/>
              <a:gd name="connsiteX2411" fmla="*/ 1654023 w 3751729"/>
              <a:gd name="connsiteY2411" fmla="*/ 102997 h 1237129"/>
              <a:gd name="connsiteX2412" fmla="*/ 1655746 w 3751729"/>
              <a:gd name="connsiteY2412" fmla="*/ 93889 h 1237129"/>
              <a:gd name="connsiteX2413" fmla="*/ 1659931 w 3751729"/>
              <a:gd name="connsiteY2413" fmla="*/ 82074 h 1237129"/>
              <a:gd name="connsiteX2414" fmla="*/ 1663130 w 3751729"/>
              <a:gd name="connsiteY2414" fmla="*/ 79612 h 1237129"/>
              <a:gd name="connsiteX2415" fmla="*/ 1667315 w 3751729"/>
              <a:gd name="connsiteY2415" fmla="*/ 75428 h 1237129"/>
              <a:gd name="connsiteX2416" fmla="*/ 1671499 w 3751729"/>
              <a:gd name="connsiteY2416" fmla="*/ 70504 h 1237129"/>
              <a:gd name="connsiteX2417" fmla="*/ 1676422 w 3751729"/>
              <a:gd name="connsiteY2417" fmla="*/ 66319 h 1237129"/>
              <a:gd name="connsiteX2418" fmla="*/ 1678884 w 3751729"/>
              <a:gd name="connsiteY2418" fmla="*/ 68042 h 1237129"/>
              <a:gd name="connsiteX2419" fmla="*/ 1680607 w 3751729"/>
              <a:gd name="connsiteY2419" fmla="*/ 69765 h 1237129"/>
              <a:gd name="connsiteX2420" fmla="*/ 1682329 w 3751729"/>
              <a:gd name="connsiteY2420" fmla="*/ 70504 h 1237129"/>
              <a:gd name="connsiteX2421" fmla="*/ 1683068 w 3751729"/>
              <a:gd name="connsiteY2421" fmla="*/ 72227 h 1237129"/>
              <a:gd name="connsiteX2422" fmla="*/ 1686269 w 3751729"/>
              <a:gd name="connsiteY2422" fmla="*/ 69765 h 1237129"/>
              <a:gd name="connsiteX2423" fmla="*/ 1687991 w 3751729"/>
              <a:gd name="connsiteY2423" fmla="*/ 66319 h 1237129"/>
              <a:gd name="connsiteX2424" fmla="*/ 1688731 w 3751729"/>
              <a:gd name="connsiteY2424" fmla="*/ 63858 h 1237129"/>
              <a:gd name="connsiteX2425" fmla="*/ 1690453 w 3751729"/>
              <a:gd name="connsiteY2425" fmla="*/ 58935 h 1237129"/>
              <a:gd name="connsiteX2426" fmla="*/ 1692176 w 3751729"/>
              <a:gd name="connsiteY2426" fmla="*/ 56473 h 1237129"/>
              <a:gd name="connsiteX2427" fmla="*/ 1702022 w 3751729"/>
              <a:gd name="connsiteY2427" fmla="*/ 50566 h 1237129"/>
              <a:gd name="connsiteX2428" fmla="*/ 1710391 w 3751729"/>
              <a:gd name="connsiteY2428" fmla="*/ 47119 h 1237129"/>
              <a:gd name="connsiteX2429" fmla="*/ 1717775 w 3751729"/>
              <a:gd name="connsiteY2429" fmla="*/ 40473 h 1237129"/>
              <a:gd name="connsiteX2430" fmla="*/ 1715314 w 3751729"/>
              <a:gd name="connsiteY2430" fmla="*/ 38750 h 1237129"/>
              <a:gd name="connsiteX2431" fmla="*/ 1713592 w 3751729"/>
              <a:gd name="connsiteY2431" fmla="*/ 38750 h 1237129"/>
              <a:gd name="connsiteX2432" fmla="*/ 1711869 w 3751729"/>
              <a:gd name="connsiteY2432" fmla="*/ 38750 h 1237129"/>
              <a:gd name="connsiteX2433" fmla="*/ 1711869 w 3751729"/>
              <a:gd name="connsiteY2433" fmla="*/ 37027 h 1237129"/>
              <a:gd name="connsiteX2434" fmla="*/ 1711869 w 3751729"/>
              <a:gd name="connsiteY2434" fmla="*/ 34566 h 1237129"/>
              <a:gd name="connsiteX2435" fmla="*/ 1710146 w 3751729"/>
              <a:gd name="connsiteY2435" fmla="*/ 31120 h 1237129"/>
              <a:gd name="connsiteX2436" fmla="*/ 1720975 w 3751729"/>
              <a:gd name="connsiteY2436" fmla="*/ 17581 h 1237129"/>
              <a:gd name="connsiteX2437" fmla="*/ 1730820 w 3751729"/>
              <a:gd name="connsiteY2437" fmla="*/ 1582 h 1237129"/>
              <a:gd name="connsiteX2438" fmla="*/ 1335283 w 3751729"/>
              <a:gd name="connsiteY2438" fmla="*/ 0 h 1237129"/>
              <a:gd name="connsiteX2439" fmla="*/ 1355141 w 3751729"/>
              <a:gd name="connsiteY2439" fmla="*/ 0 h 1237129"/>
              <a:gd name="connsiteX2440" fmla="*/ 1357409 w 3751729"/>
              <a:gd name="connsiteY2440" fmla="*/ 4536 h 1237129"/>
              <a:gd name="connsiteX2441" fmla="*/ 1360609 w 3751729"/>
              <a:gd name="connsiteY2441" fmla="*/ 6998 h 1237129"/>
              <a:gd name="connsiteX2442" fmla="*/ 1363070 w 3751729"/>
              <a:gd name="connsiteY2442" fmla="*/ 12905 h 1237129"/>
              <a:gd name="connsiteX2443" fmla="*/ 1372178 w 3751729"/>
              <a:gd name="connsiteY2443" fmla="*/ 5521 h 1237129"/>
              <a:gd name="connsiteX2444" fmla="*/ 1380000 w 3751729"/>
              <a:gd name="connsiteY2444" fmla="*/ 0 h 1237129"/>
              <a:gd name="connsiteX2445" fmla="*/ 1394146 w 3751729"/>
              <a:gd name="connsiteY2445" fmla="*/ 0 h 1237129"/>
              <a:gd name="connsiteX2446" fmla="*/ 1396054 w 3751729"/>
              <a:gd name="connsiteY2446" fmla="*/ 1337 h 1237129"/>
              <a:gd name="connsiteX2447" fmla="*/ 1396054 w 3751729"/>
              <a:gd name="connsiteY2447" fmla="*/ 2812 h 1237129"/>
              <a:gd name="connsiteX2448" fmla="*/ 1397778 w 3751729"/>
              <a:gd name="connsiteY2448" fmla="*/ 2812 h 1237129"/>
              <a:gd name="connsiteX2449" fmla="*/ 1399501 w 3751729"/>
              <a:gd name="connsiteY2449" fmla="*/ 2812 h 1237129"/>
              <a:gd name="connsiteX2450" fmla="*/ 1401962 w 3751729"/>
              <a:gd name="connsiteY2450" fmla="*/ 2812 h 1237129"/>
              <a:gd name="connsiteX2451" fmla="*/ 1407235 w 3751729"/>
              <a:gd name="connsiteY2451" fmla="*/ 0 h 1237129"/>
              <a:gd name="connsiteX2452" fmla="*/ 1442331 w 3751729"/>
              <a:gd name="connsiteY2452" fmla="*/ 0 h 1237129"/>
              <a:gd name="connsiteX2453" fmla="*/ 1442331 w 3751729"/>
              <a:gd name="connsiteY2453" fmla="*/ 2812 h 1237129"/>
              <a:gd name="connsiteX2454" fmla="*/ 1442331 w 3751729"/>
              <a:gd name="connsiteY2454" fmla="*/ 6998 h 1237129"/>
              <a:gd name="connsiteX2455" fmla="*/ 1444054 w 3751729"/>
              <a:gd name="connsiteY2455" fmla="*/ 18813 h 1237129"/>
              <a:gd name="connsiteX2456" fmla="*/ 1445777 w 3751729"/>
              <a:gd name="connsiteY2456" fmla="*/ 32105 h 1237129"/>
              <a:gd name="connsiteX2457" fmla="*/ 1445777 w 3751729"/>
              <a:gd name="connsiteY2457" fmla="*/ 43674 h 1237129"/>
              <a:gd name="connsiteX2458" fmla="*/ 1429285 w 3751729"/>
              <a:gd name="connsiteY2458" fmla="*/ 52043 h 1237129"/>
              <a:gd name="connsiteX2459" fmla="*/ 1411070 w 3751729"/>
              <a:gd name="connsiteY2459" fmla="*/ 59428 h 1237129"/>
              <a:gd name="connsiteX2460" fmla="*/ 1393594 w 3751729"/>
              <a:gd name="connsiteY2460" fmla="*/ 67796 h 1237129"/>
              <a:gd name="connsiteX2461" fmla="*/ 1378824 w 3751729"/>
              <a:gd name="connsiteY2461" fmla="*/ 79612 h 1237129"/>
              <a:gd name="connsiteX2462" fmla="*/ 1374640 w 3751729"/>
              <a:gd name="connsiteY2462" fmla="*/ 77151 h 1237129"/>
              <a:gd name="connsiteX2463" fmla="*/ 1367255 w 3751729"/>
              <a:gd name="connsiteY2463" fmla="*/ 73705 h 1237129"/>
              <a:gd name="connsiteX2464" fmla="*/ 1357409 w 3751729"/>
              <a:gd name="connsiteY2464" fmla="*/ 67796 h 1237129"/>
              <a:gd name="connsiteX2465" fmla="*/ 1349040 w 3751729"/>
              <a:gd name="connsiteY2465" fmla="*/ 63612 h 1237129"/>
              <a:gd name="connsiteX2466" fmla="*/ 1341655 w 3751729"/>
              <a:gd name="connsiteY2466" fmla="*/ 59428 h 1237129"/>
              <a:gd name="connsiteX2467" fmla="*/ 1338209 w 3751729"/>
              <a:gd name="connsiteY2467" fmla="*/ 56228 h 1237129"/>
              <a:gd name="connsiteX2468" fmla="*/ 1339932 w 3751729"/>
              <a:gd name="connsiteY2468" fmla="*/ 55490 h 1237129"/>
              <a:gd name="connsiteX2469" fmla="*/ 1341655 w 3751729"/>
              <a:gd name="connsiteY2469" fmla="*/ 53766 h 1237129"/>
              <a:gd name="connsiteX2470" fmla="*/ 1343378 w 3751729"/>
              <a:gd name="connsiteY2470" fmla="*/ 52043 h 1237129"/>
              <a:gd name="connsiteX2471" fmla="*/ 1343378 w 3751729"/>
              <a:gd name="connsiteY2471" fmla="*/ 50320 h 1237129"/>
              <a:gd name="connsiteX2472" fmla="*/ 1344116 w 3751729"/>
              <a:gd name="connsiteY2472" fmla="*/ 47859 h 1237129"/>
              <a:gd name="connsiteX2473" fmla="*/ 1339932 w 3751729"/>
              <a:gd name="connsiteY2473" fmla="*/ 44658 h 1237129"/>
              <a:gd name="connsiteX2474" fmla="*/ 1334271 w 3751729"/>
              <a:gd name="connsiteY2474" fmla="*/ 43674 h 1237129"/>
              <a:gd name="connsiteX2475" fmla="*/ 1330086 w 3751729"/>
              <a:gd name="connsiteY2475" fmla="*/ 40474 h 1237129"/>
              <a:gd name="connsiteX2476" fmla="*/ 1325901 w 3751729"/>
              <a:gd name="connsiteY2476" fmla="*/ 38012 h 1237129"/>
              <a:gd name="connsiteX2477" fmla="*/ 1328363 w 3751729"/>
              <a:gd name="connsiteY2477" fmla="*/ 38012 h 1237129"/>
              <a:gd name="connsiteX2478" fmla="*/ 1331809 w 3751729"/>
              <a:gd name="connsiteY2478" fmla="*/ 34567 h 1237129"/>
              <a:gd name="connsiteX2479" fmla="*/ 1332547 w 3751729"/>
              <a:gd name="connsiteY2479" fmla="*/ 32844 h 1237129"/>
              <a:gd name="connsiteX2480" fmla="*/ 1334271 w 3751729"/>
              <a:gd name="connsiteY2480" fmla="*/ 32844 h 1237129"/>
              <a:gd name="connsiteX2481" fmla="*/ 1335747 w 3751729"/>
              <a:gd name="connsiteY2481" fmla="*/ 32105 h 1237129"/>
              <a:gd name="connsiteX2482" fmla="*/ 1339932 w 3751729"/>
              <a:gd name="connsiteY2482" fmla="*/ 32105 h 1237129"/>
              <a:gd name="connsiteX2483" fmla="*/ 1344116 w 3751729"/>
              <a:gd name="connsiteY2483" fmla="*/ 32105 h 1237129"/>
              <a:gd name="connsiteX2484" fmla="*/ 1344116 w 3751729"/>
              <a:gd name="connsiteY2484" fmla="*/ 21275 h 1237129"/>
              <a:gd name="connsiteX2485" fmla="*/ 1322701 w 3751729"/>
              <a:gd name="connsiteY2485" fmla="*/ 21275 h 1237129"/>
              <a:gd name="connsiteX2486" fmla="*/ 1318517 w 3751729"/>
              <a:gd name="connsiteY2486" fmla="*/ 12905 h 1237129"/>
              <a:gd name="connsiteX2487" fmla="*/ 1325901 w 3751729"/>
              <a:gd name="connsiteY2487" fmla="*/ 6998 h 1237129"/>
              <a:gd name="connsiteX2488" fmla="*/ 1331809 w 3751729"/>
              <a:gd name="connsiteY2488" fmla="*/ 1337 h 1237129"/>
              <a:gd name="connsiteX2489" fmla="*/ 994515 w 3751729"/>
              <a:gd name="connsiteY2489" fmla="*/ 0 h 1237129"/>
              <a:gd name="connsiteX2490" fmla="*/ 1240498 w 3751729"/>
              <a:gd name="connsiteY2490" fmla="*/ 0 h 1237129"/>
              <a:gd name="connsiteX2491" fmla="*/ 1238272 w 3751729"/>
              <a:gd name="connsiteY2491" fmla="*/ 6013 h 1237129"/>
              <a:gd name="connsiteX2492" fmla="*/ 1230887 w 3751729"/>
              <a:gd name="connsiteY2492" fmla="*/ 13644 h 1237129"/>
              <a:gd name="connsiteX2493" fmla="*/ 1218579 w 3751729"/>
              <a:gd name="connsiteY2493" fmla="*/ 22012 h 1237129"/>
              <a:gd name="connsiteX2494" fmla="*/ 1202088 w 3751729"/>
              <a:gd name="connsiteY2494" fmla="*/ 29643 h 1237129"/>
              <a:gd name="connsiteX2495" fmla="*/ 1188057 w 3751729"/>
              <a:gd name="connsiteY2495" fmla="*/ 35551 h 1237129"/>
              <a:gd name="connsiteX2496" fmla="*/ 1174765 w 3751729"/>
              <a:gd name="connsiteY2496" fmla="*/ 38997 h 1237129"/>
              <a:gd name="connsiteX2497" fmla="*/ 1174765 w 3751729"/>
              <a:gd name="connsiteY2497" fmla="*/ 35551 h 1237129"/>
              <a:gd name="connsiteX2498" fmla="*/ 1174765 w 3751729"/>
              <a:gd name="connsiteY2498" fmla="*/ 33089 h 1237129"/>
              <a:gd name="connsiteX2499" fmla="*/ 1173042 w 3751729"/>
              <a:gd name="connsiteY2499" fmla="*/ 33089 h 1237129"/>
              <a:gd name="connsiteX2500" fmla="*/ 1173042 w 3751729"/>
              <a:gd name="connsiteY2500" fmla="*/ 31367 h 1237129"/>
              <a:gd name="connsiteX2501" fmla="*/ 1172304 w 3751729"/>
              <a:gd name="connsiteY2501" fmla="*/ 29643 h 1237129"/>
              <a:gd name="connsiteX2502" fmla="*/ 1170580 w 3751729"/>
              <a:gd name="connsiteY2502" fmla="*/ 41458 h 1237129"/>
              <a:gd name="connsiteX2503" fmla="*/ 1166396 w 3751729"/>
              <a:gd name="connsiteY2503" fmla="*/ 51551 h 1237129"/>
              <a:gd name="connsiteX2504" fmla="*/ 1163196 w 3751729"/>
              <a:gd name="connsiteY2504" fmla="*/ 60658 h 1237129"/>
              <a:gd name="connsiteX2505" fmla="*/ 1159011 w 3751729"/>
              <a:gd name="connsiteY2505" fmla="*/ 69027 h 1237129"/>
              <a:gd name="connsiteX2506" fmla="*/ 1155811 w 3751729"/>
              <a:gd name="connsiteY2506" fmla="*/ 80844 h 1237129"/>
              <a:gd name="connsiteX2507" fmla="*/ 1159011 w 3751729"/>
              <a:gd name="connsiteY2507" fmla="*/ 82566 h 1237129"/>
              <a:gd name="connsiteX2508" fmla="*/ 1159011 w 3751729"/>
              <a:gd name="connsiteY2508" fmla="*/ 84289 h 1237129"/>
              <a:gd name="connsiteX2509" fmla="*/ 1160735 w 3751729"/>
              <a:gd name="connsiteY2509" fmla="*/ 84289 h 1237129"/>
              <a:gd name="connsiteX2510" fmla="*/ 1160735 w 3751729"/>
              <a:gd name="connsiteY2510" fmla="*/ 86012 h 1237129"/>
              <a:gd name="connsiteX2511" fmla="*/ 1159011 w 3751729"/>
              <a:gd name="connsiteY2511" fmla="*/ 86750 h 1237129"/>
              <a:gd name="connsiteX2512" fmla="*/ 1155811 w 3751729"/>
              <a:gd name="connsiteY2512" fmla="*/ 90197 h 1237129"/>
              <a:gd name="connsiteX2513" fmla="*/ 1153350 w 3751729"/>
              <a:gd name="connsiteY2513" fmla="*/ 91920 h 1237129"/>
              <a:gd name="connsiteX2514" fmla="*/ 1150889 w 3751729"/>
              <a:gd name="connsiteY2514" fmla="*/ 94381 h 1237129"/>
              <a:gd name="connsiteX2515" fmla="*/ 1147689 w 3751729"/>
              <a:gd name="connsiteY2515" fmla="*/ 96104 h 1237129"/>
              <a:gd name="connsiteX2516" fmla="*/ 1145965 w 3751729"/>
              <a:gd name="connsiteY2516" fmla="*/ 98566 h 1237129"/>
              <a:gd name="connsiteX2517" fmla="*/ 1143504 w 3751729"/>
              <a:gd name="connsiteY2517" fmla="*/ 102750 h 1237129"/>
              <a:gd name="connsiteX2518" fmla="*/ 1137597 w 3751729"/>
              <a:gd name="connsiteY2518" fmla="*/ 119489 h 1237129"/>
              <a:gd name="connsiteX2519" fmla="*/ 1133412 w 3751729"/>
              <a:gd name="connsiteY2519" fmla="*/ 136966 h 1237129"/>
              <a:gd name="connsiteX2520" fmla="*/ 1131688 w 3751729"/>
              <a:gd name="connsiteY2520" fmla="*/ 157150 h 1237129"/>
              <a:gd name="connsiteX2521" fmla="*/ 1128489 w 3751729"/>
              <a:gd name="connsiteY2521" fmla="*/ 176350 h 1237129"/>
              <a:gd name="connsiteX2522" fmla="*/ 1124305 w 3751729"/>
              <a:gd name="connsiteY2522" fmla="*/ 193826 h 1237129"/>
              <a:gd name="connsiteX2523" fmla="*/ 1121842 w 3751729"/>
              <a:gd name="connsiteY2523" fmla="*/ 192104 h 1237129"/>
              <a:gd name="connsiteX2524" fmla="*/ 1120119 w 3751729"/>
              <a:gd name="connsiteY2524" fmla="*/ 192104 h 1237129"/>
              <a:gd name="connsiteX2525" fmla="*/ 1120119 w 3751729"/>
              <a:gd name="connsiteY2525" fmla="*/ 190380 h 1237129"/>
              <a:gd name="connsiteX2526" fmla="*/ 1118396 w 3751729"/>
              <a:gd name="connsiteY2526" fmla="*/ 190380 h 1237129"/>
              <a:gd name="connsiteX2527" fmla="*/ 1114212 w 3751729"/>
              <a:gd name="connsiteY2527" fmla="*/ 187919 h 1237129"/>
              <a:gd name="connsiteX2528" fmla="*/ 1106828 w 3751729"/>
              <a:gd name="connsiteY2528" fmla="*/ 182012 h 1237129"/>
              <a:gd name="connsiteX2529" fmla="*/ 1095258 w 3751729"/>
              <a:gd name="connsiteY2529" fmla="*/ 172903 h 1237129"/>
              <a:gd name="connsiteX2530" fmla="*/ 1081966 w 3751729"/>
              <a:gd name="connsiteY2530" fmla="*/ 165273 h 1237129"/>
              <a:gd name="connsiteX2531" fmla="*/ 1069658 w 3751729"/>
              <a:gd name="connsiteY2531" fmla="*/ 156904 h 1237129"/>
              <a:gd name="connsiteX2532" fmla="*/ 1059813 w 3751729"/>
              <a:gd name="connsiteY2532" fmla="*/ 149273 h 1237129"/>
              <a:gd name="connsiteX2533" fmla="*/ 1050706 w 3751729"/>
              <a:gd name="connsiteY2533" fmla="*/ 145088 h 1237129"/>
              <a:gd name="connsiteX2534" fmla="*/ 1048243 w 3751729"/>
              <a:gd name="connsiteY2534" fmla="*/ 143366 h 1237129"/>
              <a:gd name="connsiteX2535" fmla="*/ 1045043 w 3751729"/>
              <a:gd name="connsiteY2535" fmla="*/ 111612 h 1237129"/>
              <a:gd name="connsiteX2536" fmla="*/ 1043320 w 3751729"/>
              <a:gd name="connsiteY2536" fmla="*/ 108166 h 1237129"/>
              <a:gd name="connsiteX2537" fmla="*/ 1039136 w 3751729"/>
              <a:gd name="connsiteY2537" fmla="*/ 105705 h 1237129"/>
              <a:gd name="connsiteX2538" fmla="*/ 1036674 w 3751729"/>
              <a:gd name="connsiteY2538" fmla="*/ 103982 h 1237129"/>
              <a:gd name="connsiteX2539" fmla="*/ 1031751 w 3751729"/>
              <a:gd name="connsiteY2539" fmla="*/ 100535 h 1237129"/>
              <a:gd name="connsiteX2540" fmla="*/ 1029290 w 3751729"/>
              <a:gd name="connsiteY2540" fmla="*/ 98074 h 1237129"/>
              <a:gd name="connsiteX2541" fmla="*/ 1031751 w 3751729"/>
              <a:gd name="connsiteY2541" fmla="*/ 96351 h 1237129"/>
              <a:gd name="connsiteX2542" fmla="*/ 1031751 w 3751729"/>
              <a:gd name="connsiteY2542" fmla="*/ 94628 h 1237129"/>
              <a:gd name="connsiteX2543" fmla="*/ 1033474 w 3751729"/>
              <a:gd name="connsiteY2543" fmla="*/ 93889 h 1237129"/>
              <a:gd name="connsiteX2544" fmla="*/ 1035197 w 3751729"/>
              <a:gd name="connsiteY2544" fmla="*/ 90443 h 1237129"/>
              <a:gd name="connsiteX2545" fmla="*/ 1036919 w 3751729"/>
              <a:gd name="connsiteY2545" fmla="*/ 87982 h 1237129"/>
              <a:gd name="connsiteX2546" fmla="*/ 1029536 w 3751729"/>
              <a:gd name="connsiteY2546" fmla="*/ 87982 h 1237129"/>
              <a:gd name="connsiteX2547" fmla="*/ 1025351 w 3751729"/>
              <a:gd name="connsiteY2547" fmla="*/ 87982 h 1237129"/>
              <a:gd name="connsiteX2548" fmla="*/ 1022152 w 3751729"/>
              <a:gd name="connsiteY2548" fmla="*/ 87982 h 1237129"/>
              <a:gd name="connsiteX2549" fmla="*/ 1020428 w 3751729"/>
              <a:gd name="connsiteY2549" fmla="*/ 86258 h 1237129"/>
              <a:gd name="connsiteX2550" fmla="*/ 1019689 w 3751729"/>
              <a:gd name="connsiteY2550" fmla="*/ 83797 h 1237129"/>
              <a:gd name="connsiteX2551" fmla="*/ 1016489 w 3751729"/>
              <a:gd name="connsiteY2551" fmla="*/ 78873 h 1237129"/>
              <a:gd name="connsiteX2552" fmla="*/ 1014766 w 3751729"/>
              <a:gd name="connsiteY2552" fmla="*/ 76413 h 1237129"/>
              <a:gd name="connsiteX2553" fmla="*/ 1014766 w 3751729"/>
              <a:gd name="connsiteY2553" fmla="*/ 72966 h 1237129"/>
              <a:gd name="connsiteX2554" fmla="*/ 1014766 w 3751729"/>
              <a:gd name="connsiteY2554" fmla="*/ 72227 h 1237129"/>
              <a:gd name="connsiteX2555" fmla="*/ 1014766 w 3751729"/>
              <a:gd name="connsiteY2555" fmla="*/ 68782 h 1237129"/>
              <a:gd name="connsiteX2556" fmla="*/ 1016489 w 3751729"/>
              <a:gd name="connsiteY2556" fmla="*/ 66320 h 1237129"/>
              <a:gd name="connsiteX2557" fmla="*/ 1016489 w 3751729"/>
              <a:gd name="connsiteY2557" fmla="*/ 62874 h 1237129"/>
              <a:gd name="connsiteX2558" fmla="*/ 1008119 w 3751729"/>
              <a:gd name="connsiteY2558" fmla="*/ 62874 h 1237129"/>
              <a:gd name="connsiteX2559" fmla="*/ 1008119 w 3751729"/>
              <a:gd name="connsiteY2559" fmla="*/ 58690 h 1237129"/>
              <a:gd name="connsiteX2560" fmla="*/ 1008859 w 3751729"/>
              <a:gd name="connsiteY2560" fmla="*/ 54505 h 1237129"/>
              <a:gd name="connsiteX2561" fmla="*/ 1010582 w 3751729"/>
              <a:gd name="connsiteY2561" fmla="*/ 52782 h 1237129"/>
              <a:gd name="connsiteX2562" fmla="*/ 1010582 w 3751729"/>
              <a:gd name="connsiteY2562" fmla="*/ 49828 h 1237129"/>
              <a:gd name="connsiteX2563" fmla="*/ 1012305 w 3751729"/>
              <a:gd name="connsiteY2563" fmla="*/ 47366 h 1237129"/>
              <a:gd name="connsiteX2564" fmla="*/ 1014028 w 3751729"/>
              <a:gd name="connsiteY2564" fmla="*/ 43181 h 1237129"/>
              <a:gd name="connsiteX2565" fmla="*/ 1009104 w 3751729"/>
              <a:gd name="connsiteY2565" fmla="*/ 43181 h 1237129"/>
              <a:gd name="connsiteX2566" fmla="*/ 1004182 w 3751729"/>
              <a:gd name="connsiteY2566" fmla="*/ 43181 h 1237129"/>
              <a:gd name="connsiteX2567" fmla="*/ 1001720 w 3751729"/>
              <a:gd name="connsiteY2567" fmla="*/ 41458 h 1237129"/>
              <a:gd name="connsiteX2568" fmla="*/ 996797 w 3751729"/>
              <a:gd name="connsiteY2568" fmla="*/ 39735 h 1237129"/>
              <a:gd name="connsiteX2569" fmla="*/ 996059 w 3751729"/>
              <a:gd name="connsiteY2569" fmla="*/ 18075 h 1237129"/>
              <a:gd name="connsiteX2570" fmla="*/ 864598 w 3751729"/>
              <a:gd name="connsiteY2570" fmla="*/ 0 h 1237129"/>
              <a:gd name="connsiteX2571" fmla="*/ 901871 w 3751729"/>
              <a:gd name="connsiteY2571" fmla="*/ 0 h 1237129"/>
              <a:gd name="connsiteX2572" fmla="*/ 899566 w 3751729"/>
              <a:gd name="connsiteY2572" fmla="*/ 15368 h 1237129"/>
              <a:gd name="connsiteX2573" fmla="*/ 895383 w 3751729"/>
              <a:gd name="connsiteY2573" fmla="*/ 17090 h 1237129"/>
              <a:gd name="connsiteX2574" fmla="*/ 890459 w 3751729"/>
              <a:gd name="connsiteY2574" fmla="*/ 17090 h 1237129"/>
              <a:gd name="connsiteX2575" fmla="*/ 886521 w 3751729"/>
              <a:gd name="connsiteY2575" fmla="*/ 17829 h 1237129"/>
              <a:gd name="connsiteX2576" fmla="*/ 880613 w 3751729"/>
              <a:gd name="connsiteY2576" fmla="*/ 17829 h 1237129"/>
              <a:gd name="connsiteX2577" fmla="*/ 874951 w 3751729"/>
              <a:gd name="connsiteY2577" fmla="*/ 11183 h 1237129"/>
              <a:gd name="connsiteX2578" fmla="*/ 867321 w 3751729"/>
              <a:gd name="connsiteY2578" fmla="*/ 3552 h 1237129"/>
              <a:gd name="connsiteX2579" fmla="*/ 769123 w 3751729"/>
              <a:gd name="connsiteY2579" fmla="*/ 0 h 1237129"/>
              <a:gd name="connsiteX2580" fmla="*/ 842019 w 3751729"/>
              <a:gd name="connsiteY2580" fmla="*/ 0 h 1237129"/>
              <a:gd name="connsiteX2581" fmla="*/ 845906 w 3751729"/>
              <a:gd name="connsiteY2581" fmla="*/ 11921 h 1237129"/>
              <a:gd name="connsiteX2582" fmla="*/ 851813 w 3751729"/>
              <a:gd name="connsiteY2582" fmla="*/ 37275 h 1237129"/>
              <a:gd name="connsiteX2583" fmla="*/ 861659 w 3751729"/>
              <a:gd name="connsiteY2583" fmla="*/ 37275 h 1237129"/>
              <a:gd name="connsiteX2584" fmla="*/ 867321 w 3751729"/>
              <a:gd name="connsiteY2584" fmla="*/ 48845 h 1237129"/>
              <a:gd name="connsiteX2585" fmla="*/ 872244 w 3751729"/>
              <a:gd name="connsiteY2585" fmla="*/ 60660 h 1237129"/>
              <a:gd name="connsiteX2586" fmla="*/ 873228 w 3751729"/>
              <a:gd name="connsiteY2586" fmla="*/ 76660 h 1237129"/>
              <a:gd name="connsiteX2587" fmla="*/ 872244 w 3751729"/>
              <a:gd name="connsiteY2587" fmla="*/ 78383 h 1237129"/>
              <a:gd name="connsiteX2588" fmla="*/ 870767 w 3751729"/>
              <a:gd name="connsiteY2588" fmla="*/ 79859 h 1237129"/>
              <a:gd name="connsiteX2589" fmla="*/ 870767 w 3751729"/>
              <a:gd name="connsiteY2589" fmla="*/ 81582 h 1237129"/>
              <a:gd name="connsiteX2590" fmla="*/ 869044 w 3751729"/>
              <a:gd name="connsiteY2590" fmla="*/ 82567 h 1237129"/>
              <a:gd name="connsiteX2591" fmla="*/ 867321 w 3751729"/>
              <a:gd name="connsiteY2591" fmla="*/ 84290 h 1237129"/>
              <a:gd name="connsiteX2592" fmla="*/ 864858 w 3751729"/>
              <a:gd name="connsiteY2592" fmla="*/ 85767 h 1237129"/>
              <a:gd name="connsiteX2593" fmla="*/ 859198 w 3751729"/>
              <a:gd name="connsiteY2593" fmla="*/ 82567 h 1237129"/>
              <a:gd name="connsiteX2594" fmla="*/ 851813 w 3751729"/>
              <a:gd name="connsiteY2594" fmla="*/ 78383 h 1237129"/>
              <a:gd name="connsiteX2595" fmla="*/ 844182 w 3751729"/>
              <a:gd name="connsiteY2595" fmla="*/ 74198 h 1237129"/>
              <a:gd name="connsiteX2596" fmla="*/ 838521 w 3751729"/>
              <a:gd name="connsiteY2596" fmla="*/ 70752 h 1237129"/>
              <a:gd name="connsiteX2597" fmla="*/ 836060 w 3751729"/>
              <a:gd name="connsiteY2597" fmla="*/ 70013 h 1237129"/>
              <a:gd name="connsiteX2598" fmla="*/ 833598 w 3751729"/>
              <a:gd name="connsiteY2598" fmla="*/ 70013 h 1237129"/>
              <a:gd name="connsiteX2599" fmla="*/ 841721 w 3751729"/>
              <a:gd name="connsiteY2599" fmla="*/ 81582 h 1237129"/>
              <a:gd name="connsiteX2600" fmla="*/ 849352 w 3751729"/>
              <a:gd name="connsiteY2600" fmla="*/ 91675 h 1237129"/>
              <a:gd name="connsiteX2601" fmla="*/ 855013 w 3751729"/>
              <a:gd name="connsiteY2601" fmla="*/ 104229 h 1237129"/>
              <a:gd name="connsiteX2602" fmla="*/ 851813 w 3751729"/>
              <a:gd name="connsiteY2602" fmla="*/ 104229 h 1237129"/>
              <a:gd name="connsiteX2603" fmla="*/ 841721 w 3751729"/>
              <a:gd name="connsiteY2603" fmla="*/ 100044 h 1237129"/>
              <a:gd name="connsiteX2604" fmla="*/ 828674 w 3751729"/>
              <a:gd name="connsiteY2604" fmla="*/ 97582 h 1237129"/>
              <a:gd name="connsiteX2605" fmla="*/ 814644 w 3751729"/>
              <a:gd name="connsiteY2605" fmla="*/ 94136 h 1237129"/>
              <a:gd name="connsiteX2606" fmla="*/ 804551 w 3751729"/>
              <a:gd name="connsiteY2606" fmla="*/ 88475 h 1237129"/>
              <a:gd name="connsiteX2607" fmla="*/ 795689 w 3751729"/>
              <a:gd name="connsiteY2607" fmla="*/ 79859 h 1237129"/>
              <a:gd name="connsiteX2608" fmla="*/ 789782 w 3751729"/>
              <a:gd name="connsiteY2608" fmla="*/ 66567 h 1237129"/>
              <a:gd name="connsiteX2609" fmla="*/ 784121 w 3751729"/>
              <a:gd name="connsiteY2609" fmla="*/ 54752 h 1237129"/>
              <a:gd name="connsiteX2610" fmla="*/ 775751 w 3751729"/>
              <a:gd name="connsiteY2610" fmla="*/ 43183 h 1237129"/>
              <a:gd name="connsiteX2611" fmla="*/ 766644 w 3751729"/>
              <a:gd name="connsiteY2611" fmla="*/ 34568 h 1237129"/>
              <a:gd name="connsiteX2612" fmla="*/ 754336 w 3751729"/>
              <a:gd name="connsiteY2612" fmla="*/ 41460 h 1237129"/>
              <a:gd name="connsiteX2613" fmla="*/ 739321 w 3751729"/>
              <a:gd name="connsiteY2613" fmla="*/ 46383 h 1237129"/>
              <a:gd name="connsiteX2614" fmla="*/ 722090 w 3751729"/>
              <a:gd name="connsiteY2614" fmla="*/ 47368 h 1237129"/>
              <a:gd name="connsiteX2615" fmla="*/ 720368 w 3751729"/>
              <a:gd name="connsiteY2615" fmla="*/ 43183 h 1237129"/>
              <a:gd name="connsiteX2616" fmla="*/ 719628 w 3751729"/>
              <a:gd name="connsiteY2616" fmla="*/ 38998 h 1237129"/>
              <a:gd name="connsiteX2617" fmla="*/ 719628 w 3751729"/>
              <a:gd name="connsiteY2617" fmla="*/ 34568 h 1237129"/>
              <a:gd name="connsiteX2618" fmla="*/ 719628 w 3751729"/>
              <a:gd name="connsiteY2618" fmla="*/ 28906 h 1237129"/>
              <a:gd name="connsiteX2619" fmla="*/ 731937 w 3751729"/>
              <a:gd name="connsiteY2619" fmla="*/ 23737 h 1237129"/>
              <a:gd name="connsiteX2620" fmla="*/ 748428 w 3751729"/>
              <a:gd name="connsiteY2620" fmla="*/ 19552 h 1237129"/>
              <a:gd name="connsiteX2621" fmla="*/ 762460 w 3751729"/>
              <a:gd name="connsiteY2621" fmla="*/ 15368 h 1237129"/>
              <a:gd name="connsiteX2622" fmla="*/ 766644 w 3751729"/>
              <a:gd name="connsiteY2622" fmla="*/ 6998 h 1237129"/>
              <a:gd name="connsiteX2623" fmla="*/ 0 w 3751729"/>
              <a:gd name="connsiteY2623" fmla="*/ 0 h 1237129"/>
              <a:gd name="connsiteX2624" fmla="*/ 611304 w 3751729"/>
              <a:gd name="connsiteY2624" fmla="*/ 0 h 1237129"/>
              <a:gd name="connsiteX2625" fmla="*/ 611815 w 3751729"/>
              <a:gd name="connsiteY2625" fmla="*/ 1336 h 1237129"/>
              <a:gd name="connsiteX2626" fmla="*/ 610093 w 3751729"/>
              <a:gd name="connsiteY2626" fmla="*/ 10444 h 1237129"/>
              <a:gd name="connsiteX2627" fmla="*/ 608368 w 3751729"/>
              <a:gd name="connsiteY2627" fmla="*/ 24721 h 1237129"/>
              <a:gd name="connsiteX2628" fmla="*/ 600984 w 3751729"/>
              <a:gd name="connsiteY2628" fmla="*/ 24721 h 1237129"/>
              <a:gd name="connsiteX2629" fmla="*/ 591138 w 3751729"/>
              <a:gd name="connsiteY2629" fmla="*/ 18813 h 1237129"/>
              <a:gd name="connsiteX2630" fmla="*/ 577108 w 3751729"/>
              <a:gd name="connsiteY2630" fmla="*/ 15367 h 1237129"/>
              <a:gd name="connsiteX2631" fmla="*/ 577108 w 3751729"/>
              <a:gd name="connsiteY2631" fmla="*/ 18567 h 1237129"/>
              <a:gd name="connsiteX2632" fmla="*/ 579569 w 3751729"/>
              <a:gd name="connsiteY2632" fmla="*/ 18567 h 1237129"/>
              <a:gd name="connsiteX2633" fmla="*/ 582769 w 3751729"/>
              <a:gd name="connsiteY2633" fmla="*/ 21028 h 1237129"/>
              <a:gd name="connsiteX2634" fmla="*/ 584492 w 3751729"/>
              <a:gd name="connsiteY2634" fmla="*/ 22751 h 1237129"/>
              <a:gd name="connsiteX2635" fmla="*/ 585230 w 3751729"/>
              <a:gd name="connsiteY2635" fmla="*/ 24474 h 1237129"/>
              <a:gd name="connsiteX2636" fmla="*/ 586954 w 3751729"/>
              <a:gd name="connsiteY2636" fmla="*/ 26197 h 1237129"/>
              <a:gd name="connsiteX2637" fmla="*/ 588677 w 3751729"/>
              <a:gd name="connsiteY2637" fmla="*/ 30382 h 1237129"/>
              <a:gd name="connsiteX2638" fmla="*/ 588677 w 3751729"/>
              <a:gd name="connsiteY2638" fmla="*/ 34567 h 1237129"/>
              <a:gd name="connsiteX2639" fmla="*/ 586954 w 3751729"/>
              <a:gd name="connsiteY2639" fmla="*/ 38012 h 1237129"/>
              <a:gd name="connsiteX2640" fmla="*/ 584492 w 3751729"/>
              <a:gd name="connsiteY2640" fmla="*/ 40474 h 1237129"/>
              <a:gd name="connsiteX2641" fmla="*/ 582769 w 3751729"/>
              <a:gd name="connsiteY2641" fmla="*/ 43921 h 1237129"/>
              <a:gd name="connsiteX2642" fmla="*/ 575384 w 3751729"/>
              <a:gd name="connsiteY2642" fmla="*/ 49828 h 1237129"/>
              <a:gd name="connsiteX2643" fmla="*/ 569722 w 3751729"/>
              <a:gd name="connsiteY2643" fmla="*/ 55735 h 1237129"/>
              <a:gd name="connsiteX2644" fmla="*/ 567262 w 3751729"/>
              <a:gd name="connsiteY2644" fmla="*/ 62381 h 1237129"/>
              <a:gd name="connsiteX2645" fmla="*/ 564061 w 3751729"/>
              <a:gd name="connsiteY2645" fmla="*/ 73213 h 1237129"/>
              <a:gd name="connsiteX2646" fmla="*/ 558400 w 3751729"/>
              <a:gd name="connsiteY2646" fmla="*/ 73213 h 1237129"/>
              <a:gd name="connsiteX2647" fmla="*/ 554215 w 3751729"/>
              <a:gd name="connsiteY2647" fmla="*/ 71489 h 1237129"/>
              <a:gd name="connsiteX2648" fmla="*/ 550031 w 3751729"/>
              <a:gd name="connsiteY2648" fmla="*/ 69766 h 1237129"/>
              <a:gd name="connsiteX2649" fmla="*/ 546830 w 3751729"/>
              <a:gd name="connsiteY2649" fmla="*/ 68043 h 1237129"/>
              <a:gd name="connsiteX2650" fmla="*/ 541169 w 3751729"/>
              <a:gd name="connsiteY2650" fmla="*/ 67305 h 1237129"/>
              <a:gd name="connsiteX2651" fmla="*/ 541169 w 3751729"/>
              <a:gd name="connsiteY2651" fmla="*/ 69766 h 1237129"/>
              <a:gd name="connsiteX2652" fmla="*/ 548554 w 3751729"/>
              <a:gd name="connsiteY2652" fmla="*/ 69766 h 1237129"/>
              <a:gd name="connsiteX2653" fmla="*/ 550277 w 3751729"/>
              <a:gd name="connsiteY2653" fmla="*/ 73213 h 1237129"/>
              <a:gd name="connsiteX2654" fmla="*/ 551015 w 3751729"/>
              <a:gd name="connsiteY2654" fmla="*/ 75673 h 1237129"/>
              <a:gd name="connsiteX2655" fmla="*/ 552739 w 3751729"/>
              <a:gd name="connsiteY2655" fmla="*/ 77397 h 1237129"/>
              <a:gd name="connsiteX2656" fmla="*/ 552739 w 3751729"/>
              <a:gd name="connsiteY2656" fmla="*/ 79858 h 1237129"/>
              <a:gd name="connsiteX2657" fmla="*/ 554461 w 3751729"/>
              <a:gd name="connsiteY2657" fmla="*/ 84782 h 1237129"/>
              <a:gd name="connsiteX2658" fmla="*/ 554461 w 3751729"/>
              <a:gd name="connsiteY2658" fmla="*/ 88966 h 1237129"/>
              <a:gd name="connsiteX2659" fmla="*/ 541169 w 3751729"/>
              <a:gd name="connsiteY2659" fmla="*/ 93151 h 1237129"/>
              <a:gd name="connsiteX2660" fmla="*/ 529601 w 3751729"/>
              <a:gd name="connsiteY2660" fmla="*/ 100535 h 1237129"/>
              <a:gd name="connsiteX2661" fmla="*/ 522216 w 3751729"/>
              <a:gd name="connsiteY2661" fmla="*/ 108904 h 1237129"/>
              <a:gd name="connsiteX2662" fmla="*/ 517292 w 3751729"/>
              <a:gd name="connsiteY2662" fmla="*/ 122196 h 1237129"/>
              <a:gd name="connsiteX2663" fmla="*/ 517292 w 3751729"/>
              <a:gd name="connsiteY2663" fmla="*/ 141397 h 1237129"/>
              <a:gd name="connsiteX2664" fmla="*/ 522216 w 3751729"/>
              <a:gd name="connsiteY2664" fmla="*/ 152966 h 1237129"/>
              <a:gd name="connsiteX2665" fmla="*/ 525416 w 3751729"/>
              <a:gd name="connsiteY2665" fmla="*/ 168719 h 1237129"/>
              <a:gd name="connsiteX2666" fmla="*/ 525416 w 3751729"/>
              <a:gd name="connsiteY2666" fmla="*/ 184473 h 1237129"/>
              <a:gd name="connsiteX2667" fmla="*/ 541169 w 3751729"/>
              <a:gd name="connsiteY2667" fmla="*/ 184473 h 1237129"/>
              <a:gd name="connsiteX2668" fmla="*/ 541169 w 3751729"/>
              <a:gd name="connsiteY2668" fmla="*/ 191857 h 1237129"/>
              <a:gd name="connsiteX2669" fmla="*/ 544369 w 3751729"/>
              <a:gd name="connsiteY2669" fmla="*/ 194320 h 1237129"/>
              <a:gd name="connsiteX2670" fmla="*/ 544369 w 3751729"/>
              <a:gd name="connsiteY2670" fmla="*/ 197765 h 1237129"/>
              <a:gd name="connsiteX2671" fmla="*/ 544369 w 3751729"/>
              <a:gd name="connsiteY2671" fmla="*/ 200227 h 1237129"/>
              <a:gd name="connsiteX2672" fmla="*/ 544369 w 3751729"/>
              <a:gd name="connsiteY2672" fmla="*/ 201950 h 1237129"/>
              <a:gd name="connsiteX2673" fmla="*/ 544369 w 3751729"/>
              <a:gd name="connsiteY2673" fmla="*/ 203673 h 1237129"/>
              <a:gd name="connsiteX2674" fmla="*/ 544369 w 3751729"/>
              <a:gd name="connsiteY2674" fmla="*/ 204411 h 1237129"/>
              <a:gd name="connsiteX2675" fmla="*/ 545108 w 3751729"/>
              <a:gd name="connsiteY2675" fmla="*/ 206134 h 1237129"/>
              <a:gd name="connsiteX2676" fmla="*/ 550031 w 3751729"/>
              <a:gd name="connsiteY2676" fmla="*/ 206134 h 1237129"/>
              <a:gd name="connsiteX2677" fmla="*/ 554215 w 3751729"/>
              <a:gd name="connsiteY2677" fmla="*/ 207857 h 1237129"/>
              <a:gd name="connsiteX2678" fmla="*/ 564061 w 3751729"/>
              <a:gd name="connsiteY2678" fmla="*/ 206134 h 1237129"/>
              <a:gd name="connsiteX2679" fmla="*/ 573908 w 3751729"/>
              <a:gd name="connsiteY2679" fmla="*/ 210319 h 1237129"/>
              <a:gd name="connsiteX2680" fmla="*/ 584739 w 3751729"/>
              <a:gd name="connsiteY2680" fmla="*/ 217703 h 1237129"/>
              <a:gd name="connsiteX2681" fmla="*/ 594584 w 3751729"/>
              <a:gd name="connsiteY2681" fmla="*/ 227795 h 1237129"/>
              <a:gd name="connsiteX2682" fmla="*/ 602954 w 3751729"/>
              <a:gd name="connsiteY2682" fmla="*/ 236903 h 1237129"/>
              <a:gd name="connsiteX2683" fmla="*/ 613292 w 3751729"/>
              <a:gd name="connsiteY2683" fmla="*/ 242072 h 1237129"/>
              <a:gd name="connsiteX2684" fmla="*/ 617476 w 3751729"/>
              <a:gd name="connsiteY2684" fmla="*/ 243795 h 1237129"/>
              <a:gd name="connsiteX2685" fmla="*/ 619938 w 3751729"/>
              <a:gd name="connsiteY2685" fmla="*/ 244534 h 1237129"/>
              <a:gd name="connsiteX2686" fmla="*/ 623138 w 3751729"/>
              <a:gd name="connsiteY2686" fmla="*/ 243795 h 1237129"/>
              <a:gd name="connsiteX2687" fmla="*/ 625600 w 3751729"/>
              <a:gd name="connsiteY2687" fmla="*/ 243795 h 1237129"/>
              <a:gd name="connsiteX2688" fmla="*/ 627323 w 3751729"/>
              <a:gd name="connsiteY2688" fmla="*/ 242072 h 1237129"/>
              <a:gd name="connsiteX2689" fmla="*/ 630523 w 3751729"/>
              <a:gd name="connsiteY2689" fmla="*/ 240349 h 1237129"/>
              <a:gd name="connsiteX2690" fmla="*/ 631261 w 3751729"/>
              <a:gd name="connsiteY2690" fmla="*/ 238626 h 1237129"/>
              <a:gd name="connsiteX2691" fmla="*/ 634462 w 3751729"/>
              <a:gd name="connsiteY2691" fmla="*/ 238626 h 1237129"/>
              <a:gd name="connsiteX2692" fmla="*/ 657600 w 3751729"/>
              <a:gd name="connsiteY2692" fmla="*/ 244534 h 1237129"/>
              <a:gd name="connsiteX2693" fmla="*/ 660060 w 3751729"/>
              <a:gd name="connsiteY2693" fmla="*/ 260288 h 1237129"/>
              <a:gd name="connsiteX2694" fmla="*/ 663261 w 3751729"/>
              <a:gd name="connsiteY2694" fmla="*/ 271857 h 1237129"/>
              <a:gd name="connsiteX2695" fmla="*/ 664984 w 3751729"/>
              <a:gd name="connsiteY2695" fmla="*/ 280965 h 1237129"/>
              <a:gd name="connsiteX2696" fmla="*/ 665722 w 3751729"/>
              <a:gd name="connsiteY2696" fmla="*/ 289334 h 1237129"/>
              <a:gd name="connsiteX2697" fmla="*/ 668922 w 3751729"/>
              <a:gd name="connsiteY2697" fmla="*/ 298441 h 1237129"/>
              <a:gd name="connsiteX2698" fmla="*/ 676307 w 3751729"/>
              <a:gd name="connsiteY2698" fmla="*/ 308534 h 1237129"/>
              <a:gd name="connsiteX2699" fmla="*/ 684676 w 3751729"/>
              <a:gd name="connsiteY2699" fmla="*/ 321827 h 1237129"/>
              <a:gd name="connsiteX2700" fmla="*/ 687138 w 3751729"/>
              <a:gd name="connsiteY2700" fmla="*/ 320103 h 1237129"/>
              <a:gd name="connsiteX2701" fmla="*/ 688860 w 3751729"/>
              <a:gd name="connsiteY2701" fmla="*/ 320103 h 1237129"/>
              <a:gd name="connsiteX2702" fmla="*/ 690584 w 3751729"/>
              <a:gd name="connsiteY2702" fmla="*/ 318380 h 1237129"/>
              <a:gd name="connsiteX2703" fmla="*/ 692306 w 3751729"/>
              <a:gd name="connsiteY2703" fmla="*/ 318380 h 1237129"/>
              <a:gd name="connsiteX2704" fmla="*/ 694769 w 3751729"/>
              <a:gd name="connsiteY2704" fmla="*/ 317642 h 1237129"/>
              <a:gd name="connsiteX2705" fmla="*/ 696491 w 3751729"/>
              <a:gd name="connsiteY2705" fmla="*/ 317642 h 1237129"/>
              <a:gd name="connsiteX2706" fmla="*/ 696491 w 3751729"/>
              <a:gd name="connsiteY2706" fmla="*/ 315918 h 1237129"/>
              <a:gd name="connsiteX2707" fmla="*/ 696491 w 3751729"/>
              <a:gd name="connsiteY2707" fmla="*/ 314196 h 1237129"/>
              <a:gd name="connsiteX2708" fmla="*/ 698215 w 3751729"/>
              <a:gd name="connsiteY2708" fmla="*/ 311734 h 1237129"/>
              <a:gd name="connsiteX2709" fmla="*/ 698215 w 3751729"/>
              <a:gd name="connsiteY2709" fmla="*/ 302626 h 1237129"/>
              <a:gd name="connsiteX2710" fmla="*/ 696491 w 3751729"/>
              <a:gd name="connsiteY2710" fmla="*/ 291057 h 1237129"/>
              <a:gd name="connsiteX2711" fmla="*/ 693291 w 3751729"/>
              <a:gd name="connsiteY2711" fmla="*/ 276780 h 1237129"/>
              <a:gd name="connsiteX2712" fmla="*/ 689107 w 3751729"/>
              <a:gd name="connsiteY2712" fmla="*/ 263488 h 1237129"/>
              <a:gd name="connsiteX2713" fmla="*/ 700676 w 3751729"/>
              <a:gd name="connsiteY2713" fmla="*/ 257580 h 1237129"/>
              <a:gd name="connsiteX2714" fmla="*/ 712246 w 3751729"/>
              <a:gd name="connsiteY2714" fmla="*/ 249211 h 1237129"/>
              <a:gd name="connsiteX2715" fmla="*/ 719629 w 3751729"/>
              <a:gd name="connsiteY2715" fmla="*/ 237641 h 1237129"/>
              <a:gd name="connsiteX2716" fmla="*/ 723814 w 3751729"/>
              <a:gd name="connsiteY2716" fmla="*/ 222627 h 1237129"/>
              <a:gd name="connsiteX2717" fmla="*/ 725538 w 3751729"/>
              <a:gd name="connsiteY2717" fmla="*/ 214258 h 1237129"/>
              <a:gd name="connsiteX2718" fmla="*/ 723814 w 3751729"/>
              <a:gd name="connsiteY2718" fmla="*/ 200966 h 1237129"/>
              <a:gd name="connsiteX2719" fmla="*/ 723814 w 3751729"/>
              <a:gd name="connsiteY2719" fmla="*/ 187674 h 1237129"/>
              <a:gd name="connsiteX2720" fmla="*/ 718153 w 3751729"/>
              <a:gd name="connsiteY2720" fmla="*/ 185211 h 1237129"/>
              <a:gd name="connsiteX2721" fmla="*/ 715692 w 3751729"/>
              <a:gd name="connsiteY2721" fmla="*/ 183488 h 1237129"/>
              <a:gd name="connsiteX2722" fmla="*/ 712491 w 3751729"/>
              <a:gd name="connsiteY2722" fmla="*/ 181765 h 1237129"/>
              <a:gd name="connsiteX2723" fmla="*/ 710030 w 3751729"/>
              <a:gd name="connsiteY2723" fmla="*/ 179304 h 1237129"/>
              <a:gd name="connsiteX2724" fmla="*/ 708307 w 3751729"/>
              <a:gd name="connsiteY2724" fmla="*/ 174381 h 1237129"/>
              <a:gd name="connsiteX2725" fmla="*/ 713968 w 3751729"/>
              <a:gd name="connsiteY2725" fmla="*/ 164288 h 1237129"/>
              <a:gd name="connsiteX2726" fmla="*/ 716429 w 3751729"/>
              <a:gd name="connsiteY2726" fmla="*/ 152719 h 1237129"/>
              <a:gd name="connsiteX2727" fmla="*/ 713968 w 3751729"/>
              <a:gd name="connsiteY2727" fmla="*/ 140166 h 1237129"/>
              <a:gd name="connsiteX2728" fmla="*/ 710768 w 3751729"/>
              <a:gd name="connsiteY2728" fmla="*/ 126874 h 1237129"/>
              <a:gd name="connsiteX2729" fmla="*/ 706583 w 3751729"/>
              <a:gd name="connsiteY2729" fmla="*/ 111858 h 1237129"/>
              <a:gd name="connsiteX2730" fmla="*/ 704861 w 3751729"/>
              <a:gd name="connsiteY2730" fmla="*/ 97581 h 1237129"/>
              <a:gd name="connsiteX2731" fmla="*/ 708061 w 3751729"/>
              <a:gd name="connsiteY2731" fmla="*/ 97581 h 1237129"/>
              <a:gd name="connsiteX2732" fmla="*/ 708061 w 3751729"/>
              <a:gd name="connsiteY2732" fmla="*/ 94135 h 1237129"/>
              <a:gd name="connsiteX2733" fmla="*/ 727999 w 3751729"/>
              <a:gd name="connsiteY2733" fmla="*/ 97581 h 1237129"/>
              <a:gd name="connsiteX2734" fmla="*/ 745229 w 3751729"/>
              <a:gd name="connsiteY2734" fmla="*/ 97581 h 1237129"/>
              <a:gd name="connsiteX2735" fmla="*/ 764184 w 3751729"/>
              <a:gd name="connsiteY2735" fmla="*/ 94135 h 1237129"/>
              <a:gd name="connsiteX2736" fmla="*/ 768368 w 3751729"/>
              <a:gd name="connsiteY2736" fmla="*/ 101520 h 1237129"/>
              <a:gd name="connsiteX2737" fmla="*/ 772552 w 3751729"/>
              <a:gd name="connsiteY2737" fmla="*/ 111612 h 1237129"/>
              <a:gd name="connsiteX2738" fmla="*/ 777476 w 3751729"/>
              <a:gd name="connsiteY2738" fmla="*/ 118996 h 1237129"/>
              <a:gd name="connsiteX2739" fmla="*/ 781660 w 3751729"/>
              <a:gd name="connsiteY2739" fmla="*/ 122443 h 1237129"/>
              <a:gd name="connsiteX2740" fmla="*/ 784122 w 3751729"/>
              <a:gd name="connsiteY2740" fmla="*/ 123181 h 1237129"/>
              <a:gd name="connsiteX2741" fmla="*/ 789044 w 3751729"/>
              <a:gd name="connsiteY2741" fmla="*/ 123181 h 1237129"/>
              <a:gd name="connsiteX2742" fmla="*/ 793229 w 3751729"/>
              <a:gd name="connsiteY2742" fmla="*/ 124904 h 1237129"/>
              <a:gd name="connsiteX2743" fmla="*/ 797415 w 3751729"/>
              <a:gd name="connsiteY2743" fmla="*/ 126627 h 1237129"/>
              <a:gd name="connsiteX2744" fmla="*/ 800615 w 3751729"/>
              <a:gd name="connsiteY2744" fmla="*/ 129089 h 1237129"/>
              <a:gd name="connsiteX2745" fmla="*/ 801352 w 3751729"/>
              <a:gd name="connsiteY2745" fmla="*/ 136473 h 1237129"/>
              <a:gd name="connsiteX2746" fmla="*/ 804552 w 3751729"/>
              <a:gd name="connsiteY2746" fmla="*/ 149765 h 1237129"/>
              <a:gd name="connsiteX2747" fmla="*/ 806276 w 3751729"/>
              <a:gd name="connsiteY2747" fmla="*/ 161335 h 1237129"/>
              <a:gd name="connsiteX2748" fmla="*/ 808736 w 3751729"/>
              <a:gd name="connsiteY2748" fmla="*/ 169704 h 1237129"/>
              <a:gd name="connsiteX2749" fmla="*/ 810460 w 3751729"/>
              <a:gd name="connsiteY2749" fmla="*/ 171426 h 1237129"/>
              <a:gd name="connsiteX2750" fmla="*/ 812922 w 3751729"/>
              <a:gd name="connsiteY2750" fmla="*/ 173888 h 1237129"/>
              <a:gd name="connsiteX2751" fmla="*/ 816122 w 3751729"/>
              <a:gd name="connsiteY2751" fmla="*/ 175612 h 1237129"/>
              <a:gd name="connsiteX2752" fmla="*/ 818583 w 3751729"/>
              <a:gd name="connsiteY2752" fmla="*/ 179057 h 1237129"/>
              <a:gd name="connsiteX2753" fmla="*/ 823506 w 3751729"/>
              <a:gd name="connsiteY2753" fmla="*/ 179797 h 1237129"/>
              <a:gd name="connsiteX2754" fmla="*/ 824244 w 3751729"/>
              <a:gd name="connsiteY2754" fmla="*/ 183243 h 1237129"/>
              <a:gd name="connsiteX2755" fmla="*/ 835814 w 3751729"/>
              <a:gd name="connsiteY2755" fmla="*/ 174134 h 1237129"/>
              <a:gd name="connsiteX2756" fmla="*/ 844922 w 3751729"/>
              <a:gd name="connsiteY2756" fmla="*/ 163305 h 1237129"/>
              <a:gd name="connsiteX2757" fmla="*/ 851568 w 3751729"/>
              <a:gd name="connsiteY2757" fmla="*/ 151735 h 1237129"/>
              <a:gd name="connsiteX2758" fmla="*/ 863137 w 3751729"/>
              <a:gd name="connsiteY2758" fmla="*/ 142627 h 1237129"/>
              <a:gd name="connsiteX2759" fmla="*/ 864860 w 3751729"/>
              <a:gd name="connsiteY2759" fmla="*/ 152719 h 1237129"/>
              <a:gd name="connsiteX2760" fmla="*/ 869044 w 3751729"/>
              <a:gd name="connsiteY2760" fmla="*/ 158627 h 1237129"/>
              <a:gd name="connsiteX2761" fmla="*/ 874705 w 3751729"/>
              <a:gd name="connsiteY2761" fmla="*/ 164535 h 1237129"/>
              <a:gd name="connsiteX2762" fmla="*/ 880367 w 3751729"/>
              <a:gd name="connsiteY2762" fmla="*/ 170442 h 1237129"/>
              <a:gd name="connsiteX2763" fmla="*/ 885290 w 3751729"/>
              <a:gd name="connsiteY2763" fmla="*/ 177827 h 1237129"/>
              <a:gd name="connsiteX2764" fmla="*/ 885290 w 3751729"/>
              <a:gd name="connsiteY2764" fmla="*/ 180288 h 1237129"/>
              <a:gd name="connsiteX2765" fmla="*/ 885290 w 3751729"/>
              <a:gd name="connsiteY2765" fmla="*/ 183735 h 1237129"/>
              <a:gd name="connsiteX2766" fmla="*/ 883567 w 3751729"/>
              <a:gd name="connsiteY2766" fmla="*/ 185458 h 1237129"/>
              <a:gd name="connsiteX2767" fmla="*/ 883567 w 3751729"/>
              <a:gd name="connsiteY2767" fmla="*/ 187918 h 1237129"/>
              <a:gd name="connsiteX2768" fmla="*/ 881845 w 3751729"/>
              <a:gd name="connsiteY2768" fmla="*/ 191365 h 1237129"/>
              <a:gd name="connsiteX2769" fmla="*/ 883567 w 3751729"/>
              <a:gd name="connsiteY2769" fmla="*/ 193827 h 1237129"/>
              <a:gd name="connsiteX2770" fmla="*/ 885290 w 3751729"/>
              <a:gd name="connsiteY2770" fmla="*/ 197273 h 1237129"/>
              <a:gd name="connsiteX2771" fmla="*/ 886028 w 3751729"/>
              <a:gd name="connsiteY2771" fmla="*/ 198012 h 1237129"/>
              <a:gd name="connsiteX2772" fmla="*/ 889228 w 3751729"/>
              <a:gd name="connsiteY2772" fmla="*/ 198012 h 1237129"/>
              <a:gd name="connsiteX2773" fmla="*/ 891689 w 3751729"/>
              <a:gd name="connsiteY2773" fmla="*/ 198012 h 1237129"/>
              <a:gd name="connsiteX2774" fmla="*/ 893414 w 3751729"/>
              <a:gd name="connsiteY2774" fmla="*/ 198012 h 1237129"/>
              <a:gd name="connsiteX2775" fmla="*/ 896613 w 3751729"/>
              <a:gd name="connsiteY2775" fmla="*/ 198012 h 1237129"/>
              <a:gd name="connsiteX2776" fmla="*/ 897352 w 3751729"/>
              <a:gd name="connsiteY2776" fmla="*/ 199735 h 1237129"/>
              <a:gd name="connsiteX2777" fmla="*/ 902275 w 3751729"/>
              <a:gd name="connsiteY2777" fmla="*/ 211304 h 1237129"/>
              <a:gd name="connsiteX2778" fmla="*/ 902275 w 3751729"/>
              <a:gd name="connsiteY2778" fmla="*/ 220411 h 1237129"/>
              <a:gd name="connsiteX2779" fmla="*/ 900552 w 3751729"/>
              <a:gd name="connsiteY2779" fmla="*/ 228780 h 1237129"/>
              <a:gd name="connsiteX2780" fmla="*/ 903013 w 3751729"/>
              <a:gd name="connsiteY2780" fmla="*/ 236166 h 1237129"/>
              <a:gd name="connsiteX2781" fmla="*/ 913844 w 3751729"/>
              <a:gd name="connsiteY2781" fmla="*/ 244534 h 1237129"/>
              <a:gd name="connsiteX2782" fmla="*/ 904736 w 3751729"/>
              <a:gd name="connsiteY2782" fmla="*/ 262011 h 1237129"/>
              <a:gd name="connsiteX2783" fmla="*/ 894890 w 3751729"/>
              <a:gd name="connsiteY2783" fmla="*/ 277026 h 1237129"/>
              <a:gd name="connsiteX2784" fmla="*/ 897352 w 3751729"/>
              <a:gd name="connsiteY2784" fmla="*/ 277026 h 1237129"/>
              <a:gd name="connsiteX2785" fmla="*/ 906459 w 3751729"/>
              <a:gd name="connsiteY2785" fmla="*/ 267919 h 1237129"/>
              <a:gd name="connsiteX2786" fmla="*/ 914828 w 3751729"/>
              <a:gd name="connsiteY2786" fmla="*/ 260535 h 1237129"/>
              <a:gd name="connsiteX2787" fmla="*/ 922213 w 3751729"/>
              <a:gd name="connsiteY2787" fmla="*/ 252165 h 1237129"/>
              <a:gd name="connsiteX2788" fmla="*/ 932059 w 3751729"/>
              <a:gd name="connsiteY2788" fmla="*/ 254626 h 1237129"/>
              <a:gd name="connsiteX2789" fmla="*/ 937720 w 3751729"/>
              <a:gd name="connsiteY2789" fmla="*/ 260535 h 1237129"/>
              <a:gd name="connsiteX2790" fmla="*/ 943382 w 3751729"/>
              <a:gd name="connsiteY2790" fmla="*/ 267919 h 1237129"/>
              <a:gd name="connsiteX2791" fmla="*/ 945105 w 3751729"/>
              <a:gd name="connsiteY2791" fmla="*/ 279487 h 1237129"/>
              <a:gd name="connsiteX2792" fmla="*/ 960120 w 3751729"/>
              <a:gd name="connsiteY2792" fmla="*/ 279487 h 1237129"/>
              <a:gd name="connsiteX2793" fmla="*/ 960120 w 3751729"/>
              <a:gd name="connsiteY2793" fmla="*/ 283672 h 1237129"/>
              <a:gd name="connsiteX2794" fmla="*/ 960859 w 3751729"/>
              <a:gd name="connsiteY2794" fmla="*/ 287118 h 1237129"/>
              <a:gd name="connsiteX2795" fmla="*/ 960859 w 3751729"/>
              <a:gd name="connsiteY2795" fmla="*/ 291304 h 1237129"/>
              <a:gd name="connsiteX2796" fmla="*/ 962582 w 3751729"/>
              <a:gd name="connsiteY2796" fmla="*/ 295488 h 1237129"/>
              <a:gd name="connsiteX2797" fmla="*/ 960859 w 3751729"/>
              <a:gd name="connsiteY2797" fmla="*/ 300410 h 1237129"/>
              <a:gd name="connsiteX2798" fmla="*/ 960859 w 3751729"/>
              <a:gd name="connsiteY2798" fmla="*/ 302872 h 1237129"/>
              <a:gd name="connsiteX2799" fmla="*/ 960859 w 3751729"/>
              <a:gd name="connsiteY2799" fmla="*/ 306319 h 1237129"/>
              <a:gd name="connsiteX2800" fmla="*/ 962582 w 3751729"/>
              <a:gd name="connsiteY2800" fmla="*/ 307057 h 1237129"/>
              <a:gd name="connsiteX2801" fmla="*/ 962582 w 3751729"/>
              <a:gd name="connsiteY2801" fmla="*/ 310503 h 1237129"/>
              <a:gd name="connsiteX2802" fmla="*/ 962582 w 3751729"/>
              <a:gd name="connsiteY2802" fmla="*/ 312226 h 1237129"/>
              <a:gd name="connsiteX2803" fmla="*/ 962582 w 3751729"/>
              <a:gd name="connsiteY2803" fmla="*/ 314687 h 1237129"/>
              <a:gd name="connsiteX2804" fmla="*/ 946828 w 3751729"/>
              <a:gd name="connsiteY2804" fmla="*/ 326257 h 1237129"/>
              <a:gd name="connsiteX2805" fmla="*/ 929598 w 3751729"/>
              <a:gd name="connsiteY2805" fmla="*/ 333641 h 1237129"/>
              <a:gd name="connsiteX2806" fmla="*/ 909659 w 3751729"/>
              <a:gd name="connsiteY2806" fmla="*/ 337826 h 1237129"/>
              <a:gd name="connsiteX2807" fmla="*/ 888983 w 3751729"/>
              <a:gd name="connsiteY2807" fmla="*/ 340287 h 1237129"/>
              <a:gd name="connsiteX2808" fmla="*/ 869044 w 3751729"/>
              <a:gd name="connsiteY2808" fmla="*/ 343733 h 1237129"/>
              <a:gd name="connsiteX2809" fmla="*/ 848367 w 3751729"/>
              <a:gd name="connsiteY2809" fmla="*/ 346196 h 1237129"/>
              <a:gd name="connsiteX2810" fmla="*/ 831137 w 3751729"/>
              <a:gd name="connsiteY2810" fmla="*/ 352103 h 1237129"/>
              <a:gd name="connsiteX2811" fmla="*/ 815382 w 3751729"/>
              <a:gd name="connsiteY2811" fmla="*/ 359488 h 1237129"/>
              <a:gd name="connsiteX2812" fmla="*/ 803814 w 3751729"/>
              <a:gd name="connsiteY2812" fmla="*/ 372780 h 1237129"/>
              <a:gd name="connsiteX2813" fmla="*/ 807014 w 3751729"/>
              <a:gd name="connsiteY2813" fmla="*/ 372780 h 1237129"/>
              <a:gd name="connsiteX2814" fmla="*/ 821045 w 3751729"/>
              <a:gd name="connsiteY2814" fmla="*/ 362688 h 1237129"/>
              <a:gd name="connsiteX2815" fmla="*/ 838275 w 3751729"/>
              <a:gd name="connsiteY2815" fmla="*/ 355302 h 1237129"/>
              <a:gd name="connsiteX2816" fmla="*/ 857228 w 3751729"/>
              <a:gd name="connsiteY2816" fmla="*/ 351118 h 1237129"/>
              <a:gd name="connsiteX2817" fmla="*/ 857967 w 3751729"/>
              <a:gd name="connsiteY2817" fmla="*/ 353580 h 1237129"/>
              <a:gd name="connsiteX2818" fmla="*/ 859690 w 3751729"/>
              <a:gd name="connsiteY2818" fmla="*/ 357026 h 1237129"/>
              <a:gd name="connsiteX2819" fmla="*/ 861414 w 3751729"/>
              <a:gd name="connsiteY2819" fmla="*/ 357764 h 1237129"/>
              <a:gd name="connsiteX2820" fmla="*/ 863874 w 3751729"/>
              <a:gd name="connsiteY2820" fmla="*/ 359488 h 1237129"/>
              <a:gd name="connsiteX2821" fmla="*/ 867075 w 3751729"/>
              <a:gd name="connsiteY2821" fmla="*/ 361210 h 1237129"/>
              <a:gd name="connsiteX2822" fmla="*/ 869536 w 3751729"/>
              <a:gd name="connsiteY2822" fmla="*/ 363673 h 1237129"/>
              <a:gd name="connsiteX2823" fmla="*/ 865352 w 3751729"/>
              <a:gd name="connsiteY2823" fmla="*/ 371057 h 1237129"/>
              <a:gd name="connsiteX2824" fmla="*/ 862890 w 3751729"/>
              <a:gd name="connsiteY2824" fmla="*/ 376965 h 1237129"/>
              <a:gd name="connsiteX2825" fmla="*/ 861168 w 3751729"/>
              <a:gd name="connsiteY2825" fmla="*/ 382871 h 1237129"/>
              <a:gd name="connsiteX2826" fmla="*/ 859444 w 3751729"/>
              <a:gd name="connsiteY2826" fmla="*/ 391980 h 1237129"/>
              <a:gd name="connsiteX2827" fmla="*/ 871014 w 3751729"/>
              <a:gd name="connsiteY2827" fmla="*/ 397888 h 1237129"/>
              <a:gd name="connsiteX2828" fmla="*/ 878397 w 3751729"/>
              <a:gd name="connsiteY2828" fmla="*/ 406257 h 1237129"/>
              <a:gd name="connsiteX2829" fmla="*/ 884060 w 3751729"/>
              <a:gd name="connsiteY2829" fmla="*/ 414626 h 1237129"/>
              <a:gd name="connsiteX2830" fmla="*/ 891443 w 3751729"/>
              <a:gd name="connsiteY2830" fmla="*/ 423733 h 1237129"/>
              <a:gd name="connsiteX2831" fmla="*/ 891443 w 3751729"/>
              <a:gd name="connsiteY2831" fmla="*/ 426195 h 1237129"/>
              <a:gd name="connsiteX2832" fmla="*/ 891443 w 3751729"/>
              <a:gd name="connsiteY2832" fmla="*/ 427918 h 1237129"/>
              <a:gd name="connsiteX2833" fmla="*/ 889721 w 3751729"/>
              <a:gd name="connsiteY2833" fmla="*/ 427918 h 1237129"/>
              <a:gd name="connsiteX2834" fmla="*/ 889721 w 3751729"/>
              <a:gd name="connsiteY2834" fmla="*/ 429641 h 1237129"/>
              <a:gd name="connsiteX2835" fmla="*/ 887998 w 3751729"/>
              <a:gd name="connsiteY2835" fmla="*/ 431364 h 1237129"/>
              <a:gd name="connsiteX2836" fmla="*/ 879629 w 3751729"/>
              <a:gd name="connsiteY2836" fmla="*/ 441456 h 1237129"/>
              <a:gd name="connsiteX2837" fmla="*/ 868059 w 3751729"/>
              <a:gd name="connsiteY2837" fmla="*/ 449826 h 1237129"/>
              <a:gd name="connsiteX2838" fmla="*/ 853290 w 3751729"/>
              <a:gd name="connsiteY2838" fmla="*/ 455733 h 1237129"/>
              <a:gd name="connsiteX2839" fmla="*/ 853290 w 3751729"/>
              <a:gd name="connsiteY2839" fmla="*/ 443180 h 1237129"/>
              <a:gd name="connsiteX2840" fmla="*/ 860674 w 3751729"/>
              <a:gd name="connsiteY2840" fmla="*/ 438257 h 1237129"/>
              <a:gd name="connsiteX2841" fmla="*/ 866336 w 3751729"/>
              <a:gd name="connsiteY2841" fmla="*/ 434072 h 1237129"/>
              <a:gd name="connsiteX2842" fmla="*/ 871999 w 3751729"/>
              <a:gd name="connsiteY2842" fmla="*/ 426687 h 1237129"/>
              <a:gd name="connsiteX2843" fmla="*/ 866336 w 3751729"/>
              <a:gd name="connsiteY2843" fmla="*/ 424226 h 1237129"/>
              <a:gd name="connsiteX2844" fmla="*/ 866336 w 3751729"/>
              <a:gd name="connsiteY2844" fmla="*/ 420780 h 1237129"/>
              <a:gd name="connsiteX2845" fmla="*/ 864613 w 3751729"/>
              <a:gd name="connsiteY2845" fmla="*/ 420780 h 1237129"/>
              <a:gd name="connsiteX2846" fmla="*/ 862890 w 3751729"/>
              <a:gd name="connsiteY2846" fmla="*/ 420780 h 1237129"/>
              <a:gd name="connsiteX2847" fmla="*/ 862890 w 3751729"/>
              <a:gd name="connsiteY2847" fmla="*/ 422502 h 1237129"/>
              <a:gd name="connsiteX2848" fmla="*/ 862890 w 3751729"/>
              <a:gd name="connsiteY2848" fmla="*/ 424226 h 1237129"/>
              <a:gd name="connsiteX2849" fmla="*/ 853044 w 3751729"/>
              <a:gd name="connsiteY2849" fmla="*/ 431611 h 1237129"/>
              <a:gd name="connsiteX2850" fmla="*/ 839751 w 3751729"/>
              <a:gd name="connsiteY2850" fmla="*/ 437518 h 1237129"/>
              <a:gd name="connsiteX2851" fmla="*/ 828921 w 3751729"/>
              <a:gd name="connsiteY2851" fmla="*/ 441703 h 1237129"/>
              <a:gd name="connsiteX2852" fmla="*/ 817352 w 3751729"/>
              <a:gd name="connsiteY2852" fmla="*/ 447611 h 1237129"/>
              <a:gd name="connsiteX2853" fmla="*/ 806521 w 3751729"/>
              <a:gd name="connsiteY2853" fmla="*/ 454995 h 1237129"/>
              <a:gd name="connsiteX2854" fmla="*/ 799875 w 3751729"/>
              <a:gd name="connsiteY2854" fmla="*/ 465087 h 1237129"/>
              <a:gd name="connsiteX2855" fmla="*/ 794952 w 3751729"/>
              <a:gd name="connsiteY2855" fmla="*/ 479364 h 1237129"/>
              <a:gd name="connsiteX2856" fmla="*/ 799875 w 3751729"/>
              <a:gd name="connsiteY2856" fmla="*/ 481087 h 1237129"/>
              <a:gd name="connsiteX2857" fmla="*/ 805536 w 3751729"/>
              <a:gd name="connsiteY2857" fmla="*/ 482810 h 1237129"/>
              <a:gd name="connsiteX2858" fmla="*/ 807998 w 3751729"/>
              <a:gd name="connsiteY2858" fmla="*/ 485271 h 1237129"/>
              <a:gd name="connsiteX2859" fmla="*/ 802337 w 3751729"/>
              <a:gd name="connsiteY2859" fmla="*/ 485271 h 1237129"/>
              <a:gd name="connsiteX2860" fmla="*/ 793968 w 3751729"/>
              <a:gd name="connsiteY2860" fmla="*/ 492657 h 1237129"/>
              <a:gd name="connsiteX2861" fmla="*/ 782398 w 3751729"/>
              <a:gd name="connsiteY2861" fmla="*/ 495118 h 1237129"/>
              <a:gd name="connsiteX2862" fmla="*/ 771568 w 3751729"/>
              <a:gd name="connsiteY2862" fmla="*/ 496841 h 1237129"/>
              <a:gd name="connsiteX2863" fmla="*/ 759999 w 3751729"/>
              <a:gd name="connsiteY2863" fmla="*/ 498564 h 1237129"/>
              <a:gd name="connsiteX2864" fmla="*/ 751629 w 3751729"/>
              <a:gd name="connsiteY2864" fmla="*/ 521948 h 1237129"/>
              <a:gd name="connsiteX2865" fmla="*/ 741783 w 3751729"/>
              <a:gd name="connsiteY2865" fmla="*/ 546810 h 1237129"/>
              <a:gd name="connsiteX2866" fmla="*/ 738583 w 3751729"/>
              <a:gd name="connsiteY2866" fmla="*/ 543364 h 1237129"/>
              <a:gd name="connsiteX2867" fmla="*/ 737845 w 3751729"/>
              <a:gd name="connsiteY2867" fmla="*/ 541641 h 1237129"/>
              <a:gd name="connsiteX2868" fmla="*/ 734645 w 3751729"/>
              <a:gd name="connsiteY2868" fmla="*/ 540903 h 1237129"/>
              <a:gd name="connsiteX2869" fmla="*/ 732922 w 3751729"/>
              <a:gd name="connsiteY2869" fmla="*/ 539179 h 1237129"/>
              <a:gd name="connsiteX2870" fmla="*/ 728737 w 3751729"/>
              <a:gd name="connsiteY2870" fmla="*/ 535733 h 1237129"/>
              <a:gd name="connsiteX2871" fmla="*/ 728737 w 3751729"/>
              <a:gd name="connsiteY2871" fmla="*/ 543118 h 1237129"/>
              <a:gd name="connsiteX2872" fmla="*/ 730459 w 3751729"/>
              <a:gd name="connsiteY2872" fmla="*/ 546564 h 1237129"/>
              <a:gd name="connsiteX2873" fmla="*/ 732922 w 3751729"/>
              <a:gd name="connsiteY2873" fmla="*/ 554933 h 1237129"/>
              <a:gd name="connsiteX2874" fmla="*/ 736122 w 3751729"/>
              <a:gd name="connsiteY2874" fmla="*/ 565025 h 1237129"/>
              <a:gd name="connsiteX2875" fmla="*/ 738583 w 3751729"/>
              <a:gd name="connsiteY2875" fmla="*/ 574134 h 1237129"/>
              <a:gd name="connsiteX2876" fmla="*/ 738583 w 3751729"/>
              <a:gd name="connsiteY2876" fmla="*/ 578315 h 1237129"/>
              <a:gd name="connsiteX2877" fmla="*/ 727014 w 3751729"/>
              <a:gd name="connsiteY2877" fmla="*/ 585699 h 1237129"/>
              <a:gd name="connsiteX2878" fmla="*/ 714707 w 3751729"/>
              <a:gd name="connsiteY2878" fmla="*/ 592346 h 1237129"/>
              <a:gd name="connsiteX2879" fmla="*/ 701415 w 3751729"/>
              <a:gd name="connsiteY2879" fmla="*/ 601453 h 1237129"/>
              <a:gd name="connsiteX2880" fmla="*/ 688123 w 3751729"/>
              <a:gd name="connsiteY2880" fmla="*/ 609823 h 1237129"/>
              <a:gd name="connsiteX2881" fmla="*/ 679753 w 3751729"/>
              <a:gd name="connsiteY2881" fmla="*/ 621391 h 1237129"/>
              <a:gd name="connsiteX2882" fmla="*/ 675568 w 3751729"/>
              <a:gd name="connsiteY2882" fmla="*/ 636407 h 1237129"/>
              <a:gd name="connsiteX2883" fmla="*/ 670645 w 3751729"/>
              <a:gd name="connsiteY2883" fmla="*/ 647976 h 1237129"/>
              <a:gd name="connsiteX2884" fmla="*/ 672368 w 3751729"/>
              <a:gd name="connsiteY2884" fmla="*/ 662253 h 1237129"/>
              <a:gd name="connsiteX2885" fmla="*/ 676553 w 3751729"/>
              <a:gd name="connsiteY2885" fmla="*/ 678007 h 1237129"/>
              <a:gd name="connsiteX2886" fmla="*/ 682214 w 3751729"/>
              <a:gd name="connsiteY2886" fmla="*/ 694744 h 1237129"/>
              <a:gd name="connsiteX2887" fmla="*/ 687876 w 3751729"/>
              <a:gd name="connsiteY2887" fmla="*/ 710499 h 1237129"/>
              <a:gd name="connsiteX2888" fmla="*/ 691076 w 3751729"/>
              <a:gd name="connsiteY2888" fmla="*/ 724776 h 1237129"/>
              <a:gd name="connsiteX2889" fmla="*/ 687876 w 3751729"/>
              <a:gd name="connsiteY2889" fmla="*/ 724776 h 1237129"/>
              <a:gd name="connsiteX2890" fmla="*/ 687876 w 3751729"/>
              <a:gd name="connsiteY2890" fmla="*/ 728222 h 1237129"/>
              <a:gd name="connsiteX2891" fmla="*/ 678030 w 3751729"/>
              <a:gd name="connsiteY2891" fmla="*/ 724776 h 1237129"/>
              <a:gd name="connsiteX2892" fmla="*/ 673845 w 3751729"/>
              <a:gd name="connsiteY2892" fmla="*/ 712222 h 1237129"/>
              <a:gd name="connsiteX2893" fmla="*/ 666461 w 3751729"/>
              <a:gd name="connsiteY2893" fmla="*/ 695484 h 1237129"/>
              <a:gd name="connsiteX2894" fmla="*/ 658091 w 3751729"/>
              <a:gd name="connsiteY2894" fmla="*/ 678007 h 1237129"/>
              <a:gd name="connsiteX2895" fmla="*/ 648983 w 3751729"/>
              <a:gd name="connsiteY2895" fmla="*/ 665453 h 1237129"/>
              <a:gd name="connsiteX2896" fmla="*/ 640615 w 3751729"/>
              <a:gd name="connsiteY2896" fmla="*/ 658069 h 1237129"/>
              <a:gd name="connsiteX2897" fmla="*/ 629784 w 3751729"/>
              <a:gd name="connsiteY2897" fmla="*/ 656345 h 1237129"/>
              <a:gd name="connsiteX2898" fmla="*/ 617476 w 3751729"/>
              <a:gd name="connsiteY2898" fmla="*/ 650438 h 1237129"/>
              <a:gd name="connsiteX2899" fmla="*/ 602707 w 3751729"/>
              <a:gd name="connsiteY2899" fmla="*/ 644530 h 1237129"/>
              <a:gd name="connsiteX2900" fmla="*/ 585477 w 3751729"/>
              <a:gd name="connsiteY2900" fmla="*/ 642068 h 1237129"/>
              <a:gd name="connsiteX2901" fmla="*/ 585477 w 3751729"/>
              <a:gd name="connsiteY2901" fmla="*/ 644530 h 1237129"/>
              <a:gd name="connsiteX2902" fmla="*/ 583014 w 3751729"/>
              <a:gd name="connsiteY2902" fmla="*/ 644530 h 1237129"/>
              <a:gd name="connsiteX2903" fmla="*/ 584739 w 3751729"/>
              <a:gd name="connsiteY2903" fmla="*/ 649453 h 1237129"/>
              <a:gd name="connsiteX2904" fmla="*/ 587199 w 3751729"/>
              <a:gd name="connsiteY2904" fmla="*/ 653638 h 1237129"/>
              <a:gd name="connsiteX2905" fmla="*/ 588923 w 3751729"/>
              <a:gd name="connsiteY2905" fmla="*/ 656099 h 1237129"/>
              <a:gd name="connsiteX2906" fmla="*/ 590645 w 3751729"/>
              <a:gd name="connsiteY2906" fmla="*/ 659545 h 1237129"/>
              <a:gd name="connsiteX2907" fmla="*/ 593107 w 3751729"/>
              <a:gd name="connsiteY2907" fmla="*/ 663730 h 1237129"/>
              <a:gd name="connsiteX2908" fmla="*/ 579815 w 3751729"/>
              <a:gd name="connsiteY2908" fmla="*/ 663730 h 1237129"/>
              <a:gd name="connsiteX2909" fmla="*/ 569969 w 3751729"/>
              <a:gd name="connsiteY2909" fmla="*/ 659545 h 1237129"/>
              <a:gd name="connsiteX2910" fmla="*/ 556677 w 3751729"/>
              <a:gd name="connsiteY2910" fmla="*/ 656099 h 1237129"/>
              <a:gd name="connsiteX2911" fmla="*/ 544369 w 3751729"/>
              <a:gd name="connsiteY2911" fmla="*/ 656099 h 1237129"/>
              <a:gd name="connsiteX2912" fmla="*/ 531077 w 3751729"/>
              <a:gd name="connsiteY2912" fmla="*/ 657822 h 1237129"/>
              <a:gd name="connsiteX2913" fmla="*/ 521970 w 3751729"/>
              <a:gd name="connsiteY2913" fmla="*/ 660284 h 1237129"/>
              <a:gd name="connsiteX2914" fmla="*/ 512124 w 3751729"/>
              <a:gd name="connsiteY2914" fmla="*/ 665207 h 1237129"/>
              <a:gd name="connsiteX2915" fmla="*/ 503754 w 3751729"/>
              <a:gd name="connsiteY2915" fmla="*/ 671115 h 1237129"/>
              <a:gd name="connsiteX2916" fmla="*/ 498092 w 3751729"/>
              <a:gd name="connsiteY2916" fmla="*/ 679484 h 1237129"/>
              <a:gd name="connsiteX2917" fmla="*/ 494892 w 3751729"/>
              <a:gd name="connsiteY2917" fmla="*/ 686869 h 1237129"/>
              <a:gd name="connsiteX2918" fmla="*/ 496616 w 3751729"/>
              <a:gd name="connsiteY2918" fmla="*/ 692776 h 1237129"/>
              <a:gd name="connsiteX2919" fmla="*/ 496616 w 3751729"/>
              <a:gd name="connsiteY2919" fmla="*/ 700161 h 1237129"/>
              <a:gd name="connsiteX2920" fmla="*/ 494154 w 3751729"/>
              <a:gd name="connsiteY2920" fmla="*/ 708529 h 1237129"/>
              <a:gd name="connsiteX2921" fmla="*/ 488492 w 3751729"/>
              <a:gd name="connsiteY2921" fmla="*/ 727730 h 1237129"/>
              <a:gd name="connsiteX2922" fmla="*/ 488492 w 3751729"/>
              <a:gd name="connsiteY2922" fmla="*/ 742007 h 1237129"/>
              <a:gd name="connsiteX2923" fmla="*/ 489231 w 3751729"/>
              <a:gd name="connsiteY2923" fmla="*/ 757022 h 1237129"/>
              <a:gd name="connsiteX2924" fmla="*/ 494892 w 3751729"/>
              <a:gd name="connsiteY2924" fmla="*/ 771298 h 1237129"/>
              <a:gd name="connsiteX2925" fmla="*/ 504000 w 3751729"/>
              <a:gd name="connsiteY2925" fmla="*/ 788775 h 1237129"/>
              <a:gd name="connsiteX2926" fmla="*/ 513846 w 3751729"/>
              <a:gd name="connsiteY2926" fmla="*/ 790499 h 1237129"/>
              <a:gd name="connsiteX2927" fmla="*/ 519508 w 3751729"/>
              <a:gd name="connsiteY2927" fmla="*/ 792221 h 1237129"/>
              <a:gd name="connsiteX2928" fmla="*/ 521970 w 3751729"/>
              <a:gd name="connsiteY2928" fmla="*/ 794683 h 1237129"/>
              <a:gd name="connsiteX2929" fmla="*/ 525170 w 3751729"/>
              <a:gd name="connsiteY2929" fmla="*/ 796405 h 1237129"/>
              <a:gd name="connsiteX2930" fmla="*/ 529354 w 3751729"/>
              <a:gd name="connsiteY2930" fmla="*/ 798129 h 1237129"/>
              <a:gd name="connsiteX2931" fmla="*/ 536738 w 3751729"/>
              <a:gd name="connsiteY2931" fmla="*/ 794683 h 1237129"/>
              <a:gd name="connsiteX2932" fmla="*/ 548308 w 3751729"/>
              <a:gd name="connsiteY2932" fmla="*/ 788775 h 1237129"/>
              <a:gd name="connsiteX2933" fmla="*/ 550770 w 3751729"/>
              <a:gd name="connsiteY2933" fmla="*/ 787052 h 1237129"/>
              <a:gd name="connsiteX2934" fmla="*/ 552492 w 3751729"/>
              <a:gd name="connsiteY2934" fmla="*/ 787052 h 1237129"/>
              <a:gd name="connsiteX2935" fmla="*/ 555692 w 3751729"/>
              <a:gd name="connsiteY2935" fmla="*/ 787052 h 1237129"/>
              <a:gd name="connsiteX2936" fmla="*/ 556430 w 3751729"/>
              <a:gd name="connsiteY2936" fmla="*/ 787052 h 1237129"/>
              <a:gd name="connsiteX2937" fmla="*/ 558153 w 3751729"/>
              <a:gd name="connsiteY2937" fmla="*/ 787052 h 1237129"/>
              <a:gd name="connsiteX2938" fmla="*/ 558153 w 3751729"/>
              <a:gd name="connsiteY2938" fmla="*/ 786313 h 1237129"/>
              <a:gd name="connsiteX2939" fmla="*/ 561354 w 3751729"/>
              <a:gd name="connsiteY2939" fmla="*/ 782867 h 1237129"/>
              <a:gd name="connsiteX2940" fmla="*/ 562092 w 3751729"/>
              <a:gd name="connsiteY2940" fmla="*/ 778682 h 1237129"/>
              <a:gd name="connsiteX2941" fmla="*/ 563816 w 3751729"/>
              <a:gd name="connsiteY2941" fmla="*/ 774499 h 1237129"/>
              <a:gd name="connsiteX2942" fmla="*/ 565538 w 3751729"/>
              <a:gd name="connsiteY2942" fmla="*/ 769576 h 1237129"/>
              <a:gd name="connsiteX2943" fmla="*/ 567262 w 3751729"/>
              <a:gd name="connsiteY2943" fmla="*/ 767114 h 1237129"/>
              <a:gd name="connsiteX2944" fmla="*/ 573908 w 3751729"/>
              <a:gd name="connsiteY2944" fmla="*/ 759729 h 1237129"/>
              <a:gd name="connsiteX2945" fmla="*/ 583014 w 3751729"/>
              <a:gd name="connsiteY2945" fmla="*/ 755544 h 1237129"/>
              <a:gd name="connsiteX2946" fmla="*/ 596308 w 3751729"/>
              <a:gd name="connsiteY2946" fmla="*/ 753821 h 1237129"/>
              <a:gd name="connsiteX2947" fmla="*/ 597046 w 3751729"/>
              <a:gd name="connsiteY2947" fmla="*/ 757268 h 1237129"/>
              <a:gd name="connsiteX2948" fmla="*/ 598769 w 3751729"/>
              <a:gd name="connsiteY2948" fmla="*/ 758006 h 1237129"/>
              <a:gd name="connsiteX2949" fmla="*/ 598769 w 3751729"/>
              <a:gd name="connsiteY2949" fmla="*/ 759729 h 1237129"/>
              <a:gd name="connsiteX2950" fmla="*/ 600491 w 3751729"/>
              <a:gd name="connsiteY2950" fmla="*/ 759729 h 1237129"/>
              <a:gd name="connsiteX2951" fmla="*/ 600491 w 3751729"/>
              <a:gd name="connsiteY2951" fmla="*/ 758006 h 1237129"/>
              <a:gd name="connsiteX2952" fmla="*/ 601477 w 3751729"/>
              <a:gd name="connsiteY2952" fmla="*/ 758006 h 1237129"/>
              <a:gd name="connsiteX2953" fmla="*/ 604677 w 3751729"/>
              <a:gd name="connsiteY2953" fmla="*/ 758006 h 1237129"/>
              <a:gd name="connsiteX2954" fmla="*/ 608861 w 3751729"/>
              <a:gd name="connsiteY2954" fmla="*/ 757268 h 1237129"/>
              <a:gd name="connsiteX2955" fmla="*/ 608861 w 3751729"/>
              <a:gd name="connsiteY2955" fmla="*/ 769821 h 1237129"/>
              <a:gd name="connsiteX2956" fmla="*/ 603200 w 3751729"/>
              <a:gd name="connsiteY2956" fmla="*/ 775729 h 1237129"/>
              <a:gd name="connsiteX2957" fmla="*/ 599015 w 3751729"/>
              <a:gd name="connsiteY2957" fmla="*/ 786559 h 1237129"/>
              <a:gd name="connsiteX2958" fmla="*/ 594831 w 3751729"/>
              <a:gd name="connsiteY2958" fmla="*/ 800836 h 1237129"/>
              <a:gd name="connsiteX2959" fmla="*/ 590645 w 3751729"/>
              <a:gd name="connsiteY2959" fmla="*/ 814128 h 1237129"/>
              <a:gd name="connsiteX2960" fmla="*/ 585722 w 3751729"/>
              <a:gd name="connsiteY2960" fmla="*/ 824221 h 1237129"/>
              <a:gd name="connsiteX2961" fmla="*/ 600491 w 3751729"/>
              <a:gd name="connsiteY2961" fmla="*/ 824221 h 1237129"/>
              <a:gd name="connsiteX2962" fmla="*/ 612799 w 3751729"/>
              <a:gd name="connsiteY2962" fmla="*/ 822498 h 1237129"/>
              <a:gd name="connsiteX2963" fmla="*/ 624369 w 3751729"/>
              <a:gd name="connsiteY2963" fmla="*/ 822498 h 1237129"/>
              <a:gd name="connsiteX2964" fmla="*/ 635199 w 3751729"/>
              <a:gd name="connsiteY2964" fmla="*/ 824221 h 1237129"/>
              <a:gd name="connsiteX2965" fmla="*/ 641845 w 3751729"/>
              <a:gd name="connsiteY2965" fmla="*/ 828405 h 1237129"/>
              <a:gd name="connsiteX2966" fmla="*/ 647507 w 3751729"/>
              <a:gd name="connsiteY2966" fmla="*/ 837514 h 1237129"/>
              <a:gd name="connsiteX2967" fmla="*/ 649229 w 3751729"/>
              <a:gd name="connsiteY2967" fmla="*/ 850066 h 1237129"/>
              <a:gd name="connsiteX2968" fmla="*/ 646768 w 3751729"/>
              <a:gd name="connsiteY2968" fmla="*/ 859174 h 1237129"/>
              <a:gd name="connsiteX2969" fmla="*/ 643568 w 3751729"/>
              <a:gd name="connsiteY2969" fmla="*/ 870744 h 1237129"/>
              <a:gd name="connsiteX2970" fmla="*/ 643568 w 3751729"/>
              <a:gd name="connsiteY2970" fmla="*/ 882313 h 1237129"/>
              <a:gd name="connsiteX2971" fmla="*/ 650954 w 3751729"/>
              <a:gd name="connsiteY2971" fmla="*/ 889697 h 1237129"/>
              <a:gd name="connsiteX2972" fmla="*/ 655138 w 3751729"/>
              <a:gd name="connsiteY2972" fmla="*/ 894620 h 1237129"/>
              <a:gd name="connsiteX2973" fmla="*/ 660799 w 3751729"/>
              <a:gd name="connsiteY2973" fmla="*/ 900529 h 1237129"/>
              <a:gd name="connsiteX2974" fmla="*/ 669906 w 3751729"/>
              <a:gd name="connsiteY2974" fmla="*/ 905451 h 1237129"/>
              <a:gd name="connsiteX2975" fmla="*/ 680738 w 3751729"/>
              <a:gd name="connsiteY2975" fmla="*/ 907913 h 1237129"/>
              <a:gd name="connsiteX2976" fmla="*/ 686399 w 3751729"/>
              <a:gd name="connsiteY2976" fmla="*/ 900529 h 1237129"/>
              <a:gd name="connsiteX2977" fmla="*/ 693784 w 3751729"/>
              <a:gd name="connsiteY2977" fmla="*/ 898066 h 1237129"/>
              <a:gd name="connsiteX2978" fmla="*/ 707076 w 3751729"/>
              <a:gd name="connsiteY2978" fmla="*/ 898066 h 1237129"/>
              <a:gd name="connsiteX2979" fmla="*/ 708798 w 3751729"/>
              <a:gd name="connsiteY2979" fmla="*/ 900529 h 1237129"/>
              <a:gd name="connsiteX2980" fmla="*/ 711261 w 3751729"/>
              <a:gd name="connsiteY2980" fmla="*/ 903975 h 1237129"/>
              <a:gd name="connsiteX2981" fmla="*/ 712737 w 3751729"/>
              <a:gd name="connsiteY2981" fmla="*/ 905697 h 1237129"/>
              <a:gd name="connsiteX2982" fmla="*/ 714460 w 3751729"/>
              <a:gd name="connsiteY2982" fmla="*/ 905697 h 1237129"/>
              <a:gd name="connsiteX2983" fmla="*/ 718645 w 3751729"/>
              <a:gd name="connsiteY2983" fmla="*/ 906436 h 1237129"/>
              <a:gd name="connsiteX2984" fmla="*/ 724060 w 3751729"/>
              <a:gd name="connsiteY2984" fmla="*/ 907667 h 1237129"/>
              <a:gd name="connsiteX2985" fmla="*/ 729722 w 3751729"/>
              <a:gd name="connsiteY2985" fmla="*/ 896098 h 1237129"/>
              <a:gd name="connsiteX2986" fmla="*/ 737106 w 3751729"/>
              <a:gd name="connsiteY2986" fmla="*/ 887728 h 1237129"/>
              <a:gd name="connsiteX2987" fmla="*/ 745476 w 3751729"/>
              <a:gd name="connsiteY2987" fmla="*/ 880343 h 1237129"/>
              <a:gd name="connsiteX2988" fmla="*/ 756306 w 3751729"/>
              <a:gd name="connsiteY2988" fmla="*/ 874436 h 1237129"/>
              <a:gd name="connsiteX2989" fmla="*/ 772060 w 3751729"/>
              <a:gd name="connsiteY2989" fmla="*/ 871975 h 1237129"/>
              <a:gd name="connsiteX2990" fmla="*/ 774522 w 3751729"/>
              <a:gd name="connsiteY2990" fmla="*/ 870251 h 1237129"/>
              <a:gd name="connsiteX2991" fmla="*/ 776244 w 3751729"/>
              <a:gd name="connsiteY2991" fmla="*/ 870251 h 1237129"/>
              <a:gd name="connsiteX2992" fmla="*/ 778707 w 3751729"/>
              <a:gd name="connsiteY2992" fmla="*/ 870251 h 1237129"/>
              <a:gd name="connsiteX2993" fmla="*/ 780429 w 3751729"/>
              <a:gd name="connsiteY2993" fmla="*/ 870251 h 1237129"/>
              <a:gd name="connsiteX2994" fmla="*/ 783629 w 3751729"/>
              <a:gd name="connsiteY2994" fmla="*/ 871975 h 1237129"/>
              <a:gd name="connsiteX2995" fmla="*/ 787813 w 3751729"/>
              <a:gd name="connsiteY2995" fmla="*/ 871975 h 1237129"/>
              <a:gd name="connsiteX2996" fmla="*/ 786090 w 3751729"/>
              <a:gd name="connsiteY2996" fmla="*/ 874436 h 1237129"/>
              <a:gd name="connsiteX2997" fmla="*/ 786090 w 3751729"/>
              <a:gd name="connsiteY2997" fmla="*/ 877882 h 1237129"/>
              <a:gd name="connsiteX2998" fmla="*/ 784367 w 3751729"/>
              <a:gd name="connsiteY2998" fmla="*/ 877882 h 1237129"/>
              <a:gd name="connsiteX2999" fmla="*/ 784367 w 3751729"/>
              <a:gd name="connsiteY2999" fmla="*/ 878621 h 1237129"/>
              <a:gd name="connsiteX3000" fmla="*/ 786090 w 3751729"/>
              <a:gd name="connsiteY3000" fmla="*/ 878621 h 1237129"/>
              <a:gd name="connsiteX3001" fmla="*/ 787813 w 3751729"/>
              <a:gd name="connsiteY3001" fmla="*/ 880343 h 1237129"/>
              <a:gd name="connsiteX3002" fmla="*/ 790275 w 3751729"/>
              <a:gd name="connsiteY3002" fmla="*/ 882066 h 1237129"/>
              <a:gd name="connsiteX3003" fmla="*/ 790275 w 3751729"/>
              <a:gd name="connsiteY3003" fmla="*/ 878621 h 1237129"/>
              <a:gd name="connsiteX3004" fmla="*/ 793475 w 3751729"/>
              <a:gd name="connsiteY3004" fmla="*/ 876160 h 1237129"/>
              <a:gd name="connsiteX3005" fmla="*/ 795199 w 3751729"/>
              <a:gd name="connsiteY3005" fmla="*/ 874436 h 1237129"/>
              <a:gd name="connsiteX3006" fmla="*/ 795937 w 3751729"/>
              <a:gd name="connsiteY3006" fmla="*/ 872714 h 1237129"/>
              <a:gd name="connsiteX3007" fmla="*/ 797660 w 3751729"/>
              <a:gd name="connsiteY3007" fmla="*/ 871975 h 1237129"/>
              <a:gd name="connsiteX3008" fmla="*/ 800860 w 3751729"/>
              <a:gd name="connsiteY3008" fmla="*/ 870251 h 1237129"/>
              <a:gd name="connsiteX3009" fmla="*/ 803320 w 3751729"/>
              <a:gd name="connsiteY3009" fmla="*/ 868529 h 1237129"/>
              <a:gd name="connsiteX3010" fmla="*/ 816613 w 3751729"/>
              <a:gd name="connsiteY3010" fmla="*/ 880097 h 1237129"/>
              <a:gd name="connsiteX3011" fmla="*/ 833845 w 3751729"/>
              <a:gd name="connsiteY3011" fmla="*/ 886006 h 1237129"/>
              <a:gd name="connsiteX3012" fmla="*/ 851075 w 3751729"/>
              <a:gd name="connsiteY3012" fmla="*/ 887728 h 1237129"/>
              <a:gd name="connsiteX3013" fmla="*/ 871014 w 3751729"/>
              <a:gd name="connsiteY3013" fmla="*/ 886006 h 1237129"/>
              <a:gd name="connsiteX3014" fmla="*/ 891689 w 3751729"/>
              <a:gd name="connsiteY3014" fmla="*/ 884281 h 1237129"/>
              <a:gd name="connsiteX3015" fmla="*/ 891689 w 3751729"/>
              <a:gd name="connsiteY3015" fmla="*/ 887728 h 1237129"/>
              <a:gd name="connsiteX3016" fmla="*/ 891689 w 3751729"/>
              <a:gd name="connsiteY3016" fmla="*/ 889452 h 1237129"/>
              <a:gd name="connsiteX3017" fmla="*/ 889967 w 3751729"/>
              <a:gd name="connsiteY3017" fmla="*/ 890190 h 1237129"/>
              <a:gd name="connsiteX3018" fmla="*/ 889967 w 3751729"/>
              <a:gd name="connsiteY3018" fmla="*/ 891912 h 1237129"/>
              <a:gd name="connsiteX3019" fmla="*/ 888243 w 3751729"/>
              <a:gd name="connsiteY3019" fmla="*/ 894374 h 1237129"/>
              <a:gd name="connsiteX3020" fmla="*/ 898090 w 3751729"/>
              <a:gd name="connsiteY3020" fmla="*/ 897820 h 1237129"/>
              <a:gd name="connsiteX3021" fmla="*/ 903751 w 3751729"/>
              <a:gd name="connsiteY3021" fmla="*/ 902005 h 1237129"/>
              <a:gd name="connsiteX3022" fmla="*/ 909413 w 3751729"/>
              <a:gd name="connsiteY3022" fmla="*/ 906190 h 1237129"/>
              <a:gd name="connsiteX3023" fmla="*/ 919259 w 3751729"/>
              <a:gd name="connsiteY3023" fmla="*/ 911113 h 1237129"/>
              <a:gd name="connsiteX3024" fmla="*/ 919259 w 3751729"/>
              <a:gd name="connsiteY3024" fmla="*/ 919481 h 1237129"/>
              <a:gd name="connsiteX3025" fmla="*/ 930090 w 3751729"/>
              <a:gd name="connsiteY3025" fmla="*/ 922928 h 1237129"/>
              <a:gd name="connsiteX3026" fmla="*/ 936736 w 3751729"/>
              <a:gd name="connsiteY3026" fmla="*/ 923667 h 1237129"/>
              <a:gd name="connsiteX3027" fmla="*/ 942397 w 3751729"/>
              <a:gd name="connsiteY3027" fmla="*/ 929574 h 1237129"/>
              <a:gd name="connsiteX3028" fmla="*/ 945597 w 3751729"/>
              <a:gd name="connsiteY3028" fmla="*/ 938682 h 1237129"/>
              <a:gd name="connsiteX3029" fmla="*/ 962828 w 3751729"/>
              <a:gd name="connsiteY3029" fmla="*/ 940404 h 1237129"/>
              <a:gd name="connsiteX3030" fmla="*/ 976859 w 3751729"/>
              <a:gd name="connsiteY3030" fmla="*/ 941143 h 1237129"/>
              <a:gd name="connsiteX3031" fmla="*/ 995813 w 3751729"/>
              <a:gd name="connsiteY3031" fmla="*/ 942867 h 1237129"/>
              <a:gd name="connsiteX3032" fmla="*/ 1009104 w 3751729"/>
              <a:gd name="connsiteY3032" fmla="*/ 960343 h 1237129"/>
              <a:gd name="connsiteX3033" fmla="*/ 1024859 w 3751729"/>
              <a:gd name="connsiteY3033" fmla="*/ 976097 h 1237129"/>
              <a:gd name="connsiteX3034" fmla="*/ 1042089 w 3751729"/>
              <a:gd name="connsiteY3034" fmla="*/ 989389 h 1237129"/>
              <a:gd name="connsiteX3035" fmla="*/ 1062028 w 3751729"/>
              <a:gd name="connsiteY3035" fmla="*/ 999481 h 1237129"/>
              <a:gd name="connsiteX3036" fmla="*/ 1061290 w 3751729"/>
              <a:gd name="connsiteY3036" fmla="*/ 1005389 h 1237129"/>
              <a:gd name="connsiteX3037" fmla="*/ 1058089 w 3751729"/>
              <a:gd name="connsiteY3037" fmla="*/ 1008835 h 1237129"/>
              <a:gd name="connsiteX3038" fmla="*/ 1055627 w 3751729"/>
              <a:gd name="connsiteY3038" fmla="*/ 1013020 h 1237129"/>
              <a:gd name="connsiteX3039" fmla="*/ 1052427 w 3751729"/>
              <a:gd name="connsiteY3039" fmla="*/ 1015481 h 1237129"/>
              <a:gd name="connsiteX3040" fmla="*/ 1049966 w 3751729"/>
              <a:gd name="connsiteY3040" fmla="*/ 1020404 h 1237129"/>
              <a:gd name="connsiteX3041" fmla="*/ 1068182 w 3751729"/>
              <a:gd name="connsiteY3041" fmla="*/ 1020404 h 1237129"/>
              <a:gd name="connsiteX3042" fmla="*/ 1085412 w 3751729"/>
              <a:gd name="connsiteY3042" fmla="*/ 1026312 h 1237129"/>
              <a:gd name="connsiteX3043" fmla="*/ 1088612 w 3751729"/>
              <a:gd name="connsiteY3043" fmla="*/ 1036404 h 1237129"/>
              <a:gd name="connsiteX3044" fmla="*/ 1092798 w 3751729"/>
              <a:gd name="connsiteY3044" fmla="*/ 1034681 h 1237129"/>
              <a:gd name="connsiteX3045" fmla="*/ 1095258 w 3751729"/>
              <a:gd name="connsiteY3045" fmla="*/ 1032958 h 1237129"/>
              <a:gd name="connsiteX3046" fmla="*/ 1100181 w 3751729"/>
              <a:gd name="connsiteY3046" fmla="*/ 1034681 h 1237129"/>
              <a:gd name="connsiteX3047" fmla="*/ 1100919 w 3751729"/>
              <a:gd name="connsiteY3047" fmla="*/ 1034681 h 1237129"/>
              <a:gd name="connsiteX3048" fmla="*/ 1104120 w 3751729"/>
              <a:gd name="connsiteY3048" fmla="*/ 1036404 h 1237129"/>
              <a:gd name="connsiteX3049" fmla="*/ 1106582 w 3751729"/>
              <a:gd name="connsiteY3049" fmla="*/ 1038127 h 1237129"/>
              <a:gd name="connsiteX3050" fmla="*/ 1109782 w 3751729"/>
              <a:gd name="connsiteY3050" fmla="*/ 1038865 h 1237129"/>
              <a:gd name="connsiteX3051" fmla="*/ 1154335 w 3751729"/>
              <a:gd name="connsiteY3051" fmla="*/ 1042312 h 1237129"/>
              <a:gd name="connsiteX3052" fmla="*/ 1158519 w 3751729"/>
              <a:gd name="connsiteY3052" fmla="*/ 1046496 h 1237129"/>
              <a:gd name="connsiteX3053" fmla="*/ 1161719 w 3751729"/>
              <a:gd name="connsiteY3053" fmla="*/ 1054866 h 1237129"/>
              <a:gd name="connsiteX3054" fmla="*/ 1162457 w 3751729"/>
              <a:gd name="connsiteY3054" fmla="*/ 1062250 h 1237129"/>
              <a:gd name="connsiteX3055" fmla="*/ 1167381 w 3751729"/>
              <a:gd name="connsiteY3055" fmla="*/ 1068158 h 1237129"/>
              <a:gd name="connsiteX3056" fmla="*/ 1174027 w 3751729"/>
              <a:gd name="connsiteY3056" fmla="*/ 1069881 h 1237129"/>
              <a:gd name="connsiteX3057" fmla="*/ 1181411 w 3751729"/>
              <a:gd name="connsiteY3057" fmla="*/ 1069881 h 1237129"/>
              <a:gd name="connsiteX3058" fmla="*/ 1187072 w 3751729"/>
              <a:gd name="connsiteY3058" fmla="*/ 1068158 h 1237129"/>
              <a:gd name="connsiteX3059" fmla="*/ 1191257 w 3751729"/>
              <a:gd name="connsiteY3059" fmla="*/ 1074065 h 1237129"/>
              <a:gd name="connsiteX3060" fmla="*/ 1196181 w 3751729"/>
              <a:gd name="connsiteY3060" fmla="*/ 1078250 h 1237129"/>
              <a:gd name="connsiteX3061" fmla="*/ 1198642 w 3751729"/>
              <a:gd name="connsiteY3061" fmla="*/ 1083174 h 1237129"/>
              <a:gd name="connsiteX3062" fmla="*/ 1200612 w 3751729"/>
              <a:gd name="connsiteY3062" fmla="*/ 1088835 h 1237129"/>
              <a:gd name="connsiteX3063" fmla="*/ 1202334 w 3751729"/>
              <a:gd name="connsiteY3063" fmla="*/ 1095481 h 1237129"/>
              <a:gd name="connsiteX3064" fmla="*/ 1191503 w 3751729"/>
              <a:gd name="connsiteY3064" fmla="*/ 1108773 h 1237129"/>
              <a:gd name="connsiteX3065" fmla="*/ 1179934 w 3751729"/>
              <a:gd name="connsiteY3065" fmla="*/ 1124527 h 1237129"/>
              <a:gd name="connsiteX3066" fmla="*/ 1168366 w 3751729"/>
              <a:gd name="connsiteY3066" fmla="*/ 1142003 h 1237129"/>
              <a:gd name="connsiteX3067" fmla="*/ 1158519 w 3751729"/>
              <a:gd name="connsiteY3067" fmla="*/ 1159481 h 1237129"/>
              <a:gd name="connsiteX3068" fmla="*/ 1151874 w 3751729"/>
              <a:gd name="connsiteY3068" fmla="*/ 1172772 h 1237129"/>
              <a:gd name="connsiteX3069" fmla="*/ 1151874 w 3751729"/>
              <a:gd name="connsiteY3069" fmla="*/ 1181142 h 1237129"/>
              <a:gd name="connsiteX3070" fmla="*/ 1152611 w 3751729"/>
              <a:gd name="connsiteY3070" fmla="*/ 1192710 h 1237129"/>
              <a:gd name="connsiteX3071" fmla="*/ 1155811 w 3751729"/>
              <a:gd name="connsiteY3071" fmla="*/ 1206003 h 1237129"/>
              <a:gd name="connsiteX3072" fmla="*/ 1154089 w 3751729"/>
              <a:gd name="connsiteY3072" fmla="*/ 1217572 h 1237129"/>
              <a:gd name="connsiteX3073" fmla="*/ 1151627 w 3751729"/>
              <a:gd name="connsiteY3073" fmla="*/ 1224957 h 1237129"/>
              <a:gd name="connsiteX3074" fmla="*/ 1145965 w 3751729"/>
              <a:gd name="connsiteY3074" fmla="*/ 1236526 h 1237129"/>
              <a:gd name="connsiteX3075" fmla="*/ 1145610 w 3751729"/>
              <a:gd name="connsiteY3075" fmla="*/ 1237129 h 1237129"/>
              <a:gd name="connsiteX3076" fmla="*/ 795176 w 3751729"/>
              <a:gd name="connsiteY3076" fmla="*/ 1237129 h 1237129"/>
              <a:gd name="connsiteX3077" fmla="*/ 797415 w 3751729"/>
              <a:gd name="connsiteY3077" fmla="*/ 1220772 h 1237129"/>
              <a:gd name="connsiteX3078" fmla="*/ 768614 w 3751729"/>
              <a:gd name="connsiteY3078" fmla="*/ 1209941 h 1237129"/>
              <a:gd name="connsiteX3079" fmla="*/ 743752 w 3751729"/>
              <a:gd name="connsiteY3079" fmla="*/ 1193203 h 1237129"/>
              <a:gd name="connsiteX3080" fmla="*/ 723814 w 3751729"/>
              <a:gd name="connsiteY3080" fmla="*/ 1171542 h 1237129"/>
              <a:gd name="connsiteX3081" fmla="*/ 707322 w 3751729"/>
              <a:gd name="connsiteY3081" fmla="*/ 1148157 h 1237129"/>
              <a:gd name="connsiteX3082" fmla="*/ 701661 w 3751729"/>
              <a:gd name="connsiteY3082" fmla="*/ 1134865 h 1237129"/>
              <a:gd name="connsiteX3083" fmla="*/ 697476 w 3751729"/>
              <a:gd name="connsiteY3083" fmla="*/ 1122311 h 1237129"/>
              <a:gd name="connsiteX3084" fmla="*/ 693291 w 3751729"/>
              <a:gd name="connsiteY3084" fmla="*/ 1107296 h 1237129"/>
              <a:gd name="connsiteX3085" fmla="*/ 687630 w 3751729"/>
              <a:gd name="connsiteY3085" fmla="*/ 1095727 h 1237129"/>
              <a:gd name="connsiteX3086" fmla="*/ 678522 w 3751729"/>
              <a:gd name="connsiteY3086" fmla="*/ 1087357 h 1237129"/>
              <a:gd name="connsiteX3087" fmla="*/ 676061 w 3751729"/>
              <a:gd name="connsiteY3087" fmla="*/ 1083911 h 1237129"/>
              <a:gd name="connsiteX3088" fmla="*/ 671876 w 3751729"/>
              <a:gd name="connsiteY3088" fmla="*/ 1083911 h 1237129"/>
              <a:gd name="connsiteX3089" fmla="*/ 668677 w 3751729"/>
              <a:gd name="connsiteY3089" fmla="*/ 1083174 h 1237129"/>
              <a:gd name="connsiteX3090" fmla="*/ 666215 w 3751729"/>
              <a:gd name="connsiteY3090" fmla="*/ 1079727 h 1237129"/>
              <a:gd name="connsiteX3091" fmla="*/ 663014 w 3751729"/>
              <a:gd name="connsiteY3091" fmla="*/ 1077265 h 1237129"/>
              <a:gd name="connsiteX3092" fmla="*/ 666215 w 3751729"/>
              <a:gd name="connsiteY3092" fmla="*/ 1071358 h 1237129"/>
              <a:gd name="connsiteX3093" fmla="*/ 666215 w 3751729"/>
              <a:gd name="connsiteY3093" fmla="*/ 1066434 h 1237129"/>
              <a:gd name="connsiteX3094" fmla="*/ 666215 w 3751729"/>
              <a:gd name="connsiteY3094" fmla="*/ 1060527 h 1237129"/>
              <a:gd name="connsiteX3095" fmla="*/ 666215 w 3751729"/>
              <a:gd name="connsiteY3095" fmla="*/ 1054620 h 1237129"/>
              <a:gd name="connsiteX3096" fmla="*/ 673599 w 3751729"/>
              <a:gd name="connsiteY3096" fmla="*/ 1050435 h 1237129"/>
              <a:gd name="connsiteX3097" fmla="*/ 678522 w 3751729"/>
              <a:gd name="connsiteY3097" fmla="*/ 1046250 h 1237129"/>
              <a:gd name="connsiteX3098" fmla="*/ 685907 w 3751729"/>
              <a:gd name="connsiteY3098" fmla="*/ 1042065 h 1237129"/>
              <a:gd name="connsiteX3099" fmla="*/ 685907 w 3751729"/>
              <a:gd name="connsiteY3099" fmla="*/ 1038619 h 1237129"/>
              <a:gd name="connsiteX3100" fmla="*/ 678522 w 3751729"/>
              <a:gd name="connsiteY3100" fmla="*/ 1038619 h 1237129"/>
              <a:gd name="connsiteX3101" fmla="*/ 674337 w 3751729"/>
              <a:gd name="connsiteY3101" fmla="*/ 1037881 h 1237129"/>
              <a:gd name="connsiteX3102" fmla="*/ 670152 w 3751729"/>
              <a:gd name="connsiteY3102" fmla="*/ 1037881 h 1237129"/>
              <a:gd name="connsiteX3103" fmla="*/ 665969 w 3751729"/>
              <a:gd name="connsiteY3103" fmla="*/ 1036158 h 1237129"/>
              <a:gd name="connsiteX3104" fmla="*/ 671630 w 3751729"/>
              <a:gd name="connsiteY3104" fmla="*/ 1022866 h 1237129"/>
              <a:gd name="connsiteX3105" fmla="*/ 675815 w 3751729"/>
              <a:gd name="connsiteY3105" fmla="*/ 1009574 h 1237129"/>
              <a:gd name="connsiteX3106" fmla="*/ 681476 w 3751729"/>
              <a:gd name="connsiteY3106" fmla="*/ 997020 h 1237129"/>
              <a:gd name="connsiteX3107" fmla="*/ 691322 w 3751729"/>
              <a:gd name="connsiteY3107" fmla="*/ 986189 h 1237129"/>
              <a:gd name="connsiteX3108" fmla="*/ 702891 w 3751729"/>
              <a:gd name="connsiteY3108" fmla="*/ 976097 h 1237129"/>
              <a:gd name="connsiteX3109" fmla="*/ 712737 w 3751729"/>
              <a:gd name="connsiteY3109" fmla="*/ 964528 h 1237129"/>
              <a:gd name="connsiteX3110" fmla="*/ 711998 w 3751729"/>
              <a:gd name="connsiteY3110" fmla="*/ 956159 h 1237129"/>
              <a:gd name="connsiteX3111" fmla="*/ 711998 w 3751729"/>
              <a:gd name="connsiteY3111" fmla="*/ 944590 h 1237129"/>
              <a:gd name="connsiteX3112" fmla="*/ 710276 w 3751729"/>
              <a:gd name="connsiteY3112" fmla="*/ 933020 h 1237129"/>
              <a:gd name="connsiteX3113" fmla="*/ 706091 w 3751729"/>
              <a:gd name="connsiteY3113" fmla="*/ 925636 h 1237129"/>
              <a:gd name="connsiteX3114" fmla="*/ 700430 w 3751729"/>
              <a:gd name="connsiteY3114" fmla="*/ 917266 h 1237129"/>
              <a:gd name="connsiteX3115" fmla="*/ 694769 w 3751729"/>
              <a:gd name="connsiteY3115" fmla="*/ 908159 h 1237129"/>
              <a:gd name="connsiteX3116" fmla="*/ 689107 w 3751729"/>
              <a:gd name="connsiteY3116" fmla="*/ 908159 h 1237129"/>
              <a:gd name="connsiteX3117" fmla="*/ 687384 w 3751729"/>
              <a:gd name="connsiteY3117" fmla="*/ 909882 h 1237129"/>
              <a:gd name="connsiteX3118" fmla="*/ 685660 w 3751729"/>
              <a:gd name="connsiteY3118" fmla="*/ 911605 h 1237129"/>
              <a:gd name="connsiteX3119" fmla="*/ 683938 w 3751729"/>
              <a:gd name="connsiteY3119" fmla="*/ 912343 h 1237129"/>
              <a:gd name="connsiteX3120" fmla="*/ 681476 w 3751729"/>
              <a:gd name="connsiteY3120" fmla="*/ 914066 h 1237129"/>
              <a:gd name="connsiteX3121" fmla="*/ 683199 w 3751729"/>
              <a:gd name="connsiteY3121" fmla="*/ 917513 h 1237129"/>
              <a:gd name="connsiteX3122" fmla="*/ 683199 w 3751729"/>
              <a:gd name="connsiteY3122" fmla="*/ 919974 h 1237129"/>
              <a:gd name="connsiteX3123" fmla="*/ 683199 w 3751729"/>
              <a:gd name="connsiteY3123" fmla="*/ 921697 h 1237129"/>
              <a:gd name="connsiteX3124" fmla="*/ 681476 w 3751729"/>
              <a:gd name="connsiteY3124" fmla="*/ 924159 h 1237129"/>
              <a:gd name="connsiteX3125" fmla="*/ 679753 w 3751729"/>
              <a:gd name="connsiteY3125" fmla="*/ 924159 h 1237129"/>
              <a:gd name="connsiteX3126" fmla="*/ 678030 w 3751729"/>
              <a:gd name="connsiteY3126" fmla="*/ 925882 h 1237129"/>
              <a:gd name="connsiteX3127" fmla="*/ 677292 w 3751729"/>
              <a:gd name="connsiteY3127" fmla="*/ 925882 h 1237129"/>
              <a:gd name="connsiteX3128" fmla="*/ 675568 w 3751729"/>
              <a:gd name="connsiteY3128" fmla="*/ 925882 h 1237129"/>
              <a:gd name="connsiteX3129" fmla="*/ 673108 w 3751729"/>
              <a:gd name="connsiteY3129" fmla="*/ 927605 h 1237129"/>
              <a:gd name="connsiteX3130" fmla="*/ 665722 w 3751729"/>
              <a:gd name="connsiteY3130" fmla="*/ 921697 h 1237129"/>
              <a:gd name="connsiteX3131" fmla="*/ 652430 w 3751729"/>
              <a:gd name="connsiteY3131" fmla="*/ 914313 h 1237129"/>
              <a:gd name="connsiteX3132" fmla="*/ 639137 w 3751729"/>
              <a:gd name="connsiteY3132" fmla="*/ 906929 h 1237129"/>
              <a:gd name="connsiteX3133" fmla="*/ 626831 w 3751729"/>
              <a:gd name="connsiteY3133" fmla="*/ 901020 h 1237129"/>
              <a:gd name="connsiteX3134" fmla="*/ 617722 w 3751729"/>
              <a:gd name="connsiteY3134" fmla="*/ 898558 h 1237129"/>
              <a:gd name="connsiteX3135" fmla="*/ 610338 w 3751729"/>
              <a:gd name="connsiteY3135" fmla="*/ 881082 h 1237129"/>
              <a:gd name="connsiteX3136" fmla="*/ 603692 w 3751729"/>
              <a:gd name="connsiteY3136" fmla="*/ 870989 h 1237129"/>
              <a:gd name="connsiteX3137" fmla="*/ 596308 w 3751729"/>
              <a:gd name="connsiteY3137" fmla="*/ 863605 h 1237129"/>
              <a:gd name="connsiteX3138" fmla="*/ 588923 w 3751729"/>
              <a:gd name="connsiteY3138" fmla="*/ 861144 h 1237129"/>
              <a:gd name="connsiteX3139" fmla="*/ 577353 w 3751729"/>
              <a:gd name="connsiteY3139" fmla="*/ 857698 h 1237129"/>
              <a:gd name="connsiteX3140" fmla="*/ 565046 w 3751729"/>
              <a:gd name="connsiteY3140" fmla="*/ 853513 h 1237129"/>
              <a:gd name="connsiteX3141" fmla="*/ 548554 w 3751729"/>
              <a:gd name="connsiteY3141" fmla="*/ 847606 h 1237129"/>
              <a:gd name="connsiteX3142" fmla="*/ 538708 w 3751729"/>
              <a:gd name="connsiteY3142" fmla="*/ 840221 h 1237129"/>
              <a:gd name="connsiteX3143" fmla="*/ 530338 w 3751729"/>
              <a:gd name="connsiteY3143" fmla="*/ 832836 h 1237129"/>
              <a:gd name="connsiteX3144" fmla="*/ 517046 w 3751729"/>
              <a:gd name="connsiteY3144" fmla="*/ 826929 h 1237129"/>
              <a:gd name="connsiteX3145" fmla="*/ 508677 w 3751729"/>
              <a:gd name="connsiteY3145" fmla="*/ 826929 h 1237129"/>
              <a:gd name="connsiteX3146" fmla="*/ 503016 w 3751729"/>
              <a:gd name="connsiteY3146" fmla="*/ 830375 h 1237129"/>
              <a:gd name="connsiteX3147" fmla="*/ 498092 w 3751729"/>
              <a:gd name="connsiteY3147" fmla="*/ 832836 h 1237129"/>
              <a:gd name="connsiteX3148" fmla="*/ 492431 w 3751729"/>
              <a:gd name="connsiteY3148" fmla="*/ 836283 h 1237129"/>
              <a:gd name="connsiteX3149" fmla="*/ 485785 w 3751729"/>
              <a:gd name="connsiteY3149" fmla="*/ 834560 h 1237129"/>
              <a:gd name="connsiteX3150" fmla="*/ 482585 w 3751729"/>
              <a:gd name="connsiteY3150" fmla="*/ 832836 h 1237129"/>
              <a:gd name="connsiteX3151" fmla="*/ 480124 w 3751729"/>
              <a:gd name="connsiteY3151" fmla="*/ 830375 h 1237129"/>
              <a:gd name="connsiteX3152" fmla="*/ 476924 w 3751729"/>
              <a:gd name="connsiteY3152" fmla="*/ 826929 h 1237129"/>
              <a:gd name="connsiteX3153" fmla="*/ 472739 w 3751729"/>
              <a:gd name="connsiteY3153" fmla="*/ 822744 h 1237129"/>
              <a:gd name="connsiteX3154" fmla="*/ 469539 w 3751729"/>
              <a:gd name="connsiteY3154" fmla="*/ 820283 h 1237129"/>
              <a:gd name="connsiteX3155" fmla="*/ 467077 w 3751729"/>
              <a:gd name="connsiteY3155" fmla="*/ 818559 h 1237129"/>
              <a:gd name="connsiteX3156" fmla="*/ 448124 w 3751729"/>
              <a:gd name="connsiteY3156" fmla="*/ 815113 h 1237129"/>
              <a:gd name="connsiteX3157" fmla="*/ 445662 w 3751729"/>
              <a:gd name="connsiteY3157" fmla="*/ 812652 h 1237129"/>
              <a:gd name="connsiteX3158" fmla="*/ 442462 w 3751729"/>
              <a:gd name="connsiteY3158" fmla="*/ 810190 h 1237129"/>
              <a:gd name="connsiteX3159" fmla="*/ 440000 w 3751729"/>
              <a:gd name="connsiteY3159" fmla="*/ 806744 h 1237129"/>
              <a:gd name="connsiteX3160" fmla="*/ 436801 w 3751729"/>
              <a:gd name="connsiteY3160" fmla="*/ 804283 h 1237129"/>
              <a:gd name="connsiteX3161" fmla="*/ 436062 w 3751729"/>
              <a:gd name="connsiteY3161" fmla="*/ 802560 h 1237129"/>
              <a:gd name="connsiteX3162" fmla="*/ 419570 w 3751729"/>
              <a:gd name="connsiteY3162" fmla="*/ 805021 h 1237129"/>
              <a:gd name="connsiteX3163" fmla="*/ 417108 w 3751729"/>
              <a:gd name="connsiteY3163" fmla="*/ 804283 h 1237129"/>
              <a:gd name="connsiteX3164" fmla="*/ 412924 w 3751729"/>
              <a:gd name="connsiteY3164" fmla="*/ 798375 h 1237129"/>
              <a:gd name="connsiteX3165" fmla="*/ 405539 w 3751729"/>
              <a:gd name="connsiteY3165" fmla="*/ 792467 h 1237129"/>
              <a:gd name="connsiteX3166" fmla="*/ 399878 w 3751729"/>
              <a:gd name="connsiteY3166" fmla="*/ 785082 h 1237129"/>
              <a:gd name="connsiteX3167" fmla="*/ 394217 w 3751729"/>
              <a:gd name="connsiteY3167" fmla="*/ 779175 h 1237129"/>
              <a:gd name="connsiteX3168" fmla="*/ 391017 w 3751729"/>
              <a:gd name="connsiteY3168" fmla="*/ 775729 h 1237129"/>
              <a:gd name="connsiteX3169" fmla="*/ 396677 w 3751729"/>
              <a:gd name="connsiteY3169" fmla="*/ 757513 h 1237129"/>
              <a:gd name="connsiteX3170" fmla="*/ 380924 w 3751729"/>
              <a:gd name="connsiteY3170" fmla="*/ 740036 h 1237129"/>
              <a:gd name="connsiteX3171" fmla="*/ 366893 w 3751729"/>
              <a:gd name="connsiteY3171" fmla="*/ 720837 h 1237129"/>
              <a:gd name="connsiteX3172" fmla="*/ 352124 w 3751729"/>
              <a:gd name="connsiteY3172" fmla="*/ 700899 h 1237129"/>
              <a:gd name="connsiteX3173" fmla="*/ 338094 w 3751729"/>
              <a:gd name="connsiteY3173" fmla="*/ 679976 h 1237129"/>
              <a:gd name="connsiteX3174" fmla="*/ 334894 w 3751729"/>
              <a:gd name="connsiteY3174" fmla="*/ 678252 h 1237129"/>
              <a:gd name="connsiteX3175" fmla="*/ 330709 w 3751729"/>
              <a:gd name="connsiteY3175" fmla="*/ 677514 h 1237129"/>
              <a:gd name="connsiteX3176" fmla="*/ 328248 w 3751729"/>
              <a:gd name="connsiteY3176" fmla="*/ 677514 h 1237129"/>
              <a:gd name="connsiteX3177" fmla="*/ 323324 w 3751729"/>
              <a:gd name="connsiteY3177" fmla="*/ 675792 h 1237129"/>
              <a:gd name="connsiteX3178" fmla="*/ 322586 w 3751729"/>
              <a:gd name="connsiteY3178" fmla="*/ 674068 h 1237129"/>
              <a:gd name="connsiteX3179" fmla="*/ 316925 w 3751729"/>
              <a:gd name="connsiteY3179" fmla="*/ 666683 h 1237129"/>
              <a:gd name="connsiteX3180" fmla="*/ 313725 w 3751729"/>
              <a:gd name="connsiteY3180" fmla="*/ 658315 h 1237129"/>
              <a:gd name="connsiteX3181" fmla="*/ 311262 w 3751729"/>
              <a:gd name="connsiteY3181" fmla="*/ 649945 h 1237129"/>
              <a:gd name="connsiteX3182" fmla="*/ 306339 w 3751729"/>
              <a:gd name="connsiteY3182" fmla="*/ 640837 h 1237129"/>
              <a:gd name="connsiteX3183" fmla="*/ 299694 w 3751729"/>
              <a:gd name="connsiteY3183" fmla="*/ 636653 h 1237129"/>
              <a:gd name="connsiteX3184" fmla="*/ 296493 w 3751729"/>
              <a:gd name="connsiteY3184" fmla="*/ 633207 h 1237129"/>
              <a:gd name="connsiteX3185" fmla="*/ 294032 w 3751729"/>
              <a:gd name="connsiteY3185" fmla="*/ 630746 h 1237129"/>
              <a:gd name="connsiteX3186" fmla="*/ 290832 w 3751729"/>
              <a:gd name="connsiteY3186" fmla="*/ 629022 h 1237129"/>
              <a:gd name="connsiteX3187" fmla="*/ 290832 w 3751729"/>
              <a:gd name="connsiteY3187" fmla="*/ 644777 h 1237129"/>
              <a:gd name="connsiteX3188" fmla="*/ 295017 w 3751729"/>
              <a:gd name="connsiteY3188" fmla="*/ 650683 h 1237129"/>
              <a:gd name="connsiteX3189" fmla="*/ 304124 w 3751729"/>
              <a:gd name="connsiteY3189" fmla="*/ 660776 h 1237129"/>
              <a:gd name="connsiteX3190" fmla="*/ 312494 w 3751729"/>
              <a:gd name="connsiteY3190" fmla="*/ 672346 h 1237129"/>
              <a:gd name="connsiteX3191" fmla="*/ 323324 w 3751729"/>
              <a:gd name="connsiteY3191" fmla="*/ 687360 h 1237129"/>
              <a:gd name="connsiteX3192" fmla="*/ 331693 w 3751729"/>
              <a:gd name="connsiteY3192" fmla="*/ 701637 h 1237129"/>
              <a:gd name="connsiteX3193" fmla="*/ 340801 w 3751729"/>
              <a:gd name="connsiteY3193" fmla="*/ 716653 h 1237129"/>
              <a:gd name="connsiteX3194" fmla="*/ 347447 w 3751729"/>
              <a:gd name="connsiteY3194" fmla="*/ 729945 h 1237129"/>
              <a:gd name="connsiteX3195" fmla="*/ 350647 w 3751729"/>
              <a:gd name="connsiteY3195" fmla="*/ 738314 h 1237129"/>
              <a:gd name="connsiteX3196" fmla="*/ 350647 w 3751729"/>
              <a:gd name="connsiteY3196" fmla="*/ 744222 h 1237129"/>
              <a:gd name="connsiteX3197" fmla="*/ 348925 w 3751729"/>
              <a:gd name="connsiteY3197" fmla="*/ 746683 h 1237129"/>
              <a:gd name="connsiteX3198" fmla="*/ 347200 w 3751729"/>
              <a:gd name="connsiteY3198" fmla="*/ 748406 h 1237129"/>
              <a:gd name="connsiteX3199" fmla="*/ 347200 w 3751729"/>
              <a:gd name="connsiteY3199" fmla="*/ 750129 h 1237129"/>
              <a:gd name="connsiteX3200" fmla="*/ 344740 w 3751729"/>
              <a:gd name="connsiteY3200" fmla="*/ 751853 h 1237129"/>
              <a:gd name="connsiteX3201" fmla="*/ 344740 w 3751729"/>
              <a:gd name="connsiteY3201" fmla="*/ 745945 h 1237129"/>
              <a:gd name="connsiteX3202" fmla="*/ 343017 w 3751729"/>
              <a:gd name="connsiteY3202" fmla="*/ 741021 h 1237129"/>
              <a:gd name="connsiteX3203" fmla="*/ 343017 w 3751729"/>
              <a:gd name="connsiteY3203" fmla="*/ 738561 h 1237129"/>
              <a:gd name="connsiteX3204" fmla="*/ 341294 w 3751729"/>
              <a:gd name="connsiteY3204" fmla="*/ 735114 h 1237129"/>
              <a:gd name="connsiteX3205" fmla="*/ 338832 w 3751729"/>
              <a:gd name="connsiteY3205" fmla="*/ 735114 h 1237129"/>
              <a:gd name="connsiteX3206" fmla="*/ 337109 w 3751729"/>
              <a:gd name="connsiteY3206" fmla="*/ 735114 h 1237129"/>
              <a:gd name="connsiteX3207" fmla="*/ 335386 w 3751729"/>
              <a:gd name="connsiteY3207" fmla="*/ 735114 h 1237129"/>
              <a:gd name="connsiteX3208" fmla="*/ 334648 w 3751729"/>
              <a:gd name="connsiteY3208" fmla="*/ 735114 h 1237129"/>
              <a:gd name="connsiteX3209" fmla="*/ 332924 w 3751729"/>
              <a:gd name="connsiteY3209" fmla="*/ 735114 h 1237129"/>
              <a:gd name="connsiteX3210" fmla="*/ 328740 w 3751729"/>
              <a:gd name="connsiteY3210" fmla="*/ 735114 h 1237129"/>
              <a:gd name="connsiteX3211" fmla="*/ 325540 w 3751729"/>
              <a:gd name="connsiteY3211" fmla="*/ 725022 h 1237129"/>
              <a:gd name="connsiteX3212" fmla="*/ 323078 w 3751729"/>
              <a:gd name="connsiteY3212" fmla="*/ 714929 h 1237129"/>
              <a:gd name="connsiteX3213" fmla="*/ 318156 w 3751729"/>
              <a:gd name="connsiteY3213" fmla="*/ 706561 h 1237129"/>
              <a:gd name="connsiteX3214" fmla="*/ 311509 w 3751729"/>
              <a:gd name="connsiteY3214" fmla="*/ 699175 h 1237129"/>
              <a:gd name="connsiteX3215" fmla="*/ 302401 w 3751729"/>
              <a:gd name="connsiteY3215" fmla="*/ 693269 h 1237129"/>
              <a:gd name="connsiteX3216" fmla="*/ 294032 w 3751729"/>
              <a:gd name="connsiteY3216" fmla="*/ 687360 h 1237129"/>
              <a:gd name="connsiteX3217" fmla="*/ 286647 w 3751729"/>
              <a:gd name="connsiteY3217" fmla="*/ 677268 h 1237129"/>
              <a:gd name="connsiteX3218" fmla="*/ 289109 w 3751729"/>
              <a:gd name="connsiteY3218" fmla="*/ 675545 h 1237129"/>
              <a:gd name="connsiteX3219" fmla="*/ 290832 w 3751729"/>
              <a:gd name="connsiteY3219" fmla="*/ 675545 h 1237129"/>
              <a:gd name="connsiteX3220" fmla="*/ 292555 w 3751729"/>
              <a:gd name="connsiteY3220" fmla="*/ 675545 h 1237129"/>
              <a:gd name="connsiteX3221" fmla="*/ 292555 w 3751729"/>
              <a:gd name="connsiteY3221" fmla="*/ 673821 h 1237129"/>
              <a:gd name="connsiteX3222" fmla="*/ 292555 w 3751729"/>
              <a:gd name="connsiteY3222" fmla="*/ 672099 h 1237129"/>
              <a:gd name="connsiteX3223" fmla="*/ 294278 w 3751729"/>
              <a:gd name="connsiteY3223" fmla="*/ 671361 h 1237129"/>
              <a:gd name="connsiteX3224" fmla="*/ 283447 w 3751729"/>
              <a:gd name="connsiteY3224" fmla="*/ 663976 h 1237129"/>
              <a:gd name="connsiteX3225" fmla="*/ 278524 w 3751729"/>
              <a:gd name="connsiteY3225" fmla="*/ 654869 h 1237129"/>
              <a:gd name="connsiteX3226" fmla="*/ 273601 w 3751729"/>
              <a:gd name="connsiteY3226" fmla="*/ 644777 h 1237129"/>
              <a:gd name="connsiteX3227" fmla="*/ 271140 w 3751729"/>
              <a:gd name="connsiteY3227" fmla="*/ 633207 h 1237129"/>
              <a:gd name="connsiteX3228" fmla="*/ 265478 w 3751729"/>
              <a:gd name="connsiteY3228" fmla="*/ 623115 h 1237129"/>
              <a:gd name="connsiteX3229" fmla="*/ 258093 w 3751729"/>
              <a:gd name="connsiteY3229" fmla="*/ 614745 h 1237129"/>
              <a:gd name="connsiteX3230" fmla="*/ 249725 w 3751729"/>
              <a:gd name="connsiteY3230" fmla="*/ 609823 h 1237129"/>
              <a:gd name="connsiteX3231" fmla="*/ 238894 w 3751729"/>
              <a:gd name="connsiteY3231" fmla="*/ 605638 h 1237129"/>
              <a:gd name="connsiteX3232" fmla="*/ 230524 w 3751729"/>
              <a:gd name="connsiteY3232" fmla="*/ 599730 h 1237129"/>
              <a:gd name="connsiteX3233" fmla="*/ 224863 w 3751729"/>
              <a:gd name="connsiteY3233" fmla="*/ 592346 h 1237129"/>
              <a:gd name="connsiteX3234" fmla="*/ 221663 w 3751729"/>
              <a:gd name="connsiteY3234" fmla="*/ 583977 h 1237129"/>
              <a:gd name="connsiteX3235" fmla="*/ 217478 w 3751729"/>
              <a:gd name="connsiteY3235" fmla="*/ 574871 h 1237129"/>
              <a:gd name="connsiteX3236" fmla="*/ 207633 w 3751729"/>
              <a:gd name="connsiteY3236" fmla="*/ 560594 h 1237129"/>
              <a:gd name="connsiteX3237" fmla="*/ 199264 w 3751729"/>
              <a:gd name="connsiteY3237" fmla="*/ 550502 h 1237129"/>
              <a:gd name="connsiteX3238" fmla="*/ 190156 w 3751729"/>
              <a:gd name="connsiteY3238" fmla="*/ 541394 h 1237129"/>
              <a:gd name="connsiteX3239" fmla="*/ 184494 w 3751729"/>
              <a:gd name="connsiteY3239" fmla="*/ 531303 h 1237129"/>
              <a:gd name="connsiteX3240" fmla="*/ 180309 w 3751729"/>
              <a:gd name="connsiteY3240" fmla="*/ 518010 h 1237129"/>
              <a:gd name="connsiteX3241" fmla="*/ 177109 w 3751729"/>
              <a:gd name="connsiteY3241" fmla="*/ 500533 h 1237129"/>
              <a:gd name="connsiteX3242" fmla="*/ 176371 w 3751729"/>
              <a:gd name="connsiteY3242" fmla="*/ 476410 h 1237129"/>
              <a:gd name="connsiteX3243" fmla="*/ 176371 w 3751729"/>
              <a:gd name="connsiteY3243" fmla="*/ 470503 h 1237129"/>
              <a:gd name="connsiteX3244" fmla="*/ 177109 w 3751729"/>
              <a:gd name="connsiteY3244" fmla="*/ 458933 h 1237129"/>
              <a:gd name="connsiteX3245" fmla="*/ 177109 w 3751729"/>
              <a:gd name="connsiteY3245" fmla="*/ 443180 h 1237129"/>
              <a:gd name="connsiteX3246" fmla="*/ 177109 w 3751729"/>
              <a:gd name="connsiteY3246" fmla="*/ 423980 h 1237129"/>
              <a:gd name="connsiteX3247" fmla="*/ 177109 w 3751729"/>
              <a:gd name="connsiteY3247" fmla="*/ 406503 h 1237129"/>
              <a:gd name="connsiteX3248" fmla="*/ 178833 w 3751729"/>
              <a:gd name="connsiteY3248" fmla="*/ 392226 h 1237129"/>
              <a:gd name="connsiteX3249" fmla="*/ 180556 w 3751729"/>
              <a:gd name="connsiteY3249" fmla="*/ 383118 h 1237129"/>
              <a:gd name="connsiteX3250" fmla="*/ 184740 w 3751729"/>
              <a:gd name="connsiteY3250" fmla="*/ 381396 h 1237129"/>
              <a:gd name="connsiteX3251" fmla="*/ 187940 w 3751729"/>
              <a:gd name="connsiteY3251" fmla="*/ 381396 h 1237129"/>
              <a:gd name="connsiteX3252" fmla="*/ 190402 w 3751729"/>
              <a:gd name="connsiteY3252" fmla="*/ 381396 h 1237129"/>
              <a:gd name="connsiteX3253" fmla="*/ 193602 w 3751729"/>
              <a:gd name="connsiteY3253" fmla="*/ 381396 h 1237129"/>
              <a:gd name="connsiteX3254" fmla="*/ 196064 w 3751729"/>
              <a:gd name="connsiteY3254" fmla="*/ 383118 h 1237129"/>
              <a:gd name="connsiteX3255" fmla="*/ 197787 w 3751729"/>
              <a:gd name="connsiteY3255" fmla="*/ 386564 h 1237129"/>
              <a:gd name="connsiteX3256" fmla="*/ 200248 w 3751729"/>
              <a:gd name="connsiteY3256" fmla="*/ 389026 h 1237129"/>
              <a:gd name="connsiteX3257" fmla="*/ 201970 w 3751729"/>
              <a:gd name="connsiteY3257" fmla="*/ 392473 h 1237129"/>
              <a:gd name="connsiteX3258" fmla="*/ 201970 w 3751729"/>
              <a:gd name="connsiteY3258" fmla="*/ 375733 h 1237129"/>
              <a:gd name="connsiteX3259" fmla="*/ 192125 w 3751729"/>
              <a:gd name="connsiteY3259" fmla="*/ 364165 h 1237129"/>
              <a:gd name="connsiteX3260" fmla="*/ 180556 w 3751729"/>
              <a:gd name="connsiteY3260" fmla="*/ 352596 h 1237129"/>
              <a:gd name="connsiteX3261" fmla="*/ 167264 w 3751729"/>
              <a:gd name="connsiteY3261" fmla="*/ 344226 h 1237129"/>
              <a:gd name="connsiteX3262" fmla="*/ 167264 w 3751729"/>
              <a:gd name="connsiteY3262" fmla="*/ 351611 h 1237129"/>
              <a:gd name="connsiteX3263" fmla="*/ 172926 w 3751729"/>
              <a:gd name="connsiteY3263" fmla="*/ 355795 h 1237129"/>
              <a:gd name="connsiteX3264" fmla="*/ 178586 w 3751729"/>
              <a:gd name="connsiteY3264" fmla="*/ 359980 h 1237129"/>
              <a:gd name="connsiteX3265" fmla="*/ 184247 w 3751729"/>
              <a:gd name="connsiteY3265" fmla="*/ 364165 h 1237129"/>
              <a:gd name="connsiteX3266" fmla="*/ 188433 w 3751729"/>
              <a:gd name="connsiteY3266" fmla="*/ 370072 h 1237129"/>
              <a:gd name="connsiteX3267" fmla="*/ 188433 w 3751729"/>
              <a:gd name="connsiteY3267" fmla="*/ 373518 h 1237129"/>
              <a:gd name="connsiteX3268" fmla="*/ 187694 w 3751729"/>
              <a:gd name="connsiteY3268" fmla="*/ 373518 h 1237129"/>
              <a:gd name="connsiteX3269" fmla="*/ 187694 w 3751729"/>
              <a:gd name="connsiteY3269" fmla="*/ 375241 h 1237129"/>
              <a:gd name="connsiteX3270" fmla="*/ 185971 w 3751729"/>
              <a:gd name="connsiteY3270" fmla="*/ 375980 h 1237129"/>
              <a:gd name="connsiteX3271" fmla="*/ 182772 w 3751729"/>
              <a:gd name="connsiteY3271" fmla="*/ 377703 h 1237129"/>
              <a:gd name="connsiteX3272" fmla="*/ 182032 w 3751729"/>
              <a:gd name="connsiteY3272" fmla="*/ 379426 h 1237129"/>
              <a:gd name="connsiteX3273" fmla="*/ 177109 w 3751729"/>
              <a:gd name="connsiteY3273" fmla="*/ 379426 h 1237129"/>
              <a:gd name="connsiteX3274" fmla="*/ 172926 w 3751729"/>
              <a:gd name="connsiteY3274" fmla="*/ 379426 h 1237129"/>
              <a:gd name="connsiteX3275" fmla="*/ 171202 w 3751729"/>
              <a:gd name="connsiteY3275" fmla="*/ 379426 h 1237129"/>
              <a:gd name="connsiteX3276" fmla="*/ 171202 w 3751729"/>
              <a:gd name="connsiteY3276" fmla="*/ 377703 h 1237129"/>
              <a:gd name="connsiteX3277" fmla="*/ 170463 w 3751729"/>
              <a:gd name="connsiteY3277" fmla="*/ 377703 h 1237129"/>
              <a:gd name="connsiteX3278" fmla="*/ 167264 w 3751729"/>
              <a:gd name="connsiteY3278" fmla="*/ 375980 h 1237129"/>
              <a:gd name="connsiteX3279" fmla="*/ 157418 w 3751729"/>
              <a:gd name="connsiteY3279" fmla="*/ 363426 h 1237129"/>
              <a:gd name="connsiteX3280" fmla="*/ 148310 w 3751729"/>
              <a:gd name="connsiteY3280" fmla="*/ 350134 h 1237129"/>
              <a:gd name="connsiteX3281" fmla="*/ 141664 w 3751729"/>
              <a:gd name="connsiteY3281" fmla="*/ 335119 h 1237129"/>
              <a:gd name="connsiteX3282" fmla="*/ 148310 w 3751729"/>
              <a:gd name="connsiteY3282" fmla="*/ 335119 h 1237129"/>
              <a:gd name="connsiteX3283" fmla="*/ 151510 w 3751729"/>
              <a:gd name="connsiteY3283" fmla="*/ 336841 h 1237129"/>
              <a:gd name="connsiteX3284" fmla="*/ 153972 w 3751729"/>
              <a:gd name="connsiteY3284" fmla="*/ 336841 h 1237129"/>
              <a:gd name="connsiteX3285" fmla="*/ 157171 w 3751729"/>
              <a:gd name="connsiteY3285" fmla="*/ 336841 h 1237129"/>
              <a:gd name="connsiteX3286" fmla="*/ 159633 w 3751729"/>
              <a:gd name="connsiteY3286" fmla="*/ 335119 h 1237129"/>
              <a:gd name="connsiteX3287" fmla="*/ 148064 w 3751729"/>
              <a:gd name="connsiteY3287" fmla="*/ 330934 h 1237129"/>
              <a:gd name="connsiteX3288" fmla="*/ 141418 w 3751729"/>
              <a:gd name="connsiteY3288" fmla="*/ 324288 h 1237129"/>
              <a:gd name="connsiteX3289" fmla="*/ 135756 w 3751729"/>
              <a:gd name="connsiteY3289" fmla="*/ 315180 h 1237129"/>
              <a:gd name="connsiteX3290" fmla="*/ 130834 w 3751729"/>
              <a:gd name="connsiteY3290" fmla="*/ 305088 h 1237129"/>
              <a:gd name="connsiteX3291" fmla="*/ 128371 w 3751729"/>
              <a:gd name="connsiteY3291" fmla="*/ 294995 h 1237129"/>
              <a:gd name="connsiteX3292" fmla="*/ 124187 w 3751729"/>
              <a:gd name="connsiteY3292" fmla="*/ 285888 h 1237129"/>
              <a:gd name="connsiteX3293" fmla="*/ 118525 w 3751729"/>
              <a:gd name="connsiteY3293" fmla="*/ 278503 h 1237129"/>
              <a:gd name="connsiteX3294" fmla="*/ 109418 w 3751729"/>
              <a:gd name="connsiteY3294" fmla="*/ 274319 h 1237129"/>
              <a:gd name="connsiteX3295" fmla="*/ 112618 w 3751729"/>
              <a:gd name="connsiteY3295" fmla="*/ 255118 h 1237129"/>
              <a:gd name="connsiteX3296" fmla="*/ 102772 w 3751729"/>
              <a:gd name="connsiteY3296" fmla="*/ 244287 h 1237129"/>
              <a:gd name="connsiteX3297" fmla="*/ 93664 w 3751729"/>
              <a:gd name="connsiteY3297" fmla="*/ 230995 h 1237129"/>
              <a:gd name="connsiteX3298" fmla="*/ 86279 w 3751729"/>
              <a:gd name="connsiteY3298" fmla="*/ 217703 h 1237129"/>
              <a:gd name="connsiteX3299" fmla="*/ 76433 w 3751729"/>
              <a:gd name="connsiteY3299" fmla="*/ 204411 h 1237129"/>
              <a:gd name="connsiteX3300" fmla="*/ 64865 w 3751729"/>
              <a:gd name="connsiteY3300" fmla="*/ 194320 h 1237129"/>
              <a:gd name="connsiteX3301" fmla="*/ 49111 w 3751729"/>
              <a:gd name="connsiteY3301" fmla="*/ 186935 h 1237129"/>
              <a:gd name="connsiteX3302" fmla="*/ 30156 w 3751729"/>
              <a:gd name="connsiteY3302" fmla="*/ 182750 h 1237129"/>
              <a:gd name="connsiteX3303" fmla="*/ 14403 w 3751729"/>
              <a:gd name="connsiteY3303" fmla="*/ 175366 h 1237129"/>
              <a:gd name="connsiteX3304" fmla="*/ 2834 w 3751729"/>
              <a:gd name="connsiteY3304" fmla="*/ 165273 h 1237129"/>
              <a:gd name="connsiteX3305" fmla="*/ 0 w 3751729"/>
              <a:gd name="connsiteY3305" fmla="*/ 162806 h 123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</a:cxnLst>
            <a:rect l="l" t="t" r="r" b="b"/>
            <a:pathLst>
              <a:path w="3751729" h="1237129">
                <a:moveTo>
                  <a:pt x="2921457" y="929082"/>
                </a:moveTo>
                <a:lnTo>
                  <a:pt x="2929580" y="931543"/>
                </a:lnTo>
                <a:lnTo>
                  <a:pt x="2939672" y="937451"/>
                </a:lnTo>
                <a:lnTo>
                  <a:pt x="2948781" y="946559"/>
                </a:lnTo>
                <a:lnTo>
                  <a:pt x="2952719" y="954190"/>
                </a:lnTo>
                <a:lnTo>
                  <a:pt x="2948781" y="956651"/>
                </a:lnTo>
                <a:lnTo>
                  <a:pt x="2944596" y="960835"/>
                </a:lnTo>
                <a:lnTo>
                  <a:pt x="2939672" y="964282"/>
                </a:lnTo>
                <a:lnTo>
                  <a:pt x="2933765" y="966743"/>
                </a:lnTo>
                <a:lnTo>
                  <a:pt x="2938688" y="980035"/>
                </a:lnTo>
                <a:lnTo>
                  <a:pt x="2944596" y="990128"/>
                </a:lnTo>
                <a:lnTo>
                  <a:pt x="2950257" y="1001944"/>
                </a:lnTo>
                <a:lnTo>
                  <a:pt x="2945334" y="1003666"/>
                </a:lnTo>
                <a:lnTo>
                  <a:pt x="2942872" y="1003666"/>
                </a:lnTo>
                <a:lnTo>
                  <a:pt x="2941150" y="1003666"/>
                </a:lnTo>
                <a:lnTo>
                  <a:pt x="2939672" y="1005389"/>
                </a:lnTo>
                <a:lnTo>
                  <a:pt x="2938688" y="1006128"/>
                </a:lnTo>
                <a:lnTo>
                  <a:pt x="2937212" y="1009574"/>
                </a:lnTo>
                <a:lnTo>
                  <a:pt x="2929580" y="1022867"/>
                </a:lnTo>
                <a:lnTo>
                  <a:pt x="2925642" y="1038866"/>
                </a:lnTo>
                <a:lnTo>
                  <a:pt x="2918011" y="1053143"/>
                </a:lnTo>
                <a:lnTo>
                  <a:pt x="2914073" y="1056589"/>
                </a:lnTo>
                <a:lnTo>
                  <a:pt x="2909888" y="1056589"/>
                </a:lnTo>
                <a:lnTo>
                  <a:pt x="2904965" y="1057327"/>
                </a:lnTo>
                <a:lnTo>
                  <a:pt x="2900041" y="1057327"/>
                </a:lnTo>
                <a:lnTo>
                  <a:pt x="2890935" y="1052404"/>
                </a:lnTo>
                <a:lnTo>
                  <a:pt x="2882565" y="1050681"/>
                </a:lnTo>
                <a:lnTo>
                  <a:pt x="2871981" y="1050681"/>
                </a:lnTo>
                <a:lnTo>
                  <a:pt x="2861888" y="1048958"/>
                </a:lnTo>
                <a:lnTo>
                  <a:pt x="2852042" y="1044774"/>
                </a:lnTo>
                <a:lnTo>
                  <a:pt x="2842196" y="1031235"/>
                </a:lnTo>
                <a:lnTo>
                  <a:pt x="2834812" y="1013758"/>
                </a:lnTo>
                <a:lnTo>
                  <a:pt x="2833088" y="993574"/>
                </a:lnTo>
                <a:lnTo>
                  <a:pt x="2840472" y="990128"/>
                </a:lnTo>
                <a:lnTo>
                  <a:pt x="2846380" y="990128"/>
                </a:lnTo>
                <a:lnTo>
                  <a:pt x="2852042" y="991851"/>
                </a:lnTo>
                <a:lnTo>
                  <a:pt x="2857950" y="988651"/>
                </a:lnTo>
                <a:lnTo>
                  <a:pt x="2865334" y="976835"/>
                </a:lnTo>
                <a:lnTo>
                  <a:pt x="2883549" y="974374"/>
                </a:lnTo>
                <a:lnTo>
                  <a:pt x="2886749" y="971666"/>
                </a:lnTo>
                <a:lnTo>
                  <a:pt x="2889211" y="968466"/>
                </a:lnTo>
                <a:lnTo>
                  <a:pt x="2889211" y="966743"/>
                </a:lnTo>
                <a:lnTo>
                  <a:pt x="2890935" y="965758"/>
                </a:lnTo>
                <a:lnTo>
                  <a:pt x="2890935" y="964282"/>
                </a:lnTo>
                <a:lnTo>
                  <a:pt x="2890935" y="962559"/>
                </a:lnTo>
                <a:lnTo>
                  <a:pt x="2892411" y="960835"/>
                </a:lnTo>
                <a:lnTo>
                  <a:pt x="2895119" y="960835"/>
                </a:lnTo>
                <a:lnTo>
                  <a:pt x="2900041" y="960835"/>
                </a:lnTo>
                <a:lnTo>
                  <a:pt x="2904965" y="960835"/>
                </a:lnTo>
                <a:lnTo>
                  <a:pt x="2908165" y="950743"/>
                </a:lnTo>
                <a:lnTo>
                  <a:pt x="2912349" y="943112"/>
                </a:lnTo>
                <a:lnTo>
                  <a:pt x="2916534" y="936466"/>
                </a:lnTo>
                <a:close/>
                <a:moveTo>
                  <a:pt x="2505952" y="909636"/>
                </a:moveTo>
                <a:lnTo>
                  <a:pt x="2514321" y="915544"/>
                </a:lnTo>
                <a:lnTo>
                  <a:pt x="2519244" y="925636"/>
                </a:lnTo>
                <a:lnTo>
                  <a:pt x="2519244" y="940651"/>
                </a:lnTo>
                <a:lnTo>
                  <a:pt x="2519244" y="942374"/>
                </a:lnTo>
                <a:lnTo>
                  <a:pt x="2519983" y="942374"/>
                </a:lnTo>
                <a:lnTo>
                  <a:pt x="2521707" y="943113"/>
                </a:lnTo>
                <a:lnTo>
                  <a:pt x="2521707" y="944836"/>
                </a:lnTo>
                <a:lnTo>
                  <a:pt x="2521707" y="948282"/>
                </a:lnTo>
                <a:lnTo>
                  <a:pt x="2519244" y="948282"/>
                </a:lnTo>
                <a:lnTo>
                  <a:pt x="2515798" y="949021"/>
                </a:lnTo>
                <a:lnTo>
                  <a:pt x="2514321" y="952466"/>
                </a:lnTo>
                <a:lnTo>
                  <a:pt x="2511860" y="954190"/>
                </a:lnTo>
                <a:lnTo>
                  <a:pt x="2510137" y="954190"/>
                </a:lnTo>
                <a:lnTo>
                  <a:pt x="2508413" y="952466"/>
                </a:lnTo>
                <a:lnTo>
                  <a:pt x="2507675" y="952466"/>
                </a:lnTo>
                <a:lnTo>
                  <a:pt x="2505952" y="950743"/>
                </a:lnTo>
                <a:lnTo>
                  <a:pt x="2500290" y="938928"/>
                </a:lnTo>
                <a:lnTo>
                  <a:pt x="2500290" y="921452"/>
                </a:lnTo>
                <a:lnTo>
                  <a:pt x="2501768" y="918990"/>
                </a:lnTo>
                <a:lnTo>
                  <a:pt x="2503490" y="917267"/>
                </a:lnTo>
                <a:lnTo>
                  <a:pt x="2504229" y="913821"/>
                </a:lnTo>
                <a:close/>
                <a:moveTo>
                  <a:pt x="3023856" y="892159"/>
                </a:moveTo>
                <a:lnTo>
                  <a:pt x="3030503" y="899544"/>
                </a:lnTo>
                <a:lnTo>
                  <a:pt x="3035425" y="907913"/>
                </a:lnTo>
                <a:lnTo>
                  <a:pt x="3035425" y="921452"/>
                </a:lnTo>
                <a:lnTo>
                  <a:pt x="3036164" y="924652"/>
                </a:lnTo>
                <a:lnTo>
                  <a:pt x="3037887" y="924652"/>
                </a:lnTo>
                <a:lnTo>
                  <a:pt x="3037887" y="925637"/>
                </a:lnTo>
                <a:lnTo>
                  <a:pt x="3036164" y="925637"/>
                </a:lnTo>
                <a:lnTo>
                  <a:pt x="3035425" y="929083"/>
                </a:lnTo>
                <a:lnTo>
                  <a:pt x="3035425" y="931543"/>
                </a:lnTo>
                <a:lnTo>
                  <a:pt x="3033703" y="931543"/>
                </a:lnTo>
                <a:lnTo>
                  <a:pt x="3033703" y="933267"/>
                </a:lnTo>
                <a:lnTo>
                  <a:pt x="3032225" y="933267"/>
                </a:lnTo>
                <a:lnTo>
                  <a:pt x="3029519" y="934744"/>
                </a:lnTo>
                <a:lnTo>
                  <a:pt x="3028041" y="931543"/>
                </a:lnTo>
                <a:lnTo>
                  <a:pt x="3028041" y="930559"/>
                </a:lnTo>
                <a:lnTo>
                  <a:pt x="3026319" y="930559"/>
                </a:lnTo>
                <a:lnTo>
                  <a:pt x="3024595" y="930559"/>
                </a:lnTo>
                <a:lnTo>
                  <a:pt x="3023856" y="929083"/>
                </a:lnTo>
                <a:lnTo>
                  <a:pt x="3023856" y="931543"/>
                </a:lnTo>
                <a:lnTo>
                  <a:pt x="3024595" y="933267"/>
                </a:lnTo>
                <a:lnTo>
                  <a:pt x="3026319" y="934744"/>
                </a:lnTo>
                <a:lnTo>
                  <a:pt x="3028041" y="936467"/>
                </a:lnTo>
                <a:lnTo>
                  <a:pt x="3026319" y="937452"/>
                </a:lnTo>
                <a:lnTo>
                  <a:pt x="3026319" y="938929"/>
                </a:lnTo>
                <a:lnTo>
                  <a:pt x="3026319" y="940652"/>
                </a:lnTo>
                <a:lnTo>
                  <a:pt x="3026319" y="944836"/>
                </a:lnTo>
                <a:lnTo>
                  <a:pt x="3018933" y="944836"/>
                </a:lnTo>
                <a:lnTo>
                  <a:pt x="3018933" y="940652"/>
                </a:lnTo>
                <a:lnTo>
                  <a:pt x="3014749" y="938929"/>
                </a:lnTo>
                <a:lnTo>
                  <a:pt x="3010564" y="936467"/>
                </a:lnTo>
                <a:lnTo>
                  <a:pt x="3009087" y="933267"/>
                </a:lnTo>
                <a:lnTo>
                  <a:pt x="3007364" y="929083"/>
                </a:lnTo>
                <a:lnTo>
                  <a:pt x="3006626" y="924652"/>
                </a:lnTo>
                <a:lnTo>
                  <a:pt x="3003180" y="918990"/>
                </a:lnTo>
                <a:lnTo>
                  <a:pt x="2998995" y="921452"/>
                </a:lnTo>
                <a:lnTo>
                  <a:pt x="2993334" y="924652"/>
                </a:lnTo>
                <a:lnTo>
                  <a:pt x="2987426" y="925637"/>
                </a:lnTo>
                <a:lnTo>
                  <a:pt x="2981764" y="929083"/>
                </a:lnTo>
                <a:lnTo>
                  <a:pt x="2981764" y="921452"/>
                </a:lnTo>
                <a:lnTo>
                  <a:pt x="2983488" y="919729"/>
                </a:lnTo>
                <a:lnTo>
                  <a:pt x="2983488" y="918990"/>
                </a:lnTo>
                <a:lnTo>
                  <a:pt x="2984226" y="918990"/>
                </a:lnTo>
                <a:lnTo>
                  <a:pt x="2984226" y="915544"/>
                </a:lnTo>
                <a:lnTo>
                  <a:pt x="2995794" y="911360"/>
                </a:lnTo>
                <a:lnTo>
                  <a:pt x="3006626" y="907913"/>
                </a:lnTo>
                <a:lnTo>
                  <a:pt x="3016472" y="902005"/>
                </a:lnTo>
                <a:close/>
                <a:moveTo>
                  <a:pt x="2952719" y="876159"/>
                </a:moveTo>
                <a:lnTo>
                  <a:pt x="2956165" y="879359"/>
                </a:lnTo>
                <a:lnTo>
                  <a:pt x="2956904" y="879359"/>
                </a:lnTo>
                <a:lnTo>
                  <a:pt x="2958626" y="879359"/>
                </a:lnTo>
                <a:lnTo>
                  <a:pt x="2958626" y="880344"/>
                </a:lnTo>
                <a:lnTo>
                  <a:pt x="2958626" y="883543"/>
                </a:lnTo>
                <a:lnTo>
                  <a:pt x="2960350" y="886251"/>
                </a:lnTo>
                <a:lnTo>
                  <a:pt x="2951242" y="893636"/>
                </a:lnTo>
                <a:lnTo>
                  <a:pt x="2945334" y="901267"/>
                </a:lnTo>
                <a:lnTo>
                  <a:pt x="2938687" y="907175"/>
                </a:lnTo>
                <a:lnTo>
                  <a:pt x="2928103" y="913082"/>
                </a:lnTo>
                <a:lnTo>
                  <a:pt x="2928103" y="909636"/>
                </a:lnTo>
                <a:lnTo>
                  <a:pt x="2937212" y="899544"/>
                </a:lnTo>
                <a:lnTo>
                  <a:pt x="2947058" y="889451"/>
                </a:lnTo>
                <a:close/>
                <a:moveTo>
                  <a:pt x="882825" y="798867"/>
                </a:moveTo>
                <a:lnTo>
                  <a:pt x="888734" y="798867"/>
                </a:lnTo>
                <a:lnTo>
                  <a:pt x="894395" y="799852"/>
                </a:lnTo>
                <a:lnTo>
                  <a:pt x="901041" y="803052"/>
                </a:lnTo>
                <a:lnTo>
                  <a:pt x="898579" y="804776"/>
                </a:lnTo>
                <a:lnTo>
                  <a:pt x="896857" y="807236"/>
                </a:lnTo>
                <a:lnTo>
                  <a:pt x="894395" y="808960"/>
                </a:lnTo>
                <a:lnTo>
                  <a:pt x="889472" y="808960"/>
                </a:lnTo>
                <a:lnTo>
                  <a:pt x="885288" y="807236"/>
                </a:lnTo>
                <a:lnTo>
                  <a:pt x="881350" y="807236"/>
                </a:lnTo>
                <a:lnTo>
                  <a:pt x="877164" y="807236"/>
                </a:lnTo>
                <a:lnTo>
                  <a:pt x="872241" y="808960"/>
                </a:lnTo>
                <a:lnTo>
                  <a:pt x="872241" y="799852"/>
                </a:lnTo>
                <a:close/>
                <a:moveTo>
                  <a:pt x="2977580" y="789759"/>
                </a:moveTo>
                <a:lnTo>
                  <a:pt x="2981764" y="789759"/>
                </a:lnTo>
                <a:lnTo>
                  <a:pt x="2987426" y="789759"/>
                </a:lnTo>
                <a:lnTo>
                  <a:pt x="2987426" y="804775"/>
                </a:lnTo>
                <a:lnTo>
                  <a:pt x="2985948" y="814867"/>
                </a:lnTo>
                <a:lnTo>
                  <a:pt x="2983488" y="823237"/>
                </a:lnTo>
                <a:lnTo>
                  <a:pt x="2981764" y="838251"/>
                </a:lnTo>
                <a:lnTo>
                  <a:pt x="2984226" y="838251"/>
                </a:lnTo>
                <a:lnTo>
                  <a:pt x="2984226" y="840960"/>
                </a:lnTo>
                <a:lnTo>
                  <a:pt x="2989888" y="840960"/>
                </a:lnTo>
                <a:lnTo>
                  <a:pt x="2993334" y="840960"/>
                </a:lnTo>
                <a:lnTo>
                  <a:pt x="2995794" y="840960"/>
                </a:lnTo>
                <a:lnTo>
                  <a:pt x="2998995" y="842435"/>
                </a:lnTo>
                <a:lnTo>
                  <a:pt x="3001457" y="844160"/>
                </a:lnTo>
                <a:lnTo>
                  <a:pt x="3007364" y="845144"/>
                </a:lnTo>
                <a:lnTo>
                  <a:pt x="3010564" y="855974"/>
                </a:lnTo>
                <a:lnTo>
                  <a:pt x="3016472" y="862621"/>
                </a:lnTo>
                <a:lnTo>
                  <a:pt x="3023856" y="870251"/>
                </a:lnTo>
                <a:lnTo>
                  <a:pt x="3029519" y="880344"/>
                </a:lnTo>
                <a:lnTo>
                  <a:pt x="3024595" y="882066"/>
                </a:lnTo>
                <a:lnTo>
                  <a:pt x="3022133" y="883544"/>
                </a:lnTo>
                <a:lnTo>
                  <a:pt x="3020656" y="883544"/>
                </a:lnTo>
                <a:lnTo>
                  <a:pt x="3020656" y="885267"/>
                </a:lnTo>
                <a:lnTo>
                  <a:pt x="3020656" y="886252"/>
                </a:lnTo>
                <a:lnTo>
                  <a:pt x="3020656" y="887728"/>
                </a:lnTo>
                <a:lnTo>
                  <a:pt x="3017948" y="887728"/>
                </a:lnTo>
                <a:lnTo>
                  <a:pt x="3013026" y="889452"/>
                </a:lnTo>
                <a:lnTo>
                  <a:pt x="3012287" y="886252"/>
                </a:lnTo>
                <a:lnTo>
                  <a:pt x="3012287" y="885267"/>
                </a:lnTo>
                <a:lnTo>
                  <a:pt x="3010564" y="885267"/>
                </a:lnTo>
                <a:lnTo>
                  <a:pt x="3009087" y="885267"/>
                </a:lnTo>
                <a:lnTo>
                  <a:pt x="3007364" y="883544"/>
                </a:lnTo>
                <a:lnTo>
                  <a:pt x="3004903" y="889452"/>
                </a:lnTo>
                <a:lnTo>
                  <a:pt x="3003180" y="893636"/>
                </a:lnTo>
                <a:lnTo>
                  <a:pt x="3000718" y="897821"/>
                </a:lnTo>
                <a:lnTo>
                  <a:pt x="2995794" y="899544"/>
                </a:lnTo>
                <a:lnTo>
                  <a:pt x="2991611" y="902005"/>
                </a:lnTo>
                <a:lnTo>
                  <a:pt x="2991611" y="899544"/>
                </a:lnTo>
                <a:lnTo>
                  <a:pt x="2989148" y="896343"/>
                </a:lnTo>
                <a:lnTo>
                  <a:pt x="2989148" y="893636"/>
                </a:lnTo>
                <a:lnTo>
                  <a:pt x="2989148" y="892159"/>
                </a:lnTo>
                <a:lnTo>
                  <a:pt x="2989148" y="891175"/>
                </a:lnTo>
                <a:lnTo>
                  <a:pt x="2989148" y="889452"/>
                </a:lnTo>
                <a:lnTo>
                  <a:pt x="2987426" y="887728"/>
                </a:lnTo>
                <a:lnTo>
                  <a:pt x="2985948" y="887728"/>
                </a:lnTo>
                <a:lnTo>
                  <a:pt x="2981764" y="886252"/>
                </a:lnTo>
                <a:lnTo>
                  <a:pt x="2981764" y="882066"/>
                </a:lnTo>
                <a:lnTo>
                  <a:pt x="2981764" y="877882"/>
                </a:lnTo>
                <a:lnTo>
                  <a:pt x="2983488" y="874435"/>
                </a:lnTo>
                <a:lnTo>
                  <a:pt x="2983488" y="873698"/>
                </a:lnTo>
                <a:lnTo>
                  <a:pt x="2984226" y="871975"/>
                </a:lnTo>
                <a:lnTo>
                  <a:pt x="2987426" y="871975"/>
                </a:lnTo>
                <a:lnTo>
                  <a:pt x="2991611" y="870251"/>
                </a:lnTo>
                <a:lnTo>
                  <a:pt x="2997519" y="870251"/>
                </a:lnTo>
                <a:lnTo>
                  <a:pt x="2997519" y="880344"/>
                </a:lnTo>
                <a:lnTo>
                  <a:pt x="3007364" y="880344"/>
                </a:lnTo>
                <a:lnTo>
                  <a:pt x="3007364" y="877882"/>
                </a:lnTo>
                <a:lnTo>
                  <a:pt x="3009087" y="874435"/>
                </a:lnTo>
                <a:lnTo>
                  <a:pt x="3010564" y="873698"/>
                </a:lnTo>
                <a:lnTo>
                  <a:pt x="3010564" y="871975"/>
                </a:lnTo>
                <a:lnTo>
                  <a:pt x="3012287" y="870251"/>
                </a:lnTo>
                <a:lnTo>
                  <a:pt x="3013026" y="867789"/>
                </a:lnTo>
                <a:lnTo>
                  <a:pt x="3010564" y="867789"/>
                </a:lnTo>
                <a:lnTo>
                  <a:pt x="2995794" y="855974"/>
                </a:lnTo>
                <a:lnTo>
                  <a:pt x="2979303" y="848344"/>
                </a:lnTo>
                <a:lnTo>
                  <a:pt x="2979303" y="854252"/>
                </a:lnTo>
                <a:lnTo>
                  <a:pt x="2977580" y="858436"/>
                </a:lnTo>
                <a:lnTo>
                  <a:pt x="2975857" y="862621"/>
                </a:lnTo>
                <a:lnTo>
                  <a:pt x="2975857" y="867789"/>
                </a:lnTo>
                <a:lnTo>
                  <a:pt x="2974380" y="866067"/>
                </a:lnTo>
                <a:lnTo>
                  <a:pt x="2973396" y="864344"/>
                </a:lnTo>
                <a:lnTo>
                  <a:pt x="2973396" y="862621"/>
                </a:lnTo>
                <a:lnTo>
                  <a:pt x="2971918" y="861883"/>
                </a:lnTo>
                <a:lnTo>
                  <a:pt x="2967734" y="850806"/>
                </a:lnTo>
                <a:lnTo>
                  <a:pt x="2962810" y="838251"/>
                </a:lnTo>
                <a:lnTo>
                  <a:pt x="2961826" y="821513"/>
                </a:lnTo>
                <a:lnTo>
                  <a:pt x="2962810" y="807236"/>
                </a:lnTo>
                <a:lnTo>
                  <a:pt x="2968472" y="792959"/>
                </a:lnTo>
                <a:lnTo>
                  <a:pt x="2973396" y="791237"/>
                </a:lnTo>
                <a:close/>
                <a:moveTo>
                  <a:pt x="835074" y="789759"/>
                </a:moveTo>
                <a:lnTo>
                  <a:pt x="840735" y="789759"/>
                </a:lnTo>
                <a:lnTo>
                  <a:pt x="846643" y="791237"/>
                </a:lnTo>
                <a:lnTo>
                  <a:pt x="852305" y="791237"/>
                </a:lnTo>
                <a:lnTo>
                  <a:pt x="856490" y="792959"/>
                </a:lnTo>
                <a:lnTo>
                  <a:pt x="856490" y="799852"/>
                </a:lnTo>
                <a:lnTo>
                  <a:pt x="835074" y="799852"/>
                </a:lnTo>
                <a:close/>
                <a:moveTo>
                  <a:pt x="713473" y="789759"/>
                </a:moveTo>
                <a:lnTo>
                  <a:pt x="721104" y="791237"/>
                </a:lnTo>
                <a:lnTo>
                  <a:pt x="725043" y="793944"/>
                </a:lnTo>
                <a:lnTo>
                  <a:pt x="730950" y="797144"/>
                </a:lnTo>
                <a:lnTo>
                  <a:pt x="735873" y="799852"/>
                </a:lnTo>
                <a:lnTo>
                  <a:pt x="735873" y="803052"/>
                </a:lnTo>
                <a:lnTo>
                  <a:pt x="730212" y="803052"/>
                </a:lnTo>
                <a:lnTo>
                  <a:pt x="725043" y="804776"/>
                </a:lnTo>
                <a:lnTo>
                  <a:pt x="721104" y="805515"/>
                </a:lnTo>
                <a:lnTo>
                  <a:pt x="718642" y="804776"/>
                </a:lnTo>
                <a:lnTo>
                  <a:pt x="712735" y="804776"/>
                </a:lnTo>
                <a:lnTo>
                  <a:pt x="707812" y="803052"/>
                </a:lnTo>
                <a:lnTo>
                  <a:pt x="707812" y="792959"/>
                </a:lnTo>
                <a:lnTo>
                  <a:pt x="709535" y="792959"/>
                </a:lnTo>
                <a:lnTo>
                  <a:pt x="711012" y="791237"/>
                </a:lnTo>
                <a:lnTo>
                  <a:pt x="712735" y="791237"/>
                </a:lnTo>
                <a:close/>
                <a:moveTo>
                  <a:pt x="763934" y="776221"/>
                </a:moveTo>
                <a:lnTo>
                  <a:pt x="781411" y="777945"/>
                </a:lnTo>
                <a:lnTo>
                  <a:pt x="796181" y="781391"/>
                </a:lnTo>
                <a:lnTo>
                  <a:pt x="807751" y="785575"/>
                </a:lnTo>
                <a:lnTo>
                  <a:pt x="821781" y="789760"/>
                </a:lnTo>
                <a:lnTo>
                  <a:pt x="821781" y="797144"/>
                </a:lnTo>
                <a:lnTo>
                  <a:pt x="816120" y="797144"/>
                </a:lnTo>
                <a:lnTo>
                  <a:pt x="813412" y="798867"/>
                </a:lnTo>
                <a:lnTo>
                  <a:pt x="809474" y="799852"/>
                </a:lnTo>
                <a:lnTo>
                  <a:pt x="806028" y="801330"/>
                </a:lnTo>
                <a:lnTo>
                  <a:pt x="803565" y="803052"/>
                </a:lnTo>
                <a:lnTo>
                  <a:pt x="798643" y="803052"/>
                </a:lnTo>
                <a:lnTo>
                  <a:pt x="798643" y="801330"/>
                </a:lnTo>
                <a:lnTo>
                  <a:pt x="798643" y="799852"/>
                </a:lnTo>
                <a:lnTo>
                  <a:pt x="797904" y="798867"/>
                </a:lnTo>
                <a:lnTo>
                  <a:pt x="796181" y="797144"/>
                </a:lnTo>
                <a:lnTo>
                  <a:pt x="794458" y="795667"/>
                </a:lnTo>
                <a:lnTo>
                  <a:pt x="792981" y="797144"/>
                </a:lnTo>
                <a:lnTo>
                  <a:pt x="790519" y="805513"/>
                </a:lnTo>
                <a:lnTo>
                  <a:pt x="786335" y="805513"/>
                </a:lnTo>
                <a:lnTo>
                  <a:pt x="775504" y="804776"/>
                </a:lnTo>
                <a:lnTo>
                  <a:pt x="763934" y="803052"/>
                </a:lnTo>
                <a:lnTo>
                  <a:pt x="755812" y="803052"/>
                </a:lnTo>
                <a:lnTo>
                  <a:pt x="751627" y="792959"/>
                </a:lnTo>
                <a:lnTo>
                  <a:pt x="759011" y="792959"/>
                </a:lnTo>
                <a:lnTo>
                  <a:pt x="763934" y="792959"/>
                </a:lnTo>
                <a:lnTo>
                  <a:pt x="769842" y="791237"/>
                </a:lnTo>
                <a:lnTo>
                  <a:pt x="774765" y="789760"/>
                </a:lnTo>
                <a:lnTo>
                  <a:pt x="771319" y="788037"/>
                </a:lnTo>
                <a:lnTo>
                  <a:pt x="768858" y="785575"/>
                </a:lnTo>
                <a:lnTo>
                  <a:pt x="767381" y="783853"/>
                </a:lnTo>
                <a:lnTo>
                  <a:pt x="765658" y="781391"/>
                </a:lnTo>
                <a:close/>
                <a:moveTo>
                  <a:pt x="663259" y="735114"/>
                </a:moveTo>
                <a:lnTo>
                  <a:pt x="686398" y="740283"/>
                </a:lnTo>
                <a:lnTo>
                  <a:pt x="707074" y="746929"/>
                </a:lnTo>
                <a:lnTo>
                  <a:pt x="722582" y="754314"/>
                </a:lnTo>
                <a:lnTo>
                  <a:pt x="738335" y="761944"/>
                </a:lnTo>
                <a:lnTo>
                  <a:pt x="755813" y="770315"/>
                </a:lnTo>
                <a:lnTo>
                  <a:pt x="755813" y="776221"/>
                </a:lnTo>
                <a:lnTo>
                  <a:pt x="748182" y="776221"/>
                </a:lnTo>
                <a:lnTo>
                  <a:pt x="740059" y="779668"/>
                </a:lnTo>
                <a:lnTo>
                  <a:pt x="730212" y="782130"/>
                </a:lnTo>
                <a:lnTo>
                  <a:pt x="719382" y="783853"/>
                </a:lnTo>
                <a:lnTo>
                  <a:pt x="721105" y="781392"/>
                </a:lnTo>
                <a:lnTo>
                  <a:pt x="721105" y="777945"/>
                </a:lnTo>
                <a:lnTo>
                  <a:pt x="721105" y="776221"/>
                </a:lnTo>
                <a:lnTo>
                  <a:pt x="721105" y="775484"/>
                </a:lnTo>
                <a:lnTo>
                  <a:pt x="721105" y="773761"/>
                </a:lnTo>
                <a:lnTo>
                  <a:pt x="719382" y="770315"/>
                </a:lnTo>
                <a:lnTo>
                  <a:pt x="697966" y="764406"/>
                </a:lnTo>
                <a:lnTo>
                  <a:pt x="678028" y="754314"/>
                </a:lnTo>
                <a:lnTo>
                  <a:pt x="656613" y="744468"/>
                </a:lnTo>
                <a:lnTo>
                  <a:pt x="651689" y="748653"/>
                </a:lnTo>
                <a:lnTo>
                  <a:pt x="649228" y="752837"/>
                </a:lnTo>
                <a:lnTo>
                  <a:pt x="645043" y="757760"/>
                </a:lnTo>
                <a:lnTo>
                  <a:pt x="640120" y="756038"/>
                </a:lnTo>
                <a:lnTo>
                  <a:pt x="634212" y="752837"/>
                </a:lnTo>
                <a:lnTo>
                  <a:pt x="631751" y="751853"/>
                </a:lnTo>
                <a:lnTo>
                  <a:pt x="637659" y="751853"/>
                </a:lnTo>
                <a:lnTo>
                  <a:pt x="641597" y="745945"/>
                </a:lnTo>
                <a:lnTo>
                  <a:pt x="645781" y="742745"/>
                </a:lnTo>
                <a:lnTo>
                  <a:pt x="650704" y="738560"/>
                </a:lnTo>
                <a:lnTo>
                  <a:pt x="654889" y="738560"/>
                </a:lnTo>
                <a:lnTo>
                  <a:pt x="657351" y="736837"/>
                </a:lnTo>
                <a:lnTo>
                  <a:pt x="660797" y="736837"/>
                </a:lnTo>
                <a:close/>
                <a:moveTo>
                  <a:pt x="707812" y="712468"/>
                </a:moveTo>
                <a:lnTo>
                  <a:pt x="712736" y="714929"/>
                </a:lnTo>
                <a:lnTo>
                  <a:pt x="715197" y="718376"/>
                </a:lnTo>
                <a:lnTo>
                  <a:pt x="718643" y="720838"/>
                </a:lnTo>
                <a:lnTo>
                  <a:pt x="719382" y="725023"/>
                </a:lnTo>
                <a:lnTo>
                  <a:pt x="719382" y="732654"/>
                </a:lnTo>
                <a:lnTo>
                  <a:pt x="713473" y="732654"/>
                </a:lnTo>
                <a:lnTo>
                  <a:pt x="712736" y="728469"/>
                </a:lnTo>
                <a:lnTo>
                  <a:pt x="711012" y="726745"/>
                </a:lnTo>
                <a:lnTo>
                  <a:pt x="709535" y="724284"/>
                </a:lnTo>
                <a:lnTo>
                  <a:pt x="707812" y="720838"/>
                </a:lnTo>
                <a:lnTo>
                  <a:pt x="707812" y="718376"/>
                </a:lnTo>
                <a:close/>
                <a:moveTo>
                  <a:pt x="2981766" y="706561"/>
                </a:moveTo>
                <a:lnTo>
                  <a:pt x="2984227" y="709022"/>
                </a:lnTo>
                <a:lnTo>
                  <a:pt x="2985950" y="712468"/>
                </a:lnTo>
                <a:lnTo>
                  <a:pt x="2987428" y="714930"/>
                </a:lnTo>
                <a:lnTo>
                  <a:pt x="2987428" y="719115"/>
                </a:lnTo>
                <a:lnTo>
                  <a:pt x="2987428" y="725022"/>
                </a:lnTo>
                <a:lnTo>
                  <a:pt x="2975858" y="754316"/>
                </a:lnTo>
                <a:lnTo>
                  <a:pt x="2970196" y="746931"/>
                </a:lnTo>
                <a:lnTo>
                  <a:pt x="2967735" y="740284"/>
                </a:lnTo>
                <a:lnTo>
                  <a:pt x="2966011" y="728469"/>
                </a:lnTo>
                <a:close/>
                <a:moveTo>
                  <a:pt x="701166" y="693268"/>
                </a:moveTo>
                <a:lnTo>
                  <a:pt x="719382" y="693268"/>
                </a:lnTo>
                <a:lnTo>
                  <a:pt x="721104" y="695729"/>
                </a:lnTo>
                <a:lnTo>
                  <a:pt x="724304" y="697452"/>
                </a:lnTo>
                <a:lnTo>
                  <a:pt x="724304" y="699176"/>
                </a:lnTo>
                <a:lnTo>
                  <a:pt x="725043" y="700652"/>
                </a:lnTo>
                <a:lnTo>
                  <a:pt x="725043" y="701637"/>
                </a:lnTo>
                <a:lnTo>
                  <a:pt x="724304" y="703361"/>
                </a:lnTo>
                <a:lnTo>
                  <a:pt x="724304" y="706561"/>
                </a:lnTo>
                <a:lnTo>
                  <a:pt x="719382" y="703361"/>
                </a:lnTo>
                <a:lnTo>
                  <a:pt x="715197" y="701637"/>
                </a:lnTo>
                <a:lnTo>
                  <a:pt x="711012" y="701637"/>
                </a:lnTo>
                <a:lnTo>
                  <a:pt x="707812" y="700652"/>
                </a:lnTo>
                <a:lnTo>
                  <a:pt x="705350" y="700652"/>
                </a:lnTo>
                <a:lnTo>
                  <a:pt x="701904" y="699176"/>
                </a:lnTo>
                <a:lnTo>
                  <a:pt x="701166" y="695729"/>
                </a:lnTo>
                <a:close/>
                <a:moveTo>
                  <a:pt x="3074318" y="638622"/>
                </a:moveTo>
                <a:lnTo>
                  <a:pt x="3076780" y="640346"/>
                </a:lnTo>
                <a:lnTo>
                  <a:pt x="3078256" y="640346"/>
                </a:lnTo>
                <a:lnTo>
                  <a:pt x="3078256" y="642068"/>
                </a:lnTo>
                <a:lnTo>
                  <a:pt x="3079980" y="644530"/>
                </a:lnTo>
                <a:lnTo>
                  <a:pt x="3079980" y="647977"/>
                </a:lnTo>
                <a:lnTo>
                  <a:pt x="3078256" y="652161"/>
                </a:lnTo>
                <a:lnTo>
                  <a:pt x="3075056" y="656345"/>
                </a:lnTo>
                <a:lnTo>
                  <a:pt x="3074318" y="660530"/>
                </a:lnTo>
                <a:lnTo>
                  <a:pt x="3066687" y="660530"/>
                </a:lnTo>
                <a:lnTo>
                  <a:pt x="3066687" y="650438"/>
                </a:lnTo>
                <a:lnTo>
                  <a:pt x="3069395" y="649454"/>
                </a:lnTo>
                <a:lnTo>
                  <a:pt x="3070871" y="646253"/>
                </a:lnTo>
                <a:lnTo>
                  <a:pt x="3072596" y="643792"/>
                </a:lnTo>
                <a:close/>
                <a:moveTo>
                  <a:pt x="3035426" y="599238"/>
                </a:moveTo>
                <a:lnTo>
                  <a:pt x="3045272" y="599238"/>
                </a:lnTo>
                <a:lnTo>
                  <a:pt x="3045272" y="609331"/>
                </a:lnTo>
                <a:lnTo>
                  <a:pt x="3032226" y="609331"/>
                </a:lnTo>
                <a:lnTo>
                  <a:pt x="3032226" y="602684"/>
                </a:lnTo>
                <a:lnTo>
                  <a:pt x="3035426" y="602684"/>
                </a:lnTo>
                <a:close/>
                <a:moveTo>
                  <a:pt x="1985586" y="571424"/>
                </a:moveTo>
                <a:lnTo>
                  <a:pt x="1992971" y="571424"/>
                </a:lnTo>
                <a:lnTo>
                  <a:pt x="1989771" y="575609"/>
                </a:lnTo>
                <a:lnTo>
                  <a:pt x="1987309" y="579053"/>
                </a:lnTo>
                <a:lnTo>
                  <a:pt x="1983863" y="581514"/>
                </a:lnTo>
                <a:lnTo>
                  <a:pt x="1981401" y="584961"/>
                </a:lnTo>
                <a:lnTo>
                  <a:pt x="1976479" y="587422"/>
                </a:lnTo>
                <a:lnTo>
                  <a:pt x="1974017" y="587422"/>
                </a:lnTo>
                <a:lnTo>
                  <a:pt x="1974017" y="589145"/>
                </a:lnTo>
                <a:lnTo>
                  <a:pt x="1972294" y="589145"/>
                </a:lnTo>
                <a:lnTo>
                  <a:pt x="1969832" y="589145"/>
                </a:lnTo>
                <a:lnTo>
                  <a:pt x="1966632" y="590868"/>
                </a:lnTo>
                <a:lnTo>
                  <a:pt x="1964171" y="579792"/>
                </a:lnTo>
                <a:lnTo>
                  <a:pt x="1969832" y="579053"/>
                </a:lnTo>
                <a:lnTo>
                  <a:pt x="1975740" y="575609"/>
                </a:lnTo>
                <a:lnTo>
                  <a:pt x="1981401" y="574133"/>
                </a:lnTo>
                <a:close/>
                <a:moveTo>
                  <a:pt x="1865710" y="567240"/>
                </a:moveTo>
                <a:lnTo>
                  <a:pt x="1873341" y="569949"/>
                </a:lnTo>
                <a:lnTo>
                  <a:pt x="1881464" y="573149"/>
                </a:lnTo>
                <a:lnTo>
                  <a:pt x="1891310" y="575609"/>
                </a:lnTo>
                <a:lnTo>
                  <a:pt x="1897218" y="579793"/>
                </a:lnTo>
                <a:lnTo>
                  <a:pt x="1874080" y="579793"/>
                </a:lnTo>
                <a:lnTo>
                  <a:pt x="1871618" y="579053"/>
                </a:lnTo>
                <a:lnTo>
                  <a:pt x="1869895" y="579053"/>
                </a:lnTo>
                <a:lnTo>
                  <a:pt x="1867434" y="577331"/>
                </a:lnTo>
                <a:lnTo>
                  <a:pt x="1861772" y="577331"/>
                </a:lnTo>
                <a:lnTo>
                  <a:pt x="1861772" y="574133"/>
                </a:lnTo>
                <a:lnTo>
                  <a:pt x="1863249" y="573149"/>
                </a:lnTo>
                <a:lnTo>
                  <a:pt x="1864233" y="571425"/>
                </a:lnTo>
                <a:lnTo>
                  <a:pt x="1864233" y="569949"/>
                </a:lnTo>
                <a:close/>
                <a:moveTo>
                  <a:pt x="1608239" y="510379"/>
                </a:moveTo>
                <a:lnTo>
                  <a:pt x="1627932" y="510379"/>
                </a:lnTo>
                <a:lnTo>
                  <a:pt x="1627932" y="512840"/>
                </a:lnTo>
                <a:lnTo>
                  <a:pt x="1623747" y="514564"/>
                </a:lnTo>
                <a:lnTo>
                  <a:pt x="1622269" y="516041"/>
                </a:lnTo>
                <a:lnTo>
                  <a:pt x="1619561" y="517025"/>
                </a:lnTo>
                <a:lnTo>
                  <a:pt x="1616362" y="518748"/>
                </a:lnTo>
                <a:lnTo>
                  <a:pt x="1612177" y="518748"/>
                </a:lnTo>
                <a:close/>
                <a:moveTo>
                  <a:pt x="1913957" y="493394"/>
                </a:moveTo>
                <a:lnTo>
                  <a:pt x="1912234" y="495118"/>
                </a:lnTo>
                <a:lnTo>
                  <a:pt x="1910511" y="496840"/>
                </a:lnTo>
                <a:lnTo>
                  <a:pt x="1908787" y="496840"/>
                </a:lnTo>
                <a:lnTo>
                  <a:pt x="1908787" y="498563"/>
                </a:lnTo>
                <a:lnTo>
                  <a:pt x="1908049" y="499302"/>
                </a:lnTo>
                <a:lnTo>
                  <a:pt x="1906819" y="502749"/>
                </a:lnTo>
                <a:lnTo>
                  <a:pt x="1909280" y="502749"/>
                </a:lnTo>
                <a:lnTo>
                  <a:pt x="1914203" y="501025"/>
                </a:lnTo>
                <a:lnTo>
                  <a:pt x="1916665" y="499302"/>
                </a:lnTo>
                <a:lnTo>
                  <a:pt x="1919864" y="498563"/>
                </a:lnTo>
                <a:lnTo>
                  <a:pt x="1922326" y="496840"/>
                </a:lnTo>
                <a:lnTo>
                  <a:pt x="1925526" y="493394"/>
                </a:lnTo>
                <a:close/>
                <a:moveTo>
                  <a:pt x="1697345" y="493394"/>
                </a:moveTo>
                <a:lnTo>
                  <a:pt x="1701530" y="493394"/>
                </a:lnTo>
                <a:lnTo>
                  <a:pt x="1707192" y="493394"/>
                </a:lnTo>
                <a:lnTo>
                  <a:pt x="1708914" y="506934"/>
                </a:lnTo>
                <a:lnTo>
                  <a:pt x="1710639" y="522933"/>
                </a:lnTo>
                <a:lnTo>
                  <a:pt x="1703008" y="522933"/>
                </a:lnTo>
                <a:lnTo>
                  <a:pt x="1701530" y="524410"/>
                </a:lnTo>
                <a:lnTo>
                  <a:pt x="1699068" y="524410"/>
                </a:lnTo>
                <a:lnTo>
                  <a:pt x="1695621" y="524410"/>
                </a:lnTo>
                <a:lnTo>
                  <a:pt x="1691438" y="526133"/>
                </a:lnTo>
                <a:lnTo>
                  <a:pt x="1689960" y="514564"/>
                </a:lnTo>
                <a:lnTo>
                  <a:pt x="1689960" y="502749"/>
                </a:lnTo>
                <a:lnTo>
                  <a:pt x="1691438" y="496840"/>
                </a:lnTo>
                <a:lnTo>
                  <a:pt x="1693899" y="495118"/>
                </a:lnTo>
                <a:close/>
                <a:moveTo>
                  <a:pt x="1699807" y="464841"/>
                </a:moveTo>
                <a:lnTo>
                  <a:pt x="1707192" y="464841"/>
                </a:lnTo>
                <a:lnTo>
                  <a:pt x="1705468" y="470750"/>
                </a:lnTo>
                <a:lnTo>
                  <a:pt x="1705468" y="474934"/>
                </a:lnTo>
                <a:lnTo>
                  <a:pt x="1705468" y="479119"/>
                </a:lnTo>
                <a:lnTo>
                  <a:pt x="1704729" y="482565"/>
                </a:lnTo>
                <a:lnTo>
                  <a:pt x="1703007" y="486750"/>
                </a:lnTo>
                <a:lnTo>
                  <a:pt x="1697345" y="486750"/>
                </a:lnTo>
                <a:lnTo>
                  <a:pt x="1697345" y="480841"/>
                </a:lnTo>
                <a:lnTo>
                  <a:pt x="1699068" y="474934"/>
                </a:lnTo>
                <a:lnTo>
                  <a:pt x="1699068" y="469272"/>
                </a:lnTo>
                <a:close/>
                <a:moveTo>
                  <a:pt x="757274" y="424736"/>
                </a:moveTo>
                <a:lnTo>
                  <a:pt x="755814" y="426195"/>
                </a:lnTo>
                <a:lnTo>
                  <a:pt x="754104" y="427905"/>
                </a:lnTo>
                <a:lnTo>
                  <a:pt x="755812" y="426441"/>
                </a:lnTo>
                <a:close/>
                <a:moveTo>
                  <a:pt x="3219548" y="424717"/>
                </a:moveTo>
                <a:lnTo>
                  <a:pt x="3226933" y="435548"/>
                </a:lnTo>
                <a:lnTo>
                  <a:pt x="3233579" y="441455"/>
                </a:lnTo>
                <a:lnTo>
                  <a:pt x="3242687" y="443917"/>
                </a:lnTo>
                <a:lnTo>
                  <a:pt x="3248595" y="447363"/>
                </a:lnTo>
                <a:lnTo>
                  <a:pt x="3254257" y="451548"/>
                </a:lnTo>
                <a:lnTo>
                  <a:pt x="3255979" y="454009"/>
                </a:lnTo>
                <a:lnTo>
                  <a:pt x="3256717" y="457455"/>
                </a:lnTo>
                <a:lnTo>
                  <a:pt x="3256717" y="459917"/>
                </a:lnTo>
                <a:lnTo>
                  <a:pt x="3256717" y="464840"/>
                </a:lnTo>
                <a:lnTo>
                  <a:pt x="3246871" y="467548"/>
                </a:lnTo>
                <a:lnTo>
                  <a:pt x="3239487" y="473455"/>
                </a:lnTo>
                <a:lnTo>
                  <a:pt x="3233579" y="479117"/>
                </a:lnTo>
                <a:lnTo>
                  <a:pt x="3225457" y="483301"/>
                </a:lnTo>
                <a:lnTo>
                  <a:pt x="3222010" y="479117"/>
                </a:lnTo>
                <a:lnTo>
                  <a:pt x="3219548" y="477639"/>
                </a:lnTo>
                <a:lnTo>
                  <a:pt x="3217087" y="476655"/>
                </a:lnTo>
                <a:lnTo>
                  <a:pt x="3213887" y="477639"/>
                </a:lnTo>
                <a:lnTo>
                  <a:pt x="3211426" y="479117"/>
                </a:lnTo>
                <a:lnTo>
                  <a:pt x="3209702" y="482563"/>
                </a:lnTo>
                <a:lnTo>
                  <a:pt x="3206502" y="483301"/>
                </a:lnTo>
                <a:lnTo>
                  <a:pt x="3211426" y="501024"/>
                </a:lnTo>
                <a:lnTo>
                  <a:pt x="3212164" y="514563"/>
                </a:lnTo>
                <a:lnTo>
                  <a:pt x="3212164" y="524409"/>
                </a:lnTo>
                <a:lnTo>
                  <a:pt x="3211426" y="534501"/>
                </a:lnTo>
                <a:lnTo>
                  <a:pt x="3207980" y="545578"/>
                </a:lnTo>
                <a:lnTo>
                  <a:pt x="3205518" y="559855"/>
                </a:lnTo>
                <a:lnTo>
                  <a:pt x="3203795" y="577330"/>
                </a:lnTo>
                <a:lnTo>
                  <a:pt x="3184841" y="587423"/>
                </a:lnTo>
                <a:lnTo>
                  <a:pt x="3163425" y="597515"/>
                </a:lnTo>
                <a:lnTo>
                  <a:pt x="3142749" y="606868"/>
                </a:lnTo>
                <a:lnTo>
                  <a:pt x="3138564" y="599238"/>
                </a:lnTo>
                <a:lnTo>
                  <a:pt x="3134625" y="593330"/>
                </a:lnTo>
                <a:lnTo>
                  <a:pt x="3132903" y="599238"/>
                </a:lnTo>
                <a:lnTo>
                  <a:pt x="3132903" y="602684"/>
                </a:lnTo>
                <a:lnTo>
                  <a:pt x="3132165" y="606868"/>
                </a:lnTo>
                <a:lnTo>
                  <a:pt x="3130441" y="609330"/>
                </a:lnTo>
                <a:lnTo>
                  <a:pt x="3126257" y="609330"/>
                </a:lnTo>
                <a:lnTo>
                  <a:pt x="3123056" y="609330"/>
                </a:lnTo>
                <a:lnTo>
                  <a:pt x="3121333" y="611053"/>
                </a:lnTo>
                <a:lnTo>
                  <a:pt x="3120595" y="611053"/>
                </a:lnTo>
                <a:lnTo>
                  <a:pt x="3118873" y="612530"/>
                </a:lnTo>
                <a:lnTo>
                  <a:pt x="3117149" y="614253"/>
                </a:lnTo>
                <a:lnTo>
                  <a:pt x="3112964" y="614253"/>
                </a:lnTo>
                <a:lnTo>
                  <a:pt x="3109026" y="615238"/>
                </a:lnTo>
                <a:lnTo>
                  <a:pt x="3107303" y="612530"/>
                </a:lnTo>
                <a:lnTo>
                  <a:pt x="3107303" y="608346"/>
                </a:lnTo>
                <a:lnTo>
                  <a:pt x="3107303" y="606868"/>
                </a:lnTo>
                <a:lnTo>
                  <a:pt x="3107303" y="603422"/>
                </a:lnTo>
                <a:lnTo>
                  <a:pt x="3107303" y="602684"/>
                </a:lnTo>
                <a:lnTo>
                  <a:pt x="3103856" y="602684"/>
                </a:lnTo>
                <a:lnTo>
                  <a:pt x="3101395" y="600961"/>
                </a:lnTo>
                <a:lnTo>
                  <a:pt x="3095734" y="599238"/>
                </a:lnTo>
                <a:lnTo>
                  <a:pt x="3095734" y="602684"/>
                </a:lnTo>
                <a:lnTo>
                  <a:pt x="3098194" y="606868"/>
                </a:lnTo>
                <a:lnTo>
                  <a:pt x="3101395" y="608346"/>
                </a:lnTo>
                <a:lnTo>
                  <a:pt x="3101395" y="611053"/>
                </a:lnTo>
                <a:lnTo>
                  <a:pt x="3101395" y="615238"/>
                </a:lnTo>
                <a:lnTo>
                  <a:pt x="3103118" y="622623"/>
                </a:lnTo>
                <a:lnTo>
                  <a:pt x="3098194" y="626807"/>
                </a:lnTo>
                <a:lnTo>
                  <a:pt x="3095734" y="632715"/>
                </a:lnTo>
                <a:lnTo>
                  <a:pt x="3092288" y="638621"/>
                </a:lnTo>
                <a:lnTo>
                  <a:pt x="3082442" y="638621"/>
                </a:lnTo>
                <a:lnTo>
                  <a:pt x="3080964" y="626807"/>
                </a:lnTo>
                <a:lnTo>
                  <a:pt x="3079980" y="620899"/>
                </a:lnTo>
                <a:lnTo>
                  <a:pt x="3076779" y="615238"/>
                </a:lnTo>
                <a:lnTo>
                  <a:pt x="3074318" y="606868"/>
                </a:lnTo>
                <a:lnTo>
                  <a:pt x="3082442" y="606868"/>
                </a:lnTo>
                <a:lnTo>
                  <a:pt x="3092288" y="593330"/>
                </a:lnTo>
                <a:lnTo>
                  <a:pt x="3105579" y="581515"/>
                </a:lnTo>
                <a:lnTo>
                  <a:pt x="3121333" y="574132"/>
                </a:lnTo>
                <a:lnTo>
                  <a:pt x="3126994" y="573148"/>
                </a:lnTo>
                <a:lnTo>
                  <a:pt x="3132903" y="573148"/>
                </a:lnTo>
                <a:lnTo>
                  <a:pt x="3137825" y="574132"/>
                </a:lnTo>
                <a:lnTo>
                  <a:pt x="3140288" y="574132"/>
                </a:lnTo>
                <a:lnTo>
                  <a:pt x="3142749" y="574132"/>
                </a:lnTo>
                <a:lnTo>
                  <a:pt x="3146195" y="569947"/>
                </a:lnTo>
                <a:lnTo>
                  <a:pt x="3148656" y="565763"/>
                </a:lnTo>
                <a:lnTo>
                  <a:pt x="3150133" y="561331"/>
                </a:lnTo>
                <a:lnTo>
                  <a:pt x="3151856" y="558132"/>
                </a:lnTo>
                <a:lnTo>
                  <a:pt x="3154318" y="553947"/>
                </a:lnTo>
                <a:lnTo>
                  <a:pt x="3159241" y="551486"/>
                </a:lnTo>
                <a:lnTo>
                  <a:pt x="3160226" y="553947"/>
                </a:lnTo>
                <a:lnTo>
                  <a:pt x="3161703" y="555671"/>
                </a:lnTo>
                <a:lnTo>
                  <a:pt x="3163425" y="555671"/>
                </a:lnTo>
                <a:lnTo>
                  <a:pt x="3165150" y="555671"/>
                </a:lnTo>
                <a:lnTo>
                  <a:pt x="3165887" y="553947"/>
                </a:lnTo>
                <a:lnTo>
                  <a:pt x="3177456" y="543855"/>
                </a:lnTo>
                <a:lnTo>
                  <a:pt x="3184841" y="534501"/>
                </a:lnTo>
                <a:lnTo>
                  <a:pt x="3188288" y="524409"/>
                </a:lnTo>
                <a:lnTo>
                  <a:pt x="3190748" y="512840"/>
                </a:lnTo>
                <a:lnTo>
                  <a:pt x="3194933" y="502747"/>
                </a:lnTo>
                <a:lnTo>
                  <a:pt x="3203795" y="489209"/>
                </a:lnTo>
                <a:lnTo>
                  <a:pt x="3198133" y="489209"/>
                </a:lnTo>
                <a:lnTo>
                  <a:pt x="3193949" y="486747"/>
                </a:lnTo>
                <a:lnTo>
                  <a:pt x="3192472" y="483301"/>
                </a:lnTo>
                <a:lnTo>
                  <a:pt x="3190748" y="480841"/>
                </a:lnTo>
                <a:lnTo>
                  <a:pt x="3190748" y="474932"/>
                </a:lnTo>
                <a:lnTo>
                  <a:pt x="3190748" y="467548"/>
                </a:lnTo>
                <a:lnTo>
                  <a:pt x="3192472" y="465824"/>
                </a:lnTo>
                <a:lnTo>
                  <a:pt x="3193949" y="464840"/>
                </a:lnTo>
                <a:lnTo>
                  <a:pt x="3193949" y="463363"/>
                </a:lnTo>
                <a:lnTo>
                  <a:pt x="3193949" y="461640"/>
                </a:lnTo>
                <a:lnTo>
                  <a:pt x="3199856" y="459917"/>
                </a:lnTo>
                <a:lnTo>
                  <a:pt x="3203795" y="459917"/>
                </a:lnTo>
                <a:lnTo>
                  <a:pt x="3206502" y="459178"/>
                </a:lnTo>
                <a:lnTo>
                  <a:pt x="3209702" y="459178"/>
                </a:lnTo>
                <a:lnTo>
                  <a:pt x="3209702" y="443917"/>
                </a:lnTo>
                <a:lnTo>
                  <a:pt x="3212164" y="432348"/>
                </a:lnTo>
                <a:close/>
                <a:moveTo>
                  <a:pt x="763197" y="422258"/>
                </a:moveTo>
                <a:lnTo>
                  <a:pt x="761474" y="423733"/>
                </a:lnTo>
                <a:lnTo>
                  <a:pt x="759751" y="426442"/>
                </a:lnTo>
                <a:lnTo>
                  <a:pt x="759751" y="427918"/>
                </a:lnTo>
                <a:lnTo>
                  <a:pt x="759071" y="432000"/>
                </a:lnTo>
                <a:lnTo>
                  <a:pt x="759260" y="432103"/>
                </a:lnTo>
                <a:lnTo>
                  <a:pt x="759999" y="427918"/>
                </a:lnTo>
                <a:lnTo>
                  <a:pt x="759999" y="426195"/>
                </a:lnTo>
                <a:lnTo>
                  <a:pt x="761721" y="423733"/>
                </a:lnTo>
                <a:close/>
                <a:moveTo>
                  <a:pt x="1749281" y="422010"/>
                </a:moveTo>
                <a:lnTo>
                  <a:pt x="1748542" y="423733"/>
                </a:lnTo>
                <a:lnTo>
                  <a:pt x="1746819" y="423733"/>
                </a:lnTo>
                <a:lnTo>
                  <a:pt x="1745097" y="423733"/>
                </a:lnTo>
                <a:lnTo>
                  <a:pt x="1745097" y="424472"/>
                </a:lnTo>
                <a:lnTo>
                  <a:pt x="1743373" y="424472"/>
                </a:lnTo>
                <a:lnTo>
                  <a:pt x="1740911" y="427918"/>
                </a:lnTo>
                <a:lnTo>
                  <a:pt x="1737711" y="429640"/>
                </a:lnTo>
                <a:lnTo>
                  <a:pt x="1737711" y="430379"/>
                </a:lnTo>
                <a:lnTo>
                  <a:pt x="1737711" y="433825"/>
                </a:lnTo>
                <a:lnTo>
                  <a:pt x="1737711" y="436286"/>
                </a:lnTo>
                <a:lnTo>
                  <a:pt x="1737711" y="441210"/>
                </a:lnTo>
                <a:lnTo>
                  <a:pt x="1749281" y="453026"/>
                </a:lnTo>
                <a:lnTo>
                  <a:pt x="1760112" y="465578"/>
                </a:lnTo>
                <a:lnTo>
                  <a:pt x="1769958" y="480595"/>
                </a:lnTo>
                <a:lnTo>
                  <a:pt x="1781527" y="480595"/>
                </a:lnTo>
                <a:lnTo>
                  <a:pt x="1781527" y="488964"/>
                </a:lnTo>
                <a:lnTo>
                  <a:pt x="1793096" y="493147"/>
                </a:lnTo>
                <a:lnTo>
                  <a:pt x="1801465" y="499056"/>
                </a:lnTo>
                <a:lnTo>
                  <a:pt x="1810572" y="506687"/>
                </a:lnTo>
                <a:lnTo>
                  <a:pt x="1810572" y="510133"/>
                </a:lnTo>
                <a:lnTo>
                  <a:pt x="1807373" y="510133"/>
                </a:lnTo>
                <a:lnTo>
                  <a:pt x="1804911" y="510133"/>
                </a:lnTo>
                <a:lnTo>
                  <a:pt x="1801711" y="510133"/>
                </a:lnTo>
                <a:lnTo>
                  <a:pt x="1799988" y="510133"/>
                </a:lnTo>
                <a:lnTo>
                  <a:pt x="1797527" y="508409"/>
                </a:lnTo>
                <a:lnTo>
                  <a:pt x="1793342" y="506687"/>
                </a:lnTo>
                <a:lnTo>
                  <a:pt x="1789158" y="506687"/>
                </a:lnTo>
                <a:lnTo>
                  <a:pt x="1789158" y="510871"/>
                </a:lnTo>
                <a:lnTo>
                  <a:pt x="1789896" y="514317"/>
                </a:lnTo>
                <a:lnTo>
                  <a:pt x="1791619" y="516779"/>
                </a:lnTo>
                <a:lnTo>
                  <a:pt x="1791619" y="518501"/>
                </a:lnTo>
                <a:lnTo>
                  <a:pt x="1793342" y="521947"/>
                </a:lnTo>
                <a:lnTo>
                  <a:pt x="1794081" y="526132"/>
                </a:lnTo>
                <a:lnTo>
                  <a:pt x="1789896" y="528594"/>
                </a:lnTo>
                <a:lnTo>
                  <a:pt x="1787435" y="532040"/>
                </a:lnTo>
                <a:lnTo>
                  <a:pt x="1784235" y="536224"/>
                </a:lnTo>
                <a:lnTo>
                  <a:pt x="1781773" y="542133"/>
                </a:lnTo>
                <a:lnTo>
                  <a:pt x="1772666" y="542133"/>
                </a:lnTo>
                <a:lnTo>
                  <a:pt x="1772666" y="561578"/>
                </a:lnTo>
                <a:lnTo>
                  <a:pt x="1766020" y="561578"/>
                </a:lnTo>
                <a:lnTo>
                  <a:pt x="1758634" y="555672"/>
                </a:lnTo>
                <a:lnTo>
                  <a:pt x="1749528" y="552225"/>
                </a:lnTo>
                <a:lnTo>
                  <a:pt x="1742882" y="548040"/>
                </a:lnTo>
                <a:lnTo>
                  <a:pt x="1737958" y="537948"/>
                </a:lnTo>
                <a:lnTo>
                  <a:pt x="1749528" y="539671"/>
                </a:lnTo>
                <a:lnTo>
                  <a:pt x="1761096" y="537948"/>
                </a:lnTo>
                <a:lnTo>
                  <a:pt x="1770204" y="534502"/>
                </a:lnTo>
                <a:lnTo>
                  <a:pt x="1775866" y="528594"/>
                </a:lnTo>
                <a:lnTo>
                  <a:pt x="1777589" y="527856"/>
                </a:lnTo>
                <a:lnTo>
                  <a:pt x="1777589" y="526132"/>
                </a:lnTo>
                <a:lnTo>
                  <a:pt x="1778326" y="524410"/>
                </a:lnTo>
                <a:lnTo>
                  <a:pt x="1778326" y="521947"/>
                </a:lnTo>
                <a:lnTo>
                  <a:pt x="1778326" y="518501"/>
                </a:lnTo>
                <a:lnTo>
                  <a:pt x="1756912" y="502502"/>
                </a:lnTo>
                <a:lnTo>
                  <a:pt x="1733773" y="486501"/>
                </a:lnTo>
                <a:lnTo>
                  <a:pt x="1726389" y="477394"/>
                </a:lnTo>
                <a:lnTo>
                  <a:pt x="1719745" y="469025"/>
                </a:lnTo>
                <a:lnTo>
                  <a:pt x="1714084" y="458932"/>
                </a:lnTo>
                <a:lnTo>
                  <a:pt x="1704976" y="449826"/>
                </a:lnTo>
                <a:lnTo>
                  <a:pt x="1693406" y="445640"/>
                </a:lnTo>
                <a:lnTo>
                  <a:pt x="1683560" y="454009"/>
                </a:lnTo>
                <a:lnTo>
                  <a:pt x="1670268" y="461640"/>
                </a:lnTo>
                <a:lnTo>
                  <a:pt x="1654516" y="465086"/>
                </a:lnTo>
                <a:lnTo>
                  <a:pt x="1652792" y="461640"/>
                </a:lnTo>
                <a:lnTo>
                  <a:pt x="1652053" y="459179"/>
                </a:lnTo>
                <a:lnTo>
                  <a:pt x="1650330" y="457456"/>
                </a:lnTo>
                <a:lnTo>
                  <a:pt x="1647130" y="457456"/>
                </a:lnTo>
                <a:lnTo>
                  <a:pt x="1646392" y="457456"/>
                </a:lnTo>
                <a:lnTo>
                  <a:pt x="1643191" y="459179"/>
                </a:lnTo>
                <a:lnTo>
                  <a:pt x="1635808" y="465086"/>
                </a:lnTo>
                <a:lnTo>
                  <a:pt x="1633346" y="473456"/>
                </a:lnTo>
                <a:lnTo>
                  <a:pt x="1631622" y="482563"/>
                </a:lnTo>
                <a:lnTo>
                  <a:pt x="1627438" y="489210"/>
                </a:lnTo>
                <a:lnTo>
                  <a:pt x="1611685" y="489210"/>
                </a:lnTo>
                <a:lnTo>
                  <a:pt x="1606024" y="496840"/>
                </a:lnTo>
                <a:lnTo>
                  <a:pt x="1601838" y="505209"/>
                </a:lnTo>
                <a:lnTo>
                  <a:pt x="1598638" y="516041"/>
                </a:lnTo>
                <a:lnTo>
                  <a:pt x="1596915" y="516779"/>
                </a:lnTo>
                <a:lnTo>
                  <a:pt x="1596915" y="520225"/>
                </a:lnTo>
                <a:lnTo>
                  <a:pt x="1598638" y="521947"/>
                </a:lnTo>
                <a:lnTo>
                  <a:pt x="1600362" y="522686"/>
                </a:lnTo>
                <a:lnTo>
                  <a:pt x="1602823" y="526132"/>
                </a:lnTo>
                <a:lnTo>
                  <a:pt x="1604546" y="528594"/>
                </a:lnTo>
                <a:lnTo>
                  <a:pt x="1600362" y="528594"/>
                </a:lnTo>
                <a:lnTo>
                  <a:pt x="1598638" y="530318"/>
                </a:lnTo>
                <a:lnTo>
                  <a:pt x="1596915" y="530318"/>
                </a:lnTo>
                <a:lnTo>
                  <a:pt x="1596177" y="532040"/>
                </a:lnTo>
                <a:lnTo>
                  <a:pt x="1594454" y="533763"/>
                </a:lnTo>
                <a:lnTo>
                  <a:pt x="1591254" y="534502"/>
                </a:lnTo>
                <a:lnTo>
                  <a:pt x="1591254" y="537948"/>
                </a:lnTo>
                <a:lnTo>
                  <a:pt x="1591254" y="539671"/>
                </a:lnTo>
                <a:lnTo>
                  <a:pt x="1591254" y="541148"/>
                </a:lnTo>
                <a:lnTo>
                  <a:pt x="1591254" y="546071"/>
                </a:lnTo>
                <a:lnTo>
                  <a:pt x="1581408" y="546809"/>
                </a:lnTo>
                <a:lnTo>
                  <a:pt x="1577224" y="550255"/>
                </a:lnTo>
                <a:lnTo>
                  <a:pt x="1574024" y="552717"/>
                </a:lnTo>
                <a:lnTo>
                  <a:pt x="1571562" y="557640"/>
                </a:lnTo>
                <a:lnTo>
                  <a:pt x="1567377" y="561825"/>
                </a:lnTo>
                <a:lnTo>
                  <a:pt x="1562454" y="563548"/>
                </a:lnTo>
                <a:lnTo>
                  <a:pt x="1559993" y="563548"/>
                </a:lnTo>
                <a:lnTo>
                  <a:pt x="1555808" y="561825"/>
                </a:lnTo>
                <a:lnTo>
                  <a:pt x="1552608" y="560102"/>
                </a:lnTo>
                <a:lnTo>
                  <a:pt x="1550147" y="558378"/>
                </a:lnTo>
                <a:lnTo>
                  <a:pt x="1548424" y="558378"/>
                </a:lnTo>
                <a:lnTo>
                  <a:pt x="1545962" y="560102"/>
                </a:lnTo>
                <a:lnTo>
                  <a:pt x="1542761" y="561825"/>
                </a:lnTo>
                <a:lnTo>
                  <a:pt x="1540300" y="563548"/>
                </a:lnTo>
                <a:lnTo>
                  <a:pt x="1535378" y="564286"/>
                </a:lnTo>
                <a:lnTo>
                  <a:pt x="1535378" y="571917"/>
                </a:lnTo>
                <a:lnTo>
                  <a:pt x="1575746" y="577823"/>
                </a:lnTo>
                <a:lnTo>
                  <a:pt x="1587316" y="571917"/>
                </a:lnTo>
                <a:lnTo>
                  <a:pt x="1598884" y="564286"/>
                </a:lnTo>
                <a:lnTo>
                  <a:pt x="1607993" y="558378"/>
                </a:lnTo>
                <a:lnTo>
                  <a:pt x="1620300" y="555917"/>
                </a:lnTo>
                <a:lnTo>
                  <a:pt x="1639253" y="552471"/>
                </a:lnTo>
                <a:lnTo>
                  <a:pt x="1659191" y="551732"/>
                </a:lnTo>
                <a:lnTo>
                  <a:pt x="1681592" y="551732"/>
                </a:lnTo>
                <a:lnTo>
                  <a:pt x="1699807" y="551732"/>
                </a:lnTo>
                <a:lnTo>
                  <a:pt x="1715560" y="552471"/>
                </a:lnTo>
                <a:lnTo>
                  <a:pt x="1722943" y="554194"/>
                </a:lnTo>
                <a:lnTo>
                  <a:pt x="1726634" y="554194"/>
                </a:lnTo>
                <a:lnTo>
                  <a:pt x="1721712" y="567732"/>
                </a:lnTo>
                <a:lnTo>
                  <a:pt x="1719253" y="582007"/>
                </a:lnTo>
                <a:lnTo>
                  <a:pt x="1716053" y="597022"/>
                </a:lnTo>
                <a:lnTo>
                  <a:pt x="1720975" y="599484"/>
                </a:lnTo>
                <a:lnTo>
                  <a:pt x="1721712" y="602930"/>
                </a:lnTo>
                <a:lnTo>
                  <a:pt x="1724912" y="605392"/>
                </a:lnTo>
                <a:lnTo>
                  <a:pt x="1726634" y="607115"/>
                </a:lnTo>
                <a:lnTo>
                  <a:pt x="1729096" y="609576"/>
                </a:lnTo>
                <a:lnTo>
                  <a:pt x="1738943" y="613022"/>
                </a:lnTo>
                <a:lnTo>
                  <a:pt x="1750512" y="613022"/>
                </a:lnTo>
                <a:lnTo>
                  <a:pt x="1762081" y="614746"/>
                </a:lnTo>
                <a:lnTo>
                  <a:pt x="1773650" y="620653"/>
                </a:lnTo>
                <a:lnTo>
                  <a:pt x="1776850" y="632469"/>
                </a:lnTo>
                <a:lnTo>
                  <a:pt x="1782512" y="634930"/>
                </a:lnTo>
                <a:lnTo>
                  <a:pt x="1790881" y="638376"/>
                </a:lnTo>
                <a:lnTo>
                  <a:pt x="1802451" y="640837"/>
                </a:lnTo>
                <a:lnTo>
                  <a:pt x="1812296" y="644283"/>
                </a:lnTo>
                <a:lnTo>
                  <a:pt x="1817958" y="645022"/>
                </a:lnTo>
                <a:lnTo>
                  <a:pt x="1819681" y="636653"/>
                </a:lnTo>
                <a:lnTo>
                  <a:pt x="1822881" y="629022"/>
                </a:lnTo>
                <a:lnTo>
                  <a:pt x="1825342" y="621392"/>
                </a:lnTo>
                <a:lnTo>
                  <a:pt x="1834450" y="615484"/>
                </a:lnTo>
                <a:lnTo>
                  <a:pt x="1846757" y="613022"/>
                </a:lnTo>
                <a:lnTo>
                  <a:pt x="1858327" y="615484"/>
                </a:lnTo>
                <a:lnTo>
                  <a:pt x="1869895" y="621392"/>
                </a:lnTo>
                <a:lnTo>
                  <a:pt x="1881465" y="626315"/>
                </a:lnTo>
                <a:lnTo>
                  <a:pt x="1887126" y="627053"/>
                </a:lnTo>
                <a:lnTo>
                  <a:pt x="1898695" y="628776"/>
                </a:lnTo>
                <a:lnTo>
                  <a:pt x="1910265" y="632222"/>
                </a:lnTo>
                <a:lnTo>
                  <a:pt x="1921834" y="632961"/>
                </a:lnTo>
                <a:lnTo>
                  <a:pt x="1930941" y="634684"/>
                </a:lnTo>
                <a:lnTo>
                  <a:pt x="1935126" y="636407"/>
                </a:lnTo>
                <a:lnTo>
                  <a:pt x="1937587" y="634684"/>
                </a:lnTo>
                <a:lnTo>
                  <a:pt x="1939311" y="632222"/>
                </a:lnTo>
                <a:lnTo>
                  <a:pt x="1941034" y="630499"/>
                </a:lnTo>
                <a:lnTo>
                  <a:pt x="1943495" y="627053"/>
                </a:lnTo>
                <a:lnTo>
                  <a:pt x="1946695" y="626315"/>
                </a:lnTo>
                <a:lnTo>
                  <a:pt x="1949156" y="626315"/>
                </a:lnTo>
                <a:lnTo>
                  <a:pt x="1953342" y="626315"/>
                </a:lnTo>
                <a:lnTo>
                  <a:pt x="1964172" y="628776"/>
                </a:lnTo>
                <a:lnTo>
                  <a:pt x="1972541" y="632961"/>
                </a:lnTo>
                <a:lnTo>
                  <a:pt x="1982387" y="632222"/>
                </a:lnTo>
                <a:lnTo>
                  <a:pt x="1993217" y="628776"/>
                </a:lnTo>
                <a:lnTo>
                  <a:pt x="1993956" y="616960"/>
                </a:lnTo>
                <a:lnTo>
                  <a:pt x="1999618" y="602684"/>
                </a:lnTo>
                <a:lnTo>
                  <a:pt x="2004541" y="589145"/>
                </a:lnTo>
                <a:lnTo>
                  <a:pt x="2006018" y="577823"/>
                </a:lnTo>
                <a:lnTo>
                  <a:pt x="2003556" y="567732"/>
                </a:lnTo>
                <a:lnTo>
                  <a:pt x="2001834" y="564286"/>
                </a:lnTo>
                <a:lnTo>
                  <a:pt x="2001834" y="561825"/>
                </a:lnTo>
                <a:lnTo>
                  <a:pt x="2000110" y="560102"/>
                </a:lnTo>
                <a:lnTo>
                  <a:pt x="1998388" y="558378"/>
                </a:lnTo>
                <a:lnTo>
                  <a:pt x="1995925" y="558378"/>
                </a:lnTo>
                <a:lnTo>
                  <a:pt x="1992725" y="558378"/>
                </a:lnTo>
                <a:lnTo>
                  <a:pt x="1987064" y="558378"/>
                </a:lnTo>
                <a:lnTo>
                  <a:pt x="1980418" y="564286"/>
                </a:lnTo>
                <a:lnTo>
                  <a:pt x="1974756" y="566009"/>
                </a:lnTo>
                <a:lnTo>
                  <a:pt x="1969094" y="564286"/>
                </a:lnTo>
                <a:lnTo>
                  <a:pt x="1963433" y="561825"/>
                </a:lnTo>
                <a:lnTo>
                  <a:pt x="1956049" y="558378"/>
                </a:lnTo>
                <a:lnTo>
                  <a:pt x="1951864" y="557640"/>
                </a:lnTo>
                <a:lnTo>
                  <a:pt x="1948665" y="558378"/>
                </a:lnTo>
                <a:lnTo>
                  <a:pt x="1944480" y="560102"/>
                </a:lnTo>
                <a:lnTo>
                  <a:pt x="1942757" y="563548"/>
                </a:lnTo>
                <a:lnTo>
                  <a:pt x="1940295" y="566009"/>
                </a:lnTo>
                <a:lnTo>
                  <a:pt x="1937095" y="567732"/>
                </a:lnTo>
                <a:lnTo>
                  <a:pt x="1924788" y="564286"/>
                </a:lnTo>
                <a:lnTo>
                  <a:pt x="1911496" y="555917"/>
                </a:lnTo>
                <a:lnTo>
                  <a:pt x="1901649" y="542379"/>
                </a:lnTo>
                <a:lnTo>
                  <a:pt x="1896726" y="528840"/>
                </a:lnTo>
                <a:lnTo>
                  <a:pt x="1896726" y="526378"/>
                </a:lnTo>
                <a:lnTo>
                  <a:pt x="1896726" y="522932"/>
                </a:lnTo>
                <a:lnTo>
                  <a:pt x="1896726" y="520471"/>
                </a:lnTo>
                <a:lnTo>
                  <a:pt x="1896726" y="517025"/>
                </a:lnTo>
                <a:lnTo>
                  <a:pt x="1896726" y="514563"/>
                </a:lnTo>
                <a:lnTo>
                  <a:pt x="1898449" y="511117"/>
                </a:lnTo>
                <a:lnTo>
                  <a:pt x="1900173" y="506933"/>
                </a:lnTo>
                <a:lnTo>
                  <a:pt x="1896973" y="504471"/>
                </a:lnTo>
                <a:lnTo>
                  <a:pt x="1894510" y="502749"/>
                </a:lnTo>
                <a:lnTo>
                  <a:pt x="1892788" y="501025"/>
                </a:lnTo>
                <a:lnTo>
                  <a:pt x="1891064" y="499302"/>
                </a:lnTo>
                <a:lnTo>
                  <a:pt x="1888603" y="498563"/>
                </a:lnTo>
                <a:lnTo>
                  <a:pt x="1884418" y="496840"/>
                </a:lnTo>
                <a:lnTo>
                  <a:pt x="1882696" y="495118"/>
                </a:lnTo>
                <a:lnTo>
                  <a:pt x="1880972" y="495118"/>
                </a:lnTo>
                <a:lnTo>
                  <a:pt x="1879250" y="493394"/>
                </a:lnTo>
                <a:lnTo>
                  <a:pt x="1876787" y="493394"/>
                </a:lnTo>
                <a:lnTo>
                  <a:pt x="1873588" y="493394"/>
                </a:lnTo>
                <a:lnTo>
                  <a:pt x="1873588" y="496840"/>
                </a:lnTo>
                <a:lnTo>
                  <a:pt x="1871126" y="496840"/>
                </a:lnTo>
                <a:lnTo>
                  <a:pt x="1871126" y="501025"/>
                </a:lnTo>
                <a:lnTo>
                  <a:pt x="1872850" y="504471"/>
                </a:lnTo>
                <a:lnTo>
                  <a:pt x="1872850" y="505209"/>
                </a:lnTo>
                <a:lnTo>
                  <a:pt x="1872850" y="506933"/>
                </a:lnTo>
                <a:lnTo>
                  <a:pt x="1871126" y="508655"/>
                </a:lnTo>
                <a:lnTo>
                  <a:pt x="1869404" y="508655"/>
                </a:lnTo>
                <a:lnTo>
                  <a:pt x="1866942" y="508655"/>
                </a:lnTo>
                <a:lnTo>
                  <a:pt x="1861280" y="510380"/>
                </a:lnTo>
                <a:lnTo>
                  <a:pt x="1859557" y="506933"/>
                </a:lnTo>
                <a:lnTo>
                  <a:pt x="1857834" y="505209"/>
                </a:lnTo>
                <a:lnTo>
                  <a:pt x="1857834" y="504471"/>
                </a:lnTo>
                <a:lnTo>
                  <a:pt x="1855373" y="502749"/>
                </a:lnTo>
                <a:lnTo>
                  <a:pt x="1855373" y="506687"/>
                </a:lnTo>
                <a:lnTo>
                  <a:pt x="1862757" y="515794"/>
                </a:lnTo>
                <a:lnTo>
                  <a:pt x="1868419" y="528347"/>
                </a:lnTo>
                <a:lnTo>
                  <a:pt x="1870880" y="541887"/>
                </a:lnTo>
                <a:lnTo>
                  <a:pt x="1866695" y="545333"/>
                </a:lnTo>
                <a:lnTo>
                  <a:pt x="1863495" y="546071"/>
                </a:lnTo>
                <a:lnTo>
                  <a:pt x="1862757" y="549517"/>
                </a:lnTo>
                <a:lnTo>
                  <a:pt x="1861034" y="551979"/>
                </a:lnTo>
                <a:lnTo>
                  <a:pt x="1861034" y="553701"/>
                </a:lnTo>
                <a:lnTo>
                  <a:pt x="1859311" y="557147"/>
                </a:lnTo>
                <a:lnTo>
                  <a:pt x="1857589" y="557887"/>
                </a:lnTo>
                <a:lnTo>
                  <a:pt x="1853403" y="559610"/>
                </a:lnTo>
                <a:lnTo>
                  <a:pt x="1849218" y="561332"/>
                </a:lnTo>
                <a:lnTo>
                  <a:pt x="1847496" y="559610"/>
                </a:lnTo>
                <a:lnTo>
                  <a:pt x="1845772" y="559610"/>
                </a:lnTo>
                <a:lnTo>
                  <a:pt x="1845034" y="557887"/>
                </a:lnTo>
                <a:lnTo>
                  <a:pt x="1841834" y="557887"/>
                </a:lnTo>
                <a:lnTo>
                  <a:pt x="1828542" y="518501"/>
                </a:lnTo>
                <a:lnTo>
                  <a:pt x="1826081" y="516779"/>
                </a:lnTo>
                <a:lnTo>
                  <a:pt x="1822881" y="514317"/>
                </a:lnTo>
                <a:lnTo>
                  <a:pt x="1818696" y="510871"/>
                </a:lnTo>
                <a:lnTo>
                  <a:pt x="1816235" y="510133"/>
                </a:lnTo>
                <a:lnTo>
                  <a:pt x="1813035" y="506687"/>
                </a:lnTo>
                <a:lnTo>
                  <a:pt x="1811312" y="498318"/>
                </a:lnTo>
                <a:lnTo>
                  <a:pt x="1813035" y="490687"/>
                </a:lnTo>
                <a:lnTo>
                  <a:pt x="1814757" y="484779"/>
                </a:lnTo>
                <a:lnTo>
                  <a:pt x="1814757" y="478871"/>
                </a:lnTo>
                <a:lnTo>
                  <a:pt x="1810572" y="474687"/>
                </a:lnTo>
                <a:lnTo>
                  <a:pt x="1799742" y="467056"/>
                </a:lnTo>
                <a:lnTo>
                  <a:pt x="1791374" y="462871"/>
                </a:lnTo>
                <a:lnTo>
                  <a:pt x="1783988" y="461147"/>
                </a:lnTo>
                <a:lnTo>
                  <a:pt x="1777342" y="456964"/>
                </a:lnTo>
                <a:lnTo>
                  <a:pt x="1771681" y="447855"/>
                </a:lnTo>
                <a:lnTo>
                  <a:pt x="1766020" y="431856"/>
                </a:lnTo>
                <a:lnTo>
                  <a:pt x="1754450" y="435303"/>
                </a:lnTo>
                <a:lnTo>
                  <a:pt x="1752728" y="430379"/>
                </a:lnTo>
                <a:lnTo>
                  <a:pt x="1752728" y="427918"/>
                </a:lnTo>
                <a:lnTo>
                  <a:pt x="1751004" y="424472"/>
                </a:lnTo>
                <a:close/>
                <a:moveTo>
                  <a:pt x="761721" y="418564"/>
                </a:moveTo>
                <a:lnTo>
                  <a:pt x="761599" y="418810"/>
                </a:lnTo>
                <a:lnTo>
                  <a:pt x="763935" y="418810"/>
                </a:lnTo>
                <a:lnTo>
                  <a:pt x="763935" y="418811"/>
                </a:lnTo>
                <a:lnTo>
                  <a:pt x="763936" y="418811"/>
                </a:lnTo>
                <a:lnTo>
                  <a:pt x="763198" y="422257"/>
                </a:lnTo>
                <a:lnTo>
                  <a:pt x="763445" y="422010"/>
                </a:lnTo>
                <a:lnTo>
                  <a:pt x="764184" y="418564"/>
                </a:lnTo>
                <a:close/>
                <a:moveTo>
                  <a:pt x="1948172" y="406502"/>
                </a:moveTo>
                <a:lnTo>
                  <a:pt x="1944972" y="413148"/>
                </a:lnTo>
                <a:lnTo>
                  <a:pt x="1939311" y="423979"/>
                </a:lnTo>
                <a:lnTo>
                  <a:pt x="1931926" y="435794"/>
                </a:lnTo>
                <a:lnTo>
                  <a:pt x="1925280" y="447610"/>
                </a:lnTo>
                <a:lnTo>
                  <a:pt x="1919618" y="457702"/>
                </a:lnTo>
                <a:lnTo>
                  <a:pt x="1916418" y="466071"/>
                </a:lnTo>
                <a:lnTo>
                  <a:pt x="1916418" y="470994"/>
                </a:lnTo>
                <a:lnTo>
                  <a:pt x="1918142" y="476902"/>
                </a:lnTo>
                <a:lnTo>
                  <a:pt x="1918142" y="479363"/>
                </a:lnTo>
                <a:lnTo>
                  <a:pt x="1919864" y="482810"/>
                </a:lnTo>
                <a:lnTo>
                  <a:pt x="1922326" y="483548"/>
                </a:lnTo>
                <a:lnTo>
                  <a:pt x="1925526" y="485271"/>
                </a:lnTo>
                <a:lnTo>
                  <a:pt x="1929710" y="486994"/>
                </a:lnTo>
                <a:lnTo>
                  <a:pt x="1941280" y="491179"/>
                </a:lnTo>
                <a:lnTo>
                  <a:pt x="1952849" y="489456"/>
                </a:lnTo>
                <a:lnTo>
                  <a:pt x="1962695" y="485271"/>
                </a:lnTo>
                <a:lnTo>
                  <a:pt x="1974265" y="479363"/>
                </a:lnTo>
                <a:lnTo>
                  <a:pt x="1985833" y="477640"/>
                </a:lnTo>
                <a:lnTo>
                  <a:pt x="1997403" y="477640"/>
                </a:lnTo>
                <a:lnTo>
                  <a:pt x="2004787" y="482563"/>
                </a:lnTo>
                <a:lnTo>
                  <a:pt x="2010448" y="486748"/>
                </a:lnTo>
                <a:lnTo>
                  <a:pt x="2017094" y="489210"/>
                </a:lnTo>
                <a:lnTo>
                  <a:pt x="2034325" y="492656"/>
                </a:lnTo>
                <a:lnTo>
                  <a:pt x="2051556" y="490932"/>
                </a:lnTo>
                <a:lnTo>
                  <a:pt x="2067309" y="486748"/>
                </a:lnTo>
                <a:lnTo>
                  <a:pt x="2071740" y="477887"/>
                </a:lnTo>
                <a:lnTo>
                  <a:pt x="2066818" y="477887"/>
                </a:lnTo>
                <a:lnTo>
                  <a:pt x="2060171" y="466071"/>
                </a:lnTo>
                <a:lnTo>
                  <a:pt x="2048601" y="455979"/>
                </a:lnTo>
                <a:lnTo>
                  <a:pt x="2032110" y="445887"/>
                </a:lnTo>
                <a:lnTo>
                  <a:pt x="2016356" y="436778"/>
                </a:lnTo>
                <a:lnTo>
                  <a:pt x="2004049" y="432595"/>
                </a:lnTo>
                <a:lnTo>
                  <a:pt x="1996663" y="438502"/>
                </a:lnTo>
                <a:lnTo>
                  <a:pt x="1986818" y="442687"/>
                </a:lnTo>
                <a:lnTo>
                  <a:pt x="1979433" y="441949"/>
                </a:lnTo>
                <a:lnTo>
                  <a:pt x="1975249" y="436041"/>
                </a:lnTo>
                <a:lnTo>
                  <a:pt x="1969587" y="430133"/>
                </a:lnTo>
                <a:lnTo>
                  <a:pt x="1966388" y="422502"/>
                </a:lnTo>
                <a:lnTo>
                  <a:pt x="1976233" y="419056"/>
                </a:lnTo>
                <a:lnTo>
                  <a:pt x="1975495" y="418318"/>
                </a:lnTo>
                <a:lnTo>
                  <a:pt x="1973772" y="418318"/>
                </a:lnTo>
                <a:lnTo>
                  <a:pt x="1972049" y="418318"/>
                </a:lnTo>
                <a:lnTo>
                  <a:pt x="1969587" y="416595"/>
                </a:lnTo>
                <a:lnTo>
                  <a:pt x="1964664" y="412410"/>
                </a:lnTo>
                <a:lnTo>
                  <a:pt x="1960480" y="410687"/>
                </a:lnTo>
                <a:lnTo>
                  <a:pt x="1954818" y="408224"/>
                </a:lnTo>
                <a:close/>
                <a:moveTo>
                  <a:pt x="2179063" y="402318"/>
                </a:moveTo>
                <a:lnTo>
                  <a:pt x="2169955" y="409949"/>
                </a:lnTo>
                <a:lnTo>
                  <a:pt x="2160109" y="414133"/>
                </a:lnTo>
                <a:lnTo>
                  <a:pt x="2150263" y="418318"/>
                </a:lnTo>
                <a:lnTo>
                  <a:pt x="2141155" y="425948"/>
                </a:lnTo>
                <a:lnTo>
                  <a:pt x="2135494" y="435056"/>
                </a:lnTo>
                <a:lnTo>
                  <a:pt x="2133032" y="447610"/>
                </a:lnTo>
                <a:lnTo>
                  <a:pt x="2137217" y="461147"/>
                </a:lnTo>
                <a:lnTo>
                  <a:pt x="2146324" y="474687"/>
                </a:lnTo>
                <a:lnTo>
                  <a:pt x="2154694" y="488225"/>
                </a:lnTo>
                <a:lnTo>
                  <a:pt x="2164540" y="499056"/>
                </a:lnTo>
                <a:lnTo>
                  <a:pt x="2170202" y="509887"/>
                </a:lnTo>
                <a:lnTo>
                  <a:pt x="2160356" y="509887"/>
                </a:lnTo>
                <a:lnTo>
                  <a:pt x="2160356" y="528347"/>
                </a:lnTo>
                <a:lnTo>
                  <a:pt x="2163556" y="541887"/>
                </a:lnTo>
                <a:lnTo>
                  <a:pt x="2171924" y="549517"/>
                </a:lnTo>
                <a:lnTo>
                  <a:pt x="2186694" y="551979"/>
                </a:lnTo>
                <a:lnTo>
                  <a:pt x="2208108" y="551241"/>
                </a:lnTo>
                <a:lnTo>
                  <a:pt x="2206385" y="534502"/>
                </a:lnTo>
                <a:lnTo>
                  <a:pt x="2203185" y="524410"/>
                </a:lnTo>
                <a:lnTo>
                  <a:pt x="2199002" y="516041"/>
                </a:lnTo>
                <a:lnTo>
                  <a:pt x="2197278" y="506933"/>
                </a:lnTo>
                <a:lnTo>
                  <a:pt x="2199002" y="493394"/>
                </a:lnTo>
                <a:lnTo>
                  <a:pt x="2202201" y="495118"/>
                </a:lnTo>
                <a:lnTo>
                  <a:pt x="2204663" y="495118"/>
                </a:lnTo>
                <a:lnTo>
                  <a:pt x="2207863" y="495118"/>
                </a:lnTo>
                <a:lnTo>
                  <a:pt x="2210323" y="495118"/>
                </a:lnTo>
                <a:lnTo>
                  <a:pt x="2214509" y="493147"/>
                </a:lnTo>
                <a:lnTo>
                  <a:pt x="2212047" y="490687"/>
                </a:lnTo>
                <a:lnTo>
                  <a:pt x="2208848" y="488964"/>
                </a:lnTo>
                <a:lnTo>
                  <a:pt x="2208108" y="488225"/>
                </a:lnTo>
                <a:lnTo>
                  <a:pt x="2204909" y="484779"/>
                </a:lnTo>
                <a:lnTo>
                  <a:pt x="2202447" y="483055"/>
                </a:lnTo>
                <a:lnTo>
                  <a:pt x="2200724" y="484779"/>
                </a:lnTo>
                <a:lnTo>
                  <a:pt x="2200724" y="488225"/>
                </a:lnTo>
                <a:lnTo>
                  <a:pt x="2199002" y="490687"/>
                </a:lnTo>
                <a:lnTo>
                  <a:pt x="2199002" y="492410"/>
                </a:lnTo>
                <a:lnTo>
                  <a:pt x="2197278" y="493147"/>
                </a:lnTo>
                <a:lnTo>
                  <a:pt x="2196539" y="492410"/>
                </a:lnTo>
                <a:lnTo>
                  <a:pt x="2194816" y="488964"/>
                </a:lnTo>
                <a:lnTo>
                  <a:pt x="2190632" y="482317"/>
                </a:lnTo>
                <a:lnTo>
                  <a:pt x="2186447" y="474687"/>
                </a:lnTo>
                <a:lnTo>
                  <a:pt x="2187185" y="471241"/>
                </a:lnTo>
                <a:lnTo>
                  <a:pt x="2188909" y="471241"/>
                </a:lnTo>
                <a:lnTo>
                  <a:pt x="2190632" y="470502"/>
                </a:lnTo>
                <a:lnTo>
                  <a:pt x="2191371" y="467056"/>
                </a:lnTo>
                <a:lnTo>
                  <a:pt x="2179063" y="459425"/>
                </a:lnTo>
                <a:lnTo>
                  <a:pt x="2169217" y="447610"/>
                </a:lnTo>
                <a:lnTo>
                  <a:pt x="2163556" y="435056"/>
                </a:lnTo>
                <a:lnTo>
                  <a:pt x="2179309" y="433333"/>
                </a:lnTo>
                <a:lnTo>
                  <a:pt x="2190878" y="429148"/>
                </a:lnTo>
                <a:lnTo>
                  <a:pt x="2196539" y="418318"/>
                </a:lnTo>
                <a:lnTo>
                  <a:pt x="2199002" y="405764"/>
                </a:lnTo>
                <a:lnTo>
                  <a:pt x="2194816" y="404041"/>
                </a:lnTo>
                <a:lnTo>
                  <a:pt x="2190632" y="404041"/>
                </a:lnTo>
                <a:lnTo>
                  <a:pt x="2186447" y="402318"/>
                </a:lnTo>
                <a:close/>
                <a:moveTo>
                  <a:pt x="2024479" y="400349"/>
                </a:moveTo>
                <a:lnTo>
                  <a:pt x="2012911" y="406256"/>
                </a:lnTo>
                <a:lnTo>
                  <a:pt x="1998879" y="410440"/>
                </a:lnTo>
                <a:lnTo>
                  <a:pt x="1998879" y="422256"/>
                </a:lnTo>
                <a:lnTo>
                  <a:pt x="2004541" y="423979"/>
                </a:lnTo>
                <a:lnTo>
                  <a:pt x="2011187" y="424717"/>
                </a:lnTo>
                <a:lnTo>
                  <a:pt x="2020295" y="424717"/>
                </a:lnTo>
                <a:lnTo>
                  <a:pt x="2020295" y="418810"/>
                </a:lnTo>
                <a:lnTo>
                  <a:pt x="2022757" y="414626"/>
                </a:lnTo>
                <a:lnTo>
                  <a:pt x="2024479" y="410440"/>
                </a:lnTo>
                <a:lnTo>
                  <a:pt x="2024479" y="406256"/>
                </a:lnTo>
                <a:lnTo>
                  <a:pt x="2024479" y="402810"/>
                </a:lnTo>
                <a:close/>
                <a:moveTo>
                  <a:pt x="904489" y="392717"/>
                </a:moveTo>
                <a:lnTo>
                  <a:pt x="906951" y="400348"/>
                </a:lnTo>
                <a:lnTo>
                  <a:pt x="908427" y="410440"/>
                </a:lnTo>
                <a:lnTo>
                  <a:pt x="910151" y="418809"/>
                </a:lnTo>
                <a:lnTo>
                  <a:pt x="908427" y="420532"/>
                </a:lnTo>
                <a:lnTo>
                  <a:pt x="906951" y="420532"/>
                </a:lnTo>
                <a:lnTo>
                  <a:pt x="905966" y="420532"/>
                </a:lnTo>
                <a:lnTo>
                  <a:pt x="905966" y="422255"/>
                </a:lnTo>
                <a:lnTo>
                  <a:pt x="904489" y="422255"/>
                </a:lnTo>
                <a:lnTo>
                  <a:pt x="898581" y="422255"/>
                </a:lnTo>
                <a:lnTo>
                  <a:pt x="896858" y="420532"/>
                </a:lnTo>
                <a:lnTo>
                  <a:pt x="896858" y="418809"/>
                </a:lnTo>
                <a:lnTo>
                  <a:pt x="896858" y="418071"/>
                </a:lnTo>
                <a:lnTo>
                  <a:pt x="895381" y="418071"/>
                </a:lnTo>
                <a:lnTo>
                  <a:pt x="894396" y="416348"/>
                </a:lnTo>
                <a:close/>
                <a:moveTo>
                  <a:pt x="583999" y="365149"/>
                </a:moveTo>
                <a:lnTo>
                  <a:pt x="577353" y="375241"/>
                </a:lnTo>
                <a:lnTo>
                  <a:pt x="569969" y="384349"/>
                </a:lnTo>
                <a:lnTo>
                  <a:pt x="565784" y="396903"/>
                </a:lnTo>
                <a:lnTo>
                  <a:pt x="574153" y="396164"/>
                </a:lnTo>
                <a:lnTo>
                  <a:pt x="579815" y="398626"/>
                </a:lnTo>
                <a:lnTo>
                  <a:pt x="583999" y="402810"/>
                </a:lnTo>
                <a:lnTo>
                  <a:pt x="589661" y="410441"/>
                </a:lnTo>
                <a:lnTo>
                  <a:pt x="591385" y="404534"/>
                </a:lnTo>
                <a:lnTo>
                  <a:pt x="591385" y="400349"/>
                </a:lnTo>
                <a:lnTo>
                  <a:pt x="593107" y="396903"/>
                </a:lnTo>
                <a:lnTo>
                  <a:pt x="593107" y="392718"/>
                </a:lnTo>
                <a:lnTo>
                  <a:pt x="600491" y="392718"/>
                </a:lnTo>
                <a:lnTo>
                  <a:pt x="604677" y="402810"/>
                </a:lnTo>
                <a:lnTo>
                  <a:pt x="611323" y="406257"/>
                </a:lnTo>
                <a:lnTo>
                  <a:pt x="616984" y="408718"/>
                </a:lnTo>
                <a:lnTo>
                  <a:pt x="622645" y="412164"/>
                </a:lnTo>
                <a:lnTo>
                  <a:pt x="628306" y="418810"/>
                </a:lnTo>
                <a:lnTo>
                  <a:pt x="622645" y="427918"/>
                </a:lnTo>
                <a:lnTo>
                  <a:pt x="615999" y="438010"/>
                </a:lnTo>
                <a:lnTo>
                  <a:pt x="610338" y="451549"/>
                </a:lnTo>
                <a:lnTo>
                  <a:pt x="605415" y="463364"/>
                </a:lnTo>
                <a:lnTo>
                  <a:pt x="605415" y="470749"/>
                </a:lnTo>
                <a:lnTo>
                  <a:pt x="606400" y="475671"/>
                </a:lnTo>
                <a:lnTo>
                  <a:pt x="606400" y="478134"/>
                </a:lnTo>
                <a:lnTo>
                  <a:pt x="608122" y="479856"/>
                </a:lnTo>
                <a:lnTo>
                  <a:pt x="609846" y="481580"/>
                </a:lnTo>
                <a:lnTo>
                  <a:pt x="610584" y="483302"/>
                </a:lnTo>
                <a:lnTo>
                  <a:pt x="615507" y="484042"/>
                </a:lnTo>
                <a:lnTo>
                  <a:pt x="615507" y="481580"/>
                </a:lnTo>
                <a:lnTo>
                  <a:pt x="617969" y="475671"/>
                </a:lnTo>
                <a:lnTo>
                  <a:pt x="622153" y="466564"/>
                </a:lnTo>
                <a:lnTo>
                  <a:pt x="627076" y="454749"/>
                </a:lnTo>
                <a:lnTo>
                  <a:pt x="631261" y="444656"/>
                </a:lnTo>
                <a:lnTo>
                  <a:pt x="635445" y="436287"/>
                </a:lnTo>
                <a:lnTo>
                  <a:pt x="637169" y="430379"/>
                </a:lnTo>
                <a:lnTo>
                  <a:pt x="647014" y="430379"/>
                </a:lnTo>
                <a:lnTo>
                  <a:pt x="648738" y="446379"/>
                </a:lnTo>
                <a:lnTo>
                  <a:pt x="648738" y="460657"/>
                </a:lnTo>
                <a:lnTo>
                  <a:pt x="648738" y="478379"/>
                </a:lnTo>
                <a:lnTo>
                  <a:pt x="650461" y="497579"/>
                </a:lnTo>
                <a:lnTo>
                  <a:pt x="668677" y="500041"/>
                </a:lnTo>
                <a:lnTo>
                  <a:pt x="676061" y="489210"/>
                </a:lnTo>
                <a:lnTo>
                  <a:pt x="689353" y="481580"/>
                </a:lnTo>
                <a:lnTo>
                  <a:pt x="703383" y="473949"/>
                </a:lnTo>
                <a:lnTo>
                  <a:pt x="718153" y="468041"/>
                </a:lnTo>
                <a:lnTo>
                  <a:pt x="732184" y="462133"/>
                </a:lnTo>
                <a:lnTo>
                  <a:pt x="745476" y="454502"/>
                </a:lnTo>
                <a:lnTo>
                  <a:pt x="751137" y="446133"/>
                </a:lnTo>
                <a:lnTo>
                  <a:pt x="747937" y="446133"/>
                </a:lnTo>
                <a:lnTo>
                  <a:pt x="747198" y="442688"/>
                </a:lnTo>
                <a:lnTo>
                  <a:pt x="747198" y="441949"/>
                </a:lnTo>
                <a:lnTo>
                  <a:pt x="745476" y="440225"/>
                </a:lnTo>
                <a:lnTo>
                  <a:pt x="743752" y="440225"/>
                </a:lnTo>
                <a:lnTo>
                  <a:pt x="742029" y="440225"/>
                </a:lnTo>
                <a:lnTo>
                  <a:pt x="739568" y="438503"/>
                </a:lnTo>
                <a:lnTo>
                  <a:pt x="733906" y="442688"/>
                </a:lnTo>
                <a:lnTo>
                  <a:pt x="724060" y="448595"/>
                </a:lnTo>
                <a:lnTo>
                  <a:pt x="712491" y="457702"/>
                </a:lnTo>
                <a:lnTo>
                  <a:pt x="697722" y="465334"/>
                </a:lnTo>
                <a:lnTo>
                  <a:pt x="684429" y="473703"/>
                </a:lnTo>
                <a:lnTo>
                  <a:pt x="672122" y="479611"/>
                </a:lnTo>
                <a:lnTo>
                  <a:pt x="663014" y="483056"/>
                </a:lnTo>
                <a:lnTo>
                  <a:pt x="660553" y="483795"/>
                </a:lnTo>
                <a:lnTo>
                  <a:pt x="658830" y="483056"/>
                </a:lnTo>
                <a:lnTo>
                  <a:pt x="657107" y="481334"/>
                </a:lnTo>
                <a:lnTo>
                  <a:pt x="657107" y="479611"/>
                </a:lnTo>
                <a:lnTo>
                  <a:pt x="657107" y="477887"/>
                </a:lnTo>
                <a:lnTo>
                  <a:pt x="656368" y="475425"/>
                </a:lnTo>
                <a:lnTo>
                  <a:pt x="660553" y="467794"/>
                </a:lnTo>
                <a:lnTo>
                  <a:pt x="660553" y="461887"/>
                </a:lnTo>
                <a:lnTo>
                  <a:pt x="658830" y="457702"/>
                </a:lnTo>
                <a:lnTo>
                  <a:pt x="657107" y="450071"/>
                </a:lnTo>
                <a:lnTo>
                  <a:pt x="660306" y="441703"/>
                </a:lnTo>
                <a:lnTo>
                  <a:pt x="662031" y="439980"/>
                </a:lnTo>
                <a:lnTo>
                  <a:pt x="662768" y="438257"/>
                </a:lnTo>
                <a:lnTo>
                  <a:pt x="664491" y="436534"/>
                </a:lnTo>
                <a:lnTo>
                  <a:pt x="666215" y="436534"/>
                </a:lnTo>
                <a:lnTo>
                  <a:pt x="667937" y="436534"/>
                </a:lnTo>
                <a:lnTo>
                  <a:pt x="668677" y="435794"/>
                </a:lnTo>
                <a:lnTo>
                  <a:pt x="670399" y="434072"/>
                </a:lnTo>
                <a:lnTo>
                  <a:pt x="670399" y="430626"/>
                </a:lnTo>
                <a:lnTo>
                  <a:pt x="672122" y="426441"/>
                </a:lnTo>
                <a:lnTo>
                  <a:pt x="672122" y="418810"/>
                </a:lnTo>
                <a:lnTo>
                  <a:pt x="664738" y="414626"/>
                </a:lnTo>
                <a:lnTo>
                  <a:pt x="657353" y="412903"/>
                </a:lnTo>
                <a:lnTo>
                  <a:pt x="651692" y="412903"/>
                </a:lnTo>
                <a:lnTo>
                  <a:pt x="645046" y="410441"/>
                </a:lnTo>
                <a:lnTo>
                  <a:pt x="634215" y="402810"/>
                </a:lnTo>
                <a:lnTo>
                  <a:pt x="627569" y="396164"/>
                </a:lnTo>
                <a:lnTo>
                  <a:pt x="622645" y="387057"/>
                </a:lnTo>
                <a:lnTo>
                  <a:pt x="616984" y="378687"/>
                </a:lnTo>
                <a:lnTo>
                  <a:pt x="610338" y="372780"/>
                </a:lnTo>
                <a:lnTo>
                  <a:pt x="598769" y="366872"/>
                </a:lnTo>
                <a:close/>
                <a:moveTo>
                  <a:pt x="873963" y="351856"/>
                </a:moveTo>
                <a:lnTo>
                  <a:pt x="884795" y="352594"/>
                </a:lnTo>
                <a:lnTo>
                  <a:pt x="891195" y="354317"/>
                </a:lnTo>
                <a:lnTo>
                  <a:pt x="900304" y="357764"/>
                </a:lnTo>
                <a:lnTo>
                  <a:pt x="900304" y="364410"/>
                </a:lnTo>
                <a:lnTo>
                  <a:pt x="897102" y="364410"/>
                </a:lnTo>
                <a:lnTo>
                  <a:pt x="894641" y="366134"/>
                </a:lnTo>
                <a:lnTo>
                  <a:pt x="891195" y="366134"/>
                </a:lnTo>
                <a:lnTo>
                  <a:pt x="888733" y="366134"/>
                </a:lnTo>
                <a:lnTo>
                  <a:pt x="884795" y="367611"/>
                </a:lnTo>
                <a:lnTo>
                  <a:pt x="881348" y="363426"/>
                </a:lnTo>
                <a:lnTo>
                  <a:pt x="879625" y="361948"/>
                </a:lnTo>
                <a:lnTo>
                  <a:pt x="878887" y="358503"/>
                </a:lnTo>
                <a:lnTo>
                  <a:pt x="877164" y="356041"/>
                </a:lnTo>
                <a:close/>
                <a:moveTo>
                  <a:pt x="941657" y="335118"/>
                </a:moveTo>
                <a:lnTo>
                  <a:pt x="950765" y="335118"/>
                </a:lnTo>
                <a:lnTo>
                  <a:pt x="950765" y="346932"/>
                </a:lnTo>
                <a:lnTo>
                  <a:pt x="950765" y="357763"/>
                </a:lnTo>
                <a:lnTo>
                  <a:pt x="952488" y="366133"/>
                </a:lnTo>
                <a:lnTo>
                  <a:pt x="953226" y="375979"/>
                </a:lnTo>
                <a:lnTo>
                  <a:pt x="969718" y="375979"/>
                </a:lnTo>
                <a:lnTo>
                  <a:pt x="969718" y="392717"/>
                </a:lnTo>
                <a:lnTo>
                  <a:pt x="976365" y="392717"/>
                </a:lnTo>
                <a:lnTo>
                  <a:pt x="978089" y="393456"/>
                </a:lnTo>
                <a:lnTo>
                  <a:pt x="979811" y="393456"/>
                </a:lnTo>
                <a:lnTo>
                  <a:pt x="981288" y="393456"/>
                </a:lnTo>
                <a:lnTo>
                  <a:pt x="982272" y="393456"/>
                </a:lnTo>
                <a:lnTo>
                  <a:pt x="983750" y="393456"/>
                </a:lnTo>
                <a:lnTo>
                  <a:pt x="985472" y="395179"/>
                </a:lnTo>
                <a:lnTo>
                  <a:pt x="983750" y="404286"/>
                </a:lnTo>
                <a:lnTo>
                  <a:pt x="981288" y="414379"/>
                </a:lnTo>
                <a:lnTo>
                  <a:pt x="979811" y="424225"/>
                </a:lnTo>
                <a:lnTo>
                  <a:pt x="976365" y="424225"/>
                </a:lnTo>
                <a:lnTo>
                  <a:pt x="975626" y="421025"/>
                </a:lnTo>
                <a:lnTo>
                  <a:pt x="975626" y="420041"/>
                </a:lnTo>
                <a:lnTo>
                  <a:pt x="975626" y="418563"/>
                </a:lnTo>
                <a:lnTo>
                  <a:pt x="973904" y="416841"/>
                </a:lnTo>
                <a:lnTo>
                  <a:pt x="973904" y="415117"/>
                </a:lnTo>
                <a:lnTo>
                  <a:pt x="972180" y="418563"/>
                </a:lnTo>
                <a:lnTo>
                  <a:pt x="970703" y="418563"/>
                </a:lnTo>
                <a:lnTo>
                  <a:pt x="970703" y="420041"/>
                </a:lnTo>
                <a:lnTo>
                  <a:pt x="969718" y="420041"/>
                </a:lnTo>
                <a:lnTo>
                  <a:pt x="966519" y="421025"/>
                </a:lnTo>
                <a:lnTo>
                  <a:pt x="966519" y="415117"/>
                </a:lnTo>
                <a:lnTo>
                  <a:pt x="968242" y="414379"/>
                </a:lnTo>
                <a:lnTo>
                  <a:pt x="968242" y="412655"/>
                </a:lnTo>
                <a:lnTo>
                  <a:pt x="969718" y="410932"/>
                </a:lnTo>
                <a:lnTo>
                  <a:pt x="969718" y="408471"/>
                </a:lnTo>
                <a:lnTo>
                  <a:pt x="969718" y="405271"/>
                </a:lnTo>
                <a:lnTo>
                  <a:pt x="966519" y="405271"/>
                </a:lnTo>
                <a:lnTo>
                  <a:pt x="960611" y="410932"/>
                </a:lnTo>
                <a:lnTo>
                  <a:pt x="954950" y="416841"/>
                </a:lnTo>
                <a:lnTo>
                  <a:pt x="947565" y="421025"/>
                </a:lnTo>
                <a:lnTo>
                  <a:pt x="947565" y="416841"/>
                </a:lnTo>
                <a:lnTo>
                  <a:pt x="947565" y="412655"/>
                </a:lnTo>
                <a:lnTo>
                  <a:pt x="947565" y="410932"/>
                </a:lnTo>
                <a:lnTo>
                  <a:pt x="946580" y="410194"/>
                </a:lnTo>
                <a:lnTo>
                  <a:pt x="943380" y="408471"/>
                </a:lnTo>
                <a:lnTo>
                  <a:pt x="939195" y="408471"/>
                </a:lnTo>
                <a:lnTo>
                  <a:pt x="931811" y="408471"/>
                </a:lnTo>
                <a:lnTo>
                  <a:pt x="929349" y="408471"/>
                </a:lnTo>
                <a:lnTo>
                  <a:pt x="925903" y="408471"/>
                </a:lnTo>
                <a:lnTo>
                  <a:pt x="921965" y="406748"/>
                </a:lnTo>
                <a:lnTo>
                  <a:pt x="917780" y="406748"/>
                </a:lnTo>
                <a:lnTo>
                  <a:pt x="913595" y="405271"/>
                </a:lnTo>
                <a:lnTo>
                  <a:pt x="910395" y="402564"/>
                </a:lnTo>
                <a:lnTo>
                  <a:pt x="918519" y="390994"/>
                </a:lnTo>
                <a:lnTo>
                  <a:pt x="927626" y="373518"/>
                </a:lnTo>
                <a:lnTo>
                  <a:pt x="933534" y="354317"/>
                </a:lnTo>
                <a:close/>
                <a:moveTo>
                  <a:pt x="668181" y="284409"/>
                </a:moveTo>
                <a:lnTo>
                  <a:pt x="680489" y="284409"/>
                </a:lnTo>
                <a:lnTo>
                  <a:pt x="680489" y="290318"/>
                </a:lnTo>
                <a:lnTo>
                  <a:pt x="678027" y="290318"/>
                </a:lnTo>
                <a:lnTo>
                  <a:pt x="676551" y="291793"/>
                </a:lnTo>
                <a:lnTo>
                  <a:pt x="675565" y="291793"/>
                </a:lnTo>
                <a:lnTo>
                  <a:pt x="674089" y="291793"/>
                </a:lnTo>
                <a:lnTo>
                  <a:pt x="672366" y="293518"/>
                </a:lnTo>
                <a:lnTo>
                  <a:pt x="668181" y="293518"/>
                </a:lnTo>
                <a:close/>
                <a:moveTo>
                  <a:pt x="3216347" y="266933"/>
                </a:moveTo>
                <a:lnTo>
                  <a:pt x="3218071" y="268656"/>
                </a:lnTo>
                <a:lnTo>
                  <a:pt x="3218071" y="270133"/>
                </a:lnTo>
                <a:lnTo>
                  <a:pt x="3218809" y="270133"/>
                </a:lnTo>
                <a:lnTo>
                  <a:pt x="3218809" y="271856"/>
                </a:lnTo>
                <a:lnTo>
                  <a:pt x="3223732" y="281948"/>
                </a:lnTo>
                <a:lnTo>
                  <a:pt x="3223732" y="295240"/>
                </a:lnTo>
                <a:lnTo>
                  <a:pt x="3223732" y="307795"/>
                </a:lnTo>
                <a:lnTo>
                  <a:pt x="3226193" y="322810"/>
                </a:lnTo>
                <a:lnTo>
                  <a:pt x="3230377" y="336841"/>
                </a:lnTo>
                <a:lnTo>
                  <a:pt x="3237763" y="352595"/>
                </a:lnTo>
                <a:lnTo>
                  <a:pt x="3241947" y="370071"/>
                </a:lnTo>
                <a:lnTo>
                  <a:pt x="3222255" y="367609"/>
                </a:lnTo>
                <a:lnTo>
                  <a:pt x="3222255" y="380902"/>
                </a:lnTo>
                <a:lnTo>
                  <a:pt x="3224717" y="390995"/>
                </a:lnTo>
                <a:lnTo>
                  <a:pt x="3226193" y="401087"/>
                </a:lnTo>
                <a:lnTo>
                  <a:pt x="3229639" y="415117"/>
                </a:lnTo>
                <a:lnTo>
                  <a:pt x="3224717" y="415117"/>
                </a:lnTo>
                <a:lnTo>
                  <a:pt x="3222255" y="415117"/>
                </a:lnTo>
                <a:lnTo>
                  <a:pt x="3218071" y="416840"/>
                </a:lnTo>
                <a:lnTo>
                  <a:pt x="3216347" y="416840"/>
                </a:lnTo>
                <a:lnTo>
                  <a:pt x="3213885" y="418564"/>
                </a:lnTo>
                <a:lnTo>
                  <a:pt x="3210686" y="410194"/>
                </a:lnTo>
                <a:lnTo>
                  <a:pt x="3208962" y="393456"/>
                </a:lnTo>
                <a:lnTo>
                  <a:pt x="3208962" y="375240"/>
                </a:lnTo>
                <a:lnTo>
                  <a:pt x="3208962" y="354317"/>
                </a:lnTo>
                <a:lnTo>
                  <a:pt x="3208962" y="335117"/>
                </a:lnTo>
                <a:lnTo>
                  <a:pt x="3206501" y="322810"/>
                </a:lnTo>
                <a:lnTo>
                  <a:pt x="3206501" y="290318"/>
                </a:lnTo>
                <a:lnTo>
                  <a:pt x="3208962" y="286133"/>
                </a:lnTo>
                <a:lnTo>
                  <a:pt x="3210686" y="283672"/>
                </a:lnTo>
                <a:lnTo>
                  <a:pt x="3212163" y="280226"/>
                </a:lnTo>
                <a:lnTo>
                  <a:pt x="3213885" y="277764"/>
                </a:lnTo>
                <a:lnTo>
                  <a:pt x="3214625" y="272841"/>
                </a:lnTo>
                <a:close/>
                <a:moveTo>
                  <a:pt x="1521837" y="255363"/>
                </a:moveTo>
                <a:lnTo>
                  <a:pt x="1525037" y="272840"/>
                </a:lnTo>
                <a:lnTo>
                  <a:pt x="1523314" y="290318"/>
                </a:lnTo>
                <a:lnTo>
                  <a:pt x="1519375" y="309272"/>
                </a:lnTo>
                <a:lnTo>
                  <a:pt x="1507806" y="315179"/>
                </a:lnTo>
                <a:lnTo>
                  <a:pt x="1496976" y="318626"/>
                </a:lnTo>
                <a:lnTo>
                  <a:pt x="1481221" y="319364"/>
                </a:lnTo>
                <a:lnTo>
                  <a:pt x="1481221" y="312718"/>
                </a:lnTo>
                <a:lnTo>
                  <a:pt x="1485406" y="301887"/>
                </a:lnTo>
                <a:lnTo>
                  <a:pt x="1485406" y="289332"/>
                </a:lnTo>
                <a:lnTo>
                  <a:pt x="1484667" y="274317"/>
                </a:lnTo>
                <a:lnTo>
                  <a:pt x="1492791" y="266933"/>
                </a:lnTo>
                <a:lnTo>
                  <a:pt x="1500175" y="261025"/>
                </a:lnTo>
                <a:lnTo>
                  <a:pt x="1508545" y="256841"/>
                </a:lnTo>
                <a:close/>
                <a:moveTo>
                  <a:pt x="1728358" y="232718"/>
                </a:moveTo>
                <a:lnTo>
                  <a:pt x="1730820" y="235180"/>
                </a:lnTo>
                <a:lnTo>
                  <a:pt x="1732542" y="236903"/>
                </a:lnTo>
                <a:lnTo>
                  <a:pt x="1734019" y="238625"/>
                </a:lnTo>
                <a:lnTo>
                  <a:pt x="1734019" y="241087"/>
                </a:lnTo>
                <a:lnTo>
                  <a:pt x="1734019" y="244533"/>
                </a:lnTo>
                <a:lnTo>
                  <a:pt x="1735004" y="248472"/>
                </a:lnTo>
                <a:lnTo>
                  <a:pt x="1734019" y="251179"/>
                </a:lnTo>
                <a:lnTo>
                  <a:pt x="1732542" y="252656"/>
                </a:lnTo>
                <a:lnTo>
                  <a:pt x="1732542" y="254379"/>
                </a:lnTo>
                <a:lnTo>
                  <a:pt x="1732542" y="255364"/>
                </a:lnTo>
                <a:lnTo>
                  <a:pt x="1732542" y="256841"/>
                </a:lnTo>
                <a:lnTo>
                  <a:pt x="1730820" y="258564"/>
                </a:lnTo>
                <a:lnTo>
                  <a:pt x="1729095" y="260287"/>
                </a:lnTo>
                <a:lnTo>
                  <a:pt x="1728358" y="260287"/>
                </a:lnTo>
                <a:lnTo>
                  <a:pt x="1726634" y="260287"/>
                </a:lnTo>
                <a:lnTo>
                  <a:pt x="1724911" y="261025"/>
                </a:lnTo>
                <a:lnTo>
                  <a:pt x="1722449" y="261025"/>
                </a:lnTo>
                <a:lnTo>
                  <a:pt x="1717527" y="251179"/>
                </a:lnTo>
                <a:lnTo>
                  <a:pt x="1715066" y="246995"/>
                </a:lnTo>
                <a:lnTo>
                  <a:pt x="1715066" y="245271"/>
                </a:lnTo>
                <a:lnTo>
                  <a:pt x="1716788" y="244533"/>
                </a:lnTo>
                <a:lnTo>
                  <a:pt x="1722449" y="241087"/>
                </a:lnTo>
                <a:close/>
                <a:moveTo>
                  <a:pt x="1794327" y="200225"/>
                </a:moveTo>
                <a:lnTo>
                  <a:pt x="1798512" y="201949"/>
                </a:lnTo>
                <a:lnTo>
                  <a:pt x="1800236" y="201949"/>
                </a:lnTo>
                <a:lnTo>
                  <a:pt x="1801712" y="201949"/>
                </a:lnTo>
                <a:lnTo>
                  <a:pt x="1802696" y="203671"/>
                </a:lnTo>
                <a:lnTo>
                  <a:pt x="1804420" y="203671"/>
                </a:lnTo>
                <a:lnTo>
                  <a:pt x="1801712" y="207856"/>
                </a:lnTo>
                <a:lnTo>
                  <a:pt x="1800236" y="212041"/>
                </a:lnTo>
                <a:lnTo>
                  <a:pt x="1798512" y="216226"/>
                </a:lnTo>
                <a:lnTo>
                  <a:pt x="1796050" y="221148"/>
                </a:lnTo>
                <a:lnTo>
                  <a:pt x="1791127" y="223610"/>
                </a:lnTo>
                <a:lnTo>
                  <a:pt x="1791127" y="219426"/>
                </a:lnTo>
                <a:lnTo>
                  <a:pt x="1790143" y="219426"/>
                </a:lnTo>
                <a:lnTo>
                  <a:pt x="1790143" y="217703"/>
                </a:lnTo>
                <a:lnTo>
                  <a:pt x="1790143" y="216226"/>
                </a:lnTo>
                <a:lnTo>
                  <a:pt x="1788665" y="213518"/>
                </a:lnTo>
                <a:lnTo>
                  <a:pt x="1791127" y="210317"/>
                </a:lnTo>
                <a:lnTo>
                  <a:pt x="1792850" y="207856"/>
                </a:lnTo>
                <a:lnTo>
                  <a:pt x="1794327" y="204411"/>
                </a:lnTo>
                <a:close/>
                <a:moveTo>
                  <a:pt x="1846512" y="178564"/>
                </a:moveTo>
                <a:lnTo>
                  <a:pt x="1858082" y="184473"/>
                </a:lnTo>
                <a:lnTo>
                  <a:pt x="1858082" y="188657"/>
                </a:lnTo>
                <a:lnTo>
                  <a:pt x="1854635" y="188657"/>
                </a:lnTo>
                <a:lnTo>
                  <a:pt x="1853897" y="190380"/>
                </a:lnTo>
                <a:lnTo>
                  <a:pt x="1850696" y="191858"/>
                </a:lnTo>
                <a:lnTo>
                  <a:pt x="1848973" y="194565"/>
                </a:lnTo>
                <a:lnTo>
                  <a:pt x="1846512" y="192842"/>
                </a:lnTo>
                <a:lnTo>
                  <a:pt x="1844788" y="192842"/>
                </a:lnTo>
                <a:lnTo>
                  <a:pt x="1843065" y="191858"/>
                </a:lnTo>
                <a:lnTo>
                  <a:pt x="1842326" y="191858"/>
                </a:lnTo>
                <a:lnTo>
                  <a:pt x="1842326" y="188657"/>
                </a:lnTo>
                <a:lnTo>
                  <a:pt x="1842326" y="186196"/>
                </a:lnTo>
                <a:lnTo>
                  <a:pt x="1842326" y="184473"/>
                </a:lnTo>
                <a:lnTo>
                  <a:pt x="1843065" y="181026"/>
                </a:lnTo>
                <a:close/>
                <a:moveTo>
                  <a:pt x="1537343" y="171179"/>
                </a:moveTo>
                <a:lnTo>
                  <a:pt x="1552360" y="172902"/>
                </a:lnTo>
                <a:lnTo>
                  <a:pt x="1563928" y="175364"/>
                </a:lnTo>
                <a:lnTo>
                  <a:pt x="1560482" y="181025"/>
                </a:lnTo>
                <a:lnTo>
                  <a:pt x="1559006" y="186194"/>
                </a:lnTo>
                <a:lnTo>
                  <a:pt x="1556544" y="190379"/>
                </a:lnTo>
                <a:lnTo>
                  <a:pt x="1553098" y="194564"/>
                </a:lnTo>
                <a:lnTo>
                  <a:pt x="1560482" y="194564"/>
                </a:lnTo>
                <a:lnTo>
                  <a:pt x="1563928" y="191856"/>
                </a:lnTo>
                <a:lnTo>
                  <a:pt x="1564667" y="190379"/>
                </a:lnTo>
                <a:lnTo>
                  <a:pt x="1568112" y="188656"/>
                </a:lnTo>
                <a:lnTo>
                  <a:pt x="1572051" y="188656"/>
                </a:lnTo>
                <a:lnTo>
                  <a:pt x="1572051" y="194564"/>
                </a:lnTo>
                <a:lnTo>
                  <a:pt x="1576236" y="204410"/>
                </a:lnTo>
                <a:lnTo>
                  <a:pt x="1573774" y="213517"/>
                </a:lnTo>
                <a:lnTo>
                  <a:pt x="1569590" y="221148"/>
                </a:lnTo>
                <a:lnTo>
                  <a:pt x="1566390" y="227055"/>
                </a:lnTo>
                <a:lnTo>
                  <a:pt x="1573774" y="233702"/>
                </a:lnTo>
                <a:lnTo>
                  <a:pt x="1581159" y="244532"/>
                </a:lnTo>
                <a:lnTo>
                  <a:pt x="1591251" y="255363"/>
                </a:lnTo>
                <a:lnTo>
                  <a:pt x="1599374" y="268655"/>
                </a:lnTo>
                <a:lnTo>
                  <a:pt x="1606758" y="283671"/>
                </a:lnTo>
                <a:lnTo>
                  <a:pt x="1612667" y="295978"/>
                </a:lnTo>
                <a:lnTo>
                  <a:pt x="1614389" y="306810"/>
                </a:lnTo>
                <a:lnTo>
                  <a:pt x="1610943" y="316901"/>
                </a:lnTo>
                <a:lnTo>
                  <a:pt x="1604297" y="322809"/>
                </a:lnTo>
                <a:lnTo>
                  <a:pt x="1595190" y="328471"/>
                </a:lnTo>
                <a:lnTo>
                  <a:pt x="1581159" y="334379"/>
                </a:lnTo>
                <a:lnTo>
                  <a:pt x="1563928" y="338563"/>
                </a:lnTo>
                <a:lnTo>
                  <a:pt x="1548175" y="342747"/>
                </a:lnTo>
                <a:lnTo>
                  <a:pt x="1534883" y="344470"/>
                </a:lnTo>
                <a:lnTo>
                  <a:pt x="1534883" y="341025"/>
                </a:lnTo>
                <a:lnTo>
                  <a:pt x="1543251" y="328471"/>
                </a:lnTo>
                <a:lnTo>
                  <a:pt x="1550635" y="315178"/>
                </a:lnTo>
                <a:lnTo>
                  <a:pt x="1546451" y="315178"/>
                </a:lnTo>
                <a:lnTo>
                  <a:pt x="1543251" y="315178"/>
                </a:lnTo>
                <a:lnTo>
                  <a:pt x="1540790" y="313456"/>
                </a:lnTo>
                <a:lnTo>
                  <a:pt x="1540790" y="312716"/>
                </a:lnTo>
                <a:lnTo>
                  <a:pt x="1539067" y="310994"/>
                </a:lnTo>
                <a:lnTo>
                  <a:pt x="1539067" y="307793"/>
                </a:lnTo>
                <a:lnTo>
                  <a:pt x="1537343" y="303609"/>
                </a:lnTo>
                <a:lnTo>
                  <a:pt x="1548175" y="301147"/>
                </a:lnTo>
                <a:lnTo>
                  <a:pt x="1544974" y="297701"/>
                </a:lnTo>
                <a:lnTo>
                  <a:pt x="1544974" y="295978"/>
                </a:lnTo>
                <a:lnTo>
                  <a:pt x="1543251" y="295240"/>
                </a:lnTo>
                <a:lnTo>
                  <a:pt x="1543251" y="293517"/>
                </a:lnTo>
                <a:lnTo>
                  <a:pt x="1544974" y="290317"/>
                </a:lnTo>
                <a:lnTo>
                  <a:pt x="1546451" y="284409"/>
                </a:lnTo>
                <a:lnTo>
                  <a:pt x="1550635" y="280225"/>
                </a:lnTo>
                <a:lnTo>
                  <a:pt x="1553098" y="277763"/>
                </a:lnTo>
                <a:lnTo>
                  <a:pt x="1559006" y="274317"/>
                </a:lnTo>
                <a:lnTo>
                  <a:pt x="1563928" y="271855"/>
                </a:lnTo>
                <a:lnTo>
                  <a:pt x="1562205" y="268655"/>
                </a:lnTo>
                <a:lnTo>
                  <a:pt x="1562205" y="266932"/>
                </a:lnTo>
                <a:lnTo>
                  <a:pt x="1560482" y="266194"/>
                </a:lnTo>
                <a:lnTo>
                  <a:pt x="1560482" y="264471"/>
                </a:lnTo>
                <a:lnTo>
                  <a:pt x="1559006" y="261025"/>
                </a:lnTo>
                <a:lnTo>
                  <a:pt x="1558021" y="261025"/>
                </a:lnTo>
                <a:lnTo>
                  <a:pt x="1558021" y="260286"/>
                </a:lnTo>
                <a:lnTo>
                  <a:pt x="1556544" y="260286"/>
                </a:lnTo>
                <a:lnTo>
                  <a:pt x="1553098" y="258562"/>
                </a:lnTo>
                <a:lnTo>
                  <a:pt x="1550635" y="256840"/>
                </a:lnTo>
                <a:lnTo>
                  <a:pt x="1548913" y="256840"/>
                </a:lnTo>
                <a:lnTo>
                  <a:pt x="1546451" y="256840"/>
                </a:lnTo>
                <a:lnTo>
                  <a:pt x="1543251" y="255363"/>
                </a:lnTo>
                <a:lnTo>
                  <a:pt x="1540790" y="255363"/>
                </a:lnTo>
                <a:lnTo>
                  <a:pt x="1540790" y="254379"/>
                </a:lnTo>
                <a:lnTo>
                  <a:pt x="1539067" y="252656"/>
                </a:lnTo>
                <a:lnTo>
                  <a:pt x="1539067" y="251178"/>
                </a:lnTo>
                <a:lnTo>
                  <a:pt x="1539067" y="248471"/>
                </a:lnTo>
                <a:lnTo>
                  <a:pt x="1537343" y="245271"/>
                </a:lnTo>
                <a:lnTo>
                  <a:pt x="1539067" y="244532"/>
                </a:lnTo>
                <a:lnTo>
                  <a:pt x="1539067" y="242810"/>
                </a:lnTo>
                <a:lnTo>
                  <a:pt x="1540790" y="241086"/>
                </a:lnTo>
                <a:lnTo>
                  <a:pt x="1540790" y="239364"/>
                </a:lnTo>
                <a:lnTo>
                  <a:pt x="1540790" y="236902"/>
                </a:lnTo>
                <a:lnTo>
                  <a:pt x="1537343" y="236902"/>
                </a:lnTo>
                <a:lnTo>
                  <a:pt x="1536605" y="239364"/>
                </a:lnTo>
                <a:lnTo>
                  <a:pt x="1536605" y="241086"/>
                </a:lnTo>
                <a:lnTo>
                  <a:pt x="1536605" y="242810"/>
                </a:lnTo>
                <a:lnTo>
                  <a:pt x="1534883" y="242810"/>
                </a:lnTo>
                <a:lnTo>
                  <a:pt x="1533405" y="244532"/>
                </a:lnTo>
                <a:lnTo>
                  <a:pt x="1531682" y="245271"/>
                </a:lnTo>
                <a:lnTo>
                  <a:pt x="1529221" y="230994"/>
                </a:lnTo>
                <a:lnTo>
                  <a:pt x="1525774" y="217702"/>
                </a:lnTo>
                <a:lnTo>
                  <a:pt x="1525036" y="207856"/>
                </a:lnTo>
                <a:lnTo>
                  <a:pt x="1527497" y="200225"/>
                </a:lnTo>
                <a:lnTo>
                  <a:pt x="1531682" y="192840"/>
                </a:lnTo>
                <a:lnTo>
                  <a:pt x="1536605" y="184471"/>
                </a:lnTo>
                <a:close/>
                <a:moveTo>
                  <a:pt x="683935" y="95365"/>
                </a:moveTo>
                <a:lnTo>
                  <a:pt x="688119" y="98810"/>
                </a:lnTo>
                <a:lnTo>
                  <a:pt x="692058" y="102749"/>
                </a:lnTo>
                <a:lnTo>
                  <a:pt x="695504" y="108657"/>
                </a:lnTo>
                <a:lnTo>
                  <a:pt x="697227" y="114565"/>
                </a:lnTo>
                <a:lnTo>
                  <a:pt x="693781" y="114565"/>
                </a:lnTo>
                <a:lnTo>
                  <a:pt x="691319" y="116288"/>
                </a:lnTo>
                <a:lnTo>
                  <a:pt x="689596" y="116288"/>
                </a:lnTo>
                <a:lnTo>
                  <a:pt x="685657" y="117765"/>
                </a:lnTo>
                <a:lnTo>
                  <a:pt x="680488" y="117765"/>
                </a:lnTo>
                <a:lnTo>
                  <a:pt x="680488" y="114565"/>
                </a:lnTo>
                <a:lnTo>
                  <a:pt x="679750" y="114565"/>
                </a:lnTo>
                <a:lnTo>
                  <a:pt x="679750" y="112843"/>
                </a:lnTo>
                <a:lnTo>
                  <a:pt x="678027" y="112103"/>
                </a:lnTo>
                <a:lnTo>
                  <a:pt x="679750" y="108657"/>
                </a:lnTo>
                <a:lnTo>
                  <a:pt x="679750" y="106934"/>
                </a:lnTo>
                <a:lnTo>
                  <a:pt x="679750" y="106196"/>
                </a:lnTo>
                <a:lnTo>
                  <a:pt x="680488" y="104473"/>
                </a:lnTo>
                <a:close/>
                <a:moveTo>
                  <a:pt x="659074" y="85274"/>
                </a:moveTo>
                <a:lnTo>
                  <a:pt x="662520" y="88719"/>
                </a:lnTo>
                <a:lnTo>
                  <a:pt x="663997" y="90442"/>
                </a:lnTo>
                <a:lnTo>
                  <a:pt x="663997" y="91181"/>
                </a:lnTo>
                <a:lnTo>
                  <a:pt x="664982" y="94627"/>
                </a:lnTo>
                <a:lnTo>
                  <a:pt x="664982" y="97088"/>
                </a:lnTo>
                <a:lnTo>
                  <a:pt x="664982" y="101273"/>
                </a:lnTo>
                <a:lnTo>
                  <a:pt x="662520" y="101273"/>
                </a:lnTo>
                <a:lnTo>
                  <a:pt x="662520" y="104473"/>
                </a:lnTo>
                <a:lnTo>
                  <a:pt x="656613" y="102751"/>
                </a:lnTo>
                <a:lnTo>
                  <a:pt x="650951" y="101273"/>
                </a:lnTo>
                <a:lnTo>
                  <a:pt x="646766" y="98812"/>
                </a:lnTo>
                <a:lnTo>
                  <a:pt x="643320" y="98812"/>
                </a:lnTo>
                <a:lnTo>
                  <a:pt x="643320" y="95365"/>
                </a:lnTo>
                <a:lnTo>
                  <a:pt x="649228" y="92904"/>
                </a:lnTo>
                <a:lnTo>
                  <a:pt x="654889" y="90442"/>
                </a:lnTo>
                <a:close/>
                <a:moveTo>
                  <a:pt x="722827" y="59426"/>
                </a:moveTo>
                <a:lnTo>
                  <a:pt x="726028" y="61150"/>
                </a:lnTo>
                <a:lnTo>
                  <a:pt x="726766" y="62135"/>
                </a:lnTo>
                <a:lnTo>
                  <a:pt x="728489" y="63611"/>
                </a:lnTo>
                <a:lnTo>
                  <a:pt x="731935" y="63611"/>
                </a:lnTo>
                <a:lnTo>
                  <a:pt x="731935" y="65335"/>
                </a:lnTo>
                <a:lnTo>
                  <a:pt x="731935" y="67057"/>
                </a:lnTo>
                <a:lnTo>
                  <a:pt x="730213" y="67796"/>
                </a:lnTo>
                <a:lnTo>
                  <a:pt x="728489" y="69519"/>
                </a:lnTo>
                <a:lnTo>
                  <a:pt x="726766" y="71242"/>
                </a:lnTo>
                <a:lnTo>
                  <a:pt x="726028" y="71242"/>
                </a:lnTo>
                <a:lnTo>
                  <a:pt x="724304" y="72966"/>
                </a:lnTo>
                <a:lnTo>
                  <a:pt x="722827" y="72966"/>
                </a:lnTo>
                <a:lnTo>
                  <a:pt x="720366" y="72966"/>
                </a:lnTo>
                <a:lnTo>
                  <a:pt x="720366" y="67796"/>
                </a:lnTo>
                <a:lnTo>
                  <a:pt x="720366" y="65335"/>
                </a:lnTo>
                <a:lnTo>
                  <a:pt x="721104" y="63611"/>
                </a:lnTo>
                <a:close/>
                <a:moveTo>
                  <a:pt x="633474" y="8720"/>
                </a:moveTo>
                <a:lnTo>
                  <a:pt x="633474" y="15366"/>
                </a:lnTo>
                <a:lnTo>
                  <a:pt x="635197" y="18812"/>
                </a:lnTo>
                <a:lnTo>
                  <a:pt x="635936" y="21274"/>
                </a:lnTo>
                <a:lnTo>
                  <a:pt x="635936" y="26197"/>
                </a:lnTo>
                <a:lnTo>
                  <a:pt x="635936" y="32104"/>
                </a:lnTo>
                <a:lnTo>
                  <a:pt x="652428" y="32104"/>
                </a:lnTo>
                <a:lnTo>
                  <a:pt x="666459" y="47859"/>
                </a:lnTo>
                <a:lnTo>
                  <a:pt x="680489" y="63611"/>
                </a:lnTo>
                <a:lnTo>
                  <a:pt x="680489" y="65336"/>
                </a:lnTo>
                <a:lnTo>
                  <a:pt x="679752" y="67058"/>
                </a:lnTo>
                <a:lnTo>
                  <a:pt x="679752" y="67796"/>
                </a:lnTo>
                <a:lnTo>
                  <a:pt x="678028" y="69520"/>
                </a:lnTo>
                <a:lnTo>
                  <a:pt x="675566" y="72966"/>
                </a:lnTo>
                <a:lnTo>
                  <a:pt x="674090" y="73704"/>
                </a:lnTo>
                <a:lnTo>
                  <a:pt x="672367" y="75428"/>
                </a:lnTo>
                <a:lnTo>
                  <a:pt x="670643" y="75428"/>
                </a:lnTo>
                <a:lnTo>
                  <a:pt x="666459" y="75428"/>
                </a:lnTo>
                <a:lnTo>
                  <a:pt x="662520" y="77151"/>
                </a:lnTo>
                <a:lnTo>
                  <a:pt x="662520" y="72966"/>
                </a:lnTo>
                <a:lnTo>
                  <a:pt x="662520" y="67796"/>
                </a:lnTo>
                <a:lnTo>
                  <a:pt x="662520" y="65336"/>
                </a:lnTo>
                <a:lnTo>
                  <a:pt x="662520" y="63611"/>
                </a:lnTo>
                <a:lnTo>
                  <a:pt x="659074" y="61151"/>
                </a:lnTo>
                <a:lnTo>
                  <a:pt x="656613" y="59427"/>
                </a:lnTo>
                <a:lnTo>
                  <a:pt x="652428" y="56227"/>
                </a:lnTo>
                <a:lnTo>
                  <a:pt x="647505" y="67796"/>
                </a:lnTo>
                <a:lnTo>
                  <a:pt x="639381" y="75428"/>
                </a:lnTo>
                <a:lnTo>
                  <a:pt x="627813" y="79612"/>
                </a:lnTo>
                <a:lnTo>
                  <a:pt x="627813" y="75428"/>
                </a:lnTo>
                <a:lnTo>
                  <a:pt x="627813" y="72966"/>
                </a:lnTo>
                <a:lnTo>
                  <a:pt x="629290" y="69520"/>
                </a:lnTo>
                <a:lnTo>
                  <a:pt x="627813" y="67058"/>
                </a:lnTo>
                <a:lnTo>
                  <a:pt x="626089" y="63611"/>
                </a:lnTo>
                <a:lnTo>
                  <a:pt x="624367" y="59427"/>
                </a:lnTo>
                <a:lnTo>
                  <a:pt x="620182" y="57950"/>
                </a:lnTo>
                <a:lnTo>
                  <a:pt x="617720" y="56227"/>
                </a:lnTo>
                <a:lnTo>
                  <a:pt x="614520" y="56227"/>
                </a:lnTo>
                <a:lnTo>
                  <a:pt x="612058" y="55490"/>
                </a:lnTo>
                <a:lnTo>
                  <a:pt x="610335" y="55490"/>
                </a:lnTo>
                <a:lnTo>
                  <a:pt x="607135" y="53766"/>
                </a:lnTo>
                <a:lnTo>
                  <a:pt x="604674" y="50319"/>
                </a:lnTo>
                <a:lnTo>
                  <a:pt x="612797" y="40474"/>
                </a:lnTo>
                <a:lnTo>
                  <a:pt x="618704" y="28658"/>
                </a:lnTo>
                <a:lnTo>
                  <a:pt x="624367" y="17089"/>
                </a:lnTo>
                <a:close/>
                <a:moveTo>
                  <a:pt x="3641951" y="0"/>
                </a:moveTo>
                <a:lnTo>
                  <a:pt x="3750040" y="0"/>
                </a:lnTo>
                <a:lnTo>
                  <a:pt x="3751729" y="7982"/>
                </a:lnTo>
                <a:lnTo>
                  <a:pt x="3722929" y="7982"/>
                </a:lnTo>
                <a:lnTo>
                  <a:pt x="3721206" y="10443"/>
                </a:lnTo>
                <a:lnTo>
                  <a:pt x="3718744" y="13888"/>
                </a:lnTo>
                <a:lnTo>
                  <a:pt x="3717022" y="15612"/>
                </a:lnTo>
                <a:lnTo>
                  <a:pt x="3715298" y="19797"/>
                </a:lnTo>
                <a:lnTo>
                  <a:pt x="3713576" y="23981"/>
                </a:lnTo>
                <a:lnTo>
                  <a:pt x="3716775" y="25705"/>
                </a:lnTo>
                <a:lnTo>
                  <a:pt x="3718497" y="27428"/>
                </a:lnTo>
                <a:lnTo>
                  <a:pt x="3719237" y="28166"/>
                </a:lnTo>
                <a:lnTo>
                  <a:pt x="3720959" y="31611"/>
                </a:lnTo>
                <a:lnTo>
                  <a:pt x="3720959" y="33335"/>
                </a:lnTo>
                <a:lnTo>
                  <a:pt x="3719237" y="35797"/>
                </a:lnTo>
                <a:lnTo>
                  <a:pt x="3716775" y="39982"/>
                </a:lnTo>
                <a:lnTo>
                  <a:pt x="3715052" y="41704"/>
                </a:lnTo>
                <a:lnTo>
                  <a:pt x="3712591" y="43428"/>
                </a:lnTo>
                <a:lnTo>
                  <a:pt x="3709391" y="43428"/>
                </a:lnTo>
                <a:lnTo>
                  <a:pt x="3706929" y="43428"/>
                </a:lnTo>
                <a:lnTo>
                  <a:pt x="3701267" y="43428"/>
                </a:lnTo>
                <a:lnTo>
                  <a:pt x="3695606" y="34320"/>
                </a:lnTo>
                <a:lnTo>
                  <a:pt x="3686498" y="30136"/>
                </a:lnTo>
                <a:lnTo>
                  <a:pt x="3674930" y="27674"/>
                </a:lnTo>
                <a:lnTo>
                  <a:pt x="3674930" y="16844"/>
                </a:lnTo>
                <a:lnTo>
                  <a:pt x="3672467" y="16104"/>
                </a:lnTo>
                <a:lnTo>
                  <a:pt x="3669267" y="14381"/>
                </a:lnTo>
                <a:lnTo>
                  <a:pt x="3668529" y="12659"/>
                </a:lnTo>
                <a:lnTo>
                  <a:pt x="3665329" y="10935"/>
                </a:lnTo>
                <a:lnTo>
                  <a:pt x="3659668" y="10935"/>
                </a:lnTo>
                <a:lnTo>
                  <a:pt x="3657944" y="10935"/>
                </a:lnTo>
                <a:lnTo>
                  <a:pt x="3657207" y="12659"/>
                </a:lnTo>
                <a:lnTo>
                  <a:pt x="3655483" y="12659"/>
                </a:lnTo>
                <a:lnTo>
                  <a:pt x="3653760" y="12659"/>
                </a:lnTo>
                <a:lnTo>
                  <a:pt x="3651298" y="14381"/>
                </a:lnTo>
                <a:lnTo>
                  <a:pt x="3648098" y="8474"/>
                </a:lnTo>
                <a:lnTo>
                  <a:pt x="3643914" y="2567"/>
                </a:lnTo>
                <a:close/>
                <a:moveTo>
                  <a:pt x="1870193" y="0"/>
                </a:moveTo>
                <a:lnTo>
                  <a:pt x="1986120" y="0"/>
                </a:lnTo>
                <a:lnTo>
                  <a:pt x="1986571" y="3551"/>
                </a:lnTo>
                <a:lnTo>
                  <a:pt x="1988295" y="17827"/>
                </a:lnTo>
                <a:lnTo>
                  <a:pt x="1990757" y="29643"/>
                </a:lnTo>
                <a:lnTo>
                  <a:pt x="1993956" y="37274"/>
                </a:lnTo>
                <a:lnTo>
                  <a:pt x="1996418" y="41458"/>
                </a:lnTo>
                <a:lnTo>
                  <a:pt x="2000603" y="43181"/>
                </a:lnTo>
                <a:lnTo>
                  <a:pt x="2003802" y="46628"/>
                </a:lnTo>
                <a:lnTo>
                  <a:pt x="2009465" y="47366"/>
                </a:lnTo>
                <a:lnTo>
                  <a:pt x="2007741" y="37274"/>
                </a:lnTo>
                <a:lnTo>
                  <a:pt x="2006018" y="29643"/>
                </a:lnTo>
                <a:lnTo>
                  <a:pt x="2006018" y="21274"/>
                </a:lnTo>
                <a:lnTo>
                  <a:pt x="2011187" y="21274"/>
                </a:lnTo>
                <a:lnTo>
                  <a:pt x="2011187" y="17827"/>
                </a:lnTo>
                <a:lnTo>
                  <a:pt x="2021032" y="23735"/>
                </a:lnTo>
                <a:lnTo>
                  <a:pt x="2030879" y="29643"/>
                </a:lnTo>
                <a:lnTo>
                  <a:pt x="2042448" y="34566"/>
                </a:lnTo>
                <a:lnTo>
                  <a:pt x="2044171" y="31120"/>
                </a:lnTo>
                <a:lnTo>
                  <a:pt x="2045895" y="28658"/>
                </a:lnTo>
                <a:lnTo>
                  <a:pt x="2046633" y="26936"/>
                </a:lnTo>
                <a:lnTo>
                  <a:pt x="2048355" y="22750"/>
                </a:lnTo>
                <a:lnTo>
                  <a:pt x="2048355" y="17827"/>
                </a:lnTo>
                <a:lnTo>
                  <a:pt x="2046633" y="17089"/>
                </a:lnTo>
                <a:lnTo>
                  <a:pt x="2045895" y="15366"/>
                </a:lnTo>
                <a:lnTo>
                  <a:pt x="2044171" y="13643"/>
                </a:lnTo>
                <a:lnTo>
                  <a:pt x="2044171" y="11920"/>
                </a:lnTo>
                <a:lnTo>
                  <a:pt x="2044171" y="9458"/>
                </a:lnTo>
                <a:lnTo>
                  <a:pt x="2042448" y="5274"/>
                </a:lnTo>
                <a:lnTo>
                  <a:pt x="2054314" y="0"/>
                </a:lnTo>
                <a:lnTo>
                  <a:pt x="3640714" y="0"/>
                </a:lnTo>
                <a:lnTo>
                  <a:pt x="3640714" y="8474"/>
                </a:lnTo>
                <a:lnTo>
                  <a:pt x="3638252" y="20290"/>
                </a:lnTo>
                <a:lnTo>
                  <a:pt x="3635053" y="30382"/>
                </a:lnTo>
                <a:lnTo>
                  <a:pt x="3628406" y="36289"/>
                </a:lnTo>
                <a:lnTo>
                  <a:pt x="3625207" y="38012"/>
                </a:lnTo>
                <a:lnTo>
                  <a:pt x="3622745" y="38012"/>
                </a:lnTo>
                <a:lnTo>
                  <a:pt x="3621022" y="38012"/>
                </a:lnTo>
                <a:lnTo>
                  <a:pt x="3619298" y="38012"/>
                </a:lnTo>
                <a:lnTo>
                  <a:pt x="3617576" y="36289"/>
                </a:lnTo>
                <a:lnTo>
                  <a:pt x="3616838" y="36289"/>
                </a:lnTo>
                <a:lnTo>
                  <a:pt x="3615114" y="36289"/>
                </a:lnTo>
                <a:lnTo>
                  <a:pt x="3613391" y="38012"/>
                </a:lnTo>
                <a:lnTo>
                  <a:pt x="3611668" y="39735"/>
                </a:lnTo>
                <a:lnTo>
                  <a:pt x="3609207" y="43920"/>
                </a:lnTo>
                <a:lnTo>
                  <a:pt x="3617576" y="54012"/>
                </a:lnTo>
                <a:lnTo>
                  <a:pt x="3626683" y="71735"/>
                </a:lnTo>
                <a:lnTo>
                  <a:pt x="3630868" y="91920"/>
                </a:lnTo>
                <a:lnTo>
                  <a:pt x="3628406" y="91920"/>
                </a:lnTo>
                <a:lnTo>
                  <a:pt x="3626683" y="93643"/>
                </a:lnTo>
                <a:lnTo>
                  <a:pt x="3623483" y="93643"/>
                </a:lnTo>
                <a:lnTo>
                  <a:pt x="3619298" y="95365"/>
                </a:lnTo>
                <a:lnTo>
                  <a:pt x="3613637" y="91181"/>
                </a:lnTo>
                <a:lnTo>
                  <a:pt x="3609452" y="87734"/>
                </a:lnTo>
                <a:lnTo>
                  <a:pt x="3603791" y="86996"/>
                </a:lnTo>
                <a:lnTo>
                  <a:pt x="3596406" y="85274"/>
                </a:lnTo>
                <a:lnTo>
                  <a:pt x="3592222" y="97089"/>
                </a:lnTo>
                <a:lnTo>
                  <a:pt x="3583854" y="102997"/>
                </a:lnTo>
                <a:lnTo>
                  <a:pt x="3573022" y="107181"/>
                </a:lnTo>
                <a:lnTo>
                  <a:pt x="3561453" y="111366"/>
                </a:lnTo>
                <a:lnTo>
                  <a:pt x="3560715" y="123180"/>
                </a:lnTo>
                <a:lnTo>
                  <a:pt x="3557514" y="132289"/>
                </a:lnTo>
                <a:lnTo>
                  <a:pt x="3551854" y="140657"/>
                </a:lnTo>
                <a:lnTo>
                  <a:pt x="3540284" y="142381"/>
                </a:lnTo>
                <a:lnTo>
                  <a:pt x="3531915" y="144842"/>
                </a:lnTo>
                <a:lnTo>
                  <a:pt x="3526253" y="148288"/>
                </a:lnTo>
                <a:lnTo>
                  <a:pt x="3520592" y="150012"/>
                </a:lnTo>
                <a:lnTo>
                  <a:pt x="3516408" y="146565"/>
                </a:lnTo>
                <a:lnTo>
                  <a:pt x="3511484" y="142381"/>
                </a:lnTo>
                <a:lnTo>
                  <a:pt x="3509022" y="138196"/>
                </a:lnTo>
                <a:lnTo>
                  <a:pt x="3503362" y="138935"/>
                </a:lnTo>
                <a:lnTo>
                  <a:pt x="3495977" y="140657"/>
                </a:lnTo>
                <a:lnTo>
                  <a:pt x="3490315" y="144103"/>
                </a:lnTo>
                <a:lnTo>
                  <a:pt x="3486130" y="146565"/>
                </a:lnTo>
                <a:lnTo>
                  <a:pt x="3486130" y="152473"/>
                </a:lnTo>
                <a:lnTo>
                  <a:pt x="3481946" y="154195"/>
                </a:lnTo>
                <a:lnTo>
                  <a:pt x="3474562" y="154195"/>
                </a:lnTo>
                <a:lnTo>
                  <a:pt x="3464716" y="154195"/>
                </a:lnTo>
                <a:lnTo>
                  <a:pt x="3455608" y="155919"/>
                </a:lnTo>
                <a:lnTo>
                  <a:pt x="3451423" y="156658"/>
                </a:lnTo>
                <a:lnTo>
                  <a:pt x="3444038" y="174381"/>
                </a:lnTo>
                <a:lnTo>
                  <a:pt x="3443300" y="193580"/>
                </a:lnTo>
                <a:lnTo>
                  <a:pt x="3443300" y="215488"/>
                </a:lnTo>
                <a:lnTo>
                  <a:pt x="3445762" y="234687"/>
                </a:lnTo>
                <a:lnTo>
                  <a:pt x="3441577" y="234687"/>
                </a:lnTo>
                <a:lnTo>
                  <a:pt x="3439854" y="234687"/>
                </a:lnTo>
                <a:lnTo>
                  <a:pt x="3438131" y="234687"/>
                </a:lnTo>
                <a:lnTo>
                  <a:pt x="3437392" y="236410"/>
                </a:lnTo>
                <a:lnTo>
                  <a:pt x="3435670" y="237150"/>
                </a:lnTo>
                <a:lnTo>
                  <a:pt x="3433946" y="242072"/>
                </a:lnTo>
                <a:lnTo>
                  <a:pt x="3432223" y="246257"/>
                </a:lnTo>
                <a:lnTo>
                  <a:pt x="3432223" y="252164"/>
                </a:lnTo>
                <a:lnTo>
                  <a:pt x="3432223" y="258810"/>
                </a:lnTo>
                <a:lnTo>
                  <a:pt x="3422377" y="258810"/>
                </a:lnTo>
                <a:lnTo>
                  <a:pt x="3416715" y="267918"/>
                </a:lnTo>
                <a:lnTo>
                  <a:pt x="3412531" y="273825"/>
                </a:lnTo>
                <a:lnTo>
                  <a:pt x="3410808" y="279734"/>
                </a:lnTo>
                <a:lnTo>
                  <a:pt x="3409084" y="291548"/>
                </a:lnTo>
                <a:lnTo>
                  <a:pt x="3406623" y="291548"/>
                </a:lnTo>
                <a:lnTo>
                  <a:pt x="3403423" y="291548"/>
                </a:lnTo>
                <a:lnTo>
                  <a:pt x="3402685" y="291548"/>
                </a:lnTo>
                <a:lnTo>
                  <a:pt x="3400962" y="291548"/>
                </a:lnTo>
                <a:lnTo>
                  <a:pt x="3397762" y="291548"/>
                </a:lnTo>
                <a:lnTo>
                  <a:pt x="3392100" y="303365"/>
                </a:lnTo>
                <a:lnTo>
                  <a:pt x="3387915" y="317641"/>
                </a:lnTo>
                <a:lnTo>
                  <a:pt x="3378069" y="317641"/>
                </a:lnTo>
                <a:lnTo>
                  <a:pt x="3374869" y="333640"/>
                </a:lnTo>
                <a:lnTo>
                  <a:pt x="3369947" y="333640"/>
                </a:lnTo>
                <a:lnTo>
                  <a:pt x="3369947" y="329457"/>
                </a:lnTo>
                <a:lnTo>
                  <a:pt x="3358378" y="313456"/>
                </a:lnTo>
                <a:lnTo>
                  <a:pt x="3350993" y="294256"/>
                </a:lnTo>
                <a:lnTo>
                  <a:pt x="3349270" y="272349"/>
                </a:lnTo>
                <a:lnTo>
                  <a:pt x="3350993" y="246257"/>
                </a:lnTo>
                <a:lnTo>
                  <a:pt x="3355178" y="242811"/>
                </a:lnTo>
                <a:lnTo>
                  <a:pt x="3358378" y="240349"/>
                </a:lnTo>
                <a:lnTo>
                  <a:pt x="3362562" y="236903"/>
                </a:lnTo>
                <a:lnTo>
                  <a:pt x="3364285" y="232719"/>
                </a:lnTo>
                <a:lnTo>
                  <a:pt x="3366747" y="226811"/>
                </a:lnTo>
                <a:lnTo>
                  <a:pt x="3362562" y="219180"/>
                </a:lnTo>
                <a:lnTo>
                  <a:pt x="3360839" y="209088"/>
                </a:lnTo>
                <a:lnTo>
                  <a:pt x="3366501" y="197272"/>
                </a:lnTo>
                <a:lnTo>
                  <a:pt x="3372162" y="193088"/>
                </a:lnTo>
                <a:lnTo>
                  <a:pt x="3379547" y="189642"/>
                </a:lnTo>
                <a:lnTo>
                  <a:pt x="3387915" y="187180"/>
                </a:lnTo>
                <a:lnTo>
                  <a:pt x="3393577" y="181272"/>
                </a:lnTo>
                <a:lnTo>
                  <a:pt x="3405147" y="163550"/>
                </a:lnTo>
                <a:lnTo>
                  <a:pt x="3416715" y="145827"/>
                </a:lnTo>
                <a:lnTo>
                  <a:pt x="3425824" y="138196"/>
                </a:lnTo>
                <a:lnTo>
                  <a:pt x="3435670" y="131550"/>
                </a:lnTo>
                <a:lnTo>
                  <a:pt x="3445515" y="123920"/>
                </a:lnTo>
                <a:lnTo>
                  <a:pt x="3449700" y="113827"/>
                </a:lnTo>
                <a:lnTo>
                  <a:pt x="3452900" y="102011"/>
                </a:lnTo>
                <a:lnTo>
                  <a:pt x="3457085" y="91181"/>
                </a:lnTo>
                <a:lnTo>
                  <a:pt x="3457085" y="90443"/>
                </a:lnTo>
                <a:lnTo>
                  <a:pt x="3455361" y="90443"/>
                </a:lnTo>
                <a:lnTo>
                  <a:pt x="3455361" y="88719"/>
                </a:lnTo>
                <a:lnTo>
                  <a:pt x="3453639" y="86996"/>
                </a:lnTo>
                <a:lnTo>
                  <a:pt x="3451176" y="88719"/>
                </a:lnTo>
                <a:lnTo>
                  <a:pt x="3449454" y="90443"/>
                </a:lnTo>
                <a:lnTo>
                  <a:pt x="3448715" y="91181"/>
                </a:lnTo>
                <a:lnTo>
                  <a:pt x="3441331" y="102011"/>
                </a:lnTo>
                <a:lnTo>
                  <a:pt x="3433946" y="113827"/>
                </a:lnTo>
                <a:lnTo>
                  <a:pt x="3426561" y="123920"/>
                </a:lnTo>
                <a:lnTo>
                  <a:pt x="3416715" y="131550"/>
                </a:lnTo>
                <a:lnTo>
                  <a:pt x="3403423" y="137457"/>
                </a:lnTo>
                <a:lnTo>
                  <a:pt x="3402685" y="132535"/>
                </a:lnTo>
                <a:lnTo>
                  <a:pt x="3402685" y="131796"/>
                </a:lnTo>
                <a:lnTo>
                  <a:pt x="3400962" y="128350"/>
                </a:lnTo>
                <a:lnTo>
                  <a:pt x="3400962" y="124165"/>
                </a:lnTo>
                <a:lnTo>
                  <a:pt x="3402685" y="122442"/>
                </a:lnTo>
                <a:lnTo>
                  <a:pt x="3402685" y="120719"/>
                </a:lnTo>
                <a:lnTo>
                  <a:pt x="3402685" y="119980"/>
                </a:lnTo>
                <a:lnTo>
                  <a:pt x="3403423" y="116534"/>
                </a:lnTo>
                <a:lnTo>
                  <a:pt x="3403423" y="114073"/>
                </a:lnTo>
                <a:lnTo>
                  <a:pt x="3399238" y="110628"/>
                </a:lnTo>
                <a:lnTo>
                  <a:pt x="3395054" y="108903"/>
                </a:lnTo>
                <a:lnTo>
                  <a:pt x="3391854" y="108166"/>
                </a:lnTo>
                <a:lnTo>
                  <a:pt x="3387670" y="106442"/>
                </a:lnTo>
                <a:lnTo>
                  <a:pt x="3385208" y="108166"/>
                </a:lnTo>
                <a:lnTo>
                  <a:pt x="3377824" y="112350"/>
                </a:lnTo>
                <a:lnTo>
                  <a:pt x="3367978" y="120719"/>
                </a:lnTo>
                <a:lnTo>
                  <a:pt x="3358870" y="131550"/>
                </a:lnTo>
                <a:lnTo>
                  <a:pt x="3350500" y="141642"/>
                </a:lnTo>
                <a:lnTo>
                  <a:pt x="3346316" y="149273"/>
                </a:lnTo>
                <a:lnTo>
                  <a:pt x="3346316" y="151734"/>
                </a:lnTo>
                <a:lnTo>
                  <a:pt x="3346316" y="155180"/>
                </a:lnTo>
                <a:lnTo>
                  <a:pt x="3347055" y="157642"/>
                </a:lnTo>
                <a:lnTo>
                  <a:pt x="3348778" y="161826"/>
                </a:lnTo>
                <a:lnTo>
                  <a:pt x="3350500" y="165272"/>
                </a:lnTo>
                <a:lnTo>
                  <a:pt x="3350500" y="167734"/>
                </a:lnTo>
                <a:lnTo>
                  <a:pt x="3341394" y="171918"/>
                </a:lnTo>
                <a:lnTo>
                  <a:pt x="3331548" y="173642"/>
                </a:lnTo>
                <a:lnTo>
                  <a:pt x="3318255" y="175365"/>
                </a:lnTo>
                <a:lnTo>
                  <a:pt x="3305947" y="175365"/>
                </a:lnTo>
                <a:lnTo>
                  <a:pt x="3305947" y="159365"/>
                </a:lnTo>
                <a:lnTo>
                  <a:pt x="3292655" y="161826"/>
                </a:lnTo>
                <a:lnTo>
                  <a:pt x="3281085" y="166750"/>
                </a:lnTo>
                <a:lnTo>
                  <a:pt x="3271240" y="165026"/>
                </a:lnTo>
                <a:lnTo>
                  <a:pt x="3263855" y="155919"/>
                </a:lnTo>
                <a:lnTo>
                  <a:pt x="3235055" y="151734"/>
                </a:lnTo>
                <a:lnTo>
                  <a:pt x="3225209" y="161826"/>
                </a:lnTo>
                <a:lnTo>
                  <a:pt x="3213640" y="169457"/>
                </a:lnTo>
                <a:lnTo>
                  <a:pt x="3203794" y="177827"/>
                </a:lnTo>
                <a:lnTo>
                  <a:pt x="3198133" y="188657"/>
                </a:lnTo>
                <a:lnTo>
                  <a:pt x="3192471" y="198750"/>
                </a:lnTo>
                <a:lnTo>
                  <a:pt x="3186810" y="208841"/>
                </a:lnTo>
                <a:lnTo>
                  <a:pt x="3179425" y="216473"/>
                </a:lnTo>
                <a:lnTo>
                  <a:pt x="3156287" y="224103"/>
                </a:lnTo>
                <a:lnTo>
                  <a:pt x="3150625" y="230011"/>
                </a:lnTo>
                <a:lnTo>
                  <a:pt x="3146441" y="236657"/>
                </a:lnTo>
                <a:lnTo>
                  <a:pt x="3142256" y="242564"/>
                </a:lnTo>
                <a:lnTo>
                  <a:pt x="3132409" y="250195"/>
                </a:lnTo>
                <a:lnTo>
                  <a:pt x="3132409" y="258564"/>
                </a:lnTo>
                <a:lnTo>
                  <a:pt x="3144717" y="258564"/>
                </a:lnTo>
                <a:lnTo>
                  <a:pt x="3146441" y="263487"/>
                </a:lnTo>
                <a:lnTo>
                  <a:pt x="3148164" y="265949"/>
                </a:lnTo>
                <a:lnTo>
                  <a:pt x="3148902" y="269395"/>
                </a:lnTo>
                <a:lnTo>
                  <a:pt x="3152102" y="271857"/>
                </a:lnTo>
                <a:lnTo>
                  <a:pt x="3154563" y="273580"/>
                </a:lnTo>
                <a:lnTo>
                  <a:pt x="3160225" y="275303"/>
                </a:lnTo>
                <a:lnTo>
                  <a:pt x="3163425" y="271857"/>
                </a:lnTo>
                <a:lnTo>
                  <a:pt x="3165887" y="270133"/>
                </a:lnTo>
                <a:lnTo>
                  <a:pt x="3170809" y="269395"/>
                </a:lnTo>
                <a:lnTo>
                  <a:pt x="3174994" y="269395"/>
                </a:lnTo>
                <a:lnTo>
                  <a:pt x="3182379" y="269395"/>
                </a:lnTo>
                <a:lnTo>
                  <a:pt x="3188041" y="276041"/>
                </a:lnTo>
                <a:lnTo>
                  <a:pt x="3192225" y="281949"/>
                </a:lnTo>
                <a:lnTo>
                  <a:pt x="3194687" y="289580"/>
                </a:lnTo>
                <a:lnTo>
                  <a:pt x="3197887" y="301394"/>
                </a:lnTo>
                <a:lnTo>
                  <a:pt x="3199609" y="309026"/>
                </a:lnTo>
                <a:lnTo>
                  <a:pt x="3197887" y="313210"/>
                </a:lnTo>
                <a:lnTo>
                  <a:pt x="3193702" y="317395"/>
                </a:lnTo>
                <a:lnTo>
                  <a:pt x="3191978" y="325026"/>
                </a:lnTo>
                <a:lnTo>
                  <a:pt x="3191978" y="333395"/>
                </a:lnTo>
                <a:lnTo>
                  <a:pt x="3194441" y="341025"/>
                </a:lnTo>
                <a:lnTo>
                  <a:pt x="3197640" y="348656"/>
                </a:lnTo>
                <a:lnTo>
                  <a:pt x="3200102" y="358748"/>
                </a:lnTo>
                <a:lnTo>
                  <a:pt x="3191733" y="367856"/>
                </a:lnTo>
                <a:lnTo>
                  <a:pt x="3186072" y="377949"/>
                </a:lnTo>
                <a:lnTo>
                  <a:pt x="3181886" y="388041"/>
                </a:lnTo>
                <a:lnTo>
                  <a:pt x="3176226" y="401579"/>
                </a:lnTo>
                <a:lnTo>
                  <a:pt x="3173025" y="404041"/>
                </a:lnTo>
                <a:lnTo>
                  <a:pt x="3165640" y="413148"/>
                </a:lnTo>
                <a:lnTo>
                  <a:pt x="3157271" y="423241"/>
                </a:lnTo>
                <a:lnTo>
                  <a:pt x="3148164" y="435056"/>
                </a:lnTo>
                <a:lnTo>
                  <a:pt x="3138318" y="445148"/>
                </a:lnTo>
                <a:lnTo>
                  <a:pt x="3129949" y="455241"/>
                </a:lnTo>
                <a:lnTo>
                  <a:pt x="3124288" y="462871"/>
                </a:lnTo>
                <a:lnTo>
                  <a:pt x="3121088" y="466318"/>
                </a:lnTo>
                <a:lnTo>
                  <a:pt x="3111241" y="468778"/>
                </a:lnTo>
                <a:lnTo>
                  <a:pt x="3101395" y="467056"/>
                </a:lnTo>
                <a:lnTo>
                  <a:pt x="3092288" y="467056"/>
                </a:lnTo>
                <a:lnTo>
                  <a:pt x="3083918" y="468778"/>
                </a:lnTo>
                <a:lnTo>
                  <a:pt x="3076533" y="476409"/>
                </a:lnTo>
                <a:lnTo>
                  <a:pt x="3070872" y="484779"/>
                </a:lnTo>
                <a:lnTo>
                  <a:pt x="3066687" y="493887"/>
                </a:lnTo>
                <a:lnTo>
                  <a:pt x="3061026" y="502256"/>
                </a:lnTo>
                <a:lnTo>
                  <a:pt x="3052657" y="508164"/>
                </a:lnTo>
                <a:lnTo>
                  <a:pt x="3050934" y="508164"/>
                </a:lnTo>
                <a:lnTo>
                  <a:pt x="3049211" y="509887"/>
                </a:lnTo>
                <a:lnTo>
                  <a:pt x="3047487" y="509887"/>
                </a:lnTo>
                <a:lnTo>
                  <a:pt x="3045026" y="509887"/>
                </a:lnTo>
                <a:lnTo>
                  <a:pt x="3041826" y="511610"/>
                </a:lnTo>
                <a:lnTo>
                  <a:pt x="3045026" y="519979"/>
                </a:lnTo>
                <a:lnTo>
                  <a:pt x="3050688" y="529086"/>
                </a:lnTo>
                <a:lnTo>
                  <a:pt x="3054872" y="539179"/>
                </a:lnTo>
                <a:lnTo>
                  <a:pt x="3060534" y="549271"/>
                </a:lnTo>
                <a:lnTo>
                  <a:pt x="3062995" y="558378"/>
                </a:lnTo>
                <a:lnTo>
                  <a:pt x="3064719" y="568471"/>
                </a:lnTo>
                <a:lnTo>
                  <a:pt x="3062256" y="575117"/>
                </a:lnTo>
                <a:lnTo>
                  <a:pt x="3056595" y="581022"/>
                </a:lnTo>
                <a:lnTo>
                  <a:pt x="3045026" y="585945"/>
                </a:lnTo>
                <a:lnTo>
                  <a:pt x="3026073" y="588407"/>
                </a:lnTo>
                <a:lnTo>
                  <a:pt x="3026073" y="580776"/>
                </a:lnTo>
                <a:lnTo>
                  <a:pt x="3024348" y="574133"/>
                </a:lnTo>
                <a:lnTo>
                  <a:pt x="3024348" y="564040"/>
                </a:lnTo>
                <a:lnTo>
                  <a:pt x="3026073" y="552225"/>
                </a:lnTo>
                <a:lnTo>
                  <a:pt x="3026073" y="543117"/>
                </a:lnTo>
                <a:lnTo>
                  <a:pt x="3021888" y="543117"/>
                </a:lnTo>
                <a:lnTo>
                  <a:pt x="3018688" y="543117"/>
                </a:lnTo>
                <a:lnTo>
                  <a:pt x="3016226" y="543117"/>
                </a:lnTo>
                <a:lnTo>
                  <a:pt x="3014503" y="543117"/>
                </a:lnTo>
                <a:lnTo>
                  <a:pt x="3012780" y="541394"/>
                </a:lnTo>
                <a:lnTo>
                  <a:pt x="3010318" y="540655"/>
                </a:lnTo>
                <a:lnTo>
                  <a:pt x="3007118" y="535733"/>
                </a:lnTo>
                <a:lnTo>
                  <a:pt x="3010318" y="531548"/>
                </a:lnTo>
                <a:lnTo>
                  <a:pt x="3012780" y="527363"/>
                </a:lnTo>
                <a:lnTo>
                  <a:pt x="3014503" y="523179"/>
                </a:lnTo>
                <a:lnTo>
                  <a:pt x="3017703" y="517271"/>
                </a:lnTo>
                <a:lnTo>
                  <a:pt x="3010318" y="517271"/>
                </a:lnTo>
                <a:lnTo>
                  <a:pt x="3001211" y="515548"/>
                </a:lnTo>
                <a:lnTo>
                  <a:pt x="2991365" y="518010"/>
                </a:lnTo>
                <a:lnTo>
                  <a:pt x="2979796" y="522932"/>
                </a:lnTo>
                <a:lnTo>
                  <a:pt x="2969950" y="527117"/>
                </a:lnTo>
                <a:lnTo>
                  <a:pt x="2969950" y="523672"/>
                </a:lnTo>
                <a:lnTo>
                  <a:pt x="2971672" y="519486"/>
                </a:lnTo>
                <a:lnTo>
                  <a:pt x="2973396" y="517025"/>
                </a:lnTo>
                <a:lnTo>
                  <a:pt x="2974134" y="512102"/>
                </a:lnTo>
                <a:lnTo>
                  <a:pt x="2975857" y="509640"/>
                </a:lnTo>
                <a:lnTo>
                  <a:pt x="2978318" y="503733"/>
                </a:lnTo>
                <a:lnTo>
                  <a:pt x="2975857" y="503733"/>
                </a:lnTo>
                <a:lnTo>
                  <a:pt x="2973396" y="502009"/>
                </a:lnTo>
                <a:lnTo>
                  <a:pt x="2970196" y="502009"/>
                </a:lnTo>
                <a:lnTo>
                  <a:pt x="2966011" y="500287"/>
                </a:lnTo>
                <a:lnTo>
                  <a:pt x="2956904" y="509395"/>
                </a:lnTo>
                <a:lnTo>
                  <a:pt x="2947058" y="517025"/>
                </a:lnTo>
                <a:lnTo>
                  <a:pt x="2937212" y="525394"/>
                </a:lnTo>
                <a:lnTo>
                  <a:pt x="2931550" y="535487"/>
                </a:lnTo>
                <a:lnTo>
                  <a:pt x="2937212" y="538932"/>
                </a:lnTo>
                <a:lnTo>
                  <a:pt x="2941396" y="541394"/>
                </a:lnTo>
                <a:lnTo>
                  <a:pt x="2944596" y="544840"/>
                </a:lnTo>
                <a:lnTo>
                  <a:pt x="2947058" y="547301"/>
                </a:lnTo>
                <a:lnTo>
                  <a:pt x="2950257" y="552225"/>
                </a:lnTo>
                <a:lnTo>
                  <a:pt x="2958626" y="547301"/>
                </a:lnTo>
                <a:lnTo>
                  <a:pt x="2966011" y="544840"/>
                </a:lnTo>
                <a:lnTo>
                  <a:pt x="2973396" y="544840"/>
                </a:lnTo>
                <a:lnTo>
                  <a:pt x="2981764" y="549025"/>
                </a:lnTo>
                <a:lnTo>
                  <a:pt x="2985949" y="549025"/>
                </a:lnTo>
                <a:lnTo>
                  <a:pt x="2985949" y="559117"/>
                </a:lnTo>
                <a:lnTo>
                  <a:pt x="2970196" y="559117"/>
                </a:lnTo>
                <a:lnTo>
                  <a:pt x="2964534" y="566748"/>
                </a:lnTo>
                <a:lnTo>
                  <a:pt x="2958873" y="572655"/>
                </a:lnTo>
                <a:lnTo>
                  <a:pt x="2954688" y="578561"/>
                </a:lnTo>
                <a:lnTo>
                  <a:pt x="2950503" y="588653"/>
                </a:lnTo>
                <a:lnTo>
                  <a:pt x="2962073" y="596284"/>
                </a:lnTo>
                <a:lnTo>
                  <a:pt x="2968719" y="608099"/>
                </a:lnTo>
                <a:lnTo>
                  <a:pt x="2974380" y="624099"/>
                </a:lnTo>
                <a:lnTo>
                  <a:pt x="2977581" y="640099"/>
                </a:lnTo>
                <a:lnTo>
                  <a:pt x="2978318" y="657822"/>
                </a:lnTo>
                <a:lnTo>
                  <a:pt x="2978318" y="673330"/>
                </a:lnTo>
                <a:lnTo>
                  <a:pt x="2968472" y="679976"/>
                </a:lnTo>
                <a:lnTo>
                  <a:pt x="2962811" y="691791"/>
                </a:lnTo>
                <a:lnTo>
                  <a:pt x="2957149" y="702622"/>
                </a:lnTo>
                <a:lnTo>
                  <a:pt x="2950503" y="714437"/>
                </a:lnTo>
                <a:lnTo>
                  <a:pt x="2935734" y="730437"/>
                </a:lnTo>
                <a:lnTo>
                  <a:pt x="2916781" y="742251"/>
                </a:lnTo>
                <a:lnTo>
                  <a:pt x="2896842" y="750622"/>
                </a:lnTo>
                <a:lnTo>
                  <a:pt x="2873704" y="758252"/>
                </a:lnTo>
                <a:lnTo>
                  <a:pt x="2852289" y="762437"/>
                </a:lnTo>
                <a:lnTo>
                  <a:pt x="2852289" y="768345"/>
                </a:lnTo>
                <a:lnTo>
                  <a:pt x="2852289" y="771791"/>
                </a:lnTo>
                <a:lnTo>
                  <a:pt x="2852289" y="774251"/>
                </a:lnTo>
                <a:lnTo>
                  <a:pt x="2852289" y="775976"/>
                </a:lnTo>
                <a:lnTo>
                  <a:pt x="2854012" y="777698"/>
                </a:lnTo>
                <a:lnTo>
                  <a:pt x="2854012" y="781882"/>
                </a:lnTo>
                <a:lnTo>
                  <a:pt x="2854750" y="786068"/>
                </a:lnTo>
                <a:lnTo>
                  <a:pt x="2852289" y="789513"/>
                </a:lnTo>
                <a:lnTo>
                  <a:pt x="2849089" y="791974"/>
                </a:lnTo>
                <a:lnTo>
                  <a:pt x="2848350" y="793699"/>
                </a:lnTo>
                <a:lnTo>
                  <a:pt x="2845150" y="796159"/>
                </a:lnTo>
                <a:lnTo>
                  <a:pt x="2839489" y="799605"/>
                </a:lnTo>
                <a:lnTo>
                  <a:pt x="2837766" y="799605"/>
                </a:lnTo>
                <a:lnTo>
                  <a:pt x="2837027" y="801329"/>
                </a:lnTo>
                <a:lnTo>
                  <a:pt x="2835304" y="801329"/>
                </a:lnTo>
                <a:lnTo>
                  <a:pt x="2833582" y="801329"/>
                </a:lnTo>
                <a:lnTo>
                  <a:pt x="2831119" y="802067"/>
                </a:lnTo>
                <a:lnTo>
                  <a:pt x="2829396" y="797883"/>
                </a:lnTo>
                <a:lnTo>
                  <a:pt x="2827673" y="793699"/>
                </a:lnTo>
                <a:lnTo>
                  <a:pt x="2827673" y="789513"/>
                </a:lnTo>
                <a:lnTo>
                  <a:pt x="2827673" y="781882"/>
                </a:lnTo>
                <a:lnTo>
                  <a:pt x="2830873" y="780160"/>
                </a:lnTo>
                <a:lnTo>
                  <a:pt x="2833336" y="780160"/>
                </a:lnTo>
                <a:lnTo>
                  <a:pt x="2836535" y="778437"/>
                </a:lnTo>
                <a:lnTo>
                  <a:pt x="2837274" y="775976"/>
                </a:lnTo>
                <a:lnTo>
                  <a:pt x="2838997" y="772529"/>
                </a:lnTo>
                <a:lnTo>
                  <a:pt x="2837274" y="770067"/>
                </a:lnTo>
                <a:lnTo>
                  <a:pt x="2834812" y="765883"/>
                </a:lnTo>
                <a:lnTo>
                  <a:pt x="2833089" y="762437"/>
                </a:lnTo>
                <a:lnTo>
                  <a:pt x="2830627" y="760714"/>
                </a:lnTo>
                <a:lnTo>
                  <a:pt x="2828905" y="760714"/>
                </a:lnTo>
                <a:lnTo>
                  <a:pt x="2824720" y="759975"/>
                </a:lnTo>
                <a:lnTo>
                  <a:pt x="2819797" y="759975"/>
                </a:lnTo>
                <a:lnTo>
                  <a:pt x="2814874" y="766621"/>
                </a:lnTo>
                <a:lnTo>
                  <a:pt x="2809213" y="771545"/>
                </a:lnTo>
                <a:lnTo>
                  <a:pt x="2804289" y="775729"/>
                </a:lnTo>
                <a:lnTo>
                  <a:pt x="2800104" y="783360"/>
                </a:lnTo>
                <a:lnTo>
                  <a:pt x="2798382" y="795174"/>
                </a:lnTo>
                <a:lnTo>
                  <a:pt x="2811674" y="807729"/>
                </a:lnTo>
                <a:lnTo>
                  <a:pt x="2821520" y="821268"/>
                </a:lnTo>
                <a:lnTo>
                  <a:pt x="2830627" y="835544"/>
                </a:lnTo>
                <a:lnTo>
                  <a:pt x="2834812" y="854743"/>
                </a:lnTo>
                <a:lnTo>
                  <a:pt x="2836535" y="878129"/>
                </a:lnTo>
                <a:lnTo>
                  <a:pt x="2788535" y="917512"/>
                </a:lnTo>
                <a:lnTo>
                  <a:pt x="2782874" y="917512"/>
                </a:lnTo>
                <a:lnTo>
                  <a:pt x="2778689" y="901513"/>
                </a:lnTo>
                <a:lnTo>
                  <a:pt x="2769582" y="889697"/>
                </a:lnTo>
                <a:lnTo>
                  <a:pt x="2758012" y="879605"/>
                </a:lnTo>
                <a:lnTo>
                  <a:pt x="2745705" y="869513"/>
                </a:lnTo>
                <a:lnTo>
                  <a:pt x="2732412" y="858682"/>
                </a:lnTo>
                <a:lnTo>
                  <a:pt x="2726752" y="882067"/>
                </a:lnTo>
                <a:lnTo>
                  <a:pt x="2719366" y="901266"/>
                </a:lnTo>
                <a:lnTo>
                  <a:pt x="2726752" y="905451"/>
                </a:lnTo>
                <a:lnTo>
                  <a:pt x="2729951" y="911359"/>
                </a:lnTo>
                <a:lnTo>
                  <a:pt x="2730690" y="918989"/>
                </a:lnTo>
                <a:lnTo>
                  <a:pt x="2735613" y="927359"/>
                </a:lnTo>
                <a:lnTo>
                  <a:pt x="2736351" y="929082"/>
                </a:lnTo>
                <a:lnTo>
                  <a:pt x="2739551" y="929082"/>
                </a:lnTo>
                <a:lnTo>
                  <a:pt x="2742013" y="929082"/>
                </a:lnTo>
                <a:lnTo>
                  <a:pt x="2745213" y="929082"/>
                </a:lnTo>
                <a:lnTo>
                  <a:pt x="2747675" y="930805"/>
                </a:lnTo>
                <a:lnTo>
                  <a:pt x="2759243" y="942619"/>
                </a:lnTo>
                <a:lnTo>
                  <a:pt x="2768351" y="960342"/>
                </a:lnTo>
                <a:lnTo>
                  <a:pt x="2774013" y="980527"/>
                </a:lnTo>
                <a:lnTo>
                  <a:pt x="2774751" y="1001451"/>
                </a:lnTo>
                <a:lnTo>
                  <a:pt x="2766382" y="1001451"/>
                </a:lnTo>
                <a:lnTo>
                  <a:pt x="2757274" y="993820"/>
                </a:lnTo>
                <a:lnTo>
                  <a:pt x="2748905" y="989635"/>
                </a:lnTo>
                <a:lnTo>
                  <a:pt x="2747182" y="987911"/>
                </a:lnTo>
                <a:lnTo>
                  <a:pt x="2739797" y="982005"/>
                </a:lnTo>
                <a:lnTo>
                  <a:pt x="2734874" y="970188"/>
                </a:lnTo>
                <a:lnTo>
                  <a:pt x="2731675" y="956651"/>
                </a:lnTo>
                <a:lnTo>
                  <a:pt x="2727490" y="944835"/>
                </a:lnTo>
                <a:lnTo>
                  <a:pt x="2723305" y="933020"/>
                </a:lnTo>
                <a:lnTo>
                  <a:pt x="2715920" y="922928"/>
                </a:lnTo>
                <a:lnTo>
                  <a:pt x="2715920" y="920467"/>
                </a:lnTo>
                <a:lnTo>
                  <a:pt x="2708536" y="922928"/>
                </a:lnTo>
                <a:lnTo>
                  <a:pt x="2708536" y="920467"/>
                </a:lnTo>
                <a:lnTo>
                  <a:pt x="2706074" y="908651"/>
                </a:lnTo>
                <a:lnTo>
                  <a:pt x="2706074" y="893636"/>
                </a:lnTo>
                <a:lnTo>
                  <a:pt x="2706074" y="877636"/>
                </a:lnTo>
                <a:lnTo>
                  <a:pt x="2706074" y="859913"/>
                </a:lnTo>
                <a:lnTo>
                  <a:pt x="2704351" y="843913"/>
                </a:lnTo>
                <a:lnTo>
                  <a:pt x="2698690" y="830374"/>
                </a:lnTo>
                <a:lnTo>
                  <a:pt x="2689582" y="820283"/>
                </a:lnTo>
                <a:lnTo>
                  <a:pt x="2687121" y="822744"/>
                </a:lnTo>
                <a:lnTo>
                  <a:pt x="2682936" y="826190"/>
                </a:lnTo>
                <a:lnTo>
                  <a:pt x="2679736" y="827913"/>
                </a:lnTo>
                <a:lnTo>
                  <a:pt x="2674074" y="828652"/>
                </a:lnTo>
                <a:lnTo>
                  <a:pt x="2668414" y="828652"/>
                </a:lnTo>
                <a:lnTo>
                  <a:pt x="2666690" y="828652"/>
                </a:lnTo>
                <a:lnTo>
                  <a:pt x="2666690" y="827913"/>
                </a:lnTo>
                <a:lnTo>
                  <a:pt x="2665951" y="827913"/>
                </a:lnTo>
                <a:lnTo>
                  <a:pt x="2664228" y="826190"/>
                </a:lnTo>
                <a:lnTo>
                  <a:pt x="2664228" y="808467"/>
                </a:lnTo>
                <a:lnTo>
                  <a:pt x="2660044" y="794191"/>
                </a:lnTo>
                <a:lnTo>
                  <a:pt x="2654383" y="782375"/>
                </a:lnTo>
                <a:lnTo>
                  <a:pt x="2645275" y="771545"/>
                </a:lnTo>
                <a:lnTo>
                  <a:pt x="2638629" y="759729"/>
                </a:lnTo>
                <a:lnTo>
                  <a:pt x="2629522" y="745452"/>
                </a:lnTo>
                <a:lnTo>
                  <a:pt x="2627059" y="747914"/>
                </a:lnTo>
                <a:lnTo>
                  <a:pt x="2625337" y="749637"/>
                </a:lnTo>
                <a:lnTo>
                  <a:pt x="2623613" y="753083"/>
                </a:lnTo>
                <a:lnTo>
                  <a:pt x="2621891" y="753821"/>
                </a:lnTo>
                <a:lnTo>
                  <a:pt x="2621151" y="755545"/>
                </a:lnTo>
                <a:lnTo>
                  <a:pt x="2607860" y="757268"/>
                </a:lnTo>
                <a:lnTo>
                  <a:pt x="2596290" y="755545"/>
                </a:lnTo>
                <a:lnTo>
                  <a:pt x="2584721" y="755545"/>
                </a:lnTo>
                <a:lnTo>
                  <a:pt x="2581521" y="767360"/>
                </a:lnTo>
                <a:lnTo>
                  <a:pt x="2577337" y="773268"/>
                </a:lnTo>
                <a:lnTo>
                  <a:pt x="2574875" y="774991"/>
                </a:lnTo>
                <a:lnTo>
                  <a:pt x="2569214" y="774991"/>
                </a:lnTo>
                <a:lnTo>
                  <a:pt x="2563553" y="776714"/>
                </a:lnTo>
                <a:lnTo>
                  <a:pt x="2557891" y="780897"/>
                </a:lnTo>
                <a:lnTo>
                  <a:pt x="2548045" y="806991"/>
                </a:lnTo>
                <a:lnTo>
                  <a:pt x="2534753" y="806991"/>
                </a:lnTo>
                <a:lnTo>
                  <a:pt x="2527369" y="812897"/>
                </a:lnTo>
                <a:lnTo>
                  <a:pt x="2519983" y="820528"/>
                </a:lnTo>
                <a:lnTo>
                  <a:pt x="2510137" y="826436"/>
                </a:lnTo>
                <a:lnTo>
                  <a:pt x="2507676" y="855728"/>
                </a:lnTo>
                <a:lnTo>
                  <a:pt x="2500292" y="880836"/>
                </a:lnTo>
                <a:lnTo>
                  <a:pt x="2490445" y="901020"/>
                </a:lnTo>
                <a:lnTo>
                  <a:pt x="2474691" y="920221"/>
                </a:lnTo>
                <a:lnTo>
                  <a:pt x="2472968" y="920221"/>
                </a:lnTo>
                <a:lnTo>
                  <a:pt x="2471245" y="918497"/>
                </a:lnTo>
                <a:lnTo>
                  <a:pt x="2469522" y="918497"/>
                </a:lnTo>
                <a:lnTo>
                  <a:pt x="2468784" y="916775"/>
                </a:lnTo>
                <a:lnTo>
                  <a:pt x="2459676" y="906682"/>
                </a:lnTo>
                <a:lnTo>
                  <a:pt x="2451308" y="890682"/>
                </a:lnTo>
                <a:lnTo>
                  <a:pt x="2446384" y="877144"/>
                </a:lnTo>
                <a:lnTo>
                  <a:pt x="2445645" y="874682"/>
                </a:lnTo>
                <a:lnTo>
                  <a:pt x="2446384" y="871236"/>
                </a:lnTo>
                <a:lnTo>
                  <a:pt x="2448107" y="868774"/>
                </a:lnTo>
                <a:lnTo>
                  <a:pt x="2449830" y="867051"/>
                </a:lnTo>
                <a:lnTo>
                  <a:pt x="2449830" y="865328"/>
                </a:lnTo>
                <a:lnTo>
                  <a:pt x="2435061" y="843421"/>
                </a:lnTo>
                <a:lnTo>
                  <a:pt x="2425215" y="820036"/>
                </a:lnTo>
                <a:lnTo>
                  <a:pt x="2418568" y="794929"/>
                </a:lnTo>
                <a:lnTo>
                  <a:pt x="2415369" y="764652"/>
                </a:lnTo>
                <a:lnTo>
                  <a:pt x="2405523" y="765390"/>
                </a:lnTo>
                <a:lnTo>
                  <a:pt x="2398139" y="765390"/>
                </a:lnTo>
                <a:lnTo>
                  <a:pt x="2389769" y="764652"/>
                </a:lnTo>
                <a:lnTo>
                  <a:pt x="2386568" y="761206"/>
                </a:lnTo>
                <a:lnTo>
                  <a:pt x="2382384" y="758744"/>
                </a:lnTo>
                <a:lnTo>
                  <a:pt x="2379184" y="755298"/>
                </a:lnTo>
                <a:lnTo>
                  <a:pt x="2376723" y="752837"/>
                </a:lnTo>
                <a:lnTo>
                  <a:pt x="2379184" y="742006"/>
                </a:lnTo>
                <a:lnTo>
                  <a:pt x="2373523" y="733637"/>
                </a:lnTo>
                <a:lnTo>
                  <a:pt x="2363677" y="726006"/>
                </a:lnTo>
                <a:lnTo>
                  <a:pt x="2353830" y="719360"/>
                </a:lnTo>
                <a:lnTo>
                  <a:pt x="2344723" y="710252"/>
                </a:lnTo>
                <a:lnTo>
                  <a:pt x="2320847" y="713699"/>
                </a:lnTo>
                <a:lnTo>
                  <a:pt x="2295986" y="713699"/>
                </a:lnTo>
                <a:lnTo>
                  <a:pt x="2271123" y="711976"/>
                </a:lnTo>
                <a:lnTo>
                  <a:pt x="2247247" y="710252"/>
                </a:lnTo>
                <a:lnTo>
                  <a:pt x="2243063" y="701883"/>
                </a:lnTo>
                <a:lnTo>
                  <a:pt x="2237401" y="691053"/>
                </a:lnTo>
                <a:lnTo>
                  <a:pt x="2228293" y="694499"/>
                </a:lnTo>
                <a:lnTo>
                  <a:pt x="2222632" y="696222"/>
                </a:lnTo>
                <a:lnTo>
                  <a:pt x="2215247" y="696960"/>
                </a:lnTo>
                <a:lnTo>
                  <a:pt x="2205401" y="696960"/>
                </a:lnTo>
                <a:lnTo>
                  <a:pt x="2197031" y="691053"/>
                </a:lnTo>
                <a:lnTo>
                  <a:pt x="2187925" y="686868"/>
                </a:lnTo>
                <a:lnTo>
                  <a:pt x="2178078" y="680960"/>
                </a:lnTo>
                <a:lnTo>
                  <a:pt x="2170694" y="675053"/>
                </a:lnTo>
                <a:lnTo>
                  <a:pt x="2168232" y="666683"/>
                </a:lnTo>
                <a:lnTo>
                  <a:pt x="2164047" y="659053"/>
                </a:lnTo>
                <a:lnTo>
                  <a:pt x="2154940" y="651422"/>
                </a:lnTo>
                <a:lnTo>
                  <a:pt x="2153217" y="651422"/>
                </a:lnTo>
                <a:lnTo>
                  <a:pt x="2152479" y="651422"/>
                </a:lnTo>
                <a:lnTo>
                  <a:pt x="2150754" y="651422"/>
                </a:lnTo>
                <a:lnTo>
                  <a:pt x="2147555" y="651422"/>
                </a:lnTo>
                <a:lnTo>
                  <a:pt x="2141893" y="651422"/>
                </a:lnTo>
                <a:lnTo>
                  <a:pt x="2145094" y="663237"/>
                </a:lnTo>
                <a:lnTo>
                  <a:pt x="2149279" y="676776"/>
                </a:lnTo>
                <a:lnTo>
                  <a:pt x="2156663" y="690314"/>
                </a:lnTo>
                <a:lnTo>
                  <a:pt x="2162324" y="702130"/>
                </a:lnTo>
                <a:lnTo>
                  <a:pt x="2167986" y="710498"/>
                </a:lnTo>
                <a:lnTo>
                  <a:pt x="2169709" y="706314"/>
                </a:lnTo>
                <a:lnTo>
                  <a:pt x="2170448" y="704591"/>
                </a:lnTo>
                <a:lnTo>
                  <a:pt x="2170448" y="702868"/>
                </a:lnTo>
                <a:lnTo>
                  <a:pt x="2172170" y="702868"/>
                </a:lnTo>
                <a:lnTo>
                  <a:pt x="2173893" y="702868"/>
                </a:lnTo>
                <a:lnTo>
                  <a:pt x="2178078" y="704591"/>
                </a:lnTo>
                <a:lnTo>
                  <a:pt x="2179801" y="708776"/>
                </a:lnTo>
                <a:lnTo>
                  <a:pt x="2181524" y="713699"/>
                </a:lnTo>
                <a:lnTo>
                  <a:pt x="2181524" y="717883"/>
                </a:lnTo>
                <a:lnTo>
                  <a:pt x="2182262" y="722068"/>
                </a:lnTo>
                <a:lnTo>
                  <a:pt x="2183986" y="726252"/>
                </a:lnTo>
                <a:lnTo>
                  <a:pt x="2189647" y="725514"/>
                </a:lnTo>
                <a:lnTo>
                  <a:pt x="2197031" y="723791"/>
                </a:lnTo>
                <a:lnTo>
                  <a:pt x="2205401" y="723791"/>
                </a:lnTo>
                <a:lnTo>
                  <a:pt x="2218694" y="708776"/>
                </a:lnTo>
                <a:lnTo>
                  <a:pt x="2234447" y="696960"/>
                </a:lnTo>
                <a:lnTo>
                  <a:pt x="2236170" y="711976"/>
                </a:lnTo>
                <a:lnTo>
                  <a:pt x="2237892" y="723791"/>
                </a:lnTo>
                <a:lnTo>
                  <a:pt x="2259308" y="735605"/>
                </a:lnTo>
                <a:lnTo>
                  <a:pt x="2276538" y="749882"/>
                </a:lnTo>
                <a:lnTo>
                  <a:pt x="2270877" y="757513"/>
                </a:lnTo>
                <a:lnTo>
                  <a:pt x="2265954" y="765145"/>
                </a:lnTo>
                <a:lnTo>
                  <a:pt x="2261031" y="771052"/>
                </a:lnTo>
                <a:lnTo>
                  <a:pt x="2250200" y="775236"/>
                </a:lnTo>
                <a:lnTo>
                  <a:pt x="2250200" y="791236"/>
                </a:lnTo>
                <a:lnTo>
                  <a:pt x="2236170" y="800345"/>
                </a:lnTo>
                <a:lnTo>
                  <a:pt x="2221400" y="810436"/>
                </a:lnTo>
                <a:lnTo>
                  <a:pt x="2221400" y="817575"/>
                </a:lnTo>
                <a:lnTo>
                  <a:pt x="2203185" y="817575"/>
                </a:lnTo>
                <a:lnTo>
                  <a:pt x="2192355" y="823483"/>
                </a:lnTo>
                <a:lnTo>
                  <a:pt x="2183986" y="832590"/>
                </a:lnTo>
                <a:lnTo>
                  <a:pt x="2174140" y="840220"/>
                </a:lnTo>
                <a:lnTo>
                  <a:pt x="2160847" y="846129"/>
                </a:lnTo>
                <a:lnTo>
                  <a:pt x="2147555" y="848590"/>
                </a:lnTo>
                <a:lnTo>
                  <a:pt x="2133524" y="852775"/>
                </a:lnTo>
                <a:lnTo>
                  <a:pt x="2121956" y="857698"/>
                </a:lnTo>
                <a:lnTo>
                  <a:pt x="2112109" y="863605"/>
                </a:lnTo>
                <a:lnTo>
                  <a:pt x="2102263" y="866067"/>
                </a:lnTo>
                <a:lnTo>
                  <a:pt x="2094878" y="866067"/>
                </a:lnTo>
                <a:lnTo>
                  <a:pt x="2091678" y="864344"/>
                </a:lnTo>
                <a:lnTo>
                  <a:pt x="2090940" y="864344"/>
                </a:lnTo>
                <a:lnTo>
                  <a:pt x="2089217" y="863605"/>
                </a:lnTo>
                <a:lnTo>
                  <a:pt x="2087494" y="861882"/>
                </a:lnTo>
                <a:lnTo>
                  <a:pt x="2085771" y="858436"/>
                </a:lnTo>
                <a:lnTo>
                  <a:pt x="2081586" y="850067"/>
                </a:lnTo>
                <a:lnTo>
                  <a:pt x="2079864" y="840959"/>
                </a:lnTo>
                <a:lnTo>
                  <a:pt x="2079864" y="832590"/>
                </a:lnTo>
                <a:lnTo>
                  <a:pt x="2079125" y="823483"/>
                </a:lnTo>
                <a:lnTo>
                  <a:pt x="2071740" y="809206"/>
                </a:lnTo>
                <a:lnTo>
                  <a:pt x="2061895" y="795667"/>
                </a:lnTo>
                <a:lnTo>
                  <a:pt x="2051064" y="783853"/>
                </a:lnTo>
                <a:lnTo>
                  <a:pt x="2041218" y="772036"/>
                </a:lnTo>
                <a:lnTo>
                  <a:pt x="2038756" y="763667"/>
                </a:lnTo>
                <a:lnTo>
                  <a:pt x="2037033" y="753575"/>
                </a:lnTo>
                <a:lnTo>
                  <a:pt x="2035309" y="742744"/>
                </a:lnTo>
                <a:lnTo>
                  <a:pt x="2031125" y="734375"/>
                </a:lnTo>
                <a:lnTo>
                  <a:pt x="2015371" y="724284"/>
                </a:lnTo>
                <a:lnTo>
                  <a:pt x="2011187" y="714191"/>
                </a:lnTo>
                <a:lnTo>
                  <a:pt x="2006264" y="703361"/>
                </a:lnTo>
                <a:lnTo>
                  <a:pt x="2002079" y="693268"/>
                </a:lnTo>
                <a:lnTo>
                  <a:pt x="1996418" y="684899"/>
                </a:lnTo>
                <a:lnTo>
                  <a:pt x="1988049" y="678991"/>
                </a:lnTo>
                <a:lnTo>
                  <a:pt x="1983126" y="677268"/>
                </a:lnTo>
                <a:lnTo>
                  <a:pt x="1982387" y="673821"/>
                </a:lnTo>
                <a:lnTo>
                  <a:pt x="1979187" y="673083"/>
                </a:lnTo>
                <a:lnTo>
                  <a:pt x="1976725" y="671361"/>
                </a:lnTo>
                <a:lnTo>
                  <a:pt x="1973525" y="669637"/>
                </a:lnTo>
                <a:lnTo>
                  <a:pt x="1971065" y="667176"/>
                </a:lnTo>
                <a:lnTo>
                  <a:pt x="1967864" y="662253"/>
                </a:lnTo>
                <a:lnTo>
                  <a:pt x="1965403" y="656345"/>
                </a:lnTo>
                <a:lnTo>
                  <a:pt x="1962203" y="656345"/>
                </a:lnTo>
                <a:lnTo>
                  <a:pt x="1962203" y="662253"/>
                </a:lnTo>
                <a:lnTo>
                  <a:pt x="1972049" y="675791"/>
                </a:lnTo>
                <a:lnTo>
                  <a:pt x="1981156" y="690806"/>
                </a:lnTo>
                <a:lnTo>
                  <a:pt x="1986818" y="708529"/>
                </a:lnTo>
                <a:lnTo>
                  <a:pt x="1992479" y="724529"/>
                </a:lnTo>
                <a:lnTo>
                  <a:pt x="1999863" y="740529"/>
                </a:lnTo>
                <a:lnTo>
                  <a:pt x="2002326" y="742991"/>
                </a:lnTo>
                <a:lnTo>
                  <a:pt x="2006509" y="746437"/>
                </a:lnTo>
                <a:lnTo>
                  <a:pt x="2009710" y="748898"/>
                </a:lnTo>
                <a:lnTo>
                  <a:pt x="2013895" y="752344"/>
                </a:lnTo>
                <a:lnTo>
                  <a:pt x="2015618" y="756528"/>
                </a:lnTo>
                <a:lnTo>
                  <a:pt x="2015618" y="785821"/>
                </a:lnTo>
                <a:lnTo>
                  <a:pt x="2018079" y="789268"/>
                </a:lnTo>
                <a:lnTo>
                  <a:pt x="2021279" y="793452"/>
                </a:lnTo>
                <a:lnTo>
                  <a:pt x="2025464" y="795914"/>
                </a:lnTo>
                <a:lnTo>
                  <a:pt x="2029648" y="799360"/>
                </a:lnTo>
                <a:lnTo>
                  <a:pt x="2031371" y="801820"/>
                </a:lnTo>
                <a:lnTo>
                  <a:pt x="2033834" y="810929"/>
                </a:lnTo>
                <a:lnTo>
                  <a:pt x="2035556" y="817575"/>
                </a:lnTo>
                <a:lnTo>
                  <a:pt x="2038756" y="826682"/>
                </a:lnTo>
                <a:lnTo>
                  <a:pt x="2047125" y="836775"/>
                </a:lnTo>
                <a:lnTo>
                  <a:pt x="2060417" y="845882"/>
                </a:lnTo>
                <a:lnTo>
                  <a:pt x="2074448" y="854252"/>
                </a:lnTo>
                <a:lnTo>
                  <a:pt x="2086017" y="863359"/>
                </a:lnTo>
                <a:lnTo>
                  <a:pt x="2089217" y="867544"/>
                </a:lnTo>
                <a:lnTo>
                  <a:pt x="2089217" y="873451"/>
                </a:lnTo>
                <a:lnTo>
                  <a:pt x="2089217" y="877636"/>
                </a:lnTo>
                <a:lnTo>
                  <a:pt x="2090940" y="881821"/>
                </a:lnTo>
                <a:lnTo>
                  <a:pt x="2095125" y="886743"/>
                </a:lnTo>
                <a:lnTo>
                  <a:pt x="2107433" y="887482"/>
                </a:lnTo>
                <a:lnTo>
                  <a:pt x="2122201" y="880836"/>
                </a:lnTo>
                <a:lnTo>
                  <a:pt x="2142140" y="875912"/>
                </a:lnTo>
                <a:lnTo>
                  <a:pt x="2161093" y="871728"/>
                </a:lnTo>
                <a:lnTo>
                  <a:pt x="2178323" y="869267"/>
                </a:lnTo>
                <a:lnTo>
                  <a:pt x="2178323" y="871728"/>
                </a:lnTo>
                <a:lnTo>
                  <a:pt x="2174140" y="879359"/>
                </a:lnTo>
                <a:lnTo>
                  <a:pt x="2174140" y="888221"/>
                </a:lnTo>
                <a:lnTo>
                  <a:pt x="2170940" y="898313"/>
                </a:lnTo>
                <a:lnTo>
                  <a:pt x="2165278" y="913328"/>
                </a:lnTo>
                <a:lnTo>
                  <a:pt x="2156909" y="931051"/>
                </a:lnTo>
                <a:lnTo>
                  <a:pt x="2147063" y="948774"/>
                </a:lnTo>
                <a:lnTo>
                  <a:pt x="2136232" y="963051"/>
                </a:lnTo>
                <a:lnTo>
                  <a:pt x="2120479" y="979050"/>
                </a:lnTo>
                <a:lnTo>
                  <a:pt x="2103248" y="994066"/>
                </a:lnTo>
                <a:lnTo>
                  <a:pt x="2085032" y="1008343"/>
                </a:lnTo>
                <a:lnTo>
                  <a:pt x="2067802" y="1025082"/>
                </a:lnTo>
                <a:lnTo>
                  <a:pt x="2053032" y="1042804"/>
                </a:lnTo>
                <a:lnTo>
                  <a:pt x="2041464" y="1062988"/>
                </a:lnTo>
                <a:lnTo>
                  <a:pt x="2037279" y="1082189"/>
                </a:lnTo>
                <a:lnTo>
                  <a:pt x="2039740" y="1099911"/>
                </a:lnTo>
                <a:lnTo>
                  <a:pt x="2045402" y="1117634"/>
                </a:lnTo>
                <a:lnTo>
                  <a:pt x="2051064" y="1133634"/>
                </a:lnTo>
                <a:lnTo>
                  <a:pt x="2056725" y="1151357"/>
                </a:lnTo>
                <a:lnTo>
                  <a:pt x="2061648" y="1169080"/>
                </a:lnTo>
                <a:lnTo>
                  <a:pt x="2059925" y="1186804"/>
                </a:lnTo>
                <a:lnTo>
                  <a:pt x="2050818" y="1205264"/>
                </a:lnTo>
                <a:lnTo>
                  <a:pt x="2038509" y="1214372"/>
                </a:lnTo>
                <a:lnTo>
                  <a:pt x="2023741" y="1221018"/>
                </a:lnTo>
                <a:lnTo>
                  <a:pt x="2009710" y="1228649"/>
                </a:lnTo>
                <a:lnTo>
                  <a:pt x="1999990" y="1237129"/>
                </a:lnTo>
                <a:lnTo>
                  <a:pt x="1730490" y="1237129"/>
                </a:lnTo>
                <a:lnTo>
                  <a:pt x="1729835" y="1236280"/>
                </a:lnTo>
                <a:lnTo>
                  <a:pt x="1724174" y="1224465"/>
                </a:lnTo>
                <a:lnTo>
                  <a:pt x="1722450" y="1210188"/>
                </a:lnTo>
                <a:lnTo>
                  <a:pt x="1725650" y="1193450"/>
                </a:lnTo>
                <a:lnTo>
                  <a:pt x="1731312" y="1179173"/>
                </a:lnTo>
                <a:lnTo>
                  <a:pt x="1739681" y="1163172"/>
                </a:lnTo>
                <a:lnTo>
                  <a:pt x="1745342" y="1149634"/>
                </a:lnTo>
                <a:lnTo>
                  <a:pt x="1750265" y="1137819"/>
                </a:lnTo>
                <a:lnTo>
                  <a:pt x="1744604" y="1126003"/>
                </a:lnTo>
                <a:lnTo>
                  <a:pt x="1742882" y="1115911"/>
                </a:lnTo>
                <a:lnTo>
                  <a:pt x="1742882" y="1105819"/>
                </a:lnTo>
                <a:lnTo>
                  <a:pt x="1739681" y="1092281"/>
                </a:lnTo>
                <a:lnTo>
                  <a:pt x="1731312" y="1074558"/>
                </a:lnTo>
                <a:lnTo>
                  <a:pt x="1718022" y="1056835"/>
                </a:lnTo>
                <a:lnTo>
                  <a:pt x="1705715" y="1040834"/>
                </a:lnTo>
                <a:lnTo>
                  <a:pt x="1692422" y="1027297"/>
                </a:lnTo>
                <a:lnTo>
                  <a:pt x="1696606" y="1009574"/>
                </a:lnTo>
                <a:lnTo>
                  <a:pt x="1700792" y="993574"/>
                </a:lnTo>
                <a:lnTo>
                  <a:pt x="1705715" y="975851"/>
                </a:lnTo>
                <a:lnTo>
                  <a:pt x="1700792" y="973389"/>
                </a:lnTo>
                <a:lnTo>
                  <a:pt x="1698330" y="971666"/>
                </a:lnTo>
                <a:lnTo>
                  <a:pt x="1695130" y="968220"/>
                </a:lnTo>
                <a:lnTo>
                  <a:pt x="1692669" y="967481"/>
                </a:lnTo>
                <a:lnTo>
                  <a:pt x="1688484" y="967481"/>
                </a:lnTo>
                <a:lnTo>
                  <a:pt x="1682823" y="965758"/>
                </a:lnTo>
                <a:lnTo>
                  <a:pt x="1679622" y="968220"/>
                </a:lnTo>
                <a:lnTo>
                  <a:pt x="1677899" y="969943"/>
                </a:lnTo>
                <a:lnTo>
                  <a:pt x="1673715" y="971666"/>
                </a:lnTo>
                <a:lnTo>
                  <a:pt x="1669530" y="971666"/>
                </a:lnTo>
                <a:lnTo>
                  <a:pt x="1663869" y="971666"/>
                </a:lnTo>
                <a:lnTo>
                  <a:pt x="1648114" y="946558"/>
                </a:lnTo>
                <a:lnTo>
                  <a:pt x="1637284" y="944835"/>
                </a:lnTo>
                <a:lnTo>
                  <a:pt x="1627438" y="944097"/>
                </a:lnTo>
                <a:lnTo>
                  <a:pt x="1615870" y="942374"/>
                </a:lnTo>
                <a:lnTo>
                  <a:pt x="1601838" y="948282"/>
                </a:lnTo>
                <a:lnTo>
                  <a:pt x="1587070" y="954189"/>
                </a:lnTo>
                <a:lnTo>
                  <a:pt x="1575500" y="958374"/>
                </a:lnTo>
                <a:lnTo>
                  <a:pt x="1547439" y="952466"/>
                </a:lnTo>
                <a:lnTo>
                  <a:pt x="1544239" y="962558"/>
                </a:lnTo>
                <a:lnTo>
                  <a:pt x="1534393" y="962558"/>
                </a:lnTo>
                <a:lnTo>
                  <a:pt x="1525285" y="960097"/>
                </a:lnTo>
                <a:lnTo>
                  <a:pt x="1518639" y="958374"/>
                </a:lnTo>
                <a:lnTo>
                  <a:pt x="1515439" y="960097"/>
                </a:lnTo>
                <a:lnTo>
                  <a:pt x="1512978" y="962558"/>
                </a:lnTo>
                <a:lnTo>
                  <a:pt x="1508055" y="964282"/>
                </a:lnTo>
                <a:lnTo>
                  <a:pt x="1502393" y="966005"/>
                </a:lnTo>
                <a:lnTo>
                  <a:pt x="1494024" y="955912"/>
                </a:lnTo>
                <a:lnTo>
                  <a:pt x="1482455" y="950005"/>
                </a:lnTo>
                <a:lnTo>
                  <a:pt x="1470885" y="944097"/>
                </a:lnTo>
                <a:lnTo>
                  <a:pt x="1459316" y="938189"/>
                </a:lnTo>
                <a:lnTo>
                  <a:pt x="1449471" y="930558"/>
                </a:lnTo>
                <a:lnTo>
                  <a:pt x="1442086" y="911359"/>
                </a:lnTo>
                <a:lnTo>
                  <a:pt x="1433717" y="901266"/>
                </a:lnTo>
                <a:lnTo>
                  <a:pt x="1420424" y="891174"/>
                </a:lnTo>
                <a:lnTo>
                  <a:pt x="1408856" y="881082"/>
                </a:lnTo>
                <a:lnTo>
                  <a:pt x="1401471" y="871974"/>
                </a:lnTo>
                <a:lnTo>
                  <a:pt x="1401471" y="852775"/>
                </a:lnTo>
                <a:lnTo>
                  <a:pt x="1399010" y="844405"/>
                </a:lnTo>
                <a:lnTo>
                  <a:pt x="1399748" y="830867"/>
                </a:lnTo>
                <a:lnTo>
                  <a:pt x="1402948" y="819052"/>
                </a:lnTo>
                <a:lnTo>
                  <a:pt x="1405410" y="808959"/>
                </a:lnTo>
                <a:lnTo>
                  <a:pt x="1407132" y="801329"/>
                </a:lnTo>
                <a:lnTo>
                  <a:pt x="1407132" y="789513"/>
                </a:lnTo>
                <a:lnTo>
                  <a:pt x="1404671" y="782867"/>
                </a:lnTo>
                <a:lnTo>
                  <a:pt x="1399748" y="775236"/>
                </a:lnTo>
                <a:lnTo>
                  <a:pt x="1397286" y="769329"/>
                </a:lnTo>
                <a:lnTo>
                  <a:pt x="1397286" y="760221"/>
                </a:lnTo>
                <a:lnTo>
                  <a:pt x="1399748" y="748407"/>
                </a:lnTo>
                <a:lnTo>
                  <a:pt x="1405410" y="735852"/>
                </a:lnTo>
                <a:lnTo>
                  <a:pt x="1411071" y="720837"/>
                </a:lnTo>
                <a:lnTo>
                  <a:pt x="1416733" y="708283"/>
                </a:lnTo>
                <a:lnTo>
                  <a:pt x="1422394" y="697452"/>
                </a:lnTo>
                <a:lnTo>
                  <a:pt x="1425594" y="691545"/>
                </a:lnTo>
                <a:lnTo>
                  <a:pt x="1435439" y="683175"/>
                </a:lnTo>
                <a:lnTo>
                  <a:pt x="1447009" y="675545"/>
                </a:lnTo>
                <a:lnTo>
                  <a:pt x="1458578" y="669637"/>
                </a:lnTo>
                <a:lnTo>
                  <a:pt x="1470147" y="662006"/>
                </a:lnTo>
                <a:lnTo>
                  <a:pt x="1472608" y="655360"/>
                </a:lnTo>
                <a:lnTo>
                  <a:pt x="1472608" y="646253"/>
                </a:lnTo>
                <a:lnTo>
                  <a:pt x="1471871" y="636161"/>
                </a:lnTo>
                <a:lnTo>
                  <a:pt x="1472608" y="627791"/>
                </a:lnTo>
                <a:lnTo>
                  <a:pt x="1479993" y="615976"/>
                </a:lnTo>
                <a:lnTo>
                  <a:pt x="1489839" y="606868"/>
                </a:lnTo>
                <a:lnTo>
                  <a:pt x="1500669" y="598499"/>
                </a:lnTo>
                <a:lnTo>
                  <a:pt x="1510516" y="589392"/>
                </a:lnTo>
                <a:lnTo>
                  <a:pt x="1518885" y="579299"/>
                </a:lnTo>
                <a:lnTo>
                  <a:pt x="1523808" y="565763"/>
                </a:lnTo>
                <a:lnTo>
                  <a:pt x="1523808" y="565024"/>
                </a:lnTo>
                <a:lnTo>
                  <a:pt x="1522085" y="565024"/>
                </a:lnTo>
                <a:lnTo>
                  <a:pt x="1522085" y="563302"/>
                </a:lnTo>
                <a:lnTo>
                  <a:pt x="1522085" y="561578"/>
                </a:lnTo>
                <a:lnTo>
                  <a:pt x="1520363" y="559856"/>
                </a:lnTo>
                <a:lnTo>
                  <a:pt x="1517901" y="559117"/>
                </a:lnTo>
                <a:lnTo>
                  <a:pt x="1514701" y="557394"/>
                </a:lnTo>
                <a:lnTo>
                  <a:pt x="1512239" y="557394"/>
                </a:lnTo>
                <a:lnTo>
                  <a:pt x="1507316" y="555672"/>
                </a:lnTo>
                <a:lnTo>
                  <a:pt x="1504855" y="559117"/>
                </a:lnTo>
                <a:lnTo>
                  <a:pt x="1501655" y="559117"/>
                </a:lnTo>
                <a:lnTo>
                  <a:pt x="1497469" y="559856"/>
                </a:lnTo>
                <a:lnTo>
                  <a:pt x="1491808" y="559856"/>
                </a:lnTo>
                <a:lnTo>
                  <a:pt x="1491808" y="555672"/>
                </a:lnTo>
                <a:lnTo>
                  <a:pt x="1489348" y="555672"/>
                </a:lnTo>
                <a:lnTo>
                  <a:pt x="1489348" y="543855"/>
                </a:lnTo>
                <a:lnTo>
                  <a:pt x="1487624" y="527856"/>
                </a:lnTo>
                <a:lnTo>
                  <a:pt x="1485901" y="508655"/>
                </a:lnTo>
                <a:lnTo>
                  <a:pt x="1485901" y="490194"/>
                </a:lnTo>
                <a:lnTo>
                  <a:pt x="1485901" y="473456"/>
                </a:lnTo>
                <a:lnTo>
                  <a:pt x="1489101" y="463363"/>
                </a:lnTo>
                <a:lnTo>
                  <a:pt x="1489593" y="460410"/>
                </a:lnTo>
                <a:lnTo>
                  <a:pt x="1491316" y="456964"/>
                </a:lnTo>
                <a:lnTo>
                  <a:pt x="1493038" y="456225"/>
                </a:lnTo>
                <a:lnTo>
                  <a:pt x="1494762" y="456225"/>
                </a:lnTo>
                <a:lnTo>
                  <a:pt x="1497224" y="456225"/>
                </a:lnTo>
                <a:lnTo>
                  <a:pt x="1500424" y="454501"/>
                </a:lnTo>
                <a:lnTo>
                  <a:pt x="1504609" y="454501"/>
                </a:lnTo>
                <a:lnTo>
                  <a:pt x="1516177" y="458687"/>
                </a:lnTo>
                <a:lnTo>
                  <a:pt x="1529469" y="462133"/>
                </a:lnTo>
                <a:lnTo>
                  <a:pt x="1543501" y="462133"/>
                </a:lnTo>
                <a:lnTo>
                  <a:pt x="1557531" y="458687"/>
                </a:lnTo>
                <a:lnTo>
                  <a:pt x="1568362" y="454501"/>
                </a:lnTo>
                <a:lnTo>
                  <a:pt x="1569100" y="452779"/>
                </a:lnTo>
                <a:lnTo>
                  <a:pt x="1569100" y="451056"/>
                </a:lnTo>
                <a:lnTo>
                  <a:pt x="1570824" y="451056"/>
                </a:lnTo>
                <a:lnTo>
                  <a:pt x="1570824" y="450318"/>
                </a:lnTo>
                <a:lnTo>
                  <a:pt x="1570824" y="448595"/>
                </a:lnTo>
                <a:lnTo>
                  <a:pt x="1574024" y="436778"/>
                </a:lnTo>
                <a:lnTo>
                  <a:pt x="1574024" y="423241"/>
                </a:lnTo>
                <a:lnTo>
                  <a:pt x="1572300" y="410687"/>
                </a:lnTo>
                <a:lnTo>
                  <a:pt x="1570578" y="395672"/>
                </a:lnTo>
                <a:lnTo>
                  <a:pt x="1560731" y="393210"/>
                </a:lnTo>
                <a:lnTo>
                  <a:pt x="1550885" y="389764"/>
                </a:lnTo>
                <a:lnTo>
                  <a:pt x="1541039" y="383856"/>
                </a:lnTo>
                <a:lnTo>
                  <a:pt x="1533654" y="376225"/>
                </a:lnTo>
                <a:lnTo>
                  <a:pt x="1536115" y="375487"/>
                </a:lnTo>
                <a:lnTo>
                  <a:pt x="1539316" y="373764"/>
                </a:lnTo>
                <a:lnTo>
                  <a:pt x="1541039" y="372041"/>
                </a:lnTo>
                <a:lnTo>
                  <a:pt x="1543501" y="372041"/>
                </a:lnTo>
                <a:lnTo>
                  <a:pt x="1546701" y="370318"/>
                </a:lnTo>
                <a:lnTo>
                  <a:pt x="1551624" y="370318"/>
                </a:lnTo>
                <a:lnTo>
                  <a:pt x="1554823" y="369579"/>
                </a:lnTo>
                <a:lnTo>
                  <a:pt x="1559008" y="367856"/>
                </a:lnTo>
                <a:lnTo>
                  <a:pt x="1563193" y="367856"/>
                </a:lnTo>
                <a:lnTo>
                  <a:pt x="1568115" y="367856"/>
                </a:lnTo>
                <a:lnTo>
                  <a:pt x="1568115" y="351856"/>
                </a:lnTo>
                <a:lnTo>
                  <a:pt x="1572300" y="351856"/>
                </a:lnTo>
                <a:lnTo>
                  <a:pt x="1576484" y="352595"/>
                </a:lnTo>
                <a:lnTo>
                  <a:pt x="1578208" y="354318"/>
                </a:lnTo>
                <a:lnTo>
                  <a:pt x="1580670" y="354318"/>
                </a:lnTo>
                <a:lnTo>
                  <a:pt x="1583870" y="356041"/>
                </a:lnTo>
                <a:lnTo>
                  <a:pt x="1586331" y="357764"/>
                </a:lnTo>
                <a:lnTo>
                  <a:pt x="1589531" y="354318"/>
                </a:lnTo>
                <a:lnTo>
                  <a:pt x="1593716" y="352595"/>
                </a:lnTo>
                <a:lnTo>
                  <a:pt x="1596915" y="351856"/>
                </a:lnTo>
                <a:lnTo>
                  <a:pt x="1601100" y="350133"/>
                </a:lnTo>
                <a:lnTo>
                  <a:pt x="1602823" y="348410"/>
                </a:lnTo>
                <a:lnTo>
                  <a:pt x="1603562" y="345949"/>
                </a:lnTo>
                <a:lnTo>
                  <a:pt x="1603562" y="342502"/>
                </a:lnTo>
                <a:lnTo>
                  <a:pt x="1603562" y="340041"/>
                </a:lnTo>
                <a:lnTo>
                  <a:pt x="1603562" y="336595"/>
                </a:lnTo>
                <a:lnTo>
                  <a:pt x="1605285" y="334133"/>
                </a:lnTo>
                <a:lnTo>
                  <a:pt x="1607008" y="330687"/>
                </a:lnTo>
                <a:lnTo>
                  <a:pt x="1634331" y="322318"/>
                </a:lnTo>
                <a:lnTo>
                  <a:pt x="1639992" y="313210"/>
                </a:lnTo>
                <a:lnTo>
                  <a:pt x="1641715" y="304840"/>
                </a:lnTo>
                <a:lnTo>
                  <a:pt x="1645899" y="295734"/>
                </a:lnTo>
                <a:lnTo>
                  <a:pt x="1654269" y="289826"/>
                </a:lnTo>
                <a:lnTo>
                  <a:pt x="1665100" y="285641"/>
                </a:lnTo>
                <a:lnTo>
                  <a:pt x="1677407" y="281457"/>
                </a:lnTo>
                <a:lnTo>
                  <a:pt x="1688976" y="277271"/>
                </a:lnTo>
                <a:lnTo>
                  <a:pt x="1690699" y="275549"/>
                </a:lnTo>
                <a:lnTo>
                  <a:pt x="1690699" y="273825"/>
                </a:lnTo>
                <a:lnTo>
                  <a:pt x="1690699" y="272103"/>
                </a:lnTo>
                <a:lnTo>
                  <a:pt x="1692422" y="271365"/>
                </a:lnTo>
                <a:lnTo>
                  <a:pt x="1686760" y="256348"/>
                </a:lnTo>
                <a:lnTo>
                  <a:pt x="1683560" y="238625"/>
                </a:lnTo>
                <a:lnTo>
                  <a:pt x="1683560" y="222626"/>
                </a:lnTo>
                <a:lnTo>
                  <a:pt x="1682823" y="209088"/>
                </a:lnTo>
                <a:lnTo>
                  <a:pt x="1695130" y="208349"/>
                </a:lnTo>
                <a:lnTo>
                  <a:pt x="1704238" y="204903"/>
                </a:lnTo>
                <a:lnTo>
                  <a:pt x="1714084" y="202441"/>
                </a:lnTo>
                <a:lnTo>
                  <a:pt x="1714084" y="209088"/>
                </a:lnTo>
                <a:lnTo>
                  <a:pt x="1712361" y="214996"/>
                </a:lnTo>
                <a:lnTo>
                  <a:pt x="1710637" y="225826"/>
                </a:lnTo>
                <a:lnTo>
                  <a:pt x="1709899" y="240103"/>
                </a:lnTo>
                <a:lnTo>
                  <a:pt x="1708176" y="253641"/>
                </a:lnTo>
                <a:lnTo>
                  <a:pt x="1708176" y="263734"/>
                </a:lnTo>
                <a:lnTo>
                  <a:pt x="1712361" y="266194"/>
                </a:lnTo>
                <a:lnTo>
                  <a:pt x="1715560" y="267918"/>
                </a:lnTo>
                <a:lnTo>
                  <a:pt x="1716300" y="269640"/>
                </a:lnTo>
                <a:lnTo>
                  <a:pt x="1719499" y="271365"/>
                </a:lnTo>
                <a:lnTo>
                  <a:pt x="1723681" y="273825"/>
                </a:lnTo>
                <a:lnTo>
                  <a:pt x="1732789" y="269640"/>
                </a:lnTo>
                <a:lnTo>
                  <a:pt x="1739189" y="269640"/>
                </a:lnTo>
                <a:lnTo>
                  <a:pt x="1743373" y="272103"/>
                </a:lnTo>
                <a:lnTo>
                  <a:pt x="1749035" y="277026"/>
                </a:lnTo>
                <a:lnTo>
                  <a:pt x="1756419" y="277026"/>
                </a:lnTo>
                <a:lnTo>
                  <a:pt x="1764788" y="273580"/>
                </a:lnTo>
                <a:lnTo>
                  <a:pt x="1772173" y="269395"/>
                </a:lnTo>
                <a:lnTo>
                  <a:pt x="1776357" y="265210"/>
                </a:lnTo>
                <a:lnTo>
                  <a:pt x="1782019" y="261764"/>
                </a:lnTo>
                <a:lnTo>
                  <a:pt x="1789403" y="259303"/>
                </a:lnTo>
                <a:lnTo>
                  <a:pt x="1800973" y="260041"/>
                </a:lnTo>
                <a:lnTo>
                  <a:pt x="1816727" y="263487"/>
                </a:lnTo>
                <a:lnTo>
                  <a:pt x="1818450" y="259303"/>
                </a:lnTo>
                <a:lnTo>
                  <a:pt x="1819188" y="257580"/>
                </a:lnTo>
                <a:lnTo>
                  <a:pt x="1822388" y="254133"/>
                </a:lnTo>
                <a:lnTo>
                  <a:pt x="1824849" y="253395"/>
                </a:lnTo>
                <a:lnTo>
                  <a:pt x="1828049" y="253395"/>
                </a:lnTo>
                <a:lnTo>
                  <a:pt x="1832235" y="251673"/>
                </a:lnTo>
                <a:lnTo>
                  <a:pt x="1832235" y="226564"/>
                </a:lnTo>
                <a:lnTo>
                  <a:pt x="1835434" y="206380"/>
                </a:lnTo>
                <a:lnTo>
                  <a:pt x="1837895" y="202934"/>
                </a:lnTo>
                <a:lnTo>
                  <a:pt x="1841096" y="202195"/>
                </a:lnTo>
                <a:lnTo>
                  <a:pt x="1843557" y="198750"/>
                </a:lnTo>
                <a:lnTo>
                  <a:pt x="1846757" y="197026"/>
                </a:lnTo>
                <a:lnTo>
                  <a:pt x="1850943" y="196288"/>
                </a:lnTo>
                <a:lnTo>
                  <a:pt x="1850943" y="198750"/>
                </a:lnTo>
                <a:lnTo>
                  <a:pt x="1853403" y="202195"/>
                </a:lnTo>
                <a:lnTo>
                  <a:pt x="1855127" y="204657"/>
                </a:lnTo>
                <a:lnTo>
                  <a:pt x="1856849" y="208103"/>
                </a:lnTo>
                <a:lnTo>
                  <a:pt x="1858573" y="208841"/>
                </a:lnTo>
                <a:lnTo>
                  <a:pt x="1862757" y="210564"/>
                </a:lnTo>
                <a:lnTo>
                  <a:pt x="1866942" y="212288"/>
                </a:lnTo>
                <a:lnTo>
                  <a:pt x="1865219" y="198750"/>
                </a:lnTo>
                <a:lnTo>
                  <a:pt x="1864480" y="190380"/>
                </a:lnTo>
                <a:lnTo>
                  <a:pt x="1861280" y="184473"/>
                </a:lnTo>
                <a:lnTo>
                  <a:pt x="1859557" y="176842"/>
                </a:lnTo>
                <a:lnTo>
                  <a:pt x="1857096" y="163304"/>
                </a:lnTo>
                <a:lnTo>
                  <a:pt x="1864480" y="162565"/>
                </a:lnTo>
                <a:lnTo>
                  <a:pt x="1869404" y="159119"/>
                </a:lnTo>
                <a:lnTo>
                  <a:pt x="1874326" y="156658"/>
                </a:lnTo>
                <a:lnTo>
                  <a:pt x="1879988" y="153212"/>
                </a:lnTo>
                <a:lnTo>
                  <a:pt x="1889834" y="153212"/>
                </a:lnTo>
                <a:lnTo>
                  <a:pt x="1899680" y="154934"/>
                </a:lnTo>
                <a:lnTo>
                  <a:pt x="1907065" y="156658"/>
                </a:lnTo>
                <a:lnTo>
                  <a:pt x="1914449" y="153212"/>
                </a:lnTo>
                <a:lnTo>
                  <a:pt x="1920111" y="144842"/>
                </a:lnTo>
                <a:lnTo>
                  <a:pt x="1915187" y="143119"/>
                </a:lnTo>
                <a:lnTo>
                  <a:pt x="1911003" y="141396"/>
                </a:lnTo>
                <a:lnTo>
                  <a:pt x="1908541" y="139673"/>
                </a:lnTo>
                <a:lnTo>
                  <a:pt x="1903619" y="138935"/>
                </a:lnTo>
                <a:lnTo>
                  <a:pt x="1897957" y="138935"/>
                </a:lnTo>
                <a:lnTo>
                  <a:pt x="1883926" y="145581"/>
                </a:lnTo>
                <a:lnTo>
                  <a:pt x="1868173" y="150503"/>
                </a:lnTo>
                <a:lnTo>
                  <a:pt x="1850943" y="152965"/>
                </a:lnTo>
                <a:lnTo>
                  <a:pt x="1847742" y="145334"/>
                </a:lnTo>
                <a:lnTo>
                  <a:pt x="1843557" y="139427"/>
                </a:lnTo>
                <a:lnTo>
                  <a:pt x="1839373" y="133519"/>
                </a:lnTo>
                <a:lnTo>
                  <a:pt x="1836173" y="126873"/>
                </a:lnTo>
                <a:lnTo>
                  <a:pt x="1835434" y="115058"/>
                </a:lnTo>
                <a:lnTo>
                  <a:pt x="1836173" y="105950"/>
                </a:lnTo>
                <a:lnTo>
                  <a:pt x="1835434" y="95858"/>
                </a:lnTo>
                <a:lnTo>
                  <a:pt x="1833711" y="84042"/>
                </a:lnTo>
                <a:lnTo>
                  <a:pt x="1835434" y="73950"/>
                </a:lnTo>
                <a:lnTo>
                  <a:pt x="1842081" y="58935"/>
                </a:lnTo>
                <a:lnTo>
                  <a:pt x="1853649" y="48843"/>
                </a:lnTo>
                <a:lnTo>
                  <a:pt x="1865219" y="37027"/>
                </a:lnTo>
                <a:lnTo>
                  <a:pt x="1875065" y="25212"/>
                </a:lnTo>
                <a:lnTo>
                  <a:pt x="1882450" y="11673"/>
                </a:lnTo>
                <a:lnTo>
                  <a:pt x="1878265" y="7489"/>
                </a:lnTo>
                <a:lnTo>
                  <a:pt x="1874081" y="3304"/>
                </a:lnTo>
                <a:close/>
                <a:moveTo>
                  <a:pt x="1731537" y="0"/>
                </a:moveTo>
                <a:lnTo>
                  <a:pt x="1863626" y="0"/>
                </a:lnTo>
                <a:lnTo>
                  <a:pt x="1858327" y="843"/>
                </a:lnTo>
                <a:lnTo>
                  <a:pt x="1845034" y="1582"/>
                </a:lnTo>
                <a:lnTo>
                  <a:pt x="1840850" y="22505"/>
                </a:lnTo>
                <a:lnTo>
                  <a:pt x="1833465" y="38504"/>
                </a:lnTo>
                <a:lnTo>
                  <a:pt x="1823619" y="52043"/>
                </a:lnTo>
                <a:lnTo>
                  <a:pt x="1812050" y="64596"/>
                </a:lnTo>
                <a:lnTo>
                  <a:pt x="1801219" y="79612"/>
                </a:lnTo>
                <a:lnTo>
                  <a:pt x="1794573" y="97335"/>
                </a:lnTo>
                <a:lnTo>
                  <a:pt x="1789649" y="117519"/>
                </a:lnTo>
                <a:lnTo>
                  <a:pt x="1798758" y="125150"/>
                </a:lnTo>
                <a:lnTo>
                  <a:pt x="1807126" y="133519"/>
                </a:lnTo>
                <a:lnTo>
                  <a:pt x="1812788" y="144350"/>
                </a:lnTo>
                <a:lnTo>
                  <a:pt x="1815988" y="156904"/>
                </a:lnTo>
                <a:lnTo>
                  <a:pt x="1811804" y="158626"/>
                </a:lnTo>
                <a:lnTo>
                  <a:pt x="1810081" y="160350"/>
                </a:lnTo>
                <a:lnTo>
                  <a:pt x="1808357" y="162073"/>
                </a:lnTo>
                <a:lnTo>
                  <a:pt x="1808357" y="162811"/>
                </a:lnTo>
                <a:lnTo>
                  <a:pt x="1806634" y="164535"/>
                </a:lnTo>
                <a:lnTo>
                  <a:pt x="1806634" y="167981"/>
                </a:lnTo>
                <a:lnTo>
                  <a:pt x="1805896" y="168719"/>
                </a:lnTo>
                <a:lnTo>
                  <a:pt x="1786943" y="176349"/>
                </a:lnTo>
                <a:lnTo>
                  <a:pt x="1784481" y="194073"/>
                </a:lnTo>
                <a:lnTo>
                  <a:pt x="1778819" y="207611"/>
                </a:lnTo>
                <a:lnTo>
                  <a:pt x="1773158" y="217703"/>
                </a:lnTo>
                <a:lnTo>
                  <a:pt x="1764050" y="226073"/>
                </a:lnTo>
                <a:lnTo>
                  <a:pt x="1756666" y="235180"/>
                </a:lnTo>
                <a:lnTo>
                  <a:pt x="1750019" y="246995"/>
                </a:lnTo>
                <a:lnTo>
                  <a:pt x="1745097" y="246995"/>
                </a:lnTo>
                <a:lnTo>
                  <a:pt x="1745097" y="243549"/>
                </a:lnTo>
                <a:lnTo>
                  <a:pt x="1733527" y="227549"/>
                </a:lnTo>
                <a:lnTo>
                  <a:pt x="1726881" y="209826"/>
                </a:lnTo>
                <a:lnTo>
                  <a:pt x="1721958" y="190626"/>
                </a:lnTo>
                <a:lnTo>
                  <a:pt x="1713592" y="168719"/>
                </a:lnTo>
                <a:lnTo>
                  <a:pt x="1702022" y="174627"/>
                </a:lnTo>
                <a:lnTo>
                  <a:pt x="1694637" y="182257"/>
                </a:lnTo>
                <a:lnTo>
                  <a:pt x="1686269" y="188165"/>
                </a:lnTo>
                <a:lnTo>
                  <a:pt x="1677161" y="192349"/>
                </a:lnTo>
                <a:lnTo>
                  <a:pt x="1663130" y="195795"/>
                </a:lnTo>
                <a:lnTo>
                  <a:pt x="1661407" y="194073"/>
                </a:lnTo>
                <a:lnTo>
                  <a:pt x="1659684" y="194073"/>
                </a:lnTo>
                <a:lnTo>
                  <a:pt x="1658946" y="194073"/>
                </a:lnTo>
                <a:lnTo>
                  <a:pt x="1657223" y="192349"/>
                </a:lnTo>
                <a:lnTo>
                  <a:pt x="1654023" y="192349"/>
                </a:lnTo>
                <a:lnTo>
                  <a:pt x="1653285" y="174627"/>
                </a:lnTo>
                <a:lnTo>
                  <a:pt x="1651560" y="160350"/>
                </a:lnTo>
                <a:lnTo>
                  <a:pt x="1648361" y="148534"/>
                </a:lnTo>
                <a:lnTo>
                  <a:pt x="1645899" y="134996"/>
                </a:lnTo>
                <a:lnTo>
                  <a:pt x="1644176" y="117273"/>
                </a:lnTo>
                <a:lnTo>
                  <a:pt x="1651560" y="109642"/>
                </a:lnTo>
                <a:lnTo>
                  <a:pt x="1654023" y="102997"/>
                </a:lnTo>
                <a:lnTo>
                  <a:pt x="1655746" y="93889"/>
                </a:lnTo>
                <a:lnTo>
                  <a:pt x="1659931" y="82074"/>
                </a:lnTo>
                <a:lnTo>
                  <a:pt x="1663130" y="79612"/>
                </a:lnTo>
                <a:lnTo>
                  <a:pt x="1667315" y="75428"/>
                </a:lnTo>
                <a:lnTo>
                  <a:pt x="1671499" y="70504"/>
                </a:lnTo>
                <a:lnTo>
                  <a:pt x="1676422" y="66319"/>
                </a:lnTo>
                <a:lnTo>
                  <a:pt x="1678884" y="68042"/>
                </a:lnTo>
                <a:lnTo>
                  <a:pt x="1680607" y="69765"/>
                </a:lnTo>
                <a:lnTo>
                  <a:pt x="1682329" y="70504"/>
                </a:lnTo>
                <a:lnTo>
                  <a:pt x="1683068" y="72227"/>
                </a:lnTo>
                <a:lnTo>
                  <a:pt x="1686269" y="69765"/>
                </a:lnTo>
                <a:lnTo>
                  <a:pt x="1687991" y="66319"/>
                </a:lnTo>
                <a:lnTo>
                  <a:pt x="1688731" y="63858"/>
                </a:lnTo>
                <a:lnTo>
                  <a:pt x="1690453" y="58935"/>
                </a:lnTo>
                <a:lnTo>
                  <a:pt x="1692176" y="56473"/>
                </a:lnTo>
                <a:lnTo>
                  <a:pt x="1702022" y="50566"/>
                </a:lnTo>
                <a:lnTo>
                  <a:pt x="1710391" y="47119"/>
                </a:lnTo>
                <a:lnTo>
                  <a:pt x="1717775" y="40473"/>
                </a:lnTo>
                <a:lnTo>
                  <a:pt x="1715314" y="38750"/>
                </a:lnTo>
                <a:lnTo>
                  <a:pt x="1713592" y="38750"/>
                </a:lnTo>
                <a:lnTo>
                  <a:pt x="1711869" y="38750"/>
                </a:lnTo>
                <a:lnTo>
                  <a:pt x="1711869" y="37027"/>
                </a:lnTo>
                <a:lnTo>
                  <a:pt x="1711869" y="34566"/>
                </a:lnTo>
                <a:lnTo>
                  <a:pt x="1710146" y="31120"/>
                </a:lnTo>
                <a:lnTo>
                  <a:pt x="1720975" y="17581"/>
                </a:lnTo>
                <a:lnTo>
                  <a:pt x="1730820" y="1582"/>
                </a:lnTo>
                <a:close/>
                <a:moveTo>
                  <a:pt x="1335283" y="0"/>
                </a:moveTo>
                <a:lnTo>
                  <a:pt x="1355141" y="0"/>
                </a:lnTo>
                <a:lnTo>
                  <a:pt x="1357409" y="4536"/>
                </a:lnTo>
                <a:lnTo>
                  <a:pt x="1360609" y="6998"/>
                </a:lnTo>
                <a:lnTo>
                  <a:pt x="1363070" y="12905"/>
                </a:lnTo>
                <a:lnTo>
                  <a:pt x="1372178" y="5521"/>
                </a:lnTo>
                <a:lnTo>
                  <a:pt x="1380000" y="0"/>
                </a:lnTo>
                <a:lnTo>
                  <a:pt x="1394146" y="0"/>
                </a:lnTo>
                <a:lnTo>
                  <a:pt x="1396054" y="1337"/>
                </a:lnTo>
                <a:lnTo>
                  <a:pt x="1396054" y="2812"/>
                </a:lnTo>
                <a:lnTo>
                  <a:pt x="1397778" y="2812"/>
                </a:lnTo>
                <a:lnTo>
                  <a:pt x="1399501" y="2812"/>
                </a:lnTo>
                <a:lnTo>
                  <a:pt x="1401962" y="2812"/>
                </a:lnTo>
                <a:lnTo>
                  <a:pt x="1407235" y="0"/>
                </a:lnTo>
                <a:lnTo>
                  <a:pt x="1442331" y="0"/>
                </a:lnTo>
                <a:lnTo>
                  <a:pt x="1442331" y="2812"/>
                </a:lnTo>
                <a:lnTo>
                  <a:pt x="1442331" y="6998"/>
                </a:lnTo>
                <a:lnTo>
                  <a:pt x="1444054" y="18813"/>
                </a:lnTo>
                <a:lnTo>
                  <a:pt x="1445777" y="32105"/>
                </a:lnTo>
                <a:lnTo>
                  <a:pt x="1445777" y="43674"/>
                </a:lnTo>
                <a:lnTo>
                  <a:pt x="1429285" y="52043"/>
                </a:lnTo>
                <a:lnTo>
                  <a:pt x="1411070" y="59428"/>
                </a:lnTo>
                <a:lnTo>
                  <a:pt x="1393594" y="67796"/>
                </a:lnTo>
                <a:lnTo>
                  <a:pt x="1378824" y="79612"/>
                </a:lnTo>
                <a:lnTo>
                  <a:pt x="1374640" y="77151"/>
                </a:lnTo>
                <a:lnTo>
                  <a:pt x="1367255" y="73705"/>
                </a:lnTo>
                <a:lnTo>
                  <a:pt x="1357409" y="67796"/>
                </a:lnTo>
                <a:lnTo>
                  <a:pt x="1349040" y="63612"/>
                </a:lnTo>
                <a:lnTo>
                  <a:pt x="1341655" y="59428"/>
                </a:lnTo>
                <a:lnTo>
                  <a:pt x="1338209" y="56228"/>
                </a:lnTo>
                <a:lnTo>
                  <a:pt x="1339932" y="55490"/>
                </a:lnTo>
                <a:lnTo>
                  <a:pt x="1341655" y="53766"/>
                </a:lnTo>
                <a:lnTo>
                  <a:pt x="1343378" y="52043"/>
                </a:lnTo>
                <a:lnTo>
                  <a:pt x="1343378" y="50320"/>
                </a:lnTo>
                <a:lnTo>
                  <a:pt x="1344116" y="47859"/>
                </a:lnTo>
                <a:lnTo>
                  <a:pt x="1339932" y="44658"/>
                </a:lnTo>
                <a:lnTo>
                  <a:pt x="1334271" y="43674"/>
                </a:lnTo>
                <a:lnTo>
                  <a:pt x="1330086" y="40474"/>
                </a:lnTo>
                <a:lnTo>
                  <a:pt x="1325901" y="38012"/>
                </a:lnTo>
                <a:lnTo>
                  <a:pt x="1328363" y="38012"/>
                </a:lnTo>
                <a:lnTo>
                  <a:pt x="1331809" y="34567"/>
                </a:lnTo>
                <a:lnTo>
                  <a:pt x="1332547" y="32844"/>
                </a:lnTo>
                <a:lnTo>
                  <a:pt x="1334271" y="32844"/>
                </a:lnTo>
                <a:lnTo>
                  <a:pt x="1335747" y="32105"/>
                </a:lnTo>
                <a:lnTo>
                  <a:pt x="1339932" y="32105"/>
                </a:lnTo>
                <a:lnTo>
                  <a:pt x="1344116" y="32105"/>
                </a:lnTo>
                <a:lnTo>
                  <a:pt x="1344116" y="21275"/>
                </a:lnTo>
                <a:lnTo>
                  <a:pt x="1322701" y="21275"/>
                </a:lnTo>
                <a:lnTo>
                  <a:pt x="1318517" y="12905"/>
                </a:lnTo>
                <a:lnTo>
                  <a:pt x="1325901" y="6998"/>
                </a:lnTo>
                <a:lnTo>
                  <a:pt x="1331809" y="1337"/>
                </a:lnTo>
                <a:close/>
                <a:moveTo>
                  <a:pt x="994515" y="0"/>
                </a:moveTo>
                <a:lnTo>
                  <a:pt x="1240498" y="0"/>
                </a:lnTo>
                <a:lnTo>
                  <a:pt x="1238272" y="6013"/>
                </a:lnTo>
                <a:lnTo>
                  <a:pt x="1230887" y="13644"/>
                </a:lnTo>
                <a:lnTo>
                  <a:pt x="1218579" y="22012"/>
                </a:lnTo>
                <a:lnTo>
                  <a:pt x="1202088" y="29643"/>
                </a:lnTo>
                <a:lnTo>
                  <a:pt x="1188057" y="35551"/>
                </a:lnTo>
                <a:lnTo>
                  <a:pt x="1174765" y="38997"/>
                </a:lnTo>
                <a:lnTo>
                  <a:pt x="1174765" y="35551"/>
                </a:lnTo>
                <a:lnTo>
                  <a:pt x="1174765" y="33089"/>
                </a:lnTo>
                <a:lnTo>
                  <a:pt x="1173042" y="33089"/>
                </a:lnTo>
                <a:lnTo>
                  <a:pt x="1173042" y="31367"/>
                </a:lnTo>
                <a:lnTo>
                  <a:pt x="1172304" y="29643"/>
                </a:lnTo>
                <a:lnTo>
                  <a:pt x="1170580" y="41458"/>
                </a:lnTo>
                <a:lnTo>
                  <a:pt x="1166396" y="51551"/>
                </a:lnTo>
                <a:lnTo>
                  <a:pt x="1163196" y="60658"/>
                </a:lnTo>
                <a:lnTo>
                  <a:pt x="1159011" y="69027"/>
                </a:lnTo>
                <a:lnTo>
                  <a:pt x="1155811" y="80844"/>
                </a:lnTo>
                <a:lnTo>
                  <a:pt x="1159011" y="82566"/>
                </a:lnTo>
                <a:lnTo>
                  <a:pt x="1159011" y="84289"/>
                </a:lnTo>
                <a:lnTo>
                  <a:pt x="1160735" y="84289"/>
                </a:lnTo>
                <a:lnTo>
                  <a:pt x="1160735" y="86012"/>
                </a:lnTo>
                <a:lnTo>
                  <a:pt x="1159011" y="86750"/>
                </a:lnTo>
                <a:lnTo>
                  <a:pt x="1155811" y="90197"/>
                </a:lnTo>
                <a:lnTo>
                  <a:pt x="1153350" y="91920"/>
                </a:lnTo>
                <a:lnTo>
                  <a:pt x="1150889" y="94381"/>
                </a:lnTo>
                <a:lnTo>
                  <a:pt x="1147689" y="96104"/>
                </a:lnTo>
                <a:lnTo>
                  <a:pt x="1145965" y="98566"/>
                </a:lnTo>
                <a:lnTo>
                  <a:pt x="1143504" y="102750"/>
                </a:lnTo>
                <a:lnTo>
                  <a:pt x="1137597" y="119489"/>
                </a:lnTo>
                <a:lnTo>
                  <a:pt x="1133412" y="136966"/>
                </a:lnTo>
                <a:lnTo>
                  <a:pt x="1131688" y="157150"/>
                </a:lnTo>
                <a:lnTo>
                  <a:pt x="1128489" y="176350"/>
                </a:lnTo>
                <a:lnTo>
                  <a:pt x="1124305" y="193826"/>
                </a:lnTo>
                <a:lnTo>
                  <a:pt x="1121842" y="192104"/>
                </a:lnTo>
                <a:lnTo>
                  <a:pt x="1120119" y="192104"/>
                </a:lnTo>
                <a:lnTo>
                  <a:pt x="1120119" y="190380"/>
                </a:lnTo>
                <a:lnTo>
                  <a:pt x="1118396" y="190380"/>
                </a:lnTo>
                <a:lnTo>
                  <a:pt x="1114212" y="187919"/>
                </a:lnTo>
                <a:lnTo>
                  <a:pt x="1106828" y="182012"/>
                </a:lnTo>
                <a:lnTo>
                  <a:pt x="1095258" y="172903"/>
                </a:lnTo>
                <a:lnTo>
                  <a:pt x="1081966" y="165273"/>
                </a:lnTo>
                <a:lnTo>
                  <a:pt x="1069658" y="156904"/>
                </a:lnTo>
                <a:lnTo>
                  <a:pt x="1059813" y="149273"/>
                </a:lnTo>
                <a:lnTo>
                  <a:pt x="1050706" y="145088"/>
                </a:lnTo>
                <a:lnTo>
                  <a:pt x="1048243" y="143366"/>
                </a:lnTo>
                <a:lnTo>
                  <a:pt x="1045043" y="111612"/>
                </a:lnTo>
                <a:lnTo>
                  <a:pt x="1043320" y="108166"/>
                </a:lnTo>
                <a:lnTo>
                  <a:pt x="1039136" y="105705"/>
                </a:lnTo>
                <a:lnTo>
                  <a:pt x="1036674" y="103982"/>
                </a:lnTo>
                <a:lnTo>
                  <a:pt x="1031751" y="100535"/>
                </a:lnTo>
                <a:lnTo>
                  <a:pt x="1029290" y="98074"/>
                </a:lnTo>
                <a:lnTo>
                  <a:pt x="1031751" y="96351"/>
                </a:lnTo>
                <a:lnTo>
                  <a:pt x="1031751" y="94628"/>
                </a:lnTo>
                <a:lnTo>
                  <a:pt x="1033474" y="93889"/>
                </a:lnTo>
                <a:lnTo>
                  <a:pt x="1035197" y="90443"/>
                </a:lnTo>
                <a:lnTo>
                  <a:pt x="1036919" y="87982"/>
                </a:lnTo>
                <a:lnTo>
                  <a:pt x="1029536" y="87982"/>
                </a:lnTo>
                <a:lnTo>
                  <a:pt x="1025351" y="87982"/>
                </a:lnTo>
                <a:lnTo>
                  <a:pt x="1022152" y="87982"/>
                </a:lnTo>
                <a:lnTo>
                  <a:pt x="1020428" y="86258"/>
                </a:lnTo>
                <a:lnTo>
                  <a:pt x="1019689" y="83797"/>
                </a:lnTo>
                <a:lnTo>
                  <a:pt x="1016489" y="78873"/>
                </a:lnTo>
                <a:lnTo>
                  <a:pt x="1014766" y="76413"/>
                </a:lnTo>
                <a:lnTo>
                  <a:pt x="1014766" y="72966"/>
                </a:lnTo>
                <a:lnTo>
                  <a:pt x="1014766" y="72227"/>
                </a:lnTo>
                <a:lnTo>
                  <a:pt x="1014766" y="68782"/>
                </a:lnTo>
                <a:lnTo>
                  <a:pt x="1016489" y="66320"/>
                </a:lnTo>
                <a:lnTo>
                  <a:pt x="1016489" y="62874"/>
                </a:lnTo>
                <a:lnTo>
                  <a:pt x="1008119" y="62874"/>
                </a:lnTo>
                <a:lnTo>
                  <a:pt x="1008119" y="58690"/>
                </a:lnTo>
                <a:lnTo>
                  <a:pt x="1008859" y="54505"/>
                </a:lnTo>
                <a:lnTo>
                  <a:pt x="1010582" y="52782"/>
                </a:lnTo>
                <a:lnTo>
                  <a:pt x="1010582" y="49828"/>
                </a:lnTo>
                <a:lnTo>
                  <a:pt x="1012305" y="47366"/>
                </a:lnTo>
                <a:lnTo>
                  <a:pt x="1014028" y="43181"/>
                </a:lnTo>
                <a:lnTo>
                  <a:pt x="1009104" y="43181"/>
                </a:lnTo>
                <a:lnTo>
                  <a:pt x="1004182" y="43181"/>
                </a:lnTo>
                <a:lnTo>
                  <a:pt x="1001720" y="41458"/>
                </a:lnTo>
                <a:lnTo>
                  <a:pt x="996797" y="39735"/>
                </a:lnTo>
                <a:lnTo>
                  <a:pt x="996059" y="18075"/>
                </a:lnTo>
                <a:close/>
                <a:moveTo>
                  <a:pt x="864598" y="0"/>
                </a:moveTo>
                <a:lnTo>
                  <a:pt x="901871" y="0"/>
                </a:lnTo>
                <a:lnTo>
                  <a:pt x="899566" y="15368"/>
                </a:lnTo>
                <a:lnTo>
                  <a:pt x="895383" y="17090"/>
                </a:lnTo>
                <a:lnTo>
                  <a:pt x="890459" y="17090"/>
                </a:lnTo>
                <a:lnTo>
                  <a:pt x="886521" y="17829"/>
                </a:lnTo>
                <a:lnTo>
                  <a:pt x="880613" y="17829"/>
                </a:lnTo>
                <a:lnTo>
                  <a:pt x="874951" y="11183"/>
                </a:lnTo>
                <a:lnTo>
                  <a:pt x="867321" y="3552"/>
                </a:lnTo>
                <a:close/>
                <a:moveTo>
                  <a:pt x="769123" y="0"/>
                </a:moveTo>
                <a:lnTo>
                  <a:pt x="842019" y="0"/>
                </a:lnTo>
                <a:lnTo>
                  <a:pt x="845906" y="11921"/>
                </a:lnTo>
                <a:lnTo>
                  <a:pt x="851813" y="37275"/>
                </a:lnTo>
                <a:lnTo>
                  <a:pt x="861659" y="37275"/>
                </a:lnTo>
                <a:lnTo>
                  <a:pt x="867321" y="48845"/>
                </a:lnTo>
                <a:lnTo>
                  <a:pt x="872244" y="60660"/>
                </a:lnTo>
                <a:lnTo>
                  <a:pt x="873228" y="76660"/>
                </a:lnTo>
                <a:lnTo>
                  <a:pt x="872244" y="78383"/>
                </a:lnTo>
                <a:lnTo>
                  <a:pt x="870767" y="79859"/>
                </a:lnTo>
                <a:lnTo>
                  <a:pt x="870767" y="81582"/>
                </a:lnTo>
                <a:lnTo>
                  <a:pt x="869044" y="82567"/>
                </a:lnTo>
                <a:lnTo>
                  <a:pt x="867321" y="84290"/>
                </a:lnTo>
                <a:lnTo>
                  <a:pt x="864858" y="85767"/>
                </a:lnTo>
                <a:lnTo>
                  <a:pt x="859198" y="82567"/>
                </a:lnTo>
                <a:lnTo>
                  <a:pt x="851813" y="78383"/>
                </a:lnTo>
                <a:lnTo>
                  <a:pt x="844182" y="74198"/>
                </a:lnTo>
                <a:lnTo>
                  <a:pt x="838521" y="70752"/>
                </a:lnTo>
                <a:lnTo>
                  <a:pt x="836060" y="70013"/>
                </a:lnTo>
                <a:lnTo>
                  <a:pt x="833598" y="70013"/>
                </a:lnTo>
                <a:lnTo>
                  <a:pt x="841721" y="81582"/>
                </a:lnTo>
                <a:lnTo>
                  <a:pt x="849352" y="91675"/>
                </a:lnTo>
                <a:lnTo>
                  <a:pt x="855013" y="104229"/>
                </a:lnTo>
                <a:lnTo>
                  <a:pt x="851813" y="104229"/>
                </a:lnTo>
                <a:lnTo>
                  <a:pt x="841721" y="100044"/>
                </a:lnTo>
                <a:lnTo>
                  <a:pt x="828674" y="97582"/>
                </a:lnTo>
                <a:lnTo>
                  <a:pt x="814644" y="94136"/>
                </a:lnTo>
                <a:lnTo>
                  <a:pt x="804551" y="88475"/>
                </a:lnTo>
                <a:lnTo>
                  <a:pt x="795689" y="79859"/>
                </a:lnTo>
                <a:lnTo>
                  <a:pt x="789782" y="66567"/>
                </a:lnTo>
                <a:lnTo>
                  <a:pt x="784121" y="54752"/>
                </a:lnTo>
                <a:lnTo>
                  <a:pt x="775751" y="43183"/>
                </a:lnTo>
                <a:lnTo>
                  <a:pt x="766644" y="34568"/>
                </a:lnTo>
                <a:lnTo>
                  <a:pt x="754336" y="41460"/>
                </a:lnTo>
                <a:lnTo>
                  <a:pt x="739321" y="46383"/>
                </a:lnTo>
                <a:lnTo>
                  <a:pt x="722090" y="47368"/>
                </a:lnTo>
                <a:lnTo>
                  <a:pt x="720368" y="43183"/>
                </a:lnTo>
                <a:lnTo>
                  <a:pt x="719628" y="38998"/>
                </a:lnTo>
                <a:lnTo>
                  <a:pt x="719628" y="34568"/>
                </a:lnTo>
                <a:lnTo>
                  <a:pt x="719628" y="28906"/>
                </a:lnTo>
                <a:lnTo>
                  <a:pt x="731937" y="23737"/>
                </a:lnTo>
                <a:lnTo>
                  <a:pt x="748428" y="19552"/>
                </a:lnTo>
                <a:lnTo>
                  <a:pt x="762460" y="15368"/>
                </a:lnTo>
                <a:lnTo>
                  <a:pt x="766644" y="6998"/>
                </a:lnTo>
                <a:close/>
                <a:moveTo>
                  <a:pt x="0" y="0"/>
                </a:moveTo>
                <a:lnTo>
                  <a:pt x="611304" y="0"/>
                </a:lnTo>
                <a:lnTo>
                  <a:pt x="611815" y="1336"/>
                </a:lnTo>
                <a:lnTo>
                  <a:pt x="610093" y="10444"/>
                </a:lnTo>
                <a:lnTo>
                  <a:pt x="608368" y="24721"/>
                </a:lnTo>
                <a:lnTo>
                  <a:pt x="600984" y="24721"/>
                </a:lnTo>
                <a:lnTo>
                  <a:pt x="591138" y="18813"/>
                </a:lnTo>
                <a:lnTo>
                  <a:pt x="577108" y="15367"/>
                </a:lnTo>
                <a:lnTo>
                  <a:pt x="577108" y="18567"/>
                </a:lnTo>
                <a:lnTo>
                  <a:pt x="579569" y="18567"/>
                </a:lnTo>
                <a:lnTo>
                  <a:pt x="582769" y="21028"/>
                </a:lnTo>
                <a:lnTo>
                  <a:pt x="584492" y="22751"/>
                </a:lnTo>
                <a:lnTo>
                  <a:pt x="585230" y="24474"/>
                </a:lnTo>
                <a:lnTo>
                  <a:pt x="586954" y="26197"/>
                </a:lnTo>
                <a:lnTo>
                  <a:pt x="588677" y="30382"/>
                </a:lnTo>
                <a:lnTo>
                  <a:pt x="588677" y="34567"/>
                </a:lnTo>
                <a:lnTo>
                  <a:pt x="586954" y="38012"/>
                </a:lnTo>
                <a:lnTo>
                  <a:pt x="584492" y="40474"/>
                </a:lnTo>
                <a:lnTo>
                  <a:pt x="582769" y="43921"/>
                </a:lnTo>
                <a:lnTo>
                  <a:pt x="575384" y="49828"/>
                </a:lnTo>
                <a:lnTo>
                  <a:pt x="569722" y="55735"/>
                </a:lnTo>
                <a:lnTo>
                  <a:pt x="567262" y="62381"/>
                </a:lnTo>
                <a:lnTo>
                  <a:pt x="564061" y="73213"/>
                </a:lnTo>
                <a:lnTo>
                  <a:pt x="558400" y="73213"/>
                </a:lnTo>
                <a:lnTo>
                  <a:pt x="554215" y="71489"/>
                </a:lnTo>
                <a:lnTo>
                  <a:pt x="550031" y="69766"/>
                </a:lnTo>
                <a:lnTo>
                  <a:pt x="546830" y="68043"/>
                </a:lnTo>
                <a:lnTo>
                  <a:pt x="541169" y="67305"/>
                </a:lnTo>
                <a:lnTo>
                  <a:pt x="541169" y="69766"/>
                </a:lnTo>
                <a:lnTo>
                  <a:pt x="548554" y="69766"/>
                </a:lnTo>
                <a:lnTo>
                  <a:pt x="550277" y="73213"/>
                </a:lnTo>
                <a:lnTo>
                  <a:pt x="551015" y="75673"/>
                </a:lnTo>
                <a:lnTo>
                  <a:pt x="552739" y="77397"/>
                </a:lnTo>
                <a:lnTo>
                  <a:pt x="552739" y="79858"/>
                </a:lnTo>
                <a:lnTo>
                  <a:pt x="554461" y="84782"/>
                </a:lnTo>
                <a:lnTo>
                  <a:pt x="554461" y="88966"/>
                </a:lnTo>
                <a:lnTo>
                  <a:pt x="541169" y="93151"/>
                </a:lnTo>
                <a:lnTo>
                  <a:pt x="529601" y="100535"/>
                </a:lnTo>
                <a:lnTo>
                  <a:pt x="522216" y="108904"/>
                </a:lnTo>
                <a:lnTo>
                  <a:pt x="517292" y="122196"/>
                </a:lnTo>
                <a:lnTo>
                  <a:pt x="517292" y="141397"/>
                </a:lnTo>
                <a:lnTo>
                  <a:pt x="522216" y="152966"/>
                </a:lnTo>
                <a:lnTo>
                  <a:pt x="525416" y="168719"/>
                </a:lnTo>
                <a:lnTo>
                  <a:pt x="525416" y="184473"/>
                </a:lnTo>
                <a:lnTo>
                  <a:pt x="541169" y="184473"/>
                </a:lnTo>
                <a:lnTo>
                  <a:pt x="541169" y="191857"/>
                </a:lnTo>
                <a:lnTo>
                  <a:pt x="544369" y="194320"/>
                </a:lnTo>
                <a:lnTo>
                  <a:pt x="544369" y="197765"/>
                </a:lnTo>
                <a:lnTo>
                  <a:pt x="544369" y="200227"/>
                </a:lnTo>
                <a:lnTo>
                  <a:pt x="544369" y="201950"/>
                </a:lnTo>
                <a:lnTo>
                  <a:pt x="544369" y="203673"/>
                </a:lnTo>
                <a:lnTo>
                  <a:pt x="544369" y="204411"/>
                </a:lnTo>
                <a:lnTo>
                  <a:pt x="545108" y="206134"/>
                </a:lnTo>
                <a:lnTo>
                  <a:pt x="550031" y="206134"/>
                </a:lnTo>
                <a:lnTo>
                  <a:pt x="554215" y="207857"/>
                </a:lnTo>
                <a:lnTo>
                  <a:pt x="564061" y="206134"/>
                </a:lnTo>
                <a:lnTo>
                  <a:pt x="573908" y="210319"/>
                </a:lnTo>
                <a:lnTo>
                  <a:pt x="584739" y="217703"/>
                </a:lnTo>
                <a:lnTo>
                  <a:pt x="594584" y="227795"/>
                </a:lnTo>
                <a:lnTo>
                  <a:pt x="602954" y="236903"/>
                </a:lnTo>
                <a:lnTo>
                  <a:pt x="613292" y="242072"/>
                </a:lnTo>
                <a:lnTo>
                  <a:pt x="617476" y="243795"/>
                </a:lnTo>
                <a:lnTo>
                  <a:pt x="619938" y="244534"/>
                </a:lnTo>
                <a:lnTo>
                  <a:pt x="623138" y="243795"/>
                </a:lnTo>
                <a:lnTo>
                  <a:pt x="625600" y="243795"/>
                </a:lnTo>
                <a:lnTo>
                  <a:pt x="627323" y="242072"/>
                </a:lnTo>
                <a:lnTo>
                  <a:pt x="630523" y="240349"/>
                </a:lnTo>
                <a:lnTo>
                  <a:pt x="631261" y="238626"/>
                </a:lnTo>
                <a:lnTo>
                  <a:pt x="634462" y="238626"/>
                </a:lnTo>
                <a:lnTo>
                  <a:pt x="657600" y="244534"/>
                </a:lnTo>
                <a:lnTo>
                  <a:pt x="660060" y="260288"/>
                </a:lnTo>
                <a:lnTo>
                  <a:pt x="663261" y="271857"/>
                </a:lnTo>
                <a:lnTo>
                  <a:pt x="664984" y="280965"/>
                </a:lnTo>
                <a:lnTo>
                  <a:pt x="665722" y="289334"/>
                </a:lnTo>
                <a:lnTo>
                  <a:pt x="668922" y="298441"/>
                </a:lnTo>
                <a:lnTo>
                  <a:pt x="676307" y="308534"/>
                </a:lnTo>
                <a:lnTo>
                  <a:pt x="684676" y="321827"/>
                </a:lnTo>
                <a:lnTo>
                  <a:pt x="687138" y="320103"/>
                </a:lnTo>
                <a:lnTo>
                  <a:pt x="688860" y="320103"/>
                </a:lnTo>
                <a:lnTo>
                  <a:pt x="690584" y="318380"/>
                </a:lnTo>
                <a:lnTo>
                  <a:pt x="692306" y="318380"/>
                </a:lnTo>
                <a:lnTo>
                  <a:pt x="694769" y="317642"/>
                </a:lnTo>
                <a:lnTo>
                  <a:pt x="696491" y="317642"/>
                </a:lnTo>
                <a:lnTo>
                  <a:pt x="696491" y="315918"/>
                </a:lnTo>
                <a:lnTo>
                  <a:pt x="696491" y="314196"/>
                </a:lnTo>
                <a:lnTo>
                  <a:pt x="698215" y="311734"/>
                </a:lnTo>
                <a:lnTo>
                  <a:pt x="698215" y="302626"/>
                </a:lnTo>
                <a:lnTo>
                  <a:pt x="696491" y="291057"/>
                </a:lnTo>
                <a:lnTo>
                  <a:pt x="693291" y="276780"/>
                </a:lnTo>
                <a:lnTo>
                  <a:pt x="689107" y="263488"/>
                </a:lnTo>
                <a:lnTo>
                  <a:pt x="700676" y="257580"/>
                </a:lnTo>
                <a:lnTo>
                  <a:pt x="712246" y="249211"/>
                </a:lnTo>
                <a:lnTo>
                  <a:pt x="719629" y="237641"/>
                </a:lnTo>
                <a:lnTo>
                  <a:pt x="723814" y="222627"/>
                </a:lnTo>
                <a:lnTo>
                  <a:pt x="725538" y="214258"/>
                </a:lnTo>
                <a:lnTo>
                  <a:pt x="723814" y="200966"/>
                </a:lnTo>
                <a:lnTo>
                  <a:pt x="723814" y="187674"/>
                </a:lnTo>
                <a:lnTo>
                  <a:pt x="718153" y="185211"/>
                </a:lnTo>
                <a:lnTo>
                  <a:pt x="715692" y="183488"/>
                </a:lnTo>
                <a:lnTo>
                  <a:pt x="712491" y="181765"/>
                </a:lnTo>
                <a:lnTo>
                  <a:pt x="710030" y="179304"/>
                </a:lnTo>
                <a:lnTo>
                  <a:pt x="708307" y="174381"/>
                </a:lnTo>
                <a:lnTo>
                  <a:pt x="713968" y="164288"/>
                </a:lnTo>
                <a:lnTo>
                  <a:pt x="716429" y="152719"/>
                </a:lnTo>
                <a:lnTo>
                  <a:pt x="713968" y="140166"/>
                </a:lnTo>
                <a:lnTo>
                  <a:pt x="710768" y="126874"/>
                </a:lnTo>
                <a:lnTo>
                  <a:pt x="706583" y="111858"/>
                </a:lnTo>
                <a:lnTo>
                  <a:pt x="704861" y="97581"/>
                </a:lnTo>
                <a:lnTo>
                  <a:pt x="708061" y="97581"/>
                </a:lnTo>
                <a:lnTo>
                  <a:pt x="708061" y="94135"/>
                </a:lnTo>
                <a:lnTo>
                  <a:pt x="727999" y="97581"/>
                </a:lnTo>
                <a:lnTo>
                  <a:pt x="745229" y="97581"/>
                </a:lnTo>
                <a:lnTo>
                  <a:pt x="764184" y="94135"/>
                </a:lnTo>
                <a:lnTo>
                  <a:pt x="768368" y="101520"/>
                </a:lnTo>
                <a:lnTo>
                  <a:pt x="772552" y="111612"/>
                </a:lnTo>
                <a:lnTo>
                  <a:pt x="777476" y="118996"/>
                </a:lnTo>
                <a:lnTo>
                  <a:pt x="781660" y="122443"/>
                </a:lnTo>
                <a:lnTo>
                  <a:pt x="784122" y="123181"/>
                </a:lnTo>
                <a:lnTo>
                  <a:pt x="789044" y="123181"/>
                </a:lnTo>
                <a:lnTo>
                  <a:pt x="793229" y="124904"/>
                </a:lnTo>
                <a:lnTo>
                  <a:pt x="797415" y="126627"/>
                </a:lnTo>
                <a:lnTo>
                  <a:pt x="800615" y="129089"/>
                </a:lnTo>
                <a:lnTo>
                  <a:pt x="801352" y="136473"/>
                </a:lnTo>
                <a:lnTo>
                  <a:pt x="804552" y="149765"/>
                </a:lnTo>
                <a:lnTo>
                  <a:pt x="806276" y="161335"/>
                </a:lnTo>
                <a:lnTo>
                  <a:pt x="808736" y="169704"/>
                </a:lnTo>
                <a:lnTo>
                  <a:pt x="810460" y="171426"/>
                </a:lnTo>
                <a:lnTo>
                  <a:pt x="812922" y="173888"/>
                </a:lnTo>
                <a:lnTo>
                  <a:pt x="816122" y="175612"/>
                </a:lnTo>
                <a:lnTo>
                  <a:pt x="818583" y="179057"/>
                </a:lnTo>
                <a:lnTo>
                  <a:pt x="823506" y="179797"/>
                </a:lnTo>
                <a:lnTo>
                  <a:pt x="824244" y="183243"/>
                </a:lnTo>
                <a:lnTo>
                  <a:pt x="835814" y="174134"/>
                </a:lnTo>
                <a:lnTo>
                  <a:pt x="844922" y="163305"/>
                </a:lnTo>
                <a:lnTo>
                  <a:pt x="851568" y="151735"/>
                </a:lnTo>
                <a:lnTo>
                  <a:pt x="863137" y="142627"/>
                </a:lnTo>
                <a:lnTo>
                  <a:pt x="864860" y="152719"/>
                </a:lnTo>
                <a:lnTo>
                  <a:pt x="869044" y="158627"/>
                </a:lnTo>
                <a:lnTo>
                  <a:pt x="874705" y="164535"/>
                </a:lnTo>
                <a:lnTo>
                  <a:pt x="880367" y="170442"/>
                </a:lnTo>
                <a:lnTo>
                  <a:pt x="885290" y="177827"/>
                </a:lnTo>
                <a:lnTo>
                  <a:pt x="885290" y="180288"/>
                </a:lnTo>
                <a:lnTo>
                  <a:pt x="885290" y="183735"/>
                </a:lnTo>
                <a:lnTo>
                  <a:pt x="883567" y="185458"/>
                </a:lnTo>
                <a:lnTo>
                  <a:pt x="883567" y="187918"/>
                </a:lnTo>
                <a:lnTo>
                  <a:pt x="881845" y="191365"/>
                </a:lnTo>
                <a:lnTo>
                  <a:pt x="883567" y="193827"/>
                </a:lnTo>
                <a:lnTo>
                  <a:pt x="885290" y="197273"/>
                </a:lnTo>
                <a:lnTo>
                  <a:pt x="886028" y="198012"/>
                </a:lnTo>
                <a:lnTo>
                  <a:pt x="889228" y="198012"/>
                </a:lnTo>
                <a:lnTo>
                  <a:pt x="891689" y="198012"/>
                </a:lnTo>
                <a:lnTo>
                  <a:pt x="893414" y="198012"/>
                </a:lnTo>
                <a:lnTo>
                  <a:pt x="896613" y="198012"/>
                </a:lnTo>
                <a:lnTo>
                  <a:pt x="897352" y="199735"/>
                </a:lnTo>
                <a:lnTo>
                  <a:pt x="902275" y="211304"/>
                </a:lnTo>
                <a:lnTo>
                  <a:pt x="902275" y="220411"/>
                </a:lnTo>
                <a:lnTo>
                  <a:pt x="900552" y="228780"/>
                </a:lnTo>
                <a:lnTo>
                  <a:pt x="903013" y="236166"/>
                </a:lnTo>
                <a:lnTo>
                  <a:pt x="913844" y="244534"/>
                </a:lnTo>
                <a:lnTo>
                  <a:pt x="904736" y="262011"/>
                </a:lnTo>
                <a:lnTo>
                  <a:pt x="894890" y="277026"/>
                </a:lnTo>
                <a:lnTo>
                  <a:pt x="897352" y="277026"/>
                </a:lnTo>
                <a:lnTo>
                  <a:pt x="906459" y="267919"/>
                </a:lnTo>
                <a:lnTo>
                  <a:pt x="914828" y="260535"/>
                </a:lnTo>
                <a:lnTo>
                  <a:pt x="922213" y="252165"/>
                </a:lnTo>
                <a:lnTo>
                  <a:pt x="932059" y="254626"/>
                </a:lnTo>
                <a:lnTo>
                  <a:pt x="937720" y="260535"/>
                </a:lnTo>
                <a:lnTo>
                  <a:pt x="943382" y="267919"/>
                </a:lnTo>
                <a:lnTo>
                  <a:pt x="945105" y="279487"/>
                </a:lnTo>
                <a:lnTo>
                  <a:pt x="960120" y="279487"/>
                </a:lnTo>
                <a:lnTo>
                  <a:pt x="960120" y="283672"/>
                </a:lnTo>
                <a:lnTo>
                  <a:pt x="960859" y="287118"/>
                </a:lnTo>
                <a:lnTo>
                  <a:pt x="960859" y="291304"/>
                </a:lnTo>
                <a:lnTo>
                  <a:pt x="962582" y="295488"/>
                </a:lnTo>
                <a:lnTo>
                  <a:pt x="960859" y="300410"/>
                </a:lnTo>
                <a:lnTo>
                  <a:pt x="960859" y="302872"/>
                </a:lnTo>
                <a:lnTo>
                  <a:pt x="960859" y="306319"/>
                </a:lnTo>
                <a:lnTo>
                  <a:pt x="962582" y="307057"/>
                </a:lnTo>
                <a:lnTo>
                  <a:pt x="962582" y="310503"/>
                </a:lnTo>
                <a:lnTo>
                  <a:pt x="962582" y="312226"/>
                </a:lnTo>
                <a:lnTo>
                  <a:pt x="962582" y="314687"/>
                </a:lnTo>
                <a:lnTo>
                  <a:pt x="946828" y="326257"/>
                </a:lnTo>
                <a:lnTo>
                  <a:pt x="929598" y="333641"/>
                </a:lnTo>
                <a:lnTo>
                  <a:pt x="909659" y="337826"/>
                </a:lnTo>
                <a:lnTo>
                  <a:pt x="888983" y="340287"/>
                </a:lnTo>
                <a:lnTo>
                  <a:pt x="869044" y="343733"/>
                </a:lnTo>
                <a:lnTo>
                  <a:pt x="848367" y="346196"/>
                </a:lnTo>
                <a:lnTo>
                  <a:pt x="831137" y="352103"/>
                </a:lnTo>
                <a:lnTo>
                  <a:pt x="815382" y="359488"/>
                </a:lnTo>
                <a:lnTo>
                  <a:pt x="803814" y="372780"/>
                </a:lnTo>
                <a:lnTo>
                  <a:pt x="807014" y="372780"/>
                </a:lnTo>
                <a:lnTo>
                  <a:pt x="821045" y="362688"/>
                </a:lnTo>
                <a:lnTo>
                  <a:pt x="838275" y="355302"/>
                </a:lnTo>
                <a:lnTo>
                  <a:pt x="857228" y="351118"/>
                </a:lnTo>
                <a:lnTo>
                  <a:pt x="857967" y="353580"/>
                </a:lnTo>
                <a:lnTo>
                  <a:pt x="859690" y="357026"/>
                </a:lnTo>
                <a:lnTo>
                  <a:pt x="861414" y="357764"/>
                </a:lnTo>
                <a:lnTo>
                  <a:pt x="863874" y="359488"/>
                </a:lnTo>
                <a:lnTo>
                  <a:pt x="867075" y="361210"/>
                </a:lnTo>
                <a:lnTo>
                  <a:pt x="869536" y="363673"/>
                </a:lnTo>
                <a:lnTo>
                  <a:pt x="865352" y="371057"/>
                </a:lnTo>
                <a:lnTo>
                  <a:pt x="862890" y="376965"/>
                </a:lnTo>
                <a:lnTo>
                  <a:pt x="861168" y="382871"/>
                </a:lnTo>
                <a:lnTo>
                  <a:pt x="859444" y="391980"/>
                </a:lnTo>
                <a:lnTo>
                  <a:pt x="871014" y="397888"/>
                </a:lnTo>
                <a:lnTo>
                  <a:pt x="878397" y="406257"/>
                </a:lnTo>
                <a:lnTo>
                  <a:pt x="884060" y="414626"/>
                </a:lnTo>
                <a:lnTo>
                  <a:pt x="891443" y="423733"/>
                </a:lnTo>
                <a:lnTo>
                  <a:pt x="891443" y="426195"/>
                </a:lnTo>
                <a:lnTo>
                  <a:pt x="891443" y="427918"/>
                </a:lnTo>
                <a:lnTo>
                  <a:pt x="889721" y="427918"/>
                </a:lnTo>
                <a:lnTo>
                  <a:pt x="889721" y="429641"/>
                </a:lnTo>
                <a:lnTo>
                  <a:pt x="887998" y="431364"/>
                </a:lnTo>
                <a:lnTo>
                  <a:pt x="879629" y="441456"/>
                </a:lnTo>
                <a:lnTo>
                  <a:pt x="868059" y="449826"/>
                </a:lnTo>
                <a:lnTo>
                  <a:pt x="853290" y="455733"/>
                </a:lnTo>
                <a:lnTo>
                  <a:pt x="853290" y="443180"/>
                </a:lnTo>
                <a:lnTo>
                  <a:pt x="860674" y="438257"/>
                </a:lnTo>
                <a:lnTo>
                  <a:pt x="866336" y="434072"/>
                </a:lnTo>
                <a:lnTo>
                  <a:pt x="871999" y="426687"/>
                </a:lnTo>
                <a:lnTo>
                  <a:pt x="866336" y="424226"/>
                </a:lnTo>
                <a:lnTo>
                  <a:pt x="866336" y="420780"/>
                </a:lnTo>
                <a:lnTo>
                  <a:pt x="864613" y="420780"/>
                </a:lnTo>
                <a:lnTo>
                  <a:pt x="862890" y="420780"/>
                </a:lnTo>
                <a:lnTo>
                  <a:pt x="862890" y="422502"/>
                </a:lnTo>
                <a:lnTo>
                  <a:pt x="862890" y="424226"/>
                </a:lnTo>
                <a:lnTo>
                  <a:pt x="853044" y="431611"/>
                </a:lnTo>
                <a:lnTo>
                  <a:pt x="839751" y="437518"/>
                </a:lnTo>
                <a:lnTo>
                  <a:pt x="828921" y="441703"/>
                </a:lnTo>
                <a:lnTo>
                  <a:pt x="817352" y="447611"/>
                </a:lnTo>
                <a:lnTo>
                  <a:pt x="806521" y="454995"/>
                </a:lnTo>
                <a:lnTo>
                  <a:pt x="799875" y="465087"/>
                </a:lnTo>
                <a:lnTo>
                  <a:pt x="794952" y="479364"/>
                </a:lnTo>
                <a:lnTo>
                  <a:pt x="799875" y="481087"/>
                </a:lnTo>
                <a:lnTo>
                  <a:pt x="805536" y="482810"/>
                </a:lnTo>
                <a:lnTo>
                  <a:pt x="807998" y="485271"/>
                </a:lnTo>
                <a:lnTo>
                  <a:pt x="802337" y="485271"/>
                </a:lnTo>
                <a:lnTo>
                  <a:pt x="793968" y="492657"/>
                </a:lnTo>
                <a:lnTo>
                  <a:pt x="782398" y="495118"/>
                </a:lnTo>
                <a:lnTo>
                  <a:pt x="771568" y="496841"/>
                </a:lnTo>
                <a:lnTo>
                  <a:pt x="759999" y="498564"/>
                </a:lnTo>
                <a:lnTo>
                  <a:pt x="751629" y="521948"/>
                </a:lnTo>
                <a:lnTo>
                  <a:pt x="741783" y="546810"/>
                </a:lnTo>
                <a:lnTo>
                  <a:pt x="738583" y="543364"/>
                </a:lnTo>
                <a:lnTo>
                  <a:pt x="737845" y="541641"/>
                </a:lnTo>
                <a:lnTo>
                  <a:pt x="734645" y="540903"/>
                </a:lnTo>
                <a:lnTo>
                  <a:pt x="732922" y="539179"/>
                </a:lnTo>
                <a:lnTo>
                  <a:pt x="728737" y="535733"/>
                </a:lnTo>
                <a:lnTo>
                  <a:pt x="728737" y="543118"/>
                </a:lnTo>
                <a:lnTo>
                  <a:pt x="730459" y="546564"/>
                </a:lnTo>
                <a:lnTo>
                  <a:pt x="732922" y="554933"/>
                </a:lnTo>
                <a:lnTo>
                  <a:pt x="736122" y="565025"/>
                </a:lnTo>
                <a:lnTo>
                  <a:pt x="738583" y="574134"/>
                </a:lnTo>
                <a:lnTo>
                  <a:pt x="738583" y="578315"/>
                </a:lnTo>
                <a:lnTo>
                  <a:pt x="727014" y="585699"/>
                </a:lnTo>
                <a:lnTo>
                  <a:pt x="714707" y="592346"/>
                </a:lnTo>
                <a:lnTo>
                  <a:pt x="701415" y="601453"/>
                </a:lnTo>
                <a:lnTo>
                  <a:pt x="688123" y="609823"/>
                </a:lnTo>
                <a:lnTo>
                  <a:pt x="679753" y="621391"/>
                </a:lnTo>
                <a:lnTo>
                  <a:pt x="675568" y="636407"/>
                </a:lnTo>
                <a:lnTo>
                  <a:pt x="670645" y="647976"/>
                </a:lnTo>
                <a:lnTo>
                  <a:pt x="672368" y="662253"/>
                </a:lnTo>
                <a:lnTo>
                  <a:pt x="676553" y="678007"/>
                </a:lnTo>
                <a:lnTo>
                  <a:pt x="682214" y="694744"/>
                </a:lnTo>
                <a:lnTo>
                  <a:pt x="687876" y="710499"/>
                </a:lnTo>
                <a:lnTo>
                  <a:pt x="691076" y="724776"/>
                </a:lnTo>
                <a:lnTo>
                  <a:pt x="687876" y="724776"/>
                </a:lnTo>
                <a:lnTo>
                  <a:pt x="687876" y="728222"/>
                </a:lnTo>
                <a:lnTo>
                  <a:pt x="678030" y="724776"/>
                </a:lnTo>
                <a:lnTo>
                  <a:pt x="673845" y="712222"/>
                </a:lnTo>
                <a:lnTo>
                  <a:pt x="666461" y="695484"/>
                </a:lnTo>
                <a:lnTo>
                  <a:pt x="658091" y="678007"/>
                </a:lnTo>
                <a:lnTo>
                  <a:pt x="648983" y="665453"/>
                </a:lnTo>
                <a:lnTo>
                  <a:pt x="640615" y="658069"/>
                </a:lnTo>
                <a:lnTo>
                  <a:pt x="629784" y="656345"/>
                </a:lnTo>
                <a:lnTo>
                  <a:pt x="617476" y="650438"/>
                </a:lnTo>
                <a:lnTo>
                  <a:pt x="602707" y="644530"/>
                </a:lnTo>
                <a:lnTo>
                  <a:pt x="585477" y="642068"/>
                </a:lnTo>
                <a:lnTo>
                  <a:pt x="585477" y="644530"/>
                </a:lnTo>
                <a:lnTo>
                  <a:pt x="583014" y="644530"/>
                </a:lnTo>
                <a:lnTo>
                  <a:pt x="584739" y="649453"/>
                </a:lnTo>
                <a:lnTo>
                  <a:pt x="587199" y="653638"/>
                </a:lnTo>
                <a:lnTo>
                  <a:pt x="588923" y="656099"/>
                </a:lnTo>
                <a:lnTo>
                  <a:pt x="590645" y="659545"/>
                </a:lnTo>
                <a:lnTo>
                  <a:pt x="593107" y="663730"/>
                </a:lnTo>
                <a:lnTo>
                  <a:pt x="579815" y="663730"/>
                </a:lnTo>
                <a:lnTo>
                  <a:pt x="569969" y="659545"/>
                </a:lnTo>
                <a:lnTo>
                  <a:pt x="556677" y="656099"/>
                </a:lnTo>
                <a:lnTo>
                  <a:pt x="544369" y="656099"/>
                </a:lnTo>
                <a:lnTo>
                  <a:pt x="531077" y="657822"/>
                </a:lnTo>
                <a:lnTo>
                  <a:pt x="521970" y="660284"/>
                </a:lnTo>
                <a:lnTo>
                  <a:pt x="512124" y="665207"/>
                </a:lnTo>
                <a:lnTo>
                  <a:pt x="503754" y="671115"/>
                </a:lnTo>
                <a:lnTo>
                  <a:pt x="498092" y="679484"/>
                </a:lnTo>
                <a:lnTo>
                  <a:pt x="494892" y="686869"/>
                </a:lnTo>
                <a:lnTo>
                  <a:pt x="496616" y="692776"/>
                </a:lnTo>
                <a:lnTo>
                  <a:pt x="496616" y="700161"/>
                </a:lnTo>
                <a:lnTo>
                  <a:pt x="494154" y="708529"/>
                </a:lnTo>
                <a:lnTo>
                  <a:pt x="488492" y="727730"/>
                </a:lnTo>
                <a:lnTo>
                  <a:pt x="488492" y="742007"/>
                </a:lnTo>
                <a:lnTo>
                  <a:pt x="489231" y="757022"/>
                </a:lnTo>
                <a:lnTo>
                  <a:pt x="494892" y="771298"/>
                </a:lnTo>
                <a:lnTo>
                  <a:pt x="504000" y="788775"/>
                </a:lnTo>
                <a:lnTo>
                  <a:pt x="513846" y="790499"/>
                </a:lnTo>
                <a:lnTo>
                  <a:pt x="519508" y="792221"/>
                </a:lnTo>
                <a:lnTo>
                  <a:pt x="521970" y="794683"/>
                </a:lnTo>
                <a:lnTo>
                  <a:pt x="525170" y="796405"/>
                </a:lnTo>
                <a:lnTo>
                  <a:pt x="529354" y="798129"/>
                </a:lnTo>
                <a:lnTo>
                  <a:pt x="536738" y="794683"/>
                </a:lnTo>
                <a:lnTo>
                  <a:pt x="548308" y="788775"/>
                </a:lnTo>
                <a:lnTo>
                  <a:pt x="550770" y="787052"/>
                </a:lnTo>
                <a:lnTo>
                  <a:pt x="552492" y="787052"/>
                </a:lnTo>
                <a:lnTo>
                  <a:pt x="555692" y="787052"/>
                </a:lnTo>
                <a:lnTo>
                  <a:pt x="556430" y="787052"/>
                </a:lnTo>
                <a:lnTo>
                  <a:pt x="558153" y="787052"/>
                </a:lnTo>
                <a:lnTo>
                  <a:pt x="558153" y="786313"/>
                </a:lnTo>
                <a:lnTo>
                  <a:pt x="561354" y="782867"/>
                </a:lnTo>
                <a:lnTo>
                  <a:pt x="562092" y="778682"/>
                </a:lnTo>
                <a:lnTo>
                  <a:pt x="563816" y="774499"/>
                </a:lnTo>
                <a:lnTo>
                  <a:pt x="565538" y="769576"/>
                </a:lnTo>
                <a:lnTo>
                  <a:pt x="567262" y="767114"/>
                </a:lnTo>
                <a:lnTo>
                  <a:pt x="573908" y="759729"/>
                </a:lnTo>
                <a:lnTo>
                  <a:pt x="583014" y="755544"/>
                </a:lnTo>
                <a:lnTo>
                  <a:pt x="596308" y="753821"/>
                </a:lnTo>
                <a:lnTo>
                  <a:pt x="597046" y="757268"/>
                </a:lnTo>
                <a:lnTo>
                  <a:pt x="598769" y="758006"/>
                </a:lnTo>
                <a:lnTo>
                  <a:pt x="598769" y="759729"/>
                </a:lnTo>
                <a:lnTo>
                  <a:pt x="600491" y="759729"/>
                </a:lnTo>
                <a:lnTo>
                  <a:pt x="600491" y="758006"/>
                </a:lnTo>
                <a:lnTo>
                  <a:pt x="601477" y="758006"/>
                </a:lnTo>
                <a:lnTo>
                  <a:pt x="604677" y="758006"/>
                </a:lnTo>
                <a:lnTo>
                  <a:pt x="608861" y="757268"/>
                </a:lnTo>
                <a:lnTo>
                  <a:pt x="608861" y="769821"/>
                </a:lnTo>
                <a:lnTo>
                  <a:pt x="603200" y="775729"/>
                </a:lnTo>
                <a:lnTo>
                  <a:pt x="599015" y="786559"/>
                </a:lnTo>
                <a:lnTo>
                  <a:pt x="594831" y="800836"/>
                </a:lnTo>
                <a:lnTo>
                  <a:pt x="590645" y="814128"/>
                </a:lnTo>
                <a:lnTo>
                  <a:pt x="585722" y="824221"/>
                </a:lnTo>
                <a:lnTo>
                  <a:pt x="600491" y="824221"/>
                </a:lnTo>
                <a:lnTo>
                  <a:pt x="612799" y="822498"/>
                </a:lnTo>
                <a:lnTo>
                  <a:pt x="624369" y="822498"/>
                </a:lnTo>
                <a:lnTo>
                  <a:pt x="635199" y="824221"/>
                </a:lnTo>
                <a:lnTo>
                  <a:pt x="641845" y="828405"/>
                </a:lnTo>
                <a:lnTo>
                  <a:pt x="647507" y="837514"/>
                </a:lnTo>
                <a:lnTo>
                  <a:pt x="649229" y="850066"/>
                </a:lnTo>
                <a:lnTo>
                  <a:pt x="646768" y="859174"/>
                </a:lnTo>
                <a:lnTo>
                  <a:pt x="643568" y="870744"/>
                </a:lnTo>
                <a:lnTo>
                  <a:pt x="643568" y="882313"/>
                </a:lnTo>
                <a:lnTo>
                  <a:pt x="650954" y="889697"/>
                </a:lnTo>
                <a:lnTo>
                  <a:pt x="655138" y="894620"/>
                </a:lnTo>
                <a:lnTo>
                  <a:pt x="660799" y="900529"/>
                </a:lnTo>
                <a:lnTo>
                  <a:pt x="669906" y="905451"/>
                </a:lnTo>
                <a:lnTo>
                  <a:pt x="680738" y="907913"/>
                </a:lnTo>
                <a:lnTo>
                  <a:pt x="686399" y="900529"/>
                </a:lnTo>
                <a:lnTo>
                  <a:pt x="693784" y="898066"/>
                </a:lnTo>
                <a:lnTo>
                  <a:pt x="707076" y="898066"/>
                </a:lnTo>
                <a:lnTo>
                  <a:pt x="708798" y="900529"/>
                </a:lnTo>
                <a:lnTo>
                  <a:pt x="711261" y="903975"/>
                </a:lnTo>
                <a:lnTo>
                  <a:pt x="712737" y="905697"/>
                </a:lnTo>
                <a:lnTo>
                  <a:pt x="714460" y="905697"/>
                </a:lnTo>
                <a:lnTo>
                  <a:pt x="718645" y="906436"/>
                </a:lnTo>
                <a:lnTo>
                  <a:pt x="724060" y="907667"/>
                </a:lnTo>
                <a:lnTo>
                  <a:pt x="729722" y="896098"/>
                </a:lnTo>
                <a:lnTo>
                  <a:pt x="737106" y="887728"/>
                </a:lnTo>
                <a:lnTo>
                  <a:pt x="745476" y="880343"/>
                </a:lnTo>
                <a:lnTo>
                  <a:pt x="756306" y="874436"/>
                </a:lnTo>
                <a:lnTo>
                  <a:pt x="772060" y="871975"/>
                </a:lnTo>
                <a:lnTo>
                  <a:pt x="774522" y="870251"/>
                </a:lnTo>
                <a:lnTo>
                  <a:pt x="776244" y="870251"/>
                </a:lnTo>
                <a:lnTo>
                  <a:pt x="778707" y="870251"/>
                </a:lnTo>
                <a:lnTo>
                  <a:pt x="780429" y="870251"/>
                </a:lnTo>
                <a:lnTo>
                  <a:pt x="783629" y="871975"/>
                </a:lnTo>
                <a:lnTo>
                  <a:pt x="787813" y="871975"/>
                </a:lnTo>
                <a:lnTo>
                  <a:pt x="786090" y="874436"/>
                </a:lnTo>
                <a:lnTo>
                  <a:pt x="786090" y="877882"/>
                </a:lnTo>
                <a:lnTo>
                  <a:pt x="784367" y="877882"/>
                </a:lnTo>
                <a:lnTo>
                  <a:pt x="784367" y="878621"/>
                </a:lnTo>
                <a:lnTo>
                  <a:pt x="786090" y="878621"/>
                </a:lnTo>
                <a:lnTo>
                  <a:pt x="787813" y="880343"/>
                </a:lnTo>
                <a:lnTo>
                  <a:pt x="790275" y="882066"/>
                </a:lnTo>
                <a:lnTo>
                  <a:pt x="790275" y="878621"/>
                </a:lnTo>
                <a:lnTo>
                  <a:pt x="793475" y="876160"/>
                </a:lnTo>
                <a:lnTo>
                  <a:pt x="795199" y="874436"/>
                </a:lnTo>
                <a:lnTo>
                  <a:pt x="795937" y="872714"/>
                </a:lnTo>
                <a:lnTo>
                  <a:pt x="797660" y="871975"/>
                </a:lnTo>
                <a:lnTo>
                  <a:pt x="800860" y="870251"/>
                </a:lnTo>
                <a:lnTo>
                  <a:pt x="803320" y="868529"/>
                </a:lnTo>
                <a:lnTo>
                  <a:pt x="816613" y="880097"/>
                </a:lnTo>
                <a:lnTo>
                  <a:pt x="833845" y="886006"/>
                </a:lnTo>
                <a:lnTo>
                  <a:pt x="851075" y="887728"/>
                </a:lnTo>
                <a:lnTo>
                  <a:pt x="871014" y="886006"/>
                </a:lnTo>
                <a:lnTo>
                  <a:pt x="891689" y="884281"/>
                </a:lnTo>
                <a:lnTo>
                  <a:pt x="891689" y="887728"/>
                </a:lnTo>
                <a:lnTo>
                  <a:pt x="891689" y="889452"/>
                </a:lnTo>
                <a:lnTo>
                  <a:pt x="889967" y="890190"/>
                </a:lnTo>
                <a:lnTo>
                  <a:pt x="889967" y="891912"/>
                </a:lnTo>
                <a:lnTo>
                  <a:pt x="888243" y="894374"/>
                </a:lnTo>
                <a:lnTo>
                  <a:pt x="898090" y="897820"/>
                </a:lnTo>
                <a:lnTo>
                  <a:pt x="903751" y="902005"/>
                </a:lnTo>
                <a:lnTo>
                  <a:pt x="909413" y="906190"/>
                </a:lnTo>
                <a:lnTo>
                  <a:pt x="919259" y="911113"/>
                </a:lnTo>
                <a:lnTo>
                  <a:pt x="919259" y="919481"/>
                </a:lnTo>
                <a:lnTo>
                  <a:pt x="930090" y="922928"/>
                </a:lnTo>
                <a:lnTo>
                  <a:pt x="936736" y="923667"/>
                </a:lnTo>
                <a:lnTo>
                  <a:pt x="942397" y="929574"/>
                </a:lnTo>
                <a:lnTo>
                  <a:pt x="945597" y="938682"/>
                </a:lnTo>
                <a:lnTo>
                  <a:pt x="962828" y="940404"/>
                </a:lnTo>
                <a:lnTo>
                  <a:pt x="976859" y="941143"/>
                </a:lnTo>
                <a:lnTo>
                  <a:pt x="995813" y="942867"/>
                </a:lnTo>
                <a:lnTo>
                  <a:pt x="1009104" y="960343"/>
                </a:lnTo>
                <a:lnTo>
                  <a:pt x="1024859" y="976097"/>
                </a:lnTo>
                <a:lnTo>
                  <a:pt x="1042089" y="989389"/>
                </a:lnTo>
                <a:lnTo>
                  <a:pt x="1062028" y="999481"/>
                </a:lnTo>
                <a:lnTo>
                  <a:pt x="1061290" y="1005389"/>
                </a:lnTo>
                <a:lnTo>
                  <a:pt x="1058089" y="1008835"/>
                </a:lnTo>
                <a:lnTo>
                  <a:pt x="1055627" y="1013020"/>
                </a:lnTo>
                <a:lnTo>
                  <a:pt x="1052427" y="1015481"/>
                </a:lnTo>
                <a:lnTo>
                  <a:pt x="1049966" y="1020404"/>
                </a:lnTo>
                <a:lnTo>
                  <a:pt x="1068182" y="1020404"/>
                </a:lnTo>
                <a:lnTo>
                  <a:pt x="1085412" y="1026312"/>
                </a:lnTo>
                <a:lnTo>
                  <a:pt x="1088612" y="1036404"/>
                </a:lnTo>
                <a:lnTo>
                  <a:pt x="1092798" y="1034681"/>
                </a:lnTo>
                <a:lnTo>
                  <a:pt x="1095258" y="1032958"/>
                </a:lnTo>
                <a:lnTo>
                  <a:pt x="1100181" y="1034681"/>
                </a:lnTo>
                <a:lnTo>
                  <a:pt x="1100919" y="1034681"/>
                </a:lnTo>
                <a:lnTo>
                  <a:pt x="1104120" y="1036404"/>
                </a:lnTo>
                <a:lnTo>
                  <a:pt x="1106582" y="1038127"/>
                </a:lnTo>
                <a:lnTo>
                  <a:pt x="1109782" y="1038865"/>
                </a:lnTo>
                <a:lnTo>
                  <a:pt x="1154335" y="1042312"/>
                </a:lnTo>
                <a:lnTo>
                  <a:pt x="1158519" y="1046496"/>
                </a:lnTo>
                <a:lnTo>
                  <a:pt x="1161719" y="1054866"/>
                </a:lnTo>
                <a:lnTo>
                  <a:pt x="1162457" y="1062250"/>
                </a:lnTo>
                <a:lnTo>
                  <a:pt x="1167381" y="1068158"/>
                </a:lnTo>
                <a:lnTo>
                  <a:pt x="1174027" y="1069881"/>
                </a:lnTo>
                <a:lnTo>
                  <a:pt x="1181411" y="1069881"/>
                </a:lnTo>
                <a:lnTo>
                  <a:pt x="1187072" y="1068158"/>
                </a:lnTo>
                <a:lnTo>
                  <a:pt x="1191257" y="1074065"/>
                </a:lnTo>
                <a:lnTo>
                  <a:pt x="1196181" y="1078250"/>
                </a:lnTo>
                <a:lnTo>
                  <a:pt x="1198642" y="1083174"/>
                </a:lnTo>
                <a:lnTo>
                  <a:pt x="1200612" y="1088835"/>
                </a:lnTo>
                <a:lnTo>
                  <a:pt x="1202334" y="1095481"/>
                </a:lnTo>
                <a:lnTo>
                  <a:pt x="1191503" y="1108773"/>
                </a:lnTo>
                <a:lnTo>
                  <a:pt x="1179934" y="1124527"/>
                </a:lnTo>
                <a:lnTo>
                  <a:pt x="1168366" y="1142003"/>
                </a:lnTo>
                <a:lnTo>
                  <a:pt x="1158519" y="1159481"/>
                </a:lnTo>
                <a:lnTo>
                  <a:pt x="1151874" y="1172772"/>
                </a:lnTo>
                <a:lnTo>
                  <a:pt x="1151874" y="1181142"/>
                </a:lnTo>
                <a:lnTo>
                  <a:pt x="1152611" y="1192710"/>
                </a:lnTo>
                <a:lnTo>
                  <a:pt x="1155811" y="1206003"/>
                </a:lnTo>
                <a:lnTo>
                  <a:pt x="1154089" y="1217572"/>
                </a:lnTo>
                <a:lnTo>
                  <a:pt x="1151627" y="1224957"/>
                </a:lnTo>
                <a:lnTo>
                  <a:pt x="1145965" y="1236526"/>
                </a:lnTo>
                <a:lnTo>
                  <a:pt x="1145610" y="1237129"/>
                </a:lnTo>
                <a:lnTo>
                  <a:pt x="795176" y="1237129"/>
                </a:lnTo>
                <a:lnTo>
                  <a:pt x="797415" y="1220772"/>
                </a:lnTo>
                <a:lnTo>
                  <a:pt x="768614" y="1209941"/>
                </a:lnTo>
                <a:lnTo>
                  <a:pt x="743752" y="1193203"/>
                </a:lnTo>
                <a:lnTo>
                  <a:pt x="723814" y="1171542"/>
                </a:lnTo>
                <a:lnTo>
                  <a:pt x="707322" y="1148157"/>
                </a:lnTo>
                <a:lnTo>
                  <a:pt x="701661" y="1134865"/>
                </a:lnTo>
                <a:lnTo>
                  <a:pt x="697476" y="1122311"/>
                </a:lnTo>
                <a:lnTo>
                  <a:pt x="693291" y="1107296"/>
                </a:lnTo>
                <a:lnTo>
                  <a:pt x="687630" y="1095727"/>
                </a:lnTo>
                <a:lnTo>
                  <a:pt x="678522" y="1087357"/>
                </a:lnTo>
                <a:lnTo>
                  <a:pt x="676061" y="1083911"/>
                </a:lnTo>
                <a:lnTo>
                  <a:pt x="671876" y="1083911"/>
                </a:lnTo>
                <a:lnTo>
                  <a:pt x="668677" y="1083174"/>
                </a:lnTo>
                <a:lnTo>
                  <a:pt x="666215" y="1079727"/>
                </a:lnTo>
                <a:lnTo>
                  <a:pt x="663014" y="1077265"/>
                </a:lnTo>
                <a:lnTo>
                  <a:pt x="666215" y="1071358"/>
                </a:lnTo>
                <a:lnTo>
                  <a:pt x="666215" y="1066434"/>
                </a:lnTo>
                <a:lnTo>
                  <a:pt x="666215" y="1060527"/>
                </a:lnTo>
                <a:lnTo>
                  <a:pt x="666215" y="1054620"/>
                </a:lnTo>
                <a:lnTo>
                  <a:pt x="673599" y="1050435"/>
                </a:lnTo>
                <a:lnTo>
                  <a:pt x="678522" y="1046250"/>
                </a:lnTo>
                <a:lnTo>
                  <a:pt x="685907" y="1042065"/>
                </a:lnTo>
                <a:lnTo>
                  <a:pt x="685907" y="1038619"/>
                </a:lnTo>
                <a:lnTo>
                  <a:pt x="678522" y="1038619"/>
                </a:lnTo>
                <a:lnTo>
                  <a:pt x="674337" y="1037881"/>
                </a:lnTo>
                <a:lnTo>
                  <a:pt x="670152" y="1037881"/>
                </a:lnTo>
                <a:lnTo>
                  <a:pt x="665969" y="1036158"/>
                </a:lnTo>
                <a:lnTo>
                  <a:pt x="671630" y="1022866"/>
                </a:lnTo>
                <a:lnTo>
                  <a:pt x="675815" y="1009574"/>
                </a:lnTo>
                <a:lnTo>
                  <a:pt x="681476" y="997020"/>
                </a:lnTo>
                <a:lnTo>
                  <a:pt x="691322" y="986189"/>
                </a:lnTo>
                <a:lnTo>
                  <a:pt x="702891" y="976097"/>
                </a:lnTo>
                <a:lnTo>
                  <a:pt x="712737" y="964528"/>
                </a:lnTo>
                <a:lnTo>
                  <a:pt x="711998" y="956159"/>
                </a:lnTo>
                <a:lnTo>
                  <a:pt x="711998" y="944590"/>
                </a:lnTo>
                <a:lnTo>
                  <a:pt x="710276" y="933020"/>
                </a:lnTo>
                <a:lnTo>
                  <a:pt x="706091" y="925636"/>
                </a:lnTo>
                <a:lnTo>
                  <a:pt x="700430" y="917266"/>
                </a:lnTo>
                <a:lnTo>
                  <a:pt x="694769" y="908159"/>
                </a:lnTo>
                <a:lnTo>
                  <a:pt x="689107" y="908159"/>
                </a:lnTo>
                <a:lnTo>
                  <a:pt x="687384" y="909882"/>
                </a:lnTo>
                <a:lnTo>
                  <a:pt x="685660" y="911605"/>
                </a:lnTo>
                <a:lnTo>
                  <a:pt x="683938" y="912343"/>
                </a:lnTo>
                <a:lnTo>
                  <a:pt x="681476" y="914066"/>
                </a:lnTo>
                <a:lnTo>
                  <a:pt x="683199" y="917513"/>
                </a:lnTo>
                <a:lnTo>
                  <a:pt x="683199" y="919974"/>
                </a:lnTo>
                <a:lnTo>
                  <a:pt x="683199" y="921697"/>
                </a:lnTo>
                <a:lnTo>
                  <a:pt x="681476" y="924159"/>
                </a:lnTo>
                <a:lnTo>
                  <a:pt x="679753" y="924159"/>
                </a:lnTo>
                <a:lnTo>
                  <a:pt x="678030" y="925882"/>
                </a:lnTo>
                <a:lnTo>
                  <a:pt x="677292" y="925882"/>
                </a:lnTo>
                <a:lnTo>
                  <a:pt x="675568" y="925882"/>
                </a:lnTo>
                <a:lnTo>
                  <a:pt x="673108" y="927605"/>
                </a:lnTo>
                <a:lnTo>
                  <a:pt x="665722" y="921697"/>
                </a:lnTo>
                <a:lnTo>
                  <a:pt x="652430" y="914313"/>
                </a:lnTo>
                <a:lnTo>
                  <a:pt x="639137" y="906929"/>
                </a:lnTo>
                <a:lnTo>
                  <a:pt x="626831" y="901020"/>
                </a:lnTo>
                <a:lnTo>
                  <a:pt x="617722" y="898558"/>
                </a:lnTo>
                <a:lnTo>
                  <a:pt x="610338" y="881082"/>
                </a:lnTo>
                <a:lnTo>
                  <a:pt x="603692" y="870989"/>
                </a:lnTo>
                <a:lnTo>
                  <a:pt x="596308" y="863605"/>
                </a:lnTo>
                <a:lnTo>
                  <a:pt x="588923" y="861144"/>
                </a:lnTo>
                <a:lnTo>
                  <a:pt x="577353" y="857698"/>
                </a:lnTo>
                <a:lnTo>
                  <a:pt x="565046" y="853513"/>
                </a:lnTo>
                <a:lnTo>
                  <a:pt x="548554" y="847606"/>
                </a:lnTo>
                <a:lnTo>
                  <a:pt x="538708" y="840221"/>
                </a:lnTo>
                <a:lnTo>
                  <a:pt x="530338" y="832836"/>
                </a:lnTo>
                <a:lnTo>
                  <a:pt x="517046" y="826929"/>
                </a:lnTo>
                <a:lnTo>
                  <a:pt x="508677" y="826929"/>
                </a:lnTo>
                <a:lnTo>
                  <a:pt x="503016" y="830375"/>
                </a:lnTo>
                <a:lnTo>
                  <a:pt x="498092" y="832836"/>
                </a:lnTo>
                <a:lnTo>
                  <a:pt x="492431" y="836283"/>
                </a:lnTo>
                <a:lnTo>
                  <a:pt x="485785" y="834560"/>
                </a:lnTo>
                <a:lnTo>
                  <a:pt x="482585" y="832836"/>
                </a:lnTo>
                <a:lnTo>
                  <a:pt x="480124" y="830375"/>
                </a:lnTo>
                <a:lnTo>
                  <a:pt x="476924" y="826929"/>
                </a:lnTo>
                <a:lnTo>
                  <a:pt x="472739" y="822744"/>
                </a:lnTo>
                <a:lnTo>
                  <a:pt x="469539" y="820283"/>
                </a:lnTo>
                <a:lnTo>
                  <a:pt x="467077" y="818559"/>
                </a:lnTo>
                <a:lnTo>
                  <a:pt x="448124" y="815113"/>
                </a:lnTo>
                <a:lnTo>
                  <a:pt x="445662" y="812652"/>
                </a:lnTo>
                <a:lnTo>
                  <a:pt x="442462" y="810190"/>
                </a:lnTo>
                <a:lnTo>
                  <a:pt x="440000" y="806744"/>
                </a:lnTo>
                <a:lnTo>
                  <a:pt x="436801" y="804283"/>
                </a:lnTo>
                <a:lnTo>
                  <a:pt x="436062" y="802560"/>
                </a:lnTo>
                <a:lnTo>
                  <a:pt x="419570" y="805021"/>
                </a:lnTo>
                <a:lnTo>
                  <a:pt x="417108" y="804283"/>
                </a:lnTo>
                <a:lnTo>
                  <a:pt x="412924" y="798375"/>
                </a:lnTo>
                <a:lnTo>
                  <a:pt x="405539" y="792467"/>
                </a:lnTo>
                <a:lnTo>
                  <a:pt x="399878" y="785082"/>
                </a:lnTo>
                <a:lnTo>
                  <a:pt x="394217" y="779175"/>
                </a:lnTo>
                <a:lnTo>
                  <a:pt x="391017" y="775729"/>
                </a:lnTo>
                <a:lnTo>
                  <a:pt x="396677" y="757513"/>
                </a:lnTo>
                <a:lnTo>
                  <a:pt x="380924" y="740036"/>
                </a:lnTo>
                <a:lnTo>
                  <a:pt x="366893" y="720837"/>
                </a:lnTo>
                <a:lnTo>
                  <a:pt x="352124" y="700899"/>
                </a:lnTo>
                <a:lnTo>
                  <a:pt x="338094" y="679976"/>
                </a:lnTo>
                <a:lnTo>
                  <a:pt x="334894" y="678252"/>
                </a:lnTo>
                <a:lnTo>
                  <a:pt x="330709" y="677514"/>
                </a:lnTo>
                <a:lnTo>
                  <a:pt x="328248" y="677514"/>
                </a:lnTo>
                <a:lnTo>
                  <a:pt x="323324" y="675792"/>
                </a:lnTo>
                <a:lnTo>
                  <a:pt x="322586" y="674068"/>
                </a:lnTo>
                <a:lnTo>
                  <a:pt x="316925" y="666683"/>
                </a:lnTo>
                <a:lnTo>
                  <a:pt x="313725" y="658315"/>
                </a:lnTo>
                <a:lnTo>
                  <a:pt x="311262" y="649945"/>
                </a:lnTo>
                <a:lnTo>
                  <a:pt x="306339" y="640837"/>
                </a:lnTo>
                <a:lnTo>
                  <a:pt x="299694" y="636653"/>
                </a:lnTo>
                <a:lnTo>
                  <a:pt x="296493" y="633207"/>
                </a:lnTo>
                <a:lnTo>
                  <a:pt x="294032" y="630746"/>
                </a:lnTo>
                <a:lnTo>
                  <a:pt x="290832" y="629022"/>
                </a:lnTo>
                <a:lnTo>
                  <a:pt x="290832" y="644777"/>
                </a:lnTo>
                <a:lnTo>
                  <a:pt x="295017" y="650683"/>
                </a:lnTo>
                <a:lnTo>
                  <a:pt x="304124" y="660776"/>
                </a:lnTo>
                <a:lnTo>
                  <a:pt x="312494" y="672346"/>
                </a:lnTo>
                <a:lnTo>
                  <a:pt x="323324" y="687360"/>
                </a:lnTo>
                <a:lnTo>
                  <a:pt x="331693" y="701637"/>
                </a:lnTo>
                <a:lnTo>
                  <a:pt x="340801" y="716653"/>
                </a:lnTo>
                <a:lnTo>
                  <a:pt x="347447" y="729945"/>
                </a:lnTo>
                <a:lnTo>
                  <a:pt x="350647" y="738314"/>
                </a:lnTo>
                <a:lnTo>
                  <a:pt x="350647" y="744222"/>
                </a:lnTo>
                <a:lnTo>
                  <a:pt x="348925" y="746683"/>
                </a:lnTo>
                <a:lnTo>
                  <a:pt x="347200" y="748406"/>
                </a:lnTo>
                <a:lnTo>
                  <a:pt x="347200" y="750129"/>
                </a:lnTo>
                <a:lnTo>
                  <a:pt x="344740" y="751853"/>
                </a:lnTo>
                <a:lnTo>
                  <a:pt x="344740" y="745945"/>
                </a:lnTo>
                <a:lnTo>
                  <a:pt x="343017" y="741021"/>
                </a:lnTo>
                <a:lnTo>
                  <a:pt x="343017" y="738561"/>
                </a:lnTo>
                <a:lnTo>
                  <a:pt x="341294" y="735114"/>
                </a:lnTo>
                <a:lnTo>
                  <a:pt x="338832" y="735114"/>
                </a:lnTo>
                <a:lnTo>
                  <a:pt x="337109" y="735114"/>
                </a:lnTo>
                <a:lnTo>
                  <a:pt x="335386" y="735114"/>
                </a:lnTo>
                <a:lnTo>
                  <a:pt x="334648" y="735114"/>
                </a:lnTo>
                <a:lnTo>
                  <a:pt x="332924" y="735114"/>
                </a:lnTo>
                <a:lnTo>
                  <a:pt x="328740" y="735114"/>
                </a:lnTo>
                <a:lnTo>
                  <a:pt x="325540" y="725022"/>
                </a:lnTo>
                <a:lnTo>
                  <a:pt x="323078" y="714929"/>
                </a:lnTo>
                <a:lnTo>
                  <a:pt x="318156" y="706561"/>
                </a:lnTo>
                <a:lnTo>
                  <a:pt x="311509" y="699175"/>
                </a:lnTo>
                <a:lnTo>
                  <a:pt x="302401" y="693269"/>
                </a:lnTo>
                <a:lnTo>
                  <a:pt x="294032" y="687360"/>
                </a:lnTo>
                <a:lnTo>
                  <a:pt x="286647" y="677268"/>
                </a:lnTo>
                <a:lnTo>
                  <a:pt x="289109" y="675545"/>
                </a:lnTo>
                <a:lnTo>
                  <a:pt x="290832" y="675545"/>
                </a:lnTo>
                <a:lnTo>
                  <a:pt x="292555" y="675545"/>
                </a:lnTo>
                <a:lnTo>
                  <a:pt x="292555" y="673821"/>
                </a:lnTo>
                <a:lnTo>
                  <a:pt x="292555" y="672099"/>
                </a:lnTo>
                <a:lnTo>
                  <a:pt x="294278" y="671361"/>
                </a:lnTo>
                <a:lnTo>
                  <a:pt x="283447" y="663976"/>
                </a:lnTo>
                <a:lnTo>
                  <a:pt x="278524" y="654869"/>
                </a:lnTo>
                <a:lnTo>
                  <a:pt x="273601" y="644777"/>
                </a:lnTo>
                <a:lnTo>
                  <a:pt x="271140" y="633207"/>
                </a:lnTo>
                <a:lnTo>
                  <a:pt x="265478" y="623115"/>
                </a:lnTo>
                <a:lnTo>
                  <a:pt x="258093" y="614745"/>
                </a:lnTo>
                <a:lnTo>
                  <a:pt x="249725" y="609823"/>
                </a:lnTo>
                <a:lnTo>
                  <a:pt x="238894" y="605638"/>
                </a:lnTo>
                <a:lnTo>
                  <a:pt x="230524" y="599730"/>
                </a:lnTo>
                <a:lnTo>
                  <a:pt x="224863" y="592346"/>
                </a:lnTo>
                <a:lnTo>
                  <a:pt x="221663" y="583977"/>
                </a:lnTo>
                <a:lnTo>
                  <a:pt x="217478" y="574871"/>
                </a:lnTo>
                <a:lnTo>
                  <a:pt x="207633" y="560594"/>
                </a:lnTo>
                <a:lnTo>
                  <a:pt x="199264" y="550502"/>
                </a:lnTo>
                <a:lnTo>
                  <a:pt x="190156" y="541394"/>
                </a:lnTo>
                <a:lnTo>
                  <a:pt x="184494" y="531303"/>
                </a:lnTo>
                <a:lnTo>
                  <a:pt x="180309" y="518010"/>
                </a:lnTo>
                <a:lnTo>
                  <a:pt x="177109" y="500533"/>
                </a:lnTo>
                <a:lnTo>
                  <a:pt x="176371" y="476410"/>
                </a:lnTo>
                <a:lnTo>
                  <a:pt x="176371" y="470503"/>
                </a:lnTo>
                <a:lnTo>
                  <a:pt x="177109" y="458933"/>
                </a:lnTo>
                <a:lnTo>
                  <a:pt x="177109" y="443180"/>
                </a:lnTo>
                <a:lnTo>
                  <a:pt x="177109" y="423980"/>
                </a:lnTo>
                <a:lnTo>
                  <a:pt x="177109" y="406503"/>
                </a:lnTo>
                <a:lnTo>
                  <a:pt x="178833" y="392226"/>
                </a:lnTo>
                <a:lnTo>
                  <a:pt x="180556" y="383118"/>
                </a:lnTo>
                <a:lnTo>
                  <a:pt x="184740" y="381396"/>
                </a:lnTo>
                <a:lnTo>
                  <a:pt x="187940" y="381396"/>
                </a:lnTo>
                <a:lnTo>
                  <a:pt x="190402" y="381396"/>
                </a:lnTo>
                <a:lnTo>
                  <a:pt x="193602" y="381396"/>
                </a:lnTo>
                <a:lnTo>
                  <a:pt x="196064" y="383118"/>
                </a:lnTo>
                <a:lnTo>
                  <a:pt x="197787" y="386564"/>
                </a:lnTo>
                <a:lnTo>
                  <a:pt x="200248" y="389026"/>
                </a:lnTo>
                <a:lnTo>
                  <a:pt x="201970" y="392473"/>
                </a:lnTo>
                <a:lnTo>
                  <a:pt x="201970" y="375733"/>
                </a:lnTo>
                <a:lnTo>
                  <a:pt x="192125" y="364165"/>
                </a:lnTo>
                <a:lnTo>
                  <a:pt x="180556" y="352596"/>
                </a:lnTo>
                <a:lnTo>
                  <a:pt x="167264" y="344226"/>
                </a:lnTo>
                <a:lnTo>
                  <a:pt x="167264" y="351611"/>
                </a:lnTo>
                <a:lnTo>
                  <a:pt x="172926" y="355795"/>
                </a:lnTo>
                <a:lnTo>
                  <a:pt x="178586" y="359980"/>
                </a:lnTo>
                <a:lnTo>
                  <a:pt x="184247" y="364165"/>
                </a:lnTo>
                <a:lnTo>
                  <a:pt x="188433" y="370072"/>
                </a:lnTo>
                <a:lnTo>
                  <a:pt x="188433" y="373518"/>
                </a:lnTo>
                <a:lnTo>
                  <a:pt x="187694" y="373518"/>
                </a:lnTo>
                <a:lnTo>
                  <a:pt x="187694" y="375241"/>
                </a:lnTo>
                <a:lnTo>
                  <a:pt x="185971" y="375980"/>
                </a:lnTo>
                <a:lnTo>
                  <a:pt x="182772" y="377703"/>
                </a:lnTo>
                <a:lnTo>
                  <a:pt x="182032" y="379426"/>
                </a:lnTo>
                <a:lnTo>
                  <a:pt x="177109" y="379426"/>
                </a:lnTo>
                <a:lnTo>
                  <a:pt x="172926" y="379426"/>
                </a:lnTo>
                <a:lnTo>
                  <a:pt x="171202" y="379426"/>
                </a:lnTo>
                <a:lnTo>
                  <a:pt x="171202" y="377703"/>
                </a:lnTo>
                <a:lnTo>
                  <a:pt x="170463" y="377703"/>
                </a:lnTo>
                <a:lnTo>
                  <a:pt x="167264" y="375980"/>
                </a:lnTo>
                <a:lnTo>
                  <a:pt x="157418" y="363426"/>
                </a:lnTo>
                <a:lnTo>
                  <a:pt x="148310" y="350134"/>
                </a:lnTo>
                <a:lnTo>
                  <a:pt x="141664" y="335119"/>
                </a:lnTo>
                <a:lnTo>
                  <a:pt x="148310" y="335119"/>
                </a:lnTo>
                <a:lnTo>
                  <a:pt x="151510" y="336841"/>
                </a:lnTo>
                <a:lnTo>
                  <a:pt x="153972" y="336841"/>
                </a:lnTo>
                <a:lnTo>
                  <a:pt x="157171" y="336841"/>
                </a:lnTo>
                <a:lnTo>
                  <a:pt x="159633" y="335119"/>
                </a:lnTo>
                <a:lnTo>
                  <a:pt x="148064" y="330934"/>
                </a:lnTo>
                <a:lnTo>
                  <a:pt x="141418" y="324288"/>
                </a:lnTo>
                <a:lnTo>
                  <a:pt x="135756" y="315180"/>
                </a:lnTo>
                <a:lnTo>
                  <a:pt x="130834" y="305088"/>
                </a:lnTo>
                <a:lnTo>
                  <a:pt x="128371" y="294995"/>
                </a:lnTo>
                <a:lnTo>
                  <a:pt x="124187" y="285888"/>
                </a:lnTo>
                <a:lnTo>
                  <a:pt x="118525" y="278503"/>
                </a:lnTo>
                <a:lnTo>
                  <a:pt x="109418" y="274319"/>
                </a:lnTo>
                <a:lnTo>
                  <a:pt x="112618" y="255118"/>
                </a:lnTo>
                <a:lnTo>
                  <a:pt x="102772" y="244287"/>
                </a:lnTo>
                <a:lnTo>
                  <a:pt x="93664" y="230995"/>
                </a:lnTo>
                <a:lnTo>
                  <a:pt x="86279" y="217703"/>
                </a:lnTo>
                <a:lnTo>
                  <a:pt x="76433" y="204411"/>
                </a:lnTo>
                <a:lnTo>
                  <a:pt x="64865" y="194320"/>
                </a:lnTo>
                <a:lnTo>
                  <a:pt x="49111" y="186935"/>
                </a:lnTo>
                <a:lnTo>
                  <a:pt x="30156" y="182750"/>
                </a:lnTo>
                <a:lnTo>
                  <a:pt x="14403" y="175366"/>
                </a:lnTo>
                <a:lnTo>
                  <a:pt x="2834" y="165273"/>
                </a:lnTo>
                <a:lnTo>
                  <a:pt x="0" y="162806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310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24435" y="259243"/>
            <a:ext cx="11372291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bg1"/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xmlns="" id="{94ADDBA1-BB9A-4C4D-96C4-07E1746CFFCE}"/>
              </a:ext>
            </a:extLst>
          </p:cNvPr>
          <p:cNvGrpSpPr/>
          <p:nvPr userDrawn="1"/>
        </p:nvGrpSpPr>
        <p:grpSpPr>
          <a:xfrm>
            <a:off x="10415614" y="758756"/>
            <a:ext cx="1344926" cy="246023"/>
            <a:chOff x="6916230" y="365408"/>
            <a:chExt cx="3673340" cy="671952"/>
          </a:xfrm>
          <a:solidFill>
            <a:schemeClr val="bg1">
              <a:alpha val="94000"/>
            </a:schemeClr>
          </a:solidFill>
        </p:grpSpPr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xmlns="" id="{81473206-7C42-4786-B140-605978C37B51}"/>
                </a:ext>
              </a:extLst>
            </p:cNvPr>
            <p:cNvSpPr/>
            <p:nvPr/>
          </p:nvSpPr>
          <p:spPr>
            <a:xfrm rot="1020000">
              <a:off x="8384147" y="408886"/>
              <a:ext cx="403282" cy="600493"/>
            </a:xfrm>
            <a:custGeom>
              <a:avLst/>
              <a:gdLst>
                <a:gd name="connsiteX0" fmla="*/ 370630 w 403282"/>
                <a:gd name="connsiteY0" fmla="*/ 493654 h 600493"/>
                <a:gd name="connsiteX1" fmla="*/ 383308 w 403282"/>
                <a:gd name="connsiteY1" fmla="*/ 495095 h 600493"/>
                <a:gd name="connsiteX2" fmla="*/ 402037 w 403282"/>
                <a:gd name="connsiteY2" fmla="*/ 508637 h 600493"/>
                <a:gd name="connsiteX3" fmla="*/ 395698 w 403282"/>
                <a:gd name="connsiteY3" fmla="*/ 532265 h 600493"/>
                <a:gd name="connsiteX4" fmla="*/ 377833 w 403282"/>
                <a:gd name="connsiteY4" fmla="*/ 541197 h 600493"/>
                <a:gd name="connsiteX5" fmla="*/ 306951 w 403282"/>
                <a:gd name="connsiteY5" fmla="*/ 562519 h 600493"/>
                <a:gd name="connsiteX6" fmla="*/ 261137 w 403282"/>
                <a:gd name="connsiteY6" fmla="*/ 575774 h 600493"/>
                <a:gd name="connsiteX7" fmla="*/ 186510 w 403282"/>
                <a:gd name="connsiteY7" fmla="*/ 597384 h 600493"/>
                <a:gd name="connsiteX8" fmla="*/ 165476 w 403282"/>
                <a:gd name="connsiteY8" fmla="*/ 600265 h 600493"/>
                <a:gd name="connsiteX9" fmla="*/ 146747 w 403282"/>
                <a:gd name="connsiteY9" fmla="*/ 584706 h 600493"/>
                <a:gd name="connsiteX10" fmla="*/ 153950 w 403282"/>
                <a:gd name="connsiteY10" fmla="*/ 562519 h 600493"/>
                <a:gd name="connsiteX11" fmla="*/ 162594 w 403282"/>
                <a:gd name="connsiteY11" fmla="*/ 556180 h 600493"/>
                <a:gd name="connsiteX12" fmla="*/ 172391 w 403282"/>
                <a:gd name="connsiteY12" fmla="*/ 524773 h 600493"/>
                <a:gd name="connsiteX13" fmla="*/ 164323 w 403282"/>
                <a:gd name="connsiteY13" fmla="*/ 507197 h 600493"/>
                <a:gd name="connsiteX14" fmla="*/ 151645 w 403282"/>
                <a:gd name="connsiteY14" fmla="*/ 463400 h 600493"/>
                <a:gd name="connsiteX15" fmla="*/ 87679 w 403282"/>
                <a:gd name="connsiteY15" fmla="*/ 246432 h 600493"/>
                <a:gd name="connsiteX16" fmla="*/ 54543 w 403282"/>
                <a:gd name="connsiteY16" fmla="*/ 132330 h 600493"/>
                <a:gd name="connsiteX17" fmla="*/ 32356 w 403282"/>
                <a:gd name="connsiteY17" fmla="*/ 112737 h 600493"/>
                <a:gd name="connsiteX18" fmla="*/ 20543 w 403282"/>
                <a:gd name="connsiteY18" fmla="*/ 110720 h 600493"/>
                <a:gd name="connsiteX19" fmla="*/ 373 w 403282"/>
                <a:gd name="connsiteY19" fmla="*/ 91991 h 600493"/>
                <a:gd name="connsiteX20" fmla="*/ 12475 w 403282"/>
                <a:gd name="connsiteY20" fmla="*/ 65482 h 600493"/>
                <a:gd name="connsiteX21" fmla="*/ 33509 w 403282"/>
                <a:gd name="connsiteY21" fmla="*/ 57414 h 600493"/>
                <a:gd name="connsiteX22" fmla="*/ 219357 w 403282"/>
                <a:gd name="connsiteY22" fmla="*/ 2956 h 600493"/>
                <a:gd name="connsiteX23" fmla="*/ 233188 w 403282"/>
                <a:gd name="connsiteY23" fmla="*/ 75 h 600493"/>
                <a:gd name="connsiteX24" fmla="*/ 242697 w 403282"/>
                <a:gd name="connsiteY24" fmla="*/ 1227 h 600493"/>
                <a:gd name="connsiteX25" fmla="*/ 261426 w 403282"/>
                <a:gd name="connsiteY25" fmla="*/ 19092 h 600493"/>
                <a:gd name="connsiteX26" fmla="*/ 253070 w 403282"/>
                <a:gd name="connsiteY26" fmla="*/ 43296 h 600493"/>
                <a:gd name="connsiteX27" fmla="*/ 239527 w 403282"/>
                <a:gd name="connsiteY27" fmla="*/ 92279 h 600493"/>
                <a:gd name="connsiteX28" fmla="*/ 295714 w 403282"/>
                <a:gd name="connsiteY28" fmla="*/ 283314 h 600493"/>
                <a:gd name="connsiteX29" fmla="*/ 298019 w 403282"/>
                <a:gd name="connsiteY29" fmla="*/ 300890 h 600493"/>
                <a:gd name="connsiteX30" fmla="*/ 333748 w 403282"/>
                <a:gd name="connsiteY30" fmla="*/ 422484 h 600493"/>
                <a:gd name="connsiteX31" fmla="*/ 347867 w 403282"/>
                <a:gd name="connsiteY31" fmla="*/ 461383 h 600493"/>
                <a:gd name="connsiteX32" fmla="*/ 370630 w 403282"/>
                <a:gd name="connsiteY32" fmla="*/ 493654 h 60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03282" h="600493">
                  <a:moveTo>
                    <a:pt x="370630" y="493654"/>
                  </a:moveTo>
                  <a:cubicBezTo>
                    <a:pt x="374952" y="494230"/>
                    <a:pt x="378986" y="494807"/>
                    <a:pt x="383308" y="495095"/>
                  </a:cubicBezTo>
                  <a:cubicBezTo>
                    <a:pt x="392528" y="495671"/>
                    <a:pt x="399443" y="499705"/>
                    <a:pt x="402037" y="508637"/>
                  </a:cubicBezTo>
                  <a:cubicBezTo>
                    <a:pt x="404630" y="517281"/>
                    <a:pt x="403477" y="525638"/>
                    <a:pt x="395698" y="532265"/>
                  </a:cubicBezTo>
                  <a:cubicBezTo>
                    <a:pt x="390511" y="536587"/>
                    <a:pt x="384460" y="539180"/>
                    <a:pt x="377833" y="541197"/>
                  </a:cubicBezTo>
                  <a:cubicBezTo>
                    <a:pt x="354206" y="548112"/>
                    <a:pt x="330579" y="555316"/>
                    <a:pt x="306951" y="562519"/>
                  </a:cubicBezTo>
                  <a:cubicBezTo>
                    <a:pt x="292832" y="571163"/>
                    <a:pt x="277561" y="575197"/>
                    <a:pt x="261137" y="575774"/>
                  </a:cubicBezTo>
                  <a:cubicBezTo>
                    <a:pt x="236358" y="582977"/>
                    <a:pt x="211290" y="590180"/>
                    <a:pt x="186510" y="597384"/>
                  </a:cubicBezTo>
                  <a:cubicBezTo>
                    <a:pt x="179594" y="599401"/>
                    <a:pt x="172967" y="601130"/>
                    <a:pt x="165476" y="600265"/>
                  </a:cubicBezTo>
                  <a:cubicBezTo>
                    <a:pt x="155967" y="599113"/>
                    <a:pt x="149628" y="594214"/>
                    <a:pt x="146747" y="584706"/>
                  </a:cubicBezTo>
                  <a:cubicBezTo>
                    <a:pt x="143577" y="575485"/>
                    <a:pt x="147323" y="568570"/>
                    <a:pt x="153950" y="562519"/>
                  </a:cubicBezTo>
                  <a:cubicBezTo>
                    <a:pt x="156543" y="560214"/>
                    <a:pt x="159713" y="558485"/>
                    <a:pt x="162594" y="556180"/>
                  </a:cubicBezTo>
                  <a:cubicBezTo>
                    <a:pt x="175849" y="546383"/>
                    <a:pt x="177001" y="541773"/>
                    <a:pt x="172391" y="524773"/>
                  </a:cubicBezTo>
                  <a:cubicBezTo>
                    <a:pt x="166628" y="520163"/>
                    <a:pt x="166340" y="513248"/>
                    <a:pt x="164323" y="507197"/>
                  </a:cubicBezTo>
                  <a:cubicBezTo>
                    <a:pt x="160001" y="492502"/>
                    <a:pt x="155103" y="478383"/>
                    <a:pt x="151645" y="463400"/>
                  </a:cubicBezTo>
                  <a:cubicBezTo>
                    <a:pt x="130035" y="391077"/>
                    <a:pt x="109289" y="318755"/>
                    <a:pt x="87679" y="246432"/>
                  </a:cubicBezTo>
                  <a:cubicBezTo>
                    <a:pt x="77018" y="208398"/>
                    <a:pt x="65492" y="170364"/>
                    <a:pt x="54543" y="132330"/>
                  </a:cubicBezTo>
                  <a:cubicBezTo>
                    <a:pt x="51085" y="120805"/>
                    <a:pt x="44746" y="113601"/>
                    <a:pt x="32356" y="112737"/>
                  </a:cubicBezTo>
                  <a:cubicBezTo>
                    <a:pt x="28322" y="112449"/>
                    <a:pt x="24577" y="111584"/>
                    <a:pt x="20543" y="110720"/>
                  </a:cubicBezTo>
                  <a:cubicBezTo>
                    <a:pt x="8729" y="108415"/>
                    <a:pt x="2102" y="102076"/>
                    <a:pt x="373" y="91991"/>
                  </a:cubicBezTo>
                  <a:cubicBezTo>
                    <a:pt x="-1356" y="81330"/>
                    <a:pt x="2966" y="71533"/>
                    <a:pt x="12475" y="65482"/>
                  </a:cubicBezTo>
                  <a:cubicBezTo>
                    <a:pt x="18814" y="61448"/>
                    <a:pt x="26305" y="59431"/>
                    <a:pt x="33509" y="57414"/>
                  </a:cubicBezTo>
                  <a:cubicBezTo>
                    <a:pt x="95458" y="38974"/>
                    <a:pt x="157408" y="21397"/>
                    <a:pt x="219357" y="2956"/>
                  </a:cubicBezTo>
                  <a:cubicBezTo>
                    <a:pt x="223968" y="1516"/>
                    <a:pt x="228578" y="363"/>
                    <a:pt x="233188" y="75"/>
                  </a:cubicBezTo>
                  <a:cubicBezTo>
                    <a:pt x="236358" y="-213"/>
                    <a:pt x="239527" y="363"/>
                    <a:pt x="242697" y="1227"/>
                  </a:cubicBezTo>
                  <a:cubicBezTo>
                    <a:pt x="252205" y="3533"/>
                    <a:pt x="258832" y="9295"/>
                    <a:pt x="261426" y="19092"/>
                  </a:cubicBezTo>
                  <a:cubicBezTo>
                    <a:pt x="264307" y="29177"/>
                    <a:pt x="261426" y="38397"/>
                    <a:pt x="253070" y="43296"/>
                  </a:cubicBezTo>
                  <a:cubicBezTo>
                    <a:pt x="232036" y="55685"/>
                    <a:pt x="233476" y="72109"/>
                    <a:pt x="239527" y="92279"/>
                  </a:cubicBezTo>
                  <a:cubicBezTo>
                    <a:pt x="258832" y="155669"/>
                    <a:pt x="276985" y="219636"/>
                    <a:pt x="295714" y="283314"/>
                  </a:cubicBezTo>
                  <a:cubicBezTo>
                    <a:pt x="297443" y="289077"/>
                    <a:pt x="298595" y="294839"/>
                    <a:pt x="298019" y="300890"/>
                  </a:cubicBezTo>
                  <a:cubicBezTo>
                    <a:pt x="309833" y="341518"/>
                    <a:pt x="321646" y="381857"/>
                    <a:pt x="333748" y="422484"/>
                  </a:cubicBezTo>
                  <a:cubicBezTo>
                    <a:pt x="340951" y="434586"/>
                    <a:pt x="344409" y="448129"/>
                    <a:pt x="347867" y="461383"/>
                  </a:cubicBezTo>
                  <a:cubicBezTo>
                    <a:pt x="351324" y="474925"/>
                    <a:pt x="356223" y="487315"/>
                    <a:pt x="370630" y="49365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xmlns="" id="{0836F97A-1633-4467-A2A3-20FC385DF45B}"/>
                </a:ext>
              </a:extLst>
            </p:cNvPr>
            <p:cNvSpPr/>
            <p:nvPr userDrawn="1"/>
          </p:nvSpPr>
          <p:spPr>
            <a:xfrm rot="1020000">
              <a:off x="9705320" y="428745"/>
              <a:ext cx="391436" cy="584760"/>
            </a:xfrm>
            <a:custGeom>
              <a:avLst/>
              <a:gdLst>
                <a:gd name="connsiteX0" fmla="*/ 167549 w 391436"/>
                <a:gd name="connsiteY0" fmla="*/ 584760 h 584760"/>
                <a:gd name="connsiteX1" fmla="*/ 143634 w 391436"/>
                <a:gd name="connsiteY1" fmla="*/ 569201 h 584760"/>
                <a:gd name="connsiteX2" fmla="*/ 154871 w 391436"/>
                <a:gd name="connsiteY2" fmla="*/ 544709 h 584760"/>
                <a:gd name="connsiteX3" fmla="*/ 158905 w 391436"/>
                <a:gd name="connsiteY3" fmla="*/ 542404 h 584760"/>
                <a:gd name="connsiteX4" fmla="*/ 175329 w 391436"/>
                <a:gd name="connsiteY4" fmla="*/ 500048 h 584760"/>
                <a:gd name="connsiteX5" fmla="*/ 69006 w 391436"/>
                <a:gd name="connsiteY5" fmla="*/ 137859 h 584760"/>
                <a:gd name="connsiteX6" fmla="*/ 65837 w 391436"/>
                <a:gd name="connsiteY6" fmla="*/ 127774 h 584760"/>
                <a:gd name="connsiteX7" fmla="*/ 27515 w 391436"/>
                <a:gd name="connsiteY7" fmla="*/ 102706 h 584760"/>
                <a:gd name="connsiteX8" fmla="*/ 718 w 391436"/>
                <a:gd name="connsiteY8" fmla="*/ 88011 h 584760"/>
                <a:gd name="connsiteX9" fmla="*/ 18582 w 391436"/>
                <a:gd name="connsiteY9" fmla="*/ 59774 h 584760"/>
                <a:gd name="connsiteX10" fmla="*/ 123176 w 391436"/>
                <a:gd name="connsiteY10" fmla="*/ 22316 h 584760"/>
                <a:gd name="connsiteX11" fmla="*/ 182244 w 391436"/>
                <a:gd name="connsiteY11" fmla="*/ 1570 h 584760"/>
                <a:gd name="connsiteX12" fmla="*/ 194922 w 391436"/>
                <a:gd name="connsiteY12" fmla="*/ 7621 h 584760"/>
                <a:gd name="connsiteX13" fmla="*/ 277906 w 391436"/>
                <a:gd name="connsiteY13" fmla="*/ 291724 h 584760"/>
                <a:gd name="connsiteX14" fmla="*/ 327754 w 391436"/>
                <a:gd name="connsiteY14" fmla="*/ 460861 h 584760"/>
                <a:gd name="connsiteX15" fmla="*/ 357143 w 391436"/>
                <a:gd name="connsiteY15" fmla="*/ 483048 h 584760"/>
                <a:gd name="connsiteX16" fmla="*/ 371262 w 391436"/>
                <a:gd name="connsiteY16" fmla="*/ 482760 h 584760"/>
                <a:gd name="connsiteX17" fmla="*/ 389127 w 391436"/>
                <a:gd name="connsiteY17" fmla="*/ 494285 h 584760"/>
                <a:gd name="connsiteX18" fmla="*/ 385669 w 391436"/>
                <a:gd name="connsiteY18" fmla="*/ 517336 h 584760"/>
                <a:gd name="connsiteX19" fmla="*/ 368381 w 391436"/>
                <a:gd name="connsiteY19" fmla="*/ 527421 h 584760"/>
                <a:gd name="connsiteX20" fmla="*/ 178787 w 391436"/>
                <a:gd name="connsiteY20" fmla="*/ 583031 h 584760"/>
                <a:gd name="connsiteX21" fmla="*/ 167549 w 391436"/>
                <a:gd name="connsiteY21" fmla="*/ 584760 h 58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91436" h="584760">
                  <a:moveTo>
                    <a:pt x="167549" y="584760"/>
                  </a:moveTo>
                  <a:cubicBezTo>
                    <a:pt x="155447" y="584472"/>
                    <a:pt x="146803" y="580438"/>
                    <a:pt x="143634" y="569201"/>
                  </a:cubicBezTo>
                  <a:cubicBezTo>
                    <a:pt x="140464" y="557963"/>
                    <a:pt x="144786" y="549896"/>
                    <a:pt x="154871" y="544709"/>
                  </a:cubicBezTo>
                  <a:cubicBezTo>
                    <a:pt x="156312" y="544133"/>
                    <a:pt x="157753" y="543268"/>
                    <a:pt x="158905" y="542404"/>
                  </a:cubicBezTo>
                  <a:cubicBezTo>
                    <a:pt x="181380" y="528573"/>
                    <a:pt x="182820" y="525116"/>
                    <a:pt x="175329" y="500048"/>
                  </a:cubicBezTo>
                  <a:cubicBezTo>
                    <a:pt x="139888" y="379318"/>
                    <a:pt x="104447" y="258589"/>
                    <a:pt x="69006" y="137859"/>
                  </a:cubicBezTo>
                  <a:cubicBezTo>
                    <a:pt x="68142" y="134402"/>
                    <a:pt x="66989" y="130944"/>
                    <a:pt x="65837" y="127774"/>
                  </a:cubicBezTo>
                  <a:cubicBezTo>
                    <a:pt x="56904" y="102418"/>
                    <a:pt x="54311" y="100689"/>
                    <a:pt x="27515" y="102706"/>
                  </a:cubicBezTo>
                  <a:cubicBezTo>
                    <a:pt x="10226" y="103859"/>
                    <a:pt x="3887" y="100401"/>
                    <a:pt x="718" y="88011"/>
                  </a:cubicBezTo>
                  <a:cubicBezTo>
                    <a:pt x="-2164" y="76198"/>
                    <a:pt x="3599" y="65537"/>
                    <a:pt x="18582" y="59774"/>
                  </a:cubicBezTo>
                  <a:cubicBezTo>
                    <a:pt x="53159" y="46808"/>
                    <a:pt x="88312" y="34706"/>
                    <a:pt x="123176" y="22316"/>
                  </a:cubicBezTo>
                  <a:cubicBezTo>
                    <a:pt x="142770" y="15401"/>
                    <a:pt x="162939" y="8774"/>
                    <a:pt x="182244" y="1570"/>
                  </a:cubicBezTo>
                  <a:cubicBezTo>
                    <a:pt x="189736" y="-1311"/>
                    <a:pt x="192617" y="-735"/>
                    <a:pt x="194922" y="7621"/>
                  </a:cubicBezTo>
                  <a:cubicBezTo>
                    <a:pt x="222295" y="102418"/>
                    <a:pt x="250245" y="196927"/>
                    <a:pt x="277906" y="291724"/>
                  </a:cubicBezTo>
                  <a:cubicBezTo>
                    <a:pt x="294330" y="348199"/>
                    <a:pt x="311042" y="404386"/>
                    <a:pt x="327754" y="460861"/>
                  </a:cubicBezTo>
                  <a:cubicBezTo>
                    <a:pt x="333228" y="479590"/>
                    <a:pt x="337262" y="482760"/>
                    <a:pt x="357143" y="483048"/>
                  </a:cubicBezTo>
                  <a:cubicBezTo>
                    <a:pt x="361754" y="483048"/>
                    <a:pt x="366652" y="482760"/>
                    <a:pt x="371262" y="482760"/>
                  </a:cubicBezTo>
                  <a:cubicBezTo>
                    <a:pt x="379906" y="482471"/>
                    <a:pt x="385669" y="486505"/>
                    <a:pt x="389127" y="494285"/>
                  </a:cubicBezTo>
                  <a:cubicBezTo>
                    <a:pt x="392873" y="502641"/>
                    <a:pt x="392296" y="510421"/>
                    <a:pt x="385669" y="517336"/>
                  </a:cubicBezTo>
                  <a:cubicBezTo>
                    <a:pt x="380771" y="522234"/>
                    <a:pt x="374720" y="525404"/>
                    <a:pt x="368381" y="527421"/>
                  </a:cubicBezTo>
                  <a:cubicBezTo>
                    <a:pt x="305279" y="546150"/>
                    <a:pt x="241889" y="564591"/>
                    <a:pt x="178787" y="583031"/>
                  </a:cubicBezTo>
                  <a:cubicBezTo>
                    <a:pt x="175041" y="583896"/>
                    <a:pt x="170719" y="584184"/>
                    <a:pt x="167549" y="5847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xmlns="" id="{9B6E309C-AEC2-4925-B91D-98DDA2ACEA5E}"/>
                </a:ext>
              </a:extLst>
            </p:cNvPr>
            <p:cNvSpPr/>
            <p:nvPr/>
          </p:nvSpPr>
          <p:spPr>
            <a:xfrm rot="1020000">
              <a:off x="8699841" y="425712"/>
              <a:ext cx="573136" cy="611648"/>
            </a:xfrm>
            <a:custGeom>
              <a:avLst/>
              <a:gdLst>
                <a:gd name="connsiteX0" fmla="*/ 255772 w 573136"/>
                <a:gd name="connsiteY0" fmla="*/ 7712 h 611648"/>
                <a:gd name="connsiteX1" fmla="*/ 475333 w 573136"/>
                <a:gd name="connsiteY1" fmla="*/ 71679 h 611648"/>
                <a:gd name="connsiteX2" fmla="*/ 572723 w 573136"/>
                <a:gd name="connsiteY2" fmla="*/ 301612 h 611648"/>
                <a:gd name="connsiteX3" fmla="*/ 423756 w 573136"/>
                <a:gd name="connsiteY3" fmla="*/ 538173 h 611648"/>
                <a:gd name="connsiteX4" fmla="*/ 416553 w 573136"/>
                <a:gd name="connsiteY4" fmla="*/ 541919 h 611648"/>
                <a:gd name="connsiteX5" fmla="*/ 396095 w 573136"/>
                <a:gd name="connsiteY5" fmla="*/ 536732 h 611648"/>
                <a:gd name="connsiteX6" fmla="*/ 392061 w 573136"/>
                <a:gd name="connsiteY6" fmla="*/ 524343 h 611648"/>
                <a:gd name="connsiteX7" fmla="*/ 402722 w 573136"/>
                <a:gd name="connsiteY7" fmla="*/ 492359 h 611648"/>
                <a:gd name="connsiteX8" fmla="*/ 417129 w 573136"/>
                <a:gd name="connsiteY8" fmla="*/ 446834 h 611648"/>
                <a:gd name="connsiteX9" fmla="*/ 394366 w 573136"/>
                <a:gd name="connsiteY9" fmla="*/ 362121 h 611648"/>
                <a:gd name="connsiteX10" fmla="*/ 318010 w 573136"/>
                <a:gd name="connsiteY10" fmla="*/ 103662 h 611648"/>
                <a:gd name="connsiteX11" fmla="*/ 296399 w 573136"/>
                <a:gd name="connsiteY11" fmla="*/ 66204 h 611648"/>
                <a:gd name="connsiteX12" fmla="*/ 270755 w 573136"/>
                <a:gd name="connsiteY12" fmla="*/ 55831 h 611648"/>
                <a:gd name="connsiteX13" fmla="*/ 254619 w 573136"/>
                <a:gd name="connsiteY13" fmla="*/ 45746 h 611648"/>
                <a:gd name="connsiteX14" fmla="*/ 247992 w 573136"/>
                <a:gd name="connsiteY14" fmla="*/ 21831 h 611648"/>
                <a:gd name="connsiteX15" fmla="*/ 255772 w 573136"/>
                <a:gd name="connsiteY15" fmla="*/ 7712 h 611648"/>
                <a:gd name="connsiteX16" fmla="*/ 50907 w 573136"/>
                <a:gd name="connsiteY16" fmla="*/ 64474 h 611648"/>
                <a:gd name="connsiteX17" fmla="*/ 150026 w 573136"/>
                <a:gd name="connsiteY17" fmla="*/ 35662 h 611648"/>
                <a:gd name="connsiteX18" fmla="*/ 188925 w 573136"/>
                <a:gd name="connsiteY18" fmla="*/ 27306 h 611648"/>
                <a:gd name="connsiteX19" fmla="*/ 200162 w 573136"/>
                <a:gd name="connsiteY19" fmla="*/ 24136 h 611648"/>
                <a:gd name="connsiteX20" fmla="*/ 217451 w 573136"/>
                <a:gd name="connsiteY20" fmla="*/ 33356 h 611648"/>
                <a:gd name="connsiteX21" fmla="*/ 227824 w 573136"/>
                <a:gd name="connsiteY21" fmla="*/ 58135 h 611648"/>
                <a:gd name="connsiteX22" fmla="*/ 245688 w 573136"/>
                <a:gd name="connsiteY22" fmla="*/ 118357 h 611648"/>
                <a:gd name="connsiteX23" fmla="*/ 256061 w 573136"/>
                <a:gd name="connsiteY23" fmla="*/ 153798 h 611648"/>
                <a:gd name="connsiteX24" fmla="*/ 270468 w 573136"/>
                <a:gd name="connsiteY24" fmla="*/ 203934 h 611648"/>
                <a:gd name="connsiteX25" fmla="*/ 343654 w 573136"/>
                <a:gd name="connsiteY25" fmla="*/ 453749 h 611648"/>
                <a:gd name="connsiteX26" fmla="*/ 369299 w 573136"/>
                <a:gd name="connsiteY26" fmla="*/ 541343 h 611648"/>
                <a:gd name="connsiteX27" fmla="*/ 358638 w 573136"/>
                <a:gd name="connsiteY27" fmla="*/ 562377 h 611648"/>
                <a:gd name="connsiteX28" fmla="*/ 287179 w 573136"/>
                <a:gd name="connsiteY28" fmla="*/ 583699 h 611648"/>
                <a:gd name="connsiteX29" fmla="*/ 273061 w 573136"/>
                <a:gd name="connsiteY29" fmla="*/ 584274 h 611648"/>
                <a:gd name="connsiteX30" fmla="*/ 191230 w 573136"/>
                <a:gd name="connsiteY30" fmla="*/ 607614 h 611648"/>
                <a:gd name="connsiteX31" fmla="*/ 167891 w 573136"/>
                <a:gd name="connsiteY31" fmla="*/ 611648 h 611648"/>
                <a:gd name="connsiteX32" fmla="*/ 148874 w 573136"/>
                <a:gd name="connsiteY32" fmla="*/ 598394 h 611648"/>
                <a:gd name="connsiteX33" fmla="*/ 153484 w 573136"/>
                <a:gd name="connsiteY33" fmla="*/ 575343 h 611648"/>
                <a:gd name="connsiteX34" fmla="*/ 155213 w 573136"/>
                <a:gd name="connsiteY34" fmla="*/ 573902 h 611648"/>
                <a:gd name="connsiteX35" fmla="*/ 169908 w 573136"/>
                <a:gd name="connsiteY35" fmla="*/ 522326 h 611648"/>
                <a:gd name="connsiteX36" fmla="*/ 152332 w 573136"/>
                <a:gd name="connsiteY36" fmla="*/ 466139 h 611648"/>
                <a:gd name="connsiteX37" fmla="*/ 132738 w 573136"/>
                <a:gd name="connsiteY37" fmla="*/ 408223 h 611648"/>
                <a:gd name="connsiteX38" fmla="*/ 111992 w 573136"/>
                <a:gd name="connsiteY38" fmla="*/ 337917 h 611648"/>
                <a:gd name="connsiteX39" fmla="*/ 83467 w 573136"/>
                <a:gd name="connsiteY39" fmla="*/ 240238 h 611648"/>
                <a:gd name="connsiteX40" fmla="*/ 55517 w 573136"/>
                <a:gd name="connsiteY40" fmla="*/ 144577 h 611648"/>
                <a:gd name="connsiteX41" fmla="*/ 29297 w 573136"/>
                <a:gd name="connsiteY41" fmla="*/ 124119 h 611648"/>
                <a:gd name="connsiteX42" fmla="*/ 23534 w 573136"/>
                <a:gd name="connsiteY42" fmla="*/ 123543 h 611648"/>
                <a:gd name="connsiteX43" fmla="*/ 195 w 573136"/>
                <a:gd name="connsiteY43" fmla="*/ 101645 h 611648"/>
                <a:gd name="connsiteX44" fmla="*/ 17195 w 573136"/>
                <a:gd name="connsiteY44" fmla="*/ 75713 h 611648"/>
                <a:gd name="connsiteX45" fmla="*/ 50907 w 573136"/>
                <a:gd name="connsiteY45" fmla="*/ 64474 h 6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3136" h="611648">
                  <a:moveTo>
                    <a:pt x="255772" y="7712"/>
                  </a:moveTo>
                  <a:cubicBezTo>
                    <a:pt x="341349" y="-12746"/>
                    <a:pt x="415688" y="7136"/>
                    <a:pt x="475333" y="71679"/>
                  </a:cubicBezTo>
                  <a:cubicBezTo>
                    <a:pt x="534977" y="136221"/>
                    <a:pt x="567537" y="214019"/>
                    <a:pt x="572723" y="301612"/>
                  </a:cubicBezTo>
                  <a:cubicBezTo>
                    <a:pt x="578774" y="403613"/>
                    <a:pt x="517977" y="498698"/>
                    <a:pt x="423756" y="538173"/>
                  </a:cubicBezTo>
                  <a:cubicBezTo>
                    <a:pt x="421163" y="539326"/>
                    <a:pt x="418858" y="540766"/>
                    <a:pt x="416553" y="541919"/>
                  </a:cubicBezTo>
                  <a:cubicBezTo>
                    <a:pt x="406468" y="549410"/>
                    <a:pt x="400705" y="547970"/>
                    <a:pt x="396095" y="536732"/>
                  </a:cubicBezTo>
                  <a:cubicBezTo>
                    <a:pt x="394366" y="532698"/>
                    <a:pt x="393214" y="528665"/>
                    <a:pt x="392061" y="524343"/>
                  </a:cubicBezTo>
                  <a:cubicBezTo>
                    <a:pt x="386587" y="504461"/>
                    <a:pt x="386587" y="504461"/>
                    <a:pt x="402722" y="492359"/>
                  </a:cubicBezTo>
                  <a:cubicBezTo>
                    <a:pt x="415976" y="479969"/>
                    <a:pt x="419722" y="464122"/>
                    <a:pt x="417129" y="446834"/>
                  </a:cubicBezTo>
                  <a:cubicBezTo>
                    <a:pt x="412807" y="417732"/>
                    <a:pt x="402722" y="390070"/>
                    <a:pt x="394366" y="362121"/>
                  </a:cubicBezTo>
                  <a:cubicBezTo>
                    <a:pt x="369010" y="275968"/>
                    <a:pt x="344518" y="189527"/>
                    <a:pt x="318010" y="103662"/>
                  </a:cubicBezTo>
                  <a:cubicBezTo>
                    <a:pt x="313688" y="89543"/>
                    <a:pt x="307925" y="76289"/>
                    <a:pt x="296399" y="66204"/>
                  </a:cubicBezTo>
                  <a:cubicBezTo>
                    <a:pt x="288908" y="59577"/>
                    <a:pt x="280840" y="55543"/>
                    <a:pt x="270755" y="55831"/>
                  </a:cubicBezTo>
                  <a:cubicBezTo>
                    <a:pt x="263840" y="54967"/>
                    <a:pt x="254908" y="57272"/>
                    <a:pt x="254619" y="45746"/>
                  </a:cubicBezTo>
                  <a:cubicBezTo>
                    <a:pt x="252603" y="37678"/>
                    <a:pt x="251162" y="29611"/>
                    <a:pt x="247992" y="21831"/>
                  </a:cubicBezTo>
                  <a:cubicBezTo>
                    <a:pt x="244535" y="12899"/>
                    <a:pt x="246840" y="9729"/>
                    <a:pt x="255772" y="7712"/>
                  </a:cubicBezTo>
                  <a:close/>
                  <a:moveTo>
                    <a:pt x="50907" y="64474"/>
                  </a:moveTo>
                  <a:cubicBezTo>
                    <a:pt x="84043" y="54966"/>
                    <a:pt x="116891" y="45169"/>
                    <a:pt x="150026" y="35662"/>
                  </a:cubicBezTo>
                  <a:cubicBezTo>
                    <a:pt x="162993" y="32492"/>
                    <a:pt x="175094" y="25865"/>
                    <a:pt x="188925" y="27306"/>
                  </a:cubicBezTo>
                  <a:cubicBezTo>
                    <a:pt x="192671" y="26152"/>
                    <a:pt x="196705" y="25576"/>
                    <a:pt x="200162" y="24136"/>
                  </a:cubicBezTo>
                  <a:cubicBezTo>
                    <a:pt x="210247" y="19526"/>
                    <a:pt x="216298" y="21831"/>
                    <a:pt x="217451" y="33356"/>
                  </a:cubicBezTo>
                  <a:cubicBezTo>
                    <a:pt x="224366" y="39984"/>
                    <a:pt x="225230" y="49492"/>
                    <a:pt x="227824" y="58135"/>
                  </a:cubicBezTo>
                  <a:cubicBezTo>
                    <a:pt x="233586" y="78305"/>
                    <a:pt x="239925" y="98187"/>
                    <a:pt x="245688" y="118357"/>
                  </a:cubicBezTo>
                  <a:cubicBezTo>
                    <a:pt x="248570" y="130459"/>
                    <a:pt x="252892" y="141695"/>
                    <a:pt x="256061" y="153798"/>
                  </a:cubicBezTo>
                  <a:cubicBezTo>
                    <a:pt x="260383" y="170510"/>
                    <a:pt x="266146" y="187222"/>
                    <a:pt x="270468" y="203934"/>
                  </a:cubicBezTo>
                  <a:cubicBezTo>
                    <a:pt x="295248" y="287206"/>
                    <a:pt x="319450" y="370477"/>
                    <a:pt x="343654" y="453749"/>
                  </a:cubicBezTo>
                  <a:cubicBezTo>
                    <a:pt x="352587" y="482850"/>
                    <a:pt x="360654" y="511953"/>
                    <a:pt x="369299" y="541343"/>
                  </a:cubicBezTo>
                  <a:cubicBezTo>
                    <a:pt x="373333" y="555461"/>
                    <a:pt x="371892" y="558343"/>
                    <a:pt x="358638" y="562377"/>
                  </a:cubicBezTo>
                  <a:cubicBezTo>
                    <a:pt x="335011" y="569868"/>
                    <a:pt x="310807" y="576496"/>
                    <a:pt x="287179" y="583699"/>
                  </a:cubicBezTo>
                  <a:cubicBezTo>
                    <a:pt x="282570" y="584563"/>
                    <a:pt x="277960" y="585715"/>
                    <a:pt x="273061" y="584274"/>
                  </a:cubicBezTo>
                  <a:cubicBezTo>
                    <a:pt x="245688" y="592055"/>
                    <a:pt x="218603" y="599835"/>
                    <a:pt x="191230" y="607614"/>
                  </a:cubicBezTo>
                  <a:cubicBezTo>
                    <a:pt x="183739" y="609919"/>
                    <a:pt x="175959" y="611647"/>
                    <a:pt x="167891" y="611648"/>
                  </a:cubicBezTo>
                  <a:cubicBezTo>
                    <a:pt x="158383" y="611647"/>
                    <a:pt x="152042" y="607326"/>
                    <a:pt x="148874" y="598394"/>
                  </a:cubicBezTo>
                  <a:cubicBezTo>
                    <a:pt x="145704" y="590038"/>
                    <a:pt x="146857" y="581970"/>
                    <a:pt x="153484" y="575343"/>
                  </a:cubicBezTo>
                  <a:cubicBezTo>
                    <a:pt x="154060" y="574766"/>
                    <a:pt x="154637" y="574190"/>
                    <a:pt x="155213" y="573902"/>
                  </a:cubicBezTo>
                  <a:cubicBezTo>
                    <a:pt x="179705" y="562088"/>
                    <a:pt x="178264" y="543936"/>
                    <a:pt x="169908" y="522326"/>
                  </a:cubicBezTo>
                  <a:cubicBezTo>
                    <a:pt x="162993" y="503885"/>
                    <a:pt x="158094" y="484868"/>
                    <a:pt x="152332" y="466139"/>
                  </a:cubicBezTo>
                  <a:cubicBezTo>
                    <a:pt x="141382" y="448273"/>
                    <a:pt x="139077" y="427527"/>
                    <a:pt x="132738" y="408223"/>
                  </a:cubicBezTo>
                  <a:cubicBezTo>
                    <a:pt x="125247" y="384884"/>
                    <a:pt x="118908" y="361257"/>
                    <a:pt x="111992" y="337917"/>
                  </a:cubicBezTo>
                  <a:cubicBezTo>
                    <a:pt x="102772" y="305358"/>
                    <a:pt x="93263" y="272799"/>
                    <a:pt x="83467" y="240238"/>
                  </a:cubicBezTo>
                  <a:cubicBezTo>
                    <a:pt x="74534" y="208256"/>
                    <a:pt x="64738" y="176560"/>
                    <a:pt x="55517" y="144577"/>
                  </a:cubicBezTo>
                  <a:cubicBezTo>
                    <a:pt x="51772" y="131322"/>
                    <a:pt x="43992" y="123255"/>
                    <a:pt x="29297" y="124119"/>
                  </a:cubicBezTo>
                  <a:cubicBezTo>
                    <a:pt x="27280" y="124119"/>
                    <a:pt x="25263" y="123832"/>
                    <a:pt x="23534" y="123543"/>
                  </a:cubicBezTo>
                  <a:cubicBezTo>
                    <a:pt x="10280" y="120950"/>
                    <a:pt x="1924" y="113170"/>
                    <a:pt x="195" y="101645"/>
                  </a:cubicBezTo>
                  <a:cubicBezTo>
                    <a:pt x="-1246" y="91559"/>
                    <a:pt x="5381" y="81187"/>
                    <a:pt x="17195" y="75713"/>
                  </a:cubicBezTo>
                  <a:cubicBezTo>
                    <a:pt x="27856" y="70526"/>
                    <a:pt x="39670" y="67645"/>
                    <a:pt x="50907" y="6447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xmlns="" id="{C4F4EFB9-8BCE-4517-9C09-BBB033B96801}"/>
                </a:ext>
              </a:extLst>
            </p:cNvPr>
            <p:cNvSpPr/>
            <p:nvPr/>
          </p:nvSpPr>
          <p:spPr>
            <a:xfrm rot="1020000">
              <a:off x="9339897" y="633711"/>
              <a:ext cx="279964" cy="180525"/>
            </a:xfrm>
            <a:custGeom>
              <a:avLst/>
              <a:gdLst>
                <a:gd name="connsiteX0" fmla="*/ 34527 w 279964"/>
                <a:gd name="connsiteY0" fmla="*/ 180221 h 180525"/>
                <a:gd name="connsiteX1" fmla="*/ 29341 w 279964"/>
                <a:gd name="connsiteY1" fmla="*/ 175611 h 180525"/>
                <a:gd name="connsiteX2" fmla="*/ 527 w 279964"/>
                <a:gd name="connsiteY2" fmla="*/ 78220 h 180525"/>
                <a:gd name="connsiteX3" fmla="*/ 8019 w 279964"/>
                <a:gd name="connsiteY3" fmla="*/ 69576 h 180525"/>
                <a:gd name="connsiteX4" fmla="*/ 203087 w 279964"/>
                <a:gd name="connsiteY4" fmla="*/ 12237 h 180525"/>
                <a:gd name="connsiteX5" fmla="*/ 240545 w 279964"/>
                <a:gd name="connsiteY5" fmla="*/ 999 h 180525"/>
                <a:gd name="connsiteX6" fmla="*/ 252071 w 279964"/>
                <a:gd name="connsiteY6" fmla="*/ 7050 h 180525"/>
                <a:gd name="connsiteX7" fmla="*/ 278868 w 279964"/>
                <a:gd name="connsiteY7" fmla="*/ 98966 h 180525"/>
                <a:gd name="connsiteX8" fmla="*/ 273681 w 279964"/>
                <a:gd name="connsiteY8" fmla="*/ 109915 h 180525"/>
                <a:gd name="connsiteX9" fmla="*/ 37697 w 279964"/>
                <a:gd name="connsiteY9" fmla="*/ 178780 h 180525"/>
                <a:gd name="connsiteX10" fmla="*/ 34527 w 279964"/>
                <a:gd name="connsiteY10" fmla="*/ 180221 h 18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9964" h="180525">
                  <a:moveTo>
                    <a:pt x="34527" y="180221"/>
                  </a:moveTo>
                  <a:cubicBezTo>
                    <a:pt x="29917" y="181662"/>
                    <a:pt x="30205" y="177628"/>
                    <a:pt x="29341" y="175611"/>
                  </a:cubicBezTo>
                  <a:cubicBezTo>
                    <a:pt x="19544" y="143051"/>
                    <a:pt x="10323" y="110492"/>
                    <a:pt x="527" y="78220"/>
                  </a:cubicBezTo>
                  <a:cubicBezTo>
                    <a:pt x="-1778" y="70152"/>
                    <a:pt x="3985" y="70729"/>
                    <a:pt x="8019" y="69576"/>
                  </a:cubicBezTo>
                  <a:cubicBezTo>
                    <a:pt x="73138" y="50271"/>
                    <a:pt x="137968" y="31542"/>
                    <a:pt x="203087" y="12237"/>
                  </a:cubicBezTo>
                  <a:cubicBezTo>
                    <a:pt x="215478" y="8491"/>
                    <a:pt x="228156" y="5033"/>
                    <a:pt x="240545" y="999"/>
                  </a:cubicBezTo>
                  <a:cubicBezTo>
                    <a:pt x="246885" y="-1018"/>
                    <a:pt x="250054" y="-441"/>
                    <a:pt x="252071" y="7050"/>
                  </a:cubicBezTo>
                  <a:cubicBezTo>
                    <a:pt x="260427" y="37881"/>
                    <a:pt x="269647" y="68424"/>
                    <a:pt x="278868" y="98966"/>
                  </a:cubicBezTo>
                  <a:cubicBezTo>
                    <a:pt x="280596" y="104729"/>
                    <a:pt x="281173" y="107898"/>
                    <a:pt x="273681" y="109915"/>
                  </a:cubicBezTo>
                  <a:cubicBezTo>
                    <a:pt x="195020" y="132678"/>
                    <a:pt x="116358" y="155729"/>
                    <a:pt x="37697" y="178780"/>
                  </a:cubicBezTo>
                  <a:cubicBezTo>
                    <a:pt x="36544" y="179068"/>
                    <a:pt x="35392" y="179645"/>
                    <a:pt x="34527" y="180221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xmlns="" id="{273259F1-A5E6-4346-BC1B-CFDE8F987453}"/>
                </a:ext>
              </a:extLst>
            </p:cNvPr>
            <p:cNvSpPr/>
            <p:nvPr/>
          </p:nvSpPr>
          <p:spPr>
            <a:xfrm rot="1020000">
              <a:off x="10118028" y="422365"/>
              <a:ext cx="471542" cy="578663"/>
            </a:xfrm>
            <a:custGeom>
              <a:avLst/>
              <a:gdLst>
                <a:gd name="connsiteX0" fmla="*/ 175480 w 471542"/>
                <a:gd name="connsiteY0" fmla="*/ 400270 h 578663"/>
                <a:gd name="connsiteX1" fmla="*/ 245930 w 471542"/>
                <a:gd name="connsiteY1" fmla="*/ 416442 h 578663"/>
                <a:gd name="connsiteX2" fmla="*/ 262642 w 471542"/>
                <a:gd name="connsiteY2" fmla="*/ 482713 h 578663"/>
                <a:gd name="connsiteX3" fmla="*/ 256879 w 471542"/>
                <a:gd name="connsiteY3" fmla="*/ 496832 h 578663"/>
                <a:gd name="connsiteX4" fmla="*/ 281947 w 471542"/>
                <a:gd name="connsiteY4" fmla="*/ 530256 h 578663"/>
                <a:gd name="connsiteX5" fmla="*/ 296642 w 471542"/>
                <a:gd name="connsiteY5" fmla="*/ 540629 h 578663"/>
                <a:gd name="connsiteX6" fmla="*/ 300100 w 471542"/>
                <a:gd name="connsiteY6" fmla="*/ 553307 h 578663"/>
                <a:gd name="connsiteX7" fmla="*/ 286557 w 471542"/>
                <a:gd name="connsiteY7" fmla="*/ 575494 h 578663"/>
                <a:gd name="connsiteX8" fmla="*/ 255727 w 471542"/>
                <a:gd name="connsiteY8" fmla="*/ 578663 h 578663"/>
                <a:gd name="connsiteX9" fmla="*/ 159489 w 471542"/>
                <a:gd name="connsiteY9" fmla="*/ 552443 h 578663"/>
                <a:gd name="connsiteX10" fmla="*/ 120590 w 471542"/>
                <a:gd name="connsiteY10" fmla="*/ 450442 h 578663"/>
                <a:gd name="connsiteX11" fmla="*/ 175480 w 471542"/>
                <a:gd name="connsiteY11" fmla="*/ 400270 h 578663"/>
                <a:gd name="connsiteX12" fmla="*/ 183980 w 471542"/>
                <a:gd name="connsiteY12" fmla="*/ 2964 h 578663"/>
                <a:gd name="connsiteX13" fmla="*/ 305286 w 471542"/>
                <a:gd name="connsiteY13" fmla="*/ 23422 h 578663"/>
                <a:gd name="connsiteX14" fmla="*/ 427457 w 471542"/>
                <a:gd name="connsiteY14" fmla="*/ 155389 h 578663"/>
                <a:gd name="connsiteX15" fmla="*/ 471542 w 471542"/>
                <a:gd name="connsiteY15" fmla="*/ 341525 h 578663"/>
                <a:gd name="connsiteX16" fmla="*/ 420254 w 471542"/>
                <a:gd name="connsiteY16" fmla="*/ 502594 h 578663"/>
                <a:gd name="connsiteX17" fmla="*/ 345626 w 471542"/>
                <a:gd name="connsiteY17" fmla="*/ 559357 h 578663"/>
                <a:gd name="connsiteX18" fmla="*/ 334389 w 471542"/>
                <a:gd name="connsiteY18" fmla="*/ 553883 h 578663"/>
                <a:gd name="connsiteX19" fmla="*/ 331507 w 471542"/>
                <a:gd name="connsiteY19" fmla="*/ 543510 h 578663"/>
                <a:gd name="connsiteX20" fmla="*/ 338998 w 471542"/>
                <a:gd name="connsiteY20" fmla="*/ 508069 h 578663"/>
                <a:gd name="connsiteX21" fmla="*/ 349948 w 471542"/>
                <a:gd name="connsiteY21" fmla="*/ 462255 h 578663"/>
                <a:gd name="connsiteX22" fmla="*/ 308455 w 471542"/>
                <a:gd name="connsiteY22" fmla="*/ 316746 h 578663"/>
                <a:gd name="connsiteX23" fmla="*/ 244489 w 471542"/>
                <a:gd name="connsiteY23" fmla="*/ 98626 h 578663"/>
                <a:gd name="connsiteX24" fmla="*/ 234117 w 471542"/>
                <a:gd name="connsiteY24" fmla="*/ 72405 h 578663"/>
                <a:gd name="connsiteX25" fmla="*/ 192913 w 471542"/>
                <a:gd name="connsiteY25" fmla="*/ 47049 h 578663"/>
                <a:gd name="connsiteX26" fmla="*/ 184269 w 471542"/>
                <a:gd name="connsiteY26" fmla="*/ 40422 h 578663"/>
                <a:gd name="connsiteX27" fmla="*/ 176778 w 471542"/>
                <a:gd name="connsiteY27" fmla="*/ 15354 h 578663"/>
                <a:gd name="connsiteX28" fmla="*/ 183980 w 471542"/>
                <a:gd name="connsiteY28" fmla="*/ 2964 h 578663"/>
                <a:gd name="connsiteX29" fmla="*/ 131826 w 471542"/>
                <a:gd name="connsiteY29" fmla="*/ 17660 h 578663"/>
                <a:gd name="connsiteX30" fmla="*/ 145082 w 471542"/>
                <a:gd name="connsiteY30" fmla="*/ 25152 h 578663"/>
                <a:gd name="connsiteX31" fmla="*/ 148827 w 471542"/>
                <a:gd name="connsiteY31" fmla="*/ 37542 h 578663"/>
                <a:gd name="connsiteX32" fmla="*/ 142199 w 471542"/>
                <a:gd name="connsiteY32" fmla="*/ 67220 h 578663"/>
                <a:gd name="connsiteX33" fmla="*/ 135573 w 471542"/>
                <a:gd name="connsiteY33" fmla="*/ 92000 h 578663"/>
                <a:gd name="connsiteX34" fmla="*/ 183404 w 471542"/>
                <a:gd name="connsiteY34" fmla="*/ 254221 h 578663"/>
                <a:gd name="connsiteX35" fmla="*/ 237861 w 471542"/>
                <a:gd name="connsiteY35" fmla="*/ 268628 h 578663"/>
                <a:gd name="connsiteX36" fmla="*/ 246505 w 471542"/>
                <a:gd name="connsiteY36" fmla="*/ 258543 h 578663"/>
                <a:gd name="connsiteX37" fmla="*/ 258319 w 471542"/>
                <a:gd name="connsiteY37" fmla="*/ 297154 h 578663"/>
                <a:gd name="connsiteX38" fmla="*/ 256014 w 471542"/>
                <a:gd name="connsiteY38" fmla="*/ 305798 h 578663"/>
                <a:gd name="connsiteX39" fmla="*/ 35013 w 471542"/>
                <a:gd name="connsiteY39" fmla="*/ 302916 h 578663"/>
                <a:gd name="connsiteX40" fmla="*/ 147 w 471542"/>
                <a:gd name="connsiteY40" fmla="*/ 186221 h 578663"/>
                <a:gd name="connsiteX41" fmla="*/ 131826 w 471542"/>
                <a:gd name="connsiteY41" fmla="*/ 17660 h 57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542" h="578663">
                  <a:moveTo>
                    <a:pt x="175480" y="400270"/>
                  </a:moveTo>
                  <a:cubicBezTo>
                    <a:pt x="199756" y="393679"/>
                    <a:pt x="226625" y="398145"/>
                    <a:pt x="245930" y="416442"/>
                  </a:cubicBezTo>
                  <a:cubicBezTo>
                    <a:pt x="265235" y="434883"/>
                    <a:pt x="270421" y="457357"/>
                    <a:pt x="262642" y="482713"/>
                  </a:cubicBezTo>
                  <a:cubicBezTo>
                    <a:pt x="261201" y="487612"/>
                    <a:pt x="258608" y="492222"/>
                    <a:pt x="256879" y="496832"/>
                  </a:cubicBezTo>
                  <a:cubicBezTo>
                    <a:pt x="248811" y="518154"/>
                    <a:pt x="258608" y="532561"/>
                    <a:pt x="281947" y="530256"/>
                  </a:cubicBezTo>
                  <a:cubicBezTo>
                    <a:pt x="291744" y="529104"/>
                    <a:pt x="295201" y="531985"/>
                    <a:pt x="296642" y="540629"/>
                  </a:cubicBezTo>
                  <a:cubicBezTo>
                    <a:pt x="297506" y="544951"/>
                    <a:pt x="298659" y="548985"/>
                    <a:pt x="300100" y="553307"/>
                  </a:cubicBezTo>
                  <a:cubicBezTo>
                    <a:pt x="305863" y="572612"/>
                    <a:pt x="305863" y="572900"/>
                    <a:pt x="286557" y="575494"/>
                  </a:cubicBezTo>
                  <a:cubicBezTo>
                    <a:pt x="275032" y="577222"/>
                    <a:pt x="264083" y="577799"/>
                    <a:pt x="255727" y="578663"/>
                  </a:cubicBezTo>
                  <a:cubicBezTo>
                    <a:pt x="219709" y="577222"/>
                    <a:pt x="187726" y="571460"/>
                    <a:pt x="159489" y="552443"/>
                  </a:cubicBezTo>
                  <a:cubicBezTo>
                    <a:pt x="123759" y="528527"/>
                    <a:pt x="107912" y="487035"/>
                    <a:pt x="120590" y="450442"/>
                  </a:cubicBezTo>
                  <a:cubicBezTo>
                    <a:pt x="129523" y="424509"/>
                    <a:pt x="151204" y="406861"/>
                    <a:pt x="175480" y="400270"/>
                  </a:cubicBezTo>
                  <a:close/>
                  <a:moveTo>
                    <a:pt x="183980" y="2964"/>
                  </a:moveTo>
                  <a:cubicBezTo>
                    <a:pt x="226914" y="-4816"/>
                    <a:pt x="267253" y="2964"/>
                    <a:pt x="305286" y="23422"/>
                  </a:cubicBezTo>
                  <a:cubicBezTo>
                    <a:pt x="361185" y="53388"/>
                    <a:pt x="398931" y="100066"/>
                    <a:pt x="427457" y="155389"/>
                  </a:cubicBezTo>
                  <a:cubicBezTo>
                    <a:pt x="456847" y="212152"/>
                    <a:pt x="470678" y="272372"/>
                    <a:pt x="471542" y="341525"/>
                  </a:cubicBezTo>
                  <a:cubicBezTo>
                    <a:pt x="470678" y="396272"/>
                    <a:pt x="458000" y="453323"/>
                    <a:pt x="420254" y="502594"/>
                  </a:cubicBezTo>
                  <a:cubicBezTo>
                    <a:pt x="400660" y="528239"/>
                    <a:pt x="375880" y="547256"/>
                    <a:pt x="345626" y="559357"/>
                  </a:cubicBezTo>
                  <a:cubicBezTo>
                    <a:pt x="339287" y="561951"/>
                    <a:pt x="335540" y="561662"/>
                    <a:pt x="334389" y="553883"/>
                  </a:cubicBezTo>
                  <a:cubicBezTo>
                    <a:pt x="334100" y="550425"/>
                    <a:pt x="332660" y="546967"/>
                    <a:pt x="331507" y="543510"/>
                  </a:cubicBezTo>
                  <a:cubicBezTo>
                    <a:pt x="326321" y="529967"/>
                    <a:pt x="323440" y="519018"/>
                    <a:pt x="338998" y="508069"/>
                  </a:cubicBezTo>
                  <a:cubicBezTo>
                    <a:pt x="353694" y="497696"/>
                    <a:pt x="354270" y="478679"/>
                    <a:pt x="349948" y="462255"/>
                  </a:cubicBezTo>
                  <a:cubicBezTo>
                    <a:pt x="336694" y="413560"/>
                    <a:pt x="322575" y="365153"/>
                    <a:pt x="308455" y="316746"/>
                  </a:cubicBezTo>
                  <a:cubicBezTo>
                    <a:pt x="287422" y="244135"/>
                    <a:pt x="265811" y="171524"/>
                    <a:pt x="244489" y="98626"/>
                  </a:cubicBezTo>
                  <a:cubicBezTo>
                    <a:pt x="241897" y="89405"/>
                    <a:pt x="238727" y="80473"/>
                    <a:pt x="234117" y="72405"/>
                  </a:cubicBezTo>
                  <a:cubicBezTo>
                    <a:pt x="225185" y="56269"/>
                    <a:pt x="211641" y="47049"/>
                    <a:pt x="192913" y="47049"/>
                  </a:cubicBezTo>
                  <a:cubicBezTo>
                    <a:pt x="187438" y="47049"/>
                    <a:pt x="185421" y="45608"/>
                    <a:pt x="184269" y="40422"/>
                  </a:cubicBezTo>
                  <a:cubicBezTo>
                    <a:pt x="182251" y="32066"/>
                    <a:pt x="180235" y="23422"/>
                    <a:pt x="176778" y="15354"/>
                  </a:cubicBezTo>
                  <a:cubicBezTo>
                    <a:pt x="173320" y="6998"/>
                    <a:pt x="175912" y="4405"/>
                    <a:pt x="183980" y="2964"/>
                  </a:cubicBezTo>
                  <a:close/>
                  <a:moveTo>
                    <a:pt x="131826" y="17660"/>
                  </a:moveTo>
                  <a:cubicBezTo>
                    <a:pt x="139606" y="15355"/>
                    <a:pt x="144217" y="15643"/>
                    <a:pt x="145082" y="25152"/>
                  </a:cubicBezTo>
                  <a:cubicBezTo>
                    <a:pt x="145658" y="29474"/>
                    <a:pt x="147387" y="33508"/>
                    <a:pt x="148827" y="37542"/>
                  </a:cubicBezTo>
                  <a:cubicBezTo>
                    <a:pt x="153149" y="48779"/>
                    <a:pt x="156031" y="58864"/>
                    <a:pt x="142199" y="67220"/>
                  </a:cubicBezTo>
                  <a:cubicBezTo>
                    <a:pt x="134131" y="72118"/>
                    <a:pt x="132979" y="82491"/>
                    <a:pt x="135573" y="92000"/>
                  </a:cubicBezTo>
                  <a:cubicBezTo>
                    <a:pt x="151420" y="146170"/>
                    <a:pt x="166979" y="200339"/>
                    <a:pt x="183404" y="254221"/>
                  </a:cubicBezTo>
                  <a:cubicBezTo>
                    <a:pt x="192048" y="283035"/>
                    <a:pt x="215386" y="288798"/>
                    <a:pt x="237861" y="268628"/>
                  </a:cubicBezTo>
                  <a:cubicBezTo>
                    <a:pt x="240455" y="266323"/>
                    <a:pt x="242471" y="263153"/>
                    <a:pt x="246505" y="258543"/>
                  </a:cubicBezTo>
                  <a:cubicBezTo>
                    <a:pt x="250828" y="273238"/>
                    <a:pt x="254574" y="285340"/>
                    <a:pt x="258319" y="297154"/>
                  </a:cubicBezTo>
                  <a:cubicBezTo>
                    <a:pt x="259184" y="300323"/>
                    <a:pt x="258607" y="303204"/>
                    <a:pt x="256014" y="305798"/>
                  </a:cubicBezTo>
                  <a:cubicBezTo>
                    <a:pt x="189454" y="374086"/>
                    <a:pt x="90335" y="372069"/>
                    <a:pt x="35013" y="302916"/>
                  </a:cubicBezTo>
                  <a:cubicBezTo>
                    <a:pt x="7639" y="268916"/>
                    <a:pt x="-1292" y="228577"/>
                    <a:pt x="147" y="186221"/>
                  </a:cubicBezTo>
                  <a:cubicBezTo>
                    <a:pt x="3030" y="105542"/>
                    <a:pt x="54317" y="40711"/>
                    <a:pt x="131826" y="176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xmlns="" id="{594E921E-A6D5-4DD5-8BF2-758327B18813}"/>
                </a:ext>
              </a:extLst>
            </p:cNvPr>
            <p:cNvSpPr/>
            <p:nvPr/>
          </p:nvSpPr>
          <p:spPr>
            <a:xfrm rot="1020000">
              <a:off x="7393031" y="417861"/>
              <a:ext cx="516389" cy="582638"/>
            </a:xfrm>
            <a:custGeom>
              <a:avLst/>
              <a:gdLst>
                <a:gd name="connsiteX0" fmla="*/ 202598 w 516389"/>
                <a:gd name="connsiteY0" fmla="*/ 4066 h 582638"/>
                <a:gd name="connsiteX1" fmla="*/ 273480 w 516389"/>
                <a:gd name="connsiteY1" fmla="*/ 1761 h 582638"/>
                <a:gd name="connsiteX2" fmla="*/ 467108 w 516389"/>
                <a:gd name="connsiteY2" fmla="*/ 142084 h 582638"/>
                <a:gd name="connsiteX3" fmla="*/ 499380 w 516389"/>
                <a:gd name="connsiteY3" fmla="*/ 221034 h 582638"/>
                <a:gd name="connsiteX4" fmla="*/ 516380 w 516389"/>
                <a:gd name="connsiteY4" fmla="*/ 331967 h 582638"/>
                <a:gd name="connsiteX5" fmla="*/ 504278 w 516389"/>
                <a:gd name="connsiteY5" fmla="*/ 412645 h 582638"/>
                <a:gd name="connsiteX6" fmla="*/ 469702 w 516389"/>
                <a:gd name="connsiteY6" fmla="*/ 482662 h 582638"/>
                <a:gd name="connsiteX7" fmla="*/ 459040 w 516389"/>
                <a:gd name="connsiteY7" fmla="*/ 494188 h 582638"/>
                <a:gd name="connsiteX8" fmla="*/ 364531 w 516389"/>
                <a:gd name="connsiteY8" fmla="*/ 562189 h 582638"/>
                <a:gd name="connsiteX9" fmla="*/ 353582 w 516389"/>
                <a:gd name="connsiteY9" fmla="*/ 557002 h 582638"/>
                <a:gd name="connsiteX10" fmla="*/ 351277 w 516389"/>
                <a:gd name="connsiteY10" fmla="*/ 548934 h 582638"/>
                <a:gd name="connsiteX11" fmla="*/ 358192 w 516389"/>
                <a:gd name="connsiteY11" fmla="*/ 508883 h 582638"/>
                <a:gd name="connsiteX12" fmla="*/ 367413 w 516389"/>
                <a:gd name="connsiteY12" fmla="*/ 471425 h 582638"/>
                <a:gd name="connsiteX13" fmla="*/ 354735 w 516389"/>
                <a:gd name="connsiteY13" fmla="*/ 429645 h 582638"/>
                <a:gd name="connsiteX14" fmla="*/ 342633 w 516389"/>
                <a:gd name="connsiteY14" fmla="*/ 397374 h 582638"/>
                <a:gd name="connsiteX15" fmla="*/ 278667 w 516389"/>
                <a:gd name="connsiteY15" fmla="*/ 179830 h 582638"/>
                <a:gd name="connsiteX16" fmla="*/ 251582 w 516389"/>
                <a:gd name="connsiteY16" fmla="*/ 87626 h 582638"/>
                <a:gd name="connsiteX17" fmla="*/ 217581 w 516389"/>
                <a:gd name="connsiteY17" fmla="*/ 56219 h 582638"/>
                <a:gd name="connsiteX18" fmla="*/ 197412 w 516389"/>
                <a:gd name="connsiteY18" fmla="*/ 36338 h 582638"/>
                <a:gd name="connsiteX19" fmla="*/ 192513 w 516389"/>
                <a:gd name="connsiteY19" fmla="*/ 20490 h 582638"/>
                <a:gd name="connsiteX20" fmla="*/ 202598 w 516389"/>
                <a:gd name="connsiteY20" fmla="*/ 4066 h 582638"/>
                <a:gd name="connsiteX21" fmla="*/ 150733 w 516389"/>
                <a:gd name="connsiteY21" fmla="*/ 19050 h 582638"/>
                <a:gd name="connsiteX22" fmla="*/ 166869 w 516389"/>
                <a:gd name="connsiteY22" fmla="*/ 26541 h 582638"/>
                <a:gd name="connsiteX23" fmla="*/ 170327 w 516389"/>
                <a:gd name="connsiteY23" fmla="*/ 37779 h 582638"/>
                <a:gd name="connsiteX24" fmla="*/ 164276 w 516389"/>
                <a:gd name="connsiteY24" fmla="*/ 72643 h 582638"/>
                <a:gd name="connsiteX25" fmla="*/ 157649 w 516389"/>
                <a:gd name="connsiteY25" fmla="*/ 129983 h 582638"/>
                <a:gd name="connsiteX26" fmla="*/ 228819 w 516389"/>
                <a:gd name="connsiteY26" fmla="*/ 371442 h 582638"/>
                <a:gd name="connsiteX27" fmla="*/ 246395 w 516389"/>
                <a:gd name="connsiteY27" fmla="*/ 431951 h 582638"/>
                <a:gd name="connsiteX28" fmla="*/ 250429 w 516389"/>
                <a:gd name="connsiteY28" fmla="*/ 445781 h 582638"/>
                <a:gd name="connsiteX29" fmla="*/ 263107 w 516389"/>
                <a:gd name="connsiteY29" fmla="*/ 488714 h 582638"/>
                <a:gd name="connsiteX30" fmla="*/ 300565 w 516389"/>
                <a:gd name="connsiteY30" fmla="*/ 528188 h 582638"/>
                <a:gd name="connsiteX31" fmla="*/ 305175 w 516389"/>
                <a:gd name="connsiteY31" fmla="*/ 531358 h 582638"/>
                <a:gd name="connsiteX32" fmla="*/ 314395 w 516389"/>
                <a:gd name="connsiteY32" fmla="*/ 540290 h 582638"/>
                <a:gd name="connsiteX33" fmla="*/ 321887 w 516389"/>
                <a:gd name="connsiteY33" fmla="*/ 566223 h 582638"/>
                <a:gd name="connsiteX34" fmla="*/ 315260 w 516389"/>
                <a:gd name="connsiteY34" fmla="*/ 576307 h 582638"/>
                <a:gd name="connsiteX35" fmla="*/ 267141 w 516389"/>
                <a:gd name="connsiteY35" fmla="*/ 580918 h 582638"/>
                <a:gd name="connsiteX36" fmla="*/ 221615 w 516389"/>
                <a:gd name="connsiteY36" fmla="*/ 576019 h 582638"/>
                <a:gd name="connsiteX37" fmla="*/ 164852 w 516389"/>
                <a:gd name="connsiteY37" fmla="*/ 555850 h 582638"/>
                <a:gd name="connsiteX38" fmla="*/ 128547 w 516389"/>
                <a:gd name="connsiteY38" fmla="*/ 532799 h 582638"/>
                <a:gd name="connsiteX39" fmla="*/ 43834 w 516389"/>
                <a:gd name="connsiteY39" fmla="*/ 425035 h 582638"/>
                <a:gd name="connsiteX40" fmla="*/ 33461 w 516389"/>
                <a:gd name="connsiteY40" fmla="*/ 408035 h 582638"/>
                <a:gd name="connsiteX41" fmla="*/ 4936 w 516389"/>
                <a:gd name="connsiteY41" fmla="*/ 309492 h 582638"/>
                <a:gd name="connsiteX42" fmla="*/ 38 w 516389"/>
                <a:gd name="connsiteY42" fmla="*/ 266272 h 582638"/>
                <a:gd name="connsiteX43" fmla="*/ 51902 w 516389"/>
                <a:gd name="connsiteY43" fmla="*/ 92813 h 582638"/>
                <a:gd name="connsiteX44" fmla="*/ 72072 w 516389"/>
                <a:gd name="connsiteY44" fmla="*/ 71203 h 582638"/>
                <a:gd name="connsiteX45" fmla="*/ 150733 w 516389"/>
                <a:gd name="connsiteY45" fmla="*/ 19050 h 58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16389" h="582638">
                  <a:moveTo>
                    <a:pt x="202598" y="4066"/>
                  </a:moveTo>
                  <a:cubicBezTo>
                    <a:pt x="226226" y="-544"/>
                    <a:pt x="249853" y="-1120"/>
                    <a:pt x="273480" y="1761"/>
                  </a:cubicBezTo>
                  <a:cubicBezTo>
                    <a:pt x="363667" y="12999"/>
                    <a:pt x="425040" y="64863"/>
                    <a:pt x="467108" y="142084"/>
                  </a:cubicBezTo>
                  <a:cubicBezTo>
                    <a:pt x="480651" y="167152"/>
                    <a:pt x="491600" y="193661"/>
                    <a:pt x="499380" y="221034"/>
                  </a:cubicBezTo>
                  <a:cubicBezTo>
                    <a:pt x="510329" y="257339"/>
                    <a:pt x="516668" y="294221"/>
                    <a:pt x="516380" y="331967"/>
                  </a:cubicBezTo>
                  <a:cubicBezTo>
                    <a:pt x="516092" y="359340"/>
                    <a:pt x="512634" y="386425"/>
                    <a:pt x="504278" y="412645"/>
                  </a:cubicBezTo>
                  <a:cubicBezTo>
                    <a:pt x="495634" y="437425"/>
                    <a:pt x="485549" y="461340"/>
                    <a:pt x="469702" y="482662"/>
                  </a:cubicBezTo>
                  <a:cubicBezTo>
                    <a:pt x="467685" y="487561"/>
                    <a:pt x="465091" y="492747"/>
                    <a:pt x="459040" y="494188"/>
                  </a:cubicBezTo>
                  <a:cubicBezTo>
                    <a:pt x="432820" y="524154"/>
                    <a:pt x="401125" y="546341"/>
                    <a:pt x="364531" y="562189"/>
                  </a:cubicBezTo>
                  <a:cubicBezTo>
                    <a:pt x="358192" y="565070"/>
                    <a:pt x="354447" y="565070"/>
                    <a:pt x="353582" y="557002"/>
                  </a:cubicBezTo>
                  <a:cubicBezTo>
                    <a:pt x="353294" y="554409"/>
                    <a:pt x="352430" y="551527"/>
                    <a:pt x="351277" y="548934"/>
                  </a:cubicBezTo>
                  <a:cubicBezTo>
                    <a:pt x="344938" y="533951"/>
                    <a:pt x="342921" y="521273"/>
                    <a:pt x="358192" y="508883"/>
                  </a:cubicBezTo>
                  <a:cubicBezTo>
                    <a:pt x="368854" y="500239"/>
                    <a:pt x="371159" y="485832"/>
                    <a:pt x="367413" y="471425"/>
                  </a:cubicBezTo>
                  <a:cubicBezTo>
                    <a:pt x="363955" y="457306"/>
                    <a:pt x="360786" y="443188"/>
                    <a:pt x="354735" y="429645"/>
                  </a:cubicBezTo>
                  <a:cubicBezTo>
                    <a:pt x="346955" y="420137"/>
                    <a:pt x="347531" y="407747"/>
                    <a:pt x="342633" y="397374"/>
                  </a:cubicBezTo>
                  <a:cubicBezTo>
                    <a:pt x="321599" y="324763"/>
                    <a:pt x="299989" y="252153"/>
                    <a:pt x="278667" y="179830"/>
                  </a:cubicBezTo>
                  <a:cubicBezTo>
                    <a:pt x="270310" y="148711"/>
                    <a:pt x="261090" y="118169"/>
                    <a:pt x="251582" y="87626"/>
                  </a:cubicBezTo>
                  <a:cubicBezTo>
                    <a:pt x="246395" y="70914"/>
                    <a:pt x="234870" y="59389"/>
                    <a:pt x="217581" y="56219"/>
                  </a:cubicBezTo>
                  <a:cubicBezTo>
                    <a:pt x="205480" y="54202"/>
                    <a:pt x="199429" y="47863"/>
                    <a:pt x="197412" y="36338"/>
                  </a:cubicBezTo>
                  <a:cubicBezTo>
                    <a:pt x="196547" y="30863"/>
                    <a:pt x="193954" y="25965"/>
                    <a:pt x="192513" y="20490"/>
                  </a:cubicBezTo>
                  <a:cubicBezTo>
                    <a:pt x="189632" y="8965"/>
                    <a:pt x="191361" y="6083"/>
                    <a:pt x="202598" y="4066"/>
                  </a:cubicBezTo>
                  <a:close/>
                  <a:moveTo>
                    <a:pt x="150733" y="19050"/>
                  </a:moveTo>
                  <a:cubicBezTo>
                    <a:pt x="161106" y="14439"/>
                    <a:pt x="163411" y="15592"/>
                    <a:pt x="166869" y="26541"/>
                  </a:cubicBezTo>
                  <a:cubicBezTo>
                    <a:pt x="168022" y="30287"/>
                    <a:pt x="168598" y="34321"/>
                    <a:pt x="170327" y="37779"/>
                  </a:cubicBezTo>
                  <a:cubicBezTo>
                    <a:pt x="175801" y="50745"/>
                    <a:pt x="176666" y="61118"/>
                    <a:pt x="164276" y="72643"/>
                  </a:cubicBezTo>
                  <a:cubicBezTo>
                    <a:pt x="146700" y="88779"/>
                    <a:pt x="149869" y="109813"/>
                    <a:pt x="157649" y="129983"/>
                  </a:cubicBezTo>
                  <a:cubicBezTo>
                    <a:pt x="181564" y="210373"/>
                    <a:pt x="204903" y="291051"/>
                    <a:pt x="228819" y="371442"/>
                  </a:cubicBezTo>
                  <a:cubicBezTo>
                    <a:pt x="234293" y="391611"/>
                    <a:pt x="240920" y="411493"/>
                    <a:pt x="246395" y="431951"/>
                  </a:cubicBezTo>
                  <a:cubicBezTo>
                    <a:pt x="247836" y="436561"/>
                    <a:pt x="248700" y="441171"/>
                    <a:pt x="250429" y="445781"/>
                  </a:cubicBezTo>
                  <a:cubicBezTo>
                    <a:pt x="255039" y="459900"/>
                    <a:pt x="259073" y="474307"/>
                    <a:pt x="263107" y="488714"/>
                  </a:cubicBezTo>
                  <a:cubicBezTo>
                    <a:pt x="268293" y="508883"/>
                    <a:pt x="279243" y="523290"/>
                    <a:pt x="300565" y="528188"/>
                  </a:cubicBezTo>
                  <a:cubicBezTo>
                    <a:pt x="302294" y="529053"/>
                    <a:pt x="303734" y="529917"/>
                    <a:pt x="305175" y="531358"/>
                  </a:cubicBezTo>
                  <a:cubicBezTo>
                    <a:pt x="310362" y="532222"/>
                    <a:pt x="313243" y="535104"/>
                    <a:pt x="314395" y="540290"/>
                  </a:cubicBezTo>
                  <a:cubicBezTo>
                    <a:pt x="316412" y="548934"/>
                    <a:pt x="318429" y="557867"/>
                    <a:pt x="321887" y="566223"/>
                  </a:cubicBezTo>
                  <a:cubicBezTo>
                    <a:pt x="325057" y="574002"/>
                    <a:pt x="321599" y="575731"/>
                    <a:pt x="315260" y="576307"/>
                  </a:cubicBezTo>
                  <a:cubicBezTo>
                    <a:pt x="299124" y="577748"/>
                    <a:pt x="283277" y="579477"/>
                    <a:pt x="267141" y="580918"/>
                  </a:cubicBezTo>
                  <a:cubicBezTo>
                    <a:pt x="251581" y="583511"/>
                    <a:pt x="236310" y="584087"/>
                    <a:pt x="221615" y="576019"/>
                  </a:cubicBezTo>
                  <a:cubicBezTo>
                    <a:pt x="202310" y="570545"/>
                    <a:pt x="183005" y="564782"/>
                    <a:pt x="164852" y="555850"/>
                  </a:cubicBezTo>
                  <a:cubicBezTo>
                    <a:pt x="149869" y="552680"/>
                    <a:pt x="137479" y="545189"/>
                    <a:pt x="128547" y="532799"/>
                  </a:cubicBezTo>
                  <a:cubicBezTo>
                    <a:pt x="91953" y="503409"/>
                    <a:pt x="65157" y="466239"/>
                    <a:pt x="43834" y="425035"/>
                  </a:cubicBezTo>
                  <a:cubicBezTo>
                    <a:pt x="37784" y="421001"/>
                    <a:pt x="36343" y="414086"/>
                    <a:pt x="33461" y="408035"/>
                  </a:cubicBezTo>
                  <a:cubicBezTo>
                    <a:pt x="19343" y="376628"/>
                    <a:pt x="11275" y="343204"/>
                    <a:pt x="4936" y="309492"/>
                  </a:cubicBezTo>
                  <a:cubicBezTo>
                    <a:pt x="2343" y="295085"/>
                    <a:pt x="2343" y="280678"/>
                    <a:pt x="38" y="266272"/>
                  </a:cubicBezTo>
                  <a:cubicBezTo>
                    <a:pt x="-827" y="203169"/>
                    <a:pt x="12716" y="144101"/>
                    <a:pt x="51902" y="92813"/>
                  </a:cubicBezTo>
                  <a:cubicBezTo>
                    <a:pt x="57953" y="85033"/>
                    <a:pt x="65157" y="78406"/>
                    <a:pt x="72072" y="71203"/>
                  </a:cubicBezTo>
                  <a:cubicBezTo>
                    <a:pt x="94547" y="48152"/>
                    <a:pt x="121632" y="32304"/>
                    <a:pt x="150733" y="1905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xmlns="" id="{4BEE51DD-653A-463B-97D1-43CA56EE5161}"/>
                </a:ext>
              </a:extLst>
            </p:cNvPr>
            <p:cNvSpPr/>
            <p:nvPr/>
          </p:nvSpPr>
          <p:spPr>
            <a:xfrm rot="1020000">
              <a:off x="6916230" y="374174"/>
              <a:ext cx="483867" cy="617945"/>
            </a:xfrm>
            <a:custGeom>
              <a:avLst/>
              <a:gdLst>
                <a:gd name="connsiteX0" fmla="*/ 444716 w 483867"/>
                <a:gd name="connsiteY0" fmla="*/ 394271 h 617945"/>
                <a:gd name="connsiteX1" fmla="*/ 468667 w 483867"/>
                <a:gd name="connsiteY1" fmla="*/ 392002 h 617945"/>
                <a:gd name="connsiteX2" fmla="*/ 481345 w 483867"/>
                <a:gd name="connsiteY2" fmla="*/ 448765 h 617945"/>
                <a:gd name="connsiteX3" fmla="*/ 413345 w 483867"/>
                <a:gd name="connsiteY3" fmla="*/ 568630 h 617945"/>
                <a:gd name="connsiteX4" fmla="*/ 409311 w 483867"/>
                <a:gd name="connsiteY4" fmla="*/ 572664 h 617945"/>
                <a:gd name="connsiteX5" fmla="*/ 368972 w 483867"/>
                <a:gd name="connsiteY5" fmla="*/ 598596 h 617945"/>
                <a:gd name="connsiteX6" fmla="*/ 354565 w 483867"/>
                <a:gd name="connsiteY6" fmla="*/ 591393 h 617945"/>
                <a:gd name="connsiteX7" fmla="*/ 346497 w 483867"/>
                <a:gd name="connsiteY7" fmla="*/ 564020 h 617945"/>
                <a:gd name="connsiteX8" fmla="*/ 362057 w 483867"/>
                <a:gd name="connsiteY8" fmla="*/ 546732 h 617945"/>
                <a:gd name="connsiteX9" fmla="*/ 434955 w 483867"/>
                <a:gd name="connsiteY9" fmla="*/ 425714 h 617945"/>
                <a:gd name="connsiteX10" fmla="*/ 435243 w 483867"/>
                <a:gd name="connsiteY10" fmla="*/ 416205 h 617945"/>
                <a:gd name="connsiteX11" fmla="*/ 444716 w 483867"/>
                <a:gd name="connsiteY11" fmla="*/ 394271 h 617945"/>
                <a:gd name="connsiteX12" fmla="*/ 201564 w 483867"/>
                <a:gd name="connsiteY12" fmla="*/ 41050 h 617945"/>
                <a:gd name="connsiteX13" fmla="*/ 212225 w 483867"/>
                <a:gd name="connsiteY13" fmla="*/ 39897 h 617945"/>
                <a:gd name="connsiteX14" fmla="*/ 253141 w 483867"/>
                <a:gd name="connsiteY14" fmla="*/ 37592 h 617945"/>
                <a:gd name="connsiteX15" fmla="*/ 314226 w 483867"/>
                <a:gd name="connsiteY15" fmla="*/ 35863 h 617945"/>
                <a:gd name="connsiteX16" fmla="*/ 320853 w 483867"/>
                <a:gd name="connsiteY16" fmla="*/ 20016 h 617945"/>
                <a:gd name="connsiteX17" fmla="*/ 341023 w 483867"/>
                <a:gd name="connsiteY17" fmla="*/ 134 h 617945"/>
                <a:gd name="connsiteX18" fmla="*/ 364362 w 483867"/>
                <a:gd name="connsiteY18" fmla="*/ 16270 h 617945"/>
                <a:gd name="connsiteX19" fmla="*/ 385108 w 483867"/>
                <a:gd name="connsiteY19" fmla="*/ 85423 h 617945"/>
                <a:gd name="connsiteX20" fmla="*/ 392599 w 483867"/>
                <a:gd name="connsiteY20" fmla="*/ 109050 h 617945"/>
                <a:gd name="connsiteX21" fmla="*/ 401820 w 483867"/>
                <a:gd name="connsiteY21" fmla="*/ 130661 h 617945"/>
                <a:gd name="connsiteX22" fmla="*/ 418243 w 483867"/>
                <a:gd name="connsiteY22" fmla="*/ 188864 h 617945"/>
                <a:gd name="connsiteX23" fmla="*/ 394040 w 483867"/>
                <a:gd name="connsiteY23" fmla="*/ 223153 h 617945"/>
                <a:gd name="connsiteX24" fmla="*/ 366091 w 483867"/>
                <a:gd name="connsiteY24" fmla="*/ 208169 h 617945"/>
                <a:gd name="connsiteX25" fmla="*/ 346209 w 483867"/>
                <a:gd name="connsiteY25" fmla="*/ 175898 h 617945"/>
                <a:gd name="connsiteX26" fmla="*/ 284548 w 483867"/>
                <a:gd name="connsiteY26" fmla="*/ 111067 h 617945"/>
                <a:gd name="connsiteX27" fmla="*/ 272734 w 483867"/>
                <a:gd name="connsiteY27" fmla="*/ 103864 h 617945"/>
                <a:gd name="connsiteX28" fmla="*/ 228073 w 483867"/>
                <a:gd name="connsiteY28" fmla="*/ 88592 h 617945"/>
                <a:gd name="connsiteX29" fmla="*/ 199547 w 483867"/>
                <a:gd name="connsiteY29" fmla="*/ 51711 h 617945"/>
                <a:gd name="connsiteX30" fmla="*/ 201564 w 483867"/>
                <a:gd name="connsiteY30" fmla="*/ 41050 h 617945"/>
                <a:gd name="connsiteX31" fmla="*/ 153732 w 483867"/>
                <a:gd name="connsiteY31" fmla="*/ 55458 h 617945"/>
                <a:gd name="connsiteX32" fmla="*/ 168428 w 483867"/>
                <a:gd name="connsiteY32" fmla="*/ 63238 h 617945"/>
                <a:gd name="connsiteX33" fmla="*/ 173039 w 483867"/>
                <a:gd name="connsiteY33" fmla="*/ 77645 h 617945"/>
                <a:gd name="connsiteX34" fmla="*/ 172462 w 483867"/>
                <a:gd name="connsiteY34" fmla="*/ 99831 h 617945"/>
                <a:gd name="connsiteX35" fmla="*/ 152869 w 483867"/>
                <a:gd name="connsiteY35" fmla="*/ 167832 h 617945"/>
                <a:gd name="connsiteX36" fmla="*/ 215682 w 483867"/>
                <a:gd name="connsiteY36" fmla="*/ 383358 h 617945"/>
                <a:gd name="connsiteX37" fmla="*/ 254581 w 483867"/>
                <a:gd name="connsiteY37" fmla="*/ 514461 h 617945"/>
                <a:gd name="connsiteX38" fmla="*/ 267259 w 483867"/>
                <a:gd name="connsiteY38" fmla="*/ 539817 h 617945"/>
                <a:gd name="connsiteX39" fmla="*/ 273886 w 483867"/>
                <a:gd name="connsiteY39" fmla="*/ 548173 h 617945"/>
                <a:gd name="connsiteX40" fmla="*/ 309327 w 483867"/>
                <a:gd name="connsiteY40" fmla="*/ 562868 h 617945"/>
                <a:gd name="connsiteX41" fmla="*/ 318835 w 483867"/>
                <a:gd name="connsiteY41" fmla="*/ 568631 h 617945"/>
                <a:gd name="connsiteX42" fmla="*/ 328057 w 483867"/>
                <a:gd name="connsiteY42" fmla="*/ 605512 h 617945"/>
                <a:gd name="connsiteX43" fmla="*/ 272158 w 483867"/>
                <a:gd name="connsiteY43" fmla="*/ 617326 h 617945"/>
                <a:gd name="connsiteX44" fmla="*/ 75936 w 483867"/>
                <a:gd name="connsiteY44" fmla="*/ 525986 h 617945"/>
                <a:gd name="connsiteX45" fmla="*/ 12258 w 483867"/>
                <a:gd name="connsiteY45" fmla="*/ 211917 h 617945"/>
                <a:gd name="connsiteX46" fmla="*/ 153732 w 483867"/>
                <a:gd name="connsiteY46" fmla="*/ 55458 h 61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867" h="617945">
                  <a:moveTo>
                    <a:pt x="444716" y="394271"/>
                  </a:moveTo>
                  <a:cubicBezTo>
                    <a:pt x="450371" y="390201"/>
                    <a:pt x="458438" y="389409"/>
                    <a:pt x="468667" y="392002"/>
                  </a:cubicBezTo>
                  <a:cubicBezTo>
                    <a:pt x="487684" y="407561"/>
                    <a:pt x="484803" y="428884"/>
                    <a:pt x="481345" y="448765"/>
                  </a:cubicBezTo>
                  <a:cubicBezTo>
                    <a:pt x="472989" y="496596"/>
                    <a:pt x="448786" y="536071"/>
                    <a:pt x="413345" y="568630"/>
                  </a:cubicBezTo>
                  <a:cubicBezTo>
                    <a:pt x="411904" y="570071"/>
                    <a:pt x="410752" y="571512"/>
                    <a:pt x="409311" y="572664"/>
                  </a:cubicBezTo>
                  <a:cubicBezTo>
                    <a:pt x="398938" y="585918"/>
                    <a:pt x="383955" y="592546"/>
                    <a:pt x="368972" y="598596"/>
                  </a:cubicBezTo>
                  <a:cubicBezTo>
                    <a:pt x="361480" y="601766"/>
                    <a:pt x="357158" y="598885"/>
                    <a:pt x="354565" y="591393"/>
                  </a:cubicBezTo>
                  <a:cubicBezTo>
                    <a:pt x="351684" y="582461"/>
                    <a:pt x="349090" y="573240"/>
                    <a:pt x="346497" y="564020"/>
                  </a:cubicBezTo>
                  <a:cubicBezTo>
                    <a:pt x="343904" y="555088"/>
                    <a:pt x="346497" y="552494"/>
                    <a:pt x="362057" y="546732"/>
                  </a:cubicBezTo>
                  <a:cubicBezTo>
                    <a:pt x="405853" y="517918"/>
                    <a:pt x="430633" y="478155"/>
                    <a:pt x="434955" y="425714"/>
                  </a:cubicBezTo>
                  <a:cubicBezTo>
                    <a:pt x="435243" y="422545"/>
                    <a:pt x="434955" y="419375"/>
                    <a:pt x="435243" y="416205"/>
                  </a:cubicBezTo>
                  <a:cubicBezTo>
                    <a:pt x="435820" y="405688"/>
                    <a:pt x="439061" y="398340"/>
                    <a:pt x="444716" y="394271"/>
                  </a:cubicBezTo>
                  <a:close/>
                  <a:moveTo>
                    <a:pt x="201564" y="41050"/>
                  </a:moveTo>
                  <a:cubicBezTo>
                    <a:pt x="204661" y="40114"/>
                    <a:pt x="209200" y="40762"/>
                    <a:pt x="212225" y="39897"/>
                  </a:cubicBezTo>
                  <a:cubicBezTo>
                    <a:pt x="225479" y="34135"/>
                    <a:pt x="239598" y="36151"/>
                    <a:pt x="253141" y="37592"/>
                  </a:cubicBezTo>
                  <a:cubicBezTo>
                    <a:pt x="273310" y="39321"/>
                    <a:pt x="293768" y="40185"/>
                    <a:pt x="314226" y="35863"/>
                  </a:cubicBezTo>
                  <a:cubicBezTo>
                    <a:pt x="319700" y="32118"/>
                    <a:pt x="320277" y="25779"/>
                    <a:pt x="320853" y="20016"/>
                  </a:cubicBezTo>
                  <a:cubicBezTo>
                    <a:pt x="322582" y="7914"/>
                    <a:pt x="329497" y="1575"/>
                    <a:pt x="341023" y="134"/>
                  </a:cubicBezTo>
                  <a:cubicBezTo>
                    <a:pt x="353124" y="-1018"/>
                    <a:pt x="360904" y="5321"/>
                    <a:pt x="364362" y="16270"/>
                  </a:cubicBezTo>
                  <a:cubicBezTo>
                    <a:pt x="371853" y="39033"/>
                    <a:pt x="378192" y="62372"/>
                    <a:pt x="385108" y="85423"/>
                  </a:cubicBezTo>
                  <a:cubicBezTo>
                    <a:pt x="387413" y="93203"/>
                    <a:pt x="390006" y="101271"/>
                    <a:pt x="392599" y="109050"/>
                  </a:cubicBezTo>
                  <a:cubicBezTo>
                    <a:pt x="397497" y="115389"/>
                    <a:pt x="398938" y="123457"/>
                    <a:pt x="401820" y="130661"/>
                  </a:cubicBezTo>
                  <a:cubicBezTo>
                    <a:pt x="407006" y="149966"/>
                    <a:pt x="414209" y="168983"/>
                    <a:pt x="418243" y="188864"/>
                  </a:cubicBezTo>
                  <a:cubicBezTo>
                    <a:pt x="422277" y="208458"/>
                    <a:pt x="412481" y="222000"/>
                    <a:pt x="394040" y="223153"/>
                  </a:cubicBezTo>
                  <a:cubicBezTo>
                    <a:pt x="382226" y="223729"/>
                    <a:pt x="372718" y="217966"/>
                    <a:pt x="366091" y="208169"/>
                  </a:cubicBezTo>
                  <a:cubicBezTo>
                    <a:pt x="358887" y="197797"/>
                    <a:pt x="353413" y="186271"/>
                    <a:pt x="346209" y="175898"/>
                  </a:cubicBezTo>
                  <a:cubicBezTo>
                    <a:pt x="329785" y="150254"/>
                    <a:pt x="309904" y="128067"/>
                    <a:pt x="284548" y="111067"/>
                  </a:cubicBezTo>
                  <a:cubicBezTo>
                    <a:pt x="280802" y="108474"/>
                    <a:pt x="277056" y="105881"/>
                    <a:pt x="272734" y="103864"/>
                  </a:cubicBezTo>
                  <a:cubicBezTo>
                    <a:pt x="258615" y="96372"/>
                    <a:pt x="243920" y="90898"/>
                    <a:pt x="228073" y="88592"/>
                  </a:cubicBezTo>
                  <a:cubicBezTo>
                    <a:pt x="205598" y="85423"/>
                    <a:pt x="197530" y="75050"/>
                    <a:pt x="199547" y="51711"/>
                  </a:cubicBezTo>
                  <a:cubicBezTo>
                    <a:pt x="196810" y="44508"/>
                    <a:pt x="198467" y="41986"/>
                    <a:pt x="201564" y="41050"/>
                  </a:cubicBezTo>
                  <a:close/>
                  <a:moveTo>
                    <a:pt x="153732" y="55458"/>
                  </a:moveTo>
                  <a:cubicBezTo>
                    <a:pt x="163530" y="51712"/>
                    <a:pt x="166700" y="54306"/>
                    <a:pt x="168428" y="63238"/>
                  </a:cubicBezTo>
                  <a:cubicBezTo>
                    <a:pt x="169292" y="68136"/>
                    <a:pt x="171309" y="73035"/>
                    <a:pt x="173039" y="77645"/>
                  </a:cubicBezTo>
                  <a:cubicBezTo>
                    <a:pt x="180241" y="87729"/>
                    <a:pt x="180817" y="93492"/>
                    <a:pt x="172462" y="99831"/>
                  </a:cubicBezTo>
                  <a:cubicBezTo>
                    <a:pt x="148834" y="117696"/>
                    <a:pt x="147683" y="141611"/>
                    <a:pt x="152869" y="167832"/>
                  </a:cubicBezTo>
                  <a:cubicBezTo>
                    <a:pt x="173039" y="239866"/>
                    <a:pt x="194648" y="311612"/>
                    <a:pt x="215682" y="383358"/>
                  </a:cubicBezTo>
                  <a:cubicBezTo>
                    <a:pt x="228360" y="427155"/>
                    <a:pt x="240750" y="470952"/>
                    <a:pt x="254581" y="514461"/>
                  </a:cubicBezTo>
                  <a:cubicBezTo>
                    <a:pt x="257462" y="523681"/>
                    <a:pt x="261496" y="532037"/>
                    <a:pt x="267259" y="539817"/>
                  </a:cubicBezTo>
                  <a:cubicBezTo>
                    <a:pt x="269277" y="542698"/>
                    <a:pt x="271005" y="545868"/>
                    <a:pt x="273886" y="548173"/>
                  </a:cubicBezTo>
                  <a:cubicBezTo>
                    <a:pt x="284260" y="556529"/>
                    <a:pt x="295497" y="562292"/>
                    <a:pt x="309327" y="562868"/>
                  </a:cubicBezTo>
                  <a:cubicBezTo>
                    <a:pt x="313361" y="563156"/>
                    <a:pt x="317396" y="564309"/>
                    <a:pt x="318835" y="568631"/>
                  </a:cubicBezTo>
                  <a:cubicBezTo>
                    <a:pt x="322869" y="580444"/>
                    <a:pt x="328633" y="592258"/>
                    <a:pt x="328057" y="605512"/>
                  </a:cubicBezTo>
                  <a:cubicBezTo>
                    <a:pt x="310767" y="615021"/>
                    <a:pt x="291174" y="616174"/>
                    <a:pt x="272158" y="617326"/>
                  </a:cubicBezTo>
                  <a:cubicBezTo>
                    <a:pt x="190326" y="622801"/>
                    <a:pt x="123478" y="591970"/>
                    <a:pt x="75936" y="525986"/>
                  </a:cubicBezTo>
                  <a:cubicBezTo>
                    <a:pt x="7935" y="431477"/>
                    <a:pt x="-17420" y="326019"/>
                    <a:pt x="12258" y="211917"/>
                  </a:cubicBezTo>
                  <a:cubicBezTo>
                    <a:pt x="31851" y="136425"/>
                    <a:pt x="80835" y="84560"/>
                    <a:pt x="153732" y="55458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xmlns="" id="{915132EF-CEE4-4E38-A8E4-AEF410B8749A}"/>
                </a:ext>
              </a:extLst>
            </p:cNvPr>
            <p:cNvSpPr/>
            <p:nvPr/>
          </p:nvSpPr>
          <p:spPr>
            <a:xfrm rot="1020000">
              <a:off x="7873009" y="365408"/>
              <a:ext cx="472408" cy="616235"/>
            </a:xfrm>
            <a:custGeom>
              <a:avLst/>
              <a:gdLst>
                <a:gd name="connsiteX0" fmla="*/ 340279 w 472408"/>
                <a:gd name="connsiteY0" fmla="*/ 30674 h 616235"/>
                <a:gd name="connsiteX1" fmla="*/ 435653 w 472408"/>
                <a:gd name="connsiteY1" fmla="*/ 2725 h 616235"/>
                <a:gd name="connsiteX2" fmla="*/ 440263 w 472408"/>
                <a:gd name="connsiteY2" fmla="*/ 1284 h 616235"/>
                <a:gd name="connsiteX3" fmla="*/ 469364 w 472408"/>
                <a:gd name="connsiteY3" fmla="*/ 10217 h 616235"/>
                <a:gd name="connsiteX4" fmla="*/ 459856 w 472408"/>
                <a:gd name="connsiteY4" fmla="*/ 40759 h 616235"/>
                <a:gd name="connsiteX5" fmla="*/ 422974 w 472408"/>
                <a:gd name="connsiteY5" fmla="*/ 122302 h 616235"/>
                <a:gd name="connsiteX6" fmla="*/ 426432 w 472408"/>
                <a:gd name="connsiteY6" fmla="*/ 297778 h 616235"/>
                <a:gd name="connsiteX7" fmla="*/ 426432 w 472408"/>
                <a:gd name="connsiteY7" fmla="*/ 378168 h 616235"/>
                <a:gd name="connsiteX8" fmla="*/ 388974 w 472408"/>
                <a:gd name="connsiteY8" fmla="*/ 318812 h 616235"/>
                <a:gd name="connsiteX9" fmla="*/ 383788 w 472408"/>
                <a:gd name="connsiteY9" fmla="*/ 297490 h 616235"/>
                <a:gd name="connsiteX10" fmla="*/ 380618 w 472408"/>
                <a:gd name="connsiteY10" fmla="*/ 132675 h 616235"/>
                <a:gd name="connsiteX11" fmla="*/ 369957 w 472408"/>
                <a:gd name="connsiteY11" fmla="*/ 95793 h 616235"/>
                <a:gd name="connsiteX12" fmla="*/ 333364 w 472408"/>
                <a:gd name="connsiteY12" fmla="*/ 79946 h 616235"/>
                <a:gd name="connsiteX13" fmla="*/ 314059 w 472408"/>
                <a:gd name="connsiteY13" fmla="*/ 72166 h 616235"/>
                <a:gd name="connsiteX14" fmla="*/ 316940 w 472408"/>
                <a:gd name="connsiteY14" fmla="*/ 41624 h 616235"/>
                <a:gd name="connsiteX15" fmla="*/ 340279 w 472408"/>
                <a:gd name="connsiteY15" fmla="*/ 30674 h 616235"/>
                <a:gd name="connsiteX16" fmla="*/ 101162 w 472408"/>
                <a:gd name="connsiteY16" fmla="*/ 97126 h 616235"/>
                <a:gd name="connsiteX17" fmla="*/ 114091 w 472408"/>
                <a:gd name="connsiteY17" fmla="*/ 93777 h 616235"/>
                <a:gd name="connsiteX18" fmla="*/ 150974 w 472408"/>
                <a:gd name="connsiteY18" fmla="*/ 82828 h 616235"/>
                <a:gd name="connsiteX19" fmla="*/ 227330 w 472408"/>
                <a:gd name="connsiteY19" fmla="*/ 61217 h 616235"/>
                <a:gd name="connsiteX20" fmla="*/ 256720 w 472408"/>
                <a:gd name="connsiteY20" fmla="*/ 71014 h 616235"/>
                <a:gd name="connsiteX21" fmla="*/ 253550 w 472408"/>
                <a:gd name="connsiteY21" fmla="*/ 104150 h 616235"/>
                <a:gd name="connsiteX22" fmla="*/ 251246 w 472408"/>
                <a:gd name="connsiteY22" fmla="*/ 150252 h 616235"/>
                <a:gd name="connsiteX23" fmla="*/ 358145 w 472408"/>
                <a:gd name="connsiteY23" fmla="*/ 319677 h 616235"/>
                <a:gd name="connsiteX24" fmla="*/ 364196 w 472408"/>
                <a:gd name="connsiteY24" fmla="*/ 333507 h 616235"/>
                <a:gd name="connsiteX25" fmla="*/ 423264 w 472408"/>
                <a:gd name="connsiteY25" fmla="*/ 427728 h 616235"/>
                <a:gd name="connsiteX26" fmla="*/ 429026 w 472408"/>
                <a:gd name="connsiteY26" fmla="*/ 446457 h 616235"/>
                <a:gd name="connsiteX27" fmla="*/ 431043 w 472408"/>
                <a:gd name="connsiteY27" fmla="*/ 518780 h 616235"/>
                <a:gd name="connsiteX28" fmla="*/ 431620 w 472408"/>
                <a:gd name="connsiteY28" fmla="*/ 574390 h 616235"/>
                <a:gd name="connsiteX29" fmla="*/ 421246 w 472408"/>
                <a:gd name="connsiteY29" fmla="*/ 587644 h 616235"/>
                <a:gd name="connsiteX30" fmla="*/ 401077 w 472408"/>
                <a:gd name="connsiteY30" fmla="*/ 593695 h 616235"/>
                <a:gd name="connsiteX31" fmla="*/ 399060 w 472408"/>
                <a:gd name="connsiteY31" fmla="*/ 596577 h 616235"/>
                <a:gd name="connsiteX32" fmla="*/ 334229 w 472408"/>
                <a:gd name="connsiteY32" fmla="*/ 615882 h 616235"/>
                <a:gd name="connsiteX33" fmla="*/ 320111 w 472408"/>
                <a:gd name="connsiteY33" fmla="*/ 607526 h 616235"/>
                <a:gd name="connsiteX34" fmla="*/ 294466 w 472408"/>
                <a:gd name="connsiteY34" fmla="*/ 566322 h 616235"/>
                <a:gd name="connsiteX35" fmla="*/ 184974 w 472408"/>
                <a:gd name="connsiteY35" fmla="*/ 398914 h 616235"/>
                <a:gd name="connsiteX36" fmla="*/ 181516 w 472408"/>
                <a:gd name="connsiteY36" fmla="*/ 390558 h 616235"/>
                <a:gd name="connsiteX37" fmla="*/ 89313 w 472408"/>
                <a:gd name="connsiteY37" fmla="*/ 247066 h 616235"/>
                <a:gd name="connsiteX38" fmla="*/ 56177 w 472408"/>
                <a:gd name="connsiteY38" fmla="*/ 195201 h 616235"/>
                <a:gd name="connsiteX39" fmla="*/ 19583 w 472408"/>
                <a:gd name="connsiteY39" fmla="*/ 170133 h 616235"/>
                <a:gd name="connsiteX40" fmla="*/ 1431 w 472408"/>
                <a:gd name="connsiteY40" fmla="*/ 155438 h 616235"/>
                <a:gd name="connsiteX41" fmla="*/ 7769 w 472408"/>
                <a:gd name="connsiteY41" fmla="*/ 133828 h 616235"/>
                <a:gd name="connsiteX42" fmla="*/ 68278 w 472408"/>
                <a:gd name="connsiteY42" fmla="*/ 110201 h 616235"/>
                <a:gd name="connsiteX43" fmla="*/ 89313 w 472408"/>
                <a:gd name="connsiteY43" fmla="*/ 103285 h 616235"/>
                <a:gd name="connsiteX44" fmla="*/ 101162 w 472408"/>
                <a:gd name="connsiteY44" fmla="*/ 97126 h 61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72408" h="616235">
                  <a:moveTo>
                    <a:pt x="340279" y="30674"/>
                  </a:moveTo>
                  <a:cubicBezTo>
                    <a:pt x="371974" y="21454"/>
                    <a:pt x="403669" y="11945"/>
                    <a:pt x="435653" y="2725"/>
                  </a:cubicBezTo>
                  <a:cubicBezTo>
                    <a:pt x="437093" y="2149"/>
                    <a:pt x="438534" y="1573"/>
                    <a:pt x="440263" y="1284"/>
                  </a:cubicBezTo>
                  <a:cubicBezTo>
                    <a:pt x="455534" y="-1885"/>
                    <a:pt x="464466" y="708"/>
                    <a:pt x="469364" y="10217"/>
                  </a:cubicBezTo>
                  <a:cubicBezTo>
                    <a:pt x="475127" y="21454"/>
                    <a:pt x="473110" y="31251"/>
                    <a:pt x="459856" y="40759"/>
                  </a:cubicBezTo>
                  <a:cubicBezTo>
                    <a:pt x="431330" y="60929"/>
                    <a:pt x="422398" y="89743"/>
                    <a:pt x="422974" y="122302"/>
                  </a:cubicBezTo>
                  <a:cubicBezTo>
                    <a:pt x="423839" y="180794"/>
                    <a:pt x="425279" y="239286"/>
                    <a:pt x="426432" y="297778"/>
                  </a:cubicBezTo>
                  <a:cubicBezTo>
                    <a:pt x="426432" y="323998"/>
                    <a:pt x="426432" y="350219"/>
                    <a:pt x="426432" y="378168"/>
                  </a:cubicBezTo>
                  <a:cubicBezTo>
                    <a:pt x="413754" y="357998"/>
                    <a:pt x="401364" y="338405"/>
                    <a:pt x="388974" y="318812"/>
                  </a:cubicBezTo>
                  <a:cubicBezTo>
                    <a:pt x="384652" y="312185"/>
                    <a:pt x="384076" y="304981"/>
                    <a:pt x="383788" y="297490"/>
                  </a:cubicBezTo>
                  <a:cubicBezTo>
                    <a:pt x="382923" y="242455"/>
                    <a:pt x="381771" y="187709"/>
                    <a:pt x="380618" y="132675"/>
                  </a:cubicBezTo>
                  <a:cubicBezTo>
                    <a:pt x="380330" y="119421"/>
                    <a:pt x="377449" y="106743"/>
                    <a:pt x="369957" y="95793"/>
                  </a:cubicBezTo>
                  <a:cubicBezTo>
                    <a:pt x="361313" y="82827"/>
                    <a:pt x="347482" y="80810"/>
                    <a:pt x="333364" y="79946"/>
                  </a:cubicBezTo>
                  <a:cubicBezTo>
                    <a:pt x="326160" y="79370"/>
                    <a:pt x="319245" y="78217"/>
                    <a:pt x="314059" y="72166"/>
                  </a:cubicBezTo>
                  <a:cubicBezTo>
                    <a:pt x="306279" y="62946"/>
                    <a:pt x="307431" y="49403"/>
                    <a:pt x="316940" y="41624"/>
                  </a:cubicBezTo>
                  <a:cubicBezTo>
                    <a:pt x="323855" y="35861"/>
                    <a:pt x="331923" y="33268"/>
                    <a:pt x="340279" y="30674"/>
                  </a:cubicBezTo>
                  <a:close/>
                  <a:moveTo>
                    <a:pt x="101162" y="97126"/>
                  </a:moveTo>
                  <a:cubicBezTo>
                    <a:pt x="105447" y="95938"/>
                    <a:pt x="109914" y="95218"/>
                    <a:pt x="114091" y="93777"/>
                  </a:cubicBezTo>
                  <a:cubicBezTo>
                    <a:pt x="126194" y="89743"/>
                    <a:pt x="138583" y="85997"/>
                    <a:pt x="150974" y="82828"/>
                  </a:cubicBezTo>
                  <a:cubicBezTo>
                    <a:pt x="176329" y="75624"/>
                    <a:pt x="201397" y="66692"/>
                    <a:pt x="227330" y="61217"/>
                  </a:cubicBezTo>
                  <a:cubicBezTo>
                    <a:pt x="239143" y="58624"/>
                    <a:pt x="249517" y="60641"/>
                    <a:pt x="256720" y="71014"/>
                  </a:cubicBezTo>
                  <a:cubicBezTo>
                    <a:pt x="263059" y="79946"/>
                    <a:pt x="261331" y="93777"/>
                    <a:pt x="253550" y="104150"/>
                  </a:cubicBezTo>
                  <a:cubicBezTo>
                    <a:pt x="237991" y="124608"/>
                    <a:pt x="237415" y="128353"/>
                    <a:pt x="251246" y="150252"/>
                  </a:cubicBezTo>
                  <a:cubicBezTo>
                    <a:pt x="286686" y="206727"/>
                    <a:pt x="322416" y="263202"/>
                    <a:pt x="358145" y="319677"/>
                  </a:cubicBezTo>
                  <a:cubicBezTo>
                    <a:pt x="361026" y="323999"/>
                    <a:pt x="363907" y="328321"/>
                    <a:pt x="364196" y="333507"/>
                  </a:cubicBezTo>
                  <a:cubicBezTo>
                    <a:pt x="383789" y="364914"/>
                    <a:pt x="403382" y="396609"/>
                    <a:pt x="423264" y="427728"/>
                  </a:cubicBezTo>
                  <a:cubicBezTo>
                    <a:pt x="427010" y="433491"/>
                    <a:pt x="428738" y="439254"/>
                    <a:pt x="429026" y="446457"/>
                  </a:cubicBezTo>
                  <a:cubicBezTo>
                    <a:pt x="429314" y="470661"/>
                    <a:pt x="428162" y="494576"/>
                    <a:pt x="431043" y="518780"/>
                  </a:cubicBezTo>
                  <a:cubicBezTo>
                    <a:pt x="431042" y="537220"/>
                    <a:pt x="430466" y="555949"/>
                    <a:pt x="431620" y="574390"/>
                  </a:cubicBezTo>
                  <a:cubicBezTo>
                    <a:pt x="432196" y="583322"/>
                    <a:pt x="428737" y="585916"/>
                    <a:pt x="421246" y="587644"/>
                  </a:cubicBezTo>
                  <a:cubicBezTo>
                    <a:pt x="414332" y="589085"/>
                    <a:pt x="407704" y="591678"/>
                    <a:pt x="401077" y="593695"/>
                  </a:cubicBezTo>
                  <a:cubicBezTo>
                    <a:pt x="400789" y="594848"/>
                    <a:pt x="400213" y="596000"/>
                    <a:pt x="399060" y="596577"/>
                  </a:cubicBezTo>
                  <a:cubicBezTo>
                    <a:pt x="377738" y="604068"/>
                    <a:pt x="356127" y="610119"/>
                    <a:pt x="334229" y="615882"/>
                  </a:cubicBezTo>
                  <a:cubicBezTo>
                    <a:pt x="327313" y="617611"/>
                    <a:pt x="323279" y="612712"/>
                    <a:pt x="320111" y="607526"/>
                  </a:cubicBezTo>
                  <a:cubicBezTo>
                    <a:pt x="311466" y="593695"/>
                    <a:pt x="301958" y="580729"/>
                    <a:pt x="294466" y="566322"/>
                  </a:cubicBezTo>
                  <a:cubicBezTo>
                    <a:pt x="256719" y="511288"/>
                    <a:pt x="222144" y="454525"/>
                    <a:pt x="184974" y="398914"/>
                  </a:cubicBezTo>
                  <a:cubicBezTo>
                    <a:pt x="182381" y="396609"/>
                    <a:pt x="180652" y="394016"/>
                    <a:pt x="181516" y="390558"/>
                  </a:cubicBezTo>
                  <a:cubicBezTo>
                    <a:pt x="150686" y="342728"/>
                    <a:pt x="120143" y="294897"/>
                    <a:pt x="89313" y="247066"/>
                  </a:cubicBezTo>
                  <a:cubicBezTo>
                    <a:pt x="78074" y="229778"/>
                    <a:pt x="65973" y="213066"/>
                    <a:pt x="56177" y="195201"/>
                  </a:cubicBezTo>
                  <a:cubicBezTo>
                    <a:pt x="47820" y="179930"/>
                    <a:pt x="37448" y="170133"/>
                    <a:pt x="19583" y="170133"/>
                  </a:cubicBezTo>
                  <a:cubicBezTo>
                    <a:pt x="8922" y="170710"/>
                    <a:pt x="4024" y="164082"/>
                    <a:pt x="1431" y="155438"/>
                  </a:cubicBezTo>
                  <a:cubicBezTo>
                    <a:pt x="-1163" y="147082"/>
                    <a:pt x="-875" y="139014"/>
                    <a:pt x="7769" y="133828"/>
                  </a:cubicBezTo>
                  <a:cubicBezTo>
                    <a:pt x="25633" y="119709"/>
                    <a:pt x="47821" y="117404"/>
                    <a:pt x="68278" y="110201"/>
                  </a:cubicBezTo>
                  <a:cubicBezTo>
                    <a:pt x="75194" y="107896"/>
                    <a:pt x="82108" y="105591"/>
                    <a:pt x="89313" y="103285"/>
                  </a:cubicBezTo>
                  <a:cubicBezTo>
                    <a:pt x="92770" y="99972"/>
                    <a:pt x="96876" y="98315"/>
                    <a:pt x="101162" y="97126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89243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A6154619-7A46-4D95-B9E4-7CB7BB4C660B}"/>
              </a:ext>
            </a:extLst>
          </p:cNvPr>
          <p:cNvSpPr/>
          <p:nvPr userDrawn="1"/>
        </p:nvSpPr>
        <p:spPr>
          <a:xfrm>
            <a:off x="0" y="0"/>
            <a:ext cx="12192000" cy="1162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79F6544D-EEF2-415C-BE0C-FA5365C52739}"/>
              </a:ext>
            </a:extLst>
          </p:cNvPr>
          <p:cNvSpPr/>
          <p:nvPr userDrawn="1"/>
        </p:nvSpPr>
        <p:spPr>
          <a:xfrm>
            <a:off x="1" y="0"/>
            <a:ext cx="4020670" cy="1325812"/>
          </a:xfrm>
          <a:custGeom>
            <a:avLst/>
            <a:gdLst>
              <a:gd name="connsiteX0" fmla="*/ 2921457 w 3751729"/>
              <a:gd name="connsiteY0" fmla="*/ 929082 h 1237129"/>
              <a:gd name="connsiteX1" fmla="*/ 2929580 w 3751729"/>
              <a:gd name="connsiteY1" fmla="*/ 931543 h 1237129"/>
              <a:gd name="connsiteX2" fmla="*/ 2939672 w 3751729"/>
              <a:gd name="connsiteY2" fmla="*/ 937451 h 1237129"/>
              <a:gd name="connsiteX3" fmla="*/ 2948781 w 3751729"/>
              <a:gd name="connsiteY3" fmla="*/ 946559 h 1237129"/>
              <a:gd name="connsiteX4" fmla="*/ 2952719 w 3751729"/>
              <a:gd name="connsiteY4" fmla="*/ 954190 h 1237129"/>
              <a:gd name="connsiteX5" fmla="*/ 2948781 w 3751729"/>
              <a:gd name="connsiteY5" fmla="*/ 956651 h 1237129"/>
              <a:gd name="connsiteX6" fmla="*/ 2944596 w 3751729"/>
              <a:gd name="connsiteY6" fmla="*/ 960835 h 1237129"/>
              <a:gd name="connsiteX7" fmla="*/ 2939672 w 3751729"/>
              <a:gd name="connsiteY7" fmla="*/ 964282 h 1237129"/>
              <a:gd name="connsiteX8" fmla="*/ 2933765 w 3751729"/>
              <a:gd name="connsiteY8" fmla="*/ 966743 h 1237129"/>
              <a:gd name="connsiteX9" fmla="*/ 2938688 w 3751729"/>
              <a:gd name="connsiteY9" fmla="*/ 980035 h 1237129"/>
              <a:gd name="connsiteX10" fmla="*/ 2944596 w 3751729"/>
              <a:gd name="connsiteY10" fmla="*/ 990128 h 1237129"/>
              <a:gd name="connsiteX11" fmla="*/ 2950257 w 3751729"/>
              <a:gd name="connsiteY11" fmla="*/ 1001944 h 1237129"/>
              <a:gd name="connsiteX12" fmla="*/ 2945334 w 3751729"/>
              <a:gd name="connsiteY12" fmla="*/ 1003666 h 1237129"/>
              <a:gd name="connsiteX13" fmla="*/ 2942872 w 3751729"/>
              <a:gd name="connsiteY13" fmla="*/ 1003666 h 1237129"/>
              <a:gd name="connsiteX14" fmla="*/ 2941150 w 3751729"/>
              <a:gd name="connsiteY14" fmla="*/ 1003666 h 1237129"/>
              <a:gd name="connsiteX15" fmla="*/ 2939672 w 3751729"/>
              <a:gd name="connsiteY15" fmla="*/ 1005389 h 1237129"/>
              <a:gd name="connsiteX16" fmla="*/ 2938688 w 3751729"/>
              <a:gd name="connsiteY16" fmla="*/ 1006128 h 1237129"/>
              <a:gd name="connsiteX17" fmla="*/ 2937212 w 3751729"/>
              <a:gd name="connsiteY17" fmla="*/ 1009574 h 1237129"/>
              <a:gd name="connsiteX18" fmla="*/ 2929580 w 3751729"/>
              <a:gd name="connsiteY18" fmla="*/ 1022867 h 1237129"/>
              <a:gd name="connsiteX19" fmla="*/ 2925642 w 3751729"/>
              <a:gd name="connsiteY19" fmla="*/ 1038866 h 1237129"/>
              <a:gd name="connsiteX20" fmla="*/ 2918011 w 3751729"/>
              <a:gd name="connsiteY20" fmla="*/ 1053143 h 1237129"/>
              <a:gd name="connsiteX21" fmla="*/ 2914073 w 3751729"/>
              <a:gd name="connsiteY21" fmla="*/ 1056589 h 1237129"/>
              <a:gd name="connsiteX22" fmla="*/ 2909888 w 3751729"/>
              <a:gd name="connsiteY22" fmla="*/ 1056589 h 1237129"/>
              <a:gd name="connsiteX23" fmla="*/ 2904965 w 3751729"/>
              <a:gd name="connsiteY23" fmla="*/ 1057327 h 1237129"/>
              <a:gd name="connsiteX24" fmla="*/ 2900041 w 3751729"/>
              <a:gd name="connsiteY24" fmla="*/ 1057327 h 1237129"/>
              <a:gd name="connsiteX25" fmla="*/ 2890935 w 3751729"/>
              <a:gd name="connsiteY25" fmla="*/ 1052404 h 1237129"/>
              <a:gd name="connsiteX26" fmla="*/ 2882565 w 3751729"/>
              <a:gd name="connsiteY26" fmla="*/ 1050681 h 1237129"/>
              <a:gd name="connsiteX27" fmla="*/ 2871981 w 3751729"/>
              <a:gd name="connsiteY27" fmla="*/ 1050681 h 1237129"/>
              <a:gd name="connsiteX28" fmla="*/ 2861888 w 3751729"/>
              <a:gd name="connsiteY28" fmla="*/ 1048958 h 1237129"/>
              <a:gd name="connsiteX29" fmla="*/ 2852042 w 3751729"/>
              <a:gd name="connsiteY29" fmla="*/ 1044774 h 1237129"/>
              <a:gd name="connsiteX30" fmla="*/ 2842196 w 3751729"/>
              <a:gd name="connsiteY30" fmla="*/ 1031235 h 1237129"/>
              <a:gd name="connsiteX31" fmla="*/ 2834812 w 3751729"/>
              <a:gd name="connsiteY31" fmla="*/ 1013758 h 1237129"/>
              <a:gd name="connsiteX32" fmla="*/ 2833088 w 3751729"/>
              <a:gd name="connsiteY32" fmla="*/ 993574 h 1237129"/>
              <a:gd name="connsiteX33" fmla="*/ 2840472 w 3751729"/>
              <a:gd name="connsiteY33" fmla="*/ 990128 h 1237129"/>
              <a:gd name="connsiteX34" fmla="*/ 2846380 w 3751729"/>
              <a:gd name="connsiteY34" fmla="*/ 990128 h 1237129"/>
              <a:gd name="connsiteX35" fmla="*/ 2852042 w 3751729"/>
              <a:gd name="connsiteY35" fmla="*/ 991851 h 1237129"/>
              <a:gd name="connsiteX36" fmla="*/ 2857950 w 3751729"/>
              <a:gd name="connsiteY36" fmla="*/ 988651 h 1237129"/>
              <a:gd name="connsiteX37" fmla="*/ 2865334 w 3751729"/>
              <a:gd name="connsiteY37" fmla="*/ 976835 h 1237129"/>
              <a:gd name="connsiteX38" fmla="*/ 2883549 w 3751729"/>
              <a:gd name="connsiteY38" fmla="*/ 974374 h 1237129"/>
              <a:gd name="connsiteX39" fmla="*/ 2886749 w 3751729"/>
              <a:gd name="connsiteY39" fmla="*/ 971666 h 1237129"/>
              <a:gd name="connsiteX40" fmla="*/ 2889211 w 3751729"/>
              <a:gd name="connsiteY40" fmla="*/ 968466 h 1237129"/>
              <a:gd name="connsiteX41" fmla="*/ 2889211 w 3751729"/>
              <a:gd name="connsiteY41" fmla="*/ 966743 h 1237129"/>
              <a:gd name="connsiteX42" fmla="*/ 2890935 w 3751729"/>
              <a:gd name="connsiteY42" fmla="*/ 965758 h 1237129"/>
              <a:gd name="connsiteX43" fmla="*/ 2890935 w 3751729"/>
              <a:gd name="connsiteY43" fmla="*/ 964282 h 1237129"/>
              <a:gd name="connsiteX44" fmla="*/ 2890935 w 3751729"/>
              <a:gd name="connsiteY44" fmla="*/ 962559 h 1237129"/>
              <a:gd name="connsiteX45" fmla="*/ 2892411 w 3751729"/>
              <a:gd name="connsiteY45" fmla="*/ 960835 h 1237129"/>
              <a:gd name="connsiteX46" fmla="*/ 2895119 w 3751729"/>
              <a:gd name="connsiteY46" fmla="*/ 960835 h 1237129"/>
              <a:gd name="connsiteX47" fmla="*/ 2900041 w 3751729"/>
              <a:gd name="connsiteY47" fmla="*/ 960835 h 1237129"/>
              <a:gd name="connsiteX48" fmla="*/ 2904965 w 3751729"/>
              <a:gd name="connsiteY48" fmla="*/ 960835 h 1237129"/>
              <a:gd name="connsiteX49" fmla="*/ 2908165 w 3751729"/>
              <a:gd name="connsiteY49" fmla="*/ 950743 h 1237129"/>
              <a:gd name="connsiteX50" fmla="*/ 2912349 w 3751729"/>
              <a:gd name="connsiteY50" fmla="*/ 943112 h 1237129"/>
              <a:gd name="connsiteX51" fmla="*/ 2916534 w 3751729"/>
              <a:gd name="connsiteY51" fmla="*/ 936466 h 1237129"/>
              <a:gd name="connsiteX52" fmla="*/ 2505952 w 3751729"/>
              <a:gd name="connsiteY52" fmla="*/ 909636 h 1237129"/>
              <a:gd name="connsiteX53" fmla="*/ 2514321 w 3751729"/>
              <a:gd name="connsiteY53" fmla="*/ 915544 h 1237129"/>
              <a:gd name="connsiteX54" fmla="*/ 2519244 w 3751729"/>
              <a:gd name="connsiteY54" fmla="*/ 925636 h 1237129"/>
              <a:gd name="connsiteX55" fmla="*/ 2519244 w 3751729"/>
              <a:gd name="connsiteY55" fmla="*/ 940651 h 1237129"/>
              <a:gd name="connsiteX56" fmla="*/ 2519244 w 3751729"/>
              <a:gd name="connsiteY56" fmla="*/ 942374 h 1237129"/>
              <a:gd name="connsiteX57" fmla="*/ 2519983 w 3751729"/>
              <a:gd name="connsiteY57" fmla="*/ 942374 h 1237129"/>
              <a:gd name="connsiteX58" fmla="*/ 2521707 w 3751729"/>
              <a:gd name="connsiteY58" fmla="*/ 943113 h 1237129"/>
              <a:gd name="connsiteX59" fmla="*/ 2521707 w 3751729"/>
              <a:gd name="connsiteY59" fmla="*/ 944836 h 1237129"/>
              <a:gd name="connsiteX60" fmla="*/ 2521707 w 3751729"/>
              <a:gd name="connsiteY60" fmla="*/ 948282 h 1237129"/>
              <a:gd name="connsiteX61" fmla="*/ 2519244 w 3751729"/>
              <a:gd name="connsiteY61" fmla="*/ 948282 h 1237129"/>
              <a:gd name="connsiteX62" fmla="*/ 2515798 w 3751729"/>
              <a:gd name="connsiteY62" fmla="*/ 949021 h 1237129"/>
              <a:gd name="connsiteX63" fmla="*/ 2514321 w 3751729"/>
              <a:gd name="connsiteY63" fmla="*/ 952466 h 1237129"/>
              <a:gd name="connsiteX64" fmla="*/ 2511860 w 3751729"/>
              <a:gd name="connsiteY64" fmla="*/ 954190 h 1237129"/>
              <a:gd name="connsiteX65" fmla="*/ 2510137 w 3751729"/>
              <a:gd name="connsiteY65" fmla="*/ 954190 h 1237129"/>
              <a:gd name="connsiteX66" fmla="*/ 2508413 w 3751729"/>
              <a:gd name="connsiteY66" fmla="*/ 952466 h 1237129"/>
              <a:gd name="connsiteX67" fmla="*/ 2507675 w 3751729"/>
              <a:gd name="connsiteY67" fmla="*/ 952466 h 1237129"/>
              <a:gd name="connsiteX68" fmla="*/ 2505952 w 3751729"/>
              <a:gd name="connsiteY68" fmla="*/ 950743 h 1237129"/>
              <a:gd name="connsiteX69" fmla="*/ 2500290 w 3751729"/>
              <a:gd name="connsiteY69" fmla="*/ 938928 h 1237129"/>
              <a:gd name="connsiteX70" fmla="*/ 2500290 w 3751729"/>
              <a:gd name="connsiteY70" fmla="*/ 921452 h 1237129"/>
              <a:gd name="connsiteX71" fmla="*/ 2501768 w 3751729"/>
              <a:gd name="connsiteY71" fmla="*/ 918990 h 1237129"/>
              <a:gd name="connsiteX72" fmla="*/ 2503490 w 3751729"/>
              <a:gd name="connsiteY72" fmla="*/ 917267 h 1237129"/>
              <a:gd name="connsiteX73" fmla="*/ 2504229 w 3751729"/>
              <a:gd name="connsiteY73" fmla="*/ 913821 h 1237129"/>
              <a:gd name="connsiteX74" fmla="*/ 3023856 w 3751729"/>
              <a:gd name="connsiteY74" fmla="*/ 892159 h 1237129"/>
              <a:gd name="connsiteX75" fmla="*/ 3030503 w 3751729"/>
              <a:gd name="connsiteY75" fmla="*/ 899544 h 1237129"/>
              <a:gd name="connsiteX76" fmla="*/ 3035425 w 3751729"/>
              <a:gd name="connsiteY76" fmla="*/ 907913 h 1237129"/>
              <a:gd name="connsiteX77" fmla="*/ 3035425 w 3751729"/>
              <a:gd name="connsiteY77" fmla="*/ 921452 h 1237129"/>
              <a:gd name="connsiteX78" fmla="*/ 3036164 w 3751729"/>
              <a:gd name="connsiteY78" fmla="*/ 924652 h 1237129"/>
              <a:gd name="connsiteX79" fmla="*/ 3037887 w 3751729"/>
              <a:gd name="connsiteY79" fmla="*/ 924652 h 1237129"/>
              <a:gd name="connsiteX80" fmla="*/ 3037887 w 3751729"/>
              <a:gd name="connsiteY80" fmla="*/ 925637 h 1237129"/>
              <a:gd name="connsiteX81" fmla="*/ 3036164 w 3751729"/>
              <a:gd name="connsiteY81" fmla="*/ 925637 h 1237129"/>
              <a:gd name="connsiteX82" fmla="*/ 3035425 w 3751729"/>
              <a:gd name="connsiteY82" fmla="*/ 929083 h 1237129"/>
              <a:gd name="connsiteX83" fmla="*/ 3035425 w 3751729"/>
              <a:gd name="connsiteY83" fmla="*/ 931543 h 1237129"/>
              <a:gd name="connsiteX84" fmla="*/ 3033703 w 3751729"/>
              <a:gd name="connsiteY84" fmla="*/ 931543 h 1237129"/>
              <a:gd name="connsiteX85" fmla="*/ 3033703 w 3751729"/>
              <a:gd name="connsiteY85" fmla="*/ 933267 h 1237129"/>
              <a:gd name="connsiteX86" fmla="*/ 3032225 w 3751729"/>
              <a:gd name="connsiteY86" fmla="*/ 933267 h 1237129"/>
              <a:gd name="connsiteX87" fmla="*/ 3029519 w 3751729"/>
              <a:gd name="connsiteY87" fmla="*/ 934744 h 1237129"/>
              <a:gd name="connsiteX88" fmla="*/ 3028041 w 3751729"/>
              <a:gd name="connsiteY88" fmla="*/ 931543 h 1237129"/>
              <a:gd name="connsiteX89" fmla="*/ 3028041 w 3751729"/>
              <a:gd name="connsiteY89" fmla="*/ 930559 h 1237129"/>
              <a:gd name="connsiteX90" fmla="*/ 3026319 w 3751729"/>
              <a:gd name="connsiteY90" fmla="*/ 930559 h 1237129"/>
              <a:gd name="connsiteX91" fmla="*/ 3024595 w 3751729"/>
              <a:gd name="connsiteY91" fmla="*/ 930559 h 1237129"/>
              <a:gd name="connsiteX92" fmla="*/ 3023856 w 3751729"/>
              <a:gd name="connsiteY92" fmla="*/ 929083 h 1237129"/>
              <a:gd name="connsiteX93" fmla="*/ 3023856 w 3751729"/>
              <a:gd name="connsiteY93" fmla="*/ 931543 h 1237129"/>
              <a:gd name="connsiteX94" fmla="*/ 3024595 w 3751729"/>
              <a:gd name="connsiteY94" fmla="*/ 933267 h 1237129"/>
              <a:gd name="connsiteX95" fmla="*/ 3026319 w 3751729"/>
              <a:gd name="connsiteY95" fmla="*/ 934744 h 1237129"/>
              <a:gd name="connsiteX96" fmla="*/ 3028041 w 3751729"/>
              <a:gd name="connsiteY96" fmla="*/ 936467 h 1237129"/>
              <a:gd name="connsiteX97" fmla="*/ 3026319 w 3751729"/>
              <a:gd name="connsiteY97" fmla="*/ 937452 h 1237129"/>
              <a:gd name="connsiteX98" fmla="*/ 3026319 w 3751729"/>
              <a:gd name="connsiteY98" fmla="*/ 938929 h 1237129"/>
              <a:gd name="connsiteX99" fmla="*/ 3026319 w 3751729"/>
              <a:gd name="connsiteY99" fmla="*/ 940652 h 1237129"/>
              <a:gd name="connsiteX100" fmla="*/ 3026319 w 3751729"/>
              <a:gd name="connsiteY100" fmla="*/ 944836 h 1237129"/>
              <a:gd name="connsiteX101" fmla="*/ 3018933 w 3751729"/>
              <a:gd name="connsiteY101" fmla="*/ 944836 h 1237129"/>
              <a:gd name="connsiteX102" fmla="*/ 3018933 w 3751729"/>
              <a:gd name="connsiteY102" fmla="*/ 940652 h 1237129"/>
              <a:gd name="connsiteX103" fmla="*/ 3014749 w 3751729"/>
              <a:gd name="connsiteY103" fmla="*/ 938929 h 1237129"/>
              <a:gd name="connsiteX104" fmla="*/ 3010564 w 3751729"/>
              <a:gd name="connsiteY104" fmla="*/ 936467 h 1237129"/>
              <a:gd name="connsiteX105" fmla="*/ 3009087 w 3751729"/>
              <a:gd name="connsiteY105" fmla="*/ 933267 h 1237129"/>
              <a:gd name="connsiteX106" fmla="*/ 3007364 w 3751729"/>
              <a:gd name="connsiteY106" fmla="*/ 929083 h 1237129"/>
              <a:gd name="connsiteX107" fmla="*/ 3006626 w 3751729"/>
              <a:gd name="connsiteY107" fmla="*/ 924652 h 1237129"/>
              <a:gd name="connsiteX108" fmla="*/ 3003180 w 3751729"/>
              <a:gd name="connsiteY108" fmla="*/ 918990 h 1237129"/>
              <a:gd name="connsiteX109" fmla="*/ 2998995 w 3751729"/>
              <a:gd name="connsiteY109" fmla="*/ 921452 h 1237129"/>
              <a:gd name="connsiteX110" fmla="*/ 2993334 w 3751729"/>
              <a:gd name="connsiteY110" fmla="*/ 924652 h 1237129"/>
              <a:gd name="connsiteX111" fmla="*/ 2987426 w 3751729"/>
              <a:gd name="connsiteY111" fmla="*/ 925637 h 1237129"/>
              <a:gd name="connsiteX112" fmla="*/ 2981764 w 3751729"/>
              <a:gd name="connsiteY112" fmla="*/ 929083 h 1237129"/>
              <a:gd name="connsiteX113" fmla="*/ 2981764 w 3751729"/>
              <a:gd name="connsiteY113" fmla="*/ 921452 h 1237129"/>
              <a:gd name="connsiteX114" fmla="*/ 2983488 w 3751729"/>
              <a:gd name="connsiteY114" fmla="*/ 919729 h 1237129"/>
              <a:gd name="connsiteX115" fmla="*/ 2983488 w 3751729"/>
              <a:gd name="connsiteY115" fmla="*/ 918990 h 1237129"/>
              <a:gd name="connsiteX116" fmla="*/ 2984226 w 3751729"/>
              <a:gd name="connsiteY116" fmla="*/ 918990 h 1237129"/>
              <a:gd name="connsiteX117" fmla="*/ 2984226 w 3751729"/>
              <a:gd name="connsiteY117" fmla="*/ 915544 h 1237129"/>
              <a:gd name="connsiteX118" fmla="*/ 2995794 w 3751729"/>
              <a:gd name="connsiteY118" fmla="*/ 911360 h 1237129"/>
              <a:gd name="connsiteX119" fmla="*/ 3006626 w 3751729"/>
              <a:gd name="connsiteY119" fmla="*/ 907913 h 1237129"/>
              <a:gd name="connsiteX120" fmla="*/ 3016472 w 3751729"/>
              <a:gd name="connsiteY120" fmla="*/ 902005 h 1237129"/>
              <a:gd name="connsiteX121" fmla="*/ 2952719 w 3751729"/>
              <a:gd name="connsiteY121" fmla="*/ 876159 h 1237129"/>
              <a:gd name="connsiteX122" fmla="*/ 2956165 w 3751729"/>
              <a:gd name="connsiteY122" fmla="*/ 879359 h 1237129"/>
              <a:gd name="connsiteX123" fmla="*/ 2956904 w 3751729"/>
              <a:gd name="connsiteY123" fmla="*/ 879359 h 1237129"/>
              <a:gd name="connsiteX124" fmla="*/ 2958626 w 3751729"/>
              <a:gd name="connsiteY124" fmla="*/ 879359 h 1237129"/>
              <a:gd name="connsiteX125" fmla="*/ 2958626 w 3751729"/>
              <a:gd name="connsiteY125" fmla="*/ 880344 h 1237129"/>
              <a:gd name="connsiteX126" fmla="*/ 2958626 w 3751729"/>
              <a:gd name="connsiteY126" fmla="*/ 883543 h 1237129"/>
              <a:gd name="connsiteX127" fmla="*/ 2960350 w 3751729"/>
              <a:gd name="connsiteY127" fmla="*/ 886251 h 1237129"/>
              <a:gd name="connsiteX128" fmla="*/ 2951242 w 3751729"/>
              <a:gd name="connsiteY128" fmla="*/ 893636 h 1237129"/>
              <a:gd name="connsiteX129" fmla="*/ 2945334 w 3751729"/>
              <a:gd name="connsiteY129" fmla="*/ 901267 h 1237129"/>
              <a:gd name="connsiteX130" fmla="*/ 2938687 w 3751729"/>
              <a:gd name="connsiteY130" fmla="*/ 907175 h 1237129"/>
              <a:gd name="connsiteX131" fmla="*/ 2928103 w 3751729"/>
              <a:gd name="connsiteY131" fmla="*/ 913082 h 1237129"/>
              <a:gd name="connsiteX132" fmla="*/ 2928103 w 3751729"/>
              <a:gd name="connsiteY132" fmla="*/ 909636 h 1237129"/>
              <a:gd name="connsiteX133" fmla="*/ 2937212 w 3751729"/>
              <a:gd name="connsiteY133" fmla="*/ 899544 h 1237129"/>
              <a:gd name="connsiteX134" fmla="*/ 2947058 w 3751729"/>
              <a:gd name="connsiteY134" fmla="*/ 889451 h 1237129"/>
              <a:gd name="connsiteX135" fmla="*/ 882825 w 3751729"/>
              <a:gd name="connsiteY135" fmla="*/ 798867 h 1237129"/>
              <a:gd name="connsiteX136" fmla="*/ 888734 w 3751729"/>
              <a:gd name="connsiteY136" fmla="*/ 798867 h 1237129"/>
              <a:gd name="connsiteX137" fmla="*/ 894395 w 3751729"/>
              <a:gd name="connsiteY137" fmla="*/ 799852 h 1237129"/>
              <a:gd name="connsiteX138" fmla="*/ 901041 w 3751729"/>
              <a:gd name="connsiteY138" fmla="*/ 803052 h 1237129"/>
              <a:gd name="connsiteX139" fmla="*/ 898579 w 3751729"/>
              <a:gd name="connsiteY139" fmla="*/ 804776 h 1237129"/>
              <a:gd name="connsiteX140" fmla="*/ 896857 w 3751729"/>
              <a:gd name="connsiteY140" fmla="*/ 807236 h 1237129"/>
              <a:gd name="connsiteX141" fmla="*/ 894395 w 3751729"/>
              <a:gd name="connsiteY141" fmla="*/ 808960 h 1237129"/>
              <a:gd name="connsiteX142" fmla="*/ 889472 w 3751729"/>
              <a:gd name="connsiteY142" fmla="*/ 808960 h 1237129"/>
              <a:gd name="connsiteX143" fmla="*/ 885288 w 3751729"/>
              <a:gd name="connsiteY143" fmla="*/ 807236 h 1237129"/>
              <a:gd name="connsiteX144" fmla="*/ 881350 w 3751729"/>
              <a:gd name="connsiteY144" fmla="*/ 807236 h 1237129"/>
              <a:gd name="connsiteX145" fmla="*/ 877164 w 3751729"/>
              <a:gd name="connsiteY145" fmla="*/ 807236 h 1237129"/>
              <a:gd name="connsiteX146" fmla="*/ 872241 w 3751729"/>
              <a:gd name="connsiteY146" fmla="*/ 808960 h 1237129"/>
              <a:gd name="connsiteX147" fmla="*/ 872241 w 3751729"/>
              <a:gd name="connsiteY147" fmla="*/ 799852 h 1237129"/>
              <a:gd name="connsiteX148" fmla="*/ 2977580 w 3751729"/>
              <a:gd name="connsiteY148" fmla="*/ 789759 h 1237129"/>
              <a:gd name="connsiteX149" fmla="*/ 2981764 w 3751729"/>
              <a:gd name="connsiteY149" fmla="*/ 789759 h 1237129"/>
              <a:gd name="connsiteX150" fmla="*/ 2987426 w 3751729"/>
              <a:gd name="connsiteY150" fmla="*/ 789759 h 1237129"/>
              <a:gd name="connsiteX151" fmla="*/ 2987426 w 3751729"/>
              <a:gd name="connsiteY151" fmla="*/ 804775 h 1237129"/>
              <a:gd name="connsiteX152" fmla="*/ 2985948 w 3751729"/>
              <a:gd name="connsiteY152" fmla="*/ 814867 h 1237129"/>
              <a:gd name="connsiteX153" fmla="*/ 2983488 w 3751729"/>
              <a:gd name="connsiteY153" fmla="*/ 823237 h 1237129"/>
              <a:gd name="connsiteX154" fmla="*/ 2981764 w 3751729"/>
              <a:gd name="connsiteY154" fmla="*/ 838251 h 1237129"/>
              <a:gd name="connsiteX155" fmla="*/ 2984226 w 3751729"/>
              <a:gd name="connsiteY155" fmla="*/ 838251 h 1237129"/>
              <a:gd name="connsiteX156" fmla="*/ 2984226 w 3751729"/>
              <a:gd name="connsiteY156" fmla="*/ 840960 h 1237129"/>
              <a:gd name="connsiteX157" fmla="*/ 2989888 w 3751729"/>
              <a:gd name="connsiteY157" fmla="*/ 840960 h 1237129"/>
              <a:gd name="connsiteX158" fmla="*/ 2993334 w 3751729"/>
              <a:gd name="connsiteY158" fmla="*/ 840960 h 1237129"/>
              <a:gd name="connsiteX159" fmla="*/ 2995794 w 3751729"/>
              <a:gd name="connsiteY159" fmla="*/ 840960 h 1237129"/>
              <a:gd name="connsiteX160" fmla="*/ 2998995 w 3751729"/>
              <a:gd name="connsiteY160" fmla="*/ 842435 h 1237129"/>
              <a:gd name="connsiteX161" fmla="*/ 3001457 w 3751729"/>
              <a:gd name="connsiteY161" fmla="*/ 844160 h 1237129"/>
              <a:gd name="connsiteX162" fmla="*/ 3007364 w 3751729"/>
              <a:gd name="connsiteY162" fmla="*/ 845144 h 1237129"/>
              <a:gd name="connsiteX163" fmla="*/ 3010564 w 3751729"/>
              <a:gd name="connsiteY163" fmla="*/ 855974 h 1237129"/>
              <a:gd name="connsiteX164" fmla="*/ 3016472 w 3751729"/>
              <a:gd name="connsiteY164" fmla="*/ 862621 h 1237129"/>
              <a:gd name="connsiteX165" fmla="*/ 3023856 w 3751729"/>
              <a:gd name="connsiteY165" fmla="*/ 870251 h 1237129"/>
              <a:gd name="connsiteX166" fmla="*/ 3029519 w 3751729"/>
              <a:gd name="connsiteY166" fmla="*/ 880344 h 1237129"/>
              <a:gd name="connsiteX167" fmla="*/ 3024595 w 3751729"/>
              <a:gd name="connsiteY167" fmla="*/ 882066 h 1237129"/>
              <a:gd name="connsiteX168" fmla="*/ 3022133 w 3751729"/>
              <a:gd name="connsiteY168" fmla="*/ 883544 h 1237129"/>
              <a:gd name="connsiteX169" fmla="*/ 3020656 w 3751729"/>
              <a:gd name="connsiteY169" fmla="*/ 883544 h 1237129"/>
              <a:gd name="connsiteX170" fmla="*/ 3020656 w 3751729"/>
              <a:gd name="connsiteY170" fmla="*/ 885267 h 1237129"/>
              <a:gd name="connsiteX171" fmla="*/ 3020656 w 3751729"/>
              <a:gd name="connsiteY171" fmla="*/ 886252 h 1237129"/>
              <a:gd name="connsiteX172" fmla="*/ 3020656 w 3751729"/>
              <a:gd name="connsiteY172" fmla="*/ 887728 h 1237129"/>
              <a:gd name="connsiteX173" fmla="*/ 3017948 w 3751729"/>
              <a:gd name="connsiteY173" fmla="*/ 887728 h 1237129"/>
              <a:gd name="connsiteX174" fmla="*/ 3013026 w 3751729"/>
              <a:gd name="connsiteY174" fmla="*/ 889452 h 1237129"/>
              <a:gd name="connsiteX175" fmla="*/ 3012287 w 3751729"/>
              <a:gd name="connsiteY175" fmla="*/ 886252 h 1237129"/>
              <a:gd name="connsiteX176" fmla="*/ 3012287 w 3751729"/>
              <a:gd name="connsiteY176" fmla="*/ 885267 h 1237129"/>
              <a:gd name="connsiteX177" fmla="*/ 3010564 w 3751729"/>
              <a:gd name="connsiteY177" fmla="*/ 885267 h 1237129"/>
              <a:gd name="connsiteX178" fmla="*/ 3009087 w 3751729"/>
              <a:gd name="connsiteY178" fmla="*/ 885267 h 1237129"/>
              <a:gd name="connsiteX179" fmla="*/ 3007364 w 3751729"/>
              <a:gd name="connsiteY179" fmla="*/ 883544 h 1237129"/>
              <a:gd name="connsiteX180" fmla="*/ 3004903 w 3751729"/>
              <a:gd name="connsiteY180" fmla="*/ 889452 h 1237129"/>
              <a:gd name="connsiteX181" fmla="*/ 3003180 w 3751729"/>
              <a:gd name="connsiteY181" fmla="*/ 893636 h 1237129"/>
              <a:gd name="connsiteX182" fmla="*/ 3000718 w 3751729"/>
              <a:gd name="connsiteY182" fmla="*/ 897821 h 1237129"/>
              <a:gd name="connsiteX183" fmla="*/ 2995794 w 3751729"/>
              <a:gd name="connsiteY183" fmla="*/ 899544 h 1237129"/>
              <a:gd name="connsiteX184" fmla="*/ 2991611 w 3751729"/>
              <a:gd name="connsiteY184" fmla="*/ 902005 h 1237129"/>
              <a:gd name="connsiteX185" fmla="*/ 2991611 w 3751729"/>
              <a:gd name="connsiteY185" fmla="*/ 899544 h 1237129"/>
              <a:gd name="connsiteX186" fmla="*/ 2989148 w 3751729"/>
              <a:gd name="connsiteY186" fmla="*/ 896343 h 1237129"/>
              <a:gd name="connsiteX187" fmla="*/ 2989148 w 3751729"/>
              <a:gd name="connsiteY187" fmla="*/ 893636 h 1237129"/>
              <a:gd name="connsiteX188" fmla="*/ 2989148 w 3751729"/>
              <a:gd name="connsiteY188" fmla="*/ 892159 h 1237129"/>
              <a:gd name="connsiteX189" fmla="*/ 2989148 w 3751729"/>
              <a:gd name="connsiteY189" fmla="*/ 891175 h 1237129"/>
              <a:gd name="connsiteX190" fmla="*/ 2989148 w 3751729"/>
              <a:gd name="connsiteY190" fmla="*/ 889452 h 1237129"/>
              <a:gd name="connsiteX191" fmla="*/ 2987426 w 3751729"/>
              <a:gd name="connsiteY191" fmla="*/ 887728 h 1237129"/>
              <a:gd name="connsiteX192" fmla="*/ 2985948 w 3751729"/>
              <a:gd name="connsiteY192" fmla="*/ 887728 h 1237129"/>
              <a:gd name="connsiteX193" fmla="*/ 2981764 w 3751729"/>
              <a:gd name="connsiteY193" fmla="*/ 886252 h 1237129"/>
              <a:gd name="connsiteX194" fmla="*/ 2981764 w 3751729"/>
              <a:gd name="connsiteY194" fmla="*/ 882066 h 1237129"/>
              <a:gd name="connsiteX195" fmla="*/ 2981764 w 3751729"/>
              <a:gd name="connsiteY195" fmla="*/ 877882 h 1237129"/>
              <a:gd name="connsiteX196" fmla="*/ 2983488 w 3751729"/>
              <a:gd name="connsiteY196" fmla="*/ 874435 h 1237129"/>
              <a:gd name="connsiteX197" fmla="*/ 2983488 w 3751729"/>
              <a:gd name="connsiteY197" fmla="*/ 873698 h 1237129"/>
              <a:gd name="connsiteX198" fmla="*/ 2984226 w 3751729"/>
              <a:gd name="connsiteY198" fmla="*/ 871975 h 1237129"/>
              <a:gd name="connsiteX199" fmla="*/ 2987426 w 3751729"/>
              <a:gd name="connsiteY199" fmla="*/ 871975 h 1237129"/>
              <a:gd name="connsiteX200" fmla="*/ 2991611 w 3751729"/>
              <a:gd name="connsiteY200" fmla="*/ 870251 h 1237129"/>
              <a:gd name="connsiteX201" fmla="*/ 2997519 w 3751729"/>
              <a:gd name="connsiteY201" fmla="*/ 870251 h 1237129"/>
              <a:gd name="connsiteX202" fmla="*/ 2997519 w 3751729"/>
              <a:gd name="connsiteY202" fmla="*/ 880344 h 1237129"/>
              <a:gd name="connsiteX203" fmla="*/ 3007364 w 3751729"/>
              <a:gd name="connsiteY203" fmla="*/ 880344 h 1237129"/>
              <a:gd name="connsiteX204" fmla="*/ 3007364 w 3751729"/>
              <a:gd name="connsiteY204" fmla="*/ 877882 h 1237129"/>
              <a:gd name="connsiteX205" fmla="*/ 3009087 w 3751729"/>
              <a:gd name="connsiteY205" fmla="*/ 874435 h 1237129"/>
              <a:gd name="connsiteX206" fmla="*/ 3010564 w 3751729"/>
              <a:gd name="connsiteY206" fmla="*/ 873698 h 1237129"/>
              <a:gd name="connsiteX207" fmla="*/ 3010564 w 3751729"/>
              <a:gd name="connsiteY207" fmla="*/ 871975 h 1237129"/>
              <a:gd name="connsiteX208" fmla="*/ 3012287 w 3751729"/>
              <a:gd name="connsiteY208" fmla="*/ 870251 h 1237129"/>
              <a:gd name="connsiteX209" fmla="*/ 3013026 w 3751729"/>
              <a:gd name="connsiteY209" fmla="*/ 867789 h 1237129"/>
              <a:gd name="connsiteX210" fmla="*/ 3010564 w 3751729"/>
              <a:gd name="connsiteY210" fmla="*/ 867789 h 1237129"/>
              <a:gd name="connsiteX211" fmla="*/ 2995794 w 3751729"/>
              <a:gd name="connsiteY211" fmla="*/ 855974 h 1237129"/>
              <a:gd name="connsiteX212" fmla="*/ 2979303 w 3751729"/>
              <a:gd name="connsiteY212" fmla="*/ 848344 h 1237129"/>
              <a:gd name="connsiteX213" fmla="*/ 2979303 w 3751729"/>
              <a:gd name="connsiteY213" fmla="*/ 854252 h 1237129"/>
              <a:gd name="connsiteX214" fmla="*/ 2977580 w 3751729"/>
              <a:gd name="connsiteY214" fmla="*/ 858436 h 1237129"/>
              <a:gd name="connsiteX215" fmla="*/ 2975857 w 3751729"/>
              <a:gd name="connsiteY215" fmla="*/ 862621 h 1237129"/>
              <a:gd name="connsiteX216" fmla="*/ 2975857 w 3751729"/>
              <a:gd name="connsiteY216" fmla="*/ 867789 h 1237129"/>
              <a:gd name="connsiteX217" fmla="*/ 2974380 w 3751729"/>
              <a:gd name="connsiteY217" fmla="*/ 866067 h 1237129"/>
              <a:gd name="connsiteX218" fmla="*/ 2973396 w 3751729"/>
              <a:gd name="connsiteY218" fmla="*/ 864344 h 1237129"/>
              <a:gd name="connsiteX219" fmla="*/ 2973396 w 3751729"/>
              <a:gd name="connsiteY219" fmla="*/ 862621 h 1237129"/>
              <a:gd name="connsiteX220" fmla="*/ 2971918 w 3751729"/>
              <a:gd name="connsiteY220" fmla="*/ 861883 h 1237129"/>
              <a:gd name="connsiteX221" fmla="*/ 2967734 w 3751729"/>
              <a:gd name="connsiteY221" fmla="*/ 850806 h 1237129"/>
              <a:gd name="connsiteX222" fmla="*/ 2962810 w 3751729"/>
              <a:gd name="connsiteY222" fmla="*/ 838251 h 1237129"/>
              <a:gd name="connsiteX223" fmla="*/ 2961826 w 3751729"/>
              <a:gd name="connsiteY223" fmla="*/ 821513 h 1237129"/>
              <a:gd name="connsiteX224" fmla="*/ 2962810 w 3751729"/>
              <a:gd name="connsiteY224" fmla="*/ 807236 h 1237129"/>
              <a:gd name="connsiteX225" fmla="*/ 2968472 w 3751729"/>
              <a:gd name="connsiteY225" fmla="*/ 792959 h 1237129"/>
              <a:gd name="connsiteX226" fmla="*/ 2973396 w 3751729"/>
              <a:gd name="connsiteY226" fmla="*/ 791237 h 1237129"/>
              <a:gd name="connsiteX227" fmla="*/ 835074 w 3751729"/>
              <a:gd name="connsiteY227" fmla="*/ 789759 h 1237129"/>
              <a:gd name="connsiteX228" fmla="*/ 840735 w 3751729"/>
              <a:gd name="connsiteY228" fmla="*/ 789759 h 1237129"/>
              <a:gd name="connsiteX229" fmla="*/ 846643 w 3751729"/>
              <a:gd name="connsiteY229" fmla="*/ 791237 h 1237129"/>
              <a:gd name="connsiteX230" fmla="*/ 852305 w 3751729"/>
              <a:gd name="connsiteY230" fmla="*/ 791237 h 1237129"/>
              <a:gd name="connsiteX231" fmla="*/ 856490 w 3751729"/>
              <a:gd name="connsiteY231" fmla="*/ 792959 h 1237129"/>
              <a:gd name="connsiteX232" fmla="*/ 856490 w 3751729"/>
              <a:gd name="connsiteY232" fmla="*/ 799852 h 1237129"/>
              <a:gd name="connsiteX233" fmla="*/ 835074 w 3751729"/>
              <a:gd name="connsiteY233" fmla="*/ 799852 h 1237129"/>
              <a:gd name="connsiteX234" fmla="*/ 713473 w 3751729"/>
              <a:gd name="connsiteY234" fmla="*/ 789759 h 1237129"/>
              <a:gd name="connsiteX235" fmla="*/ 721104 w 3751729"/>
              <a:gd name="connsiteY235" fmla="*/ 791237 h 1237129"/>
              <a:gd name="connsiteX236" fmla="*/ 725043 w 3751729"/>
              <a:gd name="connsiteY236" fmla="*/ 793944 h 1237129"/>
              <a:gd name="connsiteX237" fmla="*/ 730950 w 3751729"/>
              <a:gd name="connsiteY237" fmla="*/ 797144 h 1237129"/>
              <a:gd name="connsiteX238" fmla="*/ 735873 w 3751729"/>
              <a:gd name="connsiteY238" fmla="*/ 799852 h 1237129"/>
              <a:gd name="connsiteX239" fmla="*/ 735873 w 3751729"/>
              <a:gd name="connsiteY239" fmla="*/ 803052 h 1237129"/>
              <a:gd name="connsiteX240" fmla="*/ 730212 w 3751729"/>
              <a:gd name="connsiteY240" fmla="*/ 803052 h 1237129"/>
              <a:gd name="connsiteX241" fmla="*/ 725043 w 3751729"/>
              <a:gd name="connsiteY241" fmla="*/ 804776 h 1237129"/>
              <a:gd name="connsiteX242" fmla="*/ 721104 w 3751729"/>
              <a:gd name="connsiteY242" fmla="*/ 805515 h 1237129"/>
              <a:gd name="connsiteX243" fmla="*/ 718642 w 3751729"/>
              <a:gd name="connsiteY243" fmla="*/ 804776 h 1237129"/>
              <a:gd name="connsiteX244" fmla="*/ 712735 w 3751729"/>
              <a:gd name="connsiteY244" fmla="*/ 804776 h 1237129"/>
              <a:gd name="connsiteX245" fmla="*/ 707812 w 3751729"/>
              <a:gd name="connsiteY245" fmla="*/ 803052 h 1237129"/>
              <a:gd name="connsiteX246" fmla="*/ 707812 w 3751729"/>
              <a:gd name="connsiteY246" fmla="*/ 792959 h 1237129"/>
              <a:gd name="connsiteX247" fmla="*/ 709535 w 3751729"/>
              <a:gd name="connsiteY247" fmla="*/ 792959 h 1237129"/>
              <a:gd name="connsiteX248" fmla="*/ 711012 w 3751729"/>
              <a:gd name="connsiteY248" fmla="*/ 791237 h 1237129"/>
              <a:gd name="connsiteX249" fmla="*/ 712735 w 3751729"/>
              <a:gd name="connsiteY249" fmla="*/ 791237 h 1237129"/>
              <a:gd name="connsiteX250" fmla="*/ 763934 w 3751729"/>
              <a:gd name="connsiteY250" fmla="*/ 776221 h 1237129"/>
              <a:gd name="connsiteX251" fmla="*/ 781411 w 3751729"/>
              <a:gd name="connsiteY251" fmla="*/ 777945 h 1237129"/>
              <a:gd name="connsiteX252" fmla="*/ 796181 w 3751729"/>
              <a:gd name="connsiteY252" fmla="*/ 781391 h 1237129"/>
              <a:gd name="connsiteX253" fmla="*/ 807751 w 3751729"/>
              <a:gd name="connsiteY253" fmla="*/ 785575 h 1237129"/>
              <a:gd name="connsiteX254" fmla="*/ 821781 w 3751729"/>
              <a:gd name="connsiteY254" fmla="*/ 789760 h 1237129"/>
              <a:gd name="connsiteX255" fmla="*/ 821781 w 3751729"/>
              <a:gd name="connsiteY255" fmla="*/ 797144 h 1237129"/>
              <a:gd name="connsiteX256" fmla="*/ 816120 w 3751729"/>
              <a:gd name="connsiteY256" fmla="*/ 797144 h 1237129"/>
              <a:gd name="connsiteX257" fmla="*/ 813412 w 3751729"/>
              <a:gd name="connsiteY257" fmla="*/ 798867 h 1237129"/>
              <a:gd name="connsiteX258" fmla="*/ 809474 w 3751729"/>
              <a:gd name="connsiteY258" fmla="*/ 799852 h 1237129"/>
              <a:gd name="connsiteX259" fmla="*/ 806028 w 3751729"/>
              <a:gd name="connsiteY259" fmla="*/ 801330 h 1237129"/>
              <a:gd name="connsiteX260" fmla="*/ 803565 w 3751729"/>
              <a:gd name="connsiteY260" fmla="*/ 803052 h 1237129"/>
              <a:gd name="connsiteX261" fmla="*/ 798643 w 3751729"/>
              <a:gd name="connsiteY261" fmla="*/ 803052 h 1237129"/>
              <a:gd name="connsiteX262" fmla="*/ 798643 w 3751729"/>
              <a:gd name="connsiteY262" fmla="*/ 801330 h 1237129"/>
              <a:gd name="connsiteX263" fmla="*/ 798643 w 3751729"/>
              <a:gd name="connsiteY263" fmla="*/ 799852 h 1237129"/>
              <a:gd name="connsiteX264" fmla="*/ 797904 w 3751729"/>
              <a:gd name="connsiteY264" fmla="*/ 798867 h 1237129"/>
              <a:gd name="connsiteX265" fmla="*/ 796181 w 3751729"/>
              <a:gd name="connsiteY265" fmla="*/ 797144 h 1237129"/>
              <a:gd name="connsiteX266" fmla="*/ 794458 w 3751729"/>
              <a:gd name="connsiteY266" fmla="*/ 795667 h 1237129"/>
              <a:gd name="connsiteX267" fmla="*/ 792981 w 3751729"/>
              <a:gd name="connsiteY267" fmla="*/ 797144 h 1237129"/>
              <a:gd name="connsiteX268" fmla="*/ 790519 w 3751729"/>
              <a:gd name="connsiteY268" fmla="*/ 805513 h 1237129"/>
              <a:gd name="connsiteX269" fmla="*/ 786335 w 3751729"/>
              <a:gd name="connsiteY269" fmla="*/ 805513 h 1237129"/>
              <a:gd name="connsiteX270" fmla="*/ 775504 w 3751729"/>
              <a:gd name="connsiteY270" fmla="*/ 804776 h 1237129"/>
              <a:gd name="connsiteX271" fmla="*/ 763934 w 3751729"/>
              <a:gd name="connsiteY271" fmla="*/ 803052 h 1237129"/>
              <a:gd name="connsiteX272" fmla="*/ 755812 w 3751729"/>
              <a:gd name="connsiteY272" fmla="*/ 803052 h 1237129"/>
              <a:gd name="connsiteX273" fmla="*/ 751627 w 3751729"/>
              <a:gd name="connsiteY273" fmla="*/ 792959 h 1237129"/>
              <a:gd name="connsiteX274" fmla="*/ 759011 w 3751729"/>
              <a:gd name="connsiteY274" fmla="*/ 792959 h 1237129"/>
              <a:gd name="connsiteX275" fmla="*/ 763934 w 3751729"/>
              <a:gd name="connsiteY275" fmla="*/ 792959 h 1237129"/>
              <a:gd name="connsiteX276" fmla="*/ 769842 w 3751729"/>
              <a:gd name="connsiteY276" fmla="*/ 791237 h 1237129"/>
              <a:gd name="connsiteX277" fmla="*/ 774765 w 3751729"/>
              <a:gd name="connsiteY277" fmla="*/ 789760 h 1237129"/>
              <a:gd name="connsiteX278" fmla="*/ 771319 w 3751729"/>
              <a:gd name="connsiteY278" fmla="*/ 788037 h 1237129"/>
              <a:gd name="connsiteX279" fmla="*/ 768858 w 3751729"/>
              <a:gd name="connsiteY279" fmla="*/ 785575 h 1237129"/>
              <a:gd name="connsiteX280" fmla="*/ 767381 w 3751729"/>
              <a:gd name="connsiteY280" fmla="*/ 783853 h 1237129"/>
              <a:gd name="connsiteX281" fmla="*/ 765658 w 3751729"/>
              <a:gd name="connsiteY281" fmla="*/ 781391 h 1237129"/>
              <a:gd name="connsiteX282" fmla="*/ 663259 w 3751729"/>
              <a:gd name="connsiteY282" fmla="*/ 735114 h 1237129"/>
              <a:gd name="connsiteX283" fmla="*/ 686398 w 3751729"/>
              <a:gd name="connsiteY283" fmla="*/ 740283 h 1237129"/>
              <a:gd name="connsiteX284" fmla="*/ 707074 w 3751729"/>
              <a:gd name="connsiteY284" fmla="*/ 746929 h 1237129"/>
              <a:gd name="connsiteX285" fmla="*/ 722582 w 3751729"/>
              <a:gd name="connsiteY285" fmla="*/ 754314 h 1237129"/>
              <a:gd name="connsiteX286" fmla="*/ 738335 w 3751729"/>
              <a:gd name="connsiteY286" fmla="*/ 761944 h 1237129"/>
              <a:gd name="connsiteX287" fmla="*/ 755813 w 3751729"/>
              <a:gd name="connsiteY287" fmla="*/ 770315 h 1237129"/>
              <a:gd name="connsiteX288" fmla="*/ 755813 w 3751729"/>
              <a:gd name="connsiteY288" fmla="*/ 776221 h 1237129"/>
              <a:gd name="connsiteX289" fmla="*/ 748182 w 3751729"/>
              <a:gd name="connsiteY289" fmla="*/ 776221 h 1237129"/>
              <a:gd name="connsiteX290" fmla="*/ 740059 w 3751729"/>
              <a:gd name="connsiteY290" fmla="*/ 779668 h 1237129"/>
              <a:gd name="connsiteX291" fmla="*/ 730212 w 3751729"/>
              <a:gd name="connsiteY291" fmla="*/ 782130 h 1237129"/>
              <a:gd name="connsiteX292" fmla="*/ 719382 w 3751729"/>
              <a:gd name="connsiteY292" fmla="*/ 783853 h 1237129"/>
              <a:gd name="connsiteX293" fmla="*/ 721105 w 3751729"/>
              <a:gd name="connsiteY293" fmla="*/ 781392 h 1237129"/>
              <a:gd name="connsiteX294" fmla="*/ 721105 w 3751729"/>
              <a:gd name="connsiteY294" fmla="*/ 777945 h 1237129"/>
              <a:gd name="connsiteX295" fmla="*/ 721105 w 3751729"/>
              <a:gd name="connsiteY295" fmla="*/ 776221 h 1237129"/>
              <a:gd name="connsiteX296" fmla="*/ 721105 w 3751729"/>
              <a:gd name="connsiteY296" fmla="*/ 775484 h 1237129"/>
              <a:gd name="connsiteX297" fmla="*/ 721105 w 3751729"/>
              <a:gd name="connsiteY297" fmla="*/ 773761 h 1237129"/>
              <a:gd name="connsiteX298" fmla="*/ 719382 w 3751729"/>
              <a:gd name="connsiteY298" fmla="*/ 770315 h 1237129"/>
              <a:gd name="connsiteX299" fmla="*/ 697966 w 3751729"/>
              <a:gd name="connsiteY299" fmla="*/ 764406 h 1237129"/>
              <a:gd name="connsiteX300" fmla="*/ 678028 w 3751729"/>
              <a:gd name="connsiteY300" fmla="*/ 754314 h 1237129"/>
              <a:gd name="connsiteX301" fmla="*/ 656613 w 3751729"/>
              <a:gd name="connsiteY301" fmla="*/ 744468 h 1237129"/>
              <a:gd name="connsiteX302" fmla="*/ 651689 w 3751729"/>
              <a:gd name="connsiteY302" fmla="*/ 748653 h 1237129"/>
              <a:gd name="connsiteX303" fmla="*/ 649228 w 3751729"/>
              <a:gd name="connsiteY303" fmla="*/ 752837 h 1237129"/>
              <a:gd name="connsiteX304" fmla="*/ 645043 w 3751729"/>
              <a:gd name="connsiteY304" fmla="*/ 757760 h 1237129"/>
              <a:gd name="connsiteX305" fmla="*/ 640120 w 3751729"/>
              <a:gd name="connsiteY305" fmla="*/ 756038 h 1237129"/>
              <a:gd name="connsiteX306" fmla="*/ 634212 w 3751729"/>
              <a:gd name="connsiteY306" fmla="*/ 752837 h 1237129"/>
              <a:gd name="connsiteX307" fmla="*/ 631751 w 3751729"/>
              <a:gd name="connsiteY307" fmla="*/ 751853 h 1237129"/>
              <a:gd name="connsiteX308" fmla="*/ 637659 w 3751729"/>
              <a:gd name="connsiteY308" fmla="*/ 751853 h 1237129"/>
              <a:gd name="connsiteX309" fmla="*/ 641597 w 3751729"/>
              <a:gd name="connsiteY309" fmla="*/ 745945 h 1237129"/>
              <a:gd name="connsiteX310" fmla="*/ 645781 w 3751729"/>
              <a:gd name="connsiteY310" fmla="*/ 742745 h 1237129"/>
              <a:gd name="connsiteX311" fmla="*/ 650704 w 3751729"/>
              <a:gd name="connsiteY311" fmla="*/ 738560 h 1237129"/>
              <a:gd name="connsiteX312" fmla="*/ 654889 w 3751729"/>
              <a:gd name="connsiteY312" fmla="*/ 738560 h 1237129"/>
              <a:gd name="connsiteX313" fmla="*/ 657351 w 3751729"/>
              <a:gd name="connsiteY313" fmla="*/ 736837 h 1237129"/>
              <a:gd name="connsiteX314" fmla="*/ 660797 w 3751729"/>
              <a:gd name="connsiteY314" fmla="*/ 736837 h 1237129"/>
              <a:gd name="connsiteX315" fmla="*/ 707812 w 3751729"/>
              <a:gd name="connsiteY315" fmla="*/ 712468 h 1237129"/>
              <a:gd name="connsiteX316" fmla="*/ 712736 w 3751729"/>
              <a:gd name="connsiteY316" fmla="*/ 714929 h 1237129"/>
              <a:gd name="connsiteX317" fmla="*/ 715197 w 3751729"/>
              <a:gd name="connsiteY317" fmla="*/ 718376 h 1237129"/>
              <a:gd name="connsiteX318" fmla="*/ 718643 w 3751729"/>
              <a:gd name="connsiteY318" fmla="*/ 720838 h 1237129"/>
              <a:gd name="connsiteX319" fmla="*/ 719382 w 3751729"/>
              <a:gd name="connsiteY319" fmla="*/ 725023 h 1237129"/>
              <a:gd name="connsiteX320" fmla="*/ 719382 w 3751729"/>
              <a:gd name="connsiteY320" fmla="*/ 732654 h 1237129"/>
              <a:gd name="connsiteX321" fmla="*/ 713473 w 3751729"/>
              <a:gd name="connsiteY321" fmla="*/ 732654 h 1237129"/>
              <a:gd name="connsiteX322" fmla="*/ 712736 w 3751729"/>
              <a:gd name="connsiteY322" fmla="*/ 728469 h 1237129"/>
              <a:gd name="connsiteX323" fmla="*/ 711012 w 3751729"/>
              <a:gd name="connsiteY323" fmla="*/ 726745 h 1237129"/>
              <a:gd name="connsiteX324" fmla="*/ 709535 w 3751729"/>
              <a:gd name="connsiteY324" fmla="*/ 724284 h 1237129"/>
              <a:gd name="connsiteX325" fmla="*/ 707812 w 3751729"/>
              <a:gd name="connsiteY325" fmla="*/ 720838 h 1237129"/>
              <a:gd name="connsiteX326" fmla="*/ 707812 w 3751729"/>
              <a:gd name="connsiteY326" fmla="*/ 718376 h 1237129"/>
              <a:gd name="connsiteX327" fmla="*/ 2981766 w 3751729"/>
              <a:gd name="connsiteY327" fmla="*/ 706561 h 1237129"/>
              <a:gd name="connsiteX328" fmla="*/ 2984227 w 3751729"/>
              <a:gd name="connsiteY328" fmla="*/ 709022 h 1237129"/>
              <a:gd name="connsiteX329" fmla="*/ 2985950 w 3751729"/>
              <a:gd name="connsiteY329" fmla="*/ 712468 h 1237129"/>
              <a:gd name="connsiteX330" fmla="*/ 2987428 w 3751729"/>
              <a:gd name="connsiteY330" fmla="*/ 714930 h 1237129"/>
              <a:gd name="connsiteX331" fmla="*/ 2987428 w 3751729"/>
              <a:gd name="connsiteY331" fmla="*/ 719115 h 1237129"/>
              <a:gd name="connsiteX332" fmla="*/ 2987428 w 3751729"/>
              <a:gd name="connsiteY332" fmla="*/ 725022 h 1237129"/>
              <a:gd name="connsiteX333" fmla="*/ 2975858 w 3751729"/>
              <a:gd name="connsiteY333" fmla="*/ 754316 h 1237129"/>
              <a:gd name="connsiteX334" fmla="*/ 2970196 w 3751729"/>
              <a:gd name="connsiteY334" fmla="*/ 746931 h 1237129"/>
              <a:gd name="connsiteX335" fmla="*/ 2967735 w 3751729"/>
              <a:gd name="connsiteY335" fmla="*/ 740284 h 1237129"/>
              <a:gd name="connsiteX336" fmla="*/ 2966011 w 3751729"/>
              <a:gd name="connsiteY336" fmla="*/ 728469 h 1237129"/>
              <a:gd name="connsiteX337" fmla="*/ 701166 w 3751729"/>
              <a:gd name="connsiteY337" fmla="*/ 693268 h 1237129"/>
              <a:gd name="connsiteX338" fmla="*/ 719382 w 3751729"/>
              <a:gd name="connsiteY338" fmla="*/ 693268 h 1237129"/>
              <a:gd name="connsiteX339" fmla="*/ 721104 w 3751729"/>
              <a:gd name="connsiteY339" fmla="*/ 695729 h 1237129"/>
              <a:gd name="connsiteX340" fmla="*/ 724304 w 3751729"/>
              <a:gd name="connsiteY340" fmla="*/ 697452 h 1237129"/>
              <a:gd name="connsiteX341" fmla="*/ 724304 w 3751729"/>
              <a:gd name="connsiteY341" fmla="*/ 699176 h 1237129"/>
              <a:gd name="connsiteX342" fmla="*/ 725043 w 3751729"/>
              <a:gd name="connsiteY342" fmla="*/ 700652 h 1237129"/>
              <a:gd name="connsiteX343" fmla="*/ 725043 w 3751729"/>
              <a:gd name="connsiteY343" fmla="*/ 701637 h 1237129"/>
              <a:gd name="connsiteX344" fmla="*/ 724304 w 3751729"/>
              <a:gd name="connsiteY344" fmla="*/ 703361 h 1237129"/>
              <a:gd name="connsiteX345" fmla="*/ 724304 w 3751729"/>
              <a:gd name="connsiteY345" fmla="*/ 706561 h 1237129"/>
              <a:gd name="connsiteX346" fmla="*/ 719382 w 3751729"/>
              <a:gd name="connsiteY346" fmla="*/ 703361 h 1237129"/>
              <a:gd name="connsiteX347" fmla="*/ 715197 w 3751729"/>
              <a:gd name="connsiteY347" fmla="*/ 701637 h 1237129"/>
              <a:gd name="connsiteX348" fmla="*/ 711012 w 3751729"/>
              <a:gd name="connsiteY348" fmla="*/ 701637 h 1237129"/>
              <a:gd name="connsiteX349" fmla="*/ 707812 w 3751729"/>
              <a:gd name="connsiteY349" fmla="*/ 700652 h 1237129"/>
              <a:gd name="connsiteX350" fmla="*/ 705350 w 3751729"/>
              <a:gd name="connsiteY350" fmla="*/ 700652 h 1237129"/>
              <a:gd name="connsiteX351" fmla="*/ 701904 w 3751729"/>
              <a:gd name="connsiteY351" fmla="*/ 699176 h 1237129"/>
              <a:gd name="connsiteX352" fmla="*/ 701166 w 3751729"/>
              <a:gd name="connsiteY352" fmla="*/ 695729 h 1237129"/>
              <a:gd name="connsiteX353" fmla="*/ 3074318 w 3751729"/>
              <a:gd name="connsiteY353" fmla="*/ 638622 h 1237129"/>
              <a:gd name="connsiteX354" fmla="*/ 3076780 w 3751729"/>
              <a:gd name="connsiteY354" fmla="*/ 640346 h 1237129"/>
              <a:gd name="connsiteX355" fmla="*/ 3078256 w 3751729"/>
              <a:gd name="connsiteY355" fmla="*/ 640346 h 1237129"/>
              <a:gd name="connsiteX356" fmla="*/ 3078256 w 3751729"/>
              <a:gd name="connsiteY356" fmla="*/ 642068 h 1237129"/>
              <a:gd name="connsiteX357" fmla="*/ 3079980 w 3751729"/>
              <a:gd name="connsiteY357" fmla="*/ 644530 h 1237129"/>
              <a:gd name="connsiteX358" fmla="*/ 3079980 w 3751729"/>
              <a:gd name="connsiteY358" fmla="*/ 647977 h 1237129"/>
              <a:gd name="connsiteX359" fmla="*/ 3078256 w 3751729"/>
              <a:gd name="connsiteY359" fmla="*/ 652161 h 1237129"/>
              <a:gd name="connsiteX360" fmla="*/ 3075056 w 3751729"/>
              <a:gd name="connsiteY360" fmla="*/ 656345 h 1237129"/>
              <a:gd name="connsiteX361" fmla="*/ 3074318 w 3751729"/>
              <a:gd name="connsiteY361" fmla="*/ 660530 h 1237129"/>
              <a:gd name="connsiteX362" fmla="*/ 3066687 w 3751729"/>
              <a:gd name="connsiteY362" fmla="*/ 660530 h 1237129"/>
              <a:gd name="connsiteX363" fmla="*/ 3066687 w 3751729"/>
              <a:gd name="connsiteY363" fmla="*/ 650438 h 1237129"/>
              <a:gd name="connsiteX364" fmla="*/ 3069395 w 3751729"/>
              <a:gd name="connsiteY364" fmla="*/ 649454 h 1237129"/>
              <a:gd name="connsiteX365" fmla="*/ 3070871 w 3751729"/>
              <a:gd name="connsiteY365" fmla="*/ 646253 h 1237129"/>
              <a:gd name="connsiteX366" fmla="*/ 3072596 w 3751729"/>
              <a:gd name="connsiteY366" fmla="*/ 643792 h 1237129"/>
              <a:gd name="connsiteX367" fmla="*/ 3035426 w 3751729"/>
              <a:gd name="connsiteY367" fmla="*/ 599238 h 1237129"/>
              <a:gd name="connsiteX368" fmla="*/ 3045272 w 3751729"/>
              <a:gd name="connsiteY368" fmla="*/ 599238 h 1237129"/>
              <a:gd name="connsiteX369" fmla="*/ 3045272 w 3751729"/>
              <a:gd name="connsiteY369" fmla="*/ 609331 h 1237129"/>
              <a:gd name="connsiteX370" fmla="*/ 3032226 w 3751729"/>
              <a:gd name="connsiteY370" fmla="*/ 609331 h 1237129"/>
              <a:gd name="connsiteX371" fmla="*/ 3032226 w 3751729"/>
              <a:gd name="connsiteY371" fmla="*/ 602684 h 1237129"/>
              <a:gd name="connsiteX372" fmla="*/ 3035426 w 3751729"/>
              <a:gd name="connsiteY372" fmla="*/ 602684 h 1237129"/>
              <a:gd name="connsiteX373" fmla="*/ 1985586 w 3751729"/>
              <a:gd name="connsiteY373" fmla="*/ 571424 h 1237129"/>
              <a:gd name="connsiteX374" fmla="*/ 1992971 w 3751729"/>
              <a:gd name="connsiteY374" fmla="*/ 571424 h 1237129"/>
              <a:gd name="connsiteX375" fmla="*/ 1989771 w 3751729"/>
              <a:gd name="connsiteY375" fmla="*/ 575609 h 1237129"/>
              <a:gd name="connsiteX376" fmla="*/ 1987309 w 3751729"/>
              <a:gd name="connsiteY376" fmla="*/ 579053 h 1237129"/>
              <a:gd name="connsiteX377" fmla="*/ 1983863 w 3751729"/>
              <a:gd name="connsiteY377" fmla="*/ 581514 h 1237129"/>
              <a:gd name="connsiteX378" fmla="*/ 1981401 w 3751729"/>
              <a:gd name="connsiteY378" fmla="*/ 584961 h 1237129"/>
              <a:gd name="connsiteX379" fmla="*/ 1976479 w 3751729"/>
              <a:gd name="connsiteY379" fmla="*/ 587422 h 1237129"/>
              <a:gd name="connsiteX380" fmla="*/ 1974017 w 3751729"/>
              <a:gd name="connsiteY380" fmla="*/ 587422 h 1237129"/>
              <a:gd name="connsiteX381" fmla="*/ 1974017 w 3751729"/>
              <a:gd name="connsiteY381" fmla="*/ 589145 h 1237129"/>
              <a:gd name="connsiteX382" fmla="*/ 1972294 w 3751729"/>
              <a:gd name="connsiteY382" fmla="*/ 589145 h 1237129"/>
              <a:gd name="connsiteX383" fmla="*/ 1969832 w 3751729"/>
              <a:gd name="connsiteY383" fmla="*/ 589145 h 1237129"/>
              <a:gd name="connsiteX384" fmla="*/ 1966632 w 3751729"/>
              <a:gd name="connsiteY384" fmla="*/ 590868 h 1237129"/>
              <a:gd name="connsiteX385" fmla="*/ 1964171 w 3751729"/>
              <a:gd name="connsiteY385" fmla="*/ 579792 h 1237129"/>
              <a:gd name="connsiteX386" fmla="*/ 1969832 w 3751729"/>
              <a:gd name="connsiteY386" fmla="*/ 579053 h 1237129"/>
              <a:gd name="connsiteX387" fmla="*/ 1975740 w 3751729"/>
              <a:gd name="connsiteY387" fmla="*/ 575609 h 1237129"/>
              <a:gd name="connsiteX388" fmla="*/ 1981401 w 3751729"/>
              <a:gd name="connsiteY388" fmla="*/ 574133 h 1237129"/>
              <a:gd name="connsiteX389" fmla="*/ 1865710 w 3751729"/>
              <a:gd name="connsiteY389" fmla="*/ 567240 h 1237129"/>
              <a:gd name="connsiteX390" fmla="*/ 1873341 w 3751729"/>
              <a:gd name="connsiteY390" fmla="*/ 569949 h 1237129"/>
              <a:gd name="connsiteX391" fmla="*/ 1881464 w 3751729"/>
              <a:gd name="connsiteY391" fmla="*/ 573149 h 1237129"/>
              <a:gd name="connsiteX392" fmla="*/ 1891310 w 3751729"/>
              <a:gd name="connsiteY392" fmla="*/ 575609 h 1237129"/>
              <a:gd name="connsiteX393" fmla="*/ 1897218 w 3751729"/>
              <a:gd name="connsiteY393" fmla="*/ 579793 h 1237129"/>
              <a:gd name="connsiteX394" fmla="*/ 1874080 w 3751729"/>
              <a:gd name="connsiteY394" fmla="*/ 579793 h 1237129"/>
              <a:gd name="connsiteX395" fmla="*/ 1871618 w 3751729"/>
              <a:gd name="connsiteY395" fmla="*/ 579053 h 1237129"/>
              <a:gd name="connsiteX396" fmla="*/ 1869895 w 3751729"/>
              <a:gd name="connsiteY396" fmla="*/ 579053 h 1237129"/>
              <a:gd name="connsiteX397" fmla="*/ 1867434 w 3751729"/>
              <a:gd name="connsiteY397" fmla="*/ 577331 h 1237129"/>
              <a:gd name="connsiteX398" fmla="*/ 1861772 w 3751729"/>
              <a:gd name="connsiteY398" fmla="*/ 577331 h 1237129"/>
              <a:gd name="connsiteX399" fmla="*/ 1861772 w 3751729"/>
              <a:gd name="connsiteY399" fmla="*/ 574133 h 1237129"/>
              <a:gd name="connsiteX400" fmla="*/ 1863249 w 3751729"/>
              <a:gd name="connsiteY400" fmla="*/ 573149 h 1237129"/>
              <a:gd name="connsiteX401" fmla="*/ 1864233 w 3751729"/>
              <a:gd name="connsiteY401" fmla="*/ 571425 h 1237129"/>
              <a:gd name="connsiteX402" fmla="*/ 1864233 w 3751729"/>
              <a:gd name="connsiteY402" fmla="*/ 569949 h 1237129"/>
              <a:gd name="connsiteX403" fmla="*/ 1608239 w 3751729"/>
              <a:gd name="connsiteY403" fmla="*/ 510379 h 1237129"/>
              <a:gd name="connsiteX404" fmla="*/ 1627932 w 3751729"/>
              <a:gd name="connsiteY404" fmla="*/ 510379 h 1237129"/>
              <a:gd name="connsiteX405" fmla="*/ 1627932 w 3751729"/>
              <a:gd name="connsiteY405" fmla="*/ 512840 h 1237129"/>
              <a:gd name="connsiteX406" fmla="*/ 1623747 w 3751729"/>
              <a:gd name="connsiteY406" fmla="*/ 514564 h 1237129"/>
              <a:gd name="connsiteX407" fmla="*/ 1622269 w 3751729"/>
              <a:gd name="connsiteY407" fmla="*/ 516041 h 1237129"/>
              <a:gd name="connsiteX408" fmla="*/ 1619561 w 3751729"/>
              <a:gd name="connsiteY408" fmla="*/ 517025 h 1237129"/>
              <a:gd name="connsiteX409" fmla="*/ 1616362 w 3751729"/>
              <a:gd name="connsiteY409" fmla="*/ 518748 h 1237129"/>
              <a:gd name="connsiteX410" fmla="*/ 1612177 w 3751729"/>
              <a:gd name="connsiteY410" fmla="*/ 518748 h 1237129"/>
              <a:gd name="connsiteX411" fmla="*/ 1913957 w 3751729"/>
              <a:gd name="connsiteY411" fmla="*/ 493394 h 1237129"/>
              <a:gd name="connsiteX412" fmla="*/ 1912234 w 3751729"/>
              <a:gd name="connsiteY412" fmla="*/ 495118 h 1237129"/>
              <a:gd name="connsiteX413" fmla="*/ 1910511 w 3751729"/>
              <a:gd name="connsiteY413" fmla="*/ 496840 h 1237129"/>
              <a:gd name="connsiteX414" fmla="*/ 1908787 w 3751729"/>
              <a:gd name="connsiteY414" fmla="*/ 496840 h 1237129"/>
              <a:gd name="connsiteX415" fmla="*/ 1908787 w 3751729"/>
              <a:gd name="connsiteY415" fmla="*/ 498563 h 1237129"/>
              <a:gd name="connsiteX416" fmla="*/ 1908049 w 3751729"/>
              <a:gd name="connsiteY416" fmla="*/ 499302 h 1237129"/>
              <a:gd name="connsiteX417" fmla="*/ 1906819 w 3751729"/>
              <a:gd name="connsiteY417" fmla="*/ 502749 h 1237129"/>
              <a:gd name="connsiteX418" fmla="*/ 1909280 w 3751729"/>
              <a:gd name="connsiteY418" fmla="*/ 502749 h 1237129"/>
              <a:gd name="connsiteX419" fmla="*/ 1914203 w 3751729"/>
              <a:gd name="connsiteY419" fmla="*/ 501025 h 1237129"/>
              <a:gd name="connsiteX420" fmla="*/ 1916665 w 3751729"/>
              <a:gd name="connsiteY420" fmla="*/ 499302 h 1237129"/>
              <a:gd name="connsiteX421" fmla="*/ 1919864 w 3751729"/>
              <a:gd name="connsiteY421" fmla="*/ 498563 h 1237129"/>
              <a:gd name="connsiteX422" fmla="*/ 1922326 w 3751729"/>
              <a:gd name="connsiteY422" fmla="*/ 496840 h 1237129"/>
              <a:gd name="connsiteX423" fmla="*/ 1925526 w 3751729"/>
              <a:gd name="connsiteY423" fmla="*/ 493394 h 1237129"/>
              <a:gd name="connsiteX424" fmla="*/ 1697345 w 3751729"/>
              <a:gd name="connsiteY424" fmla="*/ 493394 h 1237129"/>
              <a:gd name="connsiteX425" fmla="*/ 1701530 w 3751729"/>
              <a:gd name="connsiteY425" fmla="*/ 493394 h 1237129"/>
              <a:gd name="connsiteX426" fmla="*/ 1707192 w 3751729"/>
              <a:gd name="connsiteY426" fmla="*/ 493394 h 1237129"/>
              <a:gd name="connsiteX427" fmla="*/ 1708914 w 3751729"/>
              <a:gd name="connsiteY427" fmla="*/ 506934 h 1237129"/>
              <a:gd name="connsiteX428" fmla="*/ 1710639 w 3751729"/>
              <a:gd name="connsiteY428" fmla="*/ 522933 h 1237129"/>
              <a:gd name="connsiteX429" fmla="*/ 1703008 w 3751729"/>
              <a:gd name="connsiteY429" fmla="*/ 522933 h 1237129"/>
              <a:gd name="connsiteX430" fmla="*/ 1701530 w 3751729"/>
              <a:gd name="connsiteY430" fmla="*/ 524410 h 1237129"/>
              <a:gd name="connsiteX431" fmla="*/ 1699068 w 3751729"/>
              <a:gd name="connsiteY431" fmla="*/ 524410 h 1237129"/>
              <a:gd name="connsiteX432" fmla="*/ 1695621 w 3751729"/>
              <a:gd name="connsiteY432" fmla="*/ 524410 h 1237129"/>
              <a:gd name="connsiteX433" fmla="*/ 1691438 w 3751729"/>
              <a:gd name="connsiteY433" fmla="*/ 526133 h 1237129"/>
              <a:gd name="connsiteX434" fmla="*/ 1689960 w 3751729"/>
              <a:gd name="connsiteY434" fmla="*/ 514564 h 1237129"/>
              <a:gd name="connsiteX435" fmla="*/ 1689960 w 3751729"/>
              <a:gd name="connsiteY435" fmla="*/ 502749 h 1237129"/>
              <a:gd name="connsiteX436" fmla="*/ 1691438 w 3751729"/>
              <a:gd name="connsiteY436" fmla="*/ 496840 h 1237129"/>
              <a:gd name="connsiteX437" fmla="*/ 1693899 w 3751729"/>
              <a:gd name="connsiteY437" fmla="*/ 495118 h 1237129"/>
              <a:gd name="connsiteX438" fmla="*/ 1699807 w 3751729"/>
              <a:gd name="connsiteY438" fmla="*/ 464841 h 1237129"/>
              <a:gd name="connsiteX439" fmla="*/ 1707192 w 3751729"/>
              <a:gd name="connsiteY439" fmla="*/ 464841 h 1237129"/>
              <a:gd name="connsiteX440" fmla="*/ 1705468 w 3751729"/>
              <a:gd name="connsiteY440" fmla="*/ 470750 h 1237129"/>
              <a:gd name="connsiteX441" fmla="*/ 1705468 w 3751729"/>
              <a:gd name="connsiteY441" fmla="*/ 474934 h 1237129"/>
              <a:gd name="connsiteX442" fmla="*/ 1705468 w 3751729"/>
              <a:gd name="connsiteY442" fmla="*/ 479119 h 1237129"/>
              <a:gd name="connsiteX443" fmla="*/ 1704729 w 3751729"/>
              <a:gd name="connsiteY443" fmla="*/ 482565 h 1237129"/>
              <a:gd name="connsiteX444" fmla="*/ 1703007 w 3751729"/>
              <a:gd name="connsiteY444" fmla="*/ 486750 h 1237129"/>
              <a:gd name="connsiteX445" fmla="*/ 1697345 w 3751729"/>
              <a:gd name="connsiteY445" fmla="*/ 486750 h 1237129"/>
              <a:gd name="connsiteX446" fmla="*/ 1697345 w 3751729"/>
              <a:gd name="connsiteY446" fmla="*/ 480841 h 1237129"/>
              <a:gd name="connsiteX447" fmla="*/ 1699068 w 3751729"/>
              <a:gd name="connsiteY447" fmla="*/ 474934 h 1237129"/>
              <a:gd name="connsiteX448" fmla="*/ 1699068 w 3751729"/>
              <a:gd name="connsiteY448" fmla="*/ 469272 h 1237129"/>
              <a:gd name="connsiteX449" fmla="*/ 757274 w 3751729"/>
              <a:gd name="connsiteY449" fmla="*/ 424736 h 1237129"/>
              <a:gd name="connsiteX450" fmla="*/ 755814 w 3751729"/>
              <a:gd name="connsiteY450" fmla="*/ 426195 h 1237129"/>
              <a:gd name="connsiteX451" fmla="*/ 754104 w 3751729"/>
              <a:gd name="connsiteY451" fmla="*/ 427905 h 1237129"/>
              <a:gd name="connsiteX452" fmla="*/ 755812 w 3751729"/>
              <a:gd name="connsiteY452" fmla="*/ 426441 h 1237129"/>
              <a:gd name="connsiteX453" fmla="*/ 3219548 w 3751729"/>
              <a:gd name="connsiteY453" fmla="*/ 424717 h 1237129"/>
              <a:gd name="connsiteX454" fmla="*/ 3226933 w 3751729"/>
              <a:gd name="connsiteY454" fmla="*/ 435548 h 1237129"/>
              <a:gd name="connsiteX455" fmla="*/ 3233579 w 3751729"/>
              <a:gd name="connsiteY455" fmla="*/ 441455 h 1237129"/>
              <a:gd name="connsiteX456" fmla="*/ 3242687 w 3751729"/>
              <a:gd name="connsiteY456" fmla="*/ 443917 h 1237129"/>
              <a:gd name="connsiteX457" fmla="*/ 3248595 w 3751729"/>
              <a:gd name="connsiteY457" fmla="*/ 447363 h 1237129"/>
              <a:gd name="connsiteX458" fmla="*/ 3254257 w 3751729"/>
              <a:gd name="connsiteY458" fmla="*/ 451548 h 1237129"/>
              <a:gd name="connsiteX459" fmla="*/ 3255979 w 3751729"/>
              <a:gd name="connsiteY459" fmla="*/ 454009 h 1237129"/>
              <a:gd name="connsiteX460" fmla="*/ 3256717 w 3751729"/>
              <a:gd name="connsiteY460" fmla="*/ 457455 h 1237129"/>
              <a:gd name="connsiteX461" fmla="*/ 3256717 w 3751729"/>
              <a:gd name="connsiteY461" fmla="*/ 459917 h 1237129"/>
              <a:gd name="connsiteX462" fmla="*/ 3256717 w 3751729"/>
              <a:gd name="connsiteY462" fmla="*/ 464840 h 1237129"/>
              <a:gd name="connsiteX463" fmla="*/ 3246871 w 3751729"/>
              <a:gd name="connsiteY463" fmla="*/ 467548 h 1237129"/>
              <a:gd name="connsiteX464" fmla="*/ 3239487 w 3751729"/>
              <a:gd name="connsiteY464" fmla="*/ 473455 h 1237129"/>
              <a:gd name="connsiteX465" fmla="*/ 3233579 w 3751729"/>
              <a:gd name="connsiteY465" fmla="*/ 479117 h 1237129"/>
              <a:gd name="connsiteX466" fmla="*/ 3225457 w 3751729"/>
              <a:gd name="connsiteY466" fmla="*/ 483301 h 1237129"/>
              <a:gd name="connsiteX467" fmla="*/ 3222010 w 3751729"/>
              <a:gd name="connsiteY467" fmla="*/ 479117 h 1237129"/>
              <a:gd name="connsiteX468" fmla="*/ 3219548 w 3751729"/>
              <a:gd name="connsiteY468" fmla="*/ 477639 h 1237129"/>
              <a:gd name="connsiteX469" fmla="*/ 3217087 w 3751729"/>
              <a:gd name="connsiteY469" fmla="*/ 476655 h 1237129"/>
              <a:gd name="connsiteX470" fmla="*/ 3213887 w 3751729"/>
              <a:gd name="connsiteY470" fmla="*/ 477639 h 1237129"/>
              <a:gd name="connsiteX471" fmla="*/ 3211426 w 3751729"/>
              <a:gd name="connsiteY471" fmla="*/ 479117 h 1237129"/>
              <a:gd name="connsiteX472" fmla="*/ 3209702 w 3751729"/>
              <a:gd name="connsiteY472" fmla="*/ 482563 h 1237129"/>
              <a:gd name="connsiteX473" fmla="*/ 3206502 w 3751729"/>
              <a:gd name="connsiteY473" fmla="*/ 483301 h 1237129"/>
              <a:gd name="connsiteX474" fmla="*/ 3211426 w 3751729"/>
              <a:gd name="connsiteY474" fmla="*/ 501024 h 1237129"/>
              <a:gd name="connsiteX475" fmla="*/ 3212164 w 3751729"/>
              <a:gd name="connsiteY475" fmla="*/ 514563 h 1237129"/>
              <a:gd name="connsiteX476" fmla="*/ 3212164 w 3751729"/>
              <a:gd name="connsiteY476" fmla="*/ 524409 h 1237129"/>
              <a:gd name="connsiteX477" fmla="*/ 3211426 w 3751729"/>
              <a:gd name="connsiteY477" fmla="*/ 534501 h 1237129"/>
              <a:gd name="connsiteX478" fmla="*/ 3207980 w 3751729"/>
              <a:gd name="connsiteY478" fmla="*/ 545578 h 1237129"/>
              <a:gd name="connsiteX479" fmla="*/ 3205518 w 3751729"/>
              <a:gd name="connsiteY479" fmla="*/ 559855 h 1237129"/>
              <a:gd name="connsiteX480" fmla="*/ 3203795 w 3751729"/>
              <a:gd name="connsiteY480" fmla="*/ 577330 h 1237129"/>
              <a:gd name="connsiteX481" fmla="*/ 3184841 w 3751729"/>
              <a:gd name="connsiteY481" fmla="*/ 587423 h 1237129"/>
              <a:gd name="connsiteX482" fmla="*/ 3163425 w 3751729"/>
              <a:gd name="connsiteY482" fmla="*/ 597515 h 1237129"/>
              <a:gd name="connsiteX483" fmla="*/ 3142749 w 3751729"/>
              <a:gd name="connsiteY483" fmla="*/ 606868 h 1237129"/>
              <a:gd name="connsiteX484" fmla="*/ 3138564 w 3751729"/>
              <a:gd name="connsiteY484" fmla="*/ 599238 h 1237129"/>
              <a:gd name="connsiteX485" fmla="*/ 3134625 w 3751729"/>
              <a:gd name="connsiteY485" fmla="*/ 593330 h 1237129"/>
              <a:gd name="connsiteX486" fmla="*/ 3132903 w 3751729"/>
              <a:gd name="connsiteY486" fmla="*/ 599238 h 1237129"/>
              <a:gd name="connsiteX487" fmla="*/ 3132903 w 3751729"/>
              <a:gd name="connsiteY487" fmla="*/ 602684 h 1237129"/>
              <a:gd name="connsiteX488" fmla="*/ 3132165 w 3751729"/>
              <a:gd name="connsiteY488" fmla="*/ 606868 h 1237129"/>
              <a:gd name="connsiteX489" fmla="*/ 3130441 w 3751729"/>
              <a:gd name="connsiteY489" fmla="*/ 609330 h 1237129"/>
              <a:gd name="connsiteX490" fmla="*/ 3126257 w 3751729"/>
              <a:gd name="connsiteY490" fmla="*/ 609330 h 1237129"/>
              <a:gd name="connsiteX491" fmla="*/ 3123056 w 3751729"/>
              <a:gd name="connsiteY491" fmla="*/ 609330 h 1237129"/>
              <a:gd name="connsiteX492" fmla="*/ 3121333 w 3751729"/>
              <a:gd name="connsiteY492" fmla="*/ 611053 h 1237129"/>
              <a:gd name="connsiteX493" fmla="*/ 3120595 w 3751729"/>
              <a:gd name="connsiteY493" fmla="*/ 611053 h 1237129"/>
              <a:gd name="connsiteX494" fmla="*/ 3118873 w 3751729"/>
              <a:gd name="connsiteY494" fmla="*/ 612530 h 1237129"/>
              <a:gd name="connsiteX495" fmla="*/ 3117149 w 3751729"/>
              <a:gd name="connsiteY495" fmla="*/ 614253 h 1237129"/>
              <a:gd name="connsiteX496" fmla="*/ 3112964 w 3751729"/>
              <a:gd name="connsiteY496" fmla="*/ 614253 h 1237129"/>
              <a:gd name="connsiteX497" fmla="*/ 3109026 w 3751729"/>
              <a:gd name="connsiteY497" fmla="*/ 615238 h 1237129"/>
              <a:gd name="connsiteX498" fmla="*/ 3107303 w 3751729"/>
              <a:gd name="connsiteY498" fmla="*/ 612530 h 1237129"/>
              <a:gd name="connsiteX499" fmla="*/ 3107303 w 3751729"/>
              <a:gd name="connsiteY499" fmla="*/ 608346 h 1237129"/>
              <a:gd name="connsiteX500" fmla="*/ 3107303 w 3751729"/>
              <a:gd name="connsiteY500" fmla="*/ 606868 h 1237129"/>
              <a:gd name="connsiteX501" fmla="*/ 3107303 w 3751729"/>
              <a:gd name="connsiteY501" fmla="*/ 603422 h 1237129"/>
              <a:gd name="connsiteX502" fmla="*/ 3107303 w 3751729"/>
              <a:gd name="connsiteY502" fmla="*/ 602684 h 1237129"/>
              <a:gd name="connsiteX503" fmla="*/ 3103856 w 3751729"/>
              <a:gd name="connsiteY503" fmla="*/ 602684 h 1237129"/>
              <a:gd name="connsiteX504" fmla="*/ 3101395 w 3751729"/>
              <a:gd name="connsiteY504" fmla="*/ 600961 h 1237129"/>
              <a:gd name="connsiteX505" fmla="*/ 3095734 w 3751729"/>
              <a:gd name="connsiteY505" fmla="*/ 599238 h 1237129"/>
              <a:gd name="connsiteX506" fmla="*/ 3095734 w 3751729"/>
              <a:gd name="connsiteY506" fmla="*/ 602684 h 1237129"/>
              <a:gd name="connsiteX507" fmla="*/ 3098194 w 3751729"/>
              <a:gd name="connsiteY507" fmla="*/ 606868 h 1237129"/>
              <a:gd name="connsiteX508" fmla="*/ 3101395 w 3751729"/>
              <a:gd name="connsiteY508" fmla="*/ 608346 h 1237129"/>
              <a:gd name="connsiteX509" fmla="*/ 3101395 w 3751729"/>
              <a:gd name="connsiteY509" fmla="*/ 611053 h 1237129"/>
              <a:gd name="connsiteX510" fmla="*/ 3101395 w 3751729"/>
              <a:gd name="connsiteY510" fmla="*/ 615238 h 1237129"/>
              <a:gd name="connsiteX511" fmla="*/ 3103118 w 3751729"/>
              <a:gd name="connsiteY511" fmla="*/ 622623 h 1237129"/>
              <a:gd name="connsiteX512" fmla="*/ 3098194 w 3751729"/>
              <a:gd name="connsiteY512" fmla="*/ 626807 h 1237129"/>
              <a:gd name="connsiteX513" fmla="*/ 3095734 w 3751729"/>
              <a:gd name="connsiteY513" fmla="*/ 632715 h 1237129"/>
              <a:gd name="connsiteX514" fmla="*/ 3092288 w 3751729"/>
              <a:gd name="connsiteY514" fmla="*/ 638621 h 1237129"/>
              <a:gd name="connsiteX515" fmla="*/ 3082442 w 3751729"/>
              <a:gd name="connsiteY515" fmla="*/ 638621 h 1237129"/>
              <a:gd name="connsiteX516" fmla="*/ 3080964 w 3751729"/>
              <a:gd name="connsiteY516" fmla="*/ 626807 h 1237129"/>
              <a:gd name="connsiteX517" fmla="*/ 3079980 w 3751729"/>
              <a:gd name="connsiteY517" fmla="*/ 620899 h 1237129"/>
              <a:gd name="connsiteX518" fmla="*/ 3076779 w 3751729"/>
              <a:gd name="connsiteY518" fmla="*/ 615238 h 1237129"/>
              <a:gd name="connsiteX519" fmla="*/ 3074318 w 3751729"/>
              <a:gd name="connsiteY519" fmla="*/ 606868 h 1237129"/>
              <a:gd name="connsiteX520" fmla="*/ 3082442 w 3751729"/>
              <a:gd name="connsiteY520" fmla="*/ 606868 h 1237129"/>
              <a:gd name="connsiteX521" fmla="*/ 3092288 w 3751729"/>
              <a:gd name="connsiteY521" fmla="*/ 593330 h 1237129"/>
              <a:gd name="connsiteX522" fmla="*/ 3105579 w 3751729"/>
              <a:gd name="connsiteY522" fmla="*/ 581515 h 1237129"/>
              <a:gd name="connsiteX523" fmla="*/ 3121333 w 3751729"/>
              <a:gd name="connsiteY523" fmla="*/ 574132 h 1237129"/>
              <a:gd name="connsiteX524" fmla="*/ 3126994 w 3751729"/>
              <a:gd name="connsiteY524" fmla="*/ 573148 h 1237129"/>
              <a:gd name="connsiteX525" fmla="*/ 3132903 w 3751729"/>
              <a:gd name="connsiteY525" fmla="*/ 573148 h 1237129"/>
              <a:gd name="connsiteX526" fmla="*/ 3137825 w 3751729"/>
              <a:gd name="connsiteY526" fmla="*/ 574132 h 1237129"/>
              <a:gd name="connsiteX527" fmla="*/ 3140288 w 3751729"/>
              <a:gd name="connsiteY527" fmla="*/ 574132 h 1237129"/>
              <a:gd name="connsiteX528" fmla="*/ 3142749 w 3751729"/>
              <a:gd name="connsiteY528" fmla="*/ 574132 h 1237129"/>
              <a:gd name="connsiteX529" fmla="*/ 3146195 w 3751729"/>
              <a:gd name="connsiteY529" fmla="*/ 569947 h 1237129"/>
              <a:gd name="connsiteX530" fmla="*/ 3148656 w 3751729"/>
              <a:gd name="connsiteY530" fmla="*/ 565763 h 1237129"/>
              <a:gd name="connsiteX531" fmla="*/ 3150133 w 3751729"/>
              <a:gd name="connsiteY531" fmla="*/ 561331 h 1237129"/>
              <a:gd name="connsiteX532" fmla="*/ 3151856 w 3751729"/>
              <a:gd name="connsiteY532" fmla="*/ 558132 h 1237129"/>
              <a:gd name="connsiteX533" fmla="*/ 3154318 w 3751729"/>
              <a:gd name="connsiteY533" fmla="*/ 553947 h 1237129"/>
              <a:gd name="connsiteX534" fmla="*/ 3159241 w 3751729"/>
              <a:gd name="connsiteY534" fmla="*/ 551486 h 1237129"/>
              <a:gd name="connsiteX535" fmla="*/ 3160226 w 3751729"/>
              <a:gd name="connsiteY535" fmla="*/ 553947 h 1237129"/>
              <a:gd name="connsiteX536" fmla="*/ 3161703 w 3751729"/>
              <a:gd name="connsiteY536" fmla="*/ 555671 h 1237129"/>
              <a:gd name="connsiteX537" fmla="*/ 3163425 w 3751729"/>
              <a:gd name="connsiteY537" fmla="*/ 555671 h 1237129"/>
              <a:gd name="connsiteX538" fmla="*/ 3165150 w 3751729"/>
              <a:gd name="connsiteY538" fmla="*/ 555671 h 1237129"/>
              <a:gd name="connsiteX539" fmla="*/ 3165887 w 3751729"/>
              <a:gd name="connsiteY539" fmla="*/ 553947 h 1237129"/>
              <a:gd name="connsiteX540" fmla="*/ 3177456 w 3751729"/>
              <a:gd name="connsiteY540" fmla="*/ 543855 h 1237129"/>
              <a:gd name="connsiteX541" fmla="*/ 3184841 w 3751729"/>
              <a:gd name="connsiteY541" fmla="*/ 534501 h 1237129"/>
              <a:gd name="connsiteX542" fmla="*/ 3188288 w 3751729"/>
              <a:gd name="connsiteY542" fmla="*/ 524409 h 1237129"/>
              <a:gd name="connsiteX543" fmla="*/ 3190748 w 3751729"/>
              <a:gd name="connsiteY543" fmla="*/ 512840 h 1237129"/>
              <a:gd name="connsiteX544" fmla="*/ 3194933 w 3751729"/>
              <a:gd name="connsiteY544" fmla="*/ 502747 h 1237129"/>
              <a:gd name="connsiteX545" fmla="*/ 3203795 w 3751729"/>
              <a:gd name="connsiteY545" fmla="*/ 489209 h 1237129"/>
              <a:gd name="connsiteX546" fmla="*/ 3198133 w 3751729"/>
              <a:gd name="connsiteY546" fmla="*/ 489209 h 1237129"/>
              <a:gd name="connsiteX547" fmla="*/ 3193949 w 3751729"/>
              <a:gd name="connsiteY547" fmla="*/ 486747 h 1237129"/>
              <a:gd name="connsiteX548" fmla="*/ 3192472 w 3751729"/>
              <a:gd name="connsiteY548" fmla="*/ 483301 h 1237129"/>
              <a:gd name="connsiteX549" fmla="*/ 3190748 w 3751729"/>
              <a:gd name="connsiteY549" fmla="*/ 480841 h 1237129"/>
              <a:gd name="connsiteX550" fmla="*/ 3190748 w 3751729"/>
              <a:gd name="connsiteY550" fmla="*/ 474932 h 1237129"/>
              <a:gd name="connsiteX551" fmla="*/ 3190748 w 3751729"/>
              <a:gd name="connsiteY551" fmla="*/ 467548 h 1237129"/>
              <a:gd name="connsiteX552" fmla="*/ 3192472 w 3751729"/>
              <a:gd name="connsiteY552" fmla="*/ 465824 h 1237129"/>
              <a:gd name="connsiteX553" fmla="*/ 3193949 w 3751729"/>
              <a:gd name="connsiteY553" fmla="*/ 464840 h 1237129"/>
              <a:gd name="connsiteX554" fmla="*/ 3193949 w 3751729"/>
              <a:gd name="connsiteY554" fmla="*/ 463363 h 1237129"/>
              <a:gd name="connsiteX555" fmla="*/ 3193949 w 3751729"/>
              <a:gd name="connsiteY555" fmla="*/ 461640 h 1237129"/>
              <a:gd name="connsiteX556" fmla="*/ 3199856 w 3751729"/>
              <a:gd name="connsiteY556" fmla="*/ 459917 h 1237129"/>
              <a:gd name="connsiteX557" fmla="*/ 3203795 w 3751729"/>
              <a:gd name="connsiteY557" fmla="*/ 459917 h 1237129"/>
              <a:gd name="connsiteX558" fmla="*/ 3206502 w 3751729"/>
              <a:gd name="connsiteY558" fmla="*/ 459178 h 1237129"/>
              <a:gd name="connsiteX559" fmla="*/ 3209702 w 3751729"/>
              <a:gd name="connsiteY559" fmla="*/ 459178 h 1237129"/>
              <a:gd name="connsiteX560" fmla="*/ 3209702 w 3751729"/>
              <a:gd name="connsiteY560" fmla="*/ 443917 h 1237129"/>
              <a:gd name="connsiteX561" fmla="*/ 3212164 w 3751729"/>
              <a:gd name="connsiteY561" fmla="*/ 432348 h 1237129"/>
              <a:gd name="connsiteX562" fmla="*/ 763197 w 3751729"/>
              <a:gd name="connsiteY562" fmla="*/ 422258 h 1237129"/>
              <a:gd name="connsiteX563" fmla="*/ 761474 w 3751729"/>
              <a:gd name="connsiteY563" fmla="*/ 423733 h 1237129"/>
              <a:gd name="connsiteX564" fmla="*/ 759751 w 3751729"/>
              <a:gd name="connsiteY564" fmla="*/ 426442 h 1237129"/>
              <a:gd name="connsiteX565" fmla="*/ 759751 w 3751729"/>
              <a:gd name="connsiteY565" fmla="*/ 427918 h 1237129"/>
              <a:gd name="connsiteX566" fmla="*/ 759071 w 3751729"/>
              <a:gd name="connsiteY566" fmla="*/ 432000 h 1237129"/>
              <a:gd name="connsiteX567" fmla="*/ 759260 w 3751729"/>
              <a:gd name="connsiteY567" fmla="*/ 432103 h 1237129"/>
              <a:gd name="connsiteX568" fmla="*/ 759999 w 3751729"/>
              <a:gd name="connsiteY568" fmla="*/ 427918 h 1237129"/>
              <a:gd name="connsiteX569" fmla="*/ 759999 w 3751729"/>
              <a:gd name="connsiteY569" fmla="*/ 426195 h 1237129"/>
              <a:gd name="connsiteX570" fmla="*/ 761721 w 3751729"/>
              <a:gd name="connsiteY570" fmla="*/ 423733 h 1237129"/>
              <a:gd name="connsiteX571" fmla="*/ 1749281 w 3751729"/>
              <a:gd name="connsiteY571" fmla="*/ 422010 h 1237129"/>
              <a:gd name="connsiteX572" fmla="*/ 1748542 w 3751729"/>
              <a:gd name="connsiteY572" fmla="*/ 423733 h 1237129"/>
              <a:gd name="connsiteX573" fmla="*/ 1746819 w 3751729"/>
              <a:gd name="connsiteY573" fmla="*/ 423733 h 1237129"/>
              <a:gd name="connsiteX574" fmla="*/ 1745097 w 3751729"/>
              <a:gd name="connsiteY574" fmla="*/ 423733 h 1237129"/>
              <a:gd name="connsiteX575" fmla="*/ 1745097 w 3751729"/>
              <a:gd name="connsiteY575" fmla="*/ 424472 h 1237129"/>
              <a:gd name="connsiteX576" fmla="*/ 1743373 w 3751729"/>
              <a:gd name="connsiteY576" fmla="*/ 424472 h 1237129"/>
              <a:gd name="connsiteX577" fmla="*/ 1740911 w 3751729"/>
              <a:gd name="connsiteY577" fmla="*/ 427918 h 1237129"/>
              <a:gd name="connsiteX578" fmla="*/ 1737711 w 3751729"/>
              <a:gd name="connsiteY578" fmla="*/ 429640 h 1237129"/>
              <a:gd name="connsiteX579" fmla="*/ 1737711 w 3751729"/>
              <a:gd name="connsiteY579" fmla="*/ 430379 h 1237129"/>
              <a:gd name="connsiteX580" fmla="*/ 1737711 w 3751729"/>
              <a:gd name="connsiteY580" fmla="*/ 433825 h 1237129"/>
              <a:gd name="connsiteX581" fmla="*/ 1737711 w 3751729"/>
              <a:gd name="connsiteY581" fmla="*/ 436286 h 1237129"/>
              <a:gd name="connsiteX582" fmla="*/ 1737711 w 3751729"/>
              <a:gd name="connsiteY582" fmla="*/ 441210 h 1237129"/>
              <a:gd name="connsiteX583" fmla="*/ 1749281 w 3751729"/>
              <a:gd name="connsiteY583" fmla="*/ 453026 h 1237129"/>
              <a:gd name="connsiteX584" fmla="*/ 1760112 w 3751729"/>
              <a:gd name="connsiteY584" fmla="*/ 465578 h 1237129"/>
              <a:gd name="connsiteX585" fmla="*/ 1769958 w 3751729"/>
              <a:gd name="connsiteY585" fmla="*/ 480595 h 1237129"/>
              <a:gd name="connsiteX586" fmla="*/ 1781527 w 3751729"/>
              <a:gd name="connsiteY586" fmla="*/ 480595 h 1237129"/>
              <a:gd name="connsiteX587" fmla="*/ 1781527 w 3751729"/>
              <a:gd name="connsiteY587" fmla="*/ 488964 h 1237129"/>
              <a:gd name="connsiteX588" fmla="*/ 1793096 w 3751729"/>
              <a:gd name="connsiteY588" fmla="*/ 493147 h 1237129"/>
              <a:gd name="connsiteX589" fmla="*/ 1801465 w 3751729"/>
              <a:gd name="connsiteY589" fmla="*/ 499056 h 1237129"/>
              <a:gd name="connsiteX590" fmla="*/ 1810572 w 3751729"/>
              <a:gd name="connsiteY590" fmla="*/ 506687 h 1237129"/>
              <a:gd name="connsiteX591" fmla="*/ 1810572 w 3751729"/>
              <a:gd name="connsiteY591" fmla="*/ 510133 h 1237129"/>
              <a:gd name="connsiteX592" fmla="*/ 1807373 w 3751729"/>
              <a:gd name="connsiteY592" fmla="*/ 510133 h 1237129"/>
              <a:gd name="connsiteX593" fmla="*/ 1804911 w 3751729"/>
              <a:gd name="connsiteY593" fmla="*/ 510133 h 1237129"/>
              <a:gd name="connsiteX594" fmla="*/ 1801711 w 3751729"/>
              <a:gd name="connsiteY594" fmla="*/ 510133 h 1237129"/>
              <a:gd name="connsiteX595" fmla="*/ 1799988 w 3751729"/>
              <a:gd name="connsiteY595" fmla="*/ 510133 h 1237129"/>
              <a:gd name="connsiteX596" fmla="*/ 1797527 w 3751729"/>
              <a:gd name="connsiteY596" fmla="*/ 508409 h 1237129"/>
              <a:gd name="connsiteX597" fmla="*/ 1793342 w 3751729"/>
              <a:gd name="connsiteY597" fmla="*/ 506687 h 1237129"/>
              <a:gd name="connsiteX598" fmla="*/ 1789158 w 3751729"/>
              <a:gd name="connsiteY598" fmla="*/ 506687 h 1237129"/>
              <a:gd name="connsiteX599" fmla="*/ 1789158 w 3751729"/>
              <a:gd name="connsiteY599" fmla="*/ 510871 h 1237129"/>
              <a:gd name="connsiteX600" fmla="*/ 1789896 w 3751729"/>
              <a:gd name="connsiteY600" fmla="*/ 514317 h 1237129"/>
              <a:gd name="connsiteX601" fmla="*/ 1791619 w 3751729"/>
              <a:gd name="connsiteY601" fmla="*/ 516779 h 1237129"/>
              <a:gd name="connsiteX602" fmla="*/ 1791619 w 3751729"/>
              <a:gd name="connsiteY602" fmla="*/ 518501 h 1237129"/>
              <a:gd name="connsiteX603" fmla="*/ 1793342 w 3751729"/>
              <a:gd name="connsiteY603" fmla="*/ 521947 h 1237129"/>
              <a:gd name="connsiteX604" fmla="*/ 1794081 w 3751729"/>
              <a:gd name="connsiteY604" fmla="*/ 526132 h 1237129"/>
              <a:gd name="connsiteX605" fmla="*/ 1789896 w 3751729"/>
              <a:gd name="connsiteY605" fmla="*/ 528594 h 1237129"/>
              <a:gd name="connsiteX606" fmla="*/ 1787435 w 3751729"/>
              <a:gd name="connsiteY606" fmla="*/ 532040 h 1237129"/>
              <a:gd name="connsiteX607" fmla="*/ 1784235 w 3751729"/>
              <a:gd name="connsiteY607" fmla="*/ 536224 h 1237129"/>
              <a:gd name="connsiteX608" fmla="*/ 1781773 w 3751729"/>
              <a:gd name="connsiteY608" fmla="*/ 542133 h 1237129"/>
              <a:gd name="connsiteX609" fmla="*/ 1772666 w 3751729"/>
              <a:gd name="connsiteY609" fmla="*/ 542133 h 1237129"/>
              <a:gd name="connsiteX610" fmla="*/ 1772666 w 3751729"/>
              <a:gd name="connsiteY610" fmla="*/ 561578 h 1237129"/>
              <a:gd name="connsiteX611" fmla="*/ 1766020 w 3751729"/>
              <a:gd name="connsiteY611" fmla="*/ 561578 h 1237129"/>
              <a:gd name="connsiteX612" fmla="*/ 1758634 w 3751729"/>
              <a:gd name="connsiteY612" fmla="*/ 555672 h 1237129"/>
              <a:gd name="connsiteX613" fmla="*/ 1749528 w 3751729"/>
              <a:gd name="connsiteY613" fmla="*/ 552225 h 1237129"/>
              <a:gd name="connsiteX614" fmla="*/ 1742882 w 3751729"/>
              <a:gd name="connsiteY614" fmla="*/ 548040 h 1237129"/>
              <a:gd name="connsiteX615" fmla="*/ 1737958 w 3751729"/>
              <a:gd name="connsiteY615" fmla="*/ 537948 h 1237129"/>
              <a:gd name="connsiteX616" fmla="*/ 1749528 w 3751729"/>
              <a:gd name="connsiteY616" fmla="*/ 539671 h 1237129"/>
              <a:gd name="connsiteX617" fmla="*/ 1761096 w 3751729"/>
              <a:gd name="connsiteY617" fmla="*/ 537948 h 1237129"/>
              <a:gd name="connsiteX618" fmla="*/ 1770204 w 3751729"/>
              <a:gd name="connsiteY618" fmla="*/ 534502 h 1237129"/>
              <a:gd name="connsiteX619" fmla="*/ 1775866 w 3751729"/>
              <a:gd name="connsiteY619" fmla="*/ 528594 h 1237129"/>
              <a:gd name="connsiteX620" fmla="*/ 1777589 w 3751729"/>
              <a:gd name="connsiteY620" fmla="*/ 527856 h 1237129"/>
              <a:gd name="connsiteX621" fmla="*/ 1777589 w 3751729"/>
              <a:gd name="connsiteY621" fmla="*/ 526132 h 1237129"/>
              <a:gd name="connsiteX622" fmla="*/ 1778326 w 3751729"/>
              <a:gd name="connsiteY622" fmla="*/ 524410 h 1237129"/>
              <a:gd name="connsiteX623" fmla="*/ 1778326 w 3751729"/>
              <a:gd name="connsiteY623" fmla="*/ 521947 h 1237129"/>
              <a:gd name="connsiteX624" fmla="*/ 1778326 w 3751729"/>
              <a:gd name="connsiteY624" fmla="*/ 518501 h 1237129"/>
              <a:gd name="connsiteX625" fmla="*/ 1756912 w 3751729"/>
              <a:gd name="connsiteY625" fmla="*/ 502502 h 1237129"/>
              <a:gd name="connsiteX626" fmla="*/ 1733773 w 3751729"/>
              <a:gd name="connsiteY626" fmla="*/ 486501 h 1237129"/>
              <a:gd name="connsiteX627" fmla="*/ 1726389 w 3751729"/>
              <a:gd name="connsiteY627" fmla="*/ 477394 h 1237129"/>
              <a:gd name="connsiteX628" fmla="*/ 1719745 w 3751729"/>
              <a:gd name="connsiteY628" fmla="*/ 469025 h 1237129"/>
              <a:gd name="connsiteX629" fmla="*/ 1714084 w 3751729"/>
              <a:gd name="connsiteY629" fmla="*/ 458932 h 1237129"/>
              <a:gd name="connsiteX630" fmla="*/ 1704976 w 3751729"/>
              <a:gd name="connsiteY630" fmla="*/ 449826 h 1237129"/>
              <a:gd name="connsiteX631" fmla="*/ 1693406 w 3751729"/>
              <a:gd name="connsiteY631" fmla="*/ 445640 h 1237129"/>
              <a:gd name="connsiteX632" fmla="*/ 1683560 w 3751729"/>
              <a:gd name="connsiteY632" fmla="*/ 454009 h 1237129"/>
              <a:gd name="connsiteX633" fmla="*/ 1670268 w 3751729"/>
              <a:gd name="connsiteY633" fmla="*/ 461640 h 1237129"/>
              <a:gd name="connsiteX634" fmla="*/ 1654516 w 3751729"/>
              <a:gd name="connsiteY634" fmla="*/ 465086 h 1237129"/>
              <a:gd name="connsiteX635" fmla="*/ 1652792 w 3751729"/>
              <a:gd name="connsiteY635" fmla="*/ 461640 h 1237129"/>
              <a:gd name="connsiteX636" fmla="*/ 1652053 w 3751729"/>
              <a:gd name="connsiteY636" fmla="*/ 459179 h 1237129"/>
              <a:gd name="connsiteX637" fmla="*/ 1650330 w 3751729"/>
              <a:gd name="connsiteY637" fmla="*/ 457456 h 1237129"/>
              <a:gd name="connsiteX638" fmla="*/ 1647130 w 3751729"/>
              <a:gd name="connsiteY638" fmla="*/ 457456 h 1237129"/>
              <a:gd name="connsiteX639" fmla="*/ 1646392 w 3751729"/>
              <a:gd name="connsiteY639" fmla="*/ 457456 h 1237129"/>
              <a:gd name="connsiteX640" fmla="*/ 1643191 w 3751729"/>
              <a:gd name="connsiteY640" fmla="*/ 459179 h 1237129"/>
              <a:gd name="connsiteX641" fmla="*/ 1635808 w 3751729"/>
              <a:gd name="connsiteY641" fmla="*/ 465086 h 1237129"/>
              <a:gd name="connsiteX642" fmla="*/ 1633346 w 3751729"/>
              <a:gd name="connsiteY642" fmla="*/ 473456 h 1237129"/>
              <a:gd name="connsiteX643" fmla="*/ 1631622 w 3751729"/>
              <a:gd name="connsiteY643" fmla="*/ 482563 h 1237129"/>
              <a:gd name="connsiteX644" fmla="*/ 1627438 w 3751729"/>
              <a:gd name="connsiteY644" fmla="*/ 489210 h 1237129"/>
              <a:gd name="connsiteX645" fmla="*/ 1611685 w 3751729"/>
              <a:gd name="connsiteY645" fmla="*/ 489210 h 1237129"/>
              <a:gd name="connsiteX646" fmla="*/ 1606024 w 3751729"/>
              <a:gd name="connsiteY646" fmla="*/ 496840 h 1237129"/>
              <a:gd name="connsiteX647" fmla="*/ 1601838 w 3751729"/>
              <a:gd name="connsiteY647" fmla="*/ 505209 h 1237129"/>
              <a:gd name="connsiteX648" fmla="*/ 1598638 w 3751729"/>
              <a:gd name="connsiteY648" fmla="*/ 516041 h 1237129"/>
              <a:gd name="connsiteX649" fmla="*/ 1596915 w 3751729"/>
              <a:gd name="connsiteY649" fmla="*/ 516779 h 1237129"/>
              <a:gd name="connsiteX650" fmla="*/ 1596915 w 3751729"/>
              <a:gd name="connsiteY650" fmla="*/ 520225 h 1237129"/>
              <a:gd name="connsiteX651" fmla="*/ 1598638 w 3751729"/>
              <a:gd name="connsiteY651" fmla="*/ 521947 h 1237129"/>
              <a:gd name="connsiteX652" fmla="*/ 1600362 w 3751729"/>
              <a:gd name="connsiteY652" fmla="*/ 522686 h 1237129"/>
              <a:gd name="connsiteX653" fmla="*/ 1602823 w 3751729"/>
              <a:gd name="connsiteY653" fmla="*/ 526132 h 1237129"/>
              <a:gd name="connsiteX654" fmla="*/ 1604546 w 3751729"/>
              <a:gd name="connsiteY654" fmla="*/ 528594 h 1237129"/>
              <a:gd name="connsiteX655" fmla="*/ 1600362 w 3751729"/>
              <a:gd name="connsiteY655" fmla="*/ 528594 h 1237129"/>
              <a:gd name="connsiteX656" fmla="*/ 1598638 w 3751729"/>
              <a:gd name="connsiteY656" fmla="*/ 530318 h 1237129"/>
              <a:gd name="connsiteX657" fmla="*/ 1596915 w 3751729"/>
              <a:gd name="connsiteY657" fmla="*/ 530318 h 1237129"/>
              <a:gd name="connsiteX658" fmla="*/ 1596177 w 3751729"/>
              <a:gd name="connsiteY658" fmla="*/ 532040 h 1237129"/>
              <a:gd name="connsiteX659" fmla="*/ 1594454 w 3751729"/>
              <a:gd name="connsiteY659" fmla="*/ 533763 h 1237129"/>
              <a:gd name="connsiteX660" fmla="*/ 1591254 w 3751729"/>
              <a:gd name="connsiteY660" fmla="*/ 534502 h 1237129"/>
              <a:gd name="connsiteX661" fmla="*/ 1591254 w 3751729"/>
              <a:gd name="connsiteY661" fmla="*/ 537948 h 1237129"/>
              <a:gd name="connsiteX662" fmla="*/ 1591254 w 3751729"/>
              <a:gd name="connsiteY662" fmla="*/ 539671 h 1237129"/>
              <a:gd name="connsiteX663" fmla="*/ 1591254 w 3751729"/>
              <a:gd name="connsiteY663" fmla="*/ 541148 h 1237129"/>
              <a:gd name="connsiteX664" fmla="*/ 1591254 w 3751729"/>
              <a:gd name="connsiteY664" fmla="*/ 546071 h 1237129"/>
              <a:gd name="connsiteX665" fmla="*/ 1581408 w 3751729"/>
              <a:gd name="connsiteY665" fmla="*/ 546809 h 1237129"/>
              <a:gd name="connsiteX666" fmla="*/ 1577224 w 3751729"/>
              <a:gd name="connsiteY666" fmla="*/ 550255 h 1237129"/>
              <a:gd name="connsiteX667" fmla="*/ 1574024 w 3751729"/>
              <a:gd name="connsiteY667" fmla="*/ 552717 h 1237129"/>
              <a:gd name="connsiteX668" fmla="*/ 1571562 w 3751729"/>
              <a:gd name="connsiteY668" fmla="*/ 557640 h 1237129"/>
              <a:gd name="connsiteX669" fmla="*/ 1567377 w 3751729"/>
              <a:gd name="connsiteY669" fmla="*/ 561825 h 1237129"/>
              <a:gd name="connsiteX670" fmla="*/ 1562454 w 3751729"/>
              <a:gd name="connsiteY670" fmla="*/ 563548 h 1237129"/>
              <a:gd name="connsiteX671" fmla="*/ 1559993 w 3751729"/>
              <a:gd name="connsiteY671" fmla="*/ 563548 h 1237129"/>
              <a:gd name="connsiteX672" fmla="*/ 1555808 w 3751729"/>
              <a:gd name="connsiteY672" fmla="*/ 561825 h 1237129"/>
              <a:gd name="connsiteX673" fmla="*/ 1552608 w 3751729"/>
              <a:gd name="connsiteY673" fmla="*/ 560102 h 1237129"/>
              <a:gd name="connsiteX674" fmla="*/ 1550147 w 3751729"/>
              <a:gd name="connsiteY674" fmla="*/ 558378 h 1237129"/>
              <a:gd name="connsiteX675" fmla="*/ 1548424 w 3751729"/>
              <a:gd name="connsiteY675" fmla="*/ 558378 h 1237129"/>
              <a:gd name="connsiteX676" fmla="*/ 1545962 w 3751729"/>
              <a:gd name="connsiteY676" fmla="*/ 560102 h 1237129"/>
              <a:gd name="connsiteX677" fmla="*/ 1542761 w 3751729"/>
              <a:gd name="connsiteY677" fmla="*/ 561825 h 1237129"/>
              <a:gd name="connsiteX678" fmla="*/ 1540300 w 3751729"/>
              <a:gd name="connsiteY678" fmla="*/ 563548 h 1237129"/>
              <a:gd name="connsiteX679" fmla="*/ 1535378 w 3751729"/>
              <a:gd name="connsiteY679" fmla="*/ 564286 h 1237129"/>
              <a:gd name="connsiteX680" fmla="*/ 1535378 w 3751729"/>
              <a:gd name="connsiteY680" fmla="*/ 571917 h 1237129"/>
              <a:gd name="connsiteX681" fmla="*/ 1575746 w 3751729"/>
              <a:gd name="connsiteY681" fmla="*/ 577823 h 1237129"/>
              <a:gd name="connsiteX682" fmla="*/ 1587316 w 3751729"/>
              <a:gd name="connsiteY682" fmla="*/ 571917 h 1237129"/>
              <a:gd name="connsiteX683" fmla="*/ 1598884 w 3751729"/>
              <a:gd name="connsiteY683" fmla="*/ 564286 h 1237129"/>
              <a:gd name="connsiteX684" fmla="*/ 1607993 w 3751729"/>
              <a:gd name="connsiteY684" fmla="*/ 558378 h 1237129"/>
              <a:gd name="connsiteX685" fmla="*/ 1620300 w 3751729"/>
              <a:gd name="connsiteY685" fmla="*/ 555917 h 1237129"/>
              <a:gd name="connsiteX686" fmla="*/ 1639253 w 3751729"/>
              <a:gd name="connsiteY686" fmla="*/ 552471 h 1237129"/>
              <a:gd name="connsiteX687" fmla="*/ 1659191 w 3751729"/>
              <a:gd name="connsiteY687" fmla="*/ 551732 h 1237129"/>
              <a:gd name="connsiteX688" fmla="*/ 1681592 w 3751729"/>
              <a:gd name="connsiteY688" fmla="*/ 551732 h 1237129"/>
              <a:gd name="connsiteX689" fmla="*/ 1699807 w 3751729"/>
              <a:gd name="connsiteY689" fmla="*/ 551732 h 1237129"/>
              <a:gd name="connsiteX690" fmla="*/ 1715560 w 3751729"/>
              <a:gd name="connsiteY690" fmla="*/ 552471 h 1237129"/>
              <a:gd name="connsiteX691" fmla="*/ 1722943 w 3751729"/>
              <a:gd name="connsiteY691" fmla="*/ 554194 h 1237129"/>
              <a:gd name="connsiteX692" fmla="*/ 1726634 w 3751729"/>
              <a:gd name="connsiteY692" fmla="*/ 554194 h 1237129"/>
              <a:gd name="connsiteX693" fmla="*/ 1721712 w 3751729"/>
              <a:gd name="connsiteY693" fmla="*/ 567732 h 1237129"/>
              <a:gd name="connsiteX694" fmla="*/ 1719253 w 3751729"/>
              <a:gd name="connsiteY694" fmla="*/ 582007 h 1237129"/>
              <a:gd name="connsiteX695" fmla="*/ 1716053 w 3751729"/>
              <a:gd name="connsiteY695" fmla="*/ 597022 h 1237129"/>
              <a:gd name="connsiteX696" fmla="*/ 1720975 w 3751729"/>
              <a:gd name="connsiteY696" fmla="*/ 599484 h 1237129"/>
              <a:gd name="connsiteX697" fmla="*/ 1721712 w 3751729"/>
              <a:gd name="connsiteY697" fmla="*/ 602930 h 1237129"/>
              <a:gd name="connsiteX698" fmla="*/ 1724912 w 3751729"/>
              <a:gd name="connsiteY698" fmla="*/ 605392 h 1237129"/>
              <a:gd name="connsiteX699" fmla="*/ 1726634 w 3751729"/>
              <a:gd name="connsiteY699" fmla="*/ 607115 h 1237129"/>
              <a:gd name="connsiteX700" fmla="*/ 1729096 w 3751729"/>
              <a:gd name="connsiteY700" fmla="*/ 609576 h 1237129"/>
              <a:gd name="connsiteX701" fmla="*/ 1738943 w 3751729"/>
              <a:gd name="connsiteY701" fmla="*/ 613022 h 1237129"/>
              <a:gd name="connsiteX702" fmla="*/ 1750512 w 3751729"/>
              <a:gd name="connsiteY702" fmla="*/ 613022 h 1237129"/>
              <a:gd name="connsiteX703" fmla="*/ 1762081 w 3751729"/>
              <a:gd name="connsiteY703" fmla="*/ 614746 h 1237129"/>
              <a:gd name="connsiteX704" fmla="*/ 1773650 w 3751729"/>
              <a:gd name="connsiteY704" fmla="*/ 620653 h 1237129"/>
              <a:gd name="connsiteX705" fmla="*/ 1776850 w 3751729"/>
              <a:gd name="connsiteY705" fmla="*/ 632469 h 1237129"/>
              <a:gd name="connsiteX706" fmla="*/ 1782512 w 3751729"/>
              <a:gd name="connsiteY706" fmla="*/ 634930 h 1237129"/>
              <a:gd name="connsiteX707" fmla="*/ 1790881 w 3751729"/>
              <a:gd name="connsiteY707" fmla="*/ 638376 h 1237129"/>
              <a:gd name="connsiteX708" fmla="*/ 1802451 w 3751729"/>
              <a:gd name="connsiteY708" fmla="*/ 640837 h 1237129"/>
              <a:gd name="connsiteX709" fmla="*/ 1812296 w 3751729"/>
              <a:gd name="connsiteY709" fmla="*/ 644283 h 1237129"/>
              <a:gd name="connsiteX710" fmla="*/ 1817958 w 3751729"/>
              <a:gd name="connsiteY710" fmla="*/ 645022 h 1237129"/>
              <a:gd name="connsiteX711" fmla="*/ 1819681 w 3751729"/>
              <a:gd name="connsiteY711" fmla="*/ 636653 h 1237129"/>
              <a:gd name="connsiteX712" fmla="*/ 1822881 w 3751729"/>
              <a:gd name="connsiteY712" fmla="*/ 629022 h 1237129"/>
              <a:gd name="connsiteX713" fmla="*/ 1825342 w 3751729"/>
              <a:gd name="connsiteY713" fmla="*/ 621392 h 1237129"/>
              <a:gd name="connsiteX714" fmla="*/ 1834450 w 3751729"/>
              <a:gd name="connsiteY714" fmla="*/ 615484 h 1237129"/>
              <a:gd name="connsiteX715" fmla="*/ 1846757 w 3751729"/>
              <a:gd name="connsiteY715" fmla="*/ 613022 h 1237129"/>
              <a:gd name="connsiteX716" fmla="*/ 1858327 w 3751729"/>
              <a:gd name="connsiteY716" fmla="*/ 615484 h 1237129"/>
              <a:gd name="connsiteX717" fmla="*/ 1869895 w 3751729"/>
              <a:gd name="connsiteY717" fmla="*/ 621392 h 1237129"/>
              <a:gd name="connsiteX718" fmla="*/ 1881465 w 3751729"/>
              <a:gd name="connsiteY718" fmla="*/ 626315 h 1237129"/>
              <a:gd name="connsiteX719" fmla="*/ 1887126 w 3751729"/>
              <a:gd name="connsiteY719" fmla="*/ 627053 h 1237129"/>
              <a:gd name="connsiteX720" fmla="*/ 1898695 w 3751729"/>
              <a:gd name="connsiteY720" fmla="*/ 628776 h 1237129"/>
              <a:gd name="connsiteX721" fmla="*/ 1910265 w 3751729"/>
              <a:gd name="connsiteY721" fmla="*/ 632222 h 1237129"/>
              <a:gd name="connsiteX722" fmla="*/ 1921834 w 3751729"/>
              <a:gd name="connsiteY722" fmla="*/ 632961 h 1237129"/>
              <a:gd name="connsiteX723" fmla="*/ 1930941 w 3751729"/>
              <a:gd name="connsiteY723" fmla="*/ 634684 h 1237129"/>
              <a:gd name="connsiteX724" fmla="*/ 1935126 w 3751729"/>
              <a:gd name="connsiteY724" fmla="*/ 636407 h 1237129"/>
              <a:gd name="connsiteX725" fmla="*/ 1937587 w 3751729"/>
              <a:gd name="connsiteY725" fmla="*/ 634684 h 1237129"/>
              <a:gd name="connsiteX726" fmla="*/ 1939311 w 3751729"/>
              <a:gd name="connsiteY726" fmla="*/ 632222 h 1237129"/>
              <a:gd name="connsiteX727" fmla="*/ 1941034 w 3751729"/>
              <a:gd name="connsiteY727" fmla="*/ 630499 h 1237129"/>
              <a:gd name="connsiteX728" fmla="*/ 1943495 w 3751729"/>
              <a:gd name="connsiteY728" fmla="*/ 627053 h 1237129"/>
              <a:gd name="connsiteX729" fmla="*/ 1946695 w 3751729"/>
              <a:gd name="connsiteY729" fmla="*/ 626315 h 1237129"/>
              <a:gd name="connsiteX730" fmla="*/ 1949156 w 3751729"/>
              <a:gd name="connsiteY730" fmla="*/ 626315 h 1237129"/>
              <a:gd name="connsiteX731" fmla="*/ 1953342 w 3751729"/>
              <a:gd name="connsiteY731" fmla="*/ 626315 h 1237129"/>
              <a:gd name="connsiteX732" fmla="*/ 1964172 w 3751729"/>
              <a:gd name="connsiteY732" fmla="*/ 628776 h 1237129"/>
              <a:gd name="connsiteX733" fmla="*/ 1972541 w 3751729"/>
              <a:gd name="connsiteY733" fmla="*/ 632961 h 1237129"/>
              <a:gd name="connsiteX734" fmla="*/ 1982387 w 3751729"/>
              <a:gd name="connsiteY734" fmla="*/ 632222 h 1237129"/>
              <a:gd name="connsiteX735" fmla="*/ 1993217 w 3751729"/>
              <a:gd name="connsiteY735" fmla="*/ 628776 h 1237129"/>
              <a:gd name="connsiteX736" fmla="*/ 1993956 w 3751729"/>
              <a:gd name="connsiteY736" fmla="*/ 616960 h 1237129"/>
              <a:gd name="connsiteX737" fmla="*/ 1999618 w 3751729"/>
              <a:gd name="connsiteY737" fmla="*/ 602684 h 1237129"/>
              <a:gd name="connsiteX738" fmla="*/ 2004541 w 3751729"/>
              <a:gd name="connsiteY738" fmla="*/ 589145 h 1237129"/>
              <a:gd name="connsiteX739" fmla="*/ 2006018 w 3751729"/>
              <a:gd name="connsiteY739" fmla="*/ 577823 h 1237129"/>
              <a:gd name="connsiteX740" fmla="*/ 2003556 w 3751729"/>
              <a:gd name="connsiteY740" fmla="*/ 567732 h 1237129"/>
              <a:gd name="connsiteX741" fmla="*/ 2001834 w 3751729"/>
              <a:gd name="connsiteY741" fmla="*/ 564286 h 1237129"/>
              <a:gd name="connsiteX742" fmla="*/ 2001834 w 3751729"/>
              <a:gd name="connsiteY742" fmla="*/ 561825 h 1237129"/>
              <a:gd name="connsiteX743" fmla="*/ 2000110 w 3751729"/>
              <a:gd name="connsiteY743" fmla="*/ 560102 h 1237129"/>
              <a:gd name="connsiteX744" fmla="*/ 1998388 w 3751729"/>
              <a:gd name="connsiteY744" fmla="*/ 558378 h 1237129"/>
              <a:gd name="connsiteX745" fmla="*/ 1995925 w 3751729"/>
              <a:gd name="connsiteY745" fmla="*/ 558378 h 1237129"/>
              <a:gd name="connsiteX746" fmla="*/ 1992725 w 3751729"/>
              <a:gd name="connsiteY746" fmla="*/ 558378 h 1237129"/>
              <a:gd name="connsiteX747" fmla="*/ 1987064 w 3751729"/>
              <a:gd name="connsiteY747" fmla="*/ 558378 h 1237129"/>
              <a:gd name="connsiteX748" fmla="*/ 1980418 w 3751729"/>
              <a:gd name="connsiteY748" fmla="*/ 564286 h 1237129"/>
              <a:gd name="connsiteX749" fmla="*/ 1974756 w 3751729"/>
              <a:gd name="connsiteY749" fmla="*/ 566009 h 1237129"/>
              <a:gd name="connsiteX750" fmla="*/ 1969094 w 3751729"/>
              <a:gd name="connsiteY750" fmla="*/ 564286 h 1237129"/>
              <a:gd name="connsiteX751" fmla="*/ 1963433 w 3751729"/>
              <a:gd name="connsiteY751" fmla="*/ 561825 h 1237129"/>
              <a:gd name="connsiteX752" fmla="*/ 1956049 w 3751729"/>
              <a:gd name="connsiteY752" fmla="*/ 558378 h 1237129"/>
              <a:gd name="connsiteX753" fmla="*/ 1951864 w 3751729"/>
              <a:gd name="connsiteY753" fmla="*/ 557640 h 1237129"/>
              <a:gd name="connsiteX754" fmla="*/ 1948665 w 3751729"/>
              <a:gd name="connsiteY754" fmla="*/ 558378 h 1237129"/>
              <a:gd name="connsiteX755" fmla="*/ 1944480 w 3751729"/>
              <a:gd name="connsiteY755" fmla="*/ 560102 h 1237129"/>
              <a:gd name="connsiteX756" fmla="*/ 1942757 w 3751729"/>
              <a:gd name="connsiteY756" fmla="*/ 563548 h 1237129"/>
              <a:gd name="connsiteX757" fmla="*/ 1940295 w 3751729"/>
              <a:gd name="connsiteY757" fmla="*/ 566009 h 1237129"/>
              <a:gd name="connsiteX758" fmla="*/ 1937095 w 3751729"/>
              <a:gd name="connsiteY758" fmla="*/ 567732 h 1237129"/>
              <a:gd name="connsiteX759" fmla="*/ 1924788 w 3751729"/>
              <a:gd name="connsiteY759" fmla="*/ 564286 h 1237129"/>
              <a:gd name="connsiteX760" fmla="*/ 1911496 w 3751729"/>
              <a:gd name="connsiteY760" fmla="*/ 555917 h 1237129"/>
              <a:gd name="connsiteX761" fmla="*/ 1901649 w 3751729"/>
              <a:gd name="connsiteY761" fmla="*/ 542379 h 1237129"/>
              <a:gd name="connsiteX762" fmla="*/ 1896726 w 3751729"/>
              <a:gd name="connsiteY762" fmla="*/ 528840 h 1237129"/>
              <a:gd name="connsiteX763" fmla="*/ 1896726 w 3751729"/>
              <a:gd name="connsiteY763" fmla="*/ 526378 h 1237129"/>
              <a:gd name="connsiteX764" fmla="*/ 1896726 w 3751729"/>
              <a:gd name="connsiteY764" fmla="*/ 522932 h 1237129"/>
              <a:gd name="connsiteX765" fmla="*/ 1896726 w 3751729"/>
              <a:gd name="connsiteY765" fmla="*/ 520471 h 1237129"/>
              <a:gd name="connsiteX766" fmla="*/ 1896726 w 3751729"/>
              <a:gd name="connsiteY766" fmla="*/ 517025 h 1237129"/>
              <a:gd name="connsiteX767" fmla="*/ 1896726 w 3751729"/>
              <a:gd name="connsiteY767" fmla="*/ 514563 h 1237129"/>
              <a:gd name="connsiteX768" fmla="*/ 1898449 w 3751729"/>
              <a:gd name="connsiteY768" fmla="*/ 511117 h 1237129"/>
              <a:gd name="connsiteX769" fmla="*/ 1900173 w 3751729"/>
              <a:gd name="connsiteY769" fmla="*/ 506933 h 1237129"/>
              <a:gd name="connsiteX770" fmla="*/ 1896973 w 3751729"/>
              <a:gd name="connsiteY770" fmla="*/ 504471 h 1237129"/>
              <a:gd name="connsiteX771" fmla="*/ 1894510 w 3751729"/>
              <a:gd name="connsiteY771" fmla="*/ 502749 h 1237129"/>
              <a:gd name="connsiteX772" fmla="*/ 1892788 w 3751729"/>
              <a:gd name="connsiteY772" fmla="*/ 501025 h 1237129"/>
              <a:gd name="connsiteX773" fmla="*/ 1891064 w 3751729"/>
              <a:gd name="connsiteY773" fmla="*/ 499302 h 1237129"/>
              <a:gd name="connsiteX774" fmla="*/ 1888603 w 3751729"/>
              <a:gd name="connsiteY774" fmla="*/ 498563 h 1237129"/>
              <a:gd name="connsiteX775" fmla="*/ 1884418 w 3751729"/>
              <a:gd name="connsiteY775" fmla="*/ 496840 h 1237129"/>
              <a:gd name="connsiteX776" fmla="*/ 1882696 w 3751729"/>
              <a:gd name="connsiteY776" fmla="*/ 495118 h 1237129"/>
              <a:gd name="connsiteX777" fmla="*/ 1880972 w 3751729"/>
              <a:gd name="connsiteY777" fmla="*/ 495118 h 1237129"/>
              <a:gd name="connsiteX778" fmla="*/ 1879250 w 3751729"/>
              <a:gd name="connsiteY778" fmla="*/ 493394 h 1237129"/>
              <a:gd name="connsiteX779" fmla="*/ 1876787 w 3751729"/>
              <a:gd name="connsiteY779" fmla="*/ 493394 h 1237129"/>
              <a:gd name="connsiteX780" fmla="*/ 1873588 w 3751729"/>
              <a:gd name="connsiteY780" fmla="*/ 493394 h 1237129"/>
              <a:gd name="connsiteX781" fmla="*/ 1873588 w 3751729"/>
              <a:gd name="connsiteY781" fmla="*/ 496840 h 1237129"/>
              <a:gd name="connsiteX782" fmla="*/ 1871126 w 3751729"/>
              <a:gd name="connsiteY782" fmla="*/ 496840 h 1237129"/>
              <a:gd name="connsiteX783" fmla="*/ 1871126 w 3751729"/>
              <a:gd name="connsiteY783" fmla="*/ 501025 h 1237129"/>
              <a:gd name="connsiteX784" fmla="*/ 1872850 w 3751729"/>
              <a:gd name="connsiteY784" fmla="*/ 504471 h 1237129"/>
              <a:gd name="connsiteX785" fmla="*/ 1872850 w 3751729"/>
              <a:gd name="connsiteY785" fmla="*/ 505209 h 1237129"/>
              <a:gd name="connsiteX786" fmla="*/ 1872850 w 3751729"/>
              <a:gd name="connsiteY786" fmla="*/ 506933 h 1237129"/>
              <a:gd name="connsiteX787" fmla="*/ 1871126 w 3751729"/>
              <a:gd name="connsiteY787" fmla="*/ 508655 h 1237129"/>
              <a:gd name="connsiteX788" fmla="*/ 1869404 w 3751729"/>
              <a:gd name="connsiteY788" fmla="*/ 508655 h 1237129"/>
              <a:gd name="connsiteX789" fmla="*/ 1866942 w 3751729"/>
              <a:gd name="connsiteY789" fmla="*/ 508655 h 1237129"/>
              <a:gd name="connsiteX790" fmla="*/ 1861280 w 3751729"/>
              <a:gd name="connsiteY790" fmla="*/ 510380 h 1237129"/>
              <a:gd name="connsiteX791" fmla="*/ 1859557 w 3751729"/>
              <a:gd name="connsiteY791" fmla="*/ 506933 h 1237129"/>
              <a:gd name="connsiteX792" fmla="*/ 1857834 w 3751729"/>
              <a:gd name="connsiteY792" fmla="*/ 505209 h 1237129"/>
              <a:gd name="connsiteX793" fmla="*/ 1857834 w 3751729"/>
              <a:gd name="connsiteY793" fmla="*/ 504471 h 1237129"/>
              <a:gd name="connsiteX794" fmla="*/ 1855373 w 3751729"/>
              <a:gd name="connsiteY794" fmla="*/ 502749 h 1237129"/>
              <a:gd name="connsiteX795" fmla="*/ 1855373 w 3751729"/>
              <a:gd name="connsiteY795" fmla="*/ 506687 h 1237129"/>
              <a:gd name="connsiteX796" fmla="*/ 1862757 w 3751729"/>
              <a:gd name="connsiteY796" fmla="*/ 515794 h 1237129"/>
              <a:gd name="connsiteX797" fmla="*/ 1868419 w 3751729"/>
              <a:gd name="connsiteY797" fmla="*/ 528347 h 1237129"/>
              <a:gd name="connsiteX798" fmla="*/ 1870880 w 3751729"/>
              <a:gd name="connsiteY798" fmla="*/ 541887 h 1237129"/>
              <a:gd name="connsiteX799" fmla="*/ 1866695 w 3751729"/>
              <a:gd name="connsiteY799" fmla="*/ 545333 h 1237129"/>
              <a:gd name="connsiteX800" fmla="*/ 1863495 w 3751729"/>
              <a:gd name="connsiteY800" fmla="*/ 546071 h 1237129"/>
              <a:gd name="connsiteX801" fmla="*/ 1862757 w 3751729"/>
              <a:gd name="connsiteY801" fmla="*/ 549517 h 1237129"/>
              <a:gd name="connsiteX802" fmla="*/ 1861034 w 3751729"/>
              <a:gd name="connsiteY802" fmla="*/ 551979 h 1237129"/>
              <a:gd name="connsiteX803" fmla="*/ 1861034 w 3751729"/>
              <a:gd name="connsiteY803" fmla="*/ 553701 h 1237129"/>
              <a:gd name="connsiteX804" fmla="*/ 1859311 w 3751729"/>
              <a:gd name="connsiteY804" fmla="*/ 557147 h 1237129"/>
              <a:gd name="connsiteX805" fmla="*/ 1857589 w 3751729"/>
              <a:gd name="connsiteY805" fmla="*/ 557887 h 1237129"/>
              <a:gd name="connsiteX806" fmla="*/ 1853403 w 3751729"/>
              <a:gd name="connsiteY806" fmla="*/ 559610 h 1237129"/>
              <a:gd name="connsiteX807" fmla="*/ 1849218 w 3751729"/>
              <a:gd name="connsiteY807" fmla="*/ 561332 h 1237129"/>
              <a:gd name="connsiteX808" fmla="*/ 1847496 w 3751729"/>
              <a:gd name="connsiteY808" fmla="*/ 559610 h 1237129"/>
              <a:gd name="connsiteX809" fmla="*/ 1845772 w 3751729"/>
              <a:gd name="connsiteY809" fmla="*/ 559610 h 1237129"/>
              <a:gd name="connsiteX810" fmla="*/ 1845034 w 3751729"/>
              <a:gd name="connsiteY810" fmla="*/ 557887 h 1237129"/>
              <a:gd name="connsiteX811" fmla="*/ 1841834 w 3751729"/>
              <a:gd name="connsiteY811" fmla="*/ 557887 h 1237129"/>
              <a:gd name="connsiteX812" fmla="*/ 1828542 w 3751729"/>
              <a:gd name="connsiteY812" fmla="*/ 518501 h 1237129"/>
              <a:gd name="connsiteX813" fmla="*/ 1826081 w 3751729"/>
              <a:gd name="connsiteY813" fmla="*/ 516779 h 1237129"/>
              <a:gd name="connsiteX814" fmla="*/ 1822881 w 3751729"/>
              <a:gd name="connsiteY814" fmla="*/ 514317 h 1237129"/>
              <a:gd name="connsiteX815" fmla="*/ 1818696 w 3751729"/>
              <a:gd name="connsiteY815" fmla="*/ 510871 h 1237129"/>
              <a:gd name="connsiteX816" fmla="*/ 1816235 w 3751729"/>
              <a:gd name="connsiteY816" fmla="*/ 510133 h 1237129"/>
              <a:gd name="connsiteX817" fmla="*/ 1813035 w 3751729"/>
              <a:gd name="connsiteY817" fmla="*/ 506687 h 1237129"/>
              <a:gd name="connsiteX818" fmla="*/ 1811312 w 3751729"/>
              <a:gd name="connsiteY818" fmla="*/ 498318 h 1237129"/>
              <a:gd name="connsiteX819" fmla="*/ 1813035 w 3751729"/>
              <a:gd name="connsiteY819" fmla="*/ 490687 h 1237129"/>
              <a:gd name="connsiteX820" fmla="*/ 1814757 w 3751729"/>
              <a:gd name="connsiteY820" fmla="*/ 484779 h 1237129"/>
              <a:gd name="connsiteX821" fmla="*/ 1814757 w 3751729"/>
              <a:gd name="connsiteY821" fmla="*/ 478871 h 1237129"/>
              <a:gd name="connsiteX822" fmla="*/ 1810572 w 3751729"/>
              <a:gd name="connsiteY822" fmla="*/ 474687 h 1237129"/>
              <a:gd name="connsiteX823" fmla="*/ 1799742 w 3751729"/>
              <a:gd name="connsiteY823" fmla="*/ 467056 h 1237129"/>
              <a:gd name="connsiteX824" fmla="*/ 1791374 w 3751729"/>
              <a:gd name="connsiteY824" fmla="*/ 462871 h 1237129"/>
              <a:gd name="connsiteX825" fmla="*/ 1783988 w 3751729"/>
              <a:gd name="connsiteY825" fmla="*/ 461147 h 1237129"/>
              <a:gd name="connsiteX826" fmla="*/ 1777342 w 3751729"/>
              <a:gd name="connsiteY826" fmla="*/ 456964 h 1237129"/>
              <a:gd name="connsiteX827" fmla="*/ 1771681 w 3751729"/>
              <a:gd name="connsiteY827" fmla="*/ 447855 h 1237129"/>
              <a:gd name="connsiteX828" fmla="*/ 1766020 w 3751729"/>
              <a:gd name="connsiteY828" fmla="*/ 431856 h 1237129"/>
              <a:gd name="connsiteX829" fmla="*/ 1754450 w 3751729"/>
              <a:gd name="connsiteY829" fmla="*/ 435303 h 1237129"/>
              <a:gd name="connsiteX830" fmla="*/ 1752728 w 3751729"/>
              <a:gd name="connsiteY830" fmla="*/ 430379 h 1237129"/>
              <a:gd name="connsiteX831" fmla="*/ 1752728 w 3751729"/>
              <a:gd name="connsiteY831" fmla="*/ 427918 h 1237129"/>
              <a:gd name="connsiteX832" fmla="*/ 1751004 w 3751729"/>
              <a:gd name="connsiteY832" fmla="*/ 424472 h 1237129"/>
              <a:gd name="connsiteX833" fmla="*/ 761721 w 3751729"/>
              <a:gd name="connsiteY833" fmla="*/ 418564 h 1237129"/>
              <a:gd name="connsiteX834" fmla="*/ 761599 w 3751729"/>
              <a:gd name="connsiteY834" fmla="*/ 418810 h 1237129"/>
              <a:gd name="connsiteX835" fmla="*/ 763935 w 3751729"/>
              <a:gd name="connsiteY835" fmla="*/ 418810 h 1237129"/>
              <a:gd name="connsiteX836" fmla="*/ 763935 w 3751729"/>
              <a:gd name="connsiteY836" fmla="*/ 418811 h 1237129"/>
              <a:gd name="connsiteX837" fmla="*/ 763936 w 3751729"/>
              <a:gd name="connsiteY837" fmla="*/ 418811 h 1237129"/>
              <a:gd name="connsiteX838" fmla="*/ 763198 w 3751729"/>
              <a:gd name="connsiteY838" fmla="*/ 422257 h 1237129"/>
              <a:gd name="connsiteX839" fmla="*/ 763445 w 3751729"/>
              <a:gd name="connsiteY839" fmla="*/ 422010 h 1237129"/>
              <a:gd name="connsiteX840" fmla="*/ 764184 w 3751729"/>
              <a:gd name="connsiteY840" fmla="*/ 418564 h 1237129"/>
              <a:gd name="connsiteX841" fmla="*/ 1948172 w 3751729"/>
              <a:gd name="connsiteY841" fmla="*/ 406502 h 1237129"/>
              <a:gd name="connsiteX842" fmla="*/ 1944972 w 3751729"/>
              <a:gd name="connsiteY842" fmla="*/ 413148 h 1237129"/>
              <a:gd name="connsiteX843" fmla="*/ 1939311 w 3751729"/>
              <a:gd name="connsiteY843" fmla="*/ 423979 h 1237129"/>
              <a:gd name="connsiteX844" fmla="*/ 1931926 w 3751729"/>
              <a:gd name="connsiteY844" fmla="*/ 435794 h 1237129"/>
              <a:gd name="connsiteX845" fmla="*/ 1925280 w 3751729"/>
              <a:gd name="connsiteY845" fmla="*/ 447610 h 1237129"/>
              <a:gd name="connsiteX846" fmla="*/ 1919618 w 3751729"/>
              <a:gd name="connsiteY846" fmla="*/ 457702 h 1237129"/>
              <a:gd name="connsiteX847" fmla="*/ 1916418 w 3751729"/>
              <a:gd name="connsiteY847" fmla="*/ 466071 h 1237129"/>
              <a:gd name="connsiteX848" fmla="*/ 1916418 w 3751729"/>
              <a:gd name="connsiteY848" fmla="*/ 470994 h 1237129"/>
              <a:gd name="connsiteX849" fmla="*/ 1918142 w 3751729"/>
              <a:gd name="connsiteY849" fmla="*/ 476902 h 1237129"/>
              <a:gd name="connsiteX850" fmla="*/ 1918142 w 3751729"/>
              <a:gd name="connsiteY850" fmla="*/ 479363 h 1237129"/>
              <a:gd name="connsiteX851" fmla="*/ 1919864 w 3751729"/>
              <a:gd name="connsiteY851" fmla="*/ 482810 h 1237129"/>
              <a:gd name="connsiteX852" fmla="*/ 1922326 w 3751729"/>
              <a:gd name="connsiteY852" fmla="*/ 483548 h 1237129"/>
              <a:gd name="connsiteX853" fmla="*/ 1925526 w 3751729"/>
              <a:gd name="connsiteY853" fmla="*/ 485271 h 1237129"/>
              <a:gd name="connsiteX854" fmla="*/ 1929710 w 3751729"/>
              <a:gd name="connsiteY854" fmla="*/ 486994 h 1237129"/>
              <a:gd name="connsiteX855" fmla="*/ 1941280 w 3751729"/>
              <a:gd name="connsiteY855" fmla="*/ 491179 h 1237129"/>
              <a:gd name="connsiteX856" fmla="*/ 1952849 w 3751729"/>
              <a:gd name="connsiteY856" fmla="*/ 489456 h 1237129"/>
              <a:gd name="connsiteX857" fmla="*/ 1962695 w 3751729"/>
              <a:gd name="connsiteY857" fmla="*/ 485271 h 1237129"/>
              <a:gd name="connsiteX858" fmla="*/ 1974265 w 3751729"/>
              <a:gd name="connsiteY858" fmla="*/ 479363 h 1237129"/>
              <a:gd name="connsiteX859" fmla="*/ 1985833 w 3751729"/>
              <a:gd name="connsiteY859" fmla="*/ 477640 h 1237129"/>
              <a:gd name="connsiteX860" fmla="*/ 1997403 w 3751729"/>
              <a:gd name="connsiteY860" fmla="*/ 477640 h 1237129"/>
              <a:gd name="connsiteX861" fmla="*/ 2004787 w 3751729"/>
              <a:gd name="connsiteY861" fmla="*/ 482563 h 1237129"/>
              <a:gd name="connsiteX862" fmla="*/ 2010448 w 3751729"/>
              <a:gd name="connsiteY862" fmla="*/ 486748 h 1237129"/>
              <a:gd name="connsiteX863" fmla="*/ 2017094 w 3751729"/>
              <a:gd name="connsiteY863" fmla="*/ 489210 h 1237129"/>
              <a:gd name="connsiteX864" fmla="*/ 2034325 w 3751729"/>
              <a:gd name="connsiteY864" fmla="*/ 492656 h 1237129"/>
              <a:gd name="connsiteX865" fmla="*/ 2051556 w 3751729"/>
              <a:gd name="connsiteY865" fmla="*/ 490932 h 1237129"/>
              <a:gd name="connsiteX866" fmla="*/ 2067309 w 3751729"/>
              <a:gd name="connsiteY866" fmla="*/ 486748 h 1237129"/>
              <a:gd name="connsiteX867" fmla="*/ 2071740 w 3751729"/>
              <a:gd name="connsiteY867" fmla="*/ 477887 h 1237129"/>
              <a:gd name="connsiteX868" fmla="*/ 2066818 w 3751729"/>
              <a:gd name="connsiteY868" fmla="*/ 477887 h 1237129"/>
              <a:gd name="connsiteX869" fmla="*/ 2060171 w 3751729"/>
              <a:gd name="connsiteY869" fmla="*/ 466071 h 1237129"/>
              <a:gd name="connsiteX870" fmla="*/ 2048601 w 3751729"/>
              <a:gd name="connsiteY870" fmla="*/ 455979 h 1237129"/>
              <a:gd name="connsiteX871" fmla="*/ 2032110 w 3751729"/>
              <a:gd name="connsiteY871" fmla="*/ 445887 h 1237129"/>
              <a:gd name="connsiteX872" fmla="*/ 2016356 w 3751729"/>
              <a:gd name="connsiteY872" fmla="*/ 436778 h 1237129"/>
              <a:gd name="connsiteX873" fmla="*/ 2004049 w 3751729"/>
              <a:gd name="connsiteY873" fmla="*/ 432595 h 1237129"/>
              <a:gd name="connsiteX874" fmla="*/ 1996663 w 3751729"/>
              <a:gd name="connsiteY874" fmla="*/ 438502 h 1237129"/>
              <a:gd name="connsiteX875" fmla="*/ 1986818 w 3751729"/>
              <a:gd name="connsiteY875" fmla="*/ 442687 h 1237129"/>
              <a:gd name="connsiteX876" fmla="*/ 1979433 w 3751729"/>
              <a:gd name="connsiteY876" fmla="*/ 441949 h 1237129"/>
              <a:gd name="connsiteX877" fmla="*/ 1975249 w 3751729"/>
              <a:gd name="connsiteY877" fmla="*/ 436041 h 1237129"/>
              <a:gd name="connsiteX878" fmla="*/ 1969587 w 3751729"/>
              <a:gd name="connsiteY878" fmla="*/ 430133 h 1237129"/>
              <a:gd name="connsiteX879" fmla="*/ 1966388 w 3751729"/>
              <a:gd name="connsiteY879" fmla="*/ 422502 h 1237129"/>
              <a:gd name="connsiteX880" fmla="*/ 1976233 w 3751729"/>
              <a:gd name="connsiteY880" fmla="*/ 419056 h 1237129"/>
              <a:gd name="connsiteX881" fmla="*/ 1975495 w 3751729"/>
              <a:gd name="connsiteY881" fmla="*/ 418318 h 1237129"/>
              <a:gd name="connsiteX882" fmla="*/ 1973772 w 3751729"/>
              <a:gd name="connsiteY882" fmla="*/ 418318 h 1237129"/>
              <a:gd name="connsiteX883" fmla="*/ 1972049 w 3751729"/>
              <a:gd name="connsiteY883" fmla="*/ 418318 h 1237129"/>
              <a:gd name="connsiteX884" fmla="*/ 1969587 w 3751729"/>
              <a:gd name="connsiteY884" fmla="*/ 416595 h 1237129"/>
              <a:gd name="connsiteX885" fmla="*/ 1964664 w 3751729"/>
              <a:gd name="connsiteY885" fmla="*/ 412410 h 1237129"/>
              <a:gd name="connsiteX886" fmla="*/ 1960480 w 3751729"/>
              <a:gd name="connsiteY886" fmla="*/ 410687 h 1237129"/>
              <a:gd name="connsiteX887" fmla="*/ 1954818 w 3751729"/>
              <a:gd name="connsiteY887" fmla="*/ 408224 h 1237129"/>
              <a:gd name="connsiteX888" fmla="*/ 2179063 w 3751729"/>
              <a:gd name="connsiteY888" fmla="*/ 402318 h 1237129"/>
              <a:gd name="connsiteX889" fmla="*/ 2169955 w 3751729"/>
              <a:gd name="connsiteY889" fmla="*/ 409949 h 1237129"/>
              <a:gd name="connsiteX890" fmla="*/ 2160109 w 3751729"/>
              <a:gd name="connsiteY890" fmla="*/ 414133 h 1237129"/>
              <a:gd name="connsiteX891" fmla="*/ 2150263 w 3751729"/>
              <a:gd name="connsiteY891" fmla="*/ 418318 h 1237129"/>
              <a:gd name="connsiteX892" fmla="*/ 2141155 w 3751729"/>
              <a:gd name="connsiteY892" fmla="*/ 425948 h 1237129"/>
              <a:gd name="connsiteX893" fmla="*/ 2135494 w 3751729"/>
              <a:gd name="connsiteY893" fmla="*/ 435056 h 1237129"/>
              <a:gd name="connsiteX894" fmla="*/ 2133032 w 3751729"/>
              <a:gd name="connsiteY894" fmla="*/ 447610 h 1237129"/>
              <a:gd name="connsiteX895" fmla="*/ 2137217 w 3751729"/>
              <a:gd name="connsiteY895" fmla="*/ 461147 h 1237129"/>
              <a:gd name="connsiteX896" fmla="*/ 2146324 w 3751729"/>
              <a:gd name="connsiteY896" fmla="*/ 474687 h 1237129"/>
              <a:gd name="connsiteX897" fmla="*/ 2154694 w 3751729"/>
              <a:gd name="connsiteY897" fmla="*/ 488225 h 1237129"/>
              <a:gd name="connsiteX898" fmla="*/ 2164540 w 3751729"/>
              <a:gd name="connsiteY898" fmla="*/ 499056 h 1237129"/>
              <a:gd name="connsiteX899" fmla="*/ 2170202 w 3751729"/>
              <a:gd name="connsiteY899" fmla="*/ 509887 h 1237129"/>
              <a:gd name="connsiteX900" fmla="*/ 2160356 w 3751729"/>
              <a:gd name="connsiteY900" fmla="*/ 509887 h 1237129"/>
              <a:gd name="connsiteX901" fmla="*/ 2160356 w 3751729"/>
              <a:gd name="connsiteY901" fmla="*/ 528347 h 1237129"/>
              <a:gd name="connsiteX902" fmla="*/ 2163556 w 3751729"/>
              <a:gd name="connsiteY902" fmla="*/ 541887 h 1237129"/>
              <a:gd name="connsiteX903" fmla="*/ 2171924 w 3751729"/>
              <a:gd name="connsiteY903" fmla="*/ 549517 h 1237129"/>
              <a:gd name="connsiteX904" fmla="*/ 2186694 w 3751729"/>
              <a:gd name="connsiteY904" fmla="*/ 551979 h 1237129"/>
              <a:gd name="connsiteX905" fmla="*/ 2208108 w 3751729"/>
              <a:gd name="connsiteY905" fmla="*/ 551241 h 1237129"/>
              <a:gd name="connsiteX906" fmla="*/ 2206385 w 3751729"/>
              <a:gd name="connsiteY906" fmla="*/ 534502 h 1237129"/>
              <a:gd name="connsiteX907" fmla="*/ 2203185 w 3751729"/>
              <a:gd name="connsiteY907" fmla="*/ 524410 h 1237129"/>
              <a:gd name="connsiteX908" fmla="*/ 2199002 w 3751729"/>
              <a:gd name="connsiteY908" fmla="*/ 516041 h 1237129"/>
              <a:gd name="connsiteX909" fmla="*/ 2197278 w 3751729"/>
              <a:gd name="connsiteY909" fmla="*/ 506933 h 1237129"/>
              <a:gd name="connsiteX910" fmla="*/ 2199002 w 3751729"/>
              <a:gd name="connsiteY910" fmla="*/ 493394 h 1237129"/>
              <a:gd name="connsiteX911" fmla="*/ 2202201 w 3751729"/>
              <a:gd name="connsiteY911" fmla="*/ 495118 h 1237129"/>
              <a:gd name="connsiteX912" fmla="*/ 2204663 w 3751729"/>
              <a:gd name="connsiteY912" fmla="*/ 495118 h 1237129"/>
              <a:gd name="connsiteX913" fmla="*/ 2207863 w 3751729"/>
              <a:gd name="connsiteY913" fmla="*/ 495118 h 1237129"/>
              <a:gd name="connsiteX914" fmla="*/ 2210323 w 3751729"/>
              <a:gd name="connsiteY914" fmla="*/ 495118 h 1237129"/>
              <a:gd name="connsiteX915" fmla="*/ 2214509 w 3751729"/>
              <a:gd name="connsiteY915" fmla="*/ 493147 h 1237129"/>
              <a:gd name="connsiteX916" fmla="*/ 2212047 w 3751729"/>
              <a:gd name="connsiteY916" fmla="*/ 490687 h 1237129"/>
              <a:gd name="connsiteX917" fmla="*/ 2208848 w 3751729"/>
              <a:gd name="connsiteY917" fmla="*/ 488964 h 1237129"/>
              <a:gd name="connsiteX918" fmla="*/ 2208108 w 3751729"/>
              <a:gd name="connsiteY918" fmla="*/ 488225 h 1237129"/>
              <a:gd name="connsiteX919" fmla="*/ 2204909 w 3751729"/>
              <a:gd name="connsiteY919" fmla="*/ 484779 h 1237129"/>
              <a:gd name="connsiteX920" fmla="*/ 2202447 w 3751729"/>
              <a:gd name="connsiteY920" fmla="*/ 483055 h 1237129"/>
              <a:gd name="connsiteX921" fmla="*/ 2200724 w 3751729"/>
              <a:gd name="connsiteY921" fmla="*/ 484779 h 1237129"/>
              <a:gd name="connsiteX922" fmla="*/ 2200724 w 3751729"/>
              <a:gd name="connsiteY922" fmla="*/ 488225 h 1237129"/>
              <a:gd name="connsiteX923" fmla="*/ 2199002 w 3751729"/>
              <a:gd name="connsiteY923" fmla="*/ 490687 h 1237129"/>
              <a:gd name="connsiteX924" fmla="*/ 2199002 w 3751729"/>
              <a:gd name="connsiteY924" fmla="*/ 492410 h 1237129"/>
              <a:gd name="connsiteX925" fmla="*/ 2197278 w 3751729"/>
              <a:gd name="connsiteY925" fmla="*/ 493147 h 1237129"/>
              <a:gd name="connsiteX926" fmla="*/ 2196539 w 3751729"/>
              <a:gd name="connsiteY926" fmla="*/ 492410 h 1237129"/>
              <a:gd name="connsiteX927" fmla="*/ 2194816 w 3751729"/>
              <a:gd name="connsiteY927" fmla="*/ 488964 h 1237129"/>
              <a:gd name="connsiteX928" fmla="*/ 2190632 w 3751729"/>
              <a:gd name="connsiteY928" fmla="*/ 482317 h 1237129"/>
              <a:gd name="connsiteX929" fmla="*/ 2186447 w 3751729"/>
              <a:gd name="connsiteY929" fmla="*/ 474687 h 1237129"/>
              <a:gd name="connsiteX930" fmla="*/ 2187185 w 3751729"/>
              <a:gd name="connsiteY930" fmla="*/ 471241 h 1237129"/>
              <a:gd name="connsiteX931" fmla="*/ 2188909 w 3751729"/>
              <a:gd name="connsiteY931" fmla="*/ 471241 h 1237129"/>
              <a:gd name="connsiteX932" fmla="*/ 2190632 w 3751729"/>
              <a:gd name="connsiteY932" fmla="*/ 470502 h 1237129"/>
              <a:gd name="connsiteX933" fmla="*/ 2191371 w 3751729"/>
              <a:gd name="connsiteY933" fmla="*/ 467056 h 1237129"/>
              <a:gd name="connsiteX934" fmla="*/ 2179063 w 3751729"/>
              <a:gd name="connsiteY934" fmla="*/ 459425 h 1237129"/>
              <a:gd name="connsiteX935" fmla="*/ 2169217 w 3751729"/>
              <a:gd name="connsiteY935" fmla="*/ 447610 h 1237129"/>
              <a:gd name="connsiteX936" fmla="*/ 2163556 w 3751729"/>
              <a:gd name="connsiteY936" fmla="*/ 435056 h 1237129"/>
              <a:gd name="connsiteX937" fmla="*/ 2179309 w 3751729"/>
              <a:gd name="connsiteY937" fmla="*/ 433333 h 1237129"/>
              <a:gd name="connsiteX938" fmla="*/ 2190878 w 3751729"/>
              <a:gd name="connsiteY938" fmla="*/ 429148 h 1237129"/>
              <a:gd name="connsiteX939" fmla="*/ 2196539 w 3751729"/>
              <a:gd name="connsiteY939" fmla="*/ 418318 h 1237129"/>
              <a:gd name="connsiteX940" fmla="*/ 2199002 w 3751729"/>
              <a:gd name="connsiteY940" fmla="*/ 405764 h 1237129"/>
              <a:gd name="connsiteX941" fmla="*/ 2194816 w 3751729"/>
              <a:gd name="connsiteY941" fmla="*/ 404041 h 1237129"/>
              <a:gd name="connsiteX942" fmla="*/ 2190632 w 3751729"/>
              <a:gd name="connsiteY942" fmla="*/ 404041 h 1237129"/>
              <a:gd name="connsiteX943" fmla="*/ 2186447 w 3751729"/>
              <a:gd name="connsiteY943" fmla="*/ 402318 h 1237129"/>
              <a:gd name="connsiteX944" fmla="*/ 2024479 w 3751729"/>
              <a:gd name="connsiteY944" fmla="*/ 400349 h 1237129"/>
              <a:gd name="connsiteX945" fmla="*/ 2012911 w 3751729"/>
              <a:gd name="connsiteY945" fmla="*/ 406256 h 1237129"/>
              <a:gd name="connsiteX946" fmla="*/ 1998879 w 3751729"/>
              <a:gd name="connsiteY946" fmla="*/ 410440 h 1237129"/>
              <a:gd name="connsiteX947" fmla="*/ 1998879 w 3751729"/>
              <a:gd name="connsiteY947" fmla="*/ 422256 h 1237129"/>
              <a:gd name="connsiteX948" fmla="*/ 2004541 w 3751729"/>
              <a:gd name="connsiteY948" fmla="*/ 423979 h 1237129"/>
              <a:gd name="connsiteX949" fmla="*/ 2011187 w 3751729"/>
              <a:gd name="connsiteY949" fmla="*/ 424717 h 1237129"/>
              <a:gd name="connsiteX950" fmla="*/ 2020295 w 3751729"/>
              <a:gd name="connsiteY950" fmla="*/ 424717 h 1237129"/>
              <a:gd name="connsiteX951" fmla="*/ 2020295 w 3751729"/>
              <a:gd name="connsiteY951" fmla="*/ 418810 h 1237129"/>
              <a:gd name="connsiteX952" fmla="*/ 2022757 w 3751729"/>
              <a:gd name="connsiteY952" fmla="*/ 414626 h 1237129"/>
              <a:gd name="connsiteX953" fmla="*/ 2024479 w 3751729"/>
              <a:gd name="connsiteY953" fmla="*/ 410440 h 1237129"/>
              <a:gd name="connsiteX954" fmla="*/ 2024479 w 3751729"/>
              <a:gd name="connsiteY954" fmla="*/ 406256 h 1237129"/>
              <a:gd name="connsiteX955" fmla="*/ 2024479 w 3751729"/>
              <a:gd name="connsiteY955" fmla="*/ 402810 h 1237129"/>
              <a:gd name="connsiteX956" fmla="*/ 904489 w 3751729"/>
              <a:gd name="connsiteY956" fmla="*/ 392717 h 1237129"/>
              <a:gd name="connsiteX957" fmla="*/ 906951 w 3751729"/>
              <a:gd name="connsiteY957" fmla="*/ 400348 h 1237129"/>
              <a:gd name="connsiteX958" fmla="*/ 908427 w 3751729"/>
              <a:gd name="connsiteY958" fmla="*/ 410440 h 1237129"/>
              <a:gd name="connsiteX959" fmla="*/ 910151 w 3751729"/>
              <a:gd name="connsiteY959" fmla="*/ 418809 h 1237129"/>
              <a:gd name="connsiteX960" fmla="*/ 908427 w 3751729"/>
              <a:gd name="connsiteY960" fmla="*/ 420532 h 1237129"/>
              <a:gd name="connsiteX961" fmla="*/ 906951 w 3751729"/>
              <a:gd name="connsiteY961" fmla="*/ 420532 h 1237129"/>
              <a:gd name="connsiteX962" fmla="*/ 905966 w 3751729"/>
              <a:gd name="connsiteY962" fmla="*/ 420532 h 1237129"/>
              <a:gd name="connsiteX963" fmla="*/ 905966 w 3751729"/>
              <a:gd name="connsiteY963" fmla="*/ 422255 h 1237129"/>
              <a:gd name="connsiteX964" fmla="*/ 904489 w 3751729"/>
              <a:gd name="connsiteY964" fmla="*/ 422255 h 1237129"/>
              <a:gd name="connsiteX965" fmla="*/ 898581 w 3751729"/>
              <a:gd name="connsiteY965" fmla="*/ 422255 h 1237129"/>
              <a:gd name="connsiteX966" fmla="*/ 896858 w 3751729"/>
              <a:gd name="connsiteY966" fmla="*/ 420532 h 1237129"/>
              <a:gd name="connsiteX967" fmla="*/ 896858 w 3751729"/>
              <a:gd name="connsiteY967" fmla="*/ 418809 h 1237129"/>
              <a:gd name="connsiteX968" fmla="*/ 896858 w 3751729"/>
              <a:gd name="connsiteY968" fmla="*/ 418071 h 1237129"/>
              <a:gd name="connsiteX969" fmla="*/ 895381 w 3751729"/>
              <a:gd name="connsiteY969" fmla="*/ 418071 h 1237129"/>
              <a:gd name="connsiteX970" fmla="*/ 894396 w 3751729"/>
              <a:gd name="connsiteY970" fmla="*/ 416348 h 1237129"/>
              <a:gd name="connsiteX971" fmla="*/ 583999 w 3751729"/>
              <a:gd name="connsiteY971" fmla="*/ 365149 h 1237129"/>
              <a:gd name="connsiteX972" fmla="*/ 577353 w 3751729"/>
              <a:gd name="connsiteY972" fmla="*/ 375241 h 1237129"/>
              <a:gd name="connsiteX973" fmla="*/ 569969 w 3751729"/>
              <a:gd name="connsiteY973" fmla="*/ 384349 h 1237129"/>
              <a:gd name="connsiteX974" fmla="*/ 565784 w 3751729"/>
              <a:gd name="connsiteY974" fmla="*/ 396903 h 1237129"/>
              <a:gd name="connsiteX975" fmla="*/ 574153 w 3751729"/>
              <a:gd name="connsiteY975" fmla="*/ 396164 h 1237129"/>
              <a:gd name="connsiteX976" fmla="*/ 579815 w 3751729"/>
              <a:gd name="connsiteY976" fmla="*/ 398626 h 1237129"/>
              <a:gd name="connsiteX977" fmla="*/ 583999 w 3751729"/>
              <a:gd name="connsiteY977" fmla="*/ 402810 h 1237129"/>
              <a:gd name="connsiteX978" fmla="*/ 589661 w 3751729"/>
              <a:gd name="connsiteY978" fmla="*/ 410441 h 1237129"/>
              <a:gd name="connsiteX979" fmla="*/ 591385 w 3751729"/>
              <a:gd name="connsiteY979" fmla="*/ 404534 h 1237129"/>
              <a:gd name="connsiteX980" fmla="*/ 591385 w 3751729"/>
              <a:gd name="connsiteY980" fmla="*/ 400349 h 1237129"/>
              <a:gd name="connsiteX981" fmla="*/ 593107 w 3751729"/>
              <a:gd name="connsiteY981" fmla="*/ 396903 h 1237129"/>
              <a:gd name="connsiteX982" fmla="*/ 593107 w 3751729"/>
              <a:gd name="connsiteY982" fmla="*/ 392718 h 1237129"/>
              <a:gd name="connsiteX983" fmla="*/ 600491 w 3751729"/>
              <a:gd name="connsiteY983" fmla="*/ 392718 h 1237129"/>
              <a:gd name="connsiteX984" fmla="*/ 604677 w 3751729"/>
              <a:gd name="connsiteY984" fmla="*/ 402810 h 1237129"/>
              <a:gd name="connsiteX985" fmla="*/ 611323 w 3751729"/>
              <a:gd name="connsiteY985" fmla="*/ 406257 h 1237129"/>
              <a:gd name="connsiteX986" fmla="*/ 616984 w 3751729"/>
              <a:gd name="connsiteY986" fmla="*/ 408718 h 1237129"/>
              <a:gd name="connsiteX987" fmla="*/ 622645 w 3751729"/>
              <a:gd name="connsiteY987" fmla="*/ 412164 h 1237129"/>
              <a:gd name="connsiteX988" fmla="*/ 628306 w 3751729"/>
              <a:gd name="connsiteY988" fmla="*/ 418810 h 1237129"/>
              <a:gd name="connsiteX989" fmla="*/ 622645 w 3751729"/>
              <a:gd name="connsiteY989" fmla="*/ 427918 h 1237129"/>
              <a:gd name="connsiteX990" fmla="*/ 615999 w 3751729"/>
              <a:gd name="connsiteY990" fmla="*/ 438010 h 1237129"/>
              <a:gd name="connsiteX991" fmla="*/ 610338 w 3751729"/>
              <a:gd name="connsiteY991" fmla="*/ 451549 h 1237129"/>
              <a:gd name="connsiteX992" fmla="*/ 605415 w 3751729"/>
              <a:gd name="connsiteY992" fmla="*/ 463364 h 1237129"/>
              <a:gd name="connsiteX993" fmla="*/ 605415 w 3751729"/>
              <a:gd name="connsiteY993" fmla="*/ 470749 h 1237129"/>
              <a:gd name="connsiteX994" fmla="*/ 606400 w 3751729"/>
              <a:gd name="connsiteY994" fmla="*/ 475671 h 1237129"/>
              <a:gd name="connsiteX995" fmla="*/ 606400 w 3751729"/>
              <a:gd name="connsiteY995" fmla="*/ 478134 h 1237129"/>
              <a:gd name="connsiteX996" fmla="*/ 608122 w 3751729"/>
              <a:gd name="connsiteY996" fmla="*/ 479856 h 1237129"/>
              <a:gd name="connsiteX997" fmla="*/ 609846 w 3751729"/>
              <a:gd name="connsiteY997" fmla="*/ 481580 h 1237129"/>
              <a:gd name="connsiteX998" fmla="*/ 610584 w 3751729"/>
              <a:gd name="connsiteY998" fmla="*/ 483302 h 1237129"/>
              <a:gd name="connsiteX999" fmla="*/ 615507 w 3751729"/>
              <a:gd name="connsiteY999" fmla="*/ 484042 h 1237129"/>
              <a:gd name="connsiteX1000" fmla="*/ 615507 w 3751729"/>
              <a:gd name="connsiteY1000" fmla="*/ 481580 h 1237129"/>
              <a:gd name="connsiteX1001" fmla="*/ 617969 w 3751729"/>
              <a:gd name="connsiteY1001" fmla="*/ 475671 h 1237129"/>
              <a:gd name="connsiteX1002" fmla="*/ 622153 w 3751729"/>
              <a:gd name="connsiteY1002" fmla="*/ 466564 h 1237129"/>
              <a:gd name="connsiteX1003" fmla="*/ 627076 w 3751729"/>
              <a:gd name="connsiteY1003" fmla="*/ 454749 h 1237129"/>
              <a:gd name="connsiteX1004" fmla="*/ 631261 w 3751729"/>
              <a:gd name="connsiteY1004" fmla="*/ 444656 h 1237129"/>
              <a:gd name="connsiteX1005" fmla="*/ 635445 w 3751729"/>
              <a:gd name="connsiteY1005" fmla="*/ 436287 h 1237129"/>
              <a:gd name="connsiteX1006" fmla="*/ 637169 w 3751729"/>
              <a:gd name="connsiteY1006" fmla="*/ 430379 h 1237129"/>
              <a:gd name="connsiteX1007" fmla="*/ 647014 w 3751729"/>
              <a:gd name="connsiteY1007" fmla="*/ 430379 h 1237129"/>
              <a:gd name="connsiteX1008" fmla="*/ 648738 w 3751729"/>
              <a:gd name="connsiteY1008" fmla="*/ 446379 h 1237129"/>
              <a:gd name="connsiteX1009" fmla="*/ 648738 w 3751729"/>
              <a:gd name="connsiteY1009" fmla="*/ 460657 h 1237129"/>
              <a:gd name="connsiteX1010" fmla="*/ 648738 w 3751729"/>
              <a:gd name="connsiteY1010" fmla="*/ 478379 h 1237129"/>
              <a:gd name="connsiteX1011" fmla="*/ 650461 w 3751729"/>
              <a:gd name="connsiteY1011" fmla="*/ 497579 h 1237129"/>
              <a:gd name="connsiteX1012" fmla="*/ 668677 w 3751729"/>
              <a:gd name="connsiteY1012" fmla="*/ 500041 h 1237129"/>
              <a:gd name="connsiteX1013" fmla="*/ 676061 w 3751729"/>
              <a:gd name="connsiteY1013" fmla="*/ 489210 h 1237129"/>
              <a:gd name="connsiteX1014" fmla="*/ 689353 w 3751729"/>
              <a:gd name="connsiteY1014" fmla="*/ 481580 h 1237129"/>
              <a:gd name="connsiteX1015" fmla="*/ 703383 w 3751729"/>
              <a:gd name="connsiteY1015" fmla="*/ 473949 h 1237129"/>
              <a:gd name="connsiteX1016" fmla="*/ 718153 w 3751729"/>
              <a:gd name="connsiteY1016" fmla="*/ 468041 h 1237129"/>
              <a:gd name="connsiteX1017" fmla="*/ 732184 w 3751729"/>
              <a:gd name="connsiteY1017" fmla="*/ 462133 h 1237129"/>
              <a:gd name="connsiteX1018" fmla="*/ 745476 w 3751729"/>
              <a:gd name="connsiteY1018" fmla="*/ 454502 h 1237129"/>
              <a:gd name="connsiteX1019" fmla="*/ 751137 w 3751729"/>
              <a:gd name="connsiteY1019" fmla="*/ 446133 h 1237129"/>
              <a:gd name="connsiteX1020" fmla="*/ 747937 w 3751729"/>
              <a:gd name="connsiteY1020" fmla="*/ 446133 h 1237129"/>
              <a:gd name="connsiteX1021" fmla="*/ 747198 w 3751729"/>
              <a:gd name="connsiteY1021" fmla="*/ 442688 h 1237129"/>
              <a:gd name="connsiteX1022" fmla="*/ 747198 w 3751729"/>
              <a:gd name="connsiteY1022" fmla="*/ 441949 h 1237129"/>
              <a:gd name="connsiteX1023" fmla="*/ 745476 w 3751729"/>
              <a:gd name="connsiteY1023" fmla="*/ 440225 h 1237129"/>
              <a:gd name="connsiteX1024" fmla="*/ 743752 w 3751729"/>
              <a:gd name="connsiteY1024" fmla="*/ 440225 h 1237129"/>
              <a:gd name="connsiteX1025" fmla="*/ 742029 w 3751729"/>
              <a:gd name="connsiteY1025" fmla="*/ 440225 h 1237129"/>
              <a:gd name="connsiteX1026" fmla="*/ 739568 w 3751729"/>
              <a:gd name="connsiteY1026" fmla="*/ 438503 h 1237129"/>
              <a:gd name="connsiteX1027" fmla="*/ 733906 w 3751729"/>
              <a:gd name="connsiteY1027" fmla="*/ 442688 h 1237129"/>
              <a:gd name="connsiteX1028" fmla="*/ 724060 w 3751729"/>
              <a:gd name="connsiteY1028" fmla="*/ 448595 h 1237129"/>
              <a:gd name="connsiteX1029" fmla="*/ 712491 w 3751729"/>
              <a:gd name="connsiteY1029" fmla="*/ 457702 h 1237129"/>
              <a:gd name="connsiteX1030" fmla="*/ 697722 w 3751729"/>
              <a:gd name="connsiteY1030" fmla="*/ 465334 h 1237129"/>
              <a:gd name="connsiteX1031" fmla="*/ 684429 w 3751729"/>
              <a:gd name="connsiteY1031" fmla="*/ 473703 h 1237129"/>
              <a:gd name="connsiteX1032" fmla="*/ 672122 w 3751729"/>
              <a:gd name="connsiteY1032" fmla="*/ 479611 h 1237129"/>
              <a:gd name="connsiteX1033" fmla="*/ 663014 w 3751729"/>
              <a:gd name="connsiteY1033" fmla="*/ 483056 h 1237129"/>
              <a:gd name="connsiteX1034" fmla="*/ 660553 w 3751729"/>
              <a:gd name="connsiteY1034" fmla="*/ 483795 h 1237129"/>
              <a:gd name="connsiteX1035" fmla="*/ 658830 w 3751729"/>
              <a:gd name="connsiteY1035" fmla="*/ 483056 h 1237129"/>
              <a:gd name="connsiteX1036" fmla="*/ 657107 w 3751729"/>
              <a:gd name="connsiteY1036" fmla="*/ 481334 h 1237129"/>
              <a:gd name="connsiteX1037" fmla="*/ 657107 w 3751729"/>
              <a:gd name="connsiteY1037" fmla="*/ 479611 h 1237129"/>
              <a:gd name="connsiteX1038" fmla="*/ 657107 w 3751729"/>
              <a:gd name="connsiteY1038" fmla="*/ 477887 h 1237129"/>
              <a:gd name="connsiteX1039" fmla="*/ 656368 w 3751729"/>
              <a:gd name="connsiteY1039" fmla="*/ 475425 h 1237129"/>
              <a:gd name="connsiteX1040" fmla="*/ 660553 w 3751729"/>
              <a:gd name="connsiteY1040" fmla="*/ 467794 h 1237129"/>
              <a:gd name="connsiteX1041" fmla="*/ 660553 w 3751729"/>
              <a:gd name="connsiteY1041" fmla="*/ 461887 h 1237129"/>
              <a:gd name="connsiteX1042" fmla="*/ 658830 w 3751729"/>
              <a:gd name="connsiteY1042" fmla="*/ 457702 h 1237129"/>
              <a:gd name="connsiteX1043" fmla="*/ 657107 w 3751729"/>
              <a:gd name="connsiteY1043" fmla="*/ 450071 h 1237129"/>
              <a:gd name="connsiteX1044" fmla="*/ 660306 w 3751729"/>
              <a:gd name="connsiteY1044" fmla="*/ 441703 h 1237129"/>
              <a:gd name="connsiteX1045" fmla="*/ 662031 w 3751729"/>
              <a:gd name="connsiteY1045" fmla="*/ 439980 h 1237129"/>
              <a:gd name="connsiteX1046" fmla="*/ 662768 w 3751729"/>
              <a:gd name="connsiteY1046" fmla="*/ 438257 h 1237129"/>
              <a:gd name="connsiteX1047" fmla="*/ 664491 w 3751729"/>
              <a:gd name="connsiteY1047" fmla="*/ 436534 h 1237129"/>
              <a:gd name="connsiteX1048" fmla="*/ 666215 w 3751729"/>
              <a:gd name="connsiteY1048" fmla="*/ 436534 h 1237129"/>
              <a:gd name="connsiteX1049" fmla="*/ 667937 w 3751729"/>
              <a:gd name="connsiteY1049" fmla="*/ 436534 h 1237129"/>
              <a:gd name="connsiteX1050" fmla="*/ 668677 w 3751729"/>
              <a:gd name="connsiteY1050" fmla="*/ 435794 h 1237129"/>
              <a:gd name="connsiteX1051" fmla="*/ 670399 w 3751729"/>
              <a:gd name="connsiteY1051" fmla="*/ 434072 h 1237129"/>
              <a:gd name="connsiteX1052" fmla="*/ 670399 w 3751729"/>
              <a:gd name="connsiteY1052" fmla="*/ 430626 h 1237129"/>
              <a:gd name="connsiteX1053" fmla="*/ 672122 w 3751729"/>
              <a:gd name="connsiteY1053" fmla="*/ 426441 h 1237129"/>
              <a:gd name="connsiteX1054" fmla="*/ 672122 w 3751729"/>
              <a:gd name="connsiteY1054" fmla="*/ 418810 h 1237129"/>
              <a:gd name="connsiteX1055" fmla="*/ 664738 w 3751729"/>
              <a:gd name="connsiteY1055" fmla="*/ 414626 h 1237129"/>
              <a:gd name="connsiteX1056" fmla="*/ 657353 w 3751729"/>
              <a:gd name="connsiteY1056" fmla="*/ 412903 h 1237129"/>
              <a:gd name="connsiteX1057" fmla="*/ 651692 w 3751729"/>
              <a:gd name="connsiteY1057" fmla="*/ 412903 h 1237129"/>
              <a:gd name="connsiteX1058" fmla="*/ 645046 w 3751729"/>
              <a:gd name="connsiteY1058" fmla="*/ 410441 h 1237129"/>
              <a:gd name="connsiteX1059" fmla="*/ 634215 w 3751729"/>
              <a:gd name="connsiteY1059" fmla="*/ 402810 h 1237129"/>
              <a:gd name="connsiteX1060" fmla="*/ 627569 w 3751729"/>
              <a:gd name="connsiteY1060" fmla="*/ 396164 h 1237129"/>
              <a:gd name="connsiteX1061" fmla="*/ 622645 w 3751729"/>
              <a:gd name="connsiteY1061" fmla="*/ 387057 h 1237129"/>
              <a:gd name="connsiteX1062" fmla="*/ 616984 w 3751729"/>
              <a:gd name="connsiteY1062" fmla="*/ 378687 h 1237129"/>
              <a:gd name="connsiteX1063" fmla="*/ 610338 w 3751729"/>
              <a:gd name="connsiteY1063" fmla="*/ 372780 h 1237129"/>
              <a:gd name="connsiteX1064" fmla="*/ 598769 w 3751729"/>
              <a:gd name="connsiteY1064" fmla="*/ 366872 h 1237129"/>
              <a:gd name="connsiteX1065" fmla="*/ 873963 w 3751729"/>
              <a:gd name="connsiteY1065" fmla="*/ 351856 h 1237129"/>
              <a:gd name="connsiteX1066" fmla="*/ 884795 w 3751729"/>
              <a:gd name="connsiteY1066" fmla="*/ 352594 h 1237129"/>
              <a:gd name="connsiteX1067" fmla="*/ 891195 w 3751729"/>
              <a:gd name="connsiteY1067" fmla="*/ 354317 h 1237129"/>
              <a:gd name="connsiteX1068" fmla="*/ 900304 w 3751729"/>
              <a:gd name="connsiteY1068" fmla="*/ 357764 h 1237129"/>
              <a:gd name="connsiteX1069" fmla="*/ 900304 w 3751729"/>
              <a:gd name="connsiteY1069" fmla="*/ 364410 h 1237129"/>
              <a:gd name="connsiteX1070" fmla="*/ 897102 w 3751729"/>
              <a:gd name="connsiteY1070" fmla="*/ 364410 h 1237129"/>
              <a:gd name="connsiteX1071" fmla="*/ 894641 w 3751729"/>
              <a:gd name="connsiteY1071" fmla="*/ 366134 h 1237129"/>
              <a:gd name="connsiteX1072" fmla="*/ 891195 w 3751729"/>
              <a:gd name="connsiteY1072" fmla="*/ 366134 h 1237129"/>
              <a:gd name="connsiteX1073" fmla="*/ 888733 w 3751729"/>
              <a:gd name="connsiteY1073" fmla="*/ 366134 h 1237129"/>
              <a:gd name="connsiteX1074" fmla="*/ 884795 w 3751729"/>
              <a:gd name="connsiteY1074" fmla="*/ 367611 h 1237129"/>
              <a:gd name="connsiteX1075" fmla="*/ 881348 w 3751729"/>
              <a:gd name="connsiteY1075" fmla="*/ 363426 h 1237129"/>
              <a:gd name="connsiteX1076" fmla="*/ 879625 w 3751729"/>
              <a:gd name="connsiteY1076" fmla="*/ 361948 h 1237129"/>
              <a:gd name="connsiteX1077" fmla="*/ 878887 w 3751729"/>
              <a:gd name="connsiteY1077" fmla="*/ 358503 h 1237129"/>
              <a:gd name="connsiteX1078" fmla="*/ 877164 w 3751729"/>
              <a:gd name="connsiteY1078" fmla="*/ 356041 h 1237129"/>
              <a:gd name="connsiteX1079" fmla="*/ 941657 w 3751729"/>
              <a:gd name="connsiteY1079" fmla="*/ 335118 h 1237129"/>
              <a:gd name="connsiteX1080" fmla="*/ 950765 w 3751729"/>
              <a:gd name="connsiteY1080" fmla="*/ 335118 h 1237129"/>
              <a:gd name="connsiteX1081" fmla="*/ 950765 w 3751729"/>
              <a:gd name="connsiteY1081" fmla="*/ 346932 h 1237129"/>
              <a:gd name="connsiteX1082" fmla="*/ 950765 w 3751729"/>
              <a:gd name="connsiteY1082" fmla="*/ 357763 h 1237129"/>
              <a:gd name="connsiteX1083" fmla="*/ 952488 w 3751729"/>
              <a:gd name="connsiteY1083" fmla="*/ 366133 h 1237129"/>
              <a:gd name="connsiteX1084" fmla="*/ 953226 w 3751729"/>
              <a:gd name="connsiteY1084" fmla="*/ 375979 h 1237129"/>
              <a:gd name="connsiteX1085" fmla="*/ 969718 w 3751729"/>
              <a:gd name="connsiteY1085" fmla="*/ 375979 h 1237129"/>
              <a:gd name="connsiteX1086" fmla="*/ 969718 w 3751729"/>
              <a:gd name="connsiteY1086" fmla="*/ 392717 h 1237129"/>
              <a:gd name="connsiteX1087" fmla="*/ 976365 w 3751729"/>
              <a:gd name="connsiteY1087" fmla="*/ 392717 h 1237129"/>
              <a:gd name="connsiteX1088" fmla="*/ 978089 w 3751729"/>
              <a:gd name="connsiteY1088" fmla="*/ 393456 h 1237129"/>
              <a:gd name="connsiteX1089" fmla="*/ 979811 w 3751729"/>
              <a:gd name="connsiteY1089" fmla="*/ 393456 h 1237129"/>
              <a:gd name="connsiteX1090" fmla="*/ 981288 w 3751729"/>
              <a:gd name="connsiteY1090" fmla="*/ 393456 h 1237129"/>
              <a:gd name="connsiteX1091" fmla="*/ 982272 w 3751729"/>
              <a:gd name="connsiteY1091" fmla="*/ 393456 h 1237129"/>
              <a:gd name="connsiteX1092" fmla="*/ 983750 w 3751729"/>
              <a:gd name="connsiteY1092" fmla="*/ 393456 h 1237129"/>
              <a:gd name="connsiteX1093" fmla="*/ 985472 w 3751729"/>
              <a:gd name="connsiteY1093" fmla="*/ 395179 h 1237129"/>
              <a:gd name="connsiteX1094" fmla="*/ 983750 w 3751729"/>
              <a:gd name="connsiteY1094" fmla="*/ 404286 h 1237129"/>
              <a:gd name="connsiteX1095" fmla="*/ 981288 w 3751729"/>
              <a:gd name="connsiteY1095" fmla="*/ 414379 h 1237129"/>
              <a:gd name="connsiteX1096" fmla="*/ 979811 w 3751729"/>
              <a:gd name="connsiteY1096" fmla="*/ 424225 h 1237129"/>
              <a:gd name="connsiteX1097" fmla="*/ 976365 w 3751729"/>
              <a:gd name="connsiteY1097" fmla="*/ 424225 h 1237129"/>
              <a:gd name="connsiteX1098" fmla="*/ 975626 w 3751729"/>
              <a:gd name="connsiteY1098" fmla="*/ 421025 h 1237129"/>
              <a:gd name="connsiteX1099" fmla="*/ 975626 w 3751729"/>
              <a:gd name="connsiteY1099" fmla="*/ 420041 h 1237129"/>
              <a:gd name="connsiteX1100" fmla="*/ 975626 w 3751729"/>
              <a:gd name="connsiteY1100" fmla="*/ 418563 h 1237129"/>
              <a:gd name="connsiteX1101" fmla="*/ 973904 w 3751729"/>
              <a:gd name="connsiteY1101" fmla="*/ 416841 h 1237129"/>
              <a:gd name="connsiteX1102" fmla="*/ 973904 w 3751729"/>
              <a:gd name="connsiteY1102" fmla="*/ 415117 h 1237129"/>
              <a:gd name="connsiteX1103" fmla="*/ 972180 w 3751729"/>
              <a:gd name="connsiteY1103" fmla="*/ 418563 h 1237129"/>
              <a:gd name="connsiteX1104" fmla="*/ 970703 w 3751729"/>
              <a:gd name="connsiteY1104" fmla="*/ 418563 h 1237129"/>
              <a:gd name="connsiteX1105" fmla="*/ 970703 w 3751729"/>
              <a:gd name="connsiteY1105" fmla="*/ 420041 h 1237129"/>
              <a:gd name="connsiteX1106" fmla="*/ 969718 w 3751729"/>
              <a:gd name="connsiteY1106" fmla="*/ 420041 h 1237129"/>
              <a:gd name="connsiteX1107" fmla="*/ 966519 w 3751729"/>
              <a:gd name="connsiteY1107" fmla="*/ 421025 h 1237129"/>
              <a:gd name="connsiteX1108" fmla="*/ 966519 w 3751729"/>
              <a:gd name="connsiteY1108" fmla="*/ 415117 h 1237129"/>
              <a:gd name="connsiteX1109" fmla="*/ 968242 w 3751729"/>
              <a:gd name="connsiteY1109" fmla="*/ 414379 h 1237129"/>
              <a:gd name="connsiteX1110" fmla="*/ 968242 w 3751729"/>
              <a:gd name="connsiteY1110" fmla="*/ 412655 h 1237129"/>
              <a:gd name="connsiteX1111" fmla="*/ 969718 w 3751729"/>
              <a:gd name="connsiteY1111" fmla="*/ 410932 h 1237129"/>
              <a:gd name="connsiteX1112" fmla="*/ 969718 w 3751729"/>
              <a:gd name="connsiteY1112" fmla="*/ 408471 h 1237129"/>
              <a:gd name="connsiteX1113" fmla="*/ 969718 w 3751729"/>
              <a:gd name="connsiteY1113" fmla="*/ 405271 h 1237129"/>
              <a:gd name="connsiteX1114" fmla="*/ 966519 w 3751729"/>
              <a:gd name="connsiteY1114" fmla="*/ 405271 h 1237129"/>
              <a:gd name="connsiteX1115" fmla="*/ 960611 w 3751729"/>
              <a:gd name="connsiteY1115" fmla="*/ 410932 h 1237129"/>
              <a:gd name="connsiteX1116" fmla="*/ 954950 w 3751729"/>
              <a:gd name="connsiteY1116" fmla="*/ 416841 h 1237129"/>
              <a:gd name="connsiteX1117" fmla="*/ 947565 w 3751729"/>
              <a:gd name="connsiteY1117" fmla="*/ 421025 h 1237129"/>
              <a:gd name="connsiteX1118" fmla="*/ 947565 w 3751729"/>
              <a:gd name="connsiteY1118" fmla="*/ 416841 h 1237129"/>
              <a:gd name="connsiteX1119" fmla="*/ 947565 w 3751729"/>
              <a:gd name="connsiteY1119" fmla="*/ 412655 h 1237129"/>
              <a:gd name="connsiteX1120" fmla="*/ 947565 w 3751729"/>
              <a:gd name="connsiteY1120" fmla="*/ 410932 h 1237129"/>
              <a:gd name="connsiteX1121" fmla="*/ 946580 w 3751729"/>
              <a:gd name="connsiteY1121" fmla="*/ 410194 h 1237129"/>
              <a:gd name="connsiteX1122" fmla="*/ 943380 w 3751729"/>
              <a:gd name="connsiteY1122" fmla="*/ 408471 h 1237129"/>
              <a:gd name="connsiteX1123" fmla="*/ 939195 w 3751729"/>
              <a:gd name="connsiteY1123" fmla="*/ 408471 h 1237129"/>
              <a:gd name="connsiteX1124" fmla="*/ 931811 w 3751729"/>
              <a:gd name="connsiteY1124" fmla="*/ 408471 h 1237129"/>
              <a:gd name="connsiteX1125" fmla="*/ 929349 w 3751729"/>
              <a:gd name="connsiteY1125" fmla="*/ 408471 h 1237129"/>
              <a:gd name="connsiteX1126" fmla="*/ 925903 w 3751729"/>
              <a:gd name="connsiteY1126" fmla="*/ 408471 h 1237129"/>
              <a:gd name="connsiteX1127" fmla="*/ 921965 w 3751729"/>
              <a:gd name="connsiteY1127" fmla="*/ 406748 h 1237129"/>
              <a:gd name="connsiteX1128" fmla="*/ 917780 w 3751729"/>
              <a:gd name="connsiteY1128" fmla="*/ 406748 h 1237129"/>
              <a:gd name="connsiteX1129" fmla="*/ 913595 w 3751729"/>
              <a:gd name="connsiteY1129" fmla="*/ 405271 h 1237129"/>
              <a:gd name="connsiteX1130" fmla="*/ 910395 w 3751729"/>
              <a:gd name="connsiteY1130" fmla="*/ 402564 h 1237129"/>
              <a:gd name="connsiteX1131" fmla="*/ 918519 w 3751729"/>
              <a:gd name="connsiteY1131" fmla="*/ 390994 h 1237129"/>
              <a:gd name="connsiteX1132" fmla="*/ 927626 w 3751729"/>
              <a:gd name="connsiteY1132" fmla="*/ 373518 h 1237129"/>
              <a:gd name="connsiteX1133" fmla="*/ 933534 w 3751729"/>
              <a:gd name="connsiteY1133" fmla="*/ 354317 h 1237129"/>
              <a:gd name="connsiteX1134" fmla="*/ 668181 w 3751729"/>
              <a:gd name="connsiteY1134" fmla="*/ 284409 h 1237129"/>
              <a:gd name="connsiteX1135" fmla="*/ 680489 w 3751729"/>
              <a:gd name="connsiteY1135" fmla="*/ 284409 h 1237129"/>
              <a:gd name="connsiteX1136" fmla="*/ 680489 w 3751729"/>
              <a:gd name="connsiteY1136" fmla="*/ 290318 h 1237129"/>
              <a:gd name="connsiteX1137" fmla="*/ 678027 w 3751729"/>
              <a:gd name="connsiteY1137" fmla="*/ 290318 h 1237129"/>
              <a:gd name="connsiteX1138" fmla="*/ 676551 w 3751729"/>
              <a:gd name="connsiteY1138" fmla="*/ 291793 h 1237129"/>
              <a:gd name="connsiteX1139" fmla="*/ 675565 w 3751729"/>
              <a:gd name="connsiteY1139" fmla="*/ 291793 h 1237129"/>
              <a:gd name="connsiteX1140" fmla="*/ 674089 w 3751729"/>
              <a:gd name="connsiteY1140" fmla="*/ 291793 h 1237129"/>
              <a:gd name="connsiteX1141" fmla="*/ 672366 w 3751729"/>
              <a:gd name="connsiteY1141" fmla="*/ 293518 h 1237129"/>
              <a:gd name="connsiteX1142" fmla="*/ 668181 w 3751729"/>
              <a:gd name="connsiteY1142" fmla="*/ 293518 h 1237129"/>
              <a:gd name="connsiteX1143" fmla="*/ 3216347 w 3751729"/>
              <a:gd name="connsiteY1143" fmla="*/ 266933 h 1237129"/>
              <a:gd name="connsiteX1144" fmla="*/ 3218071 w 3751729"/>
              <a:gd name="connsiteY1144" fmla="*/ 268656 h 1237129"/>
              <a:gd name="connsiteX1145" fmla="*/ 3218071 w 3751729"/>
              <a:gd name="connsiteY1145" fmla="*/ 270133 h 1237129"/>
              <a:gd name="connsiteX1146" fmla="*/ 3218809 w 3751729"/>
              <a:gd name="connsiteY1146" fmla="*/ 270133 h 1237129"/>
              <a:gd name="connsiteX1147" fmla="*/ 3218809 w 3751729"/>
              <a:gd name="connsiteY1147" fmla="*/ 271856 h 1237129"/>
              <a:gd name="connsiteX1148" fmla="*/ 3223732 w 3751729"/>
              <a:gd name="connsiteY1148" fmla="*/ 281948 h 1237129"/>
              <a:gd name="connsiteX1149" fmla="*/ 3223732 w 3751729"/>
              <a:gd name="connsiteY1149" fmla="*/ 295240 h 1237129"/>
              <a:gd name="connsiteX1150" fmla="*/ 3223732 w 3751729"/>
              <a:gd name="connsiteY1150" fmla="*/ 307795 h 1237129"/>
              <a:gd name="connsiteX1151" fmla="*/ 3226193 w 3751729"/>
              <a:gd name="connsiteY1151" fmla="*/ 322810 h 1237129"/>
              <a:gd name="connsiteX1152" fmla="*/ 3230377 w 3751729"/>
              <a:gd name="connsiteY1152" fmla="*/ 336841 h 1237129"/>
              <a:gd name="connsiteX1153" fmla="*/ 3237763 w 3751729"/>
              <a:gd name="connsiteY1153" fmla="*/ 352595 h 1237129"/>
              <a:gd name="connsiteX1154" fmla="*/ 3241947 w 3751729"/>
              <a:gd name="connsiteY1154" fmla="*/ 370071 h 1237129"/>
              <a:gd name="connsiteX1155" fmla="*/ 3222255 w 3751729"/>
              <a:gd name="connsiteY1155" fmla="*/ 367609 h 1237129"/>
              <a:gd name="connsiteX1156" fmla="*/ 3222255 w 3751729"/>
              <a:gd name="connsiteY1156" fmla="*/ 380902 h 1237129"/>
              <a:gd name="connsiteX1157" fmla="*/ 3224717 w 3751729"/>
              <a:gd name="connsiteY1157" fmla="*/ 390995 h 1237129"/>
              <a:gd name="connsiteX1158" fmla="*/ 3226193 w 3751729"/>
              <a:gd name="connsiteY1158" fmla="*/ 401087 h 1237129"/>
              <a:gd name="connsiteX1159" fmla="*/ 3229639 w 3751729"/>
              <a:gd name="connsiteY1159" fmla="*/ 415117 h 1237129"/>
              <a:gd name="connsiteX1160" fmla="*/ 3224717 w 3751729"/>
              <a:gd name="connsiteY1160" fmla="*/ 415117 h 1237129"/>
              <a:gd name="connsiteX1161" fmla="*/ 3222255 w 3751729"/>
              <a:gd name="connsiteY1161" fmla="*/ 415117 h 1237129"/>
              <a:gd name="connsiteX1162" fmla="*/ 3218071 w 3751729"/>
              <a:gd name="connsiteY1162" fmla="*/ 416840 h 1237129"/>
              <a:gd name="connsiteX1163" fmla="*/ 3216347 w 3751729"/>
              <a:gd name="connsiteY1163" fmla="*/ 416840 h 1237129"/>
              <a:gd name="connsiteX1164" fmla="*/ 3213885 w 3751729"/>
              <a:gd name="connsiteY1164" fmla="*/ 418564 h 1237129"/>
              <a:gd name="connsiteX1165" fmla="*/ 3210686 w 3751729"/>
              <a:gd name="connsiteY1165" fmla="*/ 410194 h 1237129"/>
              <a:gd name="connsiteX1166" fmla="*/ 3208962 w 3751729"/>
              <a:gd name="connsiteY1166" fmla="*/ 393456 h 1237129"/>
              <a:gd name="connsiteX1167" fmla="*/ 3208962 w 3751729"/>
              <a:gd name="connsiteY1167" fmla="*/ 375240 h 1237129"/>
              <a:gd name="connsiteX1168" fmla="*/ 3208962 w 3751729"/>
              <a:gd name="connsiteY1168" fmla="*/ 354317 h 1237129"/>
              <a:gd name="connsiteX1169" fmla="*/ 3208962 w 3751729"/>
              <a:gd name="connsiteY1169" fmla="*/ 335117 h 1237129"/>
              <a:gd name="connsiteX1170" fmla="*/ 3206501 w 3751729"/>
              <a:gd name="connsiteY1170" fmla="*/ 322810 h 1237129"/>
              <a:gd name="connsiteX1171" fmla="*/ 3206501 w 3751729"/>
              <a:gd name="connsiteY1171" fmla="*/ 290318 h 1237129"/>
              <a:gd name="connsiteX1172" fmla="*/ 3208962 w 3751729"/>
              <a:gd name="connsiteY1172" fmla="*/ 286133 h 1237129"/>
              <a:gd name="connsiteX1173" fmla="*/ 3210686 w 3751729"/>
              <a:gd name="connsiteY1173" fmla="*/ 283672 h 1237129"/>
              <a:gd name="connsiteX1174" fmla="*/ 3212163 w 3751729"/>
              <a:gd name="connsiteY1174" fmla="*/ 280226 h 1237129"/>
              <a:gd name="connsiteX1175" fmla="*/ 3213885 w 3751729"/>
              <a:gd name="connsiteY1175" fmla="*/ 277764 h 1237129"/>
              <a:gd name="connsiteX1176" fmla="*/ 3214625 w 3751729"/>
              <a:gd name="connsiteY1176" fmla="*/ 272841 h 1237129"/>
              <a:gd name="connsiteX1177" fmla="*/ 1521837 w 3751729"/>
              <a:gd name="connsiteY1177" fmla="*/ 255363 h 1237129"/>
              <a:gd name="connsiteX1178" fmla="*/ 1525037 w 3751729"/>
              <a:gd name="connsiteY1178" fmla="*/ 272840 h 1237129"/>
              <a:gd name="connsiteX1179" fmla="*/ 1523314 w 3751729"/>
              <a:gd name="connsiteY1179" fmla="*/ 290318 h 1237129"/>
              <a:gd name="connsiteX1180" fmla="*/ 1519375 w 3751729"/>
              <a:gd name="connsiteY1180" fmla="*/ 309272 h 1237129"/>
              <a:gd name="connsiteX1181" fmla="*/ 1507806 w 3751729"/>
              <a:gd name="connsiteY1181" fmla="*/ 315179 h 1237129"/>
              <a:gd name="connsiteX1182" fmla="*/ 1496976 w 3751729"/>
              <a:gd name="connsiteY1182" fmla="*/ 318626 h 1237129"/>
              <a:gd name="connsiteX1183" fmla="*/ 1481221 w 3751729"/>
              <a:gd name="connsiteY1183" fmla="*/ 319364 h 1237129"/>
              <a:gd name="connsiteX1184" fmla="*/ 1481221 w 3751729"/>
              <a:gd name="connsiteY1184" fmla="*/ 312718 h 1237129"/>
              <a:gd name="connsiteX1185" fmla="*/ 1485406 w 3751729"/>
              <a:gd name="connsiteY1185" fmla="*/ 301887 h 1237129"/>
              <a:gd name="connsiteX1186" fmla="*/ 1485406 w 3751729"/>
              <a:gd name="connsiteY1186" fmla="*/ 289332 h 1237129"/>
              <a:gd name="connsiteX1187" fmla="*/ 1484667 w 3751729"/>
              <a:gd name="connsiteY1187" fmla="*/ 274317 h 1237129"/>
              <a:gd name="connsiteX1188" fmla="*/ 1492791 w 3751729"/>
              <a:gd name="connsiteY1188" fmla="*/ 266933 h 1237129"/>
              <a:gd name="connsiteX1189" fmla="*/ 1500175 w 3751729"/>
              <a:gd name="connsiteY1189" fmla="*/ 261025 h 1237129"/>
              <a:gd name="connsiteX1190" fmla="*/ 1508545 w 3751729"/>
              <a:gd name="connsiteY1190" fmla="*/ 256841 h 1237129"/>
              <a:gd name="connsiteX1191" fmla="*/ 1728358 w 3751729"/>
              <a:gd name="connsiteY1191" fmla="*/ 232718 h 1237129"/>
              <a:gd name="connsiteX1192" fmla="*/ 1730820 w 3751729"/>
              <a:gd name="connsiteY1192" fmla="*/ 235180 h 1237129"/>
              <a:gd name="connsiteX1193" fmla="*/ 1732542 w 3751729"/>
              <a:gd name="connsiteY1193" fmla="*/ 236903 h 1237129"/>
              <a:gd name="connsiteX1194" fmla="*/ 1734019 w 3751729"/>
              <a:gd name="connsiteY1194" fmla="*/ 238625 h 1237129"/>
              <a:gd name="connsiteX1195" fmla="*/ 1734019 w 3751729"/>
              <a:gd name="connsiteY1195" fmla="*/ 241087 h 1237129"/>
              <a:gd name="connsiteX1196" fmla="*/ 1734019 w 3751729"/>
              <a:gd name="connsiteY1196" fmla="*/ 244533 h 1237129"/>
              <a:gd name="connsiteX1197" fmla="*/ 1735004 w 3751729"/>
              <a:gd name="connsiteY1197" fmla="*/ 248472 h 1237129"/>
              <a:gd name="connsiteX1198" fmla="*/ 1734019 w 3751729"/>
              <a:gd name="connsiteY1198" fmla="*/ 251179 h 1237129"/>
              <a:gd name="connsiteX1199" fmla="*/ 1732542 w 3751729"/>
              <a:gd name="connsiteY1199" fmla="*/ 252656 h 1237129"/>
              <a:gd name="connsiteX1200" fmla="*/ 1732542 w 3751729"/>
              <a:gd name="connsiteY1200" fmla="*/ 254379 h 1237129"/>
              <a:gd name="connsiteX1201" fmla="*/ 1732542 w 3751729"/>
              <a:gd name="connsiteY1201" fmla="*/ 255364 h 1237129"/>
              <a:gd name="connsiteX1202" fmla="*/ 1732542 w 3751729"/>
              <a:gd name="connsiteY1202" fmla="*/ 256841 h 1237129"/>
              <a:gd name="connsiteX1203" fmla="*/ 1730820 w 3751729"/>
              <a:gd name="connsiteY1203" fmla="*/ 258564 h 1237129"/>
              <a:gd name="connsiteX1204" fmla="*/ 1729095 w 3751729"/>
              <a:gd name="connsiteY1204" fmla="*/ 260287 h 1237129"/>
              <a:gd name="connsiteX1205" fmla="*/ 1728358 w 3751729"/>
              <a:gd name="connsiteY1205" fmla="*/ 260287 h 1237129"/>
              <a:gd name="connsiteX1206" fmla="*/ 1726634 w 3751729"/>
              <a:gd name="connsiteY1206" fmla="*/ 260287 h 1237129"/>
              <a:gd name="connsiteX1207" fmla="*/ 1724911 w 3751729"/>
              <a:gd name="connsiteY1207" fmla="*/ 261025 h 1237129"/>
              <a:gd name="connsiteX1208" fmla="*/ 1722449 w 3751729"/>
              <a:gd name="connsiteY1208" fmla="*/ 261025 h 1237129"/>
              <a:gd name="connsiteX1209" fmla="*/ 1717527 w 3751729"/>
              <a:gd name="connsiteY1209" fmla="*/ 251179 h 1237129"/>
              <a:gd name="connsiteX1210" fmla="*/ 1715066 w 3751729"/>
              <a:gd name="connsiteY1210" fmla="*/ 246995 h 1237129"/>
              <a:gd name="connsiteX1211" fmla="*/ 1715066 w 3751729"/>
              <a:gd name="connsiteY1211" fmla="*/ 245271 h 1237129"/>
              <a:gd name="connsiteX1212" fmla="*/ 1716788 w 3751729"/>
              <a:gd name="connsiteY1212" fmla="*/ 244533 h 1237129"/>
              <a:gd name="connsiteX1213" fmla="*/ 1722449 w 3751729"/>
              <a:gd name="connsiteY1213" fmla="*/ 241087 h 1237129"/>
              <a:gd name="connsiteX1214" fmla="*/ 1794327 w 3751729"/>
              <a:gd name="connsiteY1214" fmla="*/ 200225 h 1237129"/>
              <a:gd name="connsiteX1215" fmla="*/ 1798512 w 3751729"/>
              <a:gd name="connsiteY1215" fmla="*/ 201949 h 1237129"/>
              <a:gd name="connsiteX1216" fmla="*/ 1800236 w 3751729"/>
              <a:gd name="connsiteY1216" fmla="*/ 201949 h 1237129"/>
              <a:gd name="connsiteX1217" fmla="*/ 1801712 w 3751729"/>
              <a:gd name="connsiteY1217" fmla="*/ 201949 h 1237129"/>
              <a:gd name="connsiteX1218" fmla="*/ 1802696 w 3751729"/>
              <a:gd name="connsiteY1218" fmla="*/ 203671 h 1237129"/>
              <a:gd name="connsiteX1219" fmla="*/ 1804420 w 3751729"/>
              <a:gd name="connsiteY1219" fmla="*/ 203671 h 1237129"/>
              <a:gd name="connsiteX1220" fmla="*/ 1801712 w 3751729"/>
              <a:gd name="connsiteY1220" fmla="*/ 207856 h 1237129"/>
              <a:gd name="connsiteX1221" fmla="*/ 1800236 w 3751729"/>
              <a:gd name="connsiteY1221" fmla="*/ 212041 h 1237129"/>
              <a:gd name="connsiteX1222" fmla="*/ 1798512 w 3751729"/>
              <a:gd name="connsiteY1222" fmla="*/ 216226 h 1237129"/>
              <a:gd name="connsiteX1223" fmla="*/ 1796050 w 3751729"/>
              <a:gd name="connsiteY1223" fmla="*/ 221148 h 1237129"/>
              <a:gd name="connsiteX1224" fmla="*/ 1791127 w 3751729"/>
              <a:gd name="connsiteY1224" fmla="*/ 223610 h 1237129"/>
              <a:gd name="connsiteX1225" fmla="*/ 1791127 w 3751729"/>
              <a:gd name="connsiteY1225" fmla="*/ 219426 h 1237129"/>
              <a:gd name="connsiteX1226" fmla="*/ 1790143 w 3751729"/>
              <a:gd name="connsiteY1226" fmla="*/ 219426 h 1237129"/>
              <a:gd name="connsiteX1227" fmla="*/ 1790143 w 3751729"/>
              <a:gd name="connsiteY1227" fmla="*/ 217703 h 1237129"/>
              <a:gd name="connsiteX1228" fmla="*/ 1790143 w 3751729"/>
              <a:gd name="connsiteY1228" fmla="*/ 216226 h 1237129"/>
              <a:gd name="connsiteX1229" fmla="*/ 1788665 w 3751729"/>
              <a:gd name="connsiteY1229" fmla="*/ 213518 h 1237129"/>
              <a:gd name="connsiteX1230" fmla="*/ 1791127 w 3751729"/>
              <a:gd name="connsiteY1230" fmla="*/ 210317 h 1237129"/>
              <a:gd name="connsiteX1231" fmla="*/ 1792850 w 3751729"/>
              <a:gd name="connsiteY1231" fmla="*/ 207856 h 1237129"/>
              <a:gd name="connsiteX1232" fmla="*/ 1794327 w 3751729"/>
              <a:gd name="connsiteY1232" fmla="*/ 204411 h 1237129"/>
              <a:gd name="connsiteX1233" fmla="*/ 1846512 w 3751729"/>
              <a:gd name="connsiteY1233" fmla="*/ 178564 h 1237129"/>
              <a:gd name="connsiteX1234" fmla="*/ 1858082 w 3751729"/>
              <a:gd name="connsiteY1234" fmla="*/ 184473 h 1237129"/>
              <a:gd name="connsiteX1235" fmla="*/ 1858082 w 3751729"/>
              <a:gd name="connsiteY1235" fmla="*/ 188657 h 1237129"/>
              <a:gd name="connsiteX1236" fmla="*/ 1854635 w 3751729"/>
              <a:gd name="connsiteY1236" fmla="*/ 188657 h 1237129"/>
              <a:gd name="connsiteX1237" fmla="*/ 1853897 w 3751729"/>
              <a:gd name="connsiteY1237" fmla="*/ 190380 h 1237129"/>
              <a:gd name="connsiteX1238" fmla="*/ 1850696 w 3751729"/>
              <a:gd name="connsiteY1238" fmla="*/ 191858 h 1237129"/>
              <a:gd name="connsiteX1239" fmla="*/ 1848973 w 3751729"/>
              <a:gd name="connsiteY1239" fmla="*/ 194565 h 1237129"/>
              <a:gd name="connsiteX1240" fmla="*/ 1846512 w 3751729"/>
              <a:gd name="connsiteY1240" fmla="*/ 192842 h 1237129"/>
              <a:gd name="connsiteX1241" fmla="*/ 1844788 w 3751729"/>
              <a:gd name="connsiteY1241" fmla="*/ 192842 h 1237129"/>
              <a:gd name="connsiteX1242" fmla="*/ 1843065 w 3751729"/>
              <a:gd name="connsiteY1242" fmla="*/ 191858 h 1237129"/>
              <a:gd name="connsiteX1243" fmla="*/ 1842326 w 3751729"/>
              <a:gd name="connsiteY1243" fmla="*/ 191858 h 1237129"/>
              <a:gd name="connsiteX1244" fmla="*/ 1842326 w 3751729"/>
              <a:gd name="connsiteY1244" fmla="*/ 188657 h 1237129"/>
              <a:gd name="connsiteX1245" fmla="*/ 1842326 w 3751729"/>
              <a:gd name="connsiteY1245" fmla="*/ 186196 h 1237129"/>
              <a:gd name="connsiteX1246" fmla="*/ 1842326 w 3751729"/>
              <a:gd name="connsiteY1246" fmla="*/ 184473 h 1237129"/>
              <a:gd name="connsiteX1247" fmla="*/ 1843065 w 3751729"/>
              <a:gd name="connsiteY1247" fmla="*/ 181026 h 1237129"/>
              <a:gd name="connsiteX1248" fmla="*/ 1537343 w 3751729"/>
              <a:gd name="connsiteY1248" fmla="*/ 171179 h 1237129"/>
              <a:gd name="connsiteX1249" fmla="*/ 1552360 w 3751729"/>
              <a:gd name="connsiteY1249" fmla="*/ 172902 h 1237129"/>
              <a:gd name="connsiteX1250" fmla="*/ 1563928 w 3751729"/>
              <a:gd name="connsiteY1250" fmla="*/ 175364 h 1237129"/>
              <a:gd name="connsiteX1251" fmla="*/ 1560482 w 3751729"/>
              <a:gd name="connsiteY1251" fmla="*/ 181025 h 1237129"/>
              <a:gd name="connsiteX1252" fmla="*/ 1559006 w 3751729"/>
              <a:gd name="connsiteY1252" fmla="*/ 186194 h 1237129"/>
              <a:gd name="connsiteX1253" fmla="*/ 1556544 w 3751729"/>
              <a:gd name="connsiteY1253" fmla="*/ 190379 h 1237129"/>
              <a:gd name="connsiteX1254" fmla="*/ 1553098 w 3751729"/>
              <a:gd name="connsiteY1254" fmla="*/ 194564 h 1237129"/>
              <a:gd name="connsiteX1255" fmla="*/ 1560482 w 3751729"/>
              <a:gd name="connsiteY1255" fmla="*/ 194564 h 1237129"/>
              <a:gd name="connsiteX1256" fmla="*/ 1563928 w 3751729"/>
              <a:gd name="connsiteY1256" fmla="*/ 191856 h 1237129"/>
              <a:gd name="connsiteX1257" fmla="*/ 1564667 w 3751729"/>
              <a:gd name="connsiteY1257" fmla="*/ 190379 h 1237129"/>
              <a:gd name="connsiteX1258" fmla="*/ 1568112 w 3751729"/>
              <a:gd name="connsiteY1258" fmla="*/ 188656 h 1237129"/>
              <a:gd name="connsiteX1259" fmla="*/ 1572051 w 3751729"/>
              <a:gd name="connsiteY1259" fmla="*/ 188656 h 1237129"/>
              <a:gd name="connsiteX1260" fmla="*/ 1572051 w 3751729"/>
              <a:gd name="connsiteY1260" fmla="*/ 194564 h 1237129"/>
              <a:gd name="connsiteX1261" fmla="*/ 1576236 w 3751729"/>
              <a:gd name="connsiteY1261" fmla="*/ 204410 h 1237129"/>
              <a:gd name="connsiteX1262" fmla="*/ 1573774 w 3751729"/>
              <a:gd name="connsiteY1262" fmla="*/ 213517 h 1237129"/>
              <a:gd name="connsiteX1263" fmla="*/ 1569590 w 3751729"/>
              <a:gd name="connsiteY1263" fmla="*/ 221148 h 1237129"/>
              <a:gd name="connsiteX1264" fmla="*/ 1566390 w 3751729"/>
              <a:gd name="connsiteY1264" fmla="*/ 227055 h 1237129"/>
              <a:gd name="connsiteX1265" fmla="*/ 1573774 w 3751729"/>
              <a:gd name="connsiteY1265" fmla="*/ 233702 h 1237129"/>
              <a:gd name="connsiteX1266" fmla="*/ 1581159 w 3751729"/>
              <a:gd name="connsiteY1266" fmla="*/ 244532 h 1237129"/>
              <a:gd name="connsiteX1267" fmla="*/ 1591251 w 3751729"/>
              <a:gd name="connsiteY1267" fmla="*/ 255363 h 1237129"/>
              <a:gd name="connsiteX1268" fmla="*/ 1599374 w 3751729"/>
              <a:gd name="connsiteY1268" fmla="*/ 268655 h 1237129"/>
              <a:gd name="connsiteX1269" fmla="*/ 1606758 w 3751729"/>
              <a:gd name="connsiteY1269" fmla="*/ 283671 h 1237129"/>
              <a:gd name="connsiteX1270" fmla="*/ 1612667 w 3751729"/>
              <a:gd name="connsiteY1270" fmla="*/ 295978 h 1237129"/>
              <a:gd name="connsiteX1271" fmla="*/ 1614389 w 3751729"/>
              <a:gd name="connsiteY1271" fmla="*/ 306810 h 1237129"/>
              <a:gd name="connsiteX1272" fmla="*/ 1610943 w 3751729"/>
              <a:gd name="connsiteY1272" fmla="*/ 316901 h 1237129"/>
              <a:gd name="connsiteX1273" fmla="*/ 1604297 w 3751729"/>
              <a:gd name="connsiteY1273" fmla="*/ 322809 h 1237129"/>
              <a:gd name="connsiteX1274" fmla="*/ 1595190 w 3751729"/>
              <a:gd name="connsiteY1274" fmla="*/ 328471 h 1237129"/>
              <a:gd name="connsiteX1275" fmla="*/ 1581159 w 3751729"/>
              <a:gd name="connsiteY1275" fmla="*/ 334379 h 1237129"/>
              <a:gd name="connsiteX1276" fmla="*/ 1563928 w 3751729"/>
              <a:gd name="connsiteY1276" fmla="*/ 338563 h 1237129"/>
              <a:gd name="connsiteX1277" fmla="*/ 1548175 w 3751729"/>
              <a:gd name="connsiteY1277" fmla="*/ 342747 h 1237129"/>
              <a:gd name="connsiteX1278" fmla="*/ 1534883 w 3751729"/>
              <a:gd name="connsiteY1278" fmla="*/ 344470 h 1237129"/>
              <a:gd name="connsiteX1279" fmla="*/ 1534883 w 3751729"/>
              <a:gd name="connsiteY1279" fmla="*/ 341025 h 1237129"/>
              <a:gd name="connsiteX1280" fmla="*/ 1543251 w 3751729"/>
              <a:gd name="connsiteY1280" fmla="*/ 328471 h 1237129"/>
              <a:gd name="connsiteX1281" fmla="*/ 1550635 w 3751729"/>
              <a:gd name="connsiteY1281" fmla="*/ 315178 h 1237129"/>
              <a:gd name="connsiteX1282" fmla="*/ 1546451 w 3751729"/>
              <a:gd name="connsiteY1282" fmla="*/ 315178 h 1237129"/>
              <a:gd name="connsiteX1283" fmla="*/ 1543251 w 3751729"/>
              <a:gd name="connsiteY1283" fmla="*/ 315178 h 1237129"/>
              <a:gd name="connsiteX1284" fmla="*/ 1540790 w 3751729"/>
              <a:gd name="connsiteY1284" fmla="*/ 313456 h 1237129"/>
              <a:gd name="connsiteX1285" fmla="*/ 1540790 w 3751729"/>
              <a:gd name="connsiteY1285" fmla="*/ 312716 h 1237129"/>
              <a:gd name="connsiteX1286" fmla="*/ 1539067 w 3751729"/>
              <a:gd name="connsiteY1286" fmla="*/ 310994 h 1237129"/>
              <a:gd name="connsiteX1287" fmla="*/ 1539067 w 3751729"/>
              <a:gd name="connsiteY1287" fmla="*/ 307793 h 1237129"/>
              <a:gd name="connsiteX1288" fmla="*/ 1537343 w 3751729"/>
              <a:gd name="connsiteY1288" fmla="*/ 303609 h 1237129"/>
              <a:gd name="connsiteX1289" fmla="*/ 1548175 w 3751729"/>
              <a:gd name="connsiteY1289" fmla="*/ 301147 h 1237129"/>
              <a:gd name="connsiteX1290" fmla="*/ 1544974 w 3751729"/>
              <a:gd name="connsiteY1290" fmla="*/ 297701 h 1237129"/>
              <a:gd name="connsiteX1291" fmla="*/ 1544974 w 3751729"/>
              <a:gd name="connsiteY1291" fmla="*/ 295978 h 1237129"/>
              <a:gd name="connsiteX1292" fmla="*/ 1543251 w 3751729"/>
              <a:gd name="connsiteY1292" fmla="*/ 295240 h 1237129"/>
              <a:gd name="connsiteX1293" fmla="*/ 1543251 w 3751729"/>
              <a:gd name="connsiteY1293" fmla="*/ 293517 h 1237129"/>
              <a:gd name="connsiteX1294" fmla="*/ 1544974 w 3751729"/>
              <a:gd name="connsiteY1294" fmla="*/ 290317 h 1237129"/>
              <a:gd name="connsiteX1295" fmla="*/ 1546451 w 3751729"/>
              <a:gd name="connsiteY1295" fmla="*/ 284409 h 1237129"/>
              <a:gd name="connsiteX1296" fmla="*/ 1550635 w 3751729"/>
              <a:gd name="connsiteY1296" fmla="*/ 280225 h 1237129"/>
              <a:gd name="connsiteX1297" fmla="*/ 1553098 w 3751729"/>
              <a:gd name="connsiteY1297" fmla="*/ 277763 h 1237129"/>
              <a:gd name="connsiteX1298" fmla="*/ 1559006 w 3751729"/>
              <a:gd name="connsiteY1298" fmla="*/ 274317 h 1237129"/>
              <a:gd name="connsiteX1299" fmla="*/ 1563928 w 3751729"/>
              <a:gd name="connsiteY1299" fmla="*/ 271855 h 1237129"/>
              <a:gd name="connsiteX1300" fmla="*/ 1562205 w 3751729"/>
              <a:gd name="connsiteY1300" fmla="*/ 268655 h 1237129"/>
              <a:gd name="connsiteX1301" fmla="*/ 1562205 w 3751729"/>
              <a:gd name="connsiteY1301" fmla="*/ 266932 h 1237129"/>
              <a:gd name="connsiteX1302" fmla="*/ 1560482 w 3751729"/>
              <a:gd name="connsiteY1302" fmla="*/ 266194 h 1237129"/>
              <a:gd name="connsiteX1303" fmla="*/ 1560482 w 3751729"/>
              <a:gd name="connsiteY1303" fmla="*/ 264471 h 1237129"/>
              <a:gd name="connsiteX1304" fmla="*/ 1559006 w 3751729"/>
              <a:gd name="connsiteY1304" fmla="*/ 261025 h 1237129"/>
              <a:gd name="connsiteX1305" fmla="*/ 1558021 w 3751729"/>
              <a:gd name="connsiteY1305" fmla="*/ 261025 h 1237129"/>
              <a:gd name="connsiteX1306" fmla="*/ 1558021 w 3751729"/>
              <a:gd name="connsiteY1306" fmla="*/ 260286 h 1237129"/>
              <a:gd name="connsiteX1307" fmla="*/ 1556544 w 3751729"/>
              <a:gd name="connsiteY1307" fmla="*/ 260286 h 1237129"/>
              <a:gd name="connsiteX1308" fmla="*/ 1553098 w 3751729"/>
              <a:gd name="connsiteY1308" fmla="*/ 258562 h 1237129"/>
              <a:gd name="connsiteX1309" fmla="*/ 1550635 w 3751729"/>
              <a:gd name="connsiteY1309" fmla="*/ 256840 h 1237129"/>
              <a:gd name="connsiteX1310" fmla="*/ 1548913 w 3751729"/>
              <a:gd name="connsiteY1310" fmla="*/ 256840 h 1237129"/>
              <a:gd name="connsiteX1311" fmla="*/ 1546451 w 3751729"/>
              <a:gd name="connsiteY1311" fmla="*/ 256840 h 1237129"/>
              <a:gd name="connsiteX1312" fmla="*/ 1543251 w 3751729"/>
              <a:gd name="connsiteY1312" fmla="*/ 255363 h 1237129"/>
              <a:gd name="connsiteX1313" fmla="*/ 1540790 w 3751729"/>
              <a:gd name="connsiteY1313" fmla="*/ 255363 h 1237129"/>
              <a:gd name="connsiteX1314" fmla="*/ 1540790 w 3751729"/>
              <a:gd name="connsiteY1314" fmla="*/ 254379 h 1237129"/>
              <a:gd name="connsiteX1315" fmla="*/ 1539067 w 3751729"/>
              <a:gd name="connsiteY1315" fmla="*/ 252656 h 1237129"/>
              <a:gd name="connsiteX1316" fmla="*/ 1539067 w 3751729"/>
              <a:gd name="connsiteY1316" fmla="*/ 251178 h 1237129"/>
              <a:gd name="connsiteX1317" fmla="*/ 1539067 w 3751729"/>
              <a:gd name="connsiteY1317" fmla="*/ 248471 h 1237129"/>
              <a:gd name="connsiteX1318" fmla="*/ 1537343 w 3751729"/>
              <a:gd name="connsiteY1318" fmla="*/ 245271 h 1237129"/>
              <a:gd name="connsiteX1319" fmla="*/ 1539067 w 3751729"/>
              <a:gd name="connsiteY1319" fmla="*/ 244532 h 1237129"/>
              <a:gd name="connsiteX1320" fmla="*/ 1539067 w 3751729"/>
              <a:gd name="connsiteY1320" fmla="*/ 242810 h 1237129"/>
              <a:gd name="connsiteX1321" fmla="*/ 1540790 w 3751729"/>
              <a:gd name="connsiteY1321" fmla="*/ 241086 h 1237129"/>
              <a:gd name="connsiteX1322" fmla="*/ 1540790 w 3751729"/>
              <a:gd name="connsiteY1322" fmla="*/ 239364 h 1237129"/>
              <a:gd name="connsiteX1323" fmla="*/ 1540790 w 3751729"/>
              <a:gd name="connsiteY1323" fmla="*/ 236902 h 1237129"/>
              <a:gd name="connsiteX1324" fmla="*/ 1537343 w 3751729"/>
              <a:gd name="connsiteY1324" fmla="*/ 236902 h 1237129"/>
              <a:gd name="connsiteX1325" fmla="*/ 1536605 w 3751729"/>
              <a:gd name="connsiteY1325" fmla="*/ 239364 h 1237129"/>
              <a:gd name="connsiteX1326" fmla="*/ 1536605 w 3751729"/>
              <a:gd name="connsiteY1326" fmla="*/ 241086 h 1237129"/>
              <a:gd name="connsiteX1327" fmla="*/ 1536605 w 3751729"/>
              <a:gd name="connsiteY1327" fmla="*/ 242810 h 1237129"/>
              <a:gd name="connsiteX1328" fmla="*/ 1534883 w 3751729"/>
              <a:gd name="connsiteY1328" fmla="*/ 242810 h 1237129"/>
              <a:gd name="connsiteX1329" fmla="*/ 1533405 w 3751729"/>
              <a:gd name="connsiteY1329" fmla="*/ 244532 h 1237129"/>
              <a:gd name="connsiteX1330" fmla="*/ 1531682 w 3751729"/>
              <a:gd name="connsiteY1330" fmla="*/ 245271 h 1237129"/>
              <a:gd name="connsiteX1331" fmla="*/ 1529221 w 3751729"/>
              <a:gd name="connsiteY1331" fmla="*/ 230994 h 1237129"/>
              <a:gd name="connsiteX1332" fmla="*/ 1525774 w 3751729"/>
              <a:gd name="connsiteY1332" fmla="*/ 217702 h 1237129"/>
              <a:gd name="connsiteX1333" fmla="*/ 1525036 w 3751729"/>
              <a:gd name="connsiteY1333" fmla="*/ 207856 h 1237129"/>
              <a:gd name="connsiteX1334" fmla="*/ 1527497 w 3751729"/>
              <a:gd name="connsiteY1334" fmla="*/ 200225 h 1237129"/>
              <a:gd name="connsiteX1335" fmla="*/ 1531682 w 3751729"/>
              <a:gd name="connsiteY1335" fmla="*/ 192840 h 1237129"/>
              <a:gd name="connsiteX1336" fmla="*/ 1536605 w 3751729"/>
              <a:gd name="connsiteY1336" fmla="*/ 184471 h 1237129"/>
              <a:gd name="connsiteX1337" fmla="*/ 683935 w 3751729"/>
              <a:gd name="connsiteY1337" fmla="*/ 95365 h 1237129"/>
              <a:gd name="connsiteX1338" fmla="*/ 688119 w 3751729"/>
              <a:gd name="connsiteY1338" fmla="*/ 98810 h 1237129"/>
              <a:gd name="connsiteX1339" fmla="*/ 692058 w 3751729"/>
              <a:gd name="connsiteY1339" fmla="*/ 102749 h 1237129"/>
              <a:gd name="connsiteX1340" fmla="*/ 695504 w 3751729"/>
              <a:gd name="connsiteY1340" fmla="*/ 108657 h 1237129"/>
              <a:gd name="connsiteX1341" fmla="*/ 697227 w 3751729"/>
              <a:gd name="connsiteY1341" fmla="*/ 114565 h 1237129"/>
              <a:gd name="connsiteX1342" fmla="*/ 693781 w 3751729"/>
              <a:gd name="connsiteY1342" fmla="*/ 114565 h 1237129"/>
              <a:gd name="connsiteX1343" fmla="*/ 691319 w 3751729"/>
              <a:gd name="connsiteY1343" fmla="*/ 116288 h 1237129"/>
              <a:gd name="connsiteX1344" fmla="*/ 689596 w 3751729"/>
              <a:gd name="connsiteY1344" fmla="*/ 116288 h 1237129"/>
              <a:gd name="connsiteX1345" fmla="*/ 685657 w 3751729"/>
              <a:gd name="connsiteY1345" fmla="*/ 117765 h 1237129"/>
              <a:gd name="connsiteX1346" fmla="*/ 680488 w 3751729"/>
              <a:gd name="connsiteY1346" fmla="*/ 117765 h 1237129"/>
              <a:gd name="connsiteX1347" fmla="*/ 680488 w 3751729"/>
              <a:gd name="connsiteY1347" fmla="*/ 114565 h 1237129"/>
              <a:gd name="connsiteX1348" fmla="*/ 679750 w 3751729"/>
              <a:gd name="connsiteY1348" fmla="*/ 114565 h 1237129"/>
              <a:gd name="connsiteX1349" fmla="*/ 679750 w 3751729"/>
              <a:gd name="connsiteY1349" fmla="*/ 112843 h 1237129"/>
              <a:gd name="connsiteX1350" fmla="*/ 678027 w 3751729"/>
              <a:gd name="connsiteY1350" fmla="*/ 112103 h 1237129"/>
              <a:gd name="connsiteX1351" fmla="*/ 679750 w 3751729"/>
              <a:gd name="connsiteY1351" fmla="*/ 108657 h 1237129"/>
              <a:gd name="connsiteX1352" fmla="*/ 679750 w 3751729"/>
              <a:gd name="connsiteY1352" fmla="*/ 106934 h 1237129"/>
              <a:gd name="connsiteX1353" fmla="*/ 679750 w 3751729"/>
              <a:gd name="connsiteY1353" fmla="*/ 106196 h 1237129"/>
              <a:gd name="connsiteX1354" fmla="*/ 680488 w 3751729"/>
              <a:gd name="connsiteY1354" fmla="*/ 104473 h 1237129"/>
              <a:gd name="connsiteX1355" fmla="*/ 659074 w 3751729"/>
              <a:gd name="connsiteY1355" fmla="*/ 85274 h 1237129"/>
              <a:gd name="connsiteX1356" fmla="*/ 662520 w 3751729"/>
              <a:gd name="connsiteY1356" fmla="*/ 88719 h 1237129"/>
              <a:gd name="connsiteX1357" fmla="*/ 663997 w 3751729"/>
              <a:gd name="connsiteY1357" fmla="*/ 90442 h 1237129"/>
              <a:gd name="connsiteX1358" fmla="*/ 663997 w 3751729"/>
              <a:gd name="connsiteY1358" fmla="*/ 91181 h 1237129"/>
              <a:gd name="connsiteX1359" fmla="*/ 664982 w 3751729"/>
              <a:gd name="connsiteY1359" fmla="*/ 94627 h 1237129"/>
              <a:gd name="connsiteX1360" fmla="*/ 664982 w 3751729"/>
              <a:gd name="connsiteY1360" fmla="*/ 97088 h 1237129"/>
              <a:gd name="connsiteX1361" fmla="*/ 664982 w 3751729"/>
              <a:gd name="connsiteY1361" fmla="*/ 101273 h 1237129"/>
              <a:gd name="connsiteX1362" fmla="*/ 662520 w 3751729"/>
              <a:gd name="connsiteY1362" fmla="*/ 101273 h 1237129"/>
              <a:gd name="connsiteX1363" fmla="*/ 662520 w 3751729"/>
              <a:gd name="connsiteY1363" fmla="*/ 104473 h 1237129"/>
              <a:gd name="connsiteX1364" fmla="*/ 656613 w 3751729"/>
              <a:gd name="connsiteY1364" fmla="*/ 102751 h 1237129"/>
              <a:gd name="connsiteX1365" fmla="*/ 650951 w 3751729"/>
              <a:gd name="connsiteY1365" fmla="*/ 101273 h 1237129"/>
              <a:gd name="connsiteX1366" fmla="*/ 646766 w 3751729"/>
              <a:gd name="connsiteY1366" fmla="*/ 98812 h 1237129"/>
              <a:gd name="connsiteX1367" fmla="*/ 643320 w 3751729"/>
              <a:gd name="connsiteY1367" fmla="*/ 98812 h 1237129"/>
              <a:gd name="connsiteX1368" fmla="*/ 643320 w 3751729"/>
              <a:gd name="connsiteY1368" fmla="*/ 95365 h 1237129"/>
              <a:gd name="connsiteX1369" fmla="*/ 649228 w 3751729"/>
              <a:gd name="connsiteY1369" fmla="*/ 92904 h 1237129"/>
              <a:gd name="connsiteX1370" fmla="*/ 654889 w 3751729"/>
              <a:gd name="connsiteY1370" fmla="*/ 90442 h 1237129"/>
              <a:gd name="connsiteX1371" fmla="*/ 722827 w 3751729"/>
              <a:gd name="connsiteY1371" fmla="*/ 59426 h 1237129"/>
              <a:gd name="connsiteX1372" fmla="*/ 726028 w 3751729"/>
              <a:gd name="connsiteY1372" fmla="*/ 61150 h 1237129"/>
              <a:gd name="connsiteX1373" fmla="*/ 726766 w 3751729"/>
              <a:gd name="connsiteY1373" fmla="*/ 62135 h 1237129"/>
              <a:gd name="connsiteX1374" fmla="*/ 728489 w 3751729"/>
              <a:gd name="connsiteY1374" fmla="*/ 63611 h 1237129"/>
              <a:gd name="connsiteX1375" fmla="*/ 731935 w 3751729"/>
              <a:gd name="connsiteY1375" fmla="*/ 63611 h 1237129"/>
              <a:gd name="connsiteX1376" fmla="*/ 731935 w 3751729"/>
              <a:gd name="connsiteY1376" fmla="*/ 65335 h 1237129"/>
              <a:gd name="connsiteX1377" fmla="*/ 731935 w 3751729"/>
              <a:gd name="connsiteY1377" fmla="*/ 67057 h 1237129"/>
              <a:gd name="connsiteX1378" fmla="*/ 730213 w 3751729"/>
              <a:gd name="connsiteY1378" fmla="*/ 67796 h 1237129"/>
              <a:gd name="connsiteX1379" fmla="*/ 728489 w 3751729"/>
              <a:gd name="connsiteY1379" fmla="*/ 69519 h 1237129"/>
              <a:gd name="connsiteX1380" fmla="*/ 726766 w 3751729"/>
              <a:gd name="connsiteY1380" fmla="*/ 71242 h 1237129"/>
              <a:gd name="connsiteX1381" fmla="*/ 726028 w 3751729"/>
              <a:gd name="connsiteY1381" fmla="*/ 71242 h 1237129"/>
              <a:gd name="connsiteX1382" fmla="*/ 724304 w 3751729"/>
              <a:gd name="connsiteY1382" fmla="*/ 72966 h 1237129"/>
              <a:gd name="connsiteX1383" fmla="*/ 722827 w 3751729"/>
              <a:gd name="connsiteY1383" fmla="*/ 72966 h 1237129"/>
              <a:gd name="connsiteX1384" fmla="*/ 720366 w 3751729"/>
              <a:gd name="connsiteY1384" fmla="*/ 72966 h 1237129"/>
              <a:gd name="connsiteX1385" fmla="*/ 720366 w 3751729"/>
              <a:gd name="connsiteY1385" fmla="*/ 67796 h 1237129"/>
              <a:gd name="connsiteX1386" fmla="*/ 720366 w 3751729"/>
              <a:gd name="connsiteY1386" fmla="*/ 65335 h 1237129"/>
              <a:gd name="connsiteX1387" fmla="*/ 721104 w 3751729"/>
              <a:gd name="connsiteY1387" fmla="*/ 63611 h 1237129"/>
              <a:gd name="connsiteX1388" fmla="*/ 633474 w 3751729"/>
              <a:gd name="connsiteY1388" fmla="*/ 8720 h 1237129"/>
              <a:gd name="connsiteX1389" fmla="*/ 633474 w 3751729"/>
              <a:gd name="connsiteY1389" fmla="*/ 15366 h 1237129"/>
              <a:gd name="connsiteX1390" fmla="*/ 635197 w 3751729"/>
              <a:gd name="connsiteY1390" fmla="*/ 18812 h 1237129"/>
              <a:gd name="connsiteX1391" fmla="*/ 635936 w 3751729"/>
              <a:gd name="connsiteY1391" fmla="*/ 21274 h 1237129"/>
              <a:gd name="connsiteX1392" fmla="*/ 635936 w 3751729"/>
              <a:gd name="connsiteY1392" fmla="*/ 26197 h 1237129"/>
              <a:gd name="connsiteX1393" fmla="*/ 635936 w 3751729"/>
              <a:gd name="connsiteY1393" fmla="*/ 32104 h 1237129"/>
              <a:gd name="connsiteX1394" fmla="*/ 652428 w 3751729"/>
              <a:gd name="connsiteY1394" fmla="*/ 32104 h 1237129"/>
              <a:gd name="connsiteX1395" fmla="*/ 666459 w 3751729"/>
              <a:gd name="connsiteY1395" fmla="*/ 47859 h 1237129"/>
              <a:gd name="connsiteX1396" fmla="*/ 680489 w 3751729"/>
              <a:gd name="connsiteY1396" fmla="*/ 63611 h 1237129"/>
              <a:gd name="connsiteX1397" fmla="*/ 680489 w 3751729"/>
              <a:gd name="connsiteY1397" fmla="*/ 65336 h 1237129"/>
              <a:gd name="connsiteX1398" fmla="*/ 679752 w 3751729"/>
              <a:gd name="connsiteY1398" fmla="*/ 67058 h 1237129"/>
              <a:gd name="connsiteX1399" fmla="*/ 679752 w 3751729"/>
              <a:gd name="connsiteY1399" fmla="*/ 67796 h 1237129"/>
              <a:gd name="connsiteX1400" fmla="*/ 678028 w 3751729"/>
              <a:gd name="connsiteY1400" fmla="*/ 69520 h 1237129"/>
              <a:gd name="connsiteX1401" fmla="*/ 675566 w 3751729"/>
              <a:gd name="connsiteY1401" fmla="*/ 72966 h 1237129"/>
              <a:gd name="connsiteX1402" fmla="*/ 674090 w 3751729"/>
              <a:gd name="connsiteY1402" fmla="*/ 73704 h 1237129"/>
              <a:gd name="connsiteX1403" fmla="*/ 672367 w 3751729"/>
              <a:gd name="connsiteY1403" fmla="*/ 75428 h 1237129"/>
              <a:gd name="connsiteX1404" fmla="*/ 670643 w 3751729"/>
              <a:gd name="connsiteY1404" fmla="*/ 75428 h 1237129"/>
              <a:gd name="connsiteX1405" fmla="*/ 666459 w 3751729"/>
              <a:gd name="connsiteY1405" fmla="*/ 75428 h 1237129"/>
              <a:gd name="connsiteX1406" fmla="*/ 662520 w 3751729"/>
              <a:gd name="connsiteY1406" fmla="*/ 77151 h 1237129"/>
              <a:gd name="connsiteX1407" fmla="*/ 662520 w 3751729"/>
              <a:gd name="connsiteY1407" fmla="*/ 72966 h 1237129"/>
              <a:gd name="connsiteX1408" fmla="*/ 662520 w 3751729"/>
              <a:gd name="connsiteY1408" fmla="*/ 67796 h 1237129"/>
              <a:gd name="connsiteX1409" fmla="*/ 662520 w 3751729"/>
              <a:gd name="connsiteY1409" fmla="*/ 65336 h 1237129"/>
              <a:gd name="connsiteX1410" fmla="*/ 662520 w 3751729"/>
              <a:gd name="connsiteY1410" fmla="*/ 63611 h 1237129"/>
              <a:gd name="connsiteX1411" fmla="*/ 659074 w 3751729"/>
              <a:gd name="connsiteY1411" fmla="*/ 61151 h 1237129"/>
              <a:gd name="connsiteX1412" fmla="*/ 656613 w 3751729"/>
              <a:gd name="connsiteY1412" fmla="*/ 59427 h 1237129"/>
              <a:gd name="connsiteX1413" fmla="*/ 652428 w 3751729"/>
              <a:gd name="connsiteY1413" fmla="*/ 56227 h 1237129"/>
              <a:gd name="connsiteX1414" fmla="*/ 647505 w 3751729"/>
              <a:gd name="connsiteY1414" fmla="*/ 67796 h 1237129"/>
              <a:gd name="connsiteX1415" fmla="*/ 639381 w 3751729"/>
              <a:gd name="connsiteY1415" fmla="*/ 75428 h 1237129"/>
              <a:gd name="connsiteX1416" fmla="*/ 627813 w 3751729"/>
              <a:gd name="connsiteY1416" fmla="*/ 79612 h 1237129"/>
              <a:gd name="connsiteX1417" fmla="*/ 627813 w 3751729"/>
              <a:gd name="connsiteY1417" fmla="*/ 75428 h 1237129"/>
              <a:gd name="connsiteX1418" fmla="*/ 627813 w 3751729"/>
              <a:gd name="connsiteY1418" fmla="*/ 72966 h 1237129"/>
              <a:gd name="connsiteX1419" fmla="*/ 629290 w 3751729"/>
              <a:gd name="connsiteY1419" fmla="*/ 69520 h 1237129"/>
              <a:gd name="connsiteX1420" fmla="*/ 627813 w 3751729"/>
              <a:gd name="connsiteY1420" fmla="*/ 67058 h 1237129"/>
              <a:gd name="connsiteX1421" fmla="*/ 626089 w 3751729"/>
              <a:gd name="connsiteY1421" fmla="*/ 63611 h 1237129"/>
              <a:gd name="connsiteX1422" fmla="*/ 624367 w 3751729"/>
              <a:gd name="connsiteY1422" fmla="*/ 59427 h 1237129"/>
              <a:gd name="connsiteX1423" fmla="*/ 620182 w 3751729"/>
              <a:gd name="connsiteY1423" fmla="*/ 57950 h 1237129"/>
              <a:gd name="connsiteX1424" fmla="*/ 617720 w 3751729"/>
              <a:gd name="connsiteY1424" fmla="*/ 56227 h 1237129"/>
              <a:gd name="connsiteX1425" fmla="*/ 614520 w 3751729"/>
              <a:gd name="connsiteY1425" fmla="*/ 56227 h 1237129"/>
              <a:gd name="connsiteX1426" fmla="*/ 612058 w 3751729"/>
              <a:gd name="connsiteY1426" fmla="*/ 55490 h 1237129"/>
              <a:gd name="connsiteX1427" fmla="*/ 610335 w 3751729"/>
              <a:gd name="connsiteY1427" fmla="*/ 55490 h 1237129"/>
              <a:gd name="connsiteX1428" fmla="*/ 607135 w 3751729"/>
              <a:gd name="connsiteY1428" fmla="*/ 53766 h 1237129"/>
              <a:gd name="connsiteX1429" fmla="*/ 604674 w 3751729"/>
              <a:gd name="connsiteY1429" fmla="*/ 50319 h 1237129"/>
              <a:gd name="connsiteX1430" fmla="*/ 612797 w 3751729"/>
              <a:gd name="connsiteY1430" fmla="*/ 40474 h 1237129"/>
              <a:gd name="connsiteX1431" fmla="*/ 618704 w 3751729"/>
              <a:gd name="connsiteY1431" fmla="*/ 28658 h 1237129"/>
              <a:gd name="connsiteX1432" fmla="*/ 624367 w 3751729"/>
              <a:gd name="connsiteY1432" fmla="*/ 17089 h 1237129"/>
              <a:gd name="connsiteX1433" fmla="*/ 3641951 w 3751729"/>
              <a:gd name="connsiteY1433" fmla="*/ 0 h 1237129"/>
              <a:gd name="connsiteX1434" fmla="*/ 3750040 w 3751729"/>
              <a:gd name="connsiteY1434" fmla="*/ 0 h 1237129"/>
              <a:gd name="connsiteX1435" fmla="*/ 3751729 w 3751729"/>
              <a:gd name="connsiteY1435" fmla="*/ 7982 h 1237129"/>
              <a:gd name="connsiteX1436" fmla="*/ 3722929 w 3751729"/>
              <a:gd name="connsiteY1436" fmla="*/ 7982 h 1237129"/>
              <a:gd name="connsiteX1437" fmla="*/ 3721206 w 3751729"/>
              <a:gd name="connsiteY1437" fmla="*/ 10443 h 1237129"/>
              <a:gd name="connsiteX1438" fmla="*/ 3718744 w 3751729"/>
              <a:gd name="connsiteY1438" fmla="*/ 13888 h 1237129"/>
              <a:gd name="connsiteX1439" fmla="*/ 3717022 w 3751729"/>
              <a:gd name="connsiteY1439" fmla="*/ 15612 h 1237129"/>
              <a:gd name="connsiteX1440" fmla="*/ 3715298 w 3751729"/>
              <a:gd name="connsiteY1440" fmla="*/ 19797 h 1237129"/>
              <a:gd name="connsiteX1441" fmla="*/ 3713576 w 3751729"/>
              <a:gd name="connsiteY1441" fmla="*/ 23981 h 1237129"/>
              <a:gd name="connsiteX1442" fmla="*/ 3716775 w 3751729"/>
              <a:gd name="connsiteY1442" fmla="*/ 25705 h 1237129"/>
              <a:gd name="connsiteX1443" fmla="*/ 3718497 w 3751729"/>
              <a:gd name="connsiteY1443" fmla="*/ 27428 h 1237129"/>
              <a:gd name="connsiteX1444" fmla="*/ 3719237 w 3751729"/>
              <a:gd name="connsiteY1444" fmla="*/ 28166 h 1237129"/>
              <a:gd name="connsiteX1445" fmla="*/ 3720959 w 3751729"/>
              <a:gd name="connsiteY1445" fmla="*/ 31611 h 1237129"/>
              <a:gd name="connsiteX1446" fmla="*/ 3720959 w 3751729"/>
              <a:gd name="connsiteY1446" fmla="*/ 33335 h 1237129"/>
              <a:gd name="connsiteX1447" fmla="*/ 3719237 w 3751729"/>
              <a:gd name="connsiteY1447" fmla="*/ 35797 h 1237129"/>
              <a:gd name="connsiteX1448" fmla="*/ 3716775 w 3751729"/>
              <a:gd name="connsiteY1448" fmla="*/ 39982 h 1237129"/>
              <a:gd name="connsiteX1449" fmla="*/ 3715052 w 3751729"/>
              <a:gd name="connsiteY1449" fmla="*/ 41704 h 1237129"/>
              <a:gd name="connsiteX1450" fmla="*/ 3712591 w 3751729"/>
              <a:gd name="connsiteY1450" fmla="*/ 43428 h 1237129"/>
              <a:gd name="connsiteX1451" fmla="*/ 3709391 w 3751729"/>
              <a:gd name="connsiteY1451" fmla="*/ 43428 h 1237129"/>
              <a:gd name="connsiteX1452" fmla="*/ 3706929 w 3751729"/>
              <a:gd name="connsiteY1452" fmla="*/ 43428 h 1237129"/>
              <a:gd name="connsiteX1453" fmla="*/ 3701267 w 3751729"/>
              <a:gd name="connsiteY1453" fmla="*/ 43428 h 1237129"/>
              <a:gd name="connsiteX1454" fmla="*/ 3695606 w 3751729"/>
              <a:gd name="connsiteY1454" fmla="*/ 34320 h 1237129"/>
              <a:gd name="connsiteX1455" fmla="*/ 3686498 w 3751729"/>
              <a:gd name="connsiteY1455" fmla="*/ 30136 h 1237129"/>
              <a:gd name="connsiteX1456" fmla="*/ 3674930 w 3751729"/>
              <a:gd name="connsiteY1456" fmla="*/ 27674 h 1237129"/>
              <a:gd name="connsiteX1457" fmla="*/ 3674930 w 3751729"/>
              <a:gd name="connsiteY1457" fmla="*/ 16844 h 1237129"/>
              <a:gd name="connsiteX1458" fmla="*/ 3672467 w 3751729"/>
              <a:gd name="connsiteY1458" fmla="*/ 16104 h 1237129"/>
              <a:gd name="connsiteX1459" fmla="*/ 3669267 w 3751729"/>
              <a:gd name="connsiteY1459" fmla="*/ 14381 h 1237129"/>
              <a:gd name="connsiteX1460" fmla="*/ 3668529 w 3751729"/>
              <a:gd name="connsiteY1460" fmla="*/ 12659 h 1237129"/>
              <a:gd name="connsiteX1461" fmla="*/ 3665329 w 3751729"/>
              <a:gd name="connsiteY1461" fmla="*/ 10935 h 1237129"/>
              <a:gd name="connsiteX1462" fmla="*/ 3659668 w 3751729"/>
              <a:gd name="connsiteY1462" fmla="*/ 10935 h 1237129"/>
              <a:gd name="connsiteX1463" fmla="*/ 3657944 w 3751729"/>
              <a:gd name="connsiteY1463" fmla="*/ 10935 h 1237129"/>
              <a:gd name="connsiteX1464" fmla="*/ 3657207 w 3751729"/>
              <a:gd name="connsiteY1464" fmla="*/ 12659 h 1237129"/>
              <a:gd name="connsiteX1465" fmla="*/ 3655483 w 3751729"/>
              <a:gd name="connsiteY1465" fmla="*/ 12659 h 1237129"/>
              <a:gd name="connsiteX1466" fmla="*/ 3653760 w 3751729"/>
              <a:gd name="connsiteY1466" fmla="*/ 12659 h 1237129"/>
              <a:gd name="connsiteX1467" fmla="*/ 3651298 w 3751729"/>
              <a:gd name="connsiteY1467" fmla="*/ 14381 h 1237129"/>
              <a:gd name="connsiteX1468" fmla="*/ 3648098 w 3751729"/>
              <a:gd name="connsiteY1468" fmla="*/ 8474 h 1237129"/>
              <a:gd name="connsiteX1469" fmla="*/ 3643914 w 3751729"/>
              <a:gd name="connsiteY1469" fmla="*/ 2567 h 1237129"/>
              <a:gd name="connsiteX1470" fmla="*/ 1870193 w 3751729"/>
              <a:gd name="connsiteY1470" fmla="*/ 0 h 1237129"/>
              <a:gd name="connsiteX1471" fmla="*/ 1986120 w 3751729"/>
              <a:gd name="connsiteY1471" fmla="*/ 0 h 1237129"/>
              <a:gd name="connsiteX1472" fmla="*/ 1986571 w 3751729"/>
              <a:gd name="connsiteY1472" fmla="*/ 3551 h 1237129"/>
              <a:gd name="connsiteX1473" fmla="*/ 1988295 w 3751729"/>
              <a:gd name="connsiteY1473" fmla="*/ 17827 h 1237129"/>
              <a:gd name="connsiteX1474" fmla="*/ 1990757 w 3751729"/>
              <a:gd name="connsiteY1474" fmla="*/ 29643 h 1237129"/>
              <a:gd name="connsiteX1475" fmla="*/ 1993956 w 3751729"/>
              <a:gd name="connsiteY1475" fmla="*/ 37274 h 1237129"/>
              <a:gd name="connsiteX1476" fmla="*/ 1996418 w 3751729"/>
              <a:gd name="connsiteY1476" fmla="*/ 41458 h 1237129"/>
              <a:gd name="connsiteX1477" fmla="*/ 2000603 w 3751729"/>
              <a:gd name="connsiteY1477" fmla="*/ 43181 h 1237129"/>
              <a:gd name="connsiteX1478" fmla="*/ 2003802 w 3751729"/>
              <a:gd name="connsiteY1478" fmla="*/ 46628 h 1237129"/>
              <a:gd name="connsiteX1479" fmla="*/ 2009465 w 3751729"/>
              <a:gd name="connsiteY1479" fmla="*/ 47366 h 1237129"/>
              <a:gd name="connsiteX1480" fmla="*/ 2007741 w 3751729"/>
              <a:gd name="connsiteY1480" fmla="*/ 37274 h 1237129"/>
              <a:gd name="connsiteX1481" fmla="*/ 2006018 w 3751729"/>
              <a:gd name="connsiteY1481" fmla="*/ 29643 h 1237129"/>
              <a:gd name="connsiteX1482" fmla="*/ 2006018 w 3751729"/>
              <a:gd name="connsiteY1482" fmla="*/ 21274 h 1237129"/>
              <a:gd name="connsiteX1483" fmla="*/ 2011187 w 3751729"/>
              <a:gd name="connsiteY1483" fmla="*/ 21274 h 1237129"/>
              <a:gd name="connsiteX1484" fmla="*/ 2011187 w 3751729"/>
              <a:gd name="connsiteY1484" fmla="*/ 17827 h 1237129"/>
              <a:gd name="connsiteX1485" fmla="*/ 2021032 w 3751729"/>
              <a:gd name="connsiteY1485" fmla="*/ 23735 h 1237129"/>
              <a:gd name="connsiteX1486" fmla="*/ 2030879 w 3751729"/>
              <a:gd name="connsiteY1486" fmla="*/ 29643 h 1237129"/>
              <a:gd name="connsiteX1487" fmla="*/ 2042448 w 3751729"/>
              <a:gd name="connsiteY1487" fmla="*/ 34566 h 1237129"/>
              <a:gd name="connsiteX1488" fmla="*/ 2044171 w 3751729"/>
              <a:gd name="connsiteY1488" fmla="*/ 31120 h 1237129"/>
              <a:gd name="connsiteX1489" fmla="*/ 2045895 w 3751729"/>
              <a:gd name="connsiteY1489" fmla="*/ 28658 h 1237129"/>
              <a:gd name="connsiteX1490" fmla="*/ 2046633 w 3751729"/>
              <a:gd name="connsiteY1490" fmla="*/ 26936 h 1237129"/>
              <a:gd name="connsiteX1491" fmla="*/ 2048355 w 3751729"/>
              <a:gd name="connsiteY1491" fmla="*/ 22750 h 1237129"/>
              <a:gd name="connsiteX1492" fmla="*/ 2048355 w 3751729"/>
              <a:gd name="connsiteY1492" fmla="*/ 17827 h 1237129"/>
              <a:gd name="connsiteX1493" fmla="*/ 2046633 w 3751729"/>
              <a:gd name="connsiteY1493" fmla="*/ 17089 h 1237129"/>
              <a:gd name="connsiteX1494" fmla="*/ 2045895 w 3751729"/>
              <a:gd name="connsiteY1494" fmla="*/ 15366 h 1237129"/>
              <a:gd name="connsiteX1495" fmla="*/ 2044171 w 3751729"/>
              <a:gd name="connsiteY1495" fmla="*/ 13643 h 1237129"/>
              <a:gd name="connsiteX1496" fmla="*/ 2044171 w 3751729"/>
              <a:gd name="connsiteY1496" fmla="*/ 11920 h 1237129"/>
              <a:gd name="connsiteX1497" fmla="*/ 2044171 w 3751729"/>
              <a:gd name="connsiteY1497" fmla="*/ 9458 h 1237129"/>
              <a:gd name="connsiteX1498" fmla="*/ 2042448 w 3751729"/>
              <a:gd name="connsiteY1498" fmla="*/ 5274 h 1237129"/>
              <a:gd name="connsiteX1499" fmla="*/ 2054314 w 3751729"/>
              <a:gd name="connsiteY1499" fmla="*/ 0 h 1237129"/>
              <a:gd name="connsiteX1500" fmla="*/ 3640714 w 3751729"/>
              <a:gd name="connsiteY1500" fmla="*/ 0 h 1237129"/>
              <a:gd name="connsiteX1501" fmla="*/ 3640714 w 3751729"/>
              <a:gd name="connsiteY1501" fmla="*/ 8474 h 1237129"/>
              <a:gd name="connsiteX1502" fmla="*/ 3638252 w 3751729"/>
              <a:gd name="connsiteY1502" fmla="*/ 20290 h 1237129"/>
              <a:gd name="connsiteX1503" fmla="*/ 3635053 w 3751729"/>
              <a:gd name="connsiteY1503" fmla="*/ 30382 h 1237129"/>
              <a:gd name="connsiteX1504" fmla="*/ 3628406 w 3751729"/>
              <a:gd name="connsiteY1504" fmla="*/ 36289 h 1237129"/>
              <a:gd name="connsiteX1505" fmla="*/ 3625207 w 3751729"/>
              <a:gd name="connsiteY1505" fmla="*/ 38012 h 1237129"/>
              <a:gd name="connsiteX1506" fmla="*/ 3622745 w 3751729"/>
              <a:gd name="connsiteY1506" fmla="*/ 38012 h 1237129"/>
              <a:gd name="connsiteX1507" fmla="*/ 3621022 w 3751729"/>
              <a:gd name="connsiteY1507" fmla="*/ 38012 h 1237129"/>
              <a:gd name="connsiteX1508" fmla="*/ 3619298 w 3751729"/>
              <a:gd name="connsiteY1508" fmla="*/ 38012 h 1237129"/>
              <a:gd name="connsiteX1509" fmla="*/ 3617576 w 3751729"/>
              <a:gd name="connsiteY1509" fmla="*/ 36289 h 1237129"/>
              <a:gd name="connsiteX1510" fmla="*/ 3616838 w 3751729"/>
              <a:gd name="connsiteY1510" fmla="*/ 36289 h 1237129"/>
              <a:gd name="connsiteX1511" fmla="*/ 3615114 w 3751729"/>
              <a:gd name="connsiteY1511" fmla="*/ 36289 h 1237129"/>
              <a:gd name="connsiteX1512" fmla="*/ 3613391 w 3751729"/>
              <a:gd name="connsiteY1512" fmla="*/ 38012 h 1237129"/>
              <a:gd name="connsiteX1513" fmla="*/ 3611668 w 3751729"/>
              <a:gd name="connsiteY1513" fmla="*/ 39735 h 1237129"/>
              <a:gd name="connsiteX1514" fmla="*/ 3609207 w 3751729"/>
              <a:gd name="connsiteY1514" fmla="*/ 43920 h 1237129"/>
              <a:gd name="connsiteX1515" fmla="*/ 3617576 w 3751729"/>
              <a:gd name="connsiteY1515" fmla="*/ 54012 h 1237129"/>
              <a:gd name="connsiteX1516" fmla="*/ 3626683 w 3751729"/>
              <a:gd name="connsiteY1516" fmla="*/ 71735 h 1237129"/>
              <a:gd name="connsiteX1517" fmla="*/ 3630868 w 3751729"/>
              <a:gd name="connsiteY1517" fmla="*/ 91920 h 1237129"/>
              <a:gd name="connsiteX1518" fmla="*/ 3628406 w 3751729"/>
              <a:gd name="connsiteY1518" fmla="*/ 91920 h 1237129"/>
              <a:gd name="connsiteX1519" fmla="*/ 3626683 w 3751729"/>
              <a:gd name="connsiteY1519" fmla="*/ 93643 h 1237129"/>
              <a:gd name="connsiteX1520" fmla="*/ 3623483 w 3751729"/>
              <a:gd name="connsiteY1520" fmla="*/ 93643 h 1237129"/>
              <a:gd name="connsiteX1521" fmla="*/ 3619298 w 3751729"/>
              <a:gd name="connsiteY1521" fmla="*/ 95365 h 1237129"/>
              <a:gd name="connsiteX1522" fmla="*/ 3613637 w 3751729"/>
              <a:gd name="connsiteY1522" fmla="*/ 91181 h 1237129"/>
              <a:gd name="connsiteX1523" fmla="*/ 3609452 w 3751729"/>
              <a:gd name="connsiteY1523" fmla="*/ 87734 h 1237129"/>
              <a:gd name="connsiteX1524" fmla="*/ 3603791 w 3751729"/>
              <a:gd name="connsiteY1524" fmla="*/ 86996 h 1237129"/>
              <a:gd name="connsiteX1525" fmla="*/ 3596406 w 3751729"/>
              <a:gd name="connsiteY1525" fmla="*/ 85274 h 1237129"/>
              <a:gd name="connsiteX1526" fmla="*/ 3592222 w 3751729"/>
              <a:gd name="connsiteY1526" fmla="*/ 97089 h 1237129"/>
              <a:gd name="connsiteX1527" fmla="*/ 3583854 w 3751729"/>
              <a:gd name="connsiteY1527" fmla="*/ 102997 h 1237129"/>
              <a:gd name="connsiteX1528" fmla="*/ 3573022 w 3751729"/>
              <a:gd name="connsiteY1528" fmla="*/ 107181 h 1237129"/>
              <a:gd name="connsiteX1529" fmla="*/ 3561453 w 3751729"/>
              <a:gd name="connsiteY1529" fmla="*/ 111366 h 1237129"/>
              <a:gd name="connsiteX1530" fmla="*/ 3560715 w 3751729"/>
              <a:gd name="connsiteY1530" fmla="*/ 123180 h 1237129"/>
              <a:gd name="connsiteX1531" fmla="*/ 3557514 w 3751729"/>
              <a:gd name="connsiteY1531" fmla="*/ 132289 h 1237129"/>
              <a:gd name="connsiteX1532" fmla="*/ 3551854 w 3751729"/>
              <a:gd name="connsiteY1532" fmla="*/ 140657 h 1237129"/>
              <a:gd name="connsiteX1533" fmla="*/ 3540284 w 3751729"/>
              <a:gd name="connsiteY1533" fmla="*/ 142381 h 1237129"/>
              <a:gd name="connsiteX1534" fmla="*/ 3531915 w 3751729"/>
              <a:gd name="connsiteY1534" fmla="*/ 144842 h 1237129"/>
              <a:gd name="connsiteX1535" fmla="*/ 3526253 w 3751729"/>
              <a:gd name="connsiteY1535" fmla="*/ 148288 h 1237129"/>
              <a:gd name="connsiteX1536" fmla="*/ 3520592 w 3751729"/>
              <a:gd name="connsiteY1536" fmla="*/ 150012 h 1237129"/>
              <a:gd name="connsiteX1537" fmla="*/ 3516408 w 3751729"/>
              <a:gd name="connsiteY1537" fmla="*/ 146565 h 1237129"/>
              <a:gd name="connsiteX1538" fmla="*/ 3511484 w 3751729"/>
              <a:gd name="connsiteY1538" fmla="*/ 142381 h 1237129"/>
              <a:gd name="connsiteX1539" fmla="*/ 3509022 w 3751729"/>
              <a:gd name="connsiteY1539" fmla="*/ 138196 h 1237129"/>
              <a:gd name="connsiteX1540" fmla="*/ 3503362 w 3751729"/>
              <a:gd name="connsiteY1540" fmla="*/ 138935 h 1237129"/>
              <a:gd name="connsiteX1541" fmla="*/ 3495977 w 3751729"/>
              <a:gd name="connsiteY1541" fmla="*/ 140657 h 1237129"/>
              <a:gd name="connsiteX1542" fmla="*/ 3490315 w 3751729"/>
              <a:gd name="connsiteY1542" fmla="*/ 144103 h 1237129"/>
              <a:gd name="connsiteX1543" fmla="*/ 3486130 w 3751729"/>
              <a:gd name="connsiteY1543" fmla="*/ 146565 h 1237129"/>
              <a:gd name="connsiteX1544" fmla="*/ 3486130 w 3751729"/>
              <a:gd name="connsiteY1544" fmla="*/ 152473 h 1237129"/>
              <a:gd name="connsiteX1545" fmla="*/ 3481946 w 3751729"/>
              <a:gd name="connsiteY1545" fmla="*/ 154195 h 1237129"/>
              <a:gd name="connsiteX1546" fmla="*/ 3474562 w 3751729"/>
              <a:gd name="connsiteY1546" fmla="*/ 154195 h 1237129"/>
              <a:gd name="connsiteX1547" fmla="*/ 3464716 w 3751729"/>
              <a:gd name="connsiteY1547" fmla="*/ 154195 h 1237129"/>
              <a:gd name="connsiteX1548" fmla="*/ 3455608 w 3751729"/>
              <a:gd name="connsiteY1548" fmla="*/ 155919 h 1237129"/>
              <a:gd name="connsiteX1549" fmla="*/ 3451423 w 3751729"/>
              <a:gd name="connsiteY1549" fmla="*/ 156658 h 1237129"/>
              <a:gd name="connsiteX1550" fmla="*/ 3444038 w 3751729"/>
              <a:gd name="connsiteY1550" fmla="*/ 174381 h 1237129"/>
              <a:gd name="connsiteX1551" fmla="*/ 3443300 w 3751729"/>
              <a:gd name="connsiteY1551" fmla="*/ 193580 h 1237129"/>
              <a:gd name="connsiteX1552" fmla="*/ 3443300 w 3751729"/>
              <a:gd name="connsiteY1552" fmla="*/ 215488 h 1237129"/>
              <a:gd name="connsiteX1553" fmla="*/ 3445762 w 3751729"/>
              <a:gd name="connsiteY1553" fmla="*/ 234687 h 1237129"/>
              <a:gd name="connsiteX1554" fmla="*/ 3441577 w 3751729"/>
              <a:gd name="connsiteY1554" fmla="*/ 234687 h 1237129"/>
              <a:gd name="connsiteX1555" fmla="*/ 3439854 w 3751729"/>
              <a:gd name="connsiteY1555" fmla="*/ 234687 h 1237129"/>
              <a:gd name="connsiteX1556" fmla="*/ 3438131 w 3751729"/>
              <a:gd name="connsiteY1556" fmla="*/ 234687 h 1237129"/>
              <a:gd name="connsiteX1557" fmla="*/ 3437392 w 3751729"/>
              <a:gd name="connsiteY1557" fmla="*/ 236410 h 1237129"/>
              <a:gd name="connsiteX1558" fmla="*/ 3435670 w 3751729"/>
              <a:gd name="connsiteY1558" fmla="*/ 237150 h 1237129"/>
              <a:gd name="connsiteX1559" fmla="*/ 3433946 w 3751729"/>
              <a:gd name="connsiteY1559" fmla="*/ 242072 h 1237129"/>
              <a:gd name="connsiteX1560" fmla="*/ 3432223 w 3751729"/>
              <a:gd name="connsiteY1560" fmla="*/ 246257 h 1237129"/>
              <a:gd name="connsiteX1561" fmla="*/ 3432223 w 3751729"/>
              <a:gd name="connsiteY1561" fmla="*/ 252164 h 1237129"/>
              <a:gd name="connsiteX1562" fmla="*/ 3432223 w 3751729"/>
              <a:gd name="connsiteY1562" fmla="*/ 258810 h 1237129"/>
              <a:gd name="connsiteX1563" fmla="*/ 3422377 w 3751729"/>
              <a:gd name="connsiteY1563" fmla="*/ 258810 h 1237129"/>
              <a:gd name="connsiteX1564" fmla="*/ 3416715 w 3751729"/>
              <a:gd name="connsiteY1564" fmla="*/ 267918 h 1237129"/>
              <a:gd name="connsiteX1565" fmla="*/ 3412531 w 3751729"/>
              <a:gd name="connsiteY1565" fmla="*/ 273825 h 1237129"/>
              <a:gd name="connsiteX1566" fmla="*/ 3410808 w 3751729"/>
              <a:gd name="connsiteY1566" fmla="*/ 279734 h 1237129"/>
              <a:gd name="connsiteX1567" fmla="*/ 3409084 w 3751729"/>
              <a:gd name="connsiteY1567" fmla="*/ 291548 h 1237129"/>
              <a:gd name="connsiteX1568" fmla="*/ 3406623 w 3751729"/>
              <a:gd name="connsiteY1568" fmla="*/ 291548 h 1237129"/>
              <a:gd name="connsiteX1569" fmla="*/ 3403423 w 3751729"/>
              <a:gd name="connsiteY1569" fmla="*/ 291548 h 1237129"/>
              <a:gd name="connsiteX1570" fmla="*/ 3402685 w 3751729"/>
              <a:gd name="connsiteY1570" fmla="*/ 291548 h 1237129"/>
              <a:gd name="connsiteX1571" fmla="*/ 3400962 w 3751729"/>
              <a:gd name="connsiteY1571" fmla="*/ 291548 h 1237129"/>
              <a:gd name="connsiteX1572" fmla="*/ 3397762 w 3751729"/>
              <a:gd name="connsiteY1572" fmla="*/ 291548 h 1237129"/>
              <a:gd name="connsiteX1573" fmla="*/ 3392100 w 3751729"/>
              <a:gd name="connsiteY1573" fmla="*/ 303365 h 1237129"/>
              <a:gd name="connsiteX1574" fmla="*/ 3387915 w 3751729"/>
              <a:gd name="connsiteY1574" fmla="*/ 317641 h 1237129"/>
              <a:gd name="connsiteX1575" fmla="*/ 3378069 w 3751729"/>
              <a:gd name="connsiteY1575" fmla="*/ 317641 h 1237129"/>
              <a:gd name="connsiteX1576" fmla="*/ 3374869 w 3751729"/>
              <a:gd name="connsiteY1576" fmla="*/ 333640 h 1237129"/>
              <a:gd name="connsiteX1577" fmla="*/ 3369947 w 3751729"/>
              <a:gd name="connsiteY1577" fmla="*/ 333640 h 1237129"/>
              <a:gd name="connsiteX1578" fmla="*/ 3369947 w 3751729"/>
              <a:gd name="connsiteY1578" fmla="*/ 329457 h 1237129"/>
              <a:gd name="connsiteX1579" fmla="*/ 3358378 w 3751729"/>
              <a:gd name="connsiteY1579" fmla="*/ 313456 h 1237129"/>
              <a:gd name="connsiteX1580" fmla="*/ 3350993 w 3751729"/>
              <a:gd name="connsiteY1580" fmla="*/ 294256 h 1237129"/>
              <a:gd name="connsiteX1581" fmla="*/ 3349270 w 3751729"/>
              <a:gd name="connsiteY1581" fmla="*/ 272349 h 1237129"/>
              <a:gd name="connsiteX1582" fmla="*/ 3350993 w 3751729"/>
              <a:gd name="connsiteY1582" fmla="*/ 246257 h 1237129"/>
              <a:gd name="connsiteX1583" fmla="*/ 3355178 w 3751729"/>
              <a:gd name="connsiteY1583" fmla="*/ 242811 h 1237129"/>
              <a:gd name="connsiteX1584" fmla="*/ 3358378 w 3751729"/>
              <a:gd name="connsiteY1584" fmla="*/ 240349 h 1237129"/>
              <a:gd name="connsiteX1585" fmla="*/ 3362562 w 3751729"/>
              <a:gd name="connsiteY1585" fmla="*/ 236903 h 1237129"/>
              <a:gd name="connsiteX1586" fmla="*/ 3364285 w 3751729"/>
              <a:gd name="connsiteY1586" fmla="*/ 232719 h 1237129"/>
              <a:gd name="connsiteX1587" fmla="*/ 3366747 w 3751729"/>
              <a:gd name="connsiteY1587" fmla="*/ 226811 h 1237129"/>
              <a:gd name="connsiteX1588" fmla="*/ 3362562 w 3751729"/>
              <a:gd name="connsiteY1588" fmla="*/ 219180 h 1237129"/>
              <a:gd name="connsiteX1589" fmla="*/ 3360839 w 3751729"/>
              <a:gd name="connsiteY1589" fmla="*/ 209088 h 1237129"/>
              <a:gd name="connsiteX1590" fmla="*/ 3366501 w 3751729"/>
              <a:gd name="connsiteY1590" fmla="*/ 197272 h 1237129"/>
              <a:gd name="connsiteX1591" fmla="*/ 3372162 w 3751729"/>
              <a:gd name="connsiteY1591" fmla="*/ 193088 h 1237129"/>
              <a:gd name="connsiteX1592" fmla="*/ 3379547 w 3751729"/>
              <a:gd name="connsiteY1592" fmla="*/ 189642 h 1237129"/>
              <a:gd name="connsiteX1593" fmla="*/ 3387915 w 3751729"/>
              <a:gd name="connsiteY1593" fmla="*/ 187180 h 1237129"/>
              <a:gd name="connsiteX1594" fmla="*/ 3393577 w 3751729"/>
              <a:gd name="connsiteY1594" fmla="*/ 181272 h 1237129"/>
              <a:gd name="connsiteX1595" fmla="*/ 3405147 w 3751729"/>
              <a:gd name="connsiteY1595" fmla="*/ 163550 h 1237129"/>
              <a:gd name="connsiteX1596" fmla="*/ 3416715 w 3751729"/>
              <a:gd name="connsiteY1596" fmla="*/ 145827 h 1237129"/>
              <a:gd name="connsiteX1597" fmla="*/ 3425824 w 3751729"/>
              <a:gd name="connsiteY1597" fmla="*/ 138196 h 1237129"/>
              <a:gd name="connsiteX1598" fmla="*/ 3435670 w 3751729"/>
              <a:gd name="connsiteY1598" fmla="*/ 131550 h 1237129"/>
              <a:gd name="connsiteX1599" fmla="*/ 3445515 w 3751729"/>
              <a:gd name="connsiteY1599" fmla="*/ 123920 h 1237129"/>
              <a:gd name="connsiteX1600" fmla="*/ 3449700 w 3751729"/>
              <a:gd name="connsiteY1600" fmla="*/ 113827 h 1237129"/>
              <a:gd name="connsiteX1601" fmla="*/ 3452900 w 3751729"/>
              <a:gd name="connsiteY1601" fmla="*/ 102011 h 1237129"/>
              <a:gd name="connsiteX1602" fmla="*/ 3457085 w 3751729"/>
              <a:gd name="connsiteY1602" fmla="*/ 91181 h 1237129"/>
              <a:gd name="connsiteX1603" fmla="*/ 3457085 w 3751729"/>
              <a:gd name="connsiteY1603" fmla="*/ 90443 h 1237129"/>
              <a:gd name="connsiteX1604" fmla="*/ 3455361 w 3751729"/>
              <a:gd name="connsiteY1604" fmla="*/ 90443 h 1237129"/>
              <a:gd name="connsiteX1605" fmla="*/ 3455361 w 3751729"/>
              <a:gd name="connsiteY1605" fmla="*/ 88719 h 1237129"/>
              <a:gd name="connsiteX1606" fmla="*/ 3453639 w 3751729"/>
              <a:gd name="connsiteY1606" fmla="*/ 86996 h 1237129"/>
              <a:gd name="connsiteX1607" fmla="*/ 3451176 w 3751729"/>
              <a:gd name="connsiteY1607" fmla="*/ 88719 h 1237129"/>
              <a:gd name="connsiteX1608" fmla="*/ 3449454 w 3751729"/>
              <a:gd name="connsiteY1608" fmla="*/ 90443 h 1237129"/>
              <a:gd name="connsiteX1609" fmla="*/ 3448715 w 3751729"/>
              <a:gd name="connsiteY1609" fmla="*/ 91181 h 1237129"/>
              <a:gd name="connsiteX1610" fmla="*/ 3441331 w 3751729"/>
              <a:gd name="connsiteY1610" fmla="*/ 102011 h 1237129"/>
              <a:gd name="connsiteX1611" fmla="*/ 3433946 w 3751729"/>
              <a:gd name="connsiteY1611" fmla="*/ 113827 h 1237129"/>
              <a:gd name="connsiteX1612" fmla="*/ 3426561 w 3751729"/>
              <a:gd name="connsiteY1612" fmla="*/ 123920 h 1237129"/>
              <a:gd name="connsiteX1613" fmla="*/ 3416715 w 3751729"/>
              <a:gd name="connsiteY1613" fmla="*/ 131550 h 1237129"/>
              <a:gd name="connsiteX1614" fmla="*/ 3403423 w 3751729"/>
              <a:gd name="connsiteY1614" fmla="*/ 137457 h 1237129"/>
              <a:gd name="connsiteX1615" fmla="*/ 3402685 w 3751729"/>
              <a:gd name="connsiteY1615" fmla="*/ 132535 h 1237129"/>
              <a:gd name="connsiteX1616" fmla="*/ 3402685 w 3751729"/>
              <a:gd name="connsiteY1616" fmla="*/ 131796 h 1237129"/>
              <a:gd name="connsiteX1617" fmla="*/ 3400962 w 3751729"/>
              <a:gd name="connsiteY1617" fmla="*/ 128350 h 1237129"/>
              <a:gd name="connsiteX1618" fmla="*/ 3400962 w 3751729"/>
              <a:gd name="connsiteY1618" fmla="*/ 124165 h 1237129"/>
              <a:gd name="connsiteX1619" fmla="*/ 3402685 w 3751729"/>
              <a:gd name="connsiteY1619" fmla="*/ 122442 h 1237129"/>
              <a:gd name="connsiteX1620" fmla="*/ 3402685 w 3751729"/>
              <a:gd name="connsiteY1620" fmla="*/ 120719 h 1237129"/>
              <a:gd name="connsiteX1621" fmla="*/ 3402685 w 3751729"/>
              <a:gd name="connsiteY1621" fmla="*/ 119980 h 1237129"/>
              <a:gd name="connsiteX1622" fmla="*/ 3403423 w 3751729"/>
              <a:gd name="connsiteY1622" fmla="*/ 116534 h 1237129"/>
              <a:gd name="connsiteX1623" fmla="*/ 3403423 w 3751729"/>
              <a:gd name="connsiteY1623" fmla="*/ 114073 h 1237129"/>
              <a:gd name="connsiteX1624" fmla="*/ 3399238 w 3751729"/>
              <a:gd name="connsiteY1624" fmla="*/ 110628 h 1237129"/>
              <a:gd name="connsiteX1625" fmla="*/ 3395054 w 3751729"/>
              <a:gd name="connsiteY1625" fmla="*/ 108903 h 1237129"/>
              <a:gd name="connsiteX1626" fmla="*/ 3391854 w 3751729"/>
              <a:gd name="connsiteY1626" fmla="*/ 108166 h 1237129"/>
              <a:gd name="connsiteX1627" fmla="*/ 3387670 w 3751729"/>
              <a:gd name="connsiteY1627" fmla="*/ 106442 h 1237129"/>
              <a:gd name="connsiteX1628" fmla="*/ 3385208 w 3751729"/>
              <a:gd name="connsiteY1628" fmla="*/ 108166 h 1237129"/>
              <a:gd name="connsiteX1629" fmla="*/ 3377824 w 3751729"/>
              <a:gd name="connsiteY1629" fmla="*/ 112350 h 1237129"/>
              <a:gd name="connsiteX1630" fmla="*/ 3367978 w 3751729"/>
              <a:gd name="connsiteY1630" fmla="*/ 120719 h 1237129"/>
              <a:gd name="connsiteX1631" fmla="*/ 3358870 w 3751729"/>
              <a:gd name="connsiteY1631" fmla="*/ 131550 h 1237129"/>
              <a:gd name="connsiteX1632" fmla="*/ 3350500 w 3751729"/>
              <a:gd name="connsiteY1632" fmla="*/ 141642 h 1237129"/>
              <a:gd name="connsiteX1633" fmla="*/ 3346316 w 3751729"/>
              <a:gd name="connsiteY1633" fmla="*/ 149273 h 1237129"/>
              <a:gd name="connsiteX1634" fmla="*/ 3346316 w 3751729"/>
              <a:gd name="connsiteY1634" fmla="*/ 151734 h 1237129"/>
              <a:gd name="connsiteX1635" fmla="*/ 3346316 w 3751729"/>
              <a:gd name="connsiteY1635" fmla="*/ 155180 h 1237129"/>
              <a:gd name="connsiteX1636" fmla="*/ 3347055 w 3751729"/>
              <a:gd name="connsiteY1636" fmla="*/ 157642 h 1237129"/>
              <a:gd name="connsiteX1637" fmla="*/ 3348778 w 3751729"/>
              <a:gd name="connsiteY1637" fmla="*/ 161826 h 1237129"/>
              <a:gd name="connsiteX1638" fmla="*/ 3350500 w 3751729"/>
              <a:gd name="connsiteY1638" fmla="*/ 165272 h 1237129"/>
              <a:gd name="connsiteX1639" fmla="*/ 3350500 w 3751729"/>
              <a:gd name="connsiteY1639" fmla="*/ 167734 h 1237129"/>
              <a:gd name="connsiteX1640" fmla="*/ 3341394 w 3751729"/>
              <a:gd name="connsiteY1640" fmla="*/ 171918 h 1237129"/>
              <a:gd name="connsiteX1641" fmla="*/ 3331548 w 3751729"/>
              <a:gd name="connsiteY1641" fmla="*/ 173642 h 1237129"/>
              <a:gd name="connsiteX1642" fmla="*/ 3318255 w 3751729"/>
              <a:gd name="connsiteY1642" fmla="*/ 175365 h 1237129"/>
              <a:gd name="connsiteX1643" fmla="*/ 3305947 w 3751729"/>
              <a:gd name="connsiteY1643" fmla="*/ 175365 h 1237129"/>
              <a:gd name="connsiteX1644" fmla="*/ 3305947 w 3751729"/>
              <a:gd name="connsiteY1644" fmla="*/ 159365 h 1237129"/>
              <a:gd name="connsiteX1645" fmla="*/ 3292655 w 3751729"/>
              <a:gd name="connsiteY1645" fmla="*/ 161826 h 1237129"/>
              <a:gd name="connsiteX1646" fmla="*/ 3281085 w 3751729"/>
              <a:gd name="connsiteY1646" fmla="*/ 166750 h 1237129"/>
              <a:gd name="connsiteX1647" fmla="*/ 3271240 w 3751729"/>
              <a:gd name="connsiteY1647" fmla="*/ 165026 h 1237129"/>
              <a:gd name="connsiteX1648" fmla="*/ 3263855 w 3751729"/>
              <a:gd name="connsiteY1648" fmla="*/ 155919 h 1237129"/>
              <a:gd name="connsiteX1649" fmla="*/ 3235055 w 3751729"/>
              <a:gd name="connsiteY1649" fmla="*/ 151734 h 1237129"/>
              <a:gd name="connsiteX1650" fmla="*/ 3225209 w 3751729"/>
              <a:gd name="connsiteY1650" fmla="*/ 161826 h 1237129"/>
              <a:gd name="connsiteX1651" fmla="*/ 3213640 w 3751729"/>
              <a:gd name="connsiteY1651" fmla="*/ 169457 h 1237129"/>
              <a:gd name="connsiteX1652" fmla="*/ 3203794 w 3751729"/>
              <a:gd name="connsiteY1652" fmla="*/ 177827 h 1237129"/>
              <a:gd name="connsiteX1653" fmla="*/ 3198133 w 3751729"/>
              <a:gd name="connsiteY1653" fmla="*/ 188657 h 1237129"/>
              <a:gd name="connsiteX1654" fmla="*/ 3192471 w 3751729"/>
              <a:gd name="connsiteY1654" fmla="*/ 198750 h 1237129"/>
              <a:gd name="connsiteX1655" fmla="*/ 3186810 w 3751729"/>
              <a:gd name="connsiteY1655" fmla="*/ 208841 h 1237129"/>
              <a:gd name="connsiteX1656" fmla="*/ 3179425 w 3751729"/>
              <a:gd name="connsiteY1656" fmla="*/ 216473 h 1237129"/>
              <a:gd name="connsiteX1657" fmla="*/ 3156287 w 3751729"/>
              <a:gd name="connsiteY1657" fmla="*/ 224103 h 1237129"/>
              <a:gd name="connsiteX1658" fmla="*/ 3150625 w 3751729"/>
              <a:gd name="connsiteY1658" fmla="*/ 230011 h 1237129"/>
              <a:gd name="connsiteX1659" fmla="*/ 3146441 w 3751729"/>
              <a:gd name="connsiteY1659" fmla="*/ 236657 h 1237129"/>
              <a:gd name="connsiteX1660" fmla="*/ 3142256 w 3751729"/>
              <a:gd name="connsiteY1660" fmla="*/ 242564 h 1237129"/>
              <a:gd name="connsiteX1661" fmla="*/ 3132409 w 3751729"/>
              <a:gd name="connsiteY1661" fmla="*/ 250195 h 1237129"/>
              <a:gd name="connsiteX1662" fmla="*/ 3132409 w 3751729"/>
              <a:gd name="connsiteY1662" fmla="*/ 258564 h 1237129"/>
              <a:gd name="connsiteX1663" fmla="*/ 3144717 w 3751729"/>
              <a:gd name="connsiteY1663" fmla="*/ 258564 h 1237129"/>
              <a:gd name="connsiteX1664" fmla="*/ 3146441 w 3751729"/>
              <a:gd name="connsiteY1664" fmla="*/ 263487 h 1237129"/>
              <a:gd name="connsiteX1665" fmla="*/ 3148164 w 3751729"/>
              <a:gd name="connsiteY1665" fmla="*/ 265949 h 1237129"/>
              <a:gd name="connsiteX1666" fmla="*/ 3148902 w 3751729"/>
              <a:gd name="connsiteY1666" fmla="*/ 269395 h 1237129"/>
              <a:gd name="connsiteX1667" fmla="*/ 3152102 w 3751729"/>
              <a:gd name="connsiteY1667" fmla="*/ 271857 h 1237129"/>
              <a:gd name="connsiteX1668" fmla="*/ 3154563 w 3751729"/>
              <a:gd name="connsiteY1668" fmla="*/ 273580 h 1237129"/>
              <a:gd name="connsiteX1669" fmla="*/ 3160225 w 3751729"/>
              <a:gd name="connsiteY1669" fmla="*/ 275303 h 1237129"/>
              <a:gd name="connsiteX1670" fmla="*/ 3163425 w 3751729"/>
              <a:gd name="connsiteY1670" fmla="*/ 271857 h 1237129"/>
              <a:gd name="connsiteX1671" fmla="*/ 3165887 w 3751729"/>
              <a:gd name="connsiteY1671" fmla="*/ 270133 h 1237129"/>
              <a:gd name="connsiteX1672" fmla="*/ 3170809 w 3751729"/>
              <a:gd name="connsiteY1672" fmla="*/ 269395 h 1237129"/>
              <a:gd name="connsiteX1673" fmla="*/ 3174994 w 3751729"/>
              <a:gd name="connsiteY1673" fmla="*/ 269395 h 1237129"/>
              <a:gd name="connsiteX1674" fmla="*/ 3182379 w 3751729"/>
              <a:gd name="connsiteY1674" fmla="*/ 269395 h 1237129"/>
              <a:gd name="connsiteX1675" fmla="*/ 3188041 w 3751729"/>
              <a:gd name="connsiteY1675" fmla="*/ 276041 h 1237129"/>
              <a:gd name="connsiteX1676" fmla="*/ 3192225 w 3751729"/>
              <a:gd name="connsiteY1676" fmla="*/ 281949 h 1237129"/>
              <a:gd name="connsiteX1677" fmla="*/ 3194687 w 3751729"/>
              <a:gd name="connsiteY1677" fmla="*/ 289580 h 1237129"/>
              <a:gd name="connsiteX1678" fmla="*/ 3197887 w 3751729"/>
              <a:gd name="connsiteY1678" fmla="*/ 301394 h 1237129"/>
              <a:gd name="connsiteX1679" fmla="*/ 3199609 w 3751729"/>
              <a:gd name="connsiteY1679" fmla="*/ 309026 h 1237129"/>
              <a:gd name="connsiteX1680" fmla="*/ 3197887 w 3751729"/>
              <a:gd name="connsiteY1680" fmla="*/ 313210 h 1237129"/>
              <a:gd name="connsiteX1681" fmla="*/ 3193702 w 3751729"/>
              <a:gd name="connsiteY1681" fmla="*/ 317395 h 1237129"/>
              <a:gd name="connsiteX1682" fmla="*/ 3191978 w 3751729"/>
              <a:gd name="connsiteY1682" fmla="*/ 325026 h 1237129"/>
              <a:gd name="connsiteX1683" fmla="*/ 3191978 w 3751729"/>
              <a:gd name="connsiteY1683" fmla="*/ 333395 h 1237129"/>
              <a:gd name="connsiteX1684" fmla="*/ 3194441 w 3751729"/>
              <a:gd name="connsiteY1684" fmla="*/ 341025 h 1237129"/>
              <a:gd name="connsiteX1685" fmla="*/ 3197640 w 3751729"/>
              <a:gd name="connsiteY1685" fmla="*/ 348656 h 1237129"/>
              <a:gd name="connsiteX1686" fmla="*/ 3200102 w 3751729"/>
              <a:gd name="connsiteY1686" fmla="*/ 358748 h 1237129"/>
              <a:gd name="connsiteX1687" fmla="*/ 3191733 w 3751729"/>
              <a:gd name="connsiteY1687" fmla="*/ 367856 h 1237129"/>
              <a:gd name="connsiteX1688" fmla="*/ 3186072 w 3751729"/>
              <a:gd name="connsiteY1688" fmla="*/ 377949 h 1237129"/>
              <a:gd name="connsiteX1689" fmla="*/ 3181886 w 3751729"/>
              <a:gd name="connsiteY1689" fmla="*/ 388041 h 1237129"/>
              <a:gd name="connsiteX1690" fmla="*/ 3176226 w 3751729"/>
              <a:gd name="connsiteY1690" fmla="*/ 401579 h 1237129"/>
              <a:gd name="connsiteX1691" fmla="*/ 3173025 w 3751729"/>
              <a:gd name="connsiteY1691" fmla="*/ 404041 h 1237129"/>
              <a:gd name="connsiteX1692" fmla="*/ 3165640 w 3751729"/>
              <a:gd name="connsiteY1692" fmla="*/ 413148 h 1237129"/>
              <a:gd name="connsiteX1693" fmla="*/ 3157271 w 3751729"/>
              <a:gd name="connsiteY1693" fmla="*/ 423241 h 1237129"/>
              <a:gd name="connsiteX1694" fmla="*/ 3148164 w 3751729"/>
              <a:gd name="connsiteY1694" fmla="*/ 435056 h 1237129"/>
              <a:gd name="connsiteX1695" fmla="*/ 3138318 w 3751729"/>
              <a:gd name="connsiteY1695" fmla="*/ 445148 h 1237129"/>
              <a:gd name="connsiteX1696" fmla="*/ 3129949 w 3751729"/>
              <a:gd name="connsiteY1696" fmla="*/ 455241 h 1237129"/>
              <a:gd name="connsiteX1697" fmla="*/ 3124288 w 3751729"/>
              <a:gd name="connsiteY1697" fmla="*/ 462871 h 1237129"/>
              <a:gd name="connsiteX1698" fmla="*/ 3121088 w 3751729"/>
              <a:gd name="connsiteY1698" fmla="*/ 466318 h 1237129"/>
              <a:gd name="connsiteX1699" fmla="*/ 3111241 w 3751729"/>
              <a:gd name="connsiteY1699" fmla="*/ 468778 h 1237129"/>
              <a:gd name="connsiteX1700" fmla="*/ 3101395 w 3751729"/>
              <a:gd name="connsiteY1700" fmla="*/ 467056 h 1237129"/>
              <a:gd name="connsiteX1701" fmla="*/ 3092288 w 3751729"/>
              <a:gd name="connsiteY1701" fmla="*/ 467056 h 1237129"/>
              <a:gd name="connsiteX1702" fmla="*/ 3083918 w 3751729"/>
              <a:gd name="connsiteY1702" fmla="*/ 468778 h 1237129"/>
              <a:gd name="connsiteX1703" fmla="*/ 3076533 w 3751729"/>
              <a:gd name="connsiteY1703" fmla="*/ 476409 h 1237129"/>
              <a:gd name="connsiteX1704" fmla="*/ 3070872 w 3751729"/>
              <a:gd name="connsiteY1704" fmla="*/ 484779 h 1237129"/>
              <a:gd name="connsiteX1705" fmla="*/ 3066687 w 3751729"/>
              <a:gd name="connsiteY1705" fmla="*/ 493887 h 1237129"/>
              <a:gd name="connsiteX1706" fmla="*/ 3061026 w 3751729"/>
              <a:gd name="connsiteY1706" fmla="*/ 502256 h 1237129"/>
              <a:gd name="connsiteX1707" fmla="*/ 3052657 w 3751729"/>
              <a:gd name="connsiteY1707" fmla="*/ 508164 h 1237129"/>
              <a:gd name="connsiteX1708" fmla="*/ 3050934 w 3751729"/>
              <a:gd name="connsiteY1708" fmla="*/ 508164 h 1237129"/>
              <a:gd name="connsiteX1709" fmla="*/ 3049211 w 3751729"/>
              <a:gd name="connsiteY1709" fmla="*/ 509887 h 1237129"/>
              <a:gd name="connsiteX1710" fmla="*/ 3047487 w 3751729"/>
              <a:gd name="connsiteY1710" fmla="*/ 509887 h 1237129"/>
              <a:gd name="connsiteX1711" fmla="*/ 3045026 w 3751729"/>
              <a:gd name="connsiteY1711" fmla="*/ 509887 h 1237129"/>
              <a:gd name="connsiteX1712" fmla="*/ 3041826 w 3751729"/>
              <a:gd name="connsiteY1712" fmla="*/ 511610 h 1237129"/>
              <a:gd name="connsiteX1713" fmla="*/ 3045026 w 3751729"/>
              <a:gd name="connsiteY1713" fmla="*/ 519979 h 1237129"/>
              <a:gd name="connsiteX1714" fmla="*/ 3050688 w 3751729"/>
              <a:gd name="connsiteY1714" fmla="*/ 529086 h 1237129"/>
              <a:gd name="connsiteX1715" fmla="*/ 3054872 w 3751729"/>
              <a:gd name="connsiteY1715" fmla="*/ 539179 h 1237129"/>
              <a:gd name="connsiteX1716" fmla="*/ 3060534 w 3751729"/>
              <a:gd name="connsiteY1716" fmla="*/ 549271 h 1237129"/>
              <a:gd name="connsiteX1717" fmla="*/ 3062995 w 3751729"/>
              <a:gd name="connsiteY1717" fmla="*/ 558378 h 1237129"/>
              <a:gd name="connsiteX1718" fmla="*/ 3064719 w 3751729"/>
              <a:gd name="connsiteY1718" fmla="*/ 568471 h 1237129"/>
              <a:gd name="connsiteX1719" fmla="*/ 3062256 w 3751729"/>
              <a:gd name="connsiteY1719" fmla="*/ 575117 h 1237129"/>
              <a:gd name="connsiteX1720" fmla="*/ 3056595 w 3751729"/>
              <a:gd name="connsiteY1720" fmla="*/ 581022 h 1237129"/>
              <a:gd name="connsiteX1721" fmla="*/ 3045026 w 3751729"/>
              <a:gd name="connsiteY1721" fmla="*/ 585945 h 1237129"/>
              <a:gd name="connsiteX1722" fmla="*/ 3026073 w 3751729"/>
              <a:gd name="connsiteY1722" fmla="*/ 588407 h 1237129"/>
              <a:gd name="connsiteX1723" fmla="*/ 3026073 w 3751729"/>
              <a:gd name="connsiteY1723" fmla="*/ 580776 h 1237129"/>
              <a:gd name="connsiteX1724" fmla="*/ 3024348 w 3751729"/>
              <a:gd name="connsiteY1724" fmla="*/ 574133 h 1237129"/>
              <a:gd name="connsiteX1725" fmla="*/ 3024348 w 3751729"/>
              <a:gd name="connsiteY1725" fmla="*/ 564040 h 1237129"/>
              <a:gd name="connsiteX1726" fmla="*/ 3026073 w 3751729"/>
              <a:gd name="connsiteY1726" fmla="*/ 552225 h 1237129"/>
              <a:gd name="connsiteX1727" fmla="*/ 3026073 w 3751729"/>
              <a:gd name="connsiteY1727" fmla="*/ 543117 h 1237129"/>
              <a:gd name="connsiteX1728" fmla="*/ 3021888 w 3751729"/>
              <a:gd name="connsiteY1728" fmla="*/ 543117 h 1237129"/>
              <a:gd name="connsiteX1729" fmla="*/ 3018688 w 3751729"/>
              <a:gd name="connsiteY1729" fmla="*/ 543117 h 1237129"/>
              <a:gd name="connsiteX1730" fmla="*/ 3016226 w 3751729"/>
              <a:gd name="connsiteY1730" fmla="*/ 543117 h 1237129"/>
              <a:gd name="connsiteX1731" fmla="*/ 3014503 w 3751729"/>
              <a:gd name="connsiteY1731" fmla="*/ 543117 h 1237129"/>
              <a:gd name="connsiteX1732" fmla="*/ 3012780 w 3751729"/>
              <a:gd name="connsiteY1732" fmla="*/ 541394 h 1237129"/>
              <a:gd name="connsiteX1733" fmla="*/ 3010318 w 3751729"/>
              <a:gd name="connsiteY1733" fmla="*/ 540655 h 1237129"/>
              <a:gd name="connsiteX1734" fmla="*/ 3007118 w 3751729"/>
              <a:gd name="connsiteY1734" fmla="*/ 535733 h 1237129"/>
              <a:gd name="connsiteX1735" fmla="*/ 3010318 w 3751729"/>
              <a:gd name="connsiteY1735" fmla="*/ 531548 h 1237129"/>
              <a:gd name="connsiteX1736" fmla="*/ 3012780 w 3751729"/>
              <a:gd name="connsiteY1736" fmla="*/ 527363 h 1237129"/>
              <a:gd name="connsiteX1737" fmla="*/ 3014503 w 3751729"/>
              <a:gd name="connsiteY1737" fmla="*/ 523179 h 1237129"/>
              <a:gd name="connsiteX1738" fmla="*/ 3017703 w 3751729"/>
              <a:gd name="connsiteY1738" fmla="*/ 517271 h 1237129"/>
              <a:gd name="connsiteX1739" fmla="*/ 3010318 w 3751729"/>
              <a:gd name="connsiteY1739" fmla="*/ 517271 h 1237129"/>
              <a:gd name="connsiteX1740" fmla="*/ 3001211 w 3751729"/>
              <a:gd name="connsiteY1740" fmla="*/ 515548 h 1237129"/>
              <a:gd name="connsiteX1741" fmla="*/ 2991365 w 3751729"/>
              <a:gd name="connsiteY1741" fmla="*/ 518010 h 1237129"/>
              <a:gd name="connsiteX1742" fmla="*/ 2979796 w 3751729"/>
              <a:gd name="connsiteY1742" fmla="*/ 522932 h 1237129"/>
              <a:gd name="connsiteX1743" fmla="*/ 2969950 w 3751729"/>
              <a:gd name="connsiteY1743" fmla="*/ 527117 h 1237129"/>
              <a:gd name="connsiteX1744" fmla="*/ 2969950 w 3751729"/>
              <a:gd name="connsiteY1744" fmla="*/ 523672 h 1237129"/>
              <a:gd name="connsiteX1745" fmla="*/ 2971672 w 3751729"/>
              <a:gd name="connsiteY1745" fmla="*/ 519486 h 1237129"/>
              <a:gd name="connsiteX1746" fmla="*/ 2973396 w 3751729"/>
              <a:gd name="connsiteY1746" fmla="*/ 517025 h 1237129"/>
              <a:gd name="connsiteX1747" fmla="*/ 2974134 w 3751729"/>
              <a:gd name="connsiteY1747" fmla="*/ 512102 h 1237129"/>
              <a:gd name="connsiteX1748" fmla="*/ 2975857 w 3751729"/>
              <a:gd name="connsiteY1748" fmla="*/ 509640 h 1237129"/>
              <a:gd name="connsiteX1749" fmla="*/ 2978318 w 3751729"/>
              <a:gd name="connsiteY1749" fmla="*/ 503733 h 1237129"/>
              <a:gd name="connsiteX1750" fmla="*/ 2975857 w 3751729"/>
              <a:gd name="connsiteY1750" fmla="*/ 503733 h 1237129"/>
              <a:gd name="connsiteX1751" fmla="*/ 2973396 w 3751729"/>
              <a:gd name="connsiteY1751" fmla="*/ 502009 h 1237129"/>
              <a:gd name="connsiteX1752" fmla="*/ 2970196 w 3751729"/>
              <a:gd name="connsiteY1752" fmla="*/ 502009 h 1237129"/>
              <a:gd name="connsiteX1753" fmla="*/ 2966011 w 3751729"/>
              <a:gd name="connsiteY1753" fmla="*/ 500287 h 1237129"/>
              <a:gd name="connsiteX1754" fmla="*/ 2956904 w 3751729"/>
              <a:gd name="connsiteY1754" fmla="*/ 509395 h 1237129"/>
              <a:gd name="connsiteX1755" fmla="*/ 2947058 w 3751729"/>
              <a:gd name="connsiteY1755" fmla="*/ 517025 h 1237129"/>
              <a:gd name="connsiteX1756" fmla="*/ 2937212 w 3751729"/>
              <a:gd name="connsiteY1756" fmla="*/ 525394 h 1237129"/>
              <a:gd name="connsiteX1757" fmla="*/ 2931550 w 3751729"/>
              <a:gd name="connsiteY1757" fmla="*/ 535487 h 1237129"/>
              <a:gd name="connsiteX1758" fmla="*/ 2937212 w 3751729"/>
              <a:gd name="connsiteY1758" fmla="*/ 538932 h 1237129"/>
              <a:gd name="connsiteX1759" fmla="*/ 2941396 w 3751729"/>
              <a:gd name="connsiteY1759" fmla="*/ 541394 h 1237129"/>
              <a:gd name="connsiteX1760" fmla="*/ 2944596 w 3751729"/>
              <a:gd name="connsiteY1760" fmla="*/ 544840 h 1237129"/>
              <a:gd name="connsiteX1761" fmla="*/ 2947058 w 3751729"/>
              <a:gd name="connsiteY1761" fmla="*/ 547301 h 1237129"/>
              <a:gd name="connsiteX1762" fmla="*/ 2950257 w 3751729"/>
              <a:gd name="connsiteY1762" fmla="*/ 552225 h 1237129"/>
              <a:gd name="connsiteX1763" fmla="*/ 2958626 w 3751729"/>
              <a:gd name="connsiteY1763" fmla="*/ 547301 h 1237129"/>
              <a:gd name="connsiteX1764" fmla="*/ 2966011 w 3751729"/>
              <a:gd name="connsiteY1764" fmla="*/ 544840 h 1237129"/>
              <a:gd name="connsiteX1765" fmla="*/ 2973396 w 3751729"/>
              <a:gd name="connsiteY1765" fmla="*/ 544840 h 1237129"/>
              <a:gd name="connsiteX1766" fmla="*/ 2981764 w 3751729"/>
              <a:gd name="connsiteY1766" fmla="*/ 549025 h 1237129"/>
              <a:gd name="connsiteX1767" fmla="*/ 2985949 w 3751729"/>
              <a:gd name="connsiteY1767" fmla="*/ 549025 h 1237129"/>
              <a:gd name="connsiteX1768" fmla="*/ 2985949 w 3751729"/>
              <a:gd name="connsiteY1768" fmla="*/ 559117 h 1237129"/>
              <a:gd name="connsiteX1769" fmla="*/ 2970196 w 3751729"/>
              <a:gd name="connsiteY1769" fmla="*/ 559117 h 1237129"/>
              <a:gd name="connsiteX1770" fmla="*/ 2964534 w 3751729"/>
              <a:gd name="connsiteY1770" fmla="*/ 566748 h 1237129"/>
              <a:gd name="connsiteX1771" fmla="*/ 2958873 w 3751729"/>
              <a:gd name="connsiteY1771" fmla="*/ 572655 h 1237129"/>
              <a:gd name="connsiteX1772" fmla="*/ 2954688 w 3751729"/>
              <a:gd name="connsiteY1772" fmla="*/ 578561 h 1237129"/>
              <a:gd name="connsiteX1773" fmla="*/ 2950503 w 3751729"/>
              <a:gd name="connsiteY1773" fmla="*/ 588653 h 1237129"/>
              <a:gd name="connsiteX1774" fmla="*/ 2962073 w 3751729"/>
              <a:gd name="connsiteY1774" fmla="*/ 596284 h 1237129"/>
              <a:gd name="connsiteX1775" fmla="*/ 2968719 w 3751729"/>
              <a:gd name="connsiteY1775" fmla="*/ 608099 h 1237129"/>
              <a:gd name="connsiteX1776" fmla="*/ 2974380 w 3751729"/>
              <a:gd name="connsiteY1776" fmla="*/ 624099 h 1237129"/>
              <a:gd name="connsiteX1777" fmla="*/ 2977581 w 3751729"/>
              <a:gd name="connsiteY1777" fmla="*/ 640099 h 1237129"/>
              <a:gd name="connsiteX1778" fmla="*/ 2978318 w 3751729"/>
              <a:gd name="connsiteY1778" fmla="*/ 657822 h 1237129"/>
              <a:gd name="connsiteX1779" fmla="*/ 2978318 w 3751729"/>
              <a:gd name="connsiteY1779" fmla="*/ 673330 h 1237129"/>
              <a:gd name="connsiteX1780" fmla="*/ 2968472 w 3751729"/>
              <a:gd name="connsiteY1780" fmla="*/ 679976 h 1237129"/>
              <a:gd name="connsiteX1781" fmla="*/ 2962811 w 3751729"/>
              <a:gd name="connsiteY1781" fmla="*/ 691791 h 1237129"/>
              <a:gd name="connsiteX1782" fmla="*/ 2957149 w 3751729"/>
              <a:gd name="connsiteY1782" fmla="*/ 702622 h 1237129"/>
              <a:gd name="connsiteX1783" fmla="*/ 2950503 w 3751729"/>
              <a:gd name="connsiteY1783" fmla="*/ 714437 h 1237129"/>
              <a:gd name="connsiteX1784" fmla="*/ 2935734 w 3751729"/>
              <a:gd name="connsiteY1784" fmla="*/ 730437 h 1237129"/>
              <a:gd name="connsiteX1785" fmla="*/ 2916781 w 3751729"/>
              <a:gd name="connsiteY1785" fmla="*/ 742251 h 1237129"/>
              <a:gd name="connsiteX1786" fmla="*/ 2896842 w 3751729"/>
              <a:gd name="connsiteY1786" fmla="*/ 750622 h 1237129"/>
              <a:gd name="connsiteX1787" fmla="*/ 2873704 w 3751729"/>
              <a:gd name="connsiteY1787" fmla="*/ 758252 h 1237129"/>
              <a:gd name="connsiteX1788" fmla="*/ 2852289 w 3751729"/>
              <a:gd name="connsiteY1788" fmla="*/ 762437 h 1237129"/>
              <a:gd name="connsiteX1789" fmla="*/ 2852289 w 3751729"/>
              <a:gd name="connsiteY1789" fmla="*/ 768345 h 1237129"/>
              <a:gd name="connsiteX1790" fmla="*/ 2852289 w 3751729"/>
              <a:gd name="connsiteY1790" fmla="*/ 771791 h 1237129"/>
              <a:gd name="connsiteX1791" fmla="*/ 2852289 w 3751729"/>
              <a:gd name="connsiteY1791" fmla="*/ 774251 h 1237129"/>
              <a:gd name="connsiteX1792" fmla="*/ 2852289 w 3751729"/>
              <a:gd name="connsiteY1792" fmla="*/ 775976 h 1237129"/>
              <a:gd name="connsiteX1793" fmla="*/ 2854012 w 3751729"/>
              <a:gd name="connsiteY1793" fmla="*/ 777698 h 1237129"/>
              <a:gd name="connsiteX1794" fmla="*/ 2854012 w 3751729"/>
              <a:gd name="connsiteY1794" fmla="*/ 781882 h 1237129"/>
              <a:gd name="connsiteX1795" fmla="*/ 2854750 w 3751729"/>
              <a:gd name="connsiteY1795" fmla="*/ 786068 h 1237129"/>
              <a:gd name="connsiteX1796" fmla="*/ 2852289 w 3751729"/>
              <a:gd name="connsiteY1796" fmla="*/ 789513 h 1237129"/>
              <a:gd name="connsiteX1797" fmla="*/ 2849089 w 3751729"/>
              <a:gd name="connsiteY1797" fmla="*/ 791974 h 1237129"/>
              <a:gd name="connsiteX1798" fmla="*/ 2848350 w 3751729"/>
              <a:gd name="connsiteY1798" fmla="*/ 793699 h 1237129"/>
              <a:gd name="connsiteX1799" fmla="*/ 2845150 w 3751729"/>
              <a:gd name="connsiteY1799" fmla="*/ 796159 h 1237129"/>
              <a:gd name="connsiteX1800" fmla="*/ 2839489 w 3751729"/>
              <a:gd name="connsiteY1800" fmla="*/ 799605 h 1237129"/>
              <a:gd name="connsiteX1801" fmla="*/ 2837766 w 3751729"/>
              <a:gd name="connsiteY1801" fmla="*/ 799605 h 1237129"/>
              <a:gd name="connsiteX1802" fmla="*/ 2837027 w 3751729"/>
              <a:gd name="connsiteY1802" fmla="*/ 801329 h 1237129"/>
              <a:gd name="connsiteX1803" fmla="*/ 2835304 w 3751729"/>
              <a:gd name="connsiteY1803" fmla="*/ 801329 h 1237129"/>
              <a:gd name="connsiteX1804" fmla="*/ 2833582 w 3751729"/>
              <a:gd name="connsiteY1804" fmla="*/ 801329 h 1237129"/>
              <a:gd name="connsiteX1805" fmla="*/ 2831119 w 3751729"/>
              <a:gd name="connsiteY1805" fmla="*/ 802067 h 1237129"/>
              <a:gd name="connsiteX1806" fmla="*/ 2829396 w 3751729"/>
              <a:gd name="connsiteY1806" fmla="*/ 797883 h 1237129"/>
              <a:gd name="connsiteX1807" fmla="*/ 2827673 w 3751729"/>
              <a:gd name="connsiteY1807" fmla="*/ 793699 h 1237129"/>
              <a:gd name="connsiteX1808" fmla="*/ 2827673 w 3751729"/>
              <a:gd name="connsiteY1808" fmla="*/ 789513 h 1237129"/>
              <a:gd name="connsiteX1809" fmla="*/ 2827673 w 3751729"/>
              <a:gd name="connsiteY1809" fmla="*/ 781882 h 1237129"/>
              <a:gd name="connsiteX1810" fmla="*/ 2830873 w 3751729"/>
              <a:gd name="connsiteY1810" fmla="*/ 780160 h 1237129"/>
              <a:gd name="connsiteX1811" fmla="*/ 2833336 w 3751729"/>
              <a:gd name="connsiteY1811" fmla="*/ 780160 h 1237129"/>
              <a:gd name="connsiteX1812" fmla="*/ 2836535 w 3751729"/>
              <a:gd name="connsiteY1812" fmla="*/ 778437 h 1237129"/>
              <a:gd name="connsiteX1813" fmla="*/ 2837274 w 3751729"/>
              <a:gd name="connsiteY1813" fmla="*/ 775976 h 1237129"/>
              <a:gd name="connsiteX1814" fmla="*/ 2838997 w 3751729"/>
              <a:gd name="connsiteY1814" fmla="*/ 772529 h 1237129"/>
              <a:gd name="connsiteX1815" fmla="*/ 2837274 w 3751729"/>
              <a:gd name="connsiteY1815" fmla="*/ 770067 h 1237129"/>
              <a:gd name="connsiteX1816" fmla="*/ 2834812 w 3751729"/>
              <a:gd name="connsiteY1816" fmla="*/ 765883 h 1237129"/>
              <a:gd name="connsiteX1817" fmla="*/ 2833089 w 3751729"/>
              <a:gd name="connsiteY1817" fmla="*/ 762437 h 1237129"/>
              <a:gd name="connsiteX1818" fmla="*/ 2830627 w 3751729"/>
              <a:gd name="connsiteY1818" fmla="*/ 760714 h 1237129"/>
              <a:gd name="connsiteX1819" fmla="*/ 2828905 w 3751729"/>
              <a:gd name="connsiteY1819" fmla="*/ 760714 h 1237129"/>
              <a:gd name="connsiteX1820" fmla="*/ 2824720 w 3751729"/>
              <a:gd name="connsiteY1820" fmla="*/ 759975 h 1237129"/>
              <a:gd name="connsiteX1821" fmla="*/ 2819797 w 3751729"/>
              <a:gd name="connsiteY1821" fmla="*/ 759975 h 1237129"/>
              <a:gd name="connsiteX1822" fmla="*/ 2814874 w 3751729"/>
              <a:gd name="connsiteY1822" fmla="*/ 766621 h 1237129"/>
              <a:gd name="connsiteX1823" fmla="*/ 2809213 w 3751729"/>
              <a:gd name="connsiteY1823" fmla="*/ 771545 h 1237129"/>
              <a:gd name="connsiteX1824" fmla="*/ 2804289 w 3751729"/>
              <a:gd name="connsiteY1824" fmla="*/ 775729 h 1237129"/>
              <a:gd name="connsiteX1825" fmla="*/ 2800104 w 3751729"/>
              <a:gd name="connsiteY1825" fmla="*/ 783360 h 1237129"/>
              <a:gd name="connsiteX1826" fmla="*/ 2798382 w 3751729"/>
              <a:gd name="connsiteY1826" fmla="*/ 795174 h 1237129"/>
              <a:gd name="connsiteX1827" fmla="*/ 2811674 w 3751729"/>
              <a:gd name="connsiteY1827" fmla="*/ 807729 h 1237129"/>
              <a:gd name="connsiteX1828" fmla="*/ 2821520 w 3751729"/>
              <a:gd name="connsiteY1828" fmla="*/ 821268 h 1237129"/>
              <a:gd name="connsiteX1829" fmla="*/ 2830627 w 3751729"/>
              <a:gd name="connsiteY1829" fmla="*/ 835544 h 1237129"/>
              <a:gd name="connsiteX1830" fmla="*/ 2834812 w 3751729"/>
              <a:gd name="connsiteY1830" fmla="*/ 854743 h 1237129"/>
              <a:gd name="connsiteX1831" fmla="*/ 2836535 w 3751729"/>
              <a:gd name="connsiteY1831" fmla="*/ 878129 h 1237129"/>
              <a:gd name="connsiteX1832" fmla="*/ 2788535 w 3751729"/>
              <a:gd name="connsiteY1832" fmla="*/ 917512 h 1237129"/>
              <a:gd name="connsiteX1833" fmla="*/ 2782874 w 3751729"/>
              <a:gd name="connsiteY1833" fmla="*/ 917512 h 1237129"/>
              <a:gd name="connsiteX1834" fmla="*/ 2778689 w 3751729"/>
              <a:gd name="connsiteY1834" fmla="*/ 901513 h 1237129"/>
              <a:gd name="connsiteX1835" fmla="*/ 2769582 w 3751729"/>
              <a:gd name="connsiteY1835" fmla="*/ 889697 h 1237129"/>
              <a:gd name="connsiteX1836" fmla="*/ 2758012 w 3751729"/>
              <a:gd name="connsiteY1836" fmla="*/ 879605 h 1237129"/>
              <a:gd name="connsiteX1837" fmla="*/ 2745705 w 3751729"/>
              <a:gd name="connsiteY1837" fmla="*/ 869513 h 1237129"/>
              <a:gd name="connsiteX1838" fmla="*/ 2732412 w 3751729"/>
              <a:gd name="connsiteY1838" fmla="*/ 858682 h 1237129"/>
              <a:gd name="connsiteX1839" fmla="*/ 2726752 w 3751729"/>
              <a:gd name="connsiteY1839" fmla="*/ 882067 h 1237129"/>
              <a:gd name="connsiteX1840" fmla="*/ 2719366 w 3751729"/>
              <a:gd name="connsiteY1840" fmla="*/ 901266 h 1237129"/>
              <a:gd name="connsiteX1841" fmla="*/ 2726752 w 3751729"/>
              <a:gd name="connsiteY1841" fmla="*/ 905451 h 1237129"/>
              <a:gd name="connsiteX1842" fmla="*/ 2729951 w 3751729"/>
              <a:gd name="connsiteY1842" fmla="*/ 911359 h 1237129"/>
              <a:gd name="connsiteX1843" fmla="*/ 2730690 w 3751729"/>
              <a:gd name="connsiteY1843" fmla="*/ 918989 h 1237129"/>
              <a:gd name="connsiteX1844" fmla="*/ 2735613 w 3751729"/>
              <a:gd name="connsiteY1844" fmla="*/ 927359 h 1237129"/>
              <a:gd name="connsiteX1845" fmla="*/ 2736351 w 3751729"/>
              <a:gd name="connsiteY1845" fmla="*/ 929082 h 1237129"/>
              <a:gd name="connsiteX1846" fmla="*/ 2739551 w 3751729"/>
              <a:gd name="connsiteY1846" fmla="*/ 929082 h 1237129"/>
              <a:gd name="connsiteX1847" fmla="*/ 2742013 w 3751729"/>
              <a:gd name="connsiteY1847" fmla="*/ 929082 h 1237129"/>
              <a:gd name="connsiteX1848" fmla="*/ 2745213 w 3751729"/>
              <a:gd name="connsiteY1848" fmla="*/ 929082 h 1237129"/>
              <a:gd name="connsiteX1849" fmla="*/ 2747675 w 3751729"/>
              <a:gd name="connsiteY1849" fmla="*/ 930805 h 1237129"/>
              <a:gd name="connsiteX1850" fmla="*/ 2759243 w 3751729"/>
              <a:gd name="connsiteY1850" fmla="*/ 942619 h 1237129"/>
              <a:gd name="connsiteX1851" fmla="*/ 2768351 w 3751729"/>
              <a:gd name="connsiteY1851" fmla="*/ 960342 h 1237129"/>
              <a:gd name="connsiteX1852" fmla="*/ 2774013 w 3751729"/>
              <a:gd name="connsiteY1852" fmla="*/ 980527 h 1237129"/>
              <a:gd name="connsiteX1853" fmla="*/ 2774751 w 3751729"/>
              <a:gd name="connsiteY1853" fmla="*/ 1001451 h 1237129"/>
              <a:gd name="connsiteX1854" fmla="*/ 2766382 w 3751729"/>
              <a:gd name="connsiteY1854" fmla="*/ 1001451 h 1237129"/>
              <a:gd name="connsiteX1855" fmla="*/ 2757274 w 3751729"/>
              <a:gd name="connsiteY1855" fmla="*/ 993820 h 1237129"/>
              <a:gd name="connsiteX1856" fmla="*/ 2748905 w 3751729"/>
              <a:gd name="connsiteY1856" fmla="*/ 989635 h 1237129"/>
              <a:gd name="connsiteX1857" fmla="*/ 2747182 w 3751729"/>
              <a:gd name="connsiteY1857" fmla="*/ 987911 h 1237129"/>
              <a:gd name="connsiteX1858" fmla="*/ 2739797 w 3751729"/>
              <a:gd name="connsiteY1858" fmla="*/ 982005 h 1237129"/>
              <a:gd name="connsiteX1859" fmla="*/ 2734874 w 3751729"/>
              <a:gd name="connsiteY1859" fmla="*/ 970188 h 1237129"/>
              <a:gd name="connsiteX1860" fmla="*/ 2731675 w 3751729"/>
              <a:gd name="connsiteY1860" fmla="*/ 956651 h 1237129"/>
              <a:gd name="connsiteX1861" fmla="*/ 2727490 w 3751729"/>
              <a:gd name="connsiteY1861" fmla="*/ 944835 h 1237129"/>
              <a:gd name="connsiteX1862" fmla="*/ 2723305 w 3751729"/>
              <a:gd name="connsiteY1862" fmla="*/ 933020 h 1237129"/>
              <a:gd name="connsiteX1863" fmla="*/ 2715920 w 3751729"/>
              <a:gd name="connsiteY1863" fmla="*/ 922928 h 1237129"/>
              <a:gd name="connsiteX1864" fmla="*/ 2715920 w 3751729"/>
              <a:gd name="connsiteY1864" fmla="*/ 920467 h 1237129"/>
              <a:gd name="connsiteX1865" fmla="*/ 2708536 w 3751729"/>
              <a:gd name="connsiteY1865" fmla="*/ 922928 h 1237129"/>
              <a:gd name="connsiteX1866" fmla="*/ 2708536 w 3751729"/>
              <a:gd name="connsiteY1866" fmla="*/ 920467 h 1237129"/>
              <a:gd name="connsiteX1867" fmla="*/ 2706074 w 3751729"/>
              <a:gd name="connsiteY1867" fmla="*/ 908651 h 1237129"/>
              <a:gd name="connsiteX1868" fmla="*/ 2706074 w 3751729"/>
              <a:gd name="connsiteY1868" fmla="*/ 893636 h 1237129"/>
              <a:gd name="connsiteX1869" fmla="*/ 2706074 w 3751729"/>
              <a:gd name="connsiteY1869" fmla="*/ 877636 h 1237129"/>
              <a:gd name="connsiteX1870" fmla="*/ 2706074 w 3751729"/>
              <a:gd name="connsiteY1870" fmla="*/ 859913 h 1237129"/>
              <a:gd name="connsiteX1871" fmla="*/ 2704351 w 3751729"/>
              <a:gd name="connsiteY1871" fmla="*/ 843913 h 1237129"/>
              <a:gd name="connsiteX1872" fmla="*/ 2698690 w 3751729"/>
              <a:gd name="connsiteY1872" fmla="*/ 830374 h 1237129"/>
              <a:gd name="connsiteX1873" fmla="*/ 2689582 w 3751729"/>
              <a:gd name="connsiteY1873" fmla="*/ 820283 h 1237129"/>
              <a:gd name="connsiteX1874" fmla="*/ 2687121 w 3751729"/>
              <a:gd name="connsiteY1874" fmla="*/ 822744 h 1237129"/>
              <a:gd name="connsiteX1875" fmla="*/ 2682936 w 3751729"/>
              <a:gd name="connsiteY1875" fmla="*/ 826190 h 1237129"/>
              <a:gd name="connsiteX1876" fmla="*/ 2679736 w 3751729"/>
              <a:gd name="connsiteY1876" fmla="*/ 827913 h 1237129"/>
              <a:gd name="connsiteX1877" fmla="*/ 2674074 w 3751729"/>
              <a:gd name="connsiteY1877" fmla="*/ 828652 h 1237129"/>
              <a:gd name="connsiteX1878" fmla="*/ 2668414 w 3751729"/>
              <a:gd name="connsiteY1878" fmla="*/ 828652 h 1237129"/>
              <a:gd name="connsiteX1879" fmla="*/ 2666690 w 3751729"/>
              <a:gd name="connsiteY1879" fmla="*/ 828652 h 1237129"/>
              <a:gd name="connsiteX1880" fmla="*/ 2666690 w 3751729"/>
              <a:gd name="connsiteY1880" fmla="*/ 827913 h 1237129"/>
              <a:gd name="connsiteX1881" fmla="*/ 2665951 w 3751729"/>
              <a:gd name="connsiteY1881" fmla="*/ 827913 h 1237129"/>
              <a:gd name="connsiteX1882" fmla="*/ 2664228 w 3751729"/>
              <a:gd name="connsiteY1882" fmla="*/ 826190 h 1237129"/>
              <a:gd name="connsiteX1883" fmla="*/ 2664228 w 3751729"/>
              <a:gd name="connsiteY1883" fmla="*/ 808467 h 1237129"/>
              <a:gd name="connsiteX1884" fmla="*/ 2660044 w 3751729"/>
              <a:gd name="connsiteY1884" fmla="*/ 794191 h 1237129"/>
              <a:gd name="connsiteX1885" fmla="*/ 2654383 w 3751729"/>
              <a:gd name="connsiteY1885" fmla="*/ 782375 h 1237129"/>
              <a:gd name="connsiteX1886" fmla="*/ 2645275 w 3751729"/>
              <a:gd name="connsiteY1886" fmla="*/ 771545 h 1237129"/>
              <a:gd name="connsiteX1887" fmla="*/ 2638629 w 3751729"/>
              <a:gd name="connsiteY1887" fmla="*/ 759729 h 1237129"/>
              <a:gd name="connsiteX1888" fmla="*/ 2629522 w 3751729"/>
              <a:gd name="connsiteY1888" fmla="*/ 745452 h 1237129"/>
              <a:gd name="connsiteX1889" fmla="*/ 2627059 w 3751729"/>
              <a:gd name="connsiteY1889" fmla="*/ 747914 h 1237129"/>
              <a:gd name="connsiteX1890" fmla="*/ 2625337 w 3751729"/>
              <a:gd name="connsiteY1890" fmla="*/ 749637 h 1237129"/>
              <a:gd name="connsiteX1891" fmla="*/ 2623613 w 3751729"/>
              <a:gd name="connsiteY1891" fmla="*/ 753083 h 1237129"/>
              <a:gd name="connsiteX1892" fmla="*/ 2621891 w 3751729"/>
              <a:gd name="connsiteY1892" fmla="*/ 753821 h 1237129"/>
              <a:gd name="connsiteX1893" fmla="*/ 2621151 w 3751729"/>
              <a:gd name="connsiteY1893" fmla="*/ 755545 h 1237129"/>
              <a:gd name="connsiteX1894" fmla="*/ 2607860 w 3751729"/>
              <a:gd name="connsiteY1894" fmla="*/ 757268 h 1237129"/>
              <a:gd name="connsiteX1895" fmla="*/ 2596290 w 3751729"/>
              <a:gd name="connsiteY1895" fmla="*/ 755545 h 1237129"/>
              <a:gd name="connsiteX1896" fmla="*/ 2584721 w 3751729"/>
              <a:gd name="connsiteY1896" fmla="*/ 755545 h 1237129"/>
              <a:gd name="connsiteX1897" fmla="*/ 2581521 w 3751729"/>
              <a:gd name="connsiteY1897" fmla="*/ 767360 h 1237129"/>
              <a:gd name="connsiteX1898" fmla="*/ 2577337 w 3751729"/>
              <a:gd name="connsiteY1898" fmla="*/ 773268 h 1237129"/>
              <a:gd name="connsiteX1899" fmla="*/ 2574875 w 3751729"/>
              <a:gd name="connsiteY1899" fmla="*/ 774991 h 1237129"/>
              <a:gd name="connsiteX1900" fmla="*/ 2569214 w 3751729"/>
              <a:gd name="connsiteY1900" fmla="*/ 774991 h 1237129"/>
              <a:gd name="connsiteX1901" fmla="*/ 2563553 w 3751729"/>
              <a:gd name="connsiteY1901" fmla="*/ 776714 h 1237129"/>
              <a:gd name="connsiteX1902" fmla="*/ 2557891 w 3751729"/>
              <a:gd name="connsiteY1902" fmla="*/ 780897 h 1237129"/>
              <a:gd name="connsiteX1903" fmla="*/ 2548045 w 3751729"/>
              <a:gd name="connsiteY1903" fmla="*/ 806991 h 1237129"/>
              <a:gd name="connsiteX1904" fmla="*/ 2534753 w 3751729"/>
              <a:gd name="connsiteY1904" fmla="*/ 806991 h 1237129"/>
              <a:gd name="connsiteX1905" fmla="*/ 2527369 w 3751729"/>
              <a:gd name="connsiteY1905" fmla="*/ 812897 h 1237129"/>
              <a:gd name="connsiteX1906" fmla="*/ 2519983 w 3751729"/>
              <a:gd name="connsiteY1906" fmla="*/ 820528 h 1237129"/>
              <a:gd name="connsiteX1907" fmla="*/ 2510137 w 3751729"/>
              <a:gd name="connsiteY1907" fmla="*/ 826436 h 1237129"/>
              <a:gd name="connsiteX1908" fmla="*/ 2507676 w 3751729"/>
              <a:gd name="connsiteY1908" fmla="*/ 855728 h 1237129"/>
              <a:gd name="connsiteX1909" fmla="*/ 2500292 w 3751729"/>
              <a:gd name="connsiteY1909" fmla="*/ 880836 h 1237129"/>
              <a:gd name="connsiteX1910" fmla="*/ 2490445 w 3751729"/>
              <a:gd name="connsiteY1910" fmla="*/ 901020 h 1237129"/>
              <a:gd name="connsiteX1911" fmla="*/ 2474691 w 3751729"/>
              <a:gd name="connsiteY1911" fmla="*/ 920221 h 1237129"/>
              <a:gd name="connsiteX1912" fmla="*/ 2472968 w 3751729"/>
              <a:gd name="connsiteY1912" fmla="*/ 920221 h 1237129"/>
              <a:gd name="connsiteX1913" fmla="*/ 2471245 w 3751729"/>
              <a:gd name="connsiteY1913" fmla="*/ 918497 h 1237129"/>
              <a:gd name="connsiteX1914" fmla="*/ 2469522 w 3751729"/>
              <a:gd name="connsiteY1914" fmla="*/ 918497 h 1237129"/>
              <a:gd name="connsiteX1915" fmla="*/ 2468784 w 3751729"/>
              <a:gd name="connsiteY1915" fmla="*/ 916775 h 1237129"/>
              <a:gd name="connsiteX1916" fmla="*/ 2459676 w 3751729"/>
              <a:gd name="connsiteY1916" fmla="*/ 906682 h 1237129"/>
              <a:gd name="connsiteX1917" fmla="*/ 2451308 w 3751729"/>
              <a:gd name="connsiteY1917" fmla="*/ 890682 h 1237129"/>
              <a:gd name="connsiteX1918" fmla="*/ 2446384 w 3751729"/>
              <a:gd name="connsiteY1918" fmla="*/ 877144 h 1237129"/>
              <a:gd name="connsiteX1919" fmla="*/ 2445645 w 3751729"/>
              <a:gd name="connsiteY1919" fmla="*/ 874682 h 1237129"/>
              <a:gd name="connsiteX1920" fmla="*/ 2446384 w 3751729"/>
              <a:gd name="connsiteY1920" fmla="*/ 871236 h 1237129"/>
              <a:gd name="connsiteX1921" fmla="*/ 2448107 w 3751729"/>
              <a:gd name="connsiteY1921" fmla="*/ 868774 h 1237129"/>
              <a:gd name="connsiteX1922" fmla="*/ 2449830 w 3751729"/>
              <a:gd name="connsiteY1922" fmla="*/ 867051 h 1237129"/>
              <a:gd name="connsiteX1923" fmla="*/ 2449830 w 3751729"/>
              <a:gd name="connsiteY1923" fmla="*/ 865328 h 1237129"/>
              <a:gd name="connsiteX1924" fmla="*/ 2435061 w 3751729"/>
              <a:gd name="connsiteY1924" fmla="*/ 843421 h 1237129"/>
              <a:gd name="connsiteX1925" fmla="*/ 2425215 w 3751729"/>
              <a:gd name="connsiteY1925" fmla="*/ 820036 h 1237129"/>
              <a:gd name="connsiteX1926" fmla="*/ 2418568 w 3751729"/>
              <a:gd name="connsiteY1926" fmla="*/ 794929 h 1237129"/>
              <a:gd name="connsiteX1927" fmla="*/ 2415369 w 3751729"/>
              <a:gd name="connsiteY1927" fmla="*/ 764652 h 1237129"/>
              <a:gd name="connsiteX1928" fmla="*/ 2405523 w 3751729"/>
              <a:gd name="connsiteY1928" fmla="*/ 765390 h 1237129"/>
              <a:gd name="connsiteX1929" fmla="*/ 2398139 w 3751729"/>
              <a:gd name="connsiteY1929" fmla="*/ 765390 h 1237129"/>
              <a:gd name="connsiteX1930" fmla="*/ 2389769 w 3751729"/>
              <a:gd name="connsiteY1930" fmla="*/ 764652 h 1237129"/>
              <a:gd name="connsiteX1931" fmla="*/ 2386568 w 3751729"/>
              <a:gd name="connsiteY1931" fmla="*/ 761206 h 1237129"/>
              <a:gd name="connsiteX1932" fmla="*/ 2382384 w 3751729"/>
              <a:gd name="connsiteY1932" fmla="*/ 758744 h 1237129"/>
              <a:gd name="connsiteX1933" fmla="*/ 2379184 w 3751729"/>
              <a:gd name="connsiteY1933" fmla="*/ 755298 h 1237129"/>
              <a:gd name="connsiteX1934" fmla="*/ 2376723 w 3751729"/>
              <a:gd name="connsiteY1934" fmla="*/ 752837 h 1237129"/>
              <a:gd name="connsiteX1935" fmla="*/ 2379184 w 3751729"/>
              <a:gd name="connsiteY1935" fmla="*/ 742006 h 1237129"/>
              <a:gd name="connsiteX1936" fmla="*/ 2373523 w 3751729"/>
              <a:gd name="connsiteY1936" fmla="*/ 733637 h 1237129"/>
              <a:gd name="connsiteX1937" fmla="*/ 2363677 w 3751729"/>
              <a:gd name="connsiteY1937" fmla="*/ 726006 h 1237129"/>
              <a:gd name="connsiteX1938" fmla="*/ 2353830 w 3751729"/>
              <a:gd name="connsiteY1938" fmla="*/ 719360 h 1237129"/>
              <a:gd name="connsiteX1939" fmla="*/ 2344723 w 3751729"/>
              <a:gd name="connsiteY1939" fmla="*/ 710252 h 1237129"/>
              <a:gd name="connsiteX1940" fmla="*/ 2320847 w 3751729"/>
              <a:gd name="connsiteY1940" fmla="*/ 713699 h 1237129"/>
              <a:gd name="connsiteX1941" fmla="*/ 2295986 w 3751729"/>
              <a:gd name="connsiteY1941" fmla="*/ 713699 h 1237129"/>
              <a:gd name="connsiteX1942" fmla="*/ 2271123 w 3751729"/>
              <a:gd name="connsiteY1942" fmla="*/ 711976 h 1237129"/>
              <a:gd name="connsiteX1943" fmla="*/ 2247247 w 3751729"/>
              <a:gd name="connsiteY1943" fmla="*/ 710252 h 1237129"/>
              <a:gd name="connsiteX1944" fmla="*/ 2243063 w 3751729"/>
              <a:gd name="connsiteY1944" fmla="*/ 701883 h 1237129"/>
              <a:gd name="connsiteX1945" fmla="*/ 2237401 w 3751729"/>
              <a:gd name="connsiteY1945" fmla="*/ 691053 h 1237129"/>
              <a:gd name="connsiteX1946" fmla="*/ 2228293 w 3751729"/>
              <a:gd name="connsiteY1946" fmla="*/ 694499 h 1237129"/>
              <a:gd name="connsiteX1947" fmla="*/ 2222632 w 3751729"/>
              <a:gd name="connsiteY1947" fmla="*/ 696222 h 1237129"/>
              <a:gd name="connsiteX1948" fmla="*/ 2215247 w 3751729"/>
              <a:gd name="connsiteY1948" fmla="*/ 696960 h 1237129"/>
              <a:gd name="connsiteX1949" fmla="*/ 2205401 w 3751729"/>
              <a:gd name="connsiteY1949" fmla="*/ 696960 h 1237129"/>
              <a:gd name="connsiteX1950" fmla="*/ 2197031 w 3751729"/>
              <a:gd name="connsiteY1950" fmla="*/ 691053 h 1237129"/>
              <a:gd name="connsiteX1951" fmla="*/ 2187925 w 3751729"/>
              <a:gd name="connsiteY1951" fmla="*/ 686868 h 1237129"/>
              <a:gd name="connsiteX1952" fmla="*/ 2178078 w 3751729"/>
              <a:gd name="connsiteY1952" fmla="*/ 680960 h 1237129"/>
              <a:gd name="connsiteX1953" fmla="*/ 2170694 w 3751729"/>
              <a:gd name="connsiteY1953" fmla="*/ 675053 h 1237129"/>
              <a:gd name="connsiteX1954" fmla="*/ 2168232 w 3751729"/>
              <a:gd name="connsiteY1954" fmla="*/ 666683 h 1237129"/>
              <a:gd name="connsiteX1955" fmla="*/ 2164047 w 3751729"/>
              <a:gd name="connsiteY1955" fmla="*/ 659053 h 1237129"/>
              <a:gd name="connsiteX1956" fmla="*/ 2154940 w 3751729"/>
              <a:gd name="connsiteY1956" fmla="*/ 651422 h 1237129"/>
              <a:gd name="connsiteX1957" fmla="*/ 2153217 w 3751729"/>
              <a:gd name="connsiteY1957" fmla="*/ 651422 h 1237129"/>
              <a:gd name="connsiteX1958" fmla="*/ 2152479 w 3751729"/>
              <a:gd name="connsiteY1958" fmla="*/ 651422 h 1237129"/>
              <a:gd name="connsiteX1959" fmla="*/ 2150754 w 3751729"/>
              <a:gd name="connsiteY1959" fmla="*/ 651422 h 1237129"/>
              <a:gd name="connsiteX1960" fmla="*/ 2147555 w 3751729"/>
              <a:gd name="connsiteY1960" fmla="*/ 651422 h 1237129"/>
              <a:gd name="connsiteX1961" fmla="*/ 2141893 w 3751729"/>
              <a:gd name="connsiteY1961" fmla="*/ 651422 h 1237129"/>
              <a:gd name="connsiteX1962" fmla="*/ 2145094 w 3751729"/>
              <a:gd name="connsiteY1962" fmla="*/ 663237 h 1237129"/>
              <a:gd name="connsiteX1963" fmla="*/ 2149279 w 3751729"/>
              <a:gd name="connsiteY1963" fmla="*/ 676776 h 1237129"/>
              <a:gd name="connsiteX1964" fmla="*/ 2156663 w 3751729"/>
              <a:gd name="connsiteY1964" fmla="*/ 690314 h 1237129"/>
              <a:gd name="connsiteX1965" fmla="*/ 2162324 w 3751729"/>
              <a:gd name="connsiteY1965" fmla="*/ 702130 h 1237129"/>
              <a:gd name="connsiteX1966" fmla="*/ 2167986 w 3751729"/>
              <a:gd name="connsiteY1966" fmla="*/ 710498 h 1237129"/>
              <a:gd name="connsiteX1967" fmla="*/ 2169709 w 3751729"/>
              <a:gd name="connsiteY1967" fmla="*/ 706314 h 1237129"/>
              <a:gd name="connsiteX1968" fmla="*/ 2170448 w 3751729"/>
              <a:gd name="connsiteY1968" fmla="*/ 704591 h 1237129"/>
              <a:gd name="connsiteX1969" fmla="*/ 2170448 w 3751729"/>
              <a:gd name="connsiteY1969" fmla="*/ 702868 h 1237129"/>
              <a:gd name="connsiteX1970" fmla="*/ 2172170 w 3751729"/>
              <a:gd name="connsiteY1970" fmla="*/ 702868 h 1237129"/>
              <a:gd name="connsiteX1971" fmla="*/ 2173893 w 3751729"/>
              <a:gd name="connsiteY1971" fmla="*/ 702868 h 1237129"/>
              <a:gd name="connsiteX1972" fmla="*/ 2178078 w 3751729"/>
              <a:gd name="connsiteY1972" fmla="*/ 704591 h 1237129"/>
              <a:gd name="connsiteX1973" fmla="*/ 2179801 w 3751729"/>
              <a:gd name="connsiteY1973" fmla="*/ 708776 h 1237129"/>
              <a:gd name="connsiteX1974" fmla="*/ 2181524 w 3751729"/>
              <a:gd name="connsiteY1974" fmla="*/ 713699 h 1237129"/>
              <a:gd name="connsiteX1975" fmla="*/ 2181524 w 3751729"/>
              <a:gd name="connsiteY1975" fmla="*/ 717883 h 1237129"/>
              <a:gd name="connsiteX1976" fmla="*/ 2182262 w 3751729"/>
              <a:gd name="connsiteY1976" fmla="*/ 722068 h 1237129"/>
              <a:gd name="connsiteX1977" fmla="*/ 2183986 w 3751729"/>
              <a:gd name="connsiteY1977" fmla="*/ 726252 h 1237129"/>
              <a:gd name="connsiteX1978" fmla="*/ 2189647 w 3751729"/>
              <a:gd name="connsiteY1978" fmla="*/ 725514 h 1237129"/>
              <a:gd name="connsiteX1979" fmla="*/ 2197031 w 3751729"/>
              <a:gd name="connsiteY1979" fmla="*/ 723791 h 1237129"/>
              <a:gd name="connsiteX1980" fmla="*/ 2205401 w 3751729"/>
              <a:gd name="connsiteY1980" fmla="*/ 723791 h 1237129"/>
              <a:gd name="connsiteX1981" fmla="*/ 2218694 w 3751729"/>
              <a:gd name="connsiteY1981" fmla="*/ 708776 h 1237129"/>
              <a:gd name="connsiteX1982" fmla="*/ 2234447 w 3751729"/>
              <a:gd name="connsiteY1982" fmla="*/ 696960 h 1237129"/>
              <a:gd name="connsiteX1983" fmla="*/ 2236170 w 3751729"/>
              <a:gd name="connsiteY1983" fmla="*/ 711976 h 1237129"/>
              <a:gd name="connsiteX1984" fmla="*/ 2237892 w 3751729"/>
              <a:gd name="connsiteY1984" fmla="*/ 723791 h 1237129"/>
              <a:gd name="connsiteX1985" fmla="*/ 2259308 w 3751729"/>
              <a:gd name="connsiteY1985" fmla="*/ 735605 h 1237129"/>
              <a:gd name="connsiteX1986" fmla="*/ 2276538 w 3751729"/>
              <a:gd name="connsiteY1986" fmla="*/ 749882 h 1237129"/>
              <a:gd name="connsiteX1987" fmla="*/ 2270877 w 3751729"/>
              <a:gd name="connsiteY1987" fmla="*/ 757513 h 1237129"/>
              <a:gd name="connsiteX1988" fmla="*/ 2265954 w 3751729"/>
              <a:gd name="connsiteY1988" fmla="*/ 765145 h 1237129"/>
              <a:gd name="connsiteX1989" fmla="*/ 2261031 w 3751729"/>
              <a:gd name="connsiteY1989" fmla="*/ 771052 h 1237129"/>
              <a:gd name="connsiteX1990" fmla="*/ 2250200 w 3751729"/>
              <a:gd name="connsiteY1990" fmla="*/ 775236 h 1237129"/>
              <a:gd name="connsiteX1991" fmla="*/ 2250200 w 3751729"/>
              <a:gd name="connsiteY1991" fmla="*/ 791236 h 1237129"/>
              <a:gd name="connsiteX1992" fmla="*/ 2236170 w 3751729"/>
              <a:gd name="connsiteY1992" fmla="*/ 800345 h 1237129"/>
              <a:gd name="connsiteX1993" fmla="*/ 2221400 w 3751729"/>
              <a:gd name="connsiteY1993" fmla="*/ 810436 h 1237129"/>
              <a:gd name="connsiteX1994" fmla="*/ 2221400 w 3751729"/>
              <a:gd name="connsiteY1994" fmla="*/ 817575 h 1237129"/>
              <a:gd name="connsiteX1995" fmla="*/ 2203185 w 3751729"/>
              <a:gd name="connsiteY1995" fmla="*/ 817575 h 1237129"/>
              <a:gd name="connsiteX1996" fmla="*/ 2192355 w 3751729"/>
              <a:gd name="connsiteY1996" fmla="*/ 823483 h 1237129"/>
              <a:gd name="connsiteX1997" fmla="*/ 2183986 w 3751729"/>
              <a:gd name="connsiteY1997" fmla="*/ 832590 h 1237129"/>
              <a:gd name="connsiteX1998" fmla="*/ 2174140 w 3751729"/>
              <a:gd name="connsiteY1998" fmla="*/ 840220 h 1237129"/>
              <a:gd name="connsiteX1999" fmla="*/ 2160847 w 3751729"/>
              <a:gd name="connsiteY1999" fmla="*/ 846129 h 1237129"/>
              <a:gd name="connsiteX2000" fmla="*/ 2147555 w 3751729"/>
              <a:gd name="connsiteY2000" fmla="*/ 848590 h 1237129"/>
              <a:gd name="connsiteX2001" fmla="*/ 2133524 w 3751729"/>
              <a:gd name="connsiteY2001" fmla="*/ 852775 h 1237129"/>
              <a:gd name="connsiteX2002" fmla="*/ 2121956 w 3751729"/>
              <a:gd name="connsiteY2002" fmla="*/ 857698 h 1237129"/>
              <a:gd name="connsiteX2003" fmla="*/ 2112109 w 3751729"/>
              <a:gd name="connsiteY2003" fmla="*/ 863605 h 1237129"/>
              <a:gd name="connsiteX2004" fmla="*/ 2102263 w 3751729"/>
              <a:gd name="connsiteY2004" fmla="*/ 866067 h 1237129"/>
              <a:gd name="connsiteX2005" fmla="*/ 2094878 w 3751729"/>
              <a:gd name="connsiteY2005" fmla="*/ 866067 h 1237129"/>
              <a:gd name="connsiteX2006" fmla="*/ 2091678 w 3751729"/>
              <a:gd name="connsiteY2006" fmla="*/ 864344 h 1237129"/>
              <a:gd name="connsiteX2007" fmla="*/ 2090940 w 3751729"/>
              <a:gd name="connsiteY2007" fmla="*/ 864344 h 1237129"/>
              <a:gd name="connsiteX2008" fmla="*/ 2089217 w 3751729"/>
              <a:gd name="connsiteY2008" fmla="*/ 863605 h 1237129"/>
              <a:gd name="connsiteX2009" fmla="*/ 2087494 w 3751729"/>
              <a:gd name="connsiteY2009" fmla="*/ 861882 h 1237129"/>
              <a:gd name="connsiteX2010" fmla="*/ 2085771 w 3751729"/>
              <a:gd name="connsiteY2010" fmla="*/ 858436 h 1237129"/>
              <a:gd name="connsiteX2011" fmla="*/ 2081586 w 3751729"/>
              <a:gd name="connsiteY2011" fmla="*/ 850067 h 1237129"/>
              <a:gd name="connsiteX2012" fmla="*/ 2079864 w 3751729"/>
              <a:gd name="connsiteY2012" fmla="*/ 840959 h 1237129"/>
              <a:gd name="connsiteX2013" fmla="*/ 2079864 w 3751729"/>
              <a:gd name="connsiteY2013" fmla="*/ 832590 h 1237129"/>
              <a:gd name="connsiteX2014" fmla="*/ 2079125 w 3751729"/>
              <a:gd name="connsiteY2014" fmla="*/ 823483 h 1237129"/>
              <a:gd name="connsiteX2015" fmla="*/ 2071740 w 3751729"/>
              <a:gd name="connsiteY2015" fmla="*/ 809206 h 1237129"/>
              <a:gd name="connsiteX2016" fmla="*/ 2061895 w 3751729"/>
              <a:gd name="connsiteY2016" fmla="*/ 795667 h 1237129"/>
              <a:gd name="connsiteX2017" fmla="*/ 2051064 w 3751729"/>
              <a:gd name="connsiteY2017" fmla="*/ 783853 h 1237129"/>
              <a:gd name="connsiteX2018" fmla="*/ 2041218 w 3751729"/>
              <a:gd name="connsiteY2018" fmla="*/ 772036 h 1237129"/>
              <a:gd name="connsiteX2019" fmla="*/ 2038756 w 3751729"/>
              <a:gd name="connsiteY2019" fmla="*/ 763667 h 1237129"/>
              <a:gd name="connsiteX2020" fmla="*/ 2037033 w 3751729"/>
              <a:gd name="connsiteY2020" fmla="*/ 753575 h 1237129"/>
              <a:gd name="connsiteX2021" fmla="*/ 2035309 w 3751729"/>
              <a:gd name="connsiteY2021" fmla="*/ 742744 h 1237129"/>
              <a:gd name="connsiteX2022" fmla="*/ 2031125 w 3751729"/>
              <a:gd name="connsiteY2022" fmla="*/ 734375 h 1237129"/>
              <a:gd name="connsiteX2023" fmla="*/ 2015371 w 3751729"/>
              <a:gd name="connsiteY2023" fmla="*/ 724284 h 1237129"/>
              <a:gd name="connsiteX2024" fmla="*/ 2011187 w 3751729"/>
              <a:gd name="connsiteY2024" fmla="*/ 714191 h 1237129"/>
              <a:gd name="connsiteX2025" fmla="*/ 2006264 w 3751729"/>
              <a:gd name="connsiteY2025" fmla="*/ 703361 h 1237129"/>
              <a:gd name="connsiteX2026" fmla="*/ 2002079 w 3751729"/>
              <a:gd name="connsiteY2026" fmla="*/ 693268 h 1237129"/>
              <a:gd name="connsiteX2027" fmla="*/ 1996418 w 3751729"/>
              <a:gd name="connsiteY2027" fmla="*/ 684899 h 1237129"/>
              <a:gd name="connsiteX2028" fmla="*/ 1988049 w 3751729"/>
              <a:gd name="connsiteY2028" fmla="*/ 678991 h 1237129"/>
              <a:gd name="connsiteX2029" fmla="*/ 1983126 w 3751729"/>
              <a:gd name="connsiteY2029" fmla="*/ 677268 h 1237129"/>
              <a:gd name="connsiteX2030" fmla="*/ 1982387 w 3751729"/>
              <a:gd name="connsiteY2030" fmla="*/ 673821 h 1237129"/>
              <a:gd name="connsiteX2031" fmla="*/ 1979187 w 3751729"/>
              <a:gd name="connsiteY2031" fmla="*/ 673083 h 1237129"/>
              <a:gd name="connsiteX2032" fmla="*/ 1976725 w 3751729"/>
              <a:gd name="connsiteY2032" fmla="*/ 671361 h 1237129"/>
              <a:gd name="connsiteX2033" fmla="*/ 1973525 w 3751729"/>
              <a:gd name="connsiteY2033" fmla="*/ 669637 h 1237129"/>
              <a:gd name="connsiteX2034" fmla="*/ 1971065 w 3751729"/>
              <a:gd name="connsiteY2034" fmla="*/ 667176 h 1237129"/>
              <a:gd name="connsiteX2035" fmla="*/ 1967864 w 3751729"/>
              <a:gd name="connsiteY2035" fmla="*/ 662253 h 1237129"/>
              <a:gd name="connsiteX2036" fmla="*/ 1965403 w 3751729"/>
              <a:gd name="connsiteY2036" fmla="*/ 656345 h 1237129"/>
              <a:gd name="connsiteX2037" fmla="*/ 1962203 w 3751729"/>
              <a:gd name="connsiteY2037" fmla="*/ 656345 h 1237129"/>
              <a:gd name="connsiteX2038" fmla="*/ 1962203 w 3751729"/>
              <a:gd name="connsiteY2038" fmla="*/ 662253 h 1237129"/>
              <a:gd name="connsiteX2039" fmla="*/ 1972049 w 3751729"/>
              <a:gd name="connsiteY2039" fmla="*/ 675791 h 1237129"/>
              <a:gd name="connsiteX2040" fmla="*/ 1981156 w 3751729"/>
              <a:gd name="connsiteY2040" fmla="*/ 690806 h 1237129"/>
              <a:gd name="connsiteX2041" fmla="*/ 1986818 w 3751729"/>
              <a:gd name="connsiteY2041" fmla="*/ 708529 h 1237129"/>
              <a:gd name="connsiteX2042" fmla="*/ 1992479 w 3751729"/>
              <a:gd name="connsiteY2042" fmla="*/ 724529 h 1237129"/>
              <a:gd name="connsiteX2043" fmla="*/ 1999863 w 3751729"/>
              <a:gd name="connsiteY2043" fmla="*/ 740529 h 1237129"/>
              <a:gd name="connsiteX2044" fmla="*/ 2002326 w 3751729"/>
              <a:gd name="connsiteY2044" fmla="*/ 742991 h 1237129"/>
              <a:gd name="connsiteX2045" fmla="*/ 2006509 w 3751729"/>
              <a:gd name="connsiteY2045" fmla="*/ 746437 h 1237129"/>
              <a:gd name="connsiteX2046" fmla="*/ 2009710 w 3751729"/>
              <a:gd name="connsiteY2046" fmla="*/ 748898 h 1237129"/>
              <a:gd name="connsiteX2047" fmla="*/ 2013895 w 3751729"/>
              <a:gd name="connsiteY2047" fmla="*/ 752344 h 1237129"/>
              <a:gd name="connsiteX2048" fmla="*/ 2015618 w 3751729"/>
              <a:gd name="connsiteY2048" fmla="*/ 756528 h 1237129"/>
              <a:gd name="connsiteX2049" fmla="*/ 2015618 w 3751729"/>
              <a:gd name="connsiteY2049" fmla="*/ 785821 h 1237129"/>
              <a:gd name="connsiteX2050" fmla="*/ 2018079 w 3751729"/>
              <a:gd name="connsiteY2050" fmla="*/ 789268 h 1237129"/>
              <a:gd name="connsiteX2051" fmla="*/ 2021279 w 3751729"/>
              <a:gd name="connsiteY2051" fmla="*/ 793452 h 1237129"/>
              <a:gd name="connsiteX2052" fmla="*/ 2025464 w 3751729"/>
              <a:gd name="connsiteY2052" fmla="*/ 795914 h 1237129"/>
              <a:gd name="connsiteX2053" fmla="*/ 2029648 w 3751729"/>
              <a:gd name="connsiteY2053" fmla="*/ 799360 h 1237129"/>
              <a:gd name="connsiteX2054" fmla="*/ 2031371 w 3751729"/>
              <a:gd name="connsiteY2054" fmla="*/ 801820 h 1237129"/>
              <a:gd name="connsiteX2055" fmla="*/ 2033834 w 3751729"/>
              <a:gd name="connsiteY2055" fmla="*/ 810929 h 1237129"/>
              <a:gd name="connsiteX2056" fmla="*/ 2035556 w 3751729"/>
              <a:gd name="connsiteY2056" fmla="*/ 817575 h 1237129"/>
              <a:gd name="connsiteX2057" fmla="*/ 2038756 w 3751729"/>
              <a:gd name="connsiteY2057" fmla="*/ 826682 h 1237129"/>
              <a:gd name="connsiteX2058" fmla="*/ 2047125 w 3751729"/>
              <a:gd name="connsiteY2058" fmla="*/ 836775 h 1237129"/>
              <a:gd name="connsiteX2059" fmla="*/ 2060417 w 3751729"/>
              <a:gd name="connsiteY2059" fmla="*/ 845882 h 1237129"/>
              <a:gd name="connsiteX2060" fmla="*/ 2074448 w 3751729"/>
              <a:gd name="connsiteY2060" fmla="*/ 854252 h 1237129"/>
              <a:gd name="connsiteX2061" fmla="*/ 2086017 w 3751729"/>
              <a:gd name="connsiteY2061" fmla="*/ 863359 h 1237129"/>
              <a:gd name="connsiteX2062" fmla="*/ 2089217 w 3751729"/>
              <a:gd name="connsiteY2062" fmla="*/ 867544 h 1237129"/>
              <a:gd name="connsiteX2063" fmla="*/ 2089217 w 3751729"/>
              <a:gd name="connsiteY2063" fmla="*/ 873451 h 1237129"/>
              <a:gd name="connsiteX2064" fmla="*/ 2089217 w 3751729"/>
              <a:gd name="connsiteY2064" fmla="*/ 877636 h 1237129"/>
              <a:gd name="connsiteX2065" fmla="*/ 2090940 w 3751729"/>
              <a:gd name="connsiteY2065" fmla="*/ 881821 h 1237129"/>
              <a:gd name="connsiteX2066" fmla="*/ 2095125 w 3751729"/>
              <a:gd name="connsiteY2066" fmla="*/ 886743 h 1237129"/>
              <a:gd name="connsiteX2067" fmla="*/ 2107433 w 3751729"/>
              <a:gd name="connsiteY2067" fmla="*/ 887482 h 1237129"/>
              <a:gd name="connsiteX2068" fmla="*/ 2122201 w 3751729"/>
              <a:gd name="connsiteY2068" fmla="*/ 880836 h 1237129"/>
              <a:gd name="connsiteX2069" fmla="*/ 2142140 w 3751729"/>
              <a:gd name="connsiteY2069" fmla="*/ 875912 h 1237129"/>
              <a:gd name="connsiteX2070" fmla="*/ 2161093 w 3751729"/>
              <a:gd name="connsiteY2070" fmla="*/ 871728 h 1237129"/>
              <a:gd name="connsiteX2071" fmla="*/ 2178323 w 3751729"/>
              <a:gd name="connsiteY2071" fmla="*/ 869267 h 1237129"/>
              <a:gd name="connsiteX2072" fmla="*/ 2178323 w 3751729"/>
              <a:gd name="connsiteY2072" fmla="*/ 871728 h 1237129"/>
              <a:gd name="connsiteX2073" fmla="*/ 2174140 w 3751729"/>
              <a:gd name="connsiteY2073" fmla="*/ 879359 h 1237129"/>
              <a:gd name="connsiteX2074" fmla="*/ 2174140 w 3751729"/>
              <a:gd name="connsiteY2074" fmla="*/ 888221 h 1237129"/>
              <a:gd name="connsiteX2075" fmla="*/ 2170940 w 3751729"/>
              <a:gd name="connsiteY2075" fmla="*/ 898313 h 1237129"/>
              <a:gd name="connsiteX2076" fmla="*/ 2165278 w 3751729"/>
              <a:gd name="connsiteY2076" fmla="*/ 913328 h 1237129"/>
              <a:gd name="connsiteX2077" fmla="*/ 2156909 w 3751729"/>
              <a:gd name="connsiteY2077" fmla="*/ 931051 h 1237129"/>
              <a:gd name="connsiteX2078" fmla="*/ 2147063 w 3751729"/>
              <a:gd name="connsiteY2078" fmla="*/ 948774 h 1237129"/>
              <a:gd name="connsiteX2079" fmla="*/ 2136232 w 3751729"/>
              <a:gd name="connsiteY2079" fmla="*/ 963051 h 1237129"/>
              <a:gd name="connsiteX2080" fmla="*/ 2120479 w 3751729"/>
              <a:gd name="connsiteY2080" fmla="*/ 979050 h 1237129"/>
              <a:gd name="connsiteX2081" fmla="*/ 2103248 w 3751729"/>
              <a:gd name="connsiteY2081" fmla="*/ 994066 h 1237129"/>
              <a:gd name="connsiteX2082" fmla="*/ 2085032 w 3751729"/>
              <a:gd name="connsiteY2082" fmla="*/ 1008343 h 1237129"/>
              <a:gd name="connsiteX2083" fmla="*/ 2067802 w 3751729"/>
              <a:gd name="connsiteY2083" fmla="*/ 1025082 h 1237129"/>
              <a:gd name="connsiteX2084" fmla="*/ 2053032 w 3751729"/>
              <a:gd name="connsiteY2084" fmla="*/ 1042804 h 1237129"/>
              <a:gd name="connsiteX2085" fmla="*/ 2041464 w 3751729"/>
              <a:gd name="connsiteY2085" fmla="*/ 1062988 h 1237129"/>
              <a:gd name="connsiteX2086" fmla="*/ 2037279 w 3751729"/>
              <a:gd name="connsiteY2086" fmla="*/ 1082189 h 1237129"/>
              <a:gd name="connsiteX2087" fmla="*/ 2039740 w 3751729"/>
              <a:gd name="connsiteY2087" fmla="*/ 1099911 h 1237129"/>
              <a:gd name="connsiteX2088" fmla="*/ 2045402 w 3751729"/>
              <a:gd name="connsiteY2088" fmla="*/ 1117634 h 1237129"/>
              <a:gd name="connsiteX2089" fmla="*/ 2051064 w 3751729"/>
              <a:gd name="connsiteY2089" fmla="*/ 1133634 h 1237129"/>
              <a:gd name="connsiteX2090" fmla="*/ 2056725 w 3751729"/>
              <a:gd name="connsiteY2090" fmla="*/ 1151357 h 1237129"/>
              <a:gd name="connsiteX2091" fmla="*/ 2061648 w 3751729"/>
              <a:gd name="connsiteY2091" fmla="*/ 1169080 h 1237129"/>
              <a:gd name="connsiteX2092" fmla="*/ 2059925 w 3751729"/>
              <a:gd name="connsiteY2092" fmla="*/ 1186804 h 1237129"/>
              <a:gd name="connsiteX2093" fmla="*/ 2050818 w 3751729"/>
              <a:gd name="connsiteY2093" fmla="*/ 1205264 h 1237129"/>
              <a:gd name="connsiteX2094" fmla="*/ 2038509 w 3751729"/>
              <a:gd name="connsiteY2094" fmla="*/ 1214372 h 1237129"/>
              <a:gd name="connsiteX2095" fmla="*/ 2023741 w 3751729"/>
              <a:gd name="connsiteY2095" fmla="*/ 1221018 h 1237129"/>
              <a:gd name="connsiteX2096" fmla="*/ 2009710 w 3751729"/>
              <a:gd name="connsiteY2096" fmla="*/ 1228649 h 1237129"/>
              <a:gd name="connsiteX2097" fmla="*/ 1999990 w 3751729"/>
              <a:gd name="connsiteY2097" fmla="*/ 1237129 h 1237129"/>
              <a:gd name="connsiteX2098" fmla="*/ 1730490 w 3751729"/>
              <a:gd name="connsiteY2098" fmla="*/ 1237129 h 1237129"/>
              <a:gd name="connsiteX2099" fmla="*/ 1729835 w 3751729"/>
              <a:gd name="connsiteY2099" fmla="*/ 1236280 h 1237129"/>
              <a:gd name="connsiteX2100" fmla="*/ 1724174 w 3751729"/>
              <a:gd name="connsiteY2100" fmla="*/ 1224465 h 1237129"/>
              <a:gd name="connsiteX2101" fmla="*/ 1722450 w 3751729"/>
              <a:gd name="connsiteY2101" fmla="*/ 1210188 h 1237129"/>
              <a:gd name="connsiteX2102" fmla="*/ 1725650 w 3751729"/>
              <a:gd name="connsiteY2102" fmla="*/ 1193450 h 1237129"/>
              <a:gd name="connsiteX2103" fmla="*/ 1731312 w 3751729"/>
              <a:gd name="connsiteY2103" fmla="*/ 1179173 h 1237129"/>
              <a:gd name="connsiteX2104" fmla="*/ 1739681 w 3751729"/>
              <a:gd name="connsiteY2104" fmla="*/ 1163172 h 1237129"/>
              <a:gd name="connsiteX2105" fmla="*/ 1745342 w 3751729"/>
              <a:gd name="connsiteY2105" fmla="*/ 1149634 h 1237129"/>
              <a:gd name="connsiteX2106" fmla="*/ 1750265 w 3751729"/>
              <a:gd name="connsiteY2106" fmla="*/ 1137819 h 1237129"/>
              <a:gd name="connsiteX2107" fmla="*/ 1744604 w 3751729"/>
              <a:gd name="connsiteY2107" fmla="*/ 1126003 h 1237129"/>
              <a:gd name="connsiteX2108" fmla="*/ 1742882 w 3751729"/>
              <a:gd name="connsiteY2108" fmla="*/ 1115911 h 1237129"/>
              <a:gd name="connsiteX2109" fmla="*/ 1742882 w 3751729"/>
              <a:gd name="connsiteY2109" fmla="*/ 1105819 h 1237129"/>
              <a:gd name="connsiteX2110" fmla="*/ 1739681 w 3751729"/>
              <a:gd name="connsiteY2110" fmla="*/ 1092281 h 1237129"/>
              <a:gd name="connsiteX2111" fmla="*/ 1731312 w 3751729"/>
              <a:gd name="connsiteY2111" fmla="*/ 1074558 h 1237129"/>
              <a:gd name="connsiteX2112" fmla="*/ 1718022 w 3751729"/>
              <a:gd name="connsiteY2112" fmla="*/ 1056835 h 1237129"/>
              <a:gd name="connsiteX2113" fmla="*/ 1705715 w 3751729"/>
              <a:gd name="connsiteY2113" fmla="*/ 1040834 h 1237129"/>
              <a:gd name="connsiteX2114" fmla="*/ 1692422 w 3751729"/>
              <a:gd name="connsiteY2114" fmla="*/ 1027297 h 1237129"/>
              <a:gd name="connsiteX2115" fmla="*/ 1696606 w 3751729"/>
              <a:gd name="connsiteY2115" fmla="*/ 1009574 h 1237129"/>
              <a:gd name="connsiteX2116" fmla="*/ 1700792 w 3751729"/>
              <a:gd name="connsiteY2116" fmla="*/ 993574 h 1237129"/>
              <a:gd name="connsiteX2117" fmla="*/ 1705715 w 3751729"/>
              <a:gd name="connsiteY2117" fmla="*/ 975851 h 1237129"/>
              <a:gd name="connsiteX2118" fmla="*/ 1700792 w 3751729"/>
              <a:gd name="connsiteY2118" fmla="*/ 973389 h 1237129"/>
              <a:gd name="connsiteX2119" fmla="*/ 1698330 w 3751729"/>
              <a:gd name="connsiteY2119" fmla="*/ 971666 h 1237129"/>
              <a:gd name="connsiteX2120" fmla="*/ 1695130 w 3751729"/>
              <a:gd name="connsiteY2120" fmla="*/ 968220 h 1237129"/>
              <a:gd name="connsiteX2121" fmla="*/ 1692669 w 3751729"/>
              <a:gd name="connsiteY2121" fmla="*/ 967481 h 1237129"/>
              <a:gd name="connsiteX2122" fmla="*/ 1688484 w 3751729"/>
              <a:gd name="connsiteY2122" fmla="*/ 967481 h 1237129"/>
              <a:gd name="connsiteX2123" fmla="*/ 1682823 w 3751729"/>
              <a:gd name="connsiteY2123" fmla="*/ 965758 h 1237129"/>
              <a:gd name="connsiteX2124" fmla="*/ 1679622 w 3751729"/>
              <a:gd name="connsiteY2124" fmla="*/ 968220 h 1237129"/>
              <a:gd name="connsiteX2125" fmla="*/ 1677899 w 3751729"/>
              <a:gd name="connsiteY2125" fmla="*/ 969943 h 1237129"/>
              <a:gd name="connsiteX2126" fmla="*/ 1673715 w 3751729"/>
              <a:gd name="connsiteY2126" fmla="*/ 971666 h 1237129"/>
              <a:gd name="connsiteX2127" fmla="*/ 1669530 w 3751729"/>
              <a:gd name="connsiteY2127" fmla="*/ 971666 h 1237129"/>
              <a:gd name="connsiteX2128" fmla="*/ 1663869 w 3751729"/>
              <a:gd name="connsiteY2128" fmla="*/ 971666 h 1237129"/>
              <a:gd name="connsiteX2129" fmla="*/ 1648114 w 3751729"/>
              <a:gd name="connsiteY2129" fmla="*/ 946558 h 1237129"/>
              <a:gd name="connsiteX2130" fmla="*/ 1637284 w 3751729"/>
              <a:gd name="connsiteY2130" fmla="*/ 944835 h 1237129"/>
              <a:gd name="connsiteX2131" fmla="*/ 1627438 w 3751729"/>
              <a:gd name="connsiteY2131" fmla="*/ 944097 h 1237129"/>
              <a:gd name="connsiteX2132" fmla="*/ 1615870 w 3751729"/>
              <a:gd name="connsiteY2132" fmla="*/ 942374 h 1237129"/>
              <a:gd name="connsiteX2133" fmla="*/ 1601838 w 3751729"/>
              <a:gd name="connsiteY2133" fmla="*/ 948282 h 1237129"/>
              <a:gd name="connsiteX2134" fmla="*/ 1587070 w 3751729"/>
              <a:gd name="connsiteY2134" fmla="*/ 954189 h 1237129"/>
              <a:gd name="connsiteX2135" fmla="*/ 1575500 w 3751729"/>
              <a:gd name="connsiteY2135" fmla="*/ 958374 h 1237129"/>
              <a:gd name="connsiteX2136" fmla="*/ 1547439 w 3751729"/>
              <a:gd name="connsiteY2136" fmla="*/ 952466 h 1237129"/>
              <a:gd name="connsiteX2137" fmla="*/ 1544239 w 3751729"/>
              <a:gd name="connsiteY2137" fmla="*/ 962558 h 1237129"/>
              <a:gd name="connsiteX2138" fmla="*/ 1534393 w 3751729"/>
              <a:gd name="connsiteY2138" fmla="*/ 962558 h 1237129"/>
              <a:gd name="connsiteX2139" fmla="*/ 1525285 w 3751729"/>
              <a:gd name="connsiteY2139" fmla="*/ 960097 h 1237129"/>
              <a:gd name="connsiteX2140" fmla="*/ 1518639 w 3751729"/>
              <a:gd name="connsiteY2140" fmla="*/ 958374 h 1237129"/>
              <a:gd name="connsiteX2141" fmla="*/ 1515439 w 3751729"/>
              <a:gd name="connsiteY2141" fmla="*/ 960097 h 1237129"/>
              <a:gd name="connsiteX2142" fmla="*/ 1512978 w 3751729"/>
              <a:gd name="connsiteY2142" fmla="*/ 962558 h 1237129"/>
              <a:gd name="connsiteX2143" fmla="*/ 1508055 w 3751729"/>
              <a:gd name="connsiteY2143" fmla="*/ 964282 h 1237129"/>
              <a:gd name="connsiteX2144" fmla="*/ 1502393 w 3751729"/>
              <a:gd name="connsiteY2144" fmla="*/ 966005 h 1237129"/>
              <a:gd name="connsiteX2145" fmla="*/ 1494024 w 3751729"/>
              <a:gd name="connsiteY2145" fmla="*/ 955912 h 1237129"/>
              <a:gd name="connsiteX2146" fmla="*/ 1482455 w 3751729"/>
              <a:gd name="connsiteY2146" fmla="*/ 950005 h 1237129"/>
              <a:gd name="connsiteX2147" fmla="*/ 1470885 w 3751729"/>
              <a:gd name="connsiteY2147" fmla="*/ 944097 h 1237129"/>
              <a:gd name="connsiteX2148" fmla="*/ 1459316 w 3751729"/>
              <a:gd name="connsiteY2148" fmla="*/ 938189 h 1237129"/>
              <a:gd name="connsiteX2149" fmla="*/ 1449471 w 3751729"/>
              <a:gd name="connsiteY2149" fmla="*/ 930558 h 1237129"/>
              <a:gd name="connsiteX2150" fmla="*/ 1442086 w 3751729"/>
              <a:gd name="connsiteY2150" fmla="*/ 911359 h 1237129"/>
              <a:gd name="connsiteX2151" fmla="*/ 1433717 w 3751729"/>
              <a:gd name="connsiteY2151" fmla="*/ 901266 h 1237129"/>
              <a:gd name="connsiteX2152" fmla="*/ 1420424 w 3751729"/>
              <a:gd name="connsiteY2152" fmla="*/ 891174 h 1237129"/>
              <a:gd name="connsiteX2153" fmla="*/ 1408856 w 3751729"/>
              <a:gd name="connsiteY2153" fmla="*/ 881082 h 1237129"/>
              <a:gd name="connsiteX2154" fmla="*/ 1401471 w 3751729"/>
              <a:gd name="connsiteY2154" fmla="*/ 871974 h 1237129"/>
              <a:gd name="connsiteX2155" fmla="*/ 1401471 w 3751729"/>
              <a:gd name="connsiteY2155" fmla="*/ 852775 h 1237129"/>
              <a:gd name="connsiteX2156" fmla="*/ 1399010 w 3751729"/>
              <a:gd name="connsiteY2156" fmla="*/ 844405 h 1237129"/>
              <a:gd name="connsiteX2157" fmla="*/ 1399748 w 3751729"/>
              <a:gd name="connsiteY2157" fmla="*/ 830867 h 1237129"/>
              <a:gd name="connsiteX2158" fmla="*/ 1402948 w 3751729"/>
              <a:gd name="connsiteY2158" fmla="*/ 819052 h 1237129"/>
              <a:gd name="connsiteX2159" fmla="*/ 1405410 w 3751729"/>
              <a:gd name="connsiteY2159" fmla="*/ 808959 h 1237129"/>
              <a:gd name="connsiteX2160" fmla="*/ 1407132 w 3751729"/>
              <a:gd name="connsiteY2160" fmla="*/ 801329 h 1237129"/>
              <a:gd name="connsiteX2161" fmla="*/ 1407132 w 3751729"/>
              <a:gd name="connsiteY2161" fmla="*/ 789513 h 1237129"/>
              <a:gd name="connsiteX2162" fmla="*/ 1404671 w 3751729"/>
              <a:gd name="connsiteY2162" fmla="*/ 782867 h 1237129"/>
              <a:gd name="connsiteX2163" fmla="*/ 1399748 w 3751729"/>
              <a:gd name="connsiteY2163" fmla="*/ 775236 h 1237129"/>
              <a:gd name="connsiteX2164" fmla="*/ 1397286 w 3751729"/>
              <a:gd name="connsiteY2164" fmla="*/ 769329 h 1237129"/>
              <a:gd name="connsiteX2165" fmla="*/ 1397286 w 3751729"/>
              <a:gd name="connsiteY2165" fmla="*/ 760221 h 1237129"/>
              <a:gd name="connsiteX2166" fmla="*/ 1399748 w 3751729"/>
              <a:gd name="connsiteY2166" fmla="*/ 748407 h 1237129"/>
              <a:gd name="connsiteX2167" fmla="*/ 1405410 w 3751729"/>
              <a:gd name="connsiteY2167" fmla="*/ 735852 h 1237129"/>
              <a:gd name="connsiteX2168" fmla="*/ 1411071 w 3751729"/>
              <a:gd name="connsiteY2168" fmla="*/ 720837 h 1237129"/>
              <a:gd name="connsiteX2169" fmla="*/ 1416733 w 3751729"/>
              <a:gd name="connsiteY2169" fmla="*/ 708283 h 1237129"/>
              <a:gd name="connsiteX2170" fmla="*/ 1422394 w 3751729"/>
              <a:gd name="connsiteY2170" fmla="*/ 697452 h 1237129"/>
              <a:gd name="connsiteX2171" fmla="*/ 1425594 w 3751729"/>
              <a:gd name="connsiteY2171" fmla="*/ 691545 h 1237129"/>
              <a:gd name="connsiteX2172" fmla="*/ 1435439 w 3751729"/>
              <a:gd name="connsiteY2172" fmla="*/ 683175 h 1237129"/>
              <a:gd name="connsiteX2173" fmla="*/ 1447009 w 3751729"/>
              <a:gd name="connsiteY2173" fmla="*/ 675545 h 1237129"/>
              <a:gd name="connsiteX2174" fmla="*/ 1458578 w 3751729"/>
              <a:gd name="connsiteY2174" fmla="*/ 669637 h 1237129"/>
              <a:gd name="connsiteX2175" fmla="*/ 1470147 w 3751729"/>
              <a:gd name="connsiteY2175" fmla="*/ 662006 h 1237129"/>
              <a:gd name="connsiteX2176" fmla="*/ 1472608 w 3751729"/>
              <a:gd name="connsiteY2176" fmla="*/ 655360 h 1237129"/>
              <a:gd name="connsiteX2177" fmla="*/ 1472608 w 3751729"/>
              <a:gd name="connsiteY2177" fmla="*/ 646253 h 1237129"/>
              <a:gd name="connsiteX2178" fmla="*/ 1471871 w 3751729"/>
              <a:gd name="connsiteY2178" fmla="*/ 636161 h 1237129"/>
              <a:gd name="connsiteX2179" fmla="*/ 1472608 w 3751729"/>
              <a:gd name="connsiteY2179" fmla="*/ 627791 h 1237129"/>
              <a:gd name="connsiteX2180" fmla="*/ 1479993 w 3751729"/>
              <a:gd name="connsiteY2180" fmla="*/ 615976 h 1237129"/>
              <a:gd name="connsiteX2181" fmla="*/ 1489839 w 3751729"/>
              <a:gd name="connsiteY2181" fmla="*/ 606868 h 1237129"/>
              <a:gd name="connsiteX2182" fmla="*/ 1500669 w 3751729"/>
              <a:gd name="connsiteY2182" fmla="*/ 598499 h 1237129"/>
              <a:gd name="connsiteX2183" fmla="*/ 1510516 w 3751729"/>
              <a:gd name="connsiteY2183" fmla="*/ 589392 h 1237129"/>
              <a:gd name="connsiteX2184" fmla="*/ 1518885 w 3751729"/>
              <a:gd name="connsiteY2184" fmla="*/ 579299 h 1237129"/>
              <a:gd name="connsiteX2185" fmla="*/ 1523808 w 3751729"/>
              <a:gd name="connsiteY2185" fmla="*/ 565763 h 1237129"/>
              <a:gd name="connsiteX2186" fmla="*/ 1523808 w 3751729"/>
              <a:gd name="connsiteY2186" fmla="*/ 565024 h 1237129"/>
              <a:gd name="connsiteX2187" fmla="*/ 1522085 w 3751729"/>
              <a:gd name="connsiteY2187" fmla="*/ 565024 h 1237129"/>
              <a:gd name="connsiteX2188" fmla="*/ 1522085 w 3751729"/>
              <a:gd name="connsiteY2188" fmla="*/ 563302 h 1237129"/>
              <a:gd name="connsiteX2189" fmla="*/ 1522085 w 3751729"/>
              <a:gd name="connsiteY2189" fmla="*/ 561578 h 1237129"/>
              <a:gd name="connsiteX2190" fmla="*/ 1520363 w 3751729"/>
              <a:gd name="connsiteY2190" fmla="*/ 559856 h 1237129"/>
              <a:gd name="connsiteX2191" fmla="*/ 1517901 w 3751729"/>
              <a:gd name="connsiteY2191" fmla="*/ 559117 h 1237129"/>
              <a:gd name="connsiteX2192" fmla="*/ 1514701 w 3751729"/>
              <a:gd name="connsiteY2192" fmla="*/ 557394 h 1237129"/>
              <a:gd name="connsiteX2193" fmla="*/ 1512239 w 3751729"/>
              <a:gd name="connsiteY2193" fmla="*/ 557394 h 1237129"/>
              <a:gd name="connsiteX2194" fmla="*/ 1507316 w 3751729"/>
              <a:gd name="connsiteY2194" fmla="*/ 555672 h 1237129"/>
              <a:gd name="connsiteX2195" fmla="*/ 1504855 w 3751729"/>
              <a:gd name="connsiteY2195" fmla="*/ 559117 h 1237129"/>
              <a:gd name="connsiteX2196" fmla="*/ 1501655 w 3751729"/>
              <a:gd name="connsiteY2196" fmla="*/ 559117 h 1237129"/>
              <a:gd name="connsiteX2197" fmla="*/ 1497469 w 3751729"/>
              <a:gd name="connsiteY2197" fmla="*/ 559856 h 1237129"/>
              <a:gd name="connsiteX2198" fmla="*/ 1491808 w 3751729"/>
              <a:gd name="connsiteY2198" fmla="*/ 559856 h 1237129"/>
              <a:gd name="connsiteX2199" fmla="*/ 1491808 w 3751729"/>
              <a:gd name="connsiteY2199" fmla="*/ 555672 h 1237129"/>
              <a:gd name="connsiteX2200" fmla="*/ 1489348 w 3751729"/>
              <a:gd name="connsiteY2200" fmla="*/ 555672 h 1237129"/>
              <a:gd name="connsiteX2201" fmla="*/ 1489348 w 3751729"/>
              <a:gd name="connsiteY2201" fmla="*/ 543855 h 1237129"/>
              <a:gd name="connsiteX2202" fmla="*/ 1487624 w 3751729"/>
              <a:gd name="connsiteY2202" fmla="*/ 527856 h 1237129"/>
              <a:gd name="connsiteX2203" fmla="*/ 1485901 w 3751729"/>
              <a:gd name="connsiteY2203" fmla="*/ 508655 h 1237129"/>
              <a:gd name="connsiteX2204" fmla="*/ 1485901 w 3751729"/>
              <a:gd name="connsiteY2204" fmla="*/ 490194 h 1237129"/>
              <a:gd name="connsiteX2205" fmla="*/ 1485901 w 3751729"/>
              <a:gd name="connsiteY2205" fmla="*/ 473456 h 1237129"/>
              <a:gd name="connsiteX2206" fmla="*/ 1489101 w 3751729"/>
              <a:gd name="connsiteY2206" fmla="*/ 463363 h 1237129"/>
              <a:gd name="connsiteX2207" fmla="*/ 1489593 w 3751729"/>
              <a:gd name="connsiteY2207" fmla="*/ 460410 h 1237129"/>
              <a:gd name="connsiteX2208" fmla="*/ 1491316 w 3751729"/>
              <a:gd name="connsiteY2208" fmla="*/ 456964 h 1237129"/>
              <a:gd name="connsiteX2209" fmla="*/ 1493038 w 3751729"/>
              <a:gd name="connsiteY2209" fmla="*/ 456225 h 1237129"/>
              <a:gd name="connsiteX2210" fmla="*/ 1494762 w 3751729"/>
              <a:gd name="connsiteY2210" fmla="*/ 456225 h 1237129"/>
              <a:gd name="connsiteX2211" fmla="*/ 1497224 w 3751729"/>
              <a:gd name="connsiteY2211" fmla="*/ 456225 h 1237129"/>
              <a:gd name="connsiteX2212" fmla="*/ 1500424 w 3751729"/>
              <a:gd name="connsiteY2212" fmla="*/ 454501 h 1237129"/>
              <a:gd name="connsiteX2213" fmla="*/ 1504609 w 3751729"/>
              <a:gd name="connsiteY2213" fmla="*/ 454501 h 1237129"/>
              <a:gd name="connsiteX2214" fmla="*/ 1516177 w 3751729"/>
              <a:gd name="connsiteY2214" fmla="*/ 458687 h 1237129"/>
              <a:gd name="connsiteX2215" fmla="*/ 1529469 w 3751729"/>
              <a:gd name="connsiteY2215" fmla="*/ 462133 h 1237129"/>
              <a:gd name="connsiteX2216" fmla="*/ 1543501 w 3751729"/>
              <a:gd name="connsiteY2216" fmla="*/ 462133 h 1237129"/>
              <a:gd name="connsiteX2217" fmla="*/ 1557531 w 3751729"/>
              <a:gd name="connsiteY2217" fmla="*/ 458687 h 1237129"/>
              <a:gd name="connsiteX2218" fmla="*/ 1568362 w 3751729"/>
              <a:gd name="connsiteY2218" fmla="*/ 454501 h 1237129"/>
              <a:gd name="connsiteX2219" fmla="*/ 1569100 w 3751729"/>
              <a:gd name="connsiteY2219" fmla="*/ 452779 h 1237129"/>
              <a:gd name="connsiteX2220" fmla="*/ 1569100 w 3751729"/>
              <a:gd name="connsiteY2220" fmla="*/ 451056 h 1237129"/>
              <a:gd name="connsiteX2221" fmla="*/ 1570824 w 3751729"/>
              <a:gd name="connsiteY2221" fmla="*/ 451056 h 1237129"/>
              <a:gd name="connsiteX2222" fmla="*/ 1570824 w 3751729"/>
              <a:gd name="connsiteY2222" fmla="*/ 450318 h 1237129"/>
              <a:gd name="connsiteX2223" fmla="*/ 1570824 w 3751729"/>
              <a:gd name="connsiteY2223" fmla="*/ 448595 h 1237129"/>
              <a:gd name="connsiteX2224" fmla="*/ 1574024 w 3751729"/>
              <a:gd name="connsiteY2224" fmla="*/ 436778 h 1237129"/>
              <a:gd name="connsiteX2225" fmla="*/ 1574024 w 3751729"/>
              <a:gd name="connsiteY2225" fmla="*/ 423241 h 1237129"/>
              <a:gd name="connsiteX2226" fmla="*/ 1572300 w 3751729"/>
              <a:gd name="connsiteY2226" fmla="*/ 410687 h 1237129"/>
              <a:gd name="connsiteX2227" fmla="*/ 1570578 w 3751729"/>
              <a:gd name="connsiteY2227" fmla="*/ 395672 h 1237129"/>
              <a:gd name="connsiteX2228" fmla="*/ 1560731 w 3751729"/>
              <a:gd name="connsiteY2228" fmla="*/ 393210 h 1237129"/>
              <a:gd name="connsiteX2229" fmla="*/ 1550885 w 3751729"/>
              <a:gd name="connsiteY2229" fmla="*/ 389764 h 1237129"/>
              <a:gd name="connsiteX2230" fmla="*/ 1541039 w 3751729"/>
              <a:gd name="connsiteY2230" fmla="*/ 383856 h 1237129"/>
              <a:gd name="connsiteX2231" fmla="*/ 1533654 w 3751729"/>
              <a:gd name="connsiteY2231" fmla="*/ 376225 h 1237129"/>
              <a:gd name="connsiteX2232" fmla="*/ 1536115 w 3751729"/>
              <a:gd name="connsiteY2232" fmla="*/ 375487 h 1237129"/>
              <a:gd name="connsiteX2233" fmla="*/ 1539316 w 3751729"/>
              <a:gd name="connsiteY2233" fmla="*/ 373764 h 1237129"/>
              <a:gd name="connsiteX2234" fmla="*/ 1541039 w 3751729"/>
              <a:gd name="connsiteY2234" fmla="*/ 372041 h 1237129"/>
              <a:gd name="connsiteX2235" fmla="*/ 1543501 w 3751729"/>
              <a:gd name="connsiteY2235" fmla="*/ 372041 h 1237129"/>
              <a:gd name="connsiteX2236" fmla="*/ 1546701 w 3751729"/>
              <a:gd name="connsiteY2236" fmla="*/ 370318 h 1237129"/>
              <a:gd name="connsiteX2237" fmla="*/ 1551624 w 3751729"/>
              <a:gd name="connsiteY2237" fmla="*/ 370318 h 1237129"/>
              <a:gd name="connsiteX2238" fmla="*/ 1554823 w 3751729"/>
              <a:gd name="connsiteY2238" fmla="*/ 369579 h 1237129"/>
              <a:gd name="connsiteX2239" fmla="*/ 1559008 w 3751729"/>
              <a:gd name="connsiteY2239" fmla="*/ 367856 h 1237129"/>
              <a:gd name="connsiteX2240" fmla="*/ 1563193 w 3751729"/>
              <a:gd name="connsiteY2240" fmla="*/ 367856 h 1237129"/>
              <a:gd name="connsiteX2241" fmla="*/ 1568115 w 3751729"/>
              <a:gd name="connsiteY2241" fmla="*/ 367856 h 1237129"/>
              <a:gd name="connsiteX2242" fmla="*/ 1568115 w 3751729"/>
              <a:gd name="connsiteY2242" fmla="*/ 351856 h 1237129"/>
              <a:gd name="connsiteX2243" fmla="*/ 1572300 w 3751729"/>
              <a:gd name="connsiteY2243" fmla="*/ 351856 h 1237129"/>
              <a:gd name="connsiteX2244" fmla="*/ 1576484 w 3751729"/>
              <a:gd name="connsiteY2244" fmla="*/ 352595 h 1237129"/>
              <a:gd name="connsiteX2245" fmla="*/ 1578208 w 3751729"/>
              <a:gd name="connsiteY2245" fmla="*/ 354318 h 1237129"/>
              <a:gd name="connsiteX2246" fmla="*/ 1580670 w 3751729"/>
              <a:gd name="connsiteY2246" fmla="*/ 354318 h 1237129"/>
              <a:gd name="connsiteX2247" fmla="*/ 1583870 w 3751729"/>
              <a:gd name="connsiteY2247" fmla="*/ 356041 h 1237129"/>
              <a:gd name="connsiteX2248" fmla="*/ 1586331 w 3751729"/>
              <a:gd name="connsiteY2248" fmla="*/ 357764 h 1237129"/>
              <a:gd name="connsiteX2249" fmla="*/ 1589531 w 3751729"/>
              <a:gd name="connsiteY2249" fmla="*/ 354318 h 1237129"/>
              <a:gd name="connsiteX2250" fmla="*/ 1593716 w 3751729"/>
              <a:gd name="connsiteY2250" fmla="*/ 352595 h 1237129"/>
              <a:gd name="connsiteX2251" fmla="*/ 1596915 w 3751729"/>
              <a:gd name="connsiteY2251" fmla="*/ 351856 h 1237129"/>
              <a:gd name="connsiteX2252" fmla="*/ 1601100 w 3751729"/>
              <a:gd name="connsiteY2252" fmla="*/ 350133 h 1237129"/>
              <a:gd name="connsiteX2253" fmla="*/ 1602823 w 3751729"/>
              <a:gd name="connsiteY2253" fmla="*/ 348410 h 1237129"/>
              <a:gd name="connsiteX2254" fmla="*/ 1603562 w 3751729"/>
              <a:gd name="connsiteY2254" fmla="*/ 345949 h 1237129"/>
              <a:gd name="connsiteX2255" fmla="*/ 1603562 w 3751729"/>
              <a:gd name="connsiteY2255" fmla="*/ 342502 h 1237129"/>
              <a:gd name="connsiteX2256" fmla="*/ 1603562 w 3751729"/>
              <a:gd name="connsiteY2256" fmla="*/ 340041 h 1237129"/>
              <a:gd name="connsiteX2257" fmla="*/ 1603562 w 3751729"/>
              <a:gd name="connsiteY2257" fmla="*/ 336595 h 1237129"/>
              <a:gd name="connsiteX2258" fmla="*/ 1605285 w 3751729"/>
              <a:gd name="connsiteY2258" fmla="*/ 334133 h 1237129"/>
              <a:gd name="connsiteX2259" fmla="*/ 1607008 w 3751729"/>
              <a:gd name="connsiteY2259" fmla="*/ 330687 h 1237129"/>
              <a:gd name="connsiteX2260" fmla="*/ 1634331 w 3751729"/>
              <a:gd name="connsiteY2260" fmla="*/ 322318 h 1237129"/>
              <a:gd name="connsiteX2261" fmla="*/ 1639992 w 3751729"/>
              <a:gd name="connsiteY2261" fmla="*/ 313210 h 1237129"/>
              <a:gd name="connsiteX2262" fmla="*/ 1641715 w 3751729"/>
              <a:gd name="connsiteY2262" fmla="*/ 304840 h 1237129"/>
              <a:gd name="connsiteX2263" fmla="*/ 1645899 w 3751729"/>
              <a:gd name="connsiteY2263" fmla="*/ 295734 h 1237129"/>
              <a:gd name="connsiteX2264" fmla="*/ 1654269 w 3751729"/>
              <a:gd name="connsiteY2264" fmla="*/ 289826 h 1237129"/>
              <a:gd name="connsiteX2265" fmla="*/ 1665100 w 3751729"/>
              <a:gd name="connsiteY2265" fmla="*/ 285641 h 1237129"/>
              <a:gd name="connsiteX2266" fmla="*/ 1677407 w 3751729"/>
              <a:gd name="connsiteY2266" fmla="*/ 281457 h 1237129"/>
              <a:gd name="connsiteX2267" fmla="*/ 1688976 w 3751729"/>
              <a:gd name="connsiteY2267" fmla="*/ 277271 h 1237129"/>
              <a:gd name="connsiteX2268" fmla="*/ 1690699 w 3751729"/>
              <a:gd name="connsiteY2268" fmla="*/ 275549 h 1237129"/>
              <a:gd name="connsiteX2269" fmla="*/ 1690699 w 3751729"/>
              <a:gd name="connsiteY2269" fmla="*/ 273825 h 1237129"/>
              <a:gd name="connsiteX2270" fmla="*/ 1690699 w 3751729"/>
              <a:gd name="connsiteY2270" fmla="*/ 272103 h 1237129"/>
              <a:gd name="connsiteX2271" fmla="*/ 1692422 w 3751729"/>
              <a:gd name="connsiteY2271" fmla="*/ 271365 h 1237129"/>
              <a:gd name="connsiteX2272" fmla="*/ 1686760 w 3751729"/>
              <a:gd name="connsiteY2272" fmla="*/ 256348 h 1237129"/>
              <a:gd name="connsiteX2273" fmla="*/ 1683560 w 3751729"/>
              <a:gd name="connsiteY2273" fmla="*/ 238625 h 1237129"/>
              <a:gd name="connsiteX2274" fmla="*/ 1683560 w 3751729"/>
              <a:gd name="connsiteY2274" fmla="*/ 222626 h 1237129"/>
              <a:gd name="connsiteX2275" fmla="*/ 1682823 w 3751729"/>
              <a:gd name="connsiteY2275" fmla="*/ 209088 h 1237129"/>
              <a:gd name="connsiteX2276" fmla="*/ 1695130 w 3751729"/>
              <a:gd name="connsiteY2276" fmla="*/ 208349 h 1237129"/>
              <a:gd name="connsiteX2277" fmla="*/ 1704238 w 3751729"/>
              <a:gd name="connsiteY2277" fmla="*/ 204903 h 1237129"/>
              <a:gd name="connsiteX2278" fmla="*/ 1714084 w 3751729"/>
              <a:gd name="connsiteY2278" fmla="*/ 202441 h 1237129"/>
              <a:gd name="connsiteX2279" fmla="*/ 1714084 w 3751729"/>
              <a:gd name="connsiteY2279" fmla="*/ 209088 h 1237129"/>
              <a:gd name="connsiteX2280" fmla="*/ 1712361 w 3751729"/>
              <a:gd name="connsiteY2280" fmla="*/ 214996 h 1237129"/>
              <a:gd name="connsiteX2281" fmla="*/ 1710637 w 3751729"/>
              <a:gd name="connsiteY2281" fmla="*/ 225826 h 1237129"/>
              <a:gd name="connsiteX2282" fmla="*/ 1709899 w 3751729"/>
              <a:gd name="connsiteY2282" fmla="*/ 240103 h 1237129"/>
              <a:gd name="connsiteX2283" fmla="*/ 1708176 w 3751729"/>
              <a:gd name="connsiteY2283" fmla="*/ 253641 h 1237129"/>
              <a:gd name="connsiteX2284" fmla="*/ 1708176 w 3751729"/>
              <a:gd name="connsiteY2284" fmla="*/ 263734 h 1237129"/>
              <a:gd name="connsiteX2285" fmla="*/ 1712361 w 3751729"/>
              <a:gd name="connsiteY2285" fmla="*/ 266194 h 1237129"/>
              <a:gd name="connsiteX2286" fmla="*/ 1715560 w 3751729"/>
              <a:gd name="connsiteY2286" fmla="*/ 267918 h 1237129"/>
              <a:gd name="connsiteX2287" fmla="*/ 1716300 w 3751729"/>
              <a:gd name="connsiteY2287" fmla="*/ 269640 h 1237129"/>
              <a:gd name="connsiteX2288" fmla="*/ 1719499 w 3751729"/>
              <a:gd name="connsiteY2288" fmla="*/ 271365 h 1237129"/>
              <a:gd name="connsiteX2289" fmla="*/ 1723681 w 3751729"/>
              <a:gd name="connsiteY2289" fmla="*/ 273825 h 1237129"/>
              <a:gd name="connsiteX2290" fmla="*/ 1732789 w 3751729"/>
              <a:gd name="connsiteY2290" fmla="*/ 269640 h 1237129"/>
              <a:gd name="connsiteX2291" fmla="*/ 1739189 w 3751729"/>
              <a:gd name="connsiteY2291" fmla="*/ 269640 h 1237129"/>
              <a:gd name="connsiteX2292" fmla="*/ 1743373 w 3751729"/>
              <a:gd name="connsiteY2292" fmla="*/ 272103 h 1237129"/>
              <a:gd name="connsiteX2293" fmla="*/ 1749035 w 3751729"/>
              <a:gd name="connsiteY2293" fmla="*/ 277026 h 1237129"/>
              <a:gd name="connsiteX2294" fmla="*/ 1756419 w 3751729"/>
              <a:gd name="connsiteY2294" fmla="*/ 277026 h 1237129"/>
              <a:gd name="connsiteX2295" fmla="*/ 1764788 w 3751729"/>
              <a:gd name="connsiteY2295" fmla="*/ 273580 h 1237129"/>
              <a:gd name="connsiteX2296" fmla="*/ 1772173 w 3751729"/>
              <a:gd name="connsiteY2296" fmla="*/ 269395 h 1237129"/>
              <a:gd name="connsiteX2297" fmla="*/ 1776357 w 3751729"/>
              <a:gd name="connsiteY2297" fmla="*/ 265210 h 1237129"/>
              <a:gd name="connsiteX2298" fmla="*/ 1782019 w 3751729"/>
              <a:gd name="connsiteY2298" fmla="*/ 261764 h 1237129"/>
              <a:gd name="connsiteX2299" fmla="*/ 1789403 w 3751729"/>
              <a:gd name="connsiteY2299" fmla="*/ 259303 h 1237129"/>
              <a:gd name="connsiteX2300" fmla="*/ 1800973 w 3751729"/>
              <a:gd name="connsiteY2300" fmla="*/ 260041 h 1237129"/>
              <a:gd name="connsiteX2301" fmla="*/ 1816727 w 3751729"/>
              <a:gd name="connsiteY2301" fmla="*/ 263487 h 1237129"/>
              <a:gd name="connsiteX2302" fmla="*/ 1818450 w 3751729"/>
              <a:gd name="connsiteY2302" fmla="*/ 259303 h 1237129"/>
              <a:gd name="connsiteX2303" fmla="*/ 1819188 w 3751729"/>
              <a:gd name="connsiteY2303" fmla="*/ 257580 h 1237129"/>
              <a:gd name="connsiteX2304" fmla="*/ 1822388 w 3751729"/>
              <a:gd name="connsiteY2304" fmla="*/ 254133 h 1237129"/>
              <a:gd name="connsiteX2305" fmla="*/ 1824849 w 3751729"/>
              <a:gd name="connsiteY2305" fmla="*/ 253395 h 1237129"/>
              <a:gd name="connsiteX2306" fmla="*/ 1828049 w 3751729"/>
              <a:gd name="connsiteY2306" fmla="*/ 253395 h 1237129"/>
              <a:gd name="connsiteX2307" fmla="*/ 1832235 w 3751729"/>
              <a:gd name="connsiteY2307" fmla="*/ 251673 h 1237129"/>
              <a:gd name="connsiteX2308" fmla="*/ 1832235 w 3751729"/>
              <a:gd name="connsiteY2308" fmla="*/ 226564 h 1237129"/>
              <a:gd name="connsiteX2309" fmla="*/ 1835434 w 3751729"/>
              <a:gd name="connsiteY2309" fmla="*/ 206380 h 1237129"/>
              <a:gd name="connsiteX2310" fmla="*/ 1837895 w 3751729"/>
              <a:gd name="connsiteY2310" fmla="*/ 202934 h 1237129"/>
              <a:gd name="connsiteX2311" fmla="*/ 1841096 w 3751729"/>
              <a:gd name="connsiteY2311" fmla="*/ 202195 h 1237129"/>
              <a:gd name="connsiteX2312" fmla="*/ 1843557 w 3751729"/>
              <a:gd name="connsiteY2312" fmla="*/ 198750 h 1237129"/>
              <a:gd name="connsiteX2313" fmla="*/ 1846757 w 3751729"/>
              <a:gd name="connsiteY2313" fmla="*/ 197026 h 1237129"/>
              <a:gd name="connsiteX2314" fmla="*/ 1850943 w 3751729"/>
              <a:gd name="connsiteY2314" fmla="*/ 196288 h 1237129"/>
              <a:gd name="connsiteX2315" fmla="*/ 1850943 w 3751729"/>
              <a:gd name="connsiteY2315" fmla="*/ 198750 h 1237129"/>
              <a:gd name="connsiteX2316" fmla="*/ 1853403 w 3751729"/>
              <a:gd name="connsiteY2316" fmla="*/ 202195 h 1237129"/>
              <a:gd name="connsiteX2317" fmla="*/ 1855127 w 3751729"/>
              <a:gd name="connsiteY2317" fmla="*/ 204657 h 1237129"/>
              <a:gd name="connsiteX2318" fmla="*/ 1856849 w 3751729"/>
              <a:gd name="connsiteY2318" fmla="*/ 208103 h 1237129"/>
              <a:gd name="connsiteX2319" fmla="*/ 1858573 w 3751729"/>
              <a:gd name="connsiteY2319" fmla="*/ 208841 h 1237129"/>
              <a:gd name="connsiteX2320" fmla="*/ 1862757 w 3751729"/>
              <a:gd name="connsiteY2320" fmla="*/ 210564 h 1237129"/>
              <a:gd name="connsiteX2321" fmla="*/ 1866942 w 3751729"/>
              <a:gd name="connsiteY2321" fmla="*/ 212288 h 1237129"/>
              <a:gd name="connsiteX2322" fmla="*/ 1865219 w 3751729"/>
              <a:gd name="connsiteY2322" fmla="*/ 198750 h 1237129"/>
              <a:gd name="connsiteX2323" fmla="*/ 1864480 w 3751729"/>
              <a:gd name="connsiteY2323" fmla="*/ 190380 h 1237129"/>
              <a:gd name="connsiteX2324" fmla="*/ 1861280 w 3751729"/>
              <a:gd name="connsiteY2324" fmla="*/ 184473 h 1237129"/>
              <a:gd name="connsiteX2325" fmla="*/ 1859557 w 3751729"/>
              <a:gd name="connsiteY2325" fmla="*/ 176842 h 1237129"/>
              <a:gd name="connsiteX2326" fmla="*/ 1857096 w 3751729"/>
              <a:gd name="connsiteY2326" fmla="*/ 163304 h 1237129"/>
              <a:gd name="connsiteX2327" fmla="*/ 1864480 w 3751729"/>
              <a:gd name="connsiteY2327" fmla="*/ 162565 h 1237129"/>
              <a:gd name="connsiteX2328" fmla="*/ 1869404 w 3751729"/>
              <a:gd name="connsiteY2328" fmla="*/ 159119 h 1237129"/>
              <a:gd name="connsiteX2329" fmla="*/ 1874326 w 3751729"/>
              <a:gd name="connsiteY2329" fmla="*/ 156658 h 1237129"/>
              <a:gd name="connsiteX2330" fmla="*/ 1879988 w 3751729"/>
              <a:gd name="connsiteY2330" fmla="*/ 153212 h 1237129"/>
              <a:gd name="connsiteX2331" fmla="*/ 1889834 w 3751729"/>
              <a:gd name="connsiteY2331" fmla="*/ 153212 h 1237129"/>
              <a:gd name="connsiteX2332" fmla="*/ 1899680 w 3751729"/>
              <a:gd name="connsiteY2332" fmla="*/ 154934 h 1237129"/>
              <a:gd name="connsiteX2333" fmla="*/ 1907065 w 3751729"/>
              <a:gd name="connsiteY2333" fmla="*/ 156658 h 1237129"/>
              <a:gd name="connsiteX2334" fmla="*/ 1914449 w 3751729"/>
              <a:gd name="connsiteY2334" fmla="*/ 153212 h 1237129"/>
              <a:gd name="connsiteX2335" fmla="*/ 1920111 w 3751729"/>
              <a:gd name="connsiteY2335" fmla="*/ 144842 h 1237129"/>
              <a:gd name="connsiteX2336" fmla="*/ 1915187 w 3751729"/>
              <a:gd name="connsiteY2336" fmla="*/ 143119 h 1237129"/>
              <a:gd name="connsiteX2337" fmla="*/ 1911003 w 3751729"/>
              <a:gd name="connsiteY2337" fmla="*/ 141396 h 1237129"/>
              <a:gd name="connsiteX2338" fmla="*/ 1908541 w 3751729"/>
              <a:gd name="connsiteY2338" fmla="*/ 139673 h 1237129"/>
              <a:gd name="connsiteX2339" fmla="*/ 1903619 w 3751729"/>
              <a:gd name="connsiteY2339" fmla="*/ 138935 h 1237129"/>
              <a:gd name="connsiteX2340" fmla="*/ 1897957 w 3751729"/>
              <a:gd name="connsiteY2340" fmla="*/ 138935 h 1237129"/>
              <a:gd name="connsiteX2341" fmla="*/ 1883926 w 3751729"/>
              <a:gd name="connsiteY2341" fmla="*/ 145581 h 1237129"/>
              <a:gd name="connsiteX2342" fmla="*/ 1868173 w 3751729"/>
              <a:gd name="connsiteY2342" fmla="*/ 150503 h 1237129"/>
              <a:gd name="connsiteX2343" fmla="*/ 1850943 w 3751729"/>
              <a:gd name="connsiteY2343" fmla="*/ 152965 h 1237129"/>
              <a:gd name="connsiteX2344" fmla="*/ 1847742 w 3751729"/>
              <a:gd name="connsiteY2344" fmla="*/ 145334 h 1237129"/>
              <a:gd name="connsiteX2345" fmla="*/ 1843557 w 3751729"/>
              <a:gd name="connsiteY2345" fmla="*/ 139427 h 1237129"/>
              <a:gd name="connsiteX2346" fmla="*/ 1839373 w 3751729"/>
              <a:gd name="connsiteY2346" fmla="*/ 133519 h 1237129"/>
              <a:gd name="connsiteX2347" fmla="*/ 1836173 w 3751729"/>
              <a:gd name="connsiteY2347" fmla="*/ 126873 h 1237129"/>
              <a:gd name="connsiteX2348" fmla="*/ 1835434 w 3751729"/>
              <a:gd name="connsiteY2348" fmla="*/ 115058 h 1237129"/>
              <a:gd name="connsiteX2349" fmla="*/ 1836173 w 3751729"/>
              <a:gd name="connsiteY2349" fmla="*/ 105950 h 1237129"/>
              <a:gd name="connsiteX2350" fmla="*/ 1835434 w 3751729"/>
              <a:gd name="connsiteY2350" fmla="*/ 95858 h 1237129"/>
              <a:gd name="connsiteX2351" fmla="*/ 1833711 w 3751729"/>
              <a:gd name="connsiteY2351" fmla="*/ 84042 h 1237129"/>
              <a:gd name="connsiteX2352" fmla="*/ 1835434 w 3751729"/>
              <a:gd name="connsiteY2352" fmla="*/ 73950 h 1237129"/>
              <a:gd name="connsiteX2353" fmla="*/ 1842081 w 3751729"/>
              <a:gd name="connsiteY2353" fmla="*/ 58935 h 1237129"/>
              <a:gd name="connsiteX2354" fmla="*/ 1853649 w 3751729"/>
              <a:gd name="connsiteY2354" fmla="*/ 48843 h 1237129"/>
              <a:gd name="connsiteX2355" fmla="*/ 1865219 w 3751729"/>
              <a:gd name="connsiteY2355" fmla="*/ 37027 h 1237129"/>
              <a:gd name="connsiteX2356" fmla="*/ 1875065 w 3751729"/>
              <a:gd name="connsiteY2356" fmla="*/ 25212 h 1237129"/>
              <a:gd name="connsiteX2357" fmla="*/ 1882450 w 3751729"/>
              <a:gd name="connsiteY2357" fmla="*/ 11673 h 1237129"/>
              <a:gd name="connsiteX2358" fmla="*/ 1878265 w 3751729"/>
              <a:gd name="connsiteY2358" fmla="*/ 7489 h 1237129"/>
              <a:gd name="connsiteX2359" fmla="*/ 1874081 w 3751729"/>
              <a:gd name="connsiteY2359" fmla="*/ 3304 h 1237129"/>
              <a:gd name="connsiteX2360" fmla="*/ 1731537 w 3751729"/>
              <a:gd name="connsiteY2360" fmla="*/ 0 h 1237129"/>
              <a:gd name="connsiteX2361" fmla="*/ 1863626 w 3751729"/>
              <a:gd name="connsiteY2361" fmla="*/ 0 h 1237129"/>
              <a:gd name="connsiteX2362" fmla="*/ 1858327 w 3751729"/>
              <a:gd name="connsiteY2362" fmla="*/ 843 h 1237129"/>
              <a:gd name="connsiteX2363" fmla="*/ 1845034 w 3751729"/>
              <a:gd name="connsiteY2363" fmla="*/ 1582 h 1237129"/>
              <a:gd name="connsiteX2364" fmla="*/ 1840850 w 3751729"/>
              <a:gd name="connsiteY2364" fmla="*/ 22505 h 1237129"/>
              <a:gd name="connsiteX2365" fmla="*/ 1833465 w 3751729"/>
              <a:gd name="connsiteY2365" fmla="*/ 38504 h 1237129"/>
              <a:gd name="connsiteX2366" fmla="*/ 1823619 w 3751729"/>
              <a:gd name="connsiteY2366" fmla="*/ 52043 h 1237129"/>
              <a:gd name="connsiteX2367" fmla="*/ 1812050 w 3751729"/>
              <a:gd name="connsiteY2367" fmla="*/ 64596 h 1237129"/>
              <a:gd name="connsiteX2368" fmla="*/ 1801219 w 3751729"/>
              <a:gd name="connsiteY2368" fmla="*/ 79612 h 1237129"/>
              <a:gd name="connsiteX2369" fmla="*/ 1794573 w 3751729"/>
              <a:gd name="connsiteY2369" fmla="*/ 97335 h 1237129"/>
              <a:gd name="connsiteX2370" fmla="*/ 1789649 w 3751729"/>
              <a:gd name="connsiteY2370" fmla="*/ 117519 h 1237129"/>
              <a:gd name="connsiteX2371" fmla="*/ 1798758 w 3751729"/>
              <a:gd name="connsiteY2371" fmla="*/ 125150 h 1237129"/>
              <a:gd name="connsiteX2372" fmla="*/ 1807126 w 3751729"/>
              <a:gd name="connsiteY2372" fmla="*/ 133519 h 1237129"/>
              <a:gd name="connsiteX2373" fmla="*/ 1812788 w 3751729"/>
              <a:gd name="connsiteY2373" fmla="*/ 144350 h 1237129"/>
              <a:gd name="connsiteX2374" fmla="*/ 1815988 w 3751729"/>
              <a:gd name="connsiteY2374" fmla="*/ 156904 h 1237129"/>
              <a:gd name="connsiteX2375" fmla="*/ 1811804 w 3751729"/>
              <a:gd name="connsiteY2375" fmla="*/ 158626 h 1237129"/>
              <a:gd name="connsiteX2376" fmla="*/ 1810081 w 3751729"/>
              <a:gd name="connsiteY2376" fmla="*/ 160350 h 1237129"/>
              <a:gd name="connsiteX2377" fmla="*/ 1808357 w 3751729"/>
              <a:gd name="connsiteY2377" fmla="*/ 162073 h 1237129"/>
              <a:gd name="connsiteX2378" fmla="*/ 1808357 w 3751729"/>
              <a:gd name="connsiteY2378" fmla="*/ 162811 h 1237129"/>
              <a:gd name="connsiteX2379" fmla="*/ 1806634 w 3751729"/>
              <a:gd name="connsiteY2379" fmla="*/ 164535 h 1237129"/>
              <a:gd name="connsiteX2380" fmla="*/ 1806634 w 3751729"/>
              <a:gd name="connsiteY2380" fmla="*/ 167981 h 1237129"/>
              <a:gd name="connsiteX2381" fmla="*/ 1805896 w 3751729"/>
              <a:gd name="connsiteY2381" fmla="*/ 168719 h 1237129"/>
              <a:gd name="connsiteX2382" fmla="*/ 1786943 w 3751729"/>
              <a:gd name="connsiteY2382" fmla="*/ 176349 h 1237129"/>
              <a:gd name="connsiteX2383" fmla="*/ 1784481 w 3751729"/>
              <a:gd name="connsiteY2383" fmla="*/ 194073 h 1237129"/>
              <a:gd name="connsiteX2384" fmla="*/ 1778819 w 3751729"/>
              <a:gd name="connsiteY2384" fmla="*/ 207611 h 1237129"/>
              <a:gd name="connsiteX2385" fmla="*/ 1773158 w 3751729"/>
              <a:gd name="connsiteY2385" fmla="*/ 217703 h 1237129"/>
              <a:gd name="connsiteX2386" fmla="*/ 1764050 w 3751729"/>
              <a:gd name="connsiteY2386" fmla="*/ 226073 h 1237129"/>
              <a:gd name="connsiteX2387" fmla="*/ 1756666 w 3751729"/>
              <a:gd name="connsiteY2387" fmla="*/ 235180 h 1237129"/>
              <a:gd name="connsiteX2388" fmla="*/ 1750019 w 3751729"/>
              <a:gd name="connsiteY2388" fmla="*/ 246995 h 1237129"/>
              <a:gd name="connsiteX2389" fmla="*/ 1745097 w 3751729"/>
              <a:gd name="connsiteY2389" fmla="*/ 246995 h 1237129"/>
              <a:gd name="connsiteX2390" fmla="*/ 1745097 w 3751729"/>
              <a:gd name="connsiteY2390" fmla="*/ 243549 h 1237129"/>
              <a:gd name="connsiteX2391" fmla="*/ 1733527 w 3751729"/>
              <a:gd name="connsiteY2391" fmla="*/ 227549 h 1237129"/>
              <a:gd name="connsiteX2392" fmla="*/ 1726881 w 3751729"/>
              <a:gd name="connsiteY2392" fmla="*/ 209826 h 1237129"/>
              <a:gd name="connsiteX2393" fmla="*/ 1721958 w 3751729"/>
              <a:gd name="connsiteY2393" fmla="*/ 190626 h 1237129"/>
              <a:gd name="connsiteX2394" fmla="*/ 1713592 w 3751729"/>
              <a:gd name="connsiteY2394" fmla="*/ 168719 h 1237129"/>
              <a:gd name="connsiteX2395" fmla="*/ 1702022 w 3751729"/>
              <a:gd name="connsiteY2395" fmla="*/ 174627 h 1237129"/>
              <a:gd name="connsiteX2396" fmla="*/ 1694637 w 3751729"/>
              <a:gd name="connsiteY2396" fmla="*/ 182257 h 1237129"/>
              <a:gd name="connsiteX2397" fmla="*/ 1686269 w 3751729"/>
              <a:gd name="connsiteY2397" fmla="*/ 188165 h 1237129"/>
              <a:gd name="connsiteX2398" fmla="*/ 1677161 w 3751729"/>
              <a:gd name="connsiteY2398" fmla="*/ 192349 h 1237129"/>
              <a:gd name="connsiteX2399" fmla="*/ 1663130 w 3751729"/>
              <a:gd name="connsiteY2399" fmla="*/ 195795 h 1237129"/>
              <a:gd name="connsiteX2400" fmla="*/ 1661407 w 3751729"/>
              <a:gd name="connsiteY2400" fmla="*/ 194073 h 1237129"/>
              <a:gd name="connsiteX2401" fmla="*/ 1659684 w 3751729"/>
              <a:gd name="connsiteY2401" fmla="*/ 194073 h 1237129"/>
              <a:gd name="connsiteX2402" fmla="*/ 1658946 w 3751729"/>
              <a:gd name="connsiteY2402" fmla="*/ 194073 h 1237129"/>
              <a:gd name="connsiteX2403" fmla="*/ 1657223 w 3751729"/>
              <a:gd name="connsiteY2403" fmla="*/ 192349 h 1237129"/>
              <a:gd name="connsiteX2404" fmla="*/ 1654023 w 3751729"/>
              <a:gd name="connsiteY2404" fmla="*/ 192349 h 1237129"/>
              <a:gd name="connsiteX2405" fmla="*/ 1653285 w 3751729"/>
              <a:gd name="connsiteY2405" fmla="*/ 174627 h 1237129"/>
              <a:gd name="connsiteX2406" fmla="*/ 1651560 w 3751729"/>
              <a:gd name="connsiteY2406" fmla="*/ 160350 h 1237129"/>
              <a:gd name="connsiteX2407" fmla="*/ 1648361 w 3751729"/>
              <a:gd name="connsiteY2407" fmla="*/ 148534 h 1237129"/>
              <a:gd name="connsiteX2408" fmla="*/ 1645899 w 3751729"/>
              <a:gd name="connsiteY2408" fmla="*/ 134996 h 1237129"/>
              <a:gd name="connsiteX2409" fmla="*/ 1644176 w 3751729"/>
              <a:gd name="connsiteY2409" fmla="*/ 117273 h 1237129"/>
              <a:gd name="connsiteX2410" fmla="*/ 1651560 w 3751729"/>
              <a:gd name="connsiteY2410" fmla="*/ 109642 h 1237129"/>
              <a:gd name="connsiteX2411" fmla="*/ 1654023 w 3751729"/>
              <a:gd name="connsiteY2411" fmla="*/ 102997 h 1237129"/>
              <a:gd name="connsiteX2412" fmla="*/ 1655746 w 3751729"/>
              <a:gd name="connsiteY2412" fmla="*/ 93889 h 1237129"/>
              <a:gd name="connsiteX2413" fmla="*/ 1659931 w 3751729"/>
              <a:gd name="connsiteY2413" fmla="*/ 82074 h 1237129"/>
              <a:gd name="connsiteX2414" fmla="*/ 1663130 w 3751729"/>
              <a:gd name="connsiteY2414" fmla="*/ 79612 h 1237129"/>
              <a:gd name="connsiteX2415" fmla="*/ 1667315 w 3751729"/>
              <a:gd name="connsiteY2415" fmla="*/ 75428 h 1237129"/>
              <a:gd name="connsiteX2416" fmla="*/ 1671499 w 3751729"/>
              <a:gd name="connsiteY2416" fmla="*/ 70504 h 1237129"/>
              <a:gd name="connsiteX2417" fmla="*/ 1676422 w 3751729"/>
              <a:gd name="connsiteY2417" fmla="*/ 66319 h 1237129"/>
              <a:gd name="connsiteX2418" fmla="*/ 1678884 w 3751729"/>
              <a:gd name="connsiteY2418" fmla="*/ 68042 h 1237129"/>
              <a:gd name="connsiteX2419" fmla="*/ 1680607 w 3751729"/>
              <a:gd name="connsiteY2419" fmla="*/ 69765 h 1237129"/>
              <a:gd name="connsiteX2420" fmla="*/ 1682329 w 3751729"/>
              <a:gd name="connsiteY2420" fmla="*/ 70504 h 1237129"/>
              <a:gd name="connsiteX2421" fmla="*/ 1683068 w 3751729"/>
              <a:gd name="connsiteY2421" fmla="*/ 72227 h 1237129"/>
              <a:gd name="connsiteX2422" fmla="*/ 1686269 w 3751729"/>
              <a:gd name="connsiteY2422" fmla="*/ 69765 h 1237129"/>
              <a:gd name="connsiteX2423" fmla="*/ 1687991 w 3751729"/>
              <a:gd name="connsiteY2423" fmla="*/ 66319 h 1237129"/>
              <a:gd name="connsiteX2424" fmla="*/ 1688731 w 3751729"/>
              <a:gd name="connsiteY2424" fmla="*/ 63858 h 1237129"/>
              <a:gd name="connsiteX2425" fmla="*/ 1690453 w 3751729"/>
              <a:gd name="connsiteY2425" fmla="*/ 58935 h 1237129"/>
              <a:gd name="connsiteX2426" fmla="*/ 1692176 w 3751729"/>
              <a:gd name="connsiteY2426" fmla="*/ 56473 h 1237129"/>
              <a:gd name="connsiteX2427" fmla="*/ 1702022 w 3751729"/>
              <a:gd name="connsiteY2427" fmla="*/ 50566 h 1237129"/>
              <a:gd name="connsiteX2428" fmla="*/ 1710391 w 3751729"/>
              <a:gd name="connsiteY2428" fmla="*/ 47119 h 1237129"/>
              <a:gd name="connsiteX2429" fmla="*/ 1717775 w 3751729"/>
              <a:gd name="connsiteY2429" fmla="*/ 40473 h 1237129"/>
              <a:gd name="connsiteX2430" fmla="*/ 1715314 w 3751729"/>
              <a:gd name="connsiteY2430" fmla="*/ 38750 h 1237129"/>
              <a:gd name="connsiteX2431" fmla="*/ 1713592 w 3751729"/>
              <a:gd name="connsiteY2431" fmla="*/ 38750 h 1237129"/>
              <a:gd name="connsiteX2432" fmla="*/ 1711869 w 3751729"/>
              <a:gd name="connsiteY2432" fmla="*/ 38750 h 1237129"/>
              <a:gd name="connsiteX2433" fmla="*/ 1711869 w 3751729"/>
              <a:gd name="connsiteY2433" fmla="*/ 37027 h 1237129"/>
              <a:gd name="connsiteX2434" fmla="*/ 1711869 w 3751729"/>
              <a:gd name="connsiteY2434" fmla="*/ 34566 h 1237129"/>
              <a:gd name="connsiteX2435" fmla="*/ 1710146 w 3751729"/>
              <a:gd name="connsiteY2435" fmla="*/ 31120 h 1237129"/>
              <a:gd name="connsiteX2436" fmla="*/ 1720975 w 3751729"/>
              <a:gd name="connsiteY2436" fmla="*/ 17581 h 1237129"/>
              <a:gd name="connsiteX2437" fmla="*/ 1730820 w 3751729"/>
              <a:gd name="connsiteY2437" fmla="*/ 1582 h 1237129"/>
              <a:gd name="connsiteX2438" fmla="*/ 1335283 w 3751729"/>
              <a:gd name="connsiteY2438" fmla="*/ 0 h 1237129"/>
              <a:gd name="connsiteX2439" fmla="*/ 1355141 w 3751729"/>
              <a:gd name="connsiteY2439" fmla="*/ 0 h 1237129"/>
              <a:gd name="connsiteX2440" fmla="*/ 1357409 w 3751729"/>
              <a:gd name="connsiteY2440" fmla="*/ 4536 h 1237129"/>
              <a:gd name="connsiteX2441" fmla="*/ 1360609 w 3751729"/>
              <a:gd name="connsiteY2441" fmla="*/ 6998 h 1237129"/>
              <a:gd name="connsiteX2442" fmla="*/ 1363070 w 3751729"/>
              <a:gd name="connsiteY2442" fmla="*/ 12905 h 1237129"/>
              <a:gd name="connsiteX2443" fmla="*/ 1372178 w 3751729"/>
              <a:gd name="connsiteY2443" fmla="*/ 5521 h 1237129"/>
              <a:gd name="connsiteX2444" fmla="*/ 1380000 w 3751729"/>
              <a:gd name="connsiteY2444" fmla="*/ 0 h 1237129"/>
              <a:gd name="connsiteX2445" fmla="*/ 1394146 w 3751729"/>
              <a:gd name="connsiteY2445" fmla="*/ 0 h 1237129"/>
              <a:gd name="connsiteX2446" fmla="*/ 1396054 w 3751729"/>
              <a:gd name="connsiteY2446" fmla="*/ 1337 h 1237129"/>
              <a:gd name="connsiteX2447" fmla="*/ 1396054 w 3751729"/>
              <a:gd name="connsiteY2447" fmla="*/ 2812 h 1237129"/>
              <a:gd name="connsiteX2448" fmla="*/ 1397778 w 3751729"/>
              <a:gd name="connsiteY2448" fmla="*/ 2812 h 1237129"/>
              <a:gd name="connsiteX2449" fmla="*/ 1399501 w 3751729"/>
              <a:gd name="connsiteY2449" fmla="*/ 2812 h 1237129"/>
              <a:gd name="connsiteX2450" fmla="*/ 1401962 w 3751729"/>
              <a:gd name="connsiteY2450" fmla="*/ 2812 h 1237129"/>
              <a:gd name="connsiteX2451" fmla="*/ 1407235 w 3751729"/>
              <a:gd name="connsiteY2451" fmla="*/ 0 h 1237129"/>
              <a:gd name="connsiteX2452" fmla="*/ 1442331 w 3751729"/>
              <a:gd name="connsiteY2452" fmla="*/ 0 h 1237129"/>
              <a:gd name="connsiteX2453" fmla="*/ 1442331 w 3751729"/>
              <a:gd name="connsiteY2453" fmla="*/ 2812 h 1237129"/>
              <a:gd name="connsiteX2454" fmla="*/ 1442331 w 3751729"/>
              <a:gd name="connsiteY2454" fmla="*/ 6998 h 1237129"/>
              <a:gd name="connsiteX2455" fmla="*/ 1444054 w 3751729"/>
              <a:gd name="connsiteY2455" fmla="*/ 18813 h 1237129"/>
              <a:gd name="connsiteX2456" fmla="*/ 1445777 w 3751729"/>
              <a:gd name="connsiteY2456" fmla="*/ 32105 h 1237129"/>
              <a:gd name="connsiteX2457" fmla="*/ 1445777 w 3751729"/>
              <a:gd name="connsiteY2457" fmla="*/ 43674 h 1237129"/>
              <a:gd name="connsiteX2458" fmla="*/ 1429285 w 3751729"/>
              <a:gd name="connsiteY2458" fmla="*/ 52043 h 1237129"/>
              <a:gd name="connsiteX2459" fmla="*/ 1411070 w 3751729"/>
              <a:gd name="connsiteY2459" fmla="*/ 59428 h 1237129"/>
              <a:gd name="connsiteX2460" fmla="*/ 1393594 w 3751729"/>
              <a:gd name="connsiteY2460" fmla="*/ 67796 h 1237129"/>
              <a:gd name="connsiteX2461" fmla="*/ 1378824 w 3751729"/>
              <a:gd name="connsiteY2461" fmla="*/ 79612 h 1237129"/>
              <a:gd name="connsiteX2462" fmla="*/ 1374640 w 3751729"/>
              <a:gd name="connsiteY2462" fmla="*/ 77151 h 1237129"/>
              <a:gd name="connsiteX2463" fmla="*/ 1367255 w 3751729"/>
              <a:gd name="connsiteY2463" fmla="*/ 73705 h 1237129"/>
              <a:gd name="connsiteX2464" fmla="*/ 1357409 w 3751729"/>
              <a:gd name="connsiteY2464" fmla="*/ 67796 h 1237129"/>
              <a:gd name="connsiteX2465" fmla="*/ 1349040 w 3751729"/>
              <a:gd name="connsiteY2465" fmla="*/ 63612 h 1237129"/>
              <a:gd name="connsiteX2466" fmla="*/ 1341655 w 3751729"/>
              <a:gd name="connsiteY2466" fmla="*/ 59428 h 1237129"/>
              <a:gd name="connsiteX2467" fmla="*/ 1338209 w 3751729"/>
              <a:gd name="connsiteY2467" fmla="*/ 56228 h 1237129"/>
              <a:gd name="connsiteX2468" fmla="*/ 1339932 w 3751729"/>
              <a:gd name="connsiteY2468" fmla="*/ 55490 h 1237129"/>
              <a:gd name="connsiteX2469" fmla="*/ 1341655 w 3751729"/>
              <a:gd name="connsiteY2469" fmla="*/ 53766 h 1237129"/>
              <a:gd name="connsiteX2470" fmla="*/ 1343378 w 3751729"/>
              <a:gd name="connsiteY2470" fmla="*/ 52043 h 1237129"/>
              <a:gd name="connsiteX2471" fmla="*/ 1343378 w 3751729"/>
              <a:gd name="connsiteY2471" fmla="*/ 50320 h 1237129"/>
              <a:gd name="connsiteX2472" fmla="*/ 1344116 w 3751729"/>
              <a:gd name="connsiteY2472" fmla="*/ 47859 h 1237129"/>
              <a:gd name="connsiteX2473" fmla="*/ 1339932 w 3751729"/>
              <a:gd name="connsiteY2473" fmla="*/ 44658 h 1237129"/>
              <a:gd name="connsiteX2474" fmla="*/ 1334271 w 3751729"/>
              <a:gd name="connsiteY2474" fmla="*/ 43674 h 1237129"/>
              <a:gd name="connsiteX2475" fmla="*/ 1330086 w 3751729"/>
              <a:gd name="connsiteY2475" fmla="*/ 40474 h 1237129"/>
              <a:gd name="connsiteX2476" fmla="*/ 1325901 w 3751729"/>
              <a:gd name="connsiteY2476" fmla="*/ 38012 h 1237129"/>
              <a:gd name="connsiteX2477" fmla="*/ 1328363 w 3751729"/>
              <a:gd name="connsiteY2477" fmla="*/ 38012 h 1237129"/>
              <a:gd name="connsiteX2478" fmla="*/ 1331809 w 3751729"/>
              <a:gd name="connsiteY2478" fmla="*/ 34567 h 1237129"/>
              <a:gd name="connsiteX2479" fmla="*/ 1332547 w 3751729"/>
              <a:gd name="connsiteY2479" fmla="*/ 32844 h 1237129"/>
              <a:gd name="connsiteX2480" fmla="*/ 1334271 w 3751729"/>
              <a:gd name="connsiteY2480" fmla="*/ 32844 h 1237129"/>
              <a:gd name="connsiteX2481" fmla="*/ 1335747 w 3751729"/>
              <a:gd name="connsiteY2481" fmla="*/ 32105 h 1237129"/>
              <a:gd name="connsiteX2482" fmla="*/ 1339932 w 3751729"/>
              <a:gd name="connsiteY2482" fmla="*/ 32105 h 1237129"/>
              <a:gd name="connsiteX2483" fmla="*/ 1344116 w 3751729"/>
              <a:gd name="connsiteY2483" fmla="*/ 32105 h 1237129"/>
              <a:gd name="connsiteX2484" fmla="*/ 1344116 w 3751729"/>
              <a:gd name="connsiteY2484" fmla="*/ 21275 h 1237129"/>
              <a:gd name="connsiteX2485" fmla="*/ 1322701 w 3751729"/>
              <a:gd name="connsiteY2485" fmla="*/ 21275 h 1237129"/>
              <a:gd name="connsiteX2486" fmla="*/ 1318517 w 3751729"/>
              <a:gd name="connsiteY2486" fmla="*/ 12905 h 1237129"/>
              <a:gd name="connsiteX2487" fmla="*/ 1325901 w 3751729"/>
              <a:gd name="connsiteY2487" fmla="*/ 6998 h 1237129"/>
              <a:gd name="connsiteX2488" fmla="*/ 1331809 w 3751729"/>
              <a:gd name="connsiteY2488" fmla="*/ 1337 h 1237129"/>
              <a:gd name="connsiteX2489" fmla="*/ 994515 w 3751729"/>
              <a:gd name="connsiteY2489" fmla="*/ 0 h 1237129"/>
              <a:gd name="connsiteX2490" fmla="*/ 1240498 w 3751729"/>
              <a:gd name="connsiteY2490" fmla="*/ 0 h 1237129"/>
              <a:gd name="connsiteX2491" fmla="*/ 1238272 w 3751729"/>
              <a:gd name="connsiteY2491" fmla="*/ 6013 h 1237129"/>
              <a:gd name="connsiteX2492" fmla="*/ 1230887 w 3751729"/>
              <a:gd name="connsiteY2492" fmla="*/ 13644 h 1237129"/>
              <a:gd name="connsiteX2493" fmla="*/ 1218579 w 3751729"/>
              <a:gd name="connsiteY2493" fmla="*/ 22012 h 1237129"/>
              <a:gd name="connsiteX2494" fmla="*/ 1202088 w 3751729"/>
              <a:gd name="connsiteY2494" fmla="*/ 29643 h 1237129"/>
              <a:gd name="connsiteX2495" fmla="*/ 1188057 w 3751729"/>
              <a:gd name="connsiteY2495" fmla="*/ 35551 h 1237129"/>
              <a:gd name="connsiteX2496" fmla="*/ 1174765 w 3751729"/>
              <a:gd name="connsiteY2496" fmla="*/ 38997 h 1237129"/>
              <a:gd name="connsiteX2497" fmla="*/ 1174765 w 3751729"/>
              <a:gd name="connsiteY2497" fmla="*/ 35551 h 1237129"/>
              <a:gd name="connsiteX2498" fmla="*/ 1174765 w 3751729"/>
              <a:gd name="connsiteY2498" fmla="*/ 33089 h 1237129"/>
              <a:gd name="connsiteX2499" fmla="*/ 1173042 w 3751729"/>
              <a:gd name="connsiteY2499" fmla="*/ 33089 h 1237129"/>
              <a:gd name="connsiteX2500" fmla="*/ 1173042 w 3751729"/>
              <a:gd name="connsiteY2500" fmla="*/ 31367 h 1237129"/>
              <a:gd name="connsiteX2501" fmla="*/ 1172304 w 3751729"/>
              <a:gd name="connsiteY2501" fmla="*/ 29643 h 1237129"/>
              <a:gd name="connsiteX2502" fmla="*/ 1170580 w 3751729"/>
              <a:gd name="connsiteY2502" fmla="*/ 41458 h 1237129"/>
              <a:gd name="connsiteX2503" fmla="*/ 1166396 w 3751729"/>
              <a:gd name="connsiteY2503" fmla="*/ 51551 h 1237129"/>
              <a:gd name="connsiteX2504" fmla="*/ 1163196 w 3751729"/>
              <a:gd name="connsiteY2504" fmla="*/ 60658 h 1237129"/>
              <a:gd name="connsiteX2505" fmla="*/ 1159011 w 3751729"/>
              <a:gd name="connsiteY2505" fmla="*/ 69027 h 1237129"/>
              <a:gd name="connsiteX2506" fmla="*/ 1155811 w 3751729"/>
              <a:gd name="connsiteY2506" fmla="*/ 80844 h 1237129"/>
              <a:gd name="connsiteX2507" fmla="*/ 1159011 w 3751729"/>
              <a:gd name="connsiteY2507" fmla="*/ 82566 h 1237129"/>
              <a:gd name="connsiteX2508" fmla="*/ 1159011 w 3751729"/>
              <a:gd name="connsiteY2508" fmla="*/ 84289 h 1237129"/>
              <a:gd name="connsiteX2509" fmla="*/ 1160735 w 3751729"/>
              <a:gd name="connsiteY2509" fmla="*/ 84289 h 1237129"/>
              <a:gd name="connsiteX2510" fmla="*/ 1160735 w 3751729"/>
              <a:gd name="connsiteY2510" fmla="*/ 86012 h 1237129"/>
              <a:gd name="connsiteX2511" fmla="*/ 1159011 w 3751729"/>
              <a:gd name="connsiteY2511" fmla="*/ 86750 h 1237129"/>
              <a:gd name="connsiteX2512" fmla="*/ 1155811 w 3751729"/>
              <a:gd name="connsiteY2512" fmla="*/ 90197 h 1237129"/>
              <a:gd name="connsiteX2513" fmla="*/ 1153350 w 3751729"/>
              <a:gd name="connsiteY2513" fmla="*/ 91920 h 1237129"/>
              <a:gd name="connsiteX2514" fmla="*/ 1150889 w 3751729"/>
              <a:gd name="connsiteY2514" fmla="*/ 94381 h 1237129"/>
              <a:gd name="connsiteX2515" fmla="*/ 1147689 w 3751729"/>
              <a:gd name="connsiteY2515" fmla="*/ 96104 h 1237129"/>
              <a:gd name="connsiteX2516" fmla="*/ 1145965 w 3751729"/>
              <a:gd name="connsiteY2516" fmla="*/ 98566 h 1237129"/>
              <a:gd name="connsiteX2517" fmla="*/ 1143504 w 3751729"/>
              <a:gd name="connsiteY2517" fmla="*/ 102750 h 1237129"/>
              <a:gd name="connsiteX2518" fmla="*/ 1137597 w 3751729"/>
              <a:gd name="connsiteY2518" fmla="*/ 119489 h 1237129"/>
              <a:gd name="connsiteX2519" fmla="*/ 1133412 w 3751729"/>
              <a:gd name="connsiteY2519" fmla="*/ 136966 h 1237129"/>
              <a:gd name="connsiteX2520" fmla="*/ 1131688 w 3751729"/>
              <a:gd name="connsiteY2520" fmla="*/ 157150 h 1237129"/>
              <a:gd name="connsiteX2521" fmla="*/ 1128489 w 3751729"/>
              <a:gd name="connsiteY2521" fmla="*/ 176350 h 1237129"/>
              <a:gd name="connsiteX2522" fmla="*/ 1124305 w 3751729"/>
              <a:gd name="connsiteY2522" fmla="*/ 193826 h 1237129"/>
              <a:gd name="connsiteX2523" fmla="*/ 1121842 w 3751729"/>
              <a:gd name="connsiteY2523" fmla="*/ 192104 h 1237129"/>
              <a:gd name="connsiteX2524" fmla="*/ 1120119 w 3751729"/>
              <a:gd name="connsiteY2524" fmla="*/ 192104 h 1237129"/>
              <a:gd name="connsiteX2525" fmla="*/ 1120119 w 3751729"/>
              <a:gd name="connsiteY2525" fmla="*/ 190380 h 1237129"/>
              <a:gd name="connsiteX2526" fmla="*/ 1118396 w 3751729"/>
              <a:gd name="connsiteY2526" fmla="*/ 190380 h 1237129"/>
              <a:gd name="connsiteX2527" fmla="*/ 1114212 w 3751729"/>
              <a:gd name="connsiteY2527" fmla="*/ 187919 h 1237129"/>
              <a:gd name="connsiteX2528" fmla="*/ 1106828 w 3751729"/>
              <a:gd name="connsiteY2528" fmla="*/ 182012 h 1237129"/>
              <a:gd name="connsiteX2529" fmla="*/ 1095258 w 3751729"/>
              <a:gd name="connsiteY2529" fmla="*/ 172903 h 1237129"/>
              <a:gd name="connsiteX2530" fmla="*/ 1081966 w 3751729"/>
              <a:gd name="connsiteY2530" fmla="*/ 165273 h 1237129"/>
              <a:gd name="connsiteX2531" fmla="*/ 1069658 w 3751729"/>
              <a:gd name="connsiteY2531" fmla="*/ 156904 h 1237129"/>
              <a:gd name="connsiteX2532" fmla="*/ 1059813 w 3751729"/>
              <a:gd name="connsiteY2532" fmla="*/ 149273 h 1237129"/>
              <a:gd name="connsiteX2533" fmla="*/ 1050706 w 3751729"/>
              <a:gd name="connsiteY2533" fmla="*/ 145088 h 1237129"/>
              <a:gd name="connsiteX2534" fmla="*/ 1048243 w 3751729"/>
              <a:gd name="connsiteY2534" fmla="*/ 143366 h 1237129"/>
              <a:gd name="connsiteX2535" fmla="*/ 1045043 w 3751729"/>
              <a:gd name="connsiteY2535" fmla="*/ 111612 h 1237129"/>
              <a:gd name="connsiteX2536" fmla="*/ 1043320 w 3751729"/>
              <a:gd name="connsiteY2536" fmla="*/ 108166 h 1237129"/>
              <a:gd name="connsiteX2537" fmla="*/ 1039136 w 3751729"/>
              <a:gd name="connsiteY2537" fmla="*/ 105705 h 1237129"/>
              <a:gd name="connsiteX2538" fmla="*/ 1036674 w 3751729"/>
              <a:gd name="connsiteY2538" fmla="*/ 103982 h 1237129"/>
              <a:gd name="connsiteX2539" fmla="*/ 1031751 w 3751729"/>
              <a:gd name="connsiteY2539" fmla="*/ 100535 h 1237129"/>
              <a:gd name="connsiteX2540" fmla="*/ 1029290 w 3751729"/>
              <a:gd name="connsiteY2540" fmla="*/ 98074 h 1237129"/>
              <a:gd name="connsiteX2541" fmla="*/ 1031751 w 3751729"/>
              <a:gd name="connsiteY2541" fmla="*/ 96351 h 1237129"/>
              <a:gd name="connsiteX2542" fmla="*/ 1031751 w 3751729"/>
              <a:gd name="connsiteY2542" fmla="*/ 94628 h 1237129"/>
              <a:gd name="connsiteX2543" fmla="*/ 1033474 w 3751729"/>
              <a:gd name="connsiteY2543" fmla="*/ 93889 h 1237129"/>
              <a:gd name="connsiteX2544" fmla="*/ 1035197 w 3751729"/>
              <a:gd name="connsiteY2544" fmla="*/ 90443 h 1237129"/>
              <a:gd name="connsiteX2545" fmla="*/ 1036919 w 3751729"/>
              <a:gd name="connsiteY2545" fmla="*/ 87982 h 1237129"/>
              <a:gd name="connsiteX2546" fmla="*/ 1029536 w 3751729"/>
              <a:gd name="connsiteY2546" fmla="*/ 87982 h 1237129"/>
              <a:gd name="connsiteX2547" fmla="*/ 1025351 w 3751729"/>
              <a:gd name="connsiteY2547" fmla="*/ 87982 h 1237129"/>
              <a:gd name="connsiteX2548" fmla="*/ 1022152 w 3751729"/>
              <a:gd name="connsiteY2548" fmla="*/ 87982 h 1237129"/>
              <a:gd name="connsiteX2549" fmla="*/ 1020428 w 3751729"/>
              <a:gd name="connsiteY2549" fmla="*/ 86258 h 1237129"/>
              <a:gd name="connsiteX2550" fmla="*/ 1019689 w 3751729"/>
              <a:gd name="connsiteY2550" fmla="*/ 83797 h 1237129"/>
              <a:gd name="connsiteX2551" fmla="*/ 1016489 w 3751729"/>
              <a:gd name="connsiteY2551" fmla="*/ 78873 h 1237129"/>
              <a:gd name="connsiteX2552" fmla="*/ 1014766 w 3751729"/>
              <a:gd name="connsiteY2552" fmla="*/ 76413 h 1237129"/>
              <a:gd name="connsiteX2553" fmla="*/ 1014766 w 3751729"/>
              <a:gd name="connsiteY2553" fmla="*/ 72966 h 1237129"/>
              <a:gd name="connsiteX2554" fmla="*/ 1014766 w 3751729"/>
              <a:gd name="connsiteY2554" fmla="*/ 72227 h 1237129"/>
              <a:gd name="connsiteX2555" fmla="*/ 1014766 w 3751729"/>
              <a:gd name="connsiteY2555" fmla="*/ 68782 h 1237129"/>
              <a:gd name="connsiteX2556" fmla="*/ 1016489 w 3751729"/>
              <a:gd name="connsiteY2556" fmla="*/ 66320 h 1237129"/>
              <a:gd name="connsiteX2557" fmla="*/ 1016489 w 3751729"/>
              <a:gd name="connsiteY2557" fmla="*/ 62874 h 1237129"/>
              <a:gd name="connsiteX2558" fmla="*/ 1008119 w 3751729"/>
              <a:gd name="connsiteY2558" fmla="*/ 62874 h 1237129"/>
              <a:gd name="connsiteX2559" fmla="*/ 1008119 w 3751729"/>
              <a:gd name="connsiteY2559" fmla="*/ 58690 h 1237129"/>
              <a:gd name="connsiteX2560" fmla="*/ 1008859 w 3751729"/>
              <a:gd name="connsiteY2560" fmla="*/ 54505 h 1237129"/>
              <a:gd name="connsiteX2561" fmla="*/ 1010582 w 3751729"/>
              <a:gd name="connsiteY2561" fmla="*/ 52782 h 1237129"/>
              <a:gd name="connsiteX2562" fmla="*/ 1010582 w 3751729"/>
              <a:gd name="connsiteY2562" fmla="*/ 49828 h 1237129"/>
              <a:gd name="connsiteX2563" fmla="*/ 1012305 w 3751729"/>
              <a:gd name="connsiteY2563" fmla="*/ 47366 h 1237129"/>
              <a:gd name="connsiteX2564" fmla="*/ 1014028 w 3751729"/>
              <a:gd name="connsiteY2564" fmla="*/ 43181 h 1237129"/>
              <a:gd name="connsiteX2565" fmla="*/ 1009104 w 3751729"/>
              <a:gd name="connsiteY2565" fmla="*/ 43181 h 1237129"/>
              <a:gd name="connsiteX2566" fmla="*/ 1004182 w 3751729"/>
              <a:gd name="connsiteY2566" fmla="*/ 43181 h 1237129"/>
              <a:gd name="connsiteX2567" fmla="*/ 1001720 w 3751729"/>
              <a:gd name="connsiteY2567" fmla="*/ 41458 h 1237129"/>
              <a:gd name="connsiteX2568" fmla="*/ 996797 w 3751729"/>
              <a:gd name="connsiteY2568" fmla="*/ 39735 h 1237129"/>
              <a:gd name="connsiteX2569" fmla="*/ 996059 w 3751729"/>
              <a:gd name="connsiteY2569" fmla="*/ 18075 h 1237129"/>
              <a:gd name="connsiteX2570" fmla="*/ 864598 w 3751729"/>
              <a:gd name="connsiteY2570" fmla="*/ 0 h 1237129"/>
              <a:gd name="connsiteX2571" fmla="*/ 901871 w 3751729"/>
              <a:gd name="connsiteY2571" fmla="*/ 0 h 1237129"/>
              <a:gd name="connsiteX2572" fmla="*/ 899566 w 3751729"/>
              <a:gd name="connsiteY2572" fmla="*/ 15368 h 1237129"/>
              <a:gd name="connsiteX2573" fmla="*/ 895383 w 3751729"/>
              <a:gd name="connsiteY2573" fmla="*/ 17090 h 1237129"/>
              <a:gd name="connsiteX2574" fmla="*/ 890459 w 3751729"/>
              <a:gd name="connsiteY2574" fmla="*/ 17090 h 1237129"/>
              <a:gd name="connsiteX2575" fmla="*/ 886521 w 3751729"/>
              <a:gd name="connsiteY2575" fmla="*/ 17829 h 1237129"/>
              <a:gd name="connsiteX2576" fmla="*/ 880613 w 3751729"/>
              <a:gd name="connsiteY2576" fmla="*/ 17829 h 1237129"/>
              <a:gd name="connsiteX2577" fmla="*/ 874951 w 3751729"/>
              <a:gd name="connsiteY2577" fmla="*/ 11183 h 1237129"/>
              <a:gd name="connsiteX2578" fmla="*/ 867321 w 3751729"/>
              <a:gd name="connsiteY2578" fmla="*/ 3552 h 1237129"/>
              <a:gd name="connsiteX2579" fmla="*/ 769123 w 3751729"/>
              <a:gd name="connsiteY2579" fmla="*/ 0 h 1237129"/>
              <a:gd name="connsiteX2580" fmla="*/ 842019 w 3751729"/>
              <a:gd name="connsiteY2580" fmla="*/ 0 h 1237129"/>
              <a:gd name="connsiteX2581" fmla="*/ 845906 w 3751729"/>
              <a:gd name="connsiteY2581" fmla="*/ 11921 h 1237129"/>
              <a:gd name="connsiteX2582" fmla="*/ 851813 w 3751729"/>
              <a:gd name="connsiteY2582" fmla="*/ 37275 h 1237129"/>
              <a:gd name="connsiteX2583" fmla="*/ 861659 w 3751729"/>
              <a:gd name="connsiteY2583" fmla="*/ 37275 h 1237129"/>
              <a:gd name="connsiteX2584" fmla="*/ 867321 w 3751729"/>
              <a:gd name="connsiteY2584" fmla="*/ 48845 h 1237129"/>
              <a:gd name="connsiteX2585" fmla="*/ 872244 w 3751729"/>
              <a:gd name="connsiteY2585" fmla="*/ 60660 h 1237129"/>
              <a:gd name="connsiteX2586" fmla="*/ 873228 w 3751729"/>
              <a:gd name="connsiteY2586" fmla="*/ 76660 h 1237129"/>
              <a:gd name="connsiteX2587" fmla="*/ 872244 w 3751729"/>
              <a:gd name="connsiteY2587" fmla="*/ 78383 h 1237129"/>
              <a:gd name="connsiteX2588" fmla="*/ 870767 w 3751729"/>
              <a:gd name="connsiteY2588" fmla="*/ 79859 h 1237129"/>
              <a:gd name="connsiteX2589" fmla="*/ 870767 w 3751729"/>
              <a:gd name="connsiteY2589" fmla="*/ 81582 h 1237129"/>
              <a:gd name="connsiteX2590" fmla="*/ 869044 w 3751729"/>
              <a:gd name="connsiteY2590" fmla="*/ 82567 h 1237129"/>
              <a:gd name="connsiteX2591" fmla="*/ 867321 w 3751729"/>
              <a:gd name="connsiteY2591" fmla="*/ 84290 h 1237129"/>
              <a:gd name="connsiteX2592" fmla="*/ 864858 w 3751729"/>
              <a:gd name="connsiteY2592" fmla="*/ 85767 h 1237129"/>
              <a:gd name="connsiteX2593" fmla="*/ 859198 w 3751729"/>
              <a:gd name="connsiteY2593" fmla="*/ 82567 h 1237129"/>
              <a:gd name="connsiteX2594" fmla="*/ 851813 w 3751729"/>
              <a:gd name="connsiteY2594" fmla="*/ 78383 h 1237129"/>
              <a:gd name="connsiteX2595" fmla="*/ 844182 w 3751729"/>
              <a:gd name="connsiteY2595" fmla="*/ 74198 h 1237129"/>
              <a:gd name="connsiteX2596" fmla="*/ 838521 w 3751729"/>
              <a:gd name="connsiteY2596" fmla="*/ 70752 h 1237129"/>
              <a:gd name="connsiteX2597" fmla="*/ 836060 w 3751729"/>
              <a:gd name="connsiteY2597" fmla="*/ 70013 h 1237129"/>
              <a:gd name="connsiteX2598" fmla="*/ 833598 w 3751729"/>
              <a:gd name="connsiteY2598" fmla="*/ 70013 h 1237129"/>
              <a:gd name="connsiteX2599" fmla="*/ 841721 w 3751729"/>
              <a:gd name="connsiteY2599" fmla="*/ 81582 h 1237129"/>
              <a:gd name="connsiteX2600" fmla="*/ 849352 w 3751729"/>
              <a:gd name="connsiteY2600" fmla="*/ 91675 h 1237129"/>
              <a:gd name="connsiteX2601" fmla="*/ 855013 w 3751729"/>
              <a:gd name="connsiteY2601" fmla="*/ 104229 h 1237129"/>
              <a:gd name="connsiteX2602" fmla="*/ 851813 w 3751729"/>
              <a:gd name="connsiteY2602" fmla="*/ 104229 h 1237129"/>
              <a:gd name="connsiteX2603" fmla="*/ 841721 w 3751729"/>
              <a:gd name="connsiteY2603" fmla="*/ 100044 h 1237129"/>
              <a:gd name="connsiteX2604" fmla="*/ 828674 w 3751729"/>
              <a:gd name="connsiteY2604" fmla="*/ 97582 h 1237129"/>
              <a:gd name="connsiteX2605" fmla="*/ 814644 w 3751729"/>
              <a:gd name="connsiteY2605" fmla="*/ 94136 h 1237129"/>
              <a:gd name="connsiteX2606" fmla="*/ 804551 w 3751729"/>
              <a:gd name="connsiteY2606" fmla="*/ 88475 h 1237129"/>
              <a:gd name="connsiteX2607" fmla="*/ 795689 w 3751729"/>
              <a:gd name="connsiteY2607" fmla="*/ 79859 h 1237129"/>
              <a:gd name="connsiteX2608" fmla="*/ 789782 w 3751729"/>
              <a:gd name="connsiteY2608" fmla="*/ 66567 h 1237129"/>
              <a:gd name="connsiteX2609" fmla="*/ 784121 w 3751729"/>
              <a:gd name="connsiteY2609" fmla="*/ 54752 h 1237129"/>
              <a:gd name="connsiteX2610" fmla="*/ 775751 w 3751729"/>
              <a:gd name="connsiteY2610" fmla="*/ 43183 h 1237129"/>
              <a:gd name="connsiteX2611" fmla="*/ 766644 w 3751729"/>
              <a:gd name="connsiteY2611" fmla="*/ 34568 h 1237129"/>
              <a:gd name="connsiteX2612" fmla="*/ 754336 w 3751729"/>
              <a:gd name="connsiteY2612" fmla="*/ 41460 h 1237129"/>
              <a:gd name="connsiteX2613" fmla="*/ 739321 w 3751729"/>
              <a:gd name="connsiteY2613" fmla="*/ 46383 h 1237129"/>
              <a:gd name="connsiteX2614" fmla="*/ 722090 w 3751729"/>
              <a:gd name="connsiteY2614" fmla="*/ 47368 h 1237129"/>
              <a:gd name="connsiteX2615" fmla="*/ 720368 w 3751729"/>
              <a:gd name="connsiteY2615" fmla="*/ 43183 h 1237129"/>
              <a:gd name="connsiteX2616" fmla="*/ 719628 w 3751729"/>
              <a:gd name="connsiteY2616" fmla="*/ 38998 h 1237129"/>
              <a:gd name="connsiteX2617" fmla="*/ 719628 w 3751729"/>
              <a:gd name="connsiteY2617" fmla="*/ 34568 h 1237129"/>
              <a:gd name="connsiteX2618" fmla="*/ 719628 w 3751729"/>
              <a:gd name="connsiteY2618" fmla="*/ 28906 h 1237129"/>
              <a:gd name="connsiteX2619" fmla="*/ 731937 w 3751729"/>
              <a:gd name="connsiteY2619" fmla="*/ 23737 h 1237129"/>
              <a:gd name="connsiteX2620" fmla="*/ 748428 w 3751729"/>
              <a:gd name="connsiteY2620" fmla="*/ 19552 h 1237129"/>
              <a:gd name="connsiteX2621" fmla="*/ 762460 w 3751729"/>
              <a:gd name="connsiteY2621" fmla="*/ 15368 h 1237129"/>
              <a:gd name="connsiteX2622" fmla="*/ 766644 w 3751729"/>
              <a:gd name="connsiteY2622" fmla="*/ 6998 h 1237129"/>
              <a:gd name="connsiteX2623" fmla="*/ 0 w 3751729"/>
              <a:gd name="connsiteY2623" fmla="*/ 0 h 1237129"/>
              <a:gd name="connsiteX2624" fmla="*/ 611304 w 3751729"/>
              <a:gd name="connsiteY2624" fmla="*/ 0 h 1237129"/>
              <a:gd name="connsiteX2625" fmla="*/ 611815 w 3751729"/>
              <a:gd name="connsiteY2625" fmla="*/ 1336 h 1237129"/>
              <a:gd name="connsiteX2626" fmla="*/ 610093 w 3751729"/>
              <a:gd name="connsiteY2626" fmla="*/ 10444 h 1237129"/>
              <a:gd name="connsiteX2627" fmla="*/ 608368 w 3751729"/>
              <a:gd name="connsiteY2627" fmla="*/ 24721 h 1237129"/>
              <a:gd name="connsiteX2628" fmla="*/ 600984 w 3751729"/>
              <a:gd name="connsiteY2628" fmla="*/ 24721 h 1237129"/>
              <a:gd name="connsiteX2629" fmla="*/ 591138 w 3751729"/>
              <a:gd name="connsiteY2629" fmla="*/ 18813 h 1237129"/>
              <a:gd name="connsiteX2630" fmla="*/ 577108 w 3751729"/>
              <a:gd name="connsiteY2630" fmla="*/ 15367 h 1237129"/>
              <a:gd name="connsiteX2631" fmla="*/ 577108 w 3751729"/>
              <a:gd name="connsiteY2631" fmla="*/ 18567 h 1237129"/>
              <a:gd name="connsiteX2632" fmla="*/ 579569 w 3751729"/>
              <a:gd name="connsiteY2632" fmla="*/ 18567 h 1237129"/>
              <a:gd name="connsiteX2633" fmla="*/ 582769 w 3751729"/>
              <a:gd name="connsiteY2633" fmla="*/ 21028 h 1237129"/>
              <a:gd name="connsiteX2634" fmla="*/ 584492 w 3751729"/>
              <a:gd name="connsiteY2634" fmla="*/ 22751 h 1237129"/>
              <a:gd name="connsiteX2635" fmla="*/ 585230 w 3751729"/>
              <a:gd name="connsiteY2635" fmla="*/ 24474 h 1237129"/>
              <a:gd name="connsiteX2636" fmla="*/ 586954 w 3751729"/>
              <a:gd name="connsiteY2636" fmla="*/ 26197 h 1237129"/>
              <a:gd name="connsiteX2637" fmla="*/ 588677 w 3751729"/>
              <a:gd name="connsiteY2637" fmla="*/ 30382 h 1237129"/>
              <a:gd name="connsiteX2638" fmla="*/ 588677 w 3751729"/>
              <a:gd name="connsiteY2638" fmla="*/ 34567 h 1237129"/>
              <a:gd name="connsiteX2639" fmla="*/ 586954 w 3751729"/>
              <a:gd name="connsiteY2639" fmla="*/ 38012 h 1237129"/>
              <a:gd name="connsiteX2640" fmla="*/ 584492 w 3751729"/>
              <a:gd name="connsiteY2640" fmla="*/ 40474 h 1237129"/>
              <a:gd name="connsiteX2641" fmla="*/ 582769 w 3751729"/>
              <a:gd name="connsiteY2641" fmla="*/ 43921 h 1237129"/>
              <a:gd name="connsiteX2642" fmla="*/ 575384 w 3751729"/>
              <a:gd name="connsiteY2642" fmla="*/ 49828 h 1237129"/>
              <a:gd name="connsiteX2643" fmla="*/ 569722 w 3751729"/>
              <a:gd name="connsiteY2643" fmla="*/ 55735 h 1237129"/>
              <a:gd name="connsiteX2644" fmla="*/ 567262 w 3751729"/>
              <a:gd name="connsiteY2644" fmla="*/ 62381 h 1237129"/>
              <a:gd name="connsiteX2645" fmla="*/ 564061 w 3751729"/>
              <a:gd name="connsiteY2645" fmla="*/ 73213 h 1237129"/>
              <a:gd name="connsiteX2646" fmla="*/ 558400 w 3751729"/>
              <a:gd name="connsiteY2646" fmla="*/ 73213 h 1237129"/>
              <a:gd name="connsiteX2647" fmla="*/ 554215 w 3751729"/>
              <a:gd name="connsiteY2647" fmla="*/ 71489 h 1237129"/>
              <a:gd name="connsiteX2648" fmla="*/ 550031 w 3751729"/>
              <a:gd name="connsiteY2648" fmla="*/ 69766 h 1237129"/>
              <a:gd name="connsiteX2649" fmla="*/ 546830 w 3751729"/>
              <a:gd name="connsiteY2649" fmla="*/ 68043 h 1237129"/>
              <a:gd name="connsiteX2650" fmla="*/ 541169 w 3751729"/>
              <a:gd name="connsiteY2650" fmla="*/ 67305 h 1237129"/>
              <a:gd name="connsiteX2651" fmla="*/ 541169 w 3751729"/>
              <a:gd name="connsiteY2651" fmla="*/ 69766 h 1237129"/>
              <a:gd name="connsiteX2652" fmla="*/ 548554 w 3751729"/>
              <a:gd name="connsiteY2652" fmla="*/ 69766 h 1237129"/>
              <a:gd name="connsiteX2653" fmla="*/ 550277 w 3751729"/>
              <a:gd name="connsiteY2653" fmla="*/ 73213 h 1237129"/>
              <a:gd name="connsiteX2654" fmla="*/ 551015 w 3751729"/>
              <a:gd name="connsiteY2654" fmla="*/ 75673 h 1237129"/>
              <a:gd name="connsiteX2655" fmla="*/ 552739 w 3751729"/>
              <a:gd name="connsiteY2655" fmla="*/ 77397 h 1237129"/>
              <a:gd name="connsiteX2656" fmla="*/ 552739 w 3751729"/>
              <a:gd name="connsiteY2656" fmla="*/ 79858 h 1237129"/>
              <a:gd name="connsiteX2657" fmla="*/ 554461 w 3751729"/>
              <a:gd name="connsiteY2657" fmla="*/ 84782 h 1237129"/>
              <a:gd name="connsiteX2658" fmla="*/ 554461 w 3751729"/>
              <a:gd name="connsiteY2658" fmla="*/ 88966 h 1237129"/>
              <a:gd name="connsiteX2659" fmla="*/ 541169 w 3751729"/>
              <a:gd name="connsiteY2659" fmla="*/ 93151 h 1237129"/>
              <a:gd name="connsiteX2660" fmla="*/ 529601 w 3751729"/>
              <a:gd name="connsiteY2660" fmla="*/ 100535 h 1237129"/>
              <a:gd name="connsiteX2661" fmla="*/ 522216 w 3751729"/>
              <a:gd name="connsiteY2661" fmla="*/ 108904 h 1237129"/>
              <a:gd name="connsiteX2662" fmla="*/ 517292 w 3751729"/>
              <a:gd name="connsiteY2662" fmla="*/ 122196 h 1237129"/>
              <a:gd name="connsiteX2663" fmla="*/ 517292 w 3751729"/>
              <a:gd name="connsiteY2663" fmla="*/ 141397 h 1237129"/>
              <a:gd name="connsiteX2664" fmla="*/ 522216 w 3751729"/>
              <a:gd name="connsiteY2664" fmla="*/ 152966 h 1237129"/>
              <a:gd name="connsiteX2665" fmla="*/ 525416 w 3751729"/>
              <a:gd name="connsiteY2665" fmla="*/ 168719 h 1237129"/>
              <a:gd name="connsiteX2666" fmla="*/ 525416 w 3751729"/>
              <a:gd name="connsiteY2666" fmla="*/ 184473 h 1237129"/>
              <a:gd name="connsiteX2667" fmla="*/ 541169 w 3751729"/>
              <a:gd name="connsiteY2667" fmla="*/ 184473 h 1237129"/>
              <a:gd name="connsiteX2668" fmla="*/ 541169 w 3751729"/>
              <a:gd name="connsiteY2668" fmla="*/ 191857 h 1237129"/>
              <a:gd name="connsiteX2669" fmla="*/ 544369 w 3751729"/>
              <a:gd name="connsiteY2669" fmla="*/ 194320 h 1237129"/>
              <a:gd name="connsiteX2670" fmla="*/ 544369 w 3751729"/>
              <a:gd name="connsiteY2670" fmla="*/ 197765 h 1237129"/>
              <a:gd name="connsiteX2671" fmla="*/ 544369 w 3751729"/>
              <a:gd name="connsiteY2671" fmla="*/ 200227 h 1237129"/>
              <a:gd name="connsiteX2672" fmla="*/ 544369 w 3751729"/>
              <a:gd name="connsiteY2672" fmla="*/ 201950 h 1237129"/>
              <a:gd name="connsiteX2673" fmla="*/ 544369 w 3751729"/>
              <a:gd name="connsiteY2673" fmla="*/ 203673 h 1237129"/>
              <a:gd name="connsiteX2674" fmla="*/ 544369 w 3751729"/>
              <a:gd name="connsiteY2674" fmla="*/ 204411 h 1237129"/>
              <a:gd name="connsiteX2675" fmla="*/ 545108 w 3751729"/>
              <a:gd name="connsiteY2675" fmla="*/ 206134 h 1237129"/>
              <a:gd name="connsiteX2676" fmla="*/ 550031 w 3751729"/>
              <a:gd name="connsiteY2676" fmla="*/ 206134 h 1237129"/>
              <a:gd name="connsiteX2677" fmla="*/ 554215 w 3751729"/>
              <a:gd name="connsiteY2677" fmla="*/ 207857 h 1237129"/>
              <a:gd name="connsiteX2678" fmla="*/ 564061 w 3751729"/>
              <a:gd name="connsiteY2678" fmla="*/ 206134 h 1237129"/>
              <a:gd name="connsiteX2679" fmla="*/ 573908 w 3751729"/>
              <a:gd name="connsiteY2679" fmla="*/ 210319 h 1237129"/>
              <a:gd name="connsiteX2680" fmla="*/ 584739 w 3751729"/>
              <a:gd name="connsiteY2680" fmla="*/ 217703 h 1237129"/>
              <a:gd name="connsiteX2681" fmla="*/ 594584 w 3751729"/>
              <a:gd name="connsiteY2681" fmla="*/ 227795 h 1237129"/>
              <a:gd name="connsiteX2682" fmla="*/ 602954 w 3751729"/>
              <a:gd name="connsiteY2682" fmla="*/ 236903 h 1237129"/>
              <a:gd name="connsiteX2683" fmla="*/ 613292 w 3751729"/>
              <a:gd name="connsiteY2683" fmla="*/ 242072 h 1237129"/>
              <a:gd name="connsiteX2684" fmla="*/ 617476 w 3751729"/>
              <a:gd name="connsiteY2684" fmla="*/ 243795 h 1237129"/>
              <a:gd name="connsiteX2685" fmla="*/ 619938 w 3751729"/>
              <a:gd name="connsiteY2685" fmla="*/ 244534 h 1237129"/>
              <a:gd name="connsiteX2686" fmla="*/ 623138 w 3751729"/>
              <a:gd name="connsiteY2686" fmla="*/ 243795 h 1237129"/>
              <a:gd name="connsiteX2687" fmla="*/ 625600 w 3751729"/>
              <a:gd name="connsiteY2687" fmla="*/ 243795 h 1237129"/>
              <a:gd name="connsiteX2688" fmla="*/ 627323 w 3751729"/>
              <a:gd name="connsiteY2688" fmla="*/ 242072 h 1237129"/>
              <a:gd name="connsiteX2689" fmla="*/ 630523 w 3751729"/>
              <a:gd name="connsiteY2689" fmla="*/ 240349 h 1237129"/>
              <a:gd name="connsiteX2690" fmla="*/ 631261 w 3751729"/>
              <a:gd name="connsiteY2690" fmla="*/ 238626 h 1237129"/>
              <a:gd name="connsiteX2691" fmla="*/ 634462 w 3751729"/>
              <a:gd name="connsiteY2691" fmla="*/ 238626 h 1237129"/>
              <a:gd name="connsiteX2692" fmla="*/ 657600 w 3751729"/>
              <a:gd name="connsiteY2692" fmla="*/ 244534 h 1237129"/>
              <a:gd name="connsiteX2693" fmla="*/ 660060 w 3751729"/>
              <a:gd name="connsiteY2693" fmla="*/ 260288 h 1237129"/>
              <a:gd name="connsiteX2694" fmla="*/ 663261 w 3751729"/>
              <a:gd name="connsiteY2694" fmla="*/ 271857 h 1237129"/>
              <a:gd name="connsiteX2695" fmla="*/ 664984 w 3751729"/>
              <a:gd name="connsiteY2695" fmla="*/ 280965 h 1237129"/>
              <a:gd name="connsiteX2696" fmla="*/ 665722 w 3751729"/>
              <a:gd name="connsiteY2696" fmla="*/ 289334 h 1237129"/>
              <a:gd name="connsiteX2697" fmla="*/ 668922 w 3751729"/>
              <a:gd name="connsiteY2697" fmla="*/ 298441 h 1237129"/>
              <a:gd name="connsiteX2698" fmla="*/ 676307 w 3751729"/>
              <a:gd name="connsiteY2698" fmla="*/ 308534 h 1237129"/>
              <a:gd name="connsiteX2699" fmla="*/ 684676 w 3751729"/>
              <a:gd name="connsiteY2699" fmla="*/ 321827 h 1237129"/>
              <a:gd name="connsiteX2700" fmla="*/ 687138 w 3751729"/>
              <a:gd name="connsiteY2700" fmla="*/ 320103 h 1237129"/>
              <a:gd name="connsiteX2701" fmla="*/ 688860 w 3751729"/>
              <a:gd name="connsiteY2701" fmla="*/ 320103 h 1237129"/>
              <a:gd name="connsiteX2702" fmla="*/ 690584 w 3751729"/>
              <a:gd name="connsiteY2702" fmla="*/ 318380 h 1237129"/>
              <a:gd name="connsiteX2703" fmla="*/ 692306 w 3751729"/>
              <a:gd name="connsiteY2703" fmla="*/ 318380 h 1237129"/>
              <a:gd name="connsiteX2704" fmla="*/ 694769 w 3751729"/>
              <a:gd name="connsiteY2704" fmla="*/ 317642 h 1237129"/>
              <a:gd name="connsiteX2705" fmla="*/ 696491 w 3751729"/>
              <a:gd name="connsiteY2705" fmla="*/ 317642 h 1237129"/>
              <a:gd name="connsiteX2706" fmla="*/ 696491 w 3751729"/>
              <a:gd name="connsiteY2706" fmla="*/ 315918 h 1237129"/>
              <a:gd name="connsiteX2707" fmla="*/ 696491 w 3751729"/>
              <a:gd name="connsiteY2707" fmla="*/ 314196 h 1237129"/>
              <a:gd name="connsiteX2708" fmla="*/ 698215 w 3751729"/>
              <a:gd name="connsiteY2708" fmla="*/ 311734 h 1237129"/>
              <a:gd name="connsiteX2709" fmla="*/ 698215 w 3751729"/>
              <a:gd name="connsiteY2709" fmla="*/ 302626 h 1237129"/>
              <a:gd name="connsiteX2710" fmla="*/ 696491 w 3751729"/>
              <a:gd name="connsiteY2710" fmla="*/ 291057 h 1237129"/>
              <a:gd name="connsiteX2711" fmla="*/ 693291 w 3751729"/>
              <a:gd name="connsiteY2711" fmla="*/ 276780 h 1237129"/>
              <a:gd name="connsiteX2712" fmla="*/ 689107 w 3751729"/>
              <a:gd name="connsiteY2712" fmla="*/ 263488 h 1237129"/>
              <a:gd name="connsiteX2713" fmla="*/ 700676 w 3751729"/>
              <a:gd name="connsiteY2713" fmla="*/ 257580 h 1237129"/>
              <a:gd name="connsiteX2714" fmla="*/ 712246 w 3751729"/>
              <a:gd name="connsiteY2714" fmla="*/ 249211 h 1237129"/>
              <a:gd name="connsiteX2715" fmla="*/ 719629 w 3751729"/>
              <a:gd name="connsiteY2715" fmla="*/ 237641 h 1237129"/>
              <a:gd name="connsiteX2716" fmla="*/ 723814 w 3751729"/>
              <a:gd name="connsiteY2716" fmla="*/ 222627 h 1237129"/>
              <a:gd name="connsiteX2717" fmla="*/ 725538 w 3751729"/>
              <a:gd name="connsiteY2717" fmla="*/ 214258 h 1237129"/>
              <a:gd name="connsiteX2718" fmla="*/ 723814 w 3751729"/>
              <a:gd name="connsiteY2718" fmla="*/ 200966 h 1237129"/>
              <a:gd name="connsiteX2719" fmla="*/ 723814 w 3751729"/>
              <a:gd name="connsiteY2719" fmla="*/ 187674 h 1237129"/>
              <a:gd name="connsiteX2720" fmla="*/ 718153 w 3751729"/>
              <a:gd name="connsiteY2720" fmla="*/ 185211 h 1237129"/>
              <a:gd name="connsiteX2721" fmla="*/ 715692 w 3751729"/>
              <a:gd name="connsiteY2721" fmla="*/ 183488 h 1237129"/>
              <a:gd name="connsiteX2722" fmla="*/ 712491 w 3751729"/>
              <a:gd name="connsiteY2722" fmla="*/ 181765 h 1237129"/>
              <a:gd name="connsiteX2723" fmla="*/ 710030 w 3751729"/>
              <a:gd name="connsiteY2723" fmla="*/ 179304 h 1237129"/>
              <a:gd name="connsiteX2724" fmla="*/ 708307 w 3751729"/>
              <a:gd name="connsiteY2724" fmla="*/ 174381 h 1237129"/>
              <a:gd name="connsiteX2725" fmla="*/ 713968 w 3751729"/>
              <a:gd name="connsiteY2725" fmla="*/ 164288 h 1237129"/>
              <a:gd name="connsiteX2726" fmla="*/ 716429 w 3751729"/>
              <a:gd name="connsiteY2726" fmla="*/ 152719 h 1237129"/>
              <a:gd name="connsiteX2727" fmla="*/ 713968 w 3751729"/>
              <a:gd name="connsiteY2727" fmla="*/ 140166 h 1237129"/>
              <a:gd name="connsiteX2728" fmla="*/ 710768 w 3751729"/>
              <a:gd name="connsiteY2728" fmla="*/ 126874 h 1237129"/>
              <a:gd name="connsiteX2729" fmla="*/ 706583 w 3751729"/>
              <a:gd name="connsiteY2729" fmla="*/ 111858 h 1237129"/>
              <a:gd name="connsiteX2730" fmla="*/ 704861 w 3751729"/>
              <a:gd name="connsiteY2730" fmla="*/ 97581 h 1237129"/>
              <a:gd name="connsiteX2731" fmla="*/ 708061 w 3751729"/>
              <a:gd name="connsiteY2731" fmla="*/ 97581 h 1237129"/>
              <a:gd name="connsiteX2732" fmla="*/ 708061 w 3751729"/>
              <a:gd name="connsiteY2732" fmla="*/ 94135 h 1237129"/>
              <a:gd name="connsiteX2733" fmla="*/ 727999 w 3751729"/>
              <a:gd name="connsiteY2733" fmla="*/ 97581 h 1237129"/>
              <a:gd name="connsiteX2734" fmla="*/ 745229 w 3751729"/>
              <a:gd name="connsiteY2734" fmla="*/ 97581 h 1237129"/>
              <a:gd name="connsiteX2735" fmla="*/ 764184 w 3751729"/>
              <a:gd name="connsiteY2735" fmla="*/ 94135 h 1237129"/>
              <a:gd name="connsiteX2736" fmla="*/ 768368 w 3751729"/>
              <a:gd name="connsiteY2736" fmla="*/ 101520 h 1237129"/>
              <a:gd name="connsiteX2737" fmla="*/ 772552 w 3751729"/>
              <a:gd name="connsiteY2737" fmla="*/ 111612 h 1237129"/>
              <a:gd name="connsiteX2738" fmla="*/ 777476 w 3751729"/>
              <a:gd name="connsiteY2738" fmla="*/ 118996 h 1237129"/>
              <a:gd name="connsiteX2739" fmla="*/ 781660 w 3751729"/>
              <a:gd name="connsiteY2739" fmla="*/ 122443 h 1237129"/>
              <a:gd name="connsiteX2740" fmla="*/ 784122 w 3751729"/>
              <a:gd name="connsiteY2740" fmla="*/ 123181 h 1237129"/>
              <a:gd name="connsiteX2741" fmla="*/ 789044 w 3751729"/>
              <a:gd name="connsiteY2741" fmla="*/ 123181 h 1237129"/>
              <a:gd name="connsiteX2742" fmla="*/ 793229 w 3751729"/>
              <a:gd name="connsiteY2742" fmla="*/ 124904 h 1237129"/>
              <a:gd name="connsiteX2743" fmla="*/ 797415 w 3751729"/>
              <a:gd name="connsiteY2743" fmla="*/ 126627 h 1237129"/>
              <a:gd name="connsiteX2744" fmla="*/ 800615 w 3751729"/>
              <a:gd name="connsiteY2744" fmla="*/ 129089 h 1237129"/>
              <a:gd name="connsiteX2745" fmla="*/ 801352 w 3751729"/>
              <a:gd name="connsiteY2745" fmla="*/ 136473 h 1237129"/>
              <a:gd name="connsiteX2746" fmla="*/ 804552 w 3751729"/>
              <a:gd name="connsiteY2746" fmla="*/ 149765 h 1237129"/>
              <a:gd name="connsiteX2747" fmla="*/ 806276 w 3751729"/>
              <a:gd name="connsiteY2747" fmla="*/ 161335 h 1237129"/>
              <a:gd name="connsiteX2748" fmla="*/ 808736 w 3751729"/>
              <a:gd name="connsiteY2748" fmla="*/ 169704 h 1237129"/>
              <a:gd name="connsiteX2749" fmla="*/ 810460 w 3751729"/>
              <a:gd name="connsiteY2749" fmla="*/ 171426 h 1237129"/>
              <a:gd name="connsiteX2750" fmla="*/ 812922 w 3751729"/>
              <a:gd name="connsiteY2750" fmla="*/ 173888 h 1237129"/>
              <a:gd name="connsiteX2751" fmla="*/ 816122 w 3751729"/>
              <a:gd name="connsiteY2751" fmla="*/ 175612 h 1237129"/>
              <a:gd name="connsiteX2752" fmla="*/ 818583 w 3751729"/>
              <a:gd name="connsiteY2752" fmla="*/ 179057 h 1237129"/>
              <a:gd name="connsiteX2753" fmla="*/ 823506 w 3751729"/>
              <a:gd name="connsiteY2753" fmla="*/ 179797 h 1237129"/>
              <a:gd name="connsiteX2754" fmla="*/ 824244 w 3751729"/>
              <a:gd name="connsiteY2754" fmla="*/ 183243 h 1237129"/>
              <a:gd name="connsiteX2755" fmla="*/ 835814 w 3751729"/>
              <a:gd name="connsiteY2755" fmla="*/ 174134 h 1237129"/>
              <a:gd name="connsiteX2756" fmla="*/ 844922 w 3751729"/>
              <a:gd name="connsiteY2756" fmla="*/ 163305 h 1237129"/>
              <a:gd name="connsiteX2757" fmla="*/ 851568 w 3751729"/>
              <a:gd name="connsiteY2757" fmla="*/ 151735 h 1237129"/>
              <a:gd name="connsiteX2758" fmla="*/ 863137 w 3751729"/>
              <a:gd name="connsiteY2758" fmla="*/ 142627 h 1237129"/>
              <a:gd name="connsiteX2759" fmla="*/ 864860 w 3751729"/>
              <a:gd name="connsiteY2759" fmla="*/ 152719 h 1237129"/>
              <a:gd name="connsiteX2760" fmla="*/ 869044 w 3751729"/>
              <a:gd name="connsiteY2760" fmla="*/ 158627 h 1237129"/>
              <a:gd name="connsiteX2761" fmla="*/ 874705 w 3751729"/>
              <a:gd name="connsiteY2761" fmla="*/ 164535 h 1237129"/>
              <a:gd name="connsiteX2762" fmla="*/ 880367 w 3751729"/>
              <a:gd name="connsiteY2762" fmla="*/ 170442 h 1237129"/>
              <a:gd name="connsiteX2763" fmla="*/ 885290 w 3751729"/>
              <a:gd name="connsiteY2763" fmla="*/ 177827 h 1237129"/>
              <a:gd name="connsiteX2764" fmla="*/ 885290 w 3751729"/>
              <a:gd name="connsiteY2764" fmla="*/ 180288 h 1237129"/>
              <a:gd name="connsiteX2765" fmla="*/ 885290 w 3751729"/>
              <a:gd name="connsiteY2765" fmla="*/ 183735 h 1237129"/>
              <a:gd name="connsiteX2766" fmla="*/ 883567 w 3751729"/>
              <a:gd name="connsiteY2766" fmla="*/ 185458 h 1237129"/>
              <a:gd name="connsiteX2767" fmla="*/ 883567 w 3751729"/>
              <a:gd name="connsiteY2767" fmla="*/ 187918 h 1237129"/>
              <a:gd name="connsiteX2768" fmla="*/ 881845 w 3751729"/>
              <a:gd name="connsiteY2768" fmla="*/ 191365 h 1237129"/>
              <a:gd name="connsiteX2769" fmla="*/ 883567 w 3751729"/>
              <a:gd name="connsiteY2769" fmla="*/ 193827 h 1237129"/>
              <a:gd name="connsiteX2770" fmla="*/ 885290 w 3751729"/>
              <a:gd name="connsiteY2770" fmla="*/ 197273 h 1237129"/>
              <a:gd name="connsiteX2771" fmla="*/ 886028 w 3751729"/>
              <a:gd name="connsiteY2771" fmla="*/ 198012 h 1237129"/>
              <a:gd name="connsiteX2772" fmla="*/ 889228 w 3751729"/>
              <a:gd name="connsiteY2772" fmla="*/ 198012 h 1237129"/>
              <a:gd name="connsiteX2773" fmla="*/ 891689 w 3751729"/>
              <a:gd name="connsiteY2773" fmla="*/ 198012 h 1237129"/>
              <a:gd name="connsiteX2774" fmla="*/ 893414 w 3751729"/>
              <a:gd name="connsiteY2774" fmla="*/ 198012 h 1237129"/>
              <a:gd name="connsiteX2775" fmla="*/ 896613 w 3751729"/>
              <a:gd name="connsiteY2775" fmla="*/ 198012 h 1237129"/>
              <a:gd name="connsiteX2776" fmla="*/ 897352 w 3751729"/>
              <a:gd name="connsiteY2776" fmla="*/ 199735 h 1237129"/>
              <a:gd name="connsiteX2777" fmla="*/ 902275 w 3751729"/>
              <a:gd name="connsiteY2777" fmla="*/ 211304 h 1237129"/>
              <a:gd name="connsiteX2778" fmla="*/ 902275 w 3751729"/>
              <a:gd name="connsiteY2778" fmla="*/ 220411 h 1237129"/>
              <a:gd name="connsiteX2779" fmla="*/ 900552 w 3751729"/>
              <a:gd name="connsiteY2779" fmla="*/ 228780 h 1237129"/>
              <a:gd name="connsiteX2780" fmla="*/ 903013 w 3751729"/>
              <a:gd name="connsiteY2780" fmla="*/ 236166 h 1237129"/>
              <a:gd name="connsiteX2781" fmla="*/ 913844 w 3751729"/>
              <a:gd name="connsiteY2781" fmla="*/ 244534 h 1237129"/>
              <a:gd name="connsiteX2782" fmla="*/ 904736 w 3751729"/>
              <a:gd name="connsiteY2782" fmla="*/ 262011 h 1237129"/>
              <a:gd name="connsiteX2783" fmla="*/ 894890 w 3751729"/>
              <a:gd name="connsiteY2783" fmla="*/ 277026 h 1237129"/>
              <a:gd name="connsiteX2784" fmla="*/ 897352 w 3751729"/>
              <a:gd name="connsiteY2784" fmla="*/ 277026 h 1237129"/>
              <a:gd name="connsiteX2785" fmla="*/ 906459 w 3751729"/>
              <a:gd name="connsiteY2785" fmla="*/ 267919 h 1237129"/>
              <a:gd name="connsiteX2786" fmla="*/ 914828 w 3751729"/>
              <a:gd name="connsiteY2786" fmla="*/ 260535 h 1237129"/>
              <a:gd name="connsiteX2787" fmla="*/ 922213 w 3751729"/>
              <a:gd name="connsiteY2787" fmla="*/ 252165 h 1237129"/>
              <a:gd name="connsiteX2788" fmla="*/ 932059 w 3751729"/>
              <a:gd name="connsiteY2788" fmla="*/ 254626 h 1237129"/>
              <a:gd name="connsiteX2789" fmla="*/ 937720 w 3751729"/>
              <a:gd name="connsiteY2789" fmla="*/ 260535 h 1237129"/>
              <a:gd name="connsiteX2790" fmla="*/ 943382 w 3751729"/>
              <a:gd name="connsiteY2790" fmla="*/ 267919 h 1237129"/>
              <a:gd name="connsiteX2791" fmla="*/ 945105 w 3751729"/>
              <a:gd name="connsiteY2791" fmla="*/ 279487 h 1237129"/>
              <a:gd name="connsiteX2792" fmla="*/ 960120 w 3751729"/>
              <a:gd name="connsiteY2792" fmla="*/ 279487 h 1237129"/>
              <a:gd name="connsiteX2793" fmla="*/ 960120 w 3751729"/>
              <a:gd name="connsiteY2793" fmla="*/ 283672 h 1237129"/>
              <a:gd name="connsiteX2794" fmla="*/ 960859 w 3751729"/>
              <a:gd name="connsiteY2794" fmla="*/ 287118 h 1237129"/>
              <a:gd name="connsiteX2795" fmla="*/ 960859 w 3751729"/>
              <a:gd name="connsiteY2795" fmla="*/ 291304 h 1237129"/>
              <a:gd name="connsiteX2796" fmla="*/ 962582 w 3751729"/>
              <a:gd name="connsiteY2796" fmla="*/ 295488 h 1237129"/>
              <a:gd name="connsiteX2797" fmla="*/ 960859 w 3751729"/>
              <a:gd name="connsiteY2797" fmla="*/ 300410 h 1237129"/>
              <a:gd name="connsiteX2798" fmla="*/ 960859 w 3751729"/>
              <a:gd name="connsiteY2798" fmla="*/ 302872 h 1237129"/>
              <a:gd name="connsiteX2799" fmla="*/ 960859 w 3751729"/>
              <a:gd name="connsiteY2799" fmla="*/ 306319 h 1237129"/>
              <a:gd name="connsiteX2800" fmla="*/ 962582 w 3751729"/>
              <a:gd name="connsiteY2800" fmla="*/ 307057 h 1237129"/>
              <a:gd name="connsiteX2801" fmla="*/ 962582 w 3751729"/>
              <a:gd name="connsiteY2801" fmla="*/ 310503 h 1237129"/>
              <a:gd name="connsiteX2802" fmla="*/ 962582 w 3751729"/>
              <a:gd name="connsiteY2802" fmla="*/ 312226 h 1237129"/>
              <a:gd name="connsiteX2803" fmla="*/ 962582 w 3751729"/>
              <a:gd name="connsiteY2803" fmla="*/ 314687 h 1237129"/>
              <a:gd name="connsiteX2804" fmla="*/ 946828 w 3751729"/>
              <a:gd name="connsiteY2804" fmla="*/ 326257 h 1237129"/>
              <a:gd name="connsiteX2805" fmla="*/ 929598 w 3751729"/>
              <a:gd name="connsiteY2805" fmla="*/ 333641 h 1237129"/>
              <a:gd name="connsiteX2806" fmla="*/ 909659 w 3751729"/>
              <a:gd name="connsiteY2806" fmla="*/ 337826 h 1237129"/>
              <a:gd name="connsiteX2807" fmla="*/ 888983 w 3751729"/>
              <a:gd name="connsiteY2807" fmla="*/ 340287 h 1237129"/>
              <a:gd name="connsiteX2808" fmla="*/ 869044 w 3751729"/>
              <a:gd name="connsiteY2808" fmla="*/ 343733 h 1237129"/>
              <a:gd name="connsiteX2809" fmla="*/ 848367 w 3751729"/>
              <a:gd name="connsiteY2809" fmla="*/ 346196 h 1237129"/>
              <a:gd name="connsiteX2810" fmla="*/ 831137 w 3751729"/>
              <a:gd name="connsiteY2810" fmla="*/ 352103 h 1237129"/>
              <a:gd name="connsiteX2811" fmla="*/ 815382 w 3751729"/>
              <a:gd name="connsiteY2811" fmla="*/ 359488 h 1237129"/>
              <a:gd name="connsiteX2812" fmla="*/ 803814 w 3751729"/>
              <a:gd name="connsiteY2812" fmla="*/ 372780 h 1237129"/>
              <a:gd name="connsiteX2813" fmla="*/ 807014 w 3751729"/>
              <a:gd name="connsiteY2813" fmla="*/ 372780 h 1237129"/>
              <a:gd name="connsiteX2814" fmla="*/ 821045 w 3751729"/>
              <a:gd name="connsiteY2814" fmla="*/ 362688 h 1237129"/>
              <a:gd name="connsiteX2815" fmla="*/ 838275 w 3751729"/>
              <a:gd name="connsiteY2815" fmla="*/ 355302 h 1237129"/>
              <a:gd name="connsiteX2816" fmla="*/ 857228 w 3751729"/>
              <a:gd name="connsiteY2816" fmla="*/ 351118 h 1237129"/>
              <a:gd name="connsiteX2817" fmla="*/ 857967 w 3751729"/>
              <a:gd name="connsiteY2817" fmla="*/ 353580 h 1237129"/>
              <a:gd name="connsiteX2818" fmla="*/ 859690 w 3751729"/>
              <a:gd name="connsiteY2818" fmla="*/ 357026 h 1237129"/>
              <a:gd name="connsiteX2819" fmla="*/ 861414 w 3751729"/>
              <a:gd name="connsiteY2819" fmla="*/ 357764 h 1237129"/>
              <a:gd name="connsiteX2820" fmla="*/ 863874 w 3751729"/>
              <a:gd name="connsiteY2820" fmla="*/ 359488 h 1237129"/>
              <a:gd name="connsiteX2821" fmla="*/ 867075 w 3751729"/>
              <a:gd name="connsiteY2821" fmla="*/ 361210 h 1237129"/>
              <a:gd name="connsiteX2822" fmla="*/ 869536 w 3751729"/>
              <a:gd name="connsiteY2822" fmla="*/ 363673 h 1237129"/>
              <a:gd name="connsiteX2823" fmla="*/ 865352 w 3751729"/>
              <a:gd name="connsiteY2823" fmla="*/ 371057 h 1237129"/>
              <a:gd name="connsiteX2824" fmla="*/ 862890 w 3751729"/>
              <a:gd name="connsiteY2824" fmla="*/ 376965 h 1237129"/>
              <a:gd name="connsiteX2825" fmla="*/ 861168 w 3751729"/>
              <a:gd name="connsiteY2825" fmla="*/ 382871 h 1237129"/>
              <a:gd name="connsiteX2826" fmla="*/ 859444 w 3751729"/>
              <a:gd name="connsiteY2826" fmla="*/ 391980 h 1237129"/>
              <a:gd name="connsiteX2827" fmla="*/ 871014 w 3751729"/>
              <a:gd name="connsiteY2827" fmla="*/ 397888 h 1237129"/>
              <a:gd name="connsiteX2828" fmla="*/ 878397 w 3751729"/>
              <a:gd name="connsiteY2828" fmla="*/ 406257 h 1237129"/>
              <a:gd name="connsiteX2829" fmla="*/ 884060 w 3751729"/>
              <a:gd name="connsiteY2829" fmla="*/ 414626 h 1237129"/>
              <a:gd name="connsiteX2830" fmla="*/ 891443 w 3751729"/>
              <a:gd name="connsiteY2830" fmla="*/ 423733 h 1237129"/>
              <a:gd name="connsiteX2831" fmla="*/ 891443 w 3751729"/>
              <a:gd name="connsiteY2831" fmla="*/ 426195 h 1237129"/>
              <a:gd name="connsiteX2832" fmla="*/ 891443 w 3751729"/>
              <a:gd name="connsiteY2832" fmla="*/ 427918 h 1237129"/>
              <a:gd name="connsiteX2833" fmla="*/ 889721 w 3751729"/>
              <a:gd name="connsiteY2833" fmla="*/ 427918 h 1237129"/>
              <a:gd name="connsiteX2834" fmla="*/ 889721 w 3751729"/>
              <a:gd name="connsiteY2834" fmla="*/ 429641 h 1237129"/>
              <a:gd name="connsiteX2835" fmla="*/ 887998 w 3751729"/>
              <a:gd name="connsiteY2835" fmla="*/ 431364 h 1237129"/>
              <a:gd name="connsiteX2836" fmla="*/ 879629 w 3751729"/>
              <a:gd name="connsiteY2836" fmla="*/ 441456 h 1237129"/>
              <a:gd name="connsiteX2837" fmla="*/ 868059 w 3751729"/>
              <a:gd name="connsiteY2837" fmla="*/ 449826 h 1237129"/>
              <a:gd name="connsiteX2838" fmla="*/ 853290 w 3751729"/>
              <a:gd name="connsiteY2838" fmla="*/ 455733 h 1237129"/>
              <a:gd name="connsiteX2839" fmla="*/ 853290 w 3751729"/>
              <a:gd name="connsiteY2839" fmla="*/ 443180 h 1237129"/>
              <a:gd name="connsiteX2840" fmla="*/ 860674 w 3751729"/>
              <a:gd name="connsiteY2840" fmla="*/ 438257 h 1237129"/>
              <a:gd name="connsiteX2841" fmla="*/ 866336 w 3751729"/>
              <a:gd name="connsiteY2841" fmla="*/ 434072 h 1237129"/>
              <a:gd name="connsiteX2842" fmla="*/ 871999 w 3751729"/>
              <a:gd name="connsiteY2842" fmla="*/ 426687 h 1237129"/>
              <a:gd name="connsiteX2843" fmla="*/ 866336 w 3751729"/>
              <a:gd name="connsiteY2843" fmla="*/ 424226 h 1237129"/>
              <a:gd name="connsiteX2844" fmla="*/ 866336 w 3751729"/>
              <a:gd name="connsiteY2844" fmla="*/ 420780 h 1237129"/>
              <a:gd name="connsiteX2845" fmla="*/ 864613 w 3751729"/>
              <a:gd name="connsiteY2845" fmla="*/ 420780 h 1237129"/>
              <a:gd name="connsiteX2846" fmla="*/ 862890 w 3751729"/>
              <a:gd name="connsiteY2846" fmla="*/ 420780 h 1237129"/>
              <a:gd name="connsiteX2847" fmla="*/ 862890 w 3751729"/>
              <a:gd name="connsiteY2847" fmla="*/ 422502 h 1237129"/>
              <a:gd name="connsiteX2848" fmla="*/ 862890 w 3751729"/>
              <a:gd name="connsiteY2848" fmla="*/ 424226 h 1237129"/>
              <a:gd name="connsiteX2849" fmla="*/ 853044 w 3751729"/>
              <a:gd name="connsiteY2849" fmla="*/ 431611 h 1237129"/>
              <a:gd name="connsiteX2850" fmla="*/ 839751 w 3751729"/>
              <a:gd name="connsiteY2850" fmla="*/ 437518 h 1237129"/>
              <a:gd name="connsiteX2851" fmla="*/ 828921 w 3751729"/>
              <a:gd name="connsiteY2851" fmla="*/ 441703 h 1237129"/>
              <a:gd name="connsiteX2852" fmla="*/ 817352 w 3751729"/>
              <a:gd name="connsiteY2852" fmla="*/ 447611 h 1237129"/>
              <a:gd name="connsiteX2853" fmla="*/ 806521 w 3751729"/>
              <a:gd name="connsiteY2853" fmla="*/ 454995 h 1237129"/>
              <a:gd name="connsiteX2854" fmla="*/ 799875 w 3751729"/>
              <a:gd name="connsiteY2854" fmla="*/ 465087 h 1237129"/>
              <a:gd name="connsiteX2855" fmla="*/ 794952 w 3751729"/>
              <a:gd name="connsiteY2855" fmla="*/ 479364 h 1237129"/>
              <a:gd name="connsiteX2856" fmla="*/ 799875 w 3751729"/>
              <a:gd name="connsiteY2856" fmla="*/ 481087 h 1237129"/>
              <a:gd name="connsiteX2857" fmla="*/ 805536 w 3751729"/>
              <a:gd name="connsiteY2857" fmla="*/ 482810 h 1237129"/>
              <a:gd name="connsiteX2858" fmla="*/ 807998 w 3751729"/>
              <a:gd name="connsiteY2858" fmla="*/ 485271 h 1237129"/>
              <a:gd name="connsiteX2859" fmla="*/ 802337 w 3751729"/>
              <a:gd name="connsiteY2859" fmla="*/ 485271 h 1237129"/>
              <a:gd name="connsiteX2860" fmla="*/ 793968 w 3751729"/>
              <a:gd name="connsiteY2860" fmla="*/ 492657 h 1237129"/>
              <a:gd name="connsiteX2861" fmla="*/ 782398 w 3751729"/>
              <a:gd name="connsiteY2861" fmla="*/ 495118 h 1237129"/>
              <a:gd name="connsiteX2862" fmla="*/ 771568 w 3751729"/>
              <a:gd name="connsiteY2862" fmla="*/ 496841 h 1237129"/>
              <a:gd name="connsiteX2863" fmla="*/ 759999 w 3751729"/>
              <a:gd name="connsiteY2863" fmla="*/ 498564 h 1237129"/>
              <a:gd name="connsiteX2864" fmla="*/ 751629 w 3751729"/>
              <a:gd name="connsiteY2864" fmla="*/ 521948 h 1237129"/>
              <a:gd name="connsiteX2865" fmla="*/ 741783 w 3751729"/>
              <a:gd name="connsiteY2865" fmla="*/ 546810 h 1237129"/>
              <a:gd name="connsiteX2866" fmla="*/ 738583 w 3751729"/>
              <a:gd name="connsiteY2866" fmla="*/ 543364 h 1237129"/>
              <a:gd name="connsiteX2867" fmla="*/ 737845 w 3751729"/>
              <a:gd name="connsiteY2867" fmla="*/ 541641 h 1237129"/>
              <a:gd name="connsiteX2868" fmla="*/ 734645 w 3751729"/>
              <a:gd name="connsiteY2868" fmla="*/ 540903 h 1237129"/>
              <a:gd name="connsiteX2869" fmla="*/ 732922 w 3751729"/>
              <a:gd name="connsiteY2869" fmla="*/ 539179 h 1237129"/>
              <a:gd name="connsiteX2870" fmla="*/ 728737 w 3751729"/>
              <a:gd name="connsiteY2870" fmla="*/ 535733 h 1237129"/>
              <a:gd name="connsiteX2871" fmla="*/ 728737 w 3751729"/>
              <a:gd name="connsiteY2871" fmla="*/ 543118 h 1237129"/>
              <a:gd name="connsiteX2872" fmla="*/ 730459 w 3751729"/>
              <a:gd name="connsiteY2872" fmla="*/ 546564 h 1237129"/>
              <a:gd name="connsiteX2873" fmla="*/ 732922 w 3751729"/>
              <a:gd name="connsiteY2873" fmla="*/ 554933 h 1237129"/>
              <a:gd name="connsiteX2874" fmla="*/ 736122 w 3751729"/>
              <a:gd name="connsiteY2874" fmla="*/ 565025 h 1237129"/>
              <a:gd name="connsiteX2875" fmla="*/ 738583 w 3751729"/>
              <a:gd name="connsiteY2875" fmla="*/ 574134 h 1237129"/>
              <a:gd name="connsiteX2876" fmla="*/ 738583 w 3751729"/>
              <a:gd name="connsiteY2876" fmla="*/ 578315 h 1237129"/>
              <a:gd name="connsiteX2877" fmla="*/ 727014 w 3751729"/>
              <a:gd name="connsiteY2877" fmla="*/ 585699 h 1237129"/>
              <a:gd name="connsiteX2878" fmla="*/ 714707 w 3751729"/>
              <a:gd name="connsiteY2878" fmla="*/ 592346 h 1237129"/>
              <a:gd name="connsiteX2879" fmla="*/ 701415 w 3751729"/>
              <a:gd name="connsiteY2879" fmla="*/ 601453 h 1237129"/>
              <a:gd name="connsiteX2880" fmla="*/ 688123 w 3751729"/>
              <a:gd name="connsiteY2880" fmla="*/ 609823 h 1237129"/>
              <a:gd name="connsiteX2881" fmla="*/ 679753 w 3751729"/>
              <a:gd name="connsiteY2881" fmla="*/ 621391 h 1237129"/>
              <a:gd name="connsiteX2882" fmla="*/ 675568 w 3751729"/>
              <a:gd name="connsiteY2882" fmla="*/ 636407 h 1237129"/>
              <a:gd name="connsiteX2883" fmla="*/ 670645 w 3751729"/>
              <a:gd name="connsiteY2883" fmla="*/ 647976 h 1237129"/>
              <a:gd name="connsiteX2884" fmla="*/ 672368 w 3751729"/>
              <a:gd name="connsiteY2884" fmla="*/ 662253 h 1237129"/>
              <a:gd name="connsiteX2885" fmla="*/ 676553 w 3751729"/>
              <a:gd name="connsiteY2885" fmla="*/ 678007 h 1237129"/>
              <a:gd name="connsiteX2886" fmla="*/ 682214 w 3751729"/>
              <a:gd name="connsiteY2886" fmla="*/ 694744 h 1237129"/>
              <a:gd name="connsiteX2887" fmla="*/ 687876 w 3751729"/>
              <a:gd name="connsiteY2887" fmla="*/ 710499 h 1237129"/>
              <a:gd name="connsiteX2888" fmla="*/ 691076 w 3751729"/>
              <a:gd name="connsiteY2888" fmla="*/ 724776 h 1237129"/>
              <a:gd name="connsiteX2889" fmla="*/ 687876 w 3751729"/>
              <a:gd name="connsiteY2889" fmla="*/ 724776 h 1237129"/>
              <a:gd name="connsiteX2890" fmla="*/ 687876 w 3751729"/>
              <a:gd name="connsiteY2890" fmla="*/ 728222 h 1237129"/>
              <a:gd name="connsiteX2891" fmla="*/ 678030 w 3751729"/>
              <a:gd name="connsiteY2891" fmla="*/ 724776 h 1237129"/>
              <a:gd name="connsiteX2892" fmla="*/ 673845 w 3751729"/>
              <a:gd name="connsiteY2892" fmla="*/ 712222 h 1237129"/>
              <a:gd name="connsiteX2893" fmla="*/ 666461 w 3751729"/>
              <a:gd name="connsiteY2893" fmla="*/ 695484 h 1237129"/>
              <a:gd name="connsiteX2894" fmla="*/ 658091 w 3751729"/>
              <a:gd name="connsiteY2894" fmla="*/ 678007 h 1237129"/>
              <a:gd name="connsiteX2895" fmla="*/ 648983 w 3751729"/>
              <a:gd name="connsiteY2895" fmla="*/ 665453 h 1237129"/>
              <a:gd name="connsiteX2896" fmla="*/ 640615 w 3751729"/>
              <a:gd name="connsiteY2896" fmla="*/ 658069 h 1237129"/>
              <a:gd name="connsiteX2897" fmla="*/ 629784 w 3751729"/>
              <a:gd name="connsiteY2897" fmla="*/ 656345 h 1237129"/>
              <a:gd name="connsiteX2898" fmla="*/ 617476 w 3751729"/>
              <a:gd name="connsiteY2898" fmla="*/ 650438 h 1237129"/>
              <a:gd name="connsiteX2899" fmla="*/ 602707 w 3751729"/>
              <a:gd name="connsiteY2899" fmla="*/ 644530 h 1237129"/>
              <a:gd name="connsiteX2900" fmla="*/ 585477 w 3751729"/>
              <a:gd name="connsiteY2900" fmla="*/ 642068 h 1237129"/>
              <a:gd name="connsiteX2901" fmla="*/ 585477 w 3751729"/>
              <a:gd name="connsiteY2901" fmla="*/ 644530 h 1237129"/>
              <a:gd name="connsiteX2902" fmla="*/ 583014 w 3751729"/>
              <a:gd name="connsiteY2902" fmla="*/ 644530 h 1237129"/>
              <a:gd name="connsiteX2903" fmla="*/ 584739 w 3751729"/>
              <a:gd name="connsiteY2903" fmla="*/ 649453 h 1237129"/>
              <a:gd name="connsiteX2904" fmla="*/ 587199 w 3751729"/>
              <a:gd name="connsiteY2904" fmla="*/ 653638 h 1237129"/>
              <a:gd name="connsiteX2905" fmla="*/ 588923 w 3751729"/>
              <a:gd name="connsiteY2905" fmla="*/ 656099 h 1237129"/>
              <a:gd name="connsiteX2906" fmla="*/ 590645 w 3751729"/>
              <a:gd name="connsiteY2906" fmla="*/ 659545 h 1237129"/>
              <a:gd name="connsiteX2907" fmla="*/ 593107 w 3751729"/>
              <a:gd name="connsiteY2907" fmla="*/ 663730 h 1237129"/>
              <a:gd name="connsiteX2908" fmla="*/ 579815 w 3751729"/>
              <a:gd name="connsiteY2908" fmla="*/ 663730 h 1237129"/>
              <a:gd name="connsiteX2909" fmla="*/ 569969 w 3751729"/>
              <a:gd name="connsiteY2909" fmla="*/ 659545 h 1237129"/>
              <a:gd name="connsiteX2910" fmla="*/ 556677 w 3751729"/>
              <a:gd name="connsiteY2910" fmla="*/ 656099 h 1237129"/>
              <a:gd name="connsiteX2911" fmla="*/ 544369 w 3751729"/>
              <a:gd name="connsiteY2911" fmla="*/ 656099 h 1237129"/>
              <a:gd name="connsiteX2912" fmla="*/ 531077 w 3751729"/>
              <a:gd name="connsiteY2912" fmla="*/ 657822 h 1237129"/>
              <a:gd name="connsiteX2913" fmla="*/ 521970 w 3751729"/>
              <a:gd name="connsiteY2913" fmla="*/ 660284 h 1237129"/>
              <a:gd name="connsiteX2914" fmla="*/ 512124 w 3751729"/>
              <a:gd name="connsiteY2914" fmla="*/ 665207 h 1237129"/>
              <a:gd name="connsiteX2915" fmla="*/ 503754 w 3751729"/>
              <a:gd name="connsiteY2915" fmla="*/ 671115 h 1237129"/>
              <a:gd name="connsiteX2916" fmla="*/ 498092 w 3751729"/>
              <a:gd name="connsiteY2916" fmla="*/ 679484 h 1237129"/>
              <a:gd name="connsiteX2917" fmla="*/ 494892 w 3751729"/>
              <a:gd name="connsiteY2917" fmla="*/ 686869 h 1237129"/>
              <a:gd name="connsiteX2918" fmla="*/ 496616 w 3751729"/>
              <a:gd name="connsiteY2918" fmla="*/ 692776 h 1237129"/>
              <a:gd name="connsiteX2919" fmla="*/ 496616 w 3751729"/>
              <a:gd name="connsiteY2919" fmla="*/ 700161 h 1237129"/>
              <a:gd name="connsiteX2920" fmla="*/ 494154 w 3751729"/>
              <a:gd name="connsiteY2920" fmla="*/ 708529 h 1237129"/>
              <a:gd name="connsiteX2921" fmla="*/ 488492 w 3751729"/>
              <a:gd name="connsiteY2921" fmla="*/ 727730 h 1237129"/>
              <a:gd name="connsiteX2922" fmla="*/ 488492 w 3751729"/>
              <a:gd name="connsiteY2922" fmla="*/ 742007 h 1237129"/>
              <a:gd name="connsiteX2923" fmla="*/ 489231 w 3751729"/>
              <a:gd name="connsiteY2923" fmla="*/ 757022 h 1237129"/>
              <a:gd name="connsiteX2924" fmla="*/ 494892 w 3751729"/>
              <a:gd name="connsiteY2924" fmla="*/ 771298 h 1237129"/>
              <a:gd name="connsiteX2925" fmla="*/ 504000 w 3751729"/>
              <a:gd name="connsiteY2925" fmla="*/ 788775 h 1237129"/>
              <a:gd name="connsiteX2926" fmla="*/ 513846 w 3751729"/>
              <a:gd name="connsiteY2926" fmla="*/ 790499 h 1237129"/>
              <a:gd name="connsiteX2927" fmla="*/ 519508 w 3751729"/>
              <a:gd name="connsiteY2927" fmla="*/ 792221 h 1237129"/>
              <a:gd name="connsiteX2928" fmla="*/ 521970 w 3751729"/>
              <a:gd name="connsiteY2928" fmla="*/ 794683 h 1237129"/>
              <a:gd name="connsiteX2929" fmla="*/ 525170 w 3751729"/>
              <a:gd name="connsiteY2929" fmla="*/ 796405 h 1237129"/>
              <a:gd name="connsiteX2930" fmla="*/ 529354 w 3751729"/>
              <a:gd name="connsiteY2930" fmla="*/ 798129 h 1237129"/>
              <a:gd name="connsiteX2931" fmla="*/ 536738 w 3751729"/>
              <a:gd name="connsiteY2931" fmla="*/ 794683 h 1237129"/>
              <a:gd name="connsiteX2932" fmla="*/ 548308 w 3751729"/>
              <a:gd name="connsiteY2932" fmla="*/ 788775 h 1237129"/>
              <a:gd name="connsiteX2933" fmla="*/ 550770 w 3751729"/>
              <a:gd name="connsiteY2933" fmla="*/ 787052 h 1237129"/>
              <a:gd name="connsiteX2934" fmla="*/ 552492 w 3751729"/>
              <a:gd name="connsiteY2934" fmla="*/ 787052 h 1237129"/>
              <a:gd name="connsiteX2935" fmla="*/ 555692 w 3751729"/>
              <a:gd name="connsiteY2935" fmla="*/ 787052 h 1237129"/>
              <a:gd name="connsiteX2936" fmla="*/ 556430 w 3751729"/>
              <a:gd name="connsiteY2936" fmla="*/ 787052 h 1237129"/>
              <a:gd name="connsiteX2937" fmla="*/ 558153 w 3751729"/>
              <a:gd name="connsiteY2937" fmla="*/ 787052 h 1237129"/>
              <a:gd name="connsiteX2938" fmla="*/ 558153 w 3751729"/>
              <a:gd name="connsiteY2938" fmla="*/ 786313 h 1237129"/>
              <a:gd name="connsiteX2939" fmla="*/ 561354 w 3751729"/>
              <a:gd name="connsiteY2939" fmla="*/ 782867 h 1237129"/>
              <a:gd name="connsiteX2940" fmla="*/ 562092 w 3751729"/>
              <a:gd name="connsiteY2940" fmla="*/ 778682 h 1237129"/>
              <a:gd name="connsiteX2941" fmla="*/ 563816 w 3751729"/>
              <a:gd name="connsiteY2941" fmla="*/ 774499 h 1237129"/>
              <a:gd name="connsiteX2942" fmla="*/ 565538 w 3751729"/>
              <a:gd name="connsiteY2942" fmla="*/ 769576 h 1237129"/>
              <a:gd name="connsiteX2943" fmla="*/ 567262 w 3751729"/>
              <a:gd name="connsiteY2943" fmla="*/ 767114 h 1237129"/>
              <a:gd name="connsiteX2944" fmla="*/ 573908 w 3751729"/>
              <a:gd name="connsiteY2944" fmla="*/ 759729 h 1237129"/>
              <a:gd name="connsiteX2945" fmla="*/ 583014 w 3751729"/>
              <a:gd name="connsiteY2945" fmla="*/ 755544 h 1237129"/>
              <a:gd name="connsiteX2946" fmla="*/ 596308 w 3751729"/>
              <a:gd name="connsiteY2946" fmla="*/ 753821 h 1237129"/>
              <a:gd name="connsiteX2947" fmla="*/ 597046 w 3751729"/>
              <a:gd name="connsiteY2947" fmla="*/ 757268 h 1237129"/>
              <a:gd name="connsiteX2948" fmla="*/ 598769 w 3751729"/>
              <a:gd name="connsiteY2948" fmla="*/ 758006 h 1237129"/>
              <a:gd name="connsiteX2949" fmla="*/ 598769 w 3751729"/>
              <a:gd name="connsiteY2949" fmla="*/ 759729 h 1237129"/>
              <a:gd name="connsiteX2950" fmla="*/ 600491 w 3751729"/>
              <a:gd name="connsiteY2950" fmla="*/ 759729 h 1237129"/>
              <a:gd name="connsiteX2951" fmla="*/ 600491 w 3751729"/>
              <a:gd name="connsiteY2951" fmla="*/ 758006 h 1237129"/>
              <a:gd name="connsiteX2952" fmla="*/ 601477 w 3751729"/>
              <a:gd name="connsiteY2952" fmla="*/ 758006 h 1237129"/>
              <a:gd name="connsiteX2953" fmla="*/ 604677 w 3751729"/>
              <a:gd name="connsiteY2953" fmla="*/ 758006 h 1237129"/>
              <a:gd name="connsiteX2954" fmla="*/ 608861 w 3751729"/>
              <a:gd name="connsiteY2954" fmla="*/ 757268 h 1237129"/>
              <a:gd name="connsiteX2955" fmla="*/ 608861 w 3751729"/>
              <a:gd name="connsiteY2955" fmla="*/ 769821 h 1237129"/>
              <a:gd name="connsiteX2956" fmla="*/ 603200 w 3751729"/>
              <a:gd name="connsiteY2956" fmla="*/ 775729 h 1237129"/>
              <a:gd name="connsiteX2957" fmla="*/ 599015 w 3751729"/>
              <a:gd name="connsiteY2957" fmla="*/ 786559 h 1237129"/>
              <a:gd name="connsiteX2958" fmla="*/ 594831 w 3751729"/>
              <a:gd name="connsiteY2958" fmla="*/ 800836 h 1237129"/>
              <a:gd name="connsiteX2959" fmla="*/ 590645 w 3751729"/>
              <a:gd name="connsiteY2959" fmla="*/ 814128 h 1237129"/>
              <a:gd name="connsiteX2960" fmla="*/ 585722 w 3751729"/>
              <a:gd name="connsiteY2960" fmla="*/ 824221 h 1237129"/>
              <a:gd name="connsiteX2961" fmla="*/ 600491 w 3751729"/>
              <a:gd name="connsiteY2961" fmla="*/ 824221 h 1237129"/>
              <a:gd name="connsiteX2962" fmla="*/ 612799 w 3751729"/>
              <a:gd name="connsiteY2962" fmla="*/ 822498 h 1237129"/>
              <a:gd name="connsiteX2963" fmla="*/ 624369 w 3751729"/>
              <a:gd name="connsiteY2963" fmla="*/ 822498 h 1237129"/>
              <a:gd name="connsiteX2964" fmla="*/ 635199 w 3751729"/>
              <a:gd name="connsiteY2964" fmla="*/ 824221 h 1237129"/>
              <a:gd name="connsiteX2965" fmla="*/ 641845 w 3751729"/>
              <a:gd name="connsiteY2965" fmla="*/ 828405 h 1237129"/>
              <a:gd name="connsiteX2966" fmla="*/ 647507 w 3751729"/>
              <a:gd name="connsiteY2966" fmla="*/ 837514 h 1237129"/>
              <a:gd name="connsiteX2967" fmla="*/ 649229 w 3751729"/>
              <a:gd name="connsiteY2967" fmla="*/ 850066 h 1237129"/>
              <a:gd name="connsiteX2968" fmla="*/ 646768 w 3751729"/>
              <a:gd name="connsiteY2968" fmla="*/ 859174 h 1237129"/>
              <a:gd name="connsiteX2969" fmla="*/ 643568 w 3751729"/>
              <a:gd name="connsiteY2969" fmla="*/ 870744 h 1237129"/>
              <a:gd name="connsiteX2970" fmla="*/ 643568 w 3751729"/>
              <a:gd name="connsiteY2970" fmla="*/ 882313 h 1237129"/>
              <a:gd name="connsiteX2971" fmla="*/ 650954 w 3751729"/>
              <a:gd name="connsiteY2971" fmla="*/ 889697 h 1237129"/>
              <a:gd name="connsiteX2972" fmla="*/ 655138 w 3751729"/>
              <a:gd name="connsiteY2972" fmla="*/ 894620 h 1237129"/>
              <a:gd name="connsiteX2973" fmla="*/ 660799 w 3751729"/>
              <a:gd name="connsiteY2973" fmla="*/ 900529 h 1237129"/>
              <a:gd name="connsiteX2974" fmla="*/ 669906 w 3751729"/>
              <a:gd name="connsiteY2974" fmla="*/ 905451 h 1237129"/>
              <a:gd name="connsiteX2975" fmla="*/ 680738 w 3751729"/>
              <a:gd name="connsiteY2975" fmla="*/ 907913 h 1237129"/>
              <a:gd name="connsiteX2976" fmla="*/ 686399 w 3751729"/>
              <a:gd name="connsiteY2976" fmla="*/ 900529 h 1237129"/>
              <a:gd name="connsiteX2977" fmla="*/ 693784 w 3751729"/>
              <a:gd name="connsiteY2977" fmla="*/ 898066 h 1237129"/>
              <a:gd name="connsiteX2978" fmla="*/ 707076 w 3751729"/>
              <a:gd name="connsiteY2978" fmla="*/ 898066 h 1237129"/>
              <a:gd name="connsiteX2979" fmla="*/ 708798 w 3751729"/>
              <a:gd name="connsiteY2979" fmla="*/ 900529 h 1237129"/>
              <a:gd name="connsiteX2980" fmla="*/ 711261 w 3751729"/>
              <a:gd name="connsiteY2980" fmla="*/ 903975 h 1237129"/>
              <a:gd name="connsiteX2981" fmla="*/ 712737 w 3751729"/>
              <a:gd name="connsiteY2981" fmla="*/ 905697 h 1237129"/>
              <a:gd name="connsiteX2982" fmla="*/ 714460 w 3751729"/>
              <a:gd name="connsiteY2982" fmla="*/ 905697 h 1237129"/>
              <a:gd name="connsiteX2983" fmla="*/ 718645 w 3751729"/>
              <a:gd name="connsiteY2983" fmla="*/ 906436 h 1237129"/>
              <a:gd name="connsiteX2984" fmla="*/ 724060 w 3751729"/>
              <a:gd name="connsiteY2984" fmla="*/ 907667 h 1237129"/>
              <a:gd name="connsiteX2985" fmla="*/ 729722 w 3751729"/>
              <a:gd name="connsiteY2985" fmla="*/ 896098 h 1237129"/>
              <a:gd name="connsiteX2986" fmla="*/ 737106 w 3751729"/>
              <a:gd name="connsiteY2986" fmla="*/ 887728 h 1237129"/>
              <a:gd name="connsiteX2987" fmla="*/ 745476 w 3751729"/>
              <a:gd name="connsiteY2987" fmla="*/ 880343 h 1237129"/>
              <a:gd name="connsiteX2988" fmla="*/ 756306 w 3751729"/>
              <a:gd name="connsiteY2988" fmla="*/ 874436 h 1237129"/>
              <a:gd name="connsiteX2989" fmla="*/ 772060 w 3751729"/>
              <a:gd name="connsiteY2989" fmla="*/ 871975 h 1237129"/>
              <a:gd name="connsiteX2990" fmla="*/ 774522 w 3751729"/>
              <a:gd name="connsiteY2990" fmla="*/ 870251 h 1237129"/>
              <a:gd name="connsiteX2991" fmla="*/ 776244 w 3751729"/>
              <a:gd name="connsiteY2991" fmla="*/ 870251 h 1237129"/>
              <a:gd name="connsiteX2992" fmla="*/ 778707 w 3751729"/>
              <a:gd name="connsiteY2992" fmla="*/ 870251 h 1237129"/>
              <a:gd name="connsiteX2993" fmla="*/ 780429 w 3751729"/>
              <a:gd name="connsiteY2993" fmla="*/ 870251 h 1237129"/>
              <a:gd name="connsiteX2994" fmla="*/ 783629 w 3751729"/>
              <a:gd name="connsiteY2994" fmla="*/ 871975 h 1237129"/>
              <a:gd name="connsiteX2995" fmla="*/ 787813 w 3751729"/>
              <a:gd name="connsiteY2995" fmla="*/ 871975 h 1237129"/>
              <a:gd name="connsiteX2996" fmla="*/ 786090 w 3751729"/>
              <a:gd name="connsiteY2996" fmla="*/ 874436 h 1237129"/>
              <a:gd name="connsiteX2997" fmla="*/ 786090 w 3751729"/>
              <a:gd name="connsiteY2997" fmla="*/ 877882 h 1237129"/>
              <a:gd name="connsiteX2998" fmla="*/ 784367 w 3751729"/>
              <a:gd name="connsiteY2998" fmla="*/ 877882 h 1237129"/>
              <a:gd name="connsiteX2999" fmla="*/ 784367 w 3751729"/>
              <a:gd name="connsiteY2999" fmla="*/ 878621 h 1237129"/>
              <a:gd name="connsiteX3000" fmla="*/ 786090 w 3751729"/>
              <a:gd name="connsiteY3000" fmla="*/ 878621 h 1237129"/>
              <a:gd name="connsiteX3001" fmla="*/ 787813 w 3751729"/>
              <a:gd name="connsiteY3001" fmla="*/ 880343 h 1237129"/>
              <a:gd name="connsiteX3002" fmla="*/ 790275 w 3751729"/>
              <a:gd name="connsiteY3002" fmla="*/ 882066 h 1237129"/>
              <a:gd name="connsiteX3003" fmla="*/ 790275 w 3751729"/>
              <a:gd name="connsiteY3003" fmla="*/ 878621 h 1237129"/>
              <a:gd name="connsiteX3004" fmla="*/ 793475 w 3751729"/>
              <a:gd name="connsiteY3004" fmla="*/ 876160 h 1237129"/>
              <a:gd name="connsiteX3005" fmla="*/ 795199 w 3751729"/>
              <a:gd name="connsiteY3005" fmla="*/ 874436 h 1237129"/>
              <a:gd name="connsiteX3006" fmla="*/ 795937 w 3751729"/>
              <a:gd name="connsiteY3006" fmla="*/ 872714 h 1237129"/>
              <a:gd name="connsiteX3007" fmla="*/ 797660 w 3751729"/>
              <a:gd name="connsiteY3007" fmla="*/ 871975 h 1237129"/>
              <a:gd name="connsiteX3008" fmla="*/ 800860 w 3751729"/>
              <a:gd name="connsiteY3008" fmla="*/ 870251 h 1237129"/>
              <a:gd name="connsiteX3009" fmla="*/ 803320 w 3751729"/>
              <a:gd name="connsiteY3009" fmla="*/ 868529 h 1237129"/>
              <a:gd name="connsiteX3010" fmla="*/ 816613 w 3751729"/>
              <a:gd name="connsiteY3010" fmla="*/ 880097 h 1237129"/>
              <a:gd name="connsiteX3011" fmla="*/ 833845 w 3751729"/>
              <a:gd name="connsiteY3011" fmla="*/ 886006 h 1237129"/>
              <a:gd name="connsiteX3012" fmla="*/ 851075 w 3751729"/>
              <a:gd name="connsiteY3012" fmla="*/ 887728 h 1237129"/>
              <a:gd name="connsiteX3013" fmla="*/ 871014 w 3751729"/>
              <a:gd name="connsiteY3013" fmla="*/ 886006 h 1237129"/>
              <a:gd name="connsiteX3014" fmla="*/ 891689 w 3751729"/>
              <a:gd name="connsiteY3014" fmla="*/ 884281 h 1237129"/>
              <a:gd name="connsiteX3015" fmla="*/ 891689 w 3751729"/>
              <a:gd name="connsiteY3015" fmla="*/ 887728 h 1237129"/>
              <a:gd name="connsiteX3016" fmla="*/ 891689 w 3751729"/>
              <a:gd name="connsiteY3016" fmla="*/ 889452 h 1237129"/>
              <a:gd name="connsiteX3017" fmla="*/ 889967 w 3751729"/>
              <a:gd name="connsiteY3017" fmla="*/ 890190 h 1237129"/>
              <a:gd name="connsiteX3018" fmla="*/ 889967 w 3751729"/>
              <a:gd name="connsiteY3018" fmla="*/ 891912 h 1237129"/>
              <a:gd name="connsiteX3019" fmla="*/ 888243 w 3751729"/>
              <a:gd name="connsiteY3019" fmla="*/ 894374 h 1237129"/>
              <a:gd name="connsiteX3020" fmla="*/ 898090 w 3751729"/>
              <a:gd name="connsiteY3020" fmla="*/ 897820 h 1237129"/>
              <a:gd name="connsiteX3021" fmla="*/ 903751 w 3751729"/>
              <a:gd name="connsiteY3021" fmla="*/ 902005 h 1237129"/>
              <a:gd name="connsiteX3022" fmla="*/ 909413 w 3751729"/>
              <a:gd name="connsiteY3022" fmla="*/ 906190 h 1237129"/>
              <a:gd name="connsiteX3023" fmla="*/ 919259 w 3751729"/>
              <a:gd name="connsiteY3023" fmla="*/ 911113 h 1237129"/>
              <a:gd name="connsiteX3024" fmla="*/ 919259 w 3751729"/>
              <a:gd name="connsiteY3024" fmla="*/ 919481 h 1237129"/>
              <a:gd name="connsiteX3025" fmla="*/ 930090 w 3751729"/>
              <a:gd name="connsiteY3025" fmla="*/ 922928 h 1237129"/>
              <a:gd name="connsiteX3026" fmla="*/ 936736 w 3751729"/>
              <a:gd name="connsiteY3026" fmla="*/ 923667 h 1237129"/>
              <a:gd name="connsiteX3027" fmla="*/ 942397 w 3751729"/>
              <a:gd name="connsiteY3027" fmla="*/ 929574 h 1237129"/>
              <a:gd name="connsiteX3028" fmla="*/ 945597 w 3751729"/>
              <a:gd name="connsiteY3028" fmla="*/ 938682 h 1237129"/>
              <a:gd name="connsiteX3029" fmla="*/ 962828 w 3751729"/>
              <a:gd name="connsiteY3029" fmla="*/ 940404 h 1237129"/>
              <a:gd name="connsiteX3030" fmla="*/ 976859 w 3751729"/>
              <a:gd name="connsiteY3030" fmla="*/ 941143 h 1237129"/>
              <a:gd name="connsiteX3031" fmla="*/ 995813 w 3751729"/>
              <a:gd name="connsiteY3031" fmla="*/ 942867 h 1237129"/>
              <a:gd name="connsiteX3032" fmla="*/ 1009104 w 3751729"/>
              <a:gd name="connsiteY3032" fmla="*/ 960343 h 1237129"/>
              <a:gd name="connsiteX3033" fmla="*/ 1024859 w 3751729"/>
              <a:gd name="connsiteY3033" fmla="*/ 976097 h 1237129"/>
              <a:gd name="connsiteX3034" fmla="*/ 1042089 w 3751729"/>
              <a:gd name="connsiteY3034" fmla="*/ 989389 h 1237129"/>
              <a:gd name="connsiteX3035" fmla="*/ 1062028 w 3751729"/>
              <a:gd name="connsiteY3035" fmla="*/ 999481 h 1237129"/>
              <a:gd name="connsiteX3036" fmla="*/ 1061290 w 3751729"/>
              <a:gd name="connsiteY3036" fmla="*/ 1005389 h 1237129"/>
              <a:gd name="connsiteX3037" fmla="*/ 1058089 w 3751729"/>
              <a:gd name="connsiteY3037" fmla="*/ 1008835 h 1237129"/>
              <a:gd name="connsiteX3038" fmla="*/ 1055627 w 3751729"/>
              <a:gd name="connsiteY3038" fmla="*/ 1013020 h 1237129"/>
              <a:gd name="connsiteX3039" fmla="*/ 1052427 w 3751729"/>
              <a:gd name="connsiteY3039" fmla="*/ 1015481 h 1237129"/>
              <a:gd name="connsiteX3040" fmla="*/ 1049966 w 3751729"/>
              <a:gd name="connsiteY3040" fmla="*/ 1020404 h 1237129"/>
              <a:gd name="connsiteX3041" fmla="*/ 1068182 w 3751729"/>
              <a:gd name="connsiteY3041" fmla="*/ 1020404 h 1237129"/>
              <a:gd name="connsiteX3042" fmla="*/ 1085412 w 3751729"/>
              <a:gd name="connsiteY3042" fmla="*/ 1026312 h 1237129"/>
              <a:gd name="connsiteX3043" fmla="*/ 1088612 w 3751729"/>
              <a:gd name="connsiteY3043" fmla="*/ 1036404 h 1237129"/>
              <a:gd name="connsiteX3044" fmla="*/ 1092798 w 3751729"/>
              <a:gd name="connsiteY3044" fmla="*/ 1034681 h 1237129"/>
              <a:gd name="connsiteX3045" fmla="*/ 1095258 w 3751729"/>
              <a:gd name="connsiteY3045" fmla="*/ 1032958 h 1237129"/>
              <a:gd name="connsiteX3046" fmla="*/ 1100181 w 3751729"/>
              <a:gd name="connsiteY3046" fmla="*/ 1034681 h 1237129"/>
              <a:gd name="connsiteX3047" fmla="*/ 1100919 w 3751729"/>
              <a:gd name="connsiteY3047" fmla="*/ 1034681 h 1237129"/>
              <a:gd name="connsiteX3048" fmla="*/ 1104120 w 3751729"/>
              <a:gd name="connsiteY3048" fmla="*/ 1036404 h 1237129"/>
              <a:gd name="connsiteX3049" fmla="*/ 1106582 w 3751729"/>
              <a:gd name="connsiteY3049" fmla="*/ 1038127 h 1237129"/>
              <a:gd name="connsiteX3050" fmla="*/ 1109782 w 3751729"/>
              <a:gd name="connsiteY3050" fmla="*/ 1038865 h 1237129"/>
              <a:gd name="connsiteX3051" fmla="*/ 1154335 w 3751729"/>
              <a:gd name="connsiteY3051" fmla="*/ 1042312 h 1237129"/>
              <a:gd name="connsiteX3052" fmla="*/ 1158519 w 3751729"/>
              <a:gd name="connsiteY3052" fmla="*/ 1046496 h 1237129"/>
              <a:gd name="connsiteX3053" fmla="*/ 1161719 w 3751729"/>
              <a:gd name="connsiteY3053" fmla="*/ 1054866 h 1237129"/>
              <a:gd name="connsiteX3054" fmla="*/ 1162457 w 3751729"/>
              <a:gd name="connsiteY3054" fmla="*/ 1062250 h 1237129"/>
              <a:gd name="connsiteX3055" fmla="*/ 1167381 w 3751729"/>
              <a:gd name="connsiteY3055" fmla="*/ 1068158 h 1237129"/>
              <a:gd name="connsiteX3056" fmla="*/ 1174027 w 3751729"/>
              <a:gd name="connsiteY3056" fmla="*/ 1069881 h 1237129"/>
              <a:gd name="connsiteX3057" fmla="*/ 1181411 w 3751729"/>
              <a:gd name="connsiteY3057" fmla="*/ 1069881 h 1237129"/>
              <a:gd name="connsiteX3058" fmla="*/ 1187072 w 3751729"/>
              <a:gd name="connsiteY3058" fmla="*/ 1068158 h 1237129"/>
              <a:gd name="connsiteX3059" fmla="*/ 1191257 w 3751729"/>
              <a:gd name="connsiteY3059" fmla="*/ 1074065 h 1237129"/>
              <a:gd name="connsiteX3060" fmla="*/ 1196181 w 3751729"/>
              <a:gd name="connsiteY3060" fmla="*/ 1078250 h 1237129"/>
              <a:gd name="connsiteX3061" fmla="*/ 1198642 w 3751729"/>
              <a:gd name="connsiteY3061" fmla="*/ 1083174 h 1237129"/>
              <a:gd name="connsiteX3062" fmla="*/ 1200612 w 3751729"/>
              <a:gd name="connsiteY3062" fmla="*/ 1088835 h 1237129"/>
              <a:gd name="connsiteX3063" fmla="*/ 1202334 w 3751729"/>
              <a:gd name="connsiteY3063" fmla="*/ 1095481 h 1237129"/>
              <a:gd name="connsiteX3064" fmla="*/ 1191503 w 3751729"/>
              <a:gd name="connsiteY3064" fmla="*/ 1108773 h 1237129"/>
              <a:gd name="connsiteX3065" fmla="*/ 1179934 w 3751729"/>
              <a:gd name="connsiteY3065" fmla="*/ 1124527 h 1237129"/>
              <a:gd name="connsiteX3066" fmla="*/ 1168366 w 3751729"/>
              <a:gd name="connsiteY3066" fmla="*/ 1142003 h 1237129"/>
              <a:gd name="connsiteX3067" fmla="*/ 1158519 w 3751729"/>
              <a:gd name="connsiteY3067" fmla="*/ 1159481 h 1237129"/>
              <a:gd name="connsiteX3068" fmla="*/ 1151874 w 3751729"/>
              <a:gd name="connsiteY3068" fmla="*/ 1172772 h 1237129"/>
              <a:gd name="connsiteX3069" fmla="*/ 1151874 w 3751729"/>
              <a:gd name="connsiteY3069" fmla="*/ 1181142 h 1237129"/>
              <a:gd name="connsiteX3070" fmla="*/ 1152611 w 3751729"/>
              <a:gd name="connsiteY3070" fmla="*/ 1192710 h 1237129"/>
              <a:gd name="connsiteX3071" fmla="*/ 1155811 w 3751729"/>
              <a:gd name="connsiteY3071" fmla="*/ 1206003 h 1237129"/>
              <a:gd name="connsiteX3072" fmla="*/ 1154089 w 3751729"/>
              <a:gd name="connsiteY3072" fmla="*/ 1217572 h 1237129"/>
              <a:gd name="connsiteX3073" fmla="*/ 1151627 w 3751729"/>
              <a:gd name="connsiteY3073" fmla="*/ 1224957 h 1237129"/>
              <a:gd name="connsiteX3074" fmla="*/ 1145965 w 3751729"/>
              <a:gd name="connsiteY3074" fmla="*/ 1236526 h 1237129"/>
              <a:gd name="connsiteX3075" fmla="*/ 1145610 w 3751729"/>
              <a:gd name="connsiteY3075" fmla="*/ 1237129 h 1237129"/>
              <a:gd name="connsiteX3076" fmla="*/ 795176 w 3751729"/>
              <a:gd name="connsiteY3076" fmla="*/ 1237129 h 1237129"/>
              <a:gd name="connsiteX3077" fmla="*/ 797415 w 3751729"/>
              <a:gd name="connsiteY3077" fmla="*/ 1220772 h 1237129"/>
              <a:gd name="connsiteX3078" fmla="*/ 768614 w 3751729"/>
              <a:gd name="connsiteY3078" fmla="*/ 1209941 h 1237129"/>
              <a:gd name="connsiteX3079" fmla="*/ 743752 w 3751729"/>
              <a:gd name="connsiteY3079" fmla="*/ 1193203 h 1237129"/>
              <a:gd name="connsiteX3080" fmla="*/ 723814 w 3751729"/>
              <a:gd name="connsiteY3080" fmla="*/ 1171542 h 1237129"/>
              <a:gd name="connsiteX3081" fmla="*/ 707322 w 3751729"/>
              <a:gd name="connsiteY3081" fmla="*/ 1148157 h 1237129"/>
              <a:gd name="connsiteX3082" fmla="*/ 701661 w 3751729"/>
              <a:gd name="connsiteY3082" fmla="*/ 1134865 h 1237129"/>
              <a:gd name="connsiteX3083" fmla="*/ 697476 w 3751729"/>
              <a:gd name="connsiteY3083" fmla="*/ 1122311 h 1237129"/>
              <a:gd name="connsiteX3084" fmla="*/ 693291 w 3751729"/>
              <a:gd name="connsiteY3084" fmla="*/ 1107296 h 1237129"/>
              <a:gd name="connsiteX3085" fmla="*/ 687630 w 3751729"/>
              <a:gd name="connsiteY3085" fmla="*/ 1095727 h 1237129"/>
              <a:gd name="connsiteX3086" fmla="*/ 678522 w 3751729"/>
              <a:gd name="connsiteY3086" fmla="*/ 1087357 h 1237129"/>
              <a:gd name="connsiteX3087" fmla="*/ 676061 w 3751729"/>
              <a:gd name="connsiteY3087" fmla="*/ 1083911 h 1237129"/>
              <a:gd name="connsiteX3088" fmla="*/ 671876 w 3751729"/>
              <a:gd name="connsiteY3088" fmla="*/ 1083911 h 1237129"/>
              <a:gd name="connsiteX3089" fmla="*/ 668677 w 3751729"/>
              <a:gd name="connsiteY3089" fmla="*/ 1083174 h 1237129"/>
              <a:gd name="connsiteX3090" fmla="*/ 666215 w 3751729"/>
              <a:gd name="connsiteY3090" fmla="*/ 1079727 h 1237129"/>
              <a:gd name="connsiteX3091" fmla="*/ 663014 w 3751729"/>
              <a:gd name="connsiteY3091" fmla="*/ 1077265 h 1237129"/>
              <a:gd name="connsiteX3092" fmla="*/ 666215 w 3751729"/>
              <a:gd name="connsiteY3092" fmla="*/ 1071358 h 1237129"/>
              <a:gd name="connsiteX3093" fmla="*/ 666215 w 3751729"/>
              <a:gd name="connsiteY3093" fmla="*/ 1066434 h 1237129"/>
              <a:gd name="connsiteX3094" fmla="*/ 666215 w 3751729"/>
              <a:gd name="connsiteY3094" fmla="*/ 1060527 h 1237129"/>
              <a:gd name="connsiteX3095" fmla="*/ 666215 w 3751729"/>
              <a:gd name="connsiteY3095" fmla="*/ 1054620 h 1237129"/>
              <a:gd name="connsiteX3096" fmla="*/ 673599 w 3751729"/>
              <a:gd name="connsiteY3096" fmla="*/ 1050435 h 1237129"/>
              <a:gd name="connsiteX3097" fmla="*/ 678522 w 3751729"/>
              <a:gd name="connsiteY3097" fmla="*/ 1046250 h 1237129"/>
              <a:gd name="connsiteX3098" fmla="*/ 685907 w 3751729"/>
              <a:gd name="connsiteY3098" fmla="*/ 1042065 h 1237129"/>
              <a:gd name="connsiteX3099" fmla="*/ 685907 w 3751729"/>
              <a:gd name="connsiteY3099" fmla="*/ 1038619 h 1237129"/>
              <a:gd name="connsiteX3100" fmla="*/ 678522 w 3751729"/>
              <a:gd name="connsiteY3100" fmla="*/ 1038619 h 1237129"/>
              <a:gd name="connsiteX3101" fmla="*/ 674337 w 3751729"/>
              <a:gd name="connsiteY3101" fmla="*/ 1037881 h 1237129"/>
              <a:gd name="connsiteX3102" fmla="*/ 670152 w 3751729"/>
              <a:gd name="connsiteY3102" fmla="*/ 1037881 h 1237129"/>
              <a:gd name="connsiteX3103" fmla="*/ 665969 w 3751729"/>
              <a:gd name="connsiteY3103" fmla="*/ 1036158 h 1237129"/>
              <a:gd name="connsiteX3104" fmla="*/ 671630 w 3751729"/>
              <a:gd name="connsiteY3104" fmla="*/ 1022866 h 1237129"/>
              <a:gd name="connsiteX3105" fmla="*/ 675815 w 3751729"/>
              <a:gd name="connsiteY3105" fmla="*/ 1009574 h 1237129"/>
              <a:gd name="connsiteX3106" fmla="*/ 681476 w 3751729"/>
              <a:gd name="connsiteY3106" fmla="*/ 997020 h 1237129"/>
              <a:gd name="connsiteX3107" fmla="*/ 691322 w 3751729"/>
              <a:gd name="connsiteY3107" fmla="*/ 986189 h 1237129"/>
              <a:gd name="connsiteX3108" fmla="*/ 702891 w 3751729"/>
              <a:gd name="connsiteY3108" fmla="*/ 976097 h 1237129"/>
              <a:gd name="connsiteX3109" fmla="*/ 712737 w 3751729"/>
              <a:gd name="connsiteY3109" fmla="*/ 964528 h 1237129"/>
              <a:gd name="connsiteX3110" fmla="*/ 711998 w 3751729"/>
              <a:gd name="connsiteY3110" fmla="*/ 956159 h 1237129"/>
              <a:gd name="connsiteX3111" fmla="*/ 711998 w 3751729"/>
              <a:gd name="connsiteY3111" fmla="*/ 944590 h 1237129"/>
              <a:gd name="connsiteX3112" fmla="*/ 710276 w 3751729"/>
              <a:gd name="connsiteY3112" fmla="*/ 933020 h 1237129"/>
              <a:gd name="connsiteX3113" fmla="*/ 706091 w 3751729"/>
              <a:gd name="connsiteY3113" fmla="*/ 925636 h 1237129"/>
              <a:gd name="connsiteX3114" fmla="*/ 700430 w 3751729"/>
              <a:gd name="connsiteY3114" fmla="*/ 917266 h 1237129"/>
              <a:gd name="connsiteX3115" fmla="*/ 694769 w 3751729"/>
              <a:gd name="connsiteY3115" fmla="*/ 908159 h 1237129"/>
              <a:gd name="connsiteX3116" fmla="*/ 689107 w 3751729"/>
              <a:gd name="connsiteY3116" fmla="*/ 908159 h 1237129"/>
              <a:gd name="connsiteX3117" fmla="*/ 687384 w 3751729"/>
              <a:gd name="connsiteY3117" fmla="*/ 909882 h 1237129"/>
              <a:gd name="connsiteX3118" fmla="*/ 685660 w 3751729"/>
              <a:gd name="connsiteY3118" fmla="*/ 911605 h 1237129"/>
              <a:gd name="connsiteX3119" fmla="*/ 683938 w 3751729"/>
              <a:gd name="connsiteY3119" fmla="*/ 912343 h 1237129"/>
              <a:gd name="connsiteX3120" fmla="*/ 681476 w 3751729"/>
              <a:gd name="connsiteY3120" fmla="*/ 914066 h 1237129"/>
              <a:gd name="connsiteX3121" fmla="*/ 683199 w 3751729"/>
              <a:gd name="connsiteY3121" fmla="*/ 917513 h 1237129"/>
              <a:gd name="connsiteX3122" fmla="*/ 683199 w 3751729"/>
              <a:gd name="connsiteY3122" fmla="*/ 919974 h 1237129"/>
              <a:gd name="connsiteX3123" fmla="*/ 683199 w 3751729"/>
              <a:gd name="connsiteY3123" fmla="*/ 921697 h 1237129"/>
              <a:gd name="connsiteX3124" fmla="*/ 681476 w 3751729"/>
              <a:gd name="connsiteY3124" fmla="*/ 924159 h 1237129"/>
              <a:gd name="connsiteX3125" fmla="*/ 679753 w 3751729"/>
              <a:gd name="connsiteY3125" fmla="*/ 924159 h 1237129"/>
              <a:gd name="connsiteX3126" fmla="*/ 678030 w 3751729"/>
              <a:gd name="connsiteY3126" fmla="*/ 925882 h 1237129"/>
              <a:gd name="connsiteX3127" fmla="*/ 677292 w 3751729"/>
              <a:gd name="connsiteY3127" fmla="*/ 925882 h 1237129"/>
              <a:gd name="connsiteX3128" fmla="*/ 675568 w 3751729"/>
              <a:gd name="connsiteY3128" fmla="*/ 925882 h 1237129"/>
              <a:gd name="connsiteX3129" fmla="*/ 673108 w 3751729"/>
              <a:gd name="connsiteY3129" fmla="*/ 927605 h 1237129"/>
              <a:gd name="connsiteX3130" fmla="*/ 665722 w 3751729"/>
              <a:gd name="connsiteY3130" fmla="*/ 921697 h 1237129"/>
              <a:gd name="connsiteX3131" fmla="*/ 652430 w 3751729"/>
              <a:gd name="connsiteY3131" fmla="*/ 914313 h 1237129"/>
              <a:gd name="connsiteX3132" fmla="*/ 639137 w 3751729"/>
              <a:gd name="connsiteY3132" fmla="*/ 906929 h 1237129"/>
              <a:gd name="connsiteX3133" fmla="*/ 626831 w 3751729"/>
              <a:gd name="connsiteY3133" fmla="*/ 901020 h 1237129"/>
              <a:gd name="connsiteX3134" fmla="*/ 617722 w 3751729"/>
              <a:gd name="connsiteY3134" fmla="*/ 898558 h 1237129"/>
              <a:gd name="connsiteX3135" fmla="*/ 610338 w 3751729"/>
              <a:gd name="connsiteY3135" fmla="*/ 881082 h 1237129"/>
              <a:gd name="connsiteX3136" fmla="*/ 603692 w 3751729"/>
              <a:gd name="connsiteY3136" fmla="*/ 870989 h 1237129"/>
              <a:gd name="connsiteX3137" fmla="*/ 596308 w 3751729"/>
              <a:gd name="connsiteY3137" fmla="*/ 863605 h 1237129"/>
              <a:gd name="connsiteX3138" fmla="*/ 588923 w 3751729"/>
              <a:gd name="connsiteY3138" fmla="*/ 861144 h 1237129"/>
              <a:gd name="connsiteX3139" fmla="*/ 577353 w 3751729"/>
              <a:gd name="connsiteY3139" fmla="*/ 857698 h 1237129"/>
              <a:gd name="connsiteX3140" fmla="*/ 565046 w 3751729"/>
              <a:gd name="connsiteY3140" fmla="*/ 853513 h 1237129"/>
              <a:gd name="connsiteX3141" fmla="*/ 548554 w 3751729"/>
              <a:gd name="connsiteY3141" fmla="*/ 847606 h 1237129"/>
              <a:gd name="connsiteX3142" fmla="*/ 538708 w 3751729"/>
              <a:gd name="connsiteY3142" fmla="*/ 840221 h 1237129"/>
              <a:gd name="connsiteX3143" fmla="*/ 530338 w 3751729"/>
              <a:gd name="connsiteY3143" fmla="*/ 832836 h 1237129"/>
              <a:gd name="connsiteX3144" fmla="*/ 517046 w 3751729"/>
              <a:gd name="connsiteY3144" fmla="*/ 826929 h 1237129"/>
              <a:gd name="connsiteX3145" fmla="*/ 508677 w 3751729"/>
              <a:gd name="connsiteY3145" fmla="*/ 826929 h 1237129"/>
              <a:gd name="connsiteX3146" fmla="*/ 503016 w 3751729"/>
              <a:gd name="connsiteY3146" fmla="*/ 830375 h 1237129"/>
              <a:gd name="connsiteX3147" fmla="*/ 498092 w 3751729"/>
              <a:gd name="connsiteY3147" fmla="*/ 832836 h 1237129"/>
              <a:gd name="connsiteX3148" fmla="*/ 492431 w 3751729"/>
              <a:gd name="connsiteY3148" fmla="*/ 836283 h 1237129"/>
              <a:gd name="connsiteX3149" fmla="*/ 485785 w 3751729"/>
              <a:gd name="connsiteY3149" fmla="*/ 834560 h 1237129"/>
              <a:gd name="connsiteX3150" fmla="*/ 482585 w 3751729"/>
              <a:gd name="connsiteY3150" fmla="*/ 832836 h 1237129"/>
              <a:gd name="connsiteX3151" fmla="*/ 480124 w 3751729"/>
              <a:gd name="connsiteY3151" fmla="*/ 830375 h 1237129"/>
              <a:gd name="connsiteX3152" fmla="*/ 476924 w 3751729"/>
              <a:gd name="connsiteY3152" fmla="*/ 826929 h 1237129"/>
              <a:gd name="connsiteX3153" fmla="*/ 472739 w 3751729"/>
              <a:gd name="connsiteY3153" fmla="*/ 822744 h 1237129"/>
              <a:gd name="connsiteX3154" fmla="*/ 469539 w 3751729"/>
              <a:gd name="connsiteY3154" fmla="*/ 820283 h 1237129"/>
              <a:gd name="connsiteX3155" fmla="*/ 467077 w 3751729"/>
              <a:gd name="connsiteY3155" fmla="*/ 818559 h 1237129"/>
              <a:gd name="connsiteX3156" fmla="*/ 448124 w 3751729"/>
              <a:gd name="connsiteY3156" fmla="*/ 815113 h 1237129"/>
              <a:gd name="connsiteX3157" fmla="*/ 445662 w 3751729"/>
              <a:gd name="connsiteY3157" fmla="*/ 812652 h 1237129"/>
              <a:gd name="connsiteX3158" fmla="*/ 442462 w 3751729"/>
              <a:gd name="connsiteY3158" fmla="*/ 810190 h 1237129"/>
              <a:gd name="connsiteX3159" fmla="*/ 440000 w 3751729"/>
              <a:gd name="connsiteY3159" fmla="*/ 806744 h 1237129"/>
              <a:gd name="connsiteX3160" fmla="*/ 436801 w 3751729"/>
              <a:gd name="connsiteY3160" fmla="*/ 804283 h 1237129"/>
              <a:gd name="connsiteX3161" fmla="*/ 436062 w 3751729"/>
              <a:gd name="connsiteY3161" fmla="*/ 802560 h 1237129"/>
              <a:gd name="connsiteX3162" fmla="*/ 419570 w 3751729"/>
              <a:gd name="connsiteY3162" fmla="*/ 805021 h 1237129"/>
              <a:gd name="connsiteX3163" fmla="*/ 417108 w 3751729"/>
              <a:gd name="connsiteY3163" fmla="*/ 804283 h 1237129"/>
              <a:gd name="connsiteX3164" fmla="*/ 412924 w 3751729"/>
              <a:gd name="connsiteY3164" fmla="*/ 798375 h 1237129"/>
              <a:gd name="connsiteX3165" fmla="*/ 405539 w 3751729"/>
              <a:gd name="connsiteY3165" fmla="*/ 792467 h 1237129"/>
              <a:gd name="connsiteX3166" fmla="*/ 399878 w 3751729"/>
              <a:gd name="connsiteY3166" fmla="*/ 785082 h 1237129"/>
              <a:gd name="connsiteX3167" fmla="*/ 394217 w 3751729"/>
              <a:gd name="connsiteY3167" fmla="*/ 779175 h 1237129"/>
              <a:gd name="connsiteX3168" fmla="*/ 391017 w 3751729"/>
              <a:gd name="connsiteY3168" fmla="*/ 775729 h 1237129"/>
              <a:gd name="connsiteX3169" fmla="*/ 396677 w 3751729"/>
              <a:gd name="connsiteY3169" fmla="*/ 757513 h 1237129"/>
              <a:gd name="connsiteX3170" fmla="*/ 380924 w 3751729"/>
              <a:gd name="connsiteY3170" fmla="*/ 740036 h 1237129"/>
              <a:gd name="connsiteX3171" fmla="*/ 366893 w 3751729"/>
              <a:gd name="connsiteY3171" fmla="*/ 720837 h 1237129"/>
              <a:gd name="connsiteX3172" fmla="*/ 352124 w 3751729"/>
              <a:gd name="connsiteY3172" fmla="*/ 700899 h 1237129"/>
              <a:gd name="connsiteX3173" fmla="*/ 338094 w 3751729"/>
              <a:gd name="connsiteY3173" fmla="*/ 679976 h 1237129"/>
              <a:gd name="connsiteX3174" fmla="*/ 334894 w 3751729"/>
              <a:gd name="connsiteY3174" fmla="*/ 678252 h 1237129"/>
              <a:gd name="connsiteX3175" fmla="*/ 330709 w 3751729"/>
              <a:gd name="connsiteY3175" fmla="*/ 677514 h 1237129"/>
              <a:gd name="connsiteX3176" fmla="*/ 328248 w 3751729"/>
              <a:gd name="connsiteY3176" fmla="*/ 677514 h 1237129"/>
              <a:gd name="connsiteX3177" fmla="*/ 323324 w 3751729"/>
              <a:gd name="connsiteY3177" fmla="*/ 675792 h 1237129"/>
              <a:gd name="connsiteX3178" fmla="*/ 322586 w 3751729"/>
              <a:gd name="connsiteY3178" fmla="*/ 674068 h 1237129"/>
              <a:gd name="connsiteX3179" fmla="*/ 316925 w 3751729"/>
              <a:gd name="connsiteY3179" fmla="*/ 666683 h 1237129"/>
              <a:gd name="connsiteX3180" fmla="*/ 313725 w 3751729"/>
              <a:gd name="connsiteY3180" fmla="*/ 658315 h 1237129"/>
              <a:gd name="connsiteX3181" fmla="*/ 311262 w 3751729"/>
              <a:gd name="connsiteY3181" fmla="*/ 649945 h 1237129"/>
              <a:gd name="connsiteX3182" fmla="*/ 306339 w 3751729"/>
              <a:gd name="connsiteY3182" fmla="*/ 640837 h 1237129"/>
              <a:gd name="connsiteX3183" fmla="*/ 299694 w 3751729"/>
              <a:gd name="connsiteY3183" fmla="*/ 636653 h 1237129"/>
              <a:gd name="connsiteX3184" fmla="*/ 296493 w 3751729"/>
              <a:gd name="connsiteY3184" fmla="*/ 633207 h 1237129"/>
              <a:gd name="connsiteX3185" fmla="*/ 294032 w 3751729"/>
              <a:gd name="connsiteY3185" fmla="*/ 630746 h 1237129"/>
              <a:gd name="connsiteX3186" fmla="*/ 290832 w 3751729"/>
              <a:gd name="connsiteY3186" fmla="*/ 629022 h 1237129"/>
              <a:gd name="connsiteX3187" fmla="*/ 290832 w 3751729"/>
              <a:gd name="connsiteY3187" fmla="*/ 644777 h 1237129"/>
              <a:gd name="connsiteX3188" fmla="*/ 295017 w 3751729"/>
              <a:gd name="connsiteY3188" fmla="*/ 650683 h 1237129"/>
              <a:gd name="connsiteX3189" fmla="*/ 304124 w 3751729"/>
              <a:gd name="connsiteY3189" fmla="*/ 660776 h 1237129"/>
              <a:gd name="connsiteX3190" fmla="*/ 312494 w 3751729"/>
              <a:gd name="connsiteY3190" fmla="*/ 672346 h 1237129"/>
              <a:gd name="connsiteX3191" fmla="*/ 323324 w 3751729"/>
              <a:gd name="connsiteY3191" fmla="*/ 687360 h 1237129"/>
              <a:gd name="connsiteX3192" fmla="*/ 331693 w 3751729"/>
              <a:gd name="connsiteY3192" fmla="*/ 701637 h 1237129"/>
              <a:gd name="connsiteX3193" fmla="*/ 340801 w 3751729"/>
              <a:gd name="connsiteY3193" fmla="*/ 716653 h 1237129"/>
              <a:gd name="connsiteX3194" fmla="*/ 347447 w 3751729"/>
              <a:gd name="connsiteY3194" fmla="*/ 729945 h 1237129"/>
              <a:gd name="connsiteX3195" fmla="*/ 350647 w 3751729"/>
              <a:gd name="connsiteY3195" fmla="*/ 738314 h 1237129"/>
              <a:gd name="connsiteX3196" fmla="*/ 350647 w 3751729"/>
              <a:gd name="connsiteY3196" fmla="*/ 744222 h 1237129"/>
              <a:gd name="connsiteX3197" fmla="*/ 348925 w 3751729"/>
              <a:gd name="connsiteY3197" fmla="*/ 746683 h 1237129"/>
              <a:gd name="connsiteX3198" fmla="*/ 347200 w 3751729"/>
              <a:gd name="connsiteY3198" fmla="*/ 748406 h 1237129"/>
              <a:gd name="connsiteX3199" fmla="*/ 347200 w 3751729"/>
              <a:gd name="connsiteY3199" fmla="*/ 750129 h 1237129"/>
              <a:gd name="connsiteX3200" fmla="*/ 344740 w 3751729"/>
              <a:gd name="connsiteY3200" fmla="*/ 751853 h 1237129"/>
              <a:gd name="connsiteX3201" fmla="*/ 344740 w 3751729"/>
              <a:gd name="connsiteY3201" fmla="*/ 745945 h 1237129"/>
              <a:gd name="connsiteX3202" fmla="*/ 343017 w 3751729"/>
              <a:gd name="connsiteY3202" fmla="*/ 741021 h 1237129"/>
              <a:gd name="connsiteX3203" fmla="*/ 343017 w 3751729"/>
              <a:gd name="connsiteY3203" fmla="*/ 738561 h 1237129"/>
              <a:gd name="connsiteX3204" fmla="*/ 341294 w 3751729"/>
              <a:gd name="connsiteY3204" fmla="*/ 735114 h 1237129"/>
              <a:gd name="connsiteX3205" fmla="*/ 338832 w 3751729"/>
              <a:gd name="connsiteY3205" fmla="*/ 735114 h 1237129"/>
              <a:gd name="connsiteX3206" fmla="*/ 337109 w 3751729"/>
              <a:gd name="connsiteY3206" fmla="*/ 735114 h 1237129"/>
              <a:gd name="connsiteX3207" fmla="*/ 335386 w 3751729"/>
              <a:gd name="connsiteY3207" fmla="*/ 735114 h 1237129"/>
              <a:gd name="connsiteX3208" fmla="*/ 334648 w 3751729"/>
              <a:gd name="connsiteY3208" fmla="*/ 735114 h 1237129"/>
              <a:gd name="connsiteX3209" fmla="*/ 332924 w 3751729"/>
              <a:gd name="connsiteY3209" fmla="*/ 735114 h 1237129"/>
              <a:gd name="connsiteX3210" fmla="*/ 328740 w 3751729"/>
              <a:gd name="connsiteY3210" fmla="*/ 735114 h 1237129"/>
              <a:gd name="connsiteX3211" fmla="*/ 325540 w 3751729"/>
              <a:gd name="connsiteY3211" fmla="*/ 725022 h 1237129"/>
              <a:gd name="connsiteX3212" fmla="*/ 323078 w 3751729"/>
              <a:gd name="connsiteY3212" fmla="*/ 714929 h 1237129"/>
              <a:gd name="connsiteX3213" fmla="*/ 318156 w 3751729"/>
              <a:gd name="connsiteY3213" fmla="*/ 706561 h 1237129"/>
              <a:gd name="connsiteX3214" fmla="*/ 311509 w 3751729"/>
              <a:gd name="connsiteY3214" fmla="*/ 699175 h 1237129"/>
              <a:gd name="connsiteX3215" fmla="*/ 302401 w 3751729"/>
              <a:gd name="connsiteY3215" fmla="*/ 693269 h 1237129"/>
              <a:gd name="connsiteX3216" fmla="*/ 294032 w 3751729"/>
              <a:gd name="connsiteY3216" fmla="*/ 687360 h 1237129"/>
              <a:gd name="connsiteX3217" fmla="*/ 286647 w 3751729"/>
              <a:gd name="connsiteY3217" fmla="*/ 677268 h 1237129"/>
              <a:gd name="connsiteX3218" fmla="*/ 289109 w 3751729"/>
              <a:gd name="connsiteY3218" fmla="*/ 675545 h 1237129"/>
              <a:gd name="connsiteX3219" fmla="*/ 290832 w 3751729"/>
              <a:gd name="connsiteY3219" fmla="*/ 675545 h 1237129"/>
              <a:gd name="connsiteX3220" fmla="*/ 292555 w 3751729"/>
              <a:gd name="connsiteY3220" fmla="*/ 675545 h 1237129"/>
              <a:gd name="connsiteX3221" fmla="*/ 292555 w 3751729"/>
              <a:gd name="connsiteY3221" fmla="*/ 673821 h 1237129"/>
              <a:gd name="connsiteX3222" fmla="*/ 292555 w 3751729"/>
              <a:gd name="connsiteY3222" fmla="*/ 672099 h 1237129"/>
              <a:gd name="connsiteX3223" fmla="*/ 294278 w 3751729"/>
              <a:gd name="connsiteY3223" fmla="*/ 671361 h 1237129"/>
              <a:gd name="connsiteX3224" fmla="*/ 283447 w 3751729"/>
              <a:gd name="connsiteY3224" fmla="*/ 663976 h 1237129"/>
              <a:gd name="connsiteX3225" fmla="*/ 278524 w 3751729"/>
              <a:gd name="connsiteY3225" fmla="*/ 654869 h 1237129"/>
              <a:gd name="connsiteX3226" fmla="*/ 273601 w 3751729"/>
              <a:gd name="connsiteY3226" fmla="*/ 644777 h 1237129"/>
              <a:gd name="connsiteX3227" fmla="*/ 271140 w 3751729"/>
              <a:gd name="connsiteY3227" fmla="*/ 633207 h 1237129"/>
              <a:gd name="connsiteX3228" fmla="*/ 265478 w 3751729"/>
              <a:gd name="connsiteY3228" fmla="*/ 623115 h 1237129"/>
              <a:gd name="connsiteX3229" fmla="*/ 258093 w 3751729"/>
              <a:gd name="connsiteY3229" fmla="*/ 614745 h 1237129"/>
              <a:gd name="connsiteX3230" fmla="*/ 249725 w 3751729"/>
              <a:gd name="connsiteY3230" fmla="*/ 609823 h 1237129"/>
              <a:gd name="connsiteX3231" fmla="*/ 238894 w 3751729"/>
              <a:gd name="connsiteY3231" fmla="*/ 605638 h 1237129"/>
              <a:gd name="connsiteX3232" fmla="*/ 230524 w 3751729"/>
              <a:gd name="connsiteY3232" fmla="*/ 599730 h 1237129"/>
              <a:gd name="connsiteX3233" fmla="*/ 224863 w 3751729"/>
              <a:gd name="connsiteY3233" fmla="*/ 592346 h 1237129"/>
              <a:gd name="connsiteX3234" fmla="*/ 221663 w 3751729"/>
              <a:gd name="connsiteY3234" fmla="*/ 583977 h 1237129"/>
              <a:gd name="connsiteX3235" fmla="*/ 217478 w 3751729"/>
              <a:gd name="connsiteY3235" fmla="*/ 574871 h 1237129"/>
              <a:gd name="connsiteX3236" fmla="*/ 207633 w 3751729"/>
              <a:gd name="connsiteY3236" fmla="*/ 560594 h 1237129"/>
              <a:gd name="connsiteX3237" fmla="*/ 199264 w 3751729"/>
              <a:gd name="connsiteY3237" fmla="*/ 550502 h 1237129"/>
              <a:gd name="connsiteX3238" fmla="*/ 190156 w 3751729"/>
              <a:gd name="connsiteY3238" fmla="*/ 541394 h 1237129"/>
              <a:gd name="connsiteX3239" fmla="*/ 184494 w 3751729"/>
              <a:gd name="connsiteY3239" fmla="*/ 531303 h 1237129"/>
              <a:gd name="connsiteX3240" fmla="*/ 180309 w 3751729"/>
              <a:gd name="connsiteY3240" fmla="*/ 518010 h 1237129"/>
              <a:gd name="connsiteX3241" fmla="*/ 177109 w 3751729"/>
              <a:gd name="connsiteY3241" fmla="*/ 500533 h 1237129"/>
              <a:gd name="connsiteX3242" fmla="*/ 176371 w 3751729"/>
              <a:gd name="connsiteY3242" fmla="*/ 476410 h 1237129"/>
              <a:gd name="connsiteX3243" fmla="*/ 176371 w 3751729"/>
              <a:gd name="connsiteY3243" fmla="*/ 470503 h 1237129"/>
              <a:gd name="connsiteX3244" fmla="*/ 177109 w 3751729"/>
              <a:gd name="connsiteY3244" fmla="*/ 458933 h 1237129"/>
              <a:gd name="connsiteX3245" fmla="*/ 177109 w 3751729"/>
              <a:gd name="connsiteY3245" fmla="*/ 443180 h 1237129"/>
              <a:gd name="connsiteX3246" fmla="*/ 177109 w 3751729"/>
              <a:gd name="connsiteY3246" fmla="*/ 423980 h 1237129"/>
              <a:gd name="connsiteX3247" fmla="*/ 177109 w 3751729"/>
              <a:gd name="connsiteY3247" fmla="*/ 406503 h 1237129"/>
              <a:gd name="connsiteX3248" fmla="*/ 178833 w 3751729"/>
              <a:gd name="connsiteY3248" fmla="*/ 392226 h 1237129"/>
              <a:gd name="connsiteX3249" fmla="*/ 180556 w 3751729"/>
              <a:gd name="connsiteY3249" fmla="*/ 383118 h 1237129"/>
              <a:gd name="connsiteX3250" fmla="*/ 184740 w 3751729"/>
              <a:gd name="connsiteY3250" fmla="*/ 381396 h 1237129"/>
              <a:gd name="connsiteX3251" fmla="*/ 187940 w 3751729"/>
              <a:gd name="connsiteY3251" fmla="*/ 381396 h 1237129"/>
              <a:gd name="connsiteX3252" fmla="*/ 190402 w 3751729"/>
              <a:gd name="connsiteY3252" fmla="*/ 381396 h 1237129"/>
              <a:gd name="connsiteX3253" fmla="*/ 193602 w 3751729"/>
              <a:gd name="connsiteY3253" fmla="*/ 381396 h 1237129"/>
              <a:gd name="connsiteX3254" fmla="*/ 196064 w 3751729"/>
              <a:gd name="connsiteY3254" fmla="*/ 383118 h 1237129"/>
              <a:gd name="connsiteX3255" fmla="*/ 197787 w 3751729"/>
              <a:gd name="connsiteY3255" fmla="*/ 386564 h 1237129"/>
              <a:gd name="connsiteX3256" fmla="*/ 200248 w 3751729"/>
              <a:gd name="connsiteY3256" fmla="*/ 389026 h 1237129"/>
              <a:gd name="connsiteX3257" fmla="*/ 201970 w 3751729"/>
              <a:gd name="connsiteY3257" fmla="*/ 392473 h 1237129"/>
              <a:gd name="connsiteX3258" fmla="*/ 201970 w 3751729"/>
              <a:gd name="connsiteY3258" fmla="*/ 375733 h 1237129"/>
              <a:gd name="connsiteX3259" fmla="*/ 192125 w 3751729"/>
              <a:gd name="connsiteY3259" fmla="*/ 364165 h 1237129"/>
              <a:gd name="connsiteX3260" fmla="*/ 180556 w 3751729"/>
              <a:gd name="connsiteY3260" fmla="*/ 352596 h 1237129"/>
              <a:gd name="connsiteX3261" fmla="*/ 167264 w 3751729"/>
              <a:gd name="connsiteY3261" fmla="*/ 344226 h 1237129"/>
              <a:gd name="connsiteX3262" fmla="*/ 167264 w 3751729"/>
              <a:gd name="connsiteY3262" fmla="*/ 351611 h 1237129"/>
              <a:gd name="connsiteX3263" fmla="*/ 172926 w 3751729"/>
              <a:gd name="connsiteY3263" fmla="*/ 355795 h 1237129"/>
              <a:gd name="connsiteX3264" fmla="*/ 178586 w 3751729"/>
              <a:gd name="connsiteY3264" fmla="*/ 359980 h 1237129"/>
              <a:gd name="connsiteX3265" fmla="*/ 184247 w 3751729"/>
              <a:gd name="connsiteY3265" fmla="*/ 364165 h 1237129"/>
              <a:gd name="connsiteX3266" fmla="*/ 188433 w 3751729"/>
              <a:gd name="connsiteY3266" fmla="*/ 370072 h 1237129"/>
              <a:gd name="connsiteX3267" fmla="*/ 188433 w 3751729"/>
              <a:gd name="connsiteY3267" fmla="*/ 373518 h 1237129"/>
              <a:gd name="connsiteX3268" fmla="*/ 187694 w 3751729"/>
              <a:gd name="connsiteY3268" fmla="*/ 373518 h 1237129"/>
              <a:gd name="connsiteX3269" fmla="*/ 187694 w 3751729"/>
              <a:gd name="connsiteY3269" fmla="*/ 375241 h 1237129"/>
              <a:gd name="connsiteX3270" fmla="*/ 185971 w 3751729"/>
              <a:gd name="connsiteY3270" fmla="*/ 375980 h 1237129"/>
              <a:gd name="connsiteX3271" fmla="*/ 182772 w 3751729"/>
              <a:gd name="connsiteY3271" fmla="*/ 377703 h 1237129"/>
              <a:gd name="connsiteX3272" fmla="*/ 182032 w 3751729"/>
              <a:gd name="connsiteY3272" fmla="*/ 379426 h 1237129"/>
              <a:gd name="connsiteX3273" fmla="*/ 177109 w 3751729"/>
              <a:gd name="connsiteY3273" fmla="*/ 379426 h 1237129"/>
              <a:gd name="connsiteX3274" fmla="*/ 172926 w 3751729"/>
              <a:gd name="connsiteY3274" fmla="*/ 379426 h 1237129"/>
              <a:gd name="connsiteX3275" fmla="*/ 171202 w 3751729"/>
              <a:gd name="connsiteY3275" fmla="*/ 379426 h 1237129"/>
              <a:gd name="connsiteX3276" fmla="*/ 171202 w 3751729"/>
              <a:gd name="connsiteY3276" fmla="*/ 377703 h 1237129"/>
              <a:gd name="connsiteX3277" fmla="*/ 170463 w 3751729"/>
              <a:gd name="connsiteY3277" fmla="*/ 377703 h 1237129"/>
              <a:gd name="connsiteX3278" fmla="*/ 167264 w 3751729"/>
              <a:gd name="connsiteY3278" fmla="*/ 375980 h 1237129"/>
              <a:gd name="connsiteX3279" fmla="*/ 157418 w 3751729"/>
              <a:gd name="connsiteY3279" fmla="*/ 363426 h 1237129"/>
              <a:gd name="connsiteX3280" fmla="*/ 148310 w 3751729"/>
              <a:gd name="connsiteY3280" fmla="*/ 350134 h 1237129"/>
              <a:gd name="connsiteX3281" fmla="*/ 141664 w 3751729"/>
              <a:gd name="connsiteY3281" fmla="*/ 335119 h 1237129"/>
              <a:gd name="connsiteX3282" fmla="*/ 148310 w 3751729"/>
              <a:gd name="connsiteY3282" fmla="*/ 335119 h 1237129"/>
              <a:gd name="connsiteX3283" fmla="*/ 151510 w 3751729"/>
              <a:gd name="connsiteY3283" fmla="*/ 336841 h 1237129"/>
              <a:gd name="connsiteX3284" fmla="*/ 153972 w 3751729"/>
              <a:gd name="connsiteY3284" fmla="*/ 336841 h 1237129"/>
              <a:gd name="connsiteX3285" fmla="*/ 157171 w 3751729"/>
              <a:gd name="connsiteY3285" fmla="*/ 336841 h 1237129"/>
              <a:gd name="connsiteX3286" fmla="*/ 159633 w 3751729"/>
              <a:gd name="connsiteY3286" fmla="*/ 335119 h 1237129"/>
              <a:gd name="connsiteX3287" fmla="*/ 148064 w 3751729"/>
              <a:gd name="connsiteY3287" fmla="*/ 330934 h 1237129"/>
              <a:gd name="connsiteX3288" fmla="*/ 141418 w 3751729"/>
              <a:gd name="connsiteY3288" fmla="*/ 324288 h 1237129"/>
              <a:gd name="connsiteX3289" fmla="*/ 135756 w 3751729"/>
              <a:gd name="connsiteY3289" fmla="*/ 315180 h 1237129"/>
              <a:gd name="connsiteX3290" fmla="*/ 130834 w 3751729"/>
              <a:gd name="connsiteY3290" fmla="*/ 305088 h 1237129"/>
              <a:gd name="connsiteX3291" fmla="*/ 128371 w 3751729"/>
              <a:gd name="connsiteY3291" fmla="*/ 294995 h 1237129"/>
              <a:gd name="connsiteX3292" fmla="*/ 124187 w 3751729"/>
              <a:gd name="connsiteY3292" fmla="*/ 285888 h 1237129"/>
              <a:gd name="connsiteX3293" fmla="*/ 118525 w 3751729"/>
              <a:gd name="connsiteY3293" fmla="*/ 278503 h 1237129"/>
              <a:gd name="connsiteX3294" fmla="*/ 109418 w 3751729"/>
              <a:gd name="connsiteY3294" fmla="*/ 274319 h 1237129"/>
              <a:gd name="connsiteX3295" fmla="*/ 112618 w 3751729"/>
              <a:gd name="connsiteY3295" fmla="*/ 255118 h 1237129"/>
              <a:gd name="connsiteX3296" fmla="*/ 102772 w 3751729"/>
              <a:gd name="connsiteY3296" fmla="*/ 244287 h 1237129"/>
              <a:gd name="connsiteX3297" fmla="*/ 93664 w 3751729"/>
              <a:gd name="connsiteY3297" fmla="*/ 230995 h 1237129"/>
              <a:gd name="connsiteX3298" fmla="*/ 86279 w 3751729"/>
              <a:gd name="connsiteY3298" fmla="*/ 217703 h 1237129"/>
              <a:gd name="connsiteX3299" fmla="*/ 76433 w 3751729"/>
              <a:gd name="connsiteY3299" fmla="*/ 204411 h 1237129"/>
              <a:gd name="connsiteX3300" fmla="*/ 64865 w 3751729"/>
              <a:gd name="connsiteY3300" fmla="*/ 194320 h 1237129"/>
              <a:gd name="connsiteX3301" fmla="*/ 49111 w 3751729"/>
              <a:gd name="connsiteY3301" fmla="*/ 186935 h 1237129"/>
              <a:gd name="connsiteX3302" fmla="*/ 30156 w 3751729"/>
              <a:gd name="connsiteY3302" fmla="*/ 182750 h 1237129"/>
              <a:gd name="connsiteX3303" fmla="*/ 14403 w 3751729"/>
              <a:gd name="connsiteY3303" fmla="*/ 175366 h 1237129"/>
              <a:gd name="connsiteX3304" fmla="*/ 2834 w 3751729"/>
              <a:gd name="connsiteY3304" fmla="*/ 165273 h 1237129"/>
              <a:gd name="connsiteX3305" fmla="*/ 0 w 3751729"/>
              <a:gd name="connsiteY3305" fmla="*/ 162806 h 123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</a:cxnLst>
            <a:rect l="l" t="t" r="r" b="b"/>
            <a:pathLst>
              <a:path w="3751729" h="1237129">
                <a:moveTo>
                  <a:pt x="2921457" y="929082"/>
                </a:moveTo>
                <a:lnTo>
                  <a:pt x="2929580" y="931543"/>
                </a:lnTo>
                <a:lnTo>
                  <a:pt x="2939672" y="937451"/>
                </a:lnTo>
                <a:lnTo>
                  <a:pt x="2948781" y="946559"/>
                </a:lnTo>
                <a:lnTo>
                  <a:pt x="2952719" y="954190"/>
                </a:lnTo>
                <a:lnTo>
                  <a:pt x="2948781" y="956651"/>
                </a:lnTo>
                <a:lnTo>
                  <a:pt x="2944596" y="960835"/>
                </a:lnTo>
                <a:lnTo>
                  <a:pt x="2939672" y="964282"/>
                </a:lnTo>
                <a:lnTo>
                  <a:pt x="2933765" y="966743"/>
                </a:lnTo>
                <a:lnTo>
                  <a:pt x="2938688" y="980035"/>
                </a:lnTo>
                <a:lnTo>
                  <a:pt x="2944596" y="990128"/>
                </a:lnTo>
                <a:lnTo>
                  <a:pt x="2950257" y="1001944"/>
                </a:lnTo>
                <a:lnTo>
                  <a:pt x="2945334" y="1003666"/>
                </a:lnTo>
                <a:lnTo>
                  <a:pt x="2942872" y="1003666"/>
                </a:lnTo>
                <a:lnTo>
                  <a:pt x="2941150" y="1003666"/>
                </a:lnTo>
                <a:lnTo>
                  <a:pt x="2939672" y="1005389"/>
                </a:lnTo>
                <a:lnTo>
                  <a:pt x="2938688" y="1006128"/>
                </a:lnTo>
                <a:lnTo>
                  <a:pt x="2937212" y="1009574"/>
                </a:lnTo>
                <a:lnTo>
                  <a:pt x="2929580" y="1022867"/>
                </a:lnTo>
                <a:lnTo>
                  <a:pt x="2925642" y="1038866"/>
                </a:lnTo>
                <a:lnTo>
                  <a:pt x="2918011" y="1053143"/>
                </a:lnTo>
                <a:lnTo>
                  <a:pt x="2914073" y="1056589"/>
                </a:lnTo>
                <a:lnTo>
                  <a:pt x="2909888" y="1056589"/>
                </a:lnTo>
                <a:lnTo>
                  <a:pt x="2904965" y="1057327"/>
                </a:lnTo>
                <a:lnTo>
                  <a:pt x="2900041" y="1057327"/>
                </a:lnTo>
                <a:lnTo>
                  <a:pt x="2890935" y="1052404"/>
                </a:lnTo>
                <a:lnTo>
                  <a:pt x="2882565" y="1050681"/>
                </a:lnTo>
                <a:lnTo>
                  <a:pt x="2871981" y="1050681"/>
                </a:lnTo>
                <a:lnTo>
                  <a:pt x="2861888" y="1048958"/>
                </a:lnTo>
                <a:lnTo>
                  <a:pt x="2852042" y="1044774"/>
                </a:lnTo>
                <a:lnTo>
                  <a:pt x="2842196" y="1031235"/>
                </a:lnTo>
                <a:lnTo>
                  <a:pt x="2834812" y="1013758"/>
                </a:lnTo>
                <a:lnTo>
                  <a:pt x="2833088" y="993574"/>
                </a:lnTo>
                <a:lnTo>
                  <a:pt x="2840472" y="990128"/>
                </a:lnTo>
                <a:lnTo>
                  <a:pt x="2846380" y="990128"/>
                </a:lnTo>
                <a:lnTo>
                  <a:pt x="2852042" y="991851"/>
                </a:lnTo>
                <a:lnTo>
                  <a:pt x="2857950" y="988651"/>
                </a:lnTo>
                <a:lnTo>
                  <a:pt x="2865334" y="976835"/>
                </a:lnTo>
                <a:lnTo>
                  <a:pt x="2883549" y="974374"/>
                </a:lnTo>
                <a:lnTo>
                  <a:pt x="2886749" y="971666"/>
                </a:lnTo>
                <a:lnTo>
                  <a:pt x="2889211" y="968466"/>
                </a:lnTo>
                <a:lnTo>
                  <a:pt x="2889211" y="966743"/>
                </a:lnTo>
                <a:lnTo>
                  <a:pt x="2890935" y="965758"/>
                </a:lnTo>
                <a:lnTo>
                  <a:pt x="2890935" y="964282"/>
                </a:lnTo>
                <a:lnTo>
                  <a:pt x="2890935" y="962559"/>
                </a:lnTo>
                <a:lnTo>
                  <a:pt x="2892411" y="960835"/>
                </a:lnTo>
                <a:lnTo>
                  <a:pt x="2895119" y="960835"/>
                </a:lnTo>
                <a:lnTo>
                  <a:pt x="2900041" y="960835"/>
                </a:lnTo>
                <a:lnTo>
                  <a:pt x="2904965" y="960835"/>
                </a:lnTo>
                <a:lnTo>
                  <a:pt x="2908165" y="950743"/>
                </a:lnTo>
                <a:lnTo>
                  <a:pt x="2912349" y="943112"/>
                </a:lnTo>
                <a:lnTo>
                  <a:pt x="2916534" y="936466"/>
                </a:lnTo>
                <a:close/>
                <a:moveTo>
                  <a:pt x="2505952" y="909636"/>
                </a:moveTo>
                <a:lnTo>
                  <a:pt x="2514321" y="915544"/>
                </a:lnTo>
                <a:lnTo>
                  <a:pt x="2519244" y="925636"/>
                </a:lnTo>
                <a:lnTo>
                  <a:pt x="2519244" y="940651"/>
                </a:lnTo>
                <a:lnTo>
                  <a:pt x="2519244" y="942374"/>
                </a:lnTo>
                <a:lnTo>
                  <a:pt x="2519983" y="942374"/>
                </a:lnTo>
                <a:lnTo>
                  <a:pt x="2521707" y="943113"/>
                </a:lnTo>
                <a:lnTo>
                  <a:pt x="2521707" y="944836"/>
                </a:lnTo>
                <a:lnTo>
                  <a:pt x="2521707" y="948282"/>
                </a:lnTo>
                <a:lnTo>
                  <a:pt x="2519244" y="948282"/>
                </a:lnTo>
                <a:lnTo>
                  <a:pt x="2515798" y="949021"/>
                </a:lnTo>
                <a:lnTo>
                  <a:pt x="2514321" y="952466"/>
                </a:lnTo>
                <a:lnTo>
                  <a:pt x="2511860" y="954190"/>
                </a:lnTo>
                <a:lnTo>
                  <a:pt x="2510137" y="954190"/>
                </a:lnTo>
                <a:lnTo>
                  <a:pt x="2508413" y="952466"/>
                </a:lnTo>
                <a:lnTo>
                  <a:pt x="2507675" y="952466"/>
                </a:lnTo>
                <a:lnTo>
                  <a:pt x="2505952" y="950743"/>
                </a:lnTo>
                <a:lnTo>
                  <a:pt x="2500290" y="938928"/>
                </a:lnTo>
                <a:lnTo>
                  <a:pt x="2500290" y="921452"/>
                </a:lnTo>
                <a:lnTo>
                  <a:pt x="2501768" y="918990"/>
                </a:lnTo>
                <a:lnTo>
                  <a:pt x="2503490" y="917267"/>
                </a:lnTo>
                <a:lnTo>
                  <a:pt x="2504229" y="913821"/>
                </a:lnTo>
                <a:close/>
                <a:moveTo>
                  <a:pt x="3023856" y="892159"/>
                </a:moveTo>
                <a:lnTo>
                  <a:pt x="3030503" y="899544"/>
                </a:lnTo>
                <a:lnTo>
                  <a:pt x="3035425" y="907913"/>
                </a:lnTo>
                <a:lnTo>
                  <a:pt x="3035425" y="921452"/>
                </a:lnTo>
                <a:lnTo>
                  <a:pt x="3036164" y="924652"/>
                </a:lnTo>
                <a:lnTo>
                  <a:pt x="3037887" y="924652"/>
                </a:lnTo>
                <a:lnTo>
                  <a:pt x="3037887" y="925637"/>
                </a:lnTo>
                <a:lnTo>
                  <a:pt x="3036164" y="925637"/>
                </a:lnTo>
                <a:lnTo>
                  <a:pt x="3035425" y="929083"/>
                </a:lnTo>
                <a:lnTo>
                  <a:pt x="3035425" y="931543"/>
                </a:lnTo>
                <a:lnTo>
                  <a:pt x="3033703" y="931543"/>
                </a:lnTo>
                <a:lnTo>
                  <a:pt x="3033703" y="933267"/>
                </a:lnTo>
                <a:lnTo>
                  <a:pt x="3032225" y="933267"/>
                </a:lnTo>
                <a:lnTo>
                  <a:pt x="3029519" y="934744"/>
                </a:lnTo>
                <a:lnTo>
                  <a:pt x="3028041" y="931543"/>
                </a:lnTo>
                <a:lnTo>
                  <a:pt x="3028041" y="930559"/>
                </a:lnTo>
                <a:lnTo>
                  <a:pt x="3026319" y="930559"/>
                </a:lnTo>
                <a:lnTo>
                  <a:pt x="3024595" y="930559"/>
                </a:lnTo>
                <a:lnTo>
                  <a:pt x="3023856" y="929083"/>
                </a:lnTo>
                <a:lnTo>
                  <a:pt x="3023856" y="931543"/>
                </a:lnTo>
                <a:lnTo>
                  <a:pt x="3024595" y="933267"/>
                </a:lnTo>
                <a:lnTo>
                  <a:pt x="3026319" y="934744"/>
                </a:lnTo>
                <a:lnTo>
                  <a:pt x="3028041" y="936467"/>
                </a:lnTo>
                <a:lnTo>
                  <a:pt x="3026319" y="937452"/>
                </a:lnTo>
                <a:lnTo>
                  <a:pt x="3026319" y="938929"/>
                </a:lnTo>
                <a:lnTo>
                  <a:pt x="3026319" y="940652"/>
                </a:lnTo>
                <a:lnTo>
                  <a:pt x="3026319" y="944836"/>
                </a:lnTo>
                <a:lnTo>
                  <a:pt x="3018933" y="944836"/>
                </a:lnTo>
                <a:lnTo>
                  <a:pt x="3018933" y="940652"/>
                </a:lnTo>
                <a:lnTo>
                  <a:pt x="3014749" y="938929"/>
                </a:lnTo>
                <a:lnTo>
                  <a:pt x="3010564" y="936467"/>
                </a:lnTo>
                <a:lnTo>
                  <a:pt x="3009087" y="933267"/>
                </a:lnTo>
                <a:lnTo>
                  <a:pt x="3007364" y="929083"/>
                </a:lnTo>
                <a:lnTo>
                  <a:pt x="3006626" y="924652"/>
                </a:lnTo>
                <a:lnTo>
                  <a:pt x="3003180" y="918990"/>
                </a:lnTo>
                <a:lnTo>
                  <a:pt x="2998995" y="921452"/>
                </a:lnTo>
                <a:lnTo>
                  <a:pt x="2993334" y="924652"/>
                </a:lnTo>
                <a:lnTo>
                  <a:pt x="2987426" y="925637"/>
                </a:lnTo>
                <a:lnTo>
                  <a:pt x="2981764" y="929083"/>
                </a:lnTo>
                <a:lnTo>
                  <a:pt x="2981764" y="921452"/>
                </a:lnTo>
                <a:lnTo>
                  <a:pt x="2983488" y="919729"/>
                </a:lnTo>
                <a:lnTo>
                  <a:pt x="2983488" y="918990"/>
                </a:lnTo>
                <a:lnTo>
                  <a:pt x="2984226" y="918990"/>
                </a:lnTo>
                <a:lnTo>
                  <a:pt x="2984226" y="915544"/>
                </a:lnTo>
                <a:lnTo>
                  <a:pt x="2995794" y="911360"/>
                </a:lnTo>
                <a:lnTo>
                  <a:pt x="3006626" y="907913"/>
                </a:lnTo>
                <a:lnTo>
                  <a:pt x="3016472" y="902005"/>
                </a:lnTo>
                <a:close/>
                <a:moveTo>
                  <a:pt x="2952719" y="876159"/>
                </a:moveTo>
                <a:lnTo>
                  <a:pt x="2956165" y="879359"/>
                </a:lnTo>
                <a:lnTo>
                  <a:pt x="2956904" y="879359"/>
                </a:lnTo>
                <a:lnTo>
                  <a:pt x="2958626" y="879359"/>
                </a:lnTo>
                <a:lnTo>
                  <a:pt x="2958626" y="880344"/>
                </a:lnTo>
                <a:lnTo>
                  <a:pt x="2958626" y="883543"/>
                </a:lnTo>
                <a:lnTo>
                  <a:pt x="2960350" y="886251"/>
                </a:lnTo>
                <a:lnTo>
                  <a:pt x="2951242" y="893636"/>
                </a:lnTo>
                <a:lnTo>
                  <a:pt x="2945334" y="901267"/>
                </a:lnTo>
                <a:lnTo>
                  <a:pt x="2938687" y="907175"/>
                </a:lnTo>
                <a:lnTo>
                  <a:pt x="2928103" y="913082"/>
                </a:lnTo>
                <a:lnTo>
                  <a:pt x="2928103" y="909636"/>
                </a:lnTo>
                <a:lnTo>
                  <a:pt x="2937212" y="899544"/>
                </a:lnTo>
                <a:lnTo>
                  <a:pt x="2947058" y="889451"/>
                </a:lnTo>
                <a:close/>
                <a:moveTo>
                  <a:pt x="882825" y="798867"/>
                </a:moveTo>
                <a:lnTo>
                  <a:pt x="888734" y="798867"/>
                </a:lnTo>
                <a:lnTo>
                  <a:pt x="894395" y="799852"/>
                </a:lnTo>
                <a:lnTo>
                  <a:pt x="901041" y="803052"/>
                </a:lnTo>
                <a:lnTo>
                  <a:pt x="898579" y="804776"/>
                </a:lnTo>
                <a:lnTo>
                  <a:pt x="896857" y="807236"/>
                </a:lnTo>
                <a:lnTo>
                  <a:pt x="894395" y="808960"/>
                </a:lnTo>
                <a:lnTo>
                  <a:pt x="889472" y="808960"/>
                </a:lnTo>
                <a:lnTo>
                  <a:pt x="885288" y="807236"/>
                </a:lnTo>
                <a:lnTo>
                  <a:pt x="881350" y="807236"/>
                </a:lnTo>
                <a:lnTo>
                  <a:pt x="877164" y="807236"/>
                </a:lnTo>
                <a:lnTo>
                  <a:pt x="872241" y="808960"/>
                </a:lnTo>
                <a:lnTo>
                  <a:pt x="872241" y="799852"/>
                </a:lnTo>
                <a:close/>
                <a:moveTo>
                  <a:pt x="2977580" y="789759"/>
                </a:moveTo>
                <a:lnTo>
                  <a:pt x="2981764" y="789759"/>
                </a:lnTo>
                <a:lnTo>
                  <a:pt x="2987426" y="789759"/>
                </a:lnTo>
                <a:lnTo>
                  <a:pt x="2987426" y="804775"/>
                </a:lnTo>
                <a:lnTo>
                  <a:pt x="2985948" y="814867"/>
                </a:lnTo>
                <a:lnTo>
                  <a:pt x="2983488" y="823237"/>
                </a:lnTo>
                <a:lnTo>
                  <a:pt x="2981764" y="838251"/>
                </a:lnTo>
                <a:lnTo>
                  <a:pt x="2984226" y="838251"/>
                </a:lnTo>
                <a:lnTo>
                  <a:pt x="2984226" y="840960"/>
                </a:lnTo>
                <a:lnTo>
                  <a:pt x="2989888" y="840960"/>
                </a:lnTo>
                <a:lnTo>
                  <a:pt x="2993334" y="840960"/>
                </a:lnTo>
                <a:lnTo>
                  <a:pt x="2995794" y="840960"/>
                </a:lnTo>
                <a:lnTo>
                  <a:pt x="2998995" y="842435"/>
                </a:lnTo>
                <a:lnTo>
                  <a:pt x="3001457" y="844160"/>
                </a:lnTo>
                <a:lnTo>
                  <a:pt x="3007364" y="845144"/>
                </a:lnTo>
                <a:lnTo>
                  <a:pt x="3010564" y="855974"/>
                </a:lnTo>
                <a:lnTo>
                  <a:pt x="3016472" y="862621"/>
                </a:lnTo>
                <a:lnTo>
                  <a:pt x="3023856" y="870251"/>
                </a:lnTo>
                <a:lnTo>
                  <a:pt x="3029519" y="880344"/>
                </a:lnTo>
                <a:lnTo>
                  <a:pt x="3024595" y="882066"/>
                </a:lnTo>
                <a:lnTo>
                  <a:pt x="3022133" y="883544"/>
                </a:lnTo>
                <a:lnTo>
                  <a:pt x="3020656" y="883544"/>
                </a:lnTo>
                <a:lnTo>
                  <a:pt x="3020656" y="885267"/>
                </a:lnTo>
                <a:lnTo>
                  <a:pt x="3020656" y="886252"/>
                </a:lnTo>
                <a:lnTo>
                  <a:pt x="3020656" y="887728"/>
                </a:lnTo>
                <a:lnTo>
                  <a:pt x="3017948" y="887728"/>
                </a:lnTo>
                <a:lnTo>
                  <a:pt x="3013026" y="889452"/>
                </a:lnTo>
                <a:lnTo>
                  <a:pt x="3012287" y="886252"/>
                </a:lnTo>
                <a:lnTo>
                  <a:pt x="3012287" y="885267"/>
                </a:lnTo>
                <a:lnTo>
                  <a:pt x="3010564" y="885267"/>
                </a:lnTo>
                <a:lnTo>
                  <a:pt x="3009087" y="885267"/>
                </a:lnTo>
                <a:lnTo>
                  <a:pt x="3007364" y="883544"/>
                </a:lnTo>
                <a:lnTo>
                  <a:pt x="3004903" y="889452"/>
                </a:lnTo>
                <a:lnTo>
                  <a:pt x="3003180" y="893636"/>
                </a:lnTo>
                <a:lnTo>
                  <a:pt x="3000718" y="897821"/>
                </a:lnTo>
                <a:lnTo>
                  <a:pt x="2995794" y="899544"/>
                </a:lnTo>
                <a:lnTo>
                  <a:pt x="2991611" y="902005"/>
                </a:lnTo>
                <a:lnTo>
                  <a:pt x="2991611" y="899544"/>
                </a:lnTo>
                <a:lnTo>
                  <a:pt x="2989148" y="896343"/>
                </a:lnTo>
                <a:lnTo>
                  <a:pt x="2989148" y="893636"/>
                </a:lnTo>
                <a:lnTo>
                  <a:pt x="2989148" y="892159"/>
                </a:lnTo>
                <a:lnTo>
                  <a:pt x="2989148" y="891175"/>
                </a:lnTo>
                <a:lnTo>
                  <a:pt x="2989148" y="889452"/>
                </a:lnTo>
                <a:lnTo>
                  <a:pt x="2987426" y="887728"/>
                </a:lnTo>
                <a:lnTo>
                  <a:pt x="2985948" y="887728"/>
                </a:lnTo>
                <a:lnTo>
                  <a:pt x="2981764" y="886252"/>
                </a:lnTo>
                <a:lnTo>
                  <a:pt x="2981764" y="882066"/>
                </a:lnTo>
                <a:lnTo>
                  <a:pt x="2981764" y="877882"/>
                </a:lnTo>
                <a:lnTo>
                  <a:pt x="2983488" y="874435"/>
                </a:lnTo>
                <a:lnTo>
                  <a:pt x="2983488" y="873698"/>
                </a:lnTo>
                <a:lnTo>
                  <a:pt x="2984226" y="871975"/>
                </a:lnTo>
                <a:lnTo>
                  <a:pt x="2987426" y="871975"/>
                </a:lnTo>
                <a:lnTo>
                  <a:pt x="2991611" y="870251"/>
                </a:lnTo>
                <a:lnTo>
                  <a:pt x="2997519" y="870251"/>
                </a:lnTo>
                <a:lnTo>
                  <a:pt x="2997519" y="880344"/>
                </a:lnTo>
                <a:lnTo>
                  <a:pt x="3007364" y="880344"/>
                </a:lnTo>
                <a:lnTo>
                  <a:pt x="3007364" y="877882"/>
                </a:lnTo>
                <a:lnTo>
                  <a:pt x="3009087" y="874435"/>
                </a:lnTo>
                <a:lnTo>
                  <a:pt x="3010564" y="873698"/>
                </a:lnTo>
                <a:lnTo>
                  <a:pt x="3010564" y="871975"/>
                </a:lnTo>
                <a:lnTo>
                  <a:pt x="3012287" y="870251"/>
                </a:lnTo>
                <a:lnTo>
                  <a:pt x="3013026" y="867789"/>
                </a:lnTo>
                <a:lnTo>
                  <a:pt x="3010564" y="867789"/>
                </a:lnTo>
                <a:lnTo>
                  <a:pt x="2995794" y="855974"/>
                </a:lnTo>
                <a:lnTo>
                  <a:pt x="2979303" y="848344"/>
                </a:lnTo>
                <a:lnTo>
                  <a:pt x="2979303" y="854252"/>
                </a:lnTo>
                <a:lnTo>
                  <a:pt x="2977580" y="858436"/>
                </a:lnTo>
                <a:lnTo>
                  <a:pt x="2975857" y="862621"/>
                </a:lnTo>
                <a:lnTo>
                  <a:pt x="2975857" y="867789"/>
                </a:lnTo>
                <a:lnTo>
                  <a:pt x="2974380" y="866067"/>
                </a:lnTo>
                <a:lnTo>
                  <a:pt x="2973396" y="864344"/>
                </a:lnTo>
                <a:lnTo>
                  <a:pt x="2973396" y="862621"/>
                </a:lnTo>
                <a:lnTo>
                  <a:pt x="2971918" y="861883"/>
                </a:lnTo>
                <a:lnTo>
                  <a:pt x="2967734" y="850806"/>
                </a:lnTo>
                <a:lnTo>
                  <a:pt x="2962810" y="838251"/>
                </a:lnTo>
                <a:lnTo>
                  <a:pt x="2961826" y="821513"/>
                </a:lnTo>
                <a:lnTo>
                  <a:pt x="2962810" y="807236"/>
                </a:lnTo>
                <a:lnTo>
                  <a:pt x="2968472" y="792959"/>
                </a:lnTo>
                <a:lnTo>
                  <a:pt x="2973396" y="791237"/>
                </a:lnTo>
                <a:close/>
                <a:moveTo>
                  <a:pt x="835074" y="789759"/>
                </a:moveTo>
                <a:lnTo>
                  <a:pt x="840735" y="789759"/>
                </a:lnTo>
                <a:lnTo>
                  <a:pt x="846643" y="791237"/>
                </a:lnTo>
                <a:lnTo>
                  <a:pt x="852305" y="791237"/>
                </a:lnTo>
                <a:lnTo>
                  <a:pt x="856490" y="792959"/>
                </a:lnTo>
                <a:lnTo>
                  <a:pt x="856490" y="799852"/>
                </a:lnTo>
                <a:lnTo>
                  <a:pt x="835074" y="799852"/>
                </a:lnTo>
                <a:close/>
                <a:moveTo>
                  <a:pt x="713473" y="789759"/>
                </a:moveTo>
                <a:lnTo>
                  <a:pt x="721104" y="791237"/>
                </a:lnTo>
                <a:lnTo>
                  <a:pt x="725043" y="793944"/>
                </a:lnTo>
                <a:lnTo>
                  <a:pt x="730950" y="797144"/>
                </a:lnTo>
                <a:lnTo>
                  <a:pt x="735873" y="799852"/>
                </a:lnTo>
                <a:lnTo>
                  <a:pt x="735873" y="803052"/>
                </a:lnTo>
                <a:lnTo>
                  <a:pt x="730212" y="803052"/>
                </a:lnTo>
                <a:lnTo>
                  <a:pt x="725043" y="804776"/>
                </a:lnTo>
                <a:lnTo>
                  <a:pt x="721104" y="805515"/>
                </a:lnTo>
                <a:lnTo>
                  <a:pt x="718642" y="804776"/>
                </a:lnTo>
                <a:lnTo>
                  <a:pt x="712735" y="804776"/>
                </a:lnTo>
                <a:lnTo>
                  <a:pt x="707812" y="803052"/>
                </a:lnTo>
                <a:lnTo>
                  <a:pt x="707812" y="792959"/>
                </a:lnTo>
                <a:lnTo>
                  <a:pt x="709535" y="792959"/>
                </a:lnTo>
                <a:lnTo>
                  <a:pt x="711012" y="791237"/>
                </a:lnTo>
                <a:lnTo>
                  <a:pt x="712735" y="791237"/>
                </a:lnTo>
                <a:close/>
                <a:moveTo>
                  <a:pt x="763934" y="776221"/>
                </a:moveTo>
                <a:lnTo>
                  <a:pt x="781411" y="777945"/>
                </a:lnTo>
                <a:lnTo>
                  <a:pt x="796181" y="781391"/>
                </a:lnTo>
                <a:lnTo>
                  <a:pt x="807751" y="785575"/>
                </a:lnTo>
                <a:lnTo>
                  <a:pt x="821781" y="789760"/>
                </a:lnTo>
                <a:lnTo>
                  <a:pt x="821781" y="797144"/>
                </a:lnTo>
                <a:lnTo>
                  <a:pt x="816120" y="797144"/>
                </a:lnTo>
                <a:lnTo>
                  <a:pt x="813412" y="798867"/>
                </a:lnTo>
                <a:lnTo>
                  <a:pt x="809474" y="799852"/>
                </a:lnTo>
                <a:lnTo>
                  <a:pt x="806028" y="801330"/>
                </a:lnTo>
                <a:lnTo>
                  <a:pt x="803565" y="803052"/>
                </a:lnTo>
                <a:lnTo>
                  <a:pt x="798643" y="803052"/>
                </a:lnTo>
                <a:lnTo>
                  <a:pt x="798643" y="801330"/>
                </a:lnTo>
                <a:lnTo>
                  <a:pt x="798643" y="799852"/>
                </a:lnTo>
                <a:lnTo>
                  <a:pt x="797904" y="798867"/>
                </a:lnTo>
                <a:lnTo>
                  <a:pt x="796181" y="797144"/>
                </a:lnTo>
                <a:lnTo>
                  <a:pt x="794458" y="795667"/>
                </a:lnTo>
                <a:lnTo>
                  <a:pt x="792981" y="797144"/>
                </a:lnTo>
                <a:lnTo>
                  <a:pt x="790519" y="805513"/>
                </a:lnTo>
                <a:lnTo>
                  <a:pt x="786335" y="805513"/>
                </a:lnTo>
                <a:lnTo>
                  <a:pt x="775504" y="804776"/>
                </a:lnTo>
                <a:lnTo>
                  <a:pt x="763934" y="803052"/>
                </a:lnTo>
                <a:lnTo>
                  <a:pt x="755812" y="803052"/>
                </a:lnTo>
                <a:lnTo>
                  <a:pt x="751627" y="792959"/>
                </a:lnTo>
                <a:lnTo>
                  <a:pt x="759011" y="792959"/>
                </a:lnTo>
                <a:lnTo>
                  <a:pt x="763934" y="792959"/>
                </a:lnTo>
                <a:lnTo>
                  <a:pt x="769842" y="791237"/>
                </a:lnTo>
                <a:lnTo>
                  <a:pt x="774765" y="789760"/>
                </a:lnTo>
                <a:lnTo>
                  <a:pt x="771319" y="788037"/>
                </a:lnTo>
                <a:lnTo>
                  <a:pt x="768858" y="785575"/>
                </a:lnTo>
                <a:lnTo>
                  <a:pt x="767381" y="783853"/>
                </a:lnTo>
                <a:lnTo>
                  <a:pt x="765658" y="781391"/>
                </a:lnTo>
                <a:close/>
                <a:moveTo>
                  <a:pt x="663259" y="735114"/>
                </a:moveTo>
                <a:lnTo>
                  <a:pt x="686398" y="740283"/>
                </a:lnTo>
                <a:lnTo>
                  <a:pt x="707074" y="746929"/>
                </a:lnTo>
                <a:lnTo>
                  <a:pt x="722582" y="754314"/>
                </a:lnTo>
                <a:lnTo>
                  <a:pt x="738335" y="761944"/>
                </a:lnTo>
                <a:lnTo>
                  <a:pt x="755813" y="770315"/>
                </a:lnTo>
                <a:lnTo>
                  <a:pt x="755813" y="776221"/>
                </a:lnTo>
                <a:lnTo>
                  <a:pt x="748182" y="776221"/>
                </a:lnTo>
                <a:lnTo>
                  <a:pt x="740059" y="779668"/>
                </a:lnTo>
                <a:lnTo>
                  <a:pt x="730212" y="782130"/>
                </a:lnTo>
                <a:lnTo>
                  <a:pt x="719382" y="783853"/>
                </a:lnTo>
                <a:lnTo>
                  <a:pt x="721105" y="781392"/>
                </a:lnTo>
                <a:lnTo>
                  <a:pt x="721105" y="777945"/>
                </a:lnTo>
                <a:lnTo>
                  <a:pt x="721105" y="776221"/>
                </a:lnTo>
                <a:lnTo>
                  <a:pt x="721105" y="775484"/>
                </a:lnTo>
                <a:lnTo>
                  <a:pt x="721105" y="773761"/>
                </a:lnTo>
                <a:lnTo>
                  <a:pt x="719382" y="770315"/>
                </a:lnTo>
                <a:lnTo>
                  <a:pt x="697966" y="764406"/>
                </a:lnTo>
                <a:lnTo>
                  <a:pt x="678028" y="754314"/>
                </a:lnTo>
                <a:lnTo>
                  <a:pt x="656613" y="744468"/>
                </a:lnTo>
                <a:lnTo>
                  <a:pt x="651689" y="748653"/>
                </a:lnTo>
                <a:lnTo>
                  <a:pt x="649228" y="752837"/>
                </a:lnTo>
                <a:lnTo>
                  <a:pt x="645043" y="757760"/>
                </a:lnTo>
                <a:lnTo>
                  <a:pt x="640120" y="756038"/>
                </a:lnTo>
                <a:lnTo>
                  <a:pt x="634212" y="752837"/>
                </a:lnTo>
                <a:lnTo>
                  <a:pt x="631751" y="751853"/>
                </a:lnTo>
                <a:lnTo>
                  <a:pt x="637659" y="751853"/>
                </a:lnTo>
                <a:lnTo>
                  <a:pt x="641597" y="745945"/>
                </a:lnTo>
                <a:lnTo>
                  <a:pt x="645781" y="742745"/>
                </a:lnTo>
                <a:lnTo>
                  <a:pt x="650704" y="738560"/>
                </a:lnTo>
                <a:lnTo>
                  <a:pt x="654889" y="738560"/>
                </a:lnTo>
                <a:lnTo>
                  <a:pt x="657351" y="736837"/>
                </a:lnTo>
                <a:lnTo>
                  <a:pt x="660797" y="736837"/>
                </a:lnTo>
                <a:close/>
                <a:moveTo>
                  <a:pt x="707812" y="712468"/>
                </a:moveTo>
                <a:lnTo>
                  <a:pt x="712736" y="714929"/>
                </a:lnTo>
                <a:lnTo>
                  <a:pt x="715197" y="718376"/>
                </a:lnTo>
                <a:lnTo>
                  <a:pt x="718643" y="720838"/>
                </a:lnTo>
                <a:lnTo>
                  <a:pt x="719382" y="725023"/>
                </a:lnTo>
                <a:lnTo>
                  <a:pt x="719382" y="732654"/>
                </a:lnTo>
                <a:lnTo>
                  <a:pt x="713473" y="732654"/>
                </a:lnTo>
                <a:lnTo>
                  <a:pt x="712736" y="728469"/>
                </a:lnTo>
                <a:lnTo>
                  <a:pt x="711012" y="726745"/>
                </a:lnTo>
                <a:lnTo>
                  <a:pt x="709535" y="724284"/>
                </a:lnTo>
                <a:lnTo>
                  <a:pt x="707812" y="720838"/>
                </a:lnTo>
                <a:lnTo>
                  <a:pt x="707812" y="718376"/>
                </a:lnTo>
                <a:close/>
                <a:moveTo>
                  <a:pt x="2981766" y="706561"/>
                </a:moveTo>
                <a:lnTo>
                  <a:pt x="2984227" y="709022"/>
                </a:lnTo>
                <a:lnTo>
                  <a:pt x="2985950" y="712468"/>
                </a:lnTo>
                <a:lnTo>
                  <a:pt x="2987428" y="714930"/>
                </a:lnTo>
                <a:lnTo>
                  <a:pt x="2987428" y="719115"/>
                </a:lnTo>
                <a:lnTo>
                  <a:pt x="2987428" y="725022"/>
                </a:lnTo>
                <a:lnTo>
                  <a:pt x="2975858" y="754316"/>
                </a:lnTo>
                <a:lnTo>
                  <a:pt x="2970196" y="746931"/>
                </a:lnTo>
                <a:lnTo>
                  <a:pt x="2967735" y="740284"/>
                </a:lnTo>
                <a:lnTo>
                  <a:pt x="2966011" y="728469"/>
                </a:lnTo>
                <a:close/>
                <a:moveTo>
                  <a:pt x="701166" y="693268"/>
                </a:moveTo>
                <a:lnTo>
                  <a:pt x="719382" y="693268"/>
                </a:lnTo>
                <a:lnTo>
                  <a:pt x="721104" y="695729"/>
                </a:lnTo>
                <a:lnTo>
                  <a:pt x="724304" y="697452"/>
                </a:lnTo>
                <a:lnTo>
                  <a:pt x="724304" y="699176"/>
                </a:lnTo>
                <a:lnTo>
                  <a:pt x="725043" y="700652"/>
                </a:lnTo>
                <a:lnTo>
                  <a:pt x="725043" y="701637"/>
                </a:lnTo>
                <a:lnTo>
                  <a:pt x="724304" y="703361"/>
                </a:lnTo>
                <a:lnTo>
                  <a:pt x="724304" y="706561"/>
                </a:lnTo>
                <a:lnTo>
                  <a:pt x="719382" y="703361"/>
                </a:lnTo>
                <a:lnTo>
                  <a:pt x="715197" y="701637"/>
                </a:lnTo>
                <a:lnTo>
                  <a:pt x="711012" y="701637"/>
                </a:lnTo>
                <a:lnTo>
                  <a:pt x="707812" y="700652"/>
                </a:lnTo>
                <a:lnTo>
                  <a:pt x="705350" y="700652"/>
                </a:lnTo>
                <a:lnTo>
                  <a:pt x="701904" y="699176"/>
                </a:lnTo>
                <a:lnTo>
                  <a:pt x="701166" y="695729"/>
                </a:lnTo>
                <a:close/>
                <a:moveTo>
                  <a:pt x="3074318" y="638622"/>
                </a:moveTo>
                <a:lnTo>
                  <a:pt x="3076780" y="640346"/>
                </a:lnTo>
                <a:lnTo>
                  <a:pt x="3078256" y="640346"/>
                </a:lnTo>
                <a:lnTo>
                  <a:pt x="3078256" y="642068"/>
                </a:lnTo>
                <a:lnTo>
                  <a:pt x="3079980" y="644530"/>
                </a:lnTo>
                <a:lnTo>
                  <a:pt x="3079980" y="647977"/>
                </a:lnTo>
                <a:lnTo>
                  <a:pt x="3078256" y="652161"/>
                </a:lnTo>
                <a:lnTo>
                  <a:pt x="3075056" y="656345"/>
                </a:lnTo>
                <a:lnTo>
                  <a:pt x="3074318" y="660530"/>
                </a:lnTo>
                <a:lnTo>
                  <a:pt x="3066687" y="660530"/>
                </a:lnTo>
                <a:lnTo>
                  <a:pt x="3066687" y="650438"/>
                </a:lnTo>
                <a:lnTo>
                  <a:pt x="3069395" y="649454"/>
                </a:lnTo>
                <a:lnTo>
                  <a:pt x="3070871" y="646253"/>
                </a:lnTo>
                <a:lnTo>
                  <a:pt x="3072596" y="643792"/>
                </a:lnTo>
                <a:close/>
                <a:moveTo>
                  <a:pt x="3035426" y="599238"/>
                </a:moveTo>
                <a:lnTo>
                  <a:pt x="3045272" y="599238"/>
                </a:lnTo>
                <a:lnTo>
                  <a:pt x="3045272" y="609331"/>
                </a:lnTo>
                <a:lnTo>
                  <a:pt x="3032226" y="609331"/>
                </a:lnTo>
                <a:lnTo>
                  <a:pt x="3032226" y="602684"/>
                </a:lnTo>
                <a:lnTo>
                  <a:pt x="3035426" y="602684"/>
                </a:lnTo>
                <a:close/>
                <a:moveTo>
                  <a:pt x="1985586" y="571424"/>
                </a:moveTo>
                <a:lnTo>
                  <a:pt x="1992971" y="571424"/>
                </a:lnTo>
                <a:lnTo>
                  <a:pt x="1989771" y="575609"/>
                </a:lnTo>
                <a:lnTo>
                  <a:pt x="1987309" y="579053"/>
                </a:lnTo>
                <a:lnTo>
                  <a:pt x="1983863" y="581514"/>
                </a:lnTo>
                <a:lnTo>
                  <a:pt x="1981401" y="584961"/>
                </a:lnTo>
                <a:lnTo>
                  <a:pt x="1976479" y="587422"/>
                </a:lnTo>
                <a:lnTo>
                  <a:pt x="1974017" y="587422"/>
                </a:lnTo>
                <a:lnTo>
                  <a:pt x="1974017" y="589145"/>
                </a:lnTo>
                <a:lnTo>
                  <a:pt x="1972294" y="589145"/>
                </a:lnTo>
                <a:lnTo>
                  <a:pt x="1969832" y="589145"/>
                </a:lnTo>
                <a:lnTo>
                  <a:pt x="1966632" y="590868"/>
                </a:lnTo>
                <a:lnTo>
                  <a:pt x="1964171" y="579792"/>
                </a:lnTo>
                <a:lnTo>
                  <a:pt x="1969832" y="579053"/>
                </a:lnTo>
                <a:lnTo>
                  <a:pt x="1975740" y="575609"/>
                </a:lnTo>
                <a:lnTo>
                  <a:pt x="1981401" y="574133"/>
                </a:lnTo>
                <a:close/>
                <a:moveTo>
                  <a:pt x="1865710" y="567240"/>
                </a:moveTo>
                <a:lnTo>
                  <a:pt x="1873341" y="569949"/>
                </a:lnTo>
                <a:lnTo>
                  <a:pt x="1881464" y="573149"/>
                </a:lnTo>
                <a:lnTo>
                  <a:pt x="1891310" y="575609"/>
                </a:lnTo>
                <a:lnTo>
                  <a:pt x="1897218" y="579793"/>
                </a:lnTo>
                <a:lnTo>
                  <a:pt x="1874080" y="579793"/>
                </a:lnTo>
                <a:lnTo>
                  <a:pt x="1871618" y="579053"/>
                </a:lnTo>
                <a:lnTo>
                  <a:pt x="1869895" y="579053"/>
                </a:lnTo>
                <a:lnTo>
                  <a:pt x="1867434" y="577331"/>
                </a:lnTo>
                <a:lnTo>
                  <a:pt x="1861772" y="577331"/>
                </a:lnTo>
                <a:lnTo>
                  <a:pt x="1861772" y="574133"/>
                </a:lnTo>
                <a:lnTo>
                  <a:pt x="1863249" y="573149"/>
                </a:lnTo>
                <a:lnTo>
                  <a:pt x="1864233" y="571425"/>
                </a:lnTo>
                <a:lnTo>
                  <a:pt x="1864233" y="569949"/>
                </a:lnTo>
                <a:close/>
                <a:moveTo>
                  <a:pt x="1608239" y="510379"/>
                </a:moveTo>
                <a:lnTo>
                  <a:pt x="1627932" y="510379"/>
                </a:lnTo>
                <a:lnTo>
                  <a:pt x="1627932" y="512840"/>
                </a:lnTo>
                <a:lnTo>
                  <a:pt x="1623747" y="514564"/>
                </a:lnTo>
                <a:lnTo>
                  <a:pt x="1622269" y="516041"/>
                </a:lnTo>
                <a:lnTo>
                  <a:pt x="1619561" y="517025"/>
                </a:lnTo>
                <a:lnTo>
                  <a:pt x="1616362" y="518748"/>
                </a:lnTo>
                <a:lnTo>
                  <a:pt x="1612177" y="518748"/>
                </a:lnTo>
                <a:close/>
                <a:moveTo>
                  <a:pt x="1913957" y="493394"/>
                </a:moveTo>
                <a:lnTo>
                  <a:pt x="1912234" y="495118"/>
                </a:lnTo>
                <a:lnTo>
                  <a:pt x="1910511" y="496840"/>
                </a:lnTo>
                <a:lnTo>
                  <a:pt x="1908787" y="496840"/>
                </a:lnTo>
                <a:lnTo>
                  <a:pt x="1908787" y="498563"/>
                </a:lnTo>
                <a:lnTo>
                  <a:pt x="1908049" y="499302"/>
                </a:lnTo>
                <a:lnTo>
                  <a:pt x="1906819" y="502749"/>
                </a:lnTo>
                <a:lnTo>
                  <a:pt x="1909280" y="502749"/>
                </a:lnTo>
                <a:lnTo>
                  <a:pt x="1914203" y="501025"/>
                </a:lnTo>
                <a:lnTo>
                  <a:pt x="1916665" y="499302"/>
                </a:lnTo>
                <a:lnTo>
                  <a:pt x="1919864" y="498563"/>
                </a:lnTo>
                <a:lnTo>
                  <a:pt x="1922326" y="496840"/>
                </a:lnTo>
                <a:lnTo>
                  <a:pt x="1925526" y="493394"/>
                </a:lnTo>
                <a:close/>
                <a:moveTo>
                  <a:pt x="1697345" y="493394"/>
                </a:moveTo>
                <a:lnTo>
                  <a:pt x="1701530" y="493394"/>
                </a:lnTo>
                <a:lnTo>
                  <a:pt x="1707192" y="493394"/>
                </a:lnTo>
                <a:lnTo>
                  <a:pt x="1708914" y="506934"/>
                </a:lnTo>
                <a:lnTo>
                  <a:pt x="1710639" y="522933"/>
                </a:lnTo>
                <a:lnTo>
                  <a:pt x="1703008" y="522933"/>
                </a:lnTo>
                <a:lnTo>
                  <a:pt x="1701530" y="524410"/>
                </a:lnTo>
                <a:lnTo>
                  <a:pt x="1699068" y="524410"/>
                </a:lnTo>
                <a:lnTo>
                  <a:pt x="1695621" y="524410"/>
                </a:lnTo>
                <a:lnTo>
                  <a:pt x="1691438" y="526133"/>
                </a:lnTo>
                <a:lnTo>
                  <a:pt x="1689960" y="514564"/>
                </a:lnTo>
                <a:lnTo>
                  <a:pt x="1689960" y="502749"/>
                </a:lnTo>
                <a:lnTo>
                  <a:pt x="1691438" y="496840"/>
                </a:lnTo>
                <a:lnTo>
                  <a:pt x="1693899" y="495118"/>
                </a:lnTo>
                <a:close/>
                <a:moveTo>
                  <a:pt x="1699807" y="464841"/>
                </a:moveTo>
                <a:lnTo>
                  <a:pt x="1707192" y="464841"/>
                </a:lnTo>
                <a:lnTo>
                  <a:pt x="1705468" y="470750"/>
                </a:lnTo>
                <a:lnTo>
                  <a:pt x="1705468" y="474934"/>
                </a:lnTo>
                <a:lnTo>
                  <a:pt x="1705468" y="479119"/>
                </a:lnTo>
                <a:lnTo>
                  <a:pt x="1704729" y="482565"/>
                </a:lnTo>
                <a:lnTo>
                  <a:pt x="1703007" y="486750"/>
                </a:lnTo>
                <a:lnTo>
                  <a:pt x="1697345" y="486750"/>
                </a:lnTo>
                <a:lnTo>
                  <a:pt x="1697345" y="480841"/>
                </a:lnTo>
                <a:lnTo>
                  <a:pt x="1699068" y="474934"/>
                </a:lnTo>
                <a:lnTo>
                  <a:pt x="1699068" y="469272"/>
                </a:lnTo>
                <a:close/>
                <a:moveTo>
                  <a:pt x="757274" y="424736"/>
                </a:moveTo>
                <a:lnTo>
                  <a:pt x="755814" y="426195"/>
                </a:lnTo>
                <a:lnTo>
                  <a:pt x="754104" y="427905"/>
                </a:lnTo>
                <a:lnTo>
                  <a:pt x="755812" y="426441"/>
                </a:lnTo>
                <a:close/>
                <a:moveTo>
                  <a:pt x="3219548" y="424717"/>
                </a:moveTo>
                <a:lnTo>
                  <a:pt x="3226933" y="435548"/>
                </a:lnTo>
                <a:lnTo>
                  <a:pt x="3233579" y="441455"/>
                </a:lnTo>
                <a:lnTo>
                  <a:pt x="3242687" y="443917"/>
                </a:lnTo>
                <a:lnTo>
                  <a:pt x="3248595" y="447363"/>
                </a:lnTo>
                <a:lnTo>
                  <a:pt x="3254257" y="451548"/>
                </a:lnTo>
                <a:lnTo>
                  <a:pt x="3255979" y="454009"/>
                </a:lnTo>
                <a:lnTo>
                  <a:pt x="3256717" y="457455"/>
                </a:lnTo>
                <a:lnTo>
                  <a:pt x="3256717" y="459917"/>
                </a:lnTo>
                <a:lnTo>
                  <a:pt x="3256717" y="464840"/>
                </a:lnTo>
                <a:lnTo>
                  <a:pt x="3246871" y="467548"/>
                </a:lnTo>
                <a:lnTo>
                  <a:pt x="3239487" y="473455"/>
                </a:lnTo>
                <a:lnTo>
                  <a:pt x="3233579" y="479117"/>
                </a:lnTo>
                <a:lnTo>
                  <a:pt x="3225457" y="483301"/>
                </a:lnTo>
                <a:lnTo>
                  <a:pt x="3222010" y="479117"/>
                </a:lnTo>
                <a:lnTo>
                  <a:pt x="3219548" y="477639"/>
                </a:lnTo>
                <a:lnTo>
                  <a:pt x="3217087" y="476655"/>
                </a:lnTo>
                <a:lnTo>
                  <a:pt x="3213887" y="477639"/>
                </a:lnTo>
                <a:lnTo>
                  <a:pt x="3211426" y="479117"/>
                </a:lnTo>
                <a:lnTo>
                  <a:pt x="3209702" y="482563"/>
                </a:lnTo>
                <a:lnTo>
                  <a:pt x="3206502" y="483301"/>
                </a:lnTo>
                <a:lnTo>
                  <a:pt x="3211426" y="501024"/>
                </a:lnTo>
                <a:lnTo>
                  <a:pt x="3212164" y="514563"/>
                </a:lnTo>
                <a:lnTo>
                  <a:pt x="3212164" y="524409"/>
                </a:lnTo>
                <a:lnTo>
                  <a:pt x="3211426" y="534501"/>
                </a:lnTo>
                <a:lnTo>
                  <a:pt x="3207980" y="545578"/>
                </a:lnTo>
                <a:lnTo>
                  <a:pt x="3205518" y="559855"/>
                </a:lnTo>
                <a:lnTo>
                  <a:pt x="3203795" y="577330"/>
                </a:lnTo>
                <a:lnTo>
                  <a:pt x="3184841" y="587423"/>
                </a:lnTo>
                <a:lnTo>
                  <a:pt x="3163425" y="597515"/>
                </a:lnTo>
                <a:lnTo>
                  <a:pt x="3142749" y="606868"/>
                </a:lnTo>
                <a:lnTo>
                  <a:pt x="3138564" y="599238"/>
                </a:lnTo>
                <a:lnTo>
                  <a:pt x="3134625" y="593330"/>
                </a:lnTo>
                <a:lnTo>
                  <a:pt x="3132903" y="599238"/>
                </a:lnTo>
                <a:lnTo>
                  <a:pt x="3132903" y="602684"/>
                </a:lnTo>
                <a:lnTo>
                  <a:pt x="3132165" y="606868"/>
                </a:lnTo>
                <a:lnTo>
                  <a:pt x="3130441" y="609330"/>
                </a:lnTo>
                <a:lnTo>
                  <a:pt x="3126257" y="609330"/>
                </a:lnTo>
                <a:lnTo>
                  <a:pt x="3123056" y="609330"/>
                </a:lnTo>
                <a:lnTo>
                  <a:pt x="3121333" y="611053"/>
                </a:lnTo>
                <a:lnTo>
                  <a:pt x="3120595" y="611053"/>
                </a:lnTo>
                <a:lnTo>
                  <a:pt x="3118873" y="612530"/>
                </a:lnTo>
                <a:lnTo>
                  <a:pt x="3117149" y="614253"/>
                </a:lnTo>
                <a:lnTo>
                  <a:pt x="3112964" y="614253"/>
                </a:lnTo>
                <a:lnTo>
                  <a:pt x="3109026" y="615238"/>
                </a:lnTo>
                <a:lnTo>
                  <a:pt x="3107303" y="612530"/>
                </a:lnTo>
                <a:lnTo>
                  <a:pt x="3107303" y="608346"/>
                </a:lnTo>
                <a:lnTo>
                  <a:pt x="3107303" y="606868"/>
                </a:lnTo>
                <a:lnTo>
                  <a:pt x="3107303" y="603422"/>
                </a:lnTo>
                <a:lnTo>
                  <a:pt x="3107303" y="602684"/>
                </a:lnTo>
                <a:lnTo>
                  <a:pt x="3103856" y="602684"/>
                </a:lnTo>
                <a:lnTo>
                  <a:pt x="3101395" y="600961"/>
                </a:lnTo>
                <a:lnTo>
                  <a:pt x="3095734" y="599238"/>
                </a:lnTo>
                <a:lnTo>
                  <a:pt x="3095734" y="602684"/>
                </a:lnTo>
                <a:lnTo>
                  <a:pt x="3098194" y="606868"/>
                </a:lnTo>
                <a:lnTo>
                  <a:pt x="3101395" y="608346"/>
                </a:lnTo>
                <a:lnTo>
                  <a:pt x="3101395" y="611053"/>
                </a:lnTo>
                <a:lnTo>
                  <a:pt x="3101395" y="615238"/>
                </a:lnTo>
                <a:lnTo>
                  <a:pt x="3103118" y="622623"/>
                </a:lnTo>
                <a:lnTo>
                  <a:pt x="3098194" y="626807"/>
                </a:lnTo>
                <a:lnTo>
                  <a:pt x="3095734" y="632715"/>
                </a:lnTo>
                <a:lnTo>
                  <a:pt x="3092288" y="638621"/>
                </a:lnTo>
                <a:lnTo>
                  <a:pt x="3082442" y="638621"/>
                </a:lnTo>
                <a:lnTo>
                  <a:pt x="3080964" y="626807"/>
                </a:lnTo>
                <a:lnTo>
                  <a:pt x="3079980" y="620899"/>
                </a:lnTo>
                <a:lnTo>
                  <a:pt x="3076779" y="615238"/>
                </a:lnTo>
                <a:lnTo>
                  <a:pt x="3074318" y="606868"/>
                </a:lnTo>
                <a:lnTo>
                  <a:pt x="3082442" y="606868"/>
                </a:lnTo>
                <a:lnTo>
                  <a:pt x="3092288" y="593330"/>
                </a:lnTo>
                <a:lnTo>
                  <a:pt x="3105579" y="581515"/>
                </a:lnTo>
                <a:lnTo>
                  <a:pt x="3121333" y="574132"/>
                </a:lnTo>
                <a:lnTo>
                  <a:pt x="3126994" y="573148"/>
                </a:lnTo>
                <a:lnTo>
                  <a:pt x="3132903" y="573148"/>
                </a:lnTo>
                <a:lnTo>
                  <a:pt x="3137825" y="574132"/>
                </a:lnTo>
                <a:lnTo>
                  <a:pt x="3140288" y="574132"/>
                </a:lnTo>
                <a:lnTo>
                  <a:pt x="3142749" y="574132"/>
                </a:lnTo>
                <a:lnTo>
                  <a:pt x="3146195" y="569947"/>
                </a:lnTo>
                <a:lnTo>
                  <a:pt x="3148656" y="565763"/>
                </a:lnTo>
                <a:lnTo>
                  <a:pt x="3150133" y="561331"/>
                </a:lnTo>
                <a:lnTo>
                  <a:pt x="3151856" y="558132"/>
                </a:lnTo>
                <a:lnTo>
                  <a:pt x="3154318" y="553947"/>
                </a:lnTo>
                <a:lnTo>
                  <a:pt x="3159241" y="551486"/>
                </a:lnTo>
                <a:lnTo>
                  <a:pt x="3160226" y="553947"/>
                </a:lnTo>
                <a:lnTo>
                  <a:pt x="3161703" y="555671"/>
                </a:lnTo>
                <a:lnTo>
                  <a:pt x="3163425" y="555671"/>
                </a:lnTo>
                <a:lnTo>
                  <a:pt x="3165150" y="555671"/>
                </a:lnTo>
                <a:lnTo>
                  <a:pt x="3165887" y="553947"/>
                </a:lnTo>
                <a:lnTo>
                  <a:pt x="3177456" y="543855"/>
                </a:lnTo>
                <a:lnTo>
                  <a:pt x="3184841" y="534501"/>
                </a:lnTo>
                <a:lnTo>
                  <a:pt x="3188288" y="524409"/>
                </a:lnTo>
                <a:lnTo>
                  <a:pt x="3190748" y="512840"/>
                </a:lnTo>
                <a:lnTo>
                  <a:pt x="3194933" y="502747"/>
                </a:lnTo>
                <a:lnTo>
                  <a:pt x="3203795" y="489209"/>
                </a:lnTo>
                <a:lnTo>
                  <a:pt x="3198133" y="489209"/>
                </a:lnTo>
                <a:lnTo>
                  <a:pt x="3193949" y="486747"/>
                </a:lnTo>
                <a:lnTo>
                  <a:pt x="3192472" y="483301"/>
                </a:lnTo>
                <a:lnTo>
                  <a:pt x="3190748" y="480841"/>
                </a:lnTo>
                <a:lnTo>
                  <a:pt x="3190748" y="474932"/>
                </a:lnTo>
                <a:lnTo>
                  <a:pt x="3190748" y="467548"/>
                </a:lnTo>
                <a:lnTo>
                  <a:pt x="3192472" y="465824"/>
                </a:lnTo>
                <a:lnTo>
                  <a:pt x="3193949" y="464840"/>
                </a:lnTo>
                <a:lnTo>
                  <a:pt x="3193949" y="463363"/>
                </a:lnTo>
                <a:lnTo>
                  <a:pt x="3193949" y="461640"/>
                </a:lnTo>
                <a:lnTo>
                  <a:pt x="3199856" y="459917"/>
                </a:lnTo>
                <a:lnTo>
                  <a:pt x="3203795" y="459917"/>
                </a:lnTo>
                <a:lnTo>
                  <a:pt x="3206502" y="459178"/>
                </a:lnTo>
                <a:lnTo>
                  <a:pt x="3209702" y="459178"/>
                </a:lnTo>
                <a:lnTo>
                  <a:pt x="3209702" y="443917"/>
                </a:lnTo>
                <a:lnTo>
                  <a:pt x="3212164" y="432348"/>
                </a:lnTo>
                <a:close/>
                <a:moveTo>
                  <a:pt x="763197" y="422258"/>
                </a:moveTo>
                <a:lnTo>
                  <a:pt x="761474" y="423733"/>
                </a:lnTo>
                <a:lnTo>
                  <a:pt x="759751" y="426442"/>
                </a:lnTo>
                <a:lnTo>
                  <a:pt x="759751" y="427918"/>
                </a:lnTo>
                <a:lnTo>
                  <a:pt x="759071" y="432000"/>
                </a:lnTo>
                <a:lnTo>
                  <a:pt x="759260" y="432103"/>
                </a:lnTo>
                <a:lnTo>
                  <a:pt x="759999" y="427918"/>
                </a:lnTo>
                <a:lnTo>
                  <a:pt x="759999" y="426195"/>
                </a:lnTo>
                <a:lnTo>
                  <a:pt x="761721" y="423733"/>
                </a:lnTo>
                <a:close/>
                <a:moveTo>
                  <a:pt x="1749281" y="422010"/>
                </a:moveTo>
                <a:lnTo>
                  <a:pt x="1748542" y="423733"/>
                </a:lnTo>
                <a:lnTo>
                  <a:pt x="1746819" y="423733"/>
                </a:lnTo>
                <a:lnTo>
                  <a:pt x="1745097" y="423733"/>
                </a:lnTo>
                <a:lnTo>
                  <a:pt x="1745097" y="424472"/>
                </a:lnTo>
                <a:lnTo>
                  <a:pt x="1743373" y="424472"/>
                </a:lnTo>
                <a:lnTo>
                  <a:pt x="1740911" y="427918"/>
                </a:lnTo>
                <a:lnTo>
                  <a:pt x="1737711" y="429640"/>
                </a:lnTo>
                <a:lnTo>
                  <a:pt x="1737711" y="430379"/>
                </a:lnTo>
                <a:lnTo>
                  <a:pt x="1737711" y="433825"/>
                </a:lnTo>
                <a:lnTo>
                  <a:pt x="1737711" y="436286"/>
                </a:lnTo>
                <a:lnTo>
                  <a:pt x="1737711" y="441210"/>
                </a:lnTo>
                <a:lnTo>
                  <a:pt x="1749281" y="453026"/>
                </a:lnTo>
                <a:lnTo>
                  <a:pt x="1760112" y="465578"/>
                </a:lnTo>
                <a:lnTo>
                  <a:pt x="1769958" y="480595"/>
                </a:lnTo>
                <a:lnTo>
                  <a:pt x="1781527" y="480595"/>
                </a:lnTo>
                <a:lnTo>
                  <a:pt x="1781527" y="488964"/>
                </a:lnTo>
                <a:lnTo>
                  <a:pt x="1793096" y="493147"/>
                </a:lnTo>
                <a:lnTo>
                  <a:pt x="1801465" y="499056"/>
                </a:lnTo>
                <a:lnTo>
                  <a:pt x="1810572" y="506687"/>
                </a:lnTo>
                <a:lnTo>
                  <a:pt x="1810572" y="510133"/>
                </a:lnTo>
                <a:lnTo>
                  <a:pt x="1807373" y="510133"/>
                </a:lnTo>
                <a:lnTo>
                  <a:pt x="1804911" y="510133"/>
                </a:lnTo>
                <a:lnTo>
                  <a:pt x="1801711" y="510133"/>
                </a:lnTo>
                <a:lnTo>
                  <a:pt x="1799988" y="510133"/>
                </a:lnTo>
                <a:lnTo>
                  <a:pt x="1797527" y="508409"/>
                </a:lnTo>
                <a:lnTo>
                  <a:pt x="1793342" y="506687"/>
                </a:lnTo>
                <a:lnTo>
                  <a:pt x="1789158" y="506687"/>
                </a:lnTo>
                <a:lnTo>
                  <a:pt x="1789158" y="510871"/>
                </a:lnTo>
                <a:lnTo>
                  <a:pt x="1789896" y="514317"/>
                </a:lnTo>
                <a:lnTo>
                  <a:pt x="1791619" y="516779"/>
                </a:lnTo>
                <a:lnTo>
                  <a:pt x="1791619" y="518501"/>
                </a:lnTo>
                <a:lnTo>
                  <a:pt x="1793342" y="521947"/>
                </a:lnTo>
                <a:lnTo>
                  <a:pt x="1794081" y="526132"/>
                </a:lnTo>
                <a:lnTo>
                  <a:pt x="1789896" y="528594"/>
                </a:lnTo>
                <a:lnTo>
                  <a:pt x="1787435" y="532040"/>
                </a:lnTo>
                <a:lnTo>
                  <a:pt x="1784235" y="536224"/>
                </a:lnTo>
                <a:lnTo>
                  <a:pt x="1781773" y="542133"/>
                </a:lnTo>
                <a:lnTo>
                  <a:pt x="1772666" y="542133"/>
                </a:lnTo>
                <a:lnTo>
                  <a:pt x="1772666" y="561578"/>
                </a:lnTo>
                <a:lnTo>
                  <a:pt x="1766020" y="561578"/>
                </a:lnTo>
                <a:lnTo>
                  <a:pt x="1758634" y="555672"/>
                </a:lnTo>
                <a:lnTo>
                  <a:pt x="1749528" y="552225"/>
                </a:lnTo>
                <a:lnTo>
                  <a:pt x="1742882" y="548040"/>
                </a:lnTo>
                <a:lnTo>
                  <a:pt x="1737958" y="537948"/>
                </a:lnTo>
                <a:lnTo>
                  <a:pt x="1749528" y="539671"/>
                </a:lnTo>
                <a:lnTo>
                  <a:pt x="1761096" y="537948"/>
                </a:lnTo>
                <a:lnTo>
                  <a:pt x="1770204" y="534502"/>
                </a:lnTo>
                <a:lnTo>
                  <a:pt x="1775866" y="528594"/>
                </a:lnTo>
                <a:lnTo>
                  <a:pt x="1777589" y="527856"/>
                </a:lnTo>
                <a:lnTo>
                  <a:pt x="1777589" y="526132"/>
                </a:lnTo>
                <a:lnTo>
                  <a:pt x="1778326" y="524410"/>
                </a:lnTo>
                <a:lnTo>
                  <a:pt x="1778326" y="521947"/>
                </a:lnTo>
                <a:lnTo>
                  <a:pt x="1778326" y="518501"/>
                </a:lnTo>
                <a:lnTo>
                  <a:pt x="1756912" y="502502"/>
                </a:lnTo>
                <a:lnTo>
                  <a:pt x="1733773" y="486501"/>
                </a:lnTo>
                <a:lnTo>
                  <a:pt x="1726389" y="477394"/>
                </a:lnTo>
                <a:lnTo>
                  <a:pt x="1719745" y="469025"/>
                </a:lnTo>
                <a:lnTo>
                  <a:pt x="1714084" y="458932"/>
                </a:lnTo>
                <a:lnTo>
                  <a:pt x="1704976" y="449826"/>
                </a:lnTo>
                <a:lnTo>
                  <a:pt x="1693406" y="445640"/>
                </a:lnTo>
                <a:lnTo>
                  <a:pt x="1683560" y="454009"/>
                </a:lnTo>
                <a:lnTo>
                  <a:pt x="1670268" y="461640"/>
                </a:lnTo>
                <a:lnTo>
                  <a:pt x="1654516" y="465086"/>
                </a:lnTo>
                <a:lnTo>
                  <a:pt x="1652792" y="461640"/>
                </a:lnTo>
                <a:lnTo>
                  <a:pt x="1652053" y="459179"/>
                </a:lnTo>
                <a:lnTo>
                  <a:pt x="1650330" y="457456"/>
                </a:lnTo>
                <a:lnTo>
                  <a:pt x="1647130" y="457456"/>
                </a:lnTo>
                <a:lnTo>
                  <a:pt x="1646392" y="457456"/>
                </a:lnTo>
                <a:lnTo>
                  <a:pt x="1643191" y="459179"/>
                </a:lnTo>
                <a:lnTo>
                  <a:pt x="1635808" y="465086"/>
                </a:lnTo>
                <a:lnTo>
                  <a:pt x="1633346" y="473456"/>
                </a:lnTo>
                <a:lnTo>
                  <a:pt x="1631622" y="482563"/>
                </a:lnTo>
                <a:lnTo>
                  <a:pt x="1627438" y="489210"/>
                </a:lnTo>
                <a:lnTo>
                  <a:pt x="1611685" y="489210"/>
                </a:lnTo>
                <a:lnTo>
                  <a:pt x="1606024" y="496840"/>
                </a:lnTo>
                <a:lnTo>
                  <a:pt x="1601838" y="505209"/>
                </a:lnTo>
                <a:lnTo>
                  <a:pt x="1598638" y="516041"/>
                </a:lnTo>
                <a:lnTo>
                  <a:pt x="1596915" y="516779"/>
                </a:lnTo>
                <a:lnTo>
                  <a:pt x="1596915" y="520225"/>
                </a:lnTo>
                <a:lnTo>
                  <a:pt x="1598638" y="521947"/>
                </a:lnTo>
                <a:lnTo>
                  <a:pt x="1600362" y="522686"/>
                </a:lnTo>
                <a:lnTo>
                  <a:pt x="1602823" y="526132"/>
                </a:lnTo>
                <a:lnTo>
                  <a:pt x="1604546" y="528594"/>
                </a:lnTo>
                <a:lnTo>
                  <a:pt x="1600362" y="528594"/>
                </a:lnTo>
                <a:lnTo>
                  <a:pt x="1598638" y="530318"/>
                </a:lnTo>
                <a:lnTo>
                  <a:pt x="1596915" y="530318"/>
                </a:lnTo>
                <a:lnTo>
                  <a:pt x="1596177" y="532040"/>
                </a:lnTo>
                <a:lnTo>
                  <a:pt x="1594454" y="533763"/>
                </a:lnTo>
                <a:lnTo>
                  <a:pt x="1591254" y="534502"/>
                </a:lnTo>
                <a:lnTo>
                  <a:pt x="1591254" y="537948"/>
                </a:lnTo>
                <a:lnTo>
                  <a:pt x="1591254" y="539671"/>
                </a:lnTo>
                <a:lnTo>
                  <a:pt x="1591254" y="541148"/>
                </a:lnTo>
                <a:lnTo>
                  <a:pt x="1591254" y="546071"/>
                </a:lnTo>
                <a:lnTo>
                  <a:pt x="1581408" y="546809"/>
                </a:lnTo>
                <a:lnTo>
                  <a:pt x="1577224" y="550255"/>
                </a:lnTo>
                <a:lnTo>
                  <a:pt x="1574024" y="552717"/>
                </a:lnTo>
                <a:lnTo>
                  <a:pt x="1571562" y="557640"/>
                </a:lnTo>
                <a:lnTo>
                  <a:pt x="1567377" y="561825"/>
                </a:lnTo>
                <a:lnTo>
                  <a:pt x="1562454" y="563548"/>
                </a:lnTo>
                <a:lnTo>
                  <a:pt x="1559993" y="563548"/>
                </a:lnTo>
                <a:lnTo>
                  <a:pt x="1555808" y="561825"/>
                </a:lnTo>
                <a:lnTo>
                  <a:pt x="1552608" y="560102"/>
                </a:lnTo>
                <a:lnTo>
                  <a:pt x="1550147" y="558378"/>
                </a:lnTo>
                <a:lnTo>
                  <a:pt x="1548424" y="558378"/>
                </a:lnTo>
                <a:lnTo>
                  <a:pt x="1545962" y="560102"/>
                </a:lnTo>
                <a:lnTo>
                  <a:pt x="1542761" y="561825"/>
                </a:lnTo>
                <a:lnTo>
                  <a:pt x="1540300" y="563548"/>
                </a:lnTo>
                <a:lnTo>
                  <a:pt x="1535378" y="564286"/>
                </a:lnTo>
                <a:lnTo>
                  <a:pt x="1535378" y="571917"/>
                </a:lnTo>
                <a:lnTo>
                  <a:pt x="1575746" y="577823"/>
                </a:lnTo>
                <a:lnTo>
                  <a:pt x="1587316" y="571917"/>
                </a:lnTo>
                <a:lnTo>
                  <a:pt x="1598884" y="564286"/>
                </a:lnTo>
                <a:lnTo>
                  <a:pt x="1607993" y="558378"/>
                </a:lnTo>
                <a:lnTo>
                  <a:pt x="1620300" y="555917"/>
                </a:lnTo>
                <a:lnTo>
                  <a:pt x="1639253" y="552471"/>
                </a:lnTo>
                <a:lnTo>
                  <a:pt x="1659191" y="551732"/>
                </a:lnTo>
                <a:lnTo>
                  <a:pt x="1681592" y="551732"/>
                </a:lnTo>
                <a:lnTo>
                  <a:pt x="1699807" y="551732"/>
                </a:lnTo>
                <a:lnTo>
                  <a:pt x="1715560" y="552471"/>
                </a:lnTo>
                <a:lnTo>
                  <a:pt x="1722943" y="554194"/>
                </a:lnTo>
                <a:lnTo>
                  <a:pt x="1726634" y="554194"/>
                </a:lnTo>
                <a:lnTo>
                  <a:pt x="1721712" y="567732"/>
                </a:lnTo>
                <a:lnTo>
                  <a:pt x="1719253" y="582007"/>
                </a:lnTo>
                <a:lnTo>
                  <a:pt x="1716053" y="597022"/>
                </a:lnTo>
                <a:lnTo>
                  <a:pt x="1720975" y="599484"/>
                </a:lnTo>
                <a:lnTo>
                  <a:pt x="1721712" y="602930"/>
                </a:lnTo>
                <a:lnTo>
                  <a:pt x="1724912" y="605392"/>
                </a:lnTo>
                <a:lnTo>
                  <a:pt x="1726634" y="607115"/>
                </a:lnTo>
                <a:lnTo>
                  <a:pt x="1729096" y="609576"/>
                </a:lnTo>
                <a:lnTo>
                  <a:pt x="1738943" y="613022"/>
                </a:lnTo>
                <a:lnTo>
                  <a:pt x="1750512" y="613022"/>
                </a:lnTo>
                <a:lnTo>
                  <a:pt x="1762081" y="614746"/>
                </a:lnTo>
                <a:lnTo>
                  <a:pt x="1773650" y="620653"/>
                </a:lnTo>
                <a:lnTo>
                  <a:pt x="1776850" y="632469"/>
                </a:lnTo>
                <a:lnTo>
                  <a:pt x="1782512" y="634930"/>
                </a:lnTo>
                <a:lnTo>
                  <a:pt x="1790881" y="638376"/>
                </a:lnTo>
                <a:lnTo>
                  <a:pt x="1802451" y="640837"/>
                </a:lnTo>
                <a:lnTo>
                  <a:pt x="1812296" y="644283"/>
                </a:lnTo>
                <a:lnTo>
                  <a:pt x="1817958" y="645022"/>
                </a:lnTo>
                <a:lnTo>
                  <a:pt x="1819681" y="636653"/>
                </a:lnTo>
                <a:lnTo>
                  <a:pt x="1822881" y="629022"/>
                </a:lnTo>
                <a:lnTo>
                  <a:pt x="1825342" y="621392"/>
                </a:lnTo>
                <a:lnTo>
                  <a:pt x="1834450" y="615484"/>
                </a:lnTo>
                <a:lnTo>
                  <a:pt x="1846757" y="613022"/>
                </a:lnTo>
                <a:lnTo>
                  <a:pt x="1858327" y="615484"/>
                </a:lnTo>
                <a:lnTo>
                  <a:pt x="1869895" y="621392"/>
                </a:lnTo>
                <a:lnTo>
                  <a:pt x="1881465" y="626315"/>
                </a:lnTo>
                <a:lnTo>
                  <a:pt x="1887126" y="627053"/>
                </a:lnTo>
                <a:lnTo>
                  <a:pt x="1898695" y="628776"/>
                </a:lnTo>
                <a:lnTo>
                  <a:pt x="1910265" y="632222"/>
                </a:lnTo>
                <a:lnTo>
                  <a:pt x="1921834" y="632961"/>
                </a:lnTo>
                <a:lnTo>
                  <a:pt x="1930941" y="634684"/>
                </a:lnTo>
                <a:lnTo>
                  <a:pt x="1935126" y="636407"/>
                </a:lnTo>
                <a:lnTo>
                  <a:pt x="1937587" y="634684"/>
                </a:lnTo>
                <a:lnTo>
                  <a:pt x="1939311" y="632222"/>
                </a:lnTo>
                <a:lnTo>
                  <a:pt x="1941034" y="630499"/>
                </a:lnTo>
                <a:lnTo>
                  <a:pt x="1943495" y="627053"/>
                </a:lnTo>
                <a:lnTo>
                  <a:pt x="1946695" y="626315"/>
                </a:lnTo>
                <a:lnTo>
                  <a:pt x="1949156" y="626315"/>
                </a:lnTo>
                <a:lnTo>
                  <a:pt x="1953342" y="626315"/>
                </a:lnTo>
                <a:lnTo>
                  <a:pt x="1964172" y="628776"/>
                </a:lnTo>
                <a:lnTo>
                  <a:pt x="1972541" y="632961"/>
                </a:lnTo>
                <a:lnTo>
                  <a:pt x="1982387" y="632222"/>
                </a:lnTo>
                <a:lnTo>
                  <a:pt x="1993217" y="628776"/>
                </a:lnTo>
                <a:lnTo>
                  <a:pt x="1993956" y="616960"/>
                </a:lnTo>
                <a:lnTo>
                  <a:pt x="1999618" y="602684"/>
                </a:lnTo>
                <a:lnTo>
                  <a:pt x="2004541" y="589145"/>
                </a:lnTo>
                <a:lnTo>
                  <a:pt x="2006018" y="577823"/>
                </a:lnTo>
                <a:lnTo>
                  <a:pt x="2003556" y="567732"/>
                </a:lnTo>
                <a:lnTo>
                  <a:pt x="2001834" y="564286"/>
                </a:lnTo>
                <a:lnTo>
                  <a:pt x="2001834" y="561825"/>
                </a:lnTo>
                <a:lnTo>
                  <a:pt x="2000110" y="560102"/>
                </a:lnTo>
                <a:lnTo>
                  <a:pt x="1998388" y="558378"/>
                </a:lnTo>
                <a:lnTo>
                  <a:pt x="1995925" y="558378"/>
                </a:lnTo>
                <a:lnTo>
                  <a:pt x="1992725" y="558378"/>
                </a:lnTo>
                <a:lnTo>
                  <a:pt x="1987064" y="558378"/>
                </a:lnTo>
                <a:lnTo>
                  <a:pt x="1980418" y="564286"/>
                </a:lnTo>
                <a:lnTo>
                  <a:pt x="1974756" y="566009"/>
                </a:lnTo>
                <a:lnTo>
                  <a:pt x="1969094" y="564286"/>
                </a:lnTo>
                <a:lnTo>
                  <a:pt x="1963433" y="561825"/>
                </a:lnTo>
                <a:lnTo>
                  <a:pt x="1956049" y="558378"/>
                </a:lnTo>
                <a:lnTo>
                  <a:pt x="1951864" y="557640"/>
                </a:lnTo>
                <a:lnTo>
                  <a:pt x="1948665" y="558378"/>
                </a:lnTo>
                <a:lnTo>
                  <a:pt x="1944480" y="560102"/>
                </a:lnTo>
                <a:lnTo>
                  <a:pt x="1942757" y="563548"/>
                </a:lnTo>
                <a:lnTo>
                  <a:pt x="1940295" y="566009"/>
                </a:lnTo>
                <a:lnTo>
                  <a:pt x="1937095" y="567732"/>
                </a:lnTo>
                <a:lnTo>
                  <a:pt x="1924788" y="564286"/>
                </a:lnTo>
                <a:lnTo>
                  <a:pt x="1911496" y="555917"/>
                </a:lnTo>
                <a:lnTo>
                  <a:pt x="1901649" y="542379"/>
                </a:lnTo>
                <a:lnTo>
                  <a:pt x="1896726" y="528840"/>
                </a:lnTo>
                <a:lnTo>
                  <a:pt x="1896726" y="526378"/>
                </a:lnTo>
                <a:lnTo>
                  <a:pt x="1896726" y="522932"/>
                </a:lnTo>
                <a:lnTo>
                  <a:pt x="1896726" y="520471"/>
                </a:lnTo>
                <a:lnTo>
                  <a:pt x="1896726" y="517025"/>
                </a:lnTo>
                <a:lnTo>
                  <a:pt x="1896726" y="514563"/>
                </a:lnTo>
                <a:lnTo>
                  <a:pt x="1898449" y="511117"/>
                </a:lnTo>
                <a:lnTo>
                  <a:pt x="1900173" y="506933"/>
                </a:lnTo>
                <a:lnTo>
                  <a:pt x="1896973" y="504471"/>
                </a:lnTo>
                <a:lnTo>
                  <a:pt x="1894510" y="502749"/>
                </a:lnTo>
                <a:lnTo>
                  <a:pt x="1892788" y="501025"/>
                </a:lnTo>
                <a:lnTo>
                  <a:pt x="1891064" y="499302"/>
                </a:lnTo>
                <a:lnTo>
                  <a:pt x="1888603" y="498563"/>
                </a:lnTo>
                <a:lnTo>
                  <a:pt x="1884418" y="496840"/>
                </a:lnTo>
                <a:lnTo>
                  <a:pt x="1882696" y="495118"/>
                </a:lnTo>
                <a:lnTo>
                  <a:pt x="1880972" y="495118"/>
                </a:lnTo>
                <a:lnTo>
                  <a:pt x="1879250" y="493394"/>
                </a:lnTo>
                <a:lnTo>
                  <a:pt x="1876787" y="493394"/>
                </a:lnTo>
                <a:lnTo>
                  <a:pt x="1873588" y="493394"/>
                </a:lnTo>
                <a:lnTo>
                  <a:pt x="1873588" y="496840"/>
                </a:lnTo>
                <a:lnTo>
                  <a:pt x="1871126" y="496840"/>
                </a:lnTo>
                <a:lnTo>
                  <a:pt x="1871126" y="501025"/>
                </a:lnTo>
                <a:lnTo>
                  <a:pt x="1872850" y="504471"/>
                </a:lnTo>
                <a:lnTo>
                  <a:pt x="1872850" y="505209"/>
                </a:lnTo>
                <a:lnTo>
                  <a:pt x="1872850" y="506933"/>
                </a:lnTo>
                <a:lnTo>
                  <a:pt x="1871126" y="508655"/>
                </a:lnTo>
                <a:lnTo>
                  <a:pt x="1869404" y="508655"/>
                </a:lnTo>
                <a:lnTo>
                  <a:pt x="1866942" y="508655"/>
                </a:lnTo>
                <a:lnTo>
                  <a:pt x="1861280" y="510380"/>
                </a:lnTo>
                <a:lnTo>
                  <a:pt x="1859557" y="506933"/>
                </a:lnTo>
                <a:lnTo>
                  <a:pt x="1857834" y="505209"/>
                </a:lnTo>
                <a:lnTo>
                  <a:pt x="1857834" y="504471"/>
                </a:lnTo>
                <a:lnTo>
                  <a:pt x="1855373" y="502749"/>
                </a:lnTo>
                <a:lnTo>
                  <a:pt x="1855373" y="506687"/>
                </a:lnTo>
                <a:lnTo>
                  <a:pt x="1862757" y="515794"/>
                </a:lnTo>
                <a:lnTo>
                  <a:pt x="1868419" y="528347"/>
                </a:lnTo>
                <a:lnTo>
                  <a:pt x="1870880" y="541887"/>
                </a:lnTo>
                <a:lnTo>
                  <a:pt x="1866695" y="545333"/>
                </a:lnTo>
                <a:lnTo>
                  <a:pt x="1863495" y="546071"/>
                </a:lnTo>
                <a:lnTo>
                  <a:pt x="1862757" y="549517"/>
                </a:lnTo>
                <a:lnTo>
                  <a:pt x="1861034" y="551979"/>
                </a:lnTo>
                <a:lnTo>
                  <a:pt x="1861034" y="553701"/>
                </a:lnTo>
                <a:lnTo>
                  <a:pt x="1859311" y="557147"/>
                </a:lnTo>
                <a:lnTo>
                  <a:pt x="1857589" y="557887"/>
                </a:lnTo>
                <a:lnTo>
                  <a:pt x="1853403" y="559610"/>
                </a:lnTo>
                <a:lnTo>
                  <a:pt x="1849218" y="561332"/>
                </a:lnTo>
                <a:lnTo>
                  <a:pt x="1847496" y="559610"/>
                </a:lnTo>
                <a:lnTo>
                  <a:pt x="1845772" y="559610"/>
                </a:lnTo>
                <a:lnTo>
                  <a:pt x="1845034" y="557887"/>
                </a:lnTo>
                <a:lnTo>
                  <a:pt x="1841834" y="557887"/>
                </a:lnTo>
                <a:lnTo>
                  <a:pt x="1828542" y="518501"/>
                </a:lnTo>
                <a:lnTo>
                  <a:pt x="1826081" y="516779"/>
                </a:lnTo>
                <a:lnTo>
                  <a:pt x="1822881" y="514317"/>
                </a:lnTo>
                <a:lnTo>
                  <a:pt x="1818696" y="510871"/>
                </a:lnTo>
                <a:lnTo>
                  <a:pt x="1816235" y="510133"/>
                </a:lnTo>
                <a:lnTo>
                  <a:pt x="1813035" y="506687"/>
                </a:lnTo>
                <a:lnTo>
                  <a:pt x="1811312" y="498318"/>
                </a:lnTo>
                <a:lnTo>
                  <a:pt x="1813035" y="490687"/>
                </a:lnTo>
                <a:lnTo>
                  <a:pt x="1814757" y="484779"/>
                </a:lnTo>
                <a:lnTo>
                  <a:pt x="1814757" y="478871"/>
                </a:lnTo>
                <a:lnTo>
                  <a:pt x="1810572" y="474687"/>
                </a:lnTo>
                <a:lnTo>
                  <a:pt x="1799742" y="467056"/>
                </a:lnTo>
                <a:lnTo>
                  <a:pt x="1791374" y="462871"/>
                </a:lnTo>
                <a:lnTo>
                  <a:pt x="1783988" y="461147"/>
                </a:lnTo>
                <a:lnTo>
                  <a:pt x="1777342" y="456964"/>
                </a:lnTo>
                <a:lnTo>
                  <a:pt x="1771681" y="447855"/>
                </a:lnTo>
                <a:lnTo>
                  <a:pt x="1766020" y="431856"/>
                </a:lnTo>
                <a:lnTo>
                  <a:pt x="1754450" y="435303"/>
                </a:lnTo>
                <a:lnTo>
                  <a:pt x="1752728" y="430379"/>
                </a:lnTo>
                <a:lnTo>
                  <a:pt x="1752728" y="427918"/>
                </a:lnTo>
                <a:lnTo>
                  <a:pt x="1751004" y="424472"/>
                </a:lnTo>
                <a:close/>
                <a:moveTo>
                  <a:pt x="761721" y="418564"/>
                </a:moveTo>
                <a:lnTo>
                  <a:pt x="761599" y="418810"/>
                </a:lnTo>
                <a:lnTo>
                  <a:pt x="763935" y="418810"/>
                </a:lnTo>
                <a:lnTo>
                  <a:pt x="763935" y="418811"/>
                </a:lnTo>
                <a:lnTo>
                  <a:pt x="763936" y="418811"/>
                </a:lnTo>
                <a:lnTo>
                  <a:pt x="763198" y="422257"/>
                </a:lnTo>
                <a:lnTo>
                  <a:pt x="763445" y="422010"/>
                </a:lnTo>
                <a:lnTo>
                  <a:pt x="764184" y="418564"/>
                </a:lnTo>
                <a:close/>
                <a:moveTo>
                  <a:pt x="1948172" y="406502"/>
                </a:moveTo>
                <a:lnTo>
                  <a:pt x="1944972" y="413148"/>
                </a:lnTo>
                <a:lnTo>
                  <a:pt x="1939311" y="423979"/>
                </a:lnTo>
                <a:lnTo>
                  <a:pt x="1931926" y="435794"/>
                </a:lnTo>
                <a:lnTo>
                  <a:pt x="1925280" y="447610"/>
                </a:lnTo>
                <a:lnTo>
                  <a:pt x="1919618" y="457702"/>
                </a:lnTo>
                <a:lnTo>
                  <a:pt x="1916418" y="466071"/>
                </a:lnTo>
                <a:lnTo>
                  <a:pt x="1916418" y="470994"/>
                </a:lnTo>
                <a:lnTo>
                  <a:pt x="1918142" y="476902"/>
                </a:lnTo>
                <a:lnTo>
                  <a:pt x="1918142" y="479363"/>
                </a:lnTo>
                <a:lnTo>
                  <a:pt x="1919864" y="482810"/>
                </a:lnTo>
                <a:lnTo>
                  <a:pt x="1922326" y="483548"/>
                </a:lnTo>
                <a:lnTo>
                  <a:pt x="1925526" y="485271"/>
                </a:lnTo>
                <a:lnTo>
                  <a:pt x="1929710" y="486994"/>
                </a:lnTo>
                <a:lnTo>
                  <a:pt x="1941280" y="491179"/>
                </a:lnTo>
                <a:lnTo>
                  <a:pt x="1952849" y="489456"/>
                </a:lnTo>
                <a:lnTo>
                  <a:pt x="1962695" y="485271"/>
                </a:lnTo>
                <a:lnTo>
                  <a:pt x="1974265" y="479363"/>
                </a:lnTo>
                <a:lnTo>
                  <a:pt x="1985833" y="477640"/>
                </a:lnTo>
                <a:lnTo>
                  <a:pt x="1997403" y="477640"/>
                </a:lnTo>
                <a:lnTo>
                  <a:pt x="2004787" y="482563"/>
                </a:lnTo>
                <a:lnTo>
                  <a:pt x="2010448" y="486748"/>
                </a:lnTo>
                <a:lnTo>
                  <a:pt x="2017094" y="489210"/>
                </a:lnTo>
                <a:lnTo>
                  <a:pt x="2034325" y="492656"/>
                </a:lnTo>
                <a:lnTo>
                  <a:pt x="2051556" y="490932"/>
                </a:lnTo>
                <a:lnTo>
                  <a:pt x="2067309" y="486748"/>
                </a:lnTo>
                <a:lnTo>
                  <a:pt x="2071740" y="477887"/>
                </a:lnTo>
                <a:lnTo>
                  <a:pt x="2066818" y="477887"/>
                </a:lnTo>
                <a:lnTo>
                  <a:pt x="2060171" y="466071"/>
                </a:lnTo>
                <a:lnTo>
                  <a:pt x="2048601" y="455979"/>
                </a:lnTo>
                <a:lnTo>
                  <a:pt x="2032110" y="445887"/>
                </a:lnTo>
                <a:lnTo>
                  <a:pt x="2016356" y="436778"/>
                </a:lnTo>
                <a:lnTo>
                  <a:pt x="2004049" y="432595"/>
                </a:lnTo>
                <a:lnTo>
                  <a:pt x="1996663" y="438502"/>
                </a:lnTo>
                <a:lnTo>
                  <a:pt x="1986818" y="442687"/>
                </a:lnTo>
                <a:lnTo>
                  <a:pt x="1979433" y="441949"/>
                </a:lnTo>
                <a:lnTo>
                  <a:pt x="1975249" y="436041"/>
                </a:lnTo>
                <a:lnTo>
                  <a:pt x="1969587" y="430133"/>
                </a:lnTo>
                <a:lnTo>
                  <a:pt x="1966388" y="422502"/>
                </a:lnTo>
                <a:lnTo>
                  <a:pt x="1976233" y="419056"/>
                </a:lnTo>
                <a:lnTo>
                  <a:pt x="1975495" y="418318"/>
                </a:lnTo>
                <a:lnTo>
                  <a:pt x="1973772" y="418318"/>
                </a:lnTo>
                <a:lnTo>
                  <a:pt x="1972049" y="418318"/>
                </a:lnTo>
                <a:lnTo>
                  <a:pt x="1969587" y="416595"/>
                </a:lnTo>
                <a:lnTo>
                  <a:pt x="1964664" y="412410"/>
                </a:lnTo>
                <a:lnTo>
                  <a:pt x="1960480" y="410687"/>
                </a:lnTo>
                <a:lnTo>
                  <a:pt x="1954818" y="408224"/>
                </a:lnTo>
                <a:close/>
                <a:moveTo>
                  <a:pt x="2179063" y="402318"/>
                </a:moveTo>
                <a:lnTo>
                  <a:pt x="2169955" y="409949"/>
                </a:lnTo>
                <a:lnTo>
                  <a:pt x="2160109" y="414133"/>
                </a:lnTo>
                <a:lnTo>
                  <a:pt x="2150263" y="418318"/>
                </a:lnTo>
                <a:lnTo>
                  <a:pt x="2141155" y="425948"/>
                </a:lnTo>
                <a:lnTo>
                  <a:pt x="2135494" y="435056"/>
                </a:lnTo>
                <a:lnTo>
                  <a:pt x="2133032" y="447610"/>
                </a:lnTo>
                <a:lnTo>
                  <a:pt x="2137217" y="461147"/>
                </a:lnTo>
                <a:lnTo>
                  <a:pt x="2146324" y="474687"/>
                </a:lnTo>
                <a:lnTo>
                  <a:pt x="2154694" y="488225"/>
                </a:lnTo>
                <a:lnTo>
                  <a:pt x="2164540" y="499056"/>
                </a:lnTo>
                <a:lnTo>
                  <a:pt x="2170202" y="509887"/>
                </a:lnTo>
                <a:lnTo>
                  <a:pt x="2160356" y="509887"/>
                </a:lnTo>
                <a:lnTo>
                  <a:pt x="2160356" y="528347"/>
                </a:lnTo>
                <a:lnTo>
                  <a:pt x="2163556" y="541887"/>
                </a:lnTo>
                <a:lnTo>
                  <a:pt x="2171924" y="549517"/>
                </a:lnTo>
                <a:lnTo>
                  <a:pt x="2186694" y="551979"/>
                </a:lnTo>
                <a:lnTo>
                  <a:pt x="2208108" y="551241"/>
                </a:lnTo>
                <a:lnTo>
                  <a:pt x="2206385" y="534502"/>
                </a:lnTo>
                <a:lnTo>
                  <a:pt x="2203185" y="524410"/>
                </a:lnTo>
                <a:lnTo>
                  <a:pt x="2199002" y="516041"/>
                </a:lnTo>
                <a:lnTo>
                  <a:pt x="2197278" y="506933"/>
                </a:lnTo>
                <a:lnTo>
                  <a:pt x="2199002" y="493394"/>
                </a:lnTo>
                <a:lnTo>
                  <a:pt x="2202201" y="495118"/>
                </a:lnTo>
                <a:lnTo>
                  <a:pt x="2204663" y="495118"/>
                </a:lnTo>
                <a:lnTo>
                  <a:pt x="2207863" y="495118"/>
                </a:lnTo>
                <a:lnTo>
                  <a:pt x="2210323" y="495118"/>
                </a:lnTo>
                <a:lnTo>
                  <a:pt x="2214509" y="493147"/>
                </a:lnTo>
                <a:lnTo>
                  <a:pt x="2212047" y="490687"/>
                </a:lnTo>
                <a:lnTo>
                  <a:pt x="2208848" y="488964"/>
                </a:lnTo>
                <a:lnTo>
                  <a:pt x="2208108" y="488225"/>
                </a:lnTo>
                <a:lnTo>
                  <a:pt x="2204909" y="484779"/>
                </a:lnTo>
                <a:lnTo>
                  <a:pt x="2202447" y="483055"/>
                </a:lnTo>
                <a:lnTo>
                  <a:pt x="2200724" y="484779"/>
                </a:lnTo>
                <a:lnTo>
                  <a:pt x="2200724" y="488225"/>
                </a:lnTo>
                <a:lnTo>
                  <a:pt x="2199002" y="490687"/>
                </a:lnTo>
                <a:lnTo>
                  <a:pt x="2199002" y="492410"/>
                </a:lnTo>
                <a:lnTo>
                  <a:pt x="2197278" y="493147"/>
                </a:lnTo>
                <a:lnTo>
                  <a:pt x="2196539" y="492410"/>
                </a:lnTo>
                <a:lnTo>
                  <a:pt x="2194816" y="488964"/>
                </a:lnTo>
                <a:lnTo>
                  <a:pt x="2190632" y="482317"/>
                </a:lnTo>
                <a:lnTo>
                  <a:pt x="2186447" y="474687"/>
                </a:lnTo>
                <a:lnTo>
                  <a:pt x="2187185" y="471241"/>
                </a:lnTo>
                <a:lnTo>
                  <a:pt x="2188909" y="471241"/>
                </a:lnTo>
                <a:lnTo>
                  <a:pt x="2190632" y="470502"/>
                </a:lnTo>
                <a:lnTo>
                  <a:pt x="2191371" y="467056"/>
                </a:lnTo>
                <a:lnTo>
                  <a:pt x="2179063" y="459425"/>
                </a:lnTo>
                <a:lnTo>
                  <a:pt x="2169217" y="447610"/>
                </a:lnTo>
                <a:lnTo>
                  <a:pt x="2163556" y="435056"/>
                </a:lnTo>
                <a:lnTo>
                  <a:pt x="2179309" y="433333"/>
                </a:lnTo>
                <a:lnTo>
                  <a:pt x="2190878" y="429148"/>
                </a:lnTo>
                <a:lnTo>
                  <a:pt x="2196539" y="418318"/>
                </a:lnTo>
                <a:lnTo>
                  <a:pt x="2199002" y="405764"/>
                </a:lnTo>
                <a:lnTo>
                  <a:pt x="2194816" y="404041"/>
                </a:lnTo>
                <a:lnTo>
                  <a:pt x="2190632" y="404041"/>
                </a:lnTo>
                <a:lnTo>
                  <a:pt x="2186447" y="402318"/>
                </a:lnTo>
                <a:close/>
                <a:moveTo>
                  <a:pt x="2024479" y="400349"/>
                </a:moveTo>
                <a:lnTo>
                  <a:pt x="2012911" y="406256"/>
                </a:lnTo>
                <a:lnTo>
                  <a:pt x="1998879" y="410440"/>
                </a:lnTo>
                <a:lnTo>
                  <a:pt x="1998879" y="422256"/>
                </a:lnTo>
                <a:lnTo>
                  <a:pt x="2004541" y="423979"/>
                </a:lnTo>
                <a:lnTo>
                  <a:pt x="2011187" y="424717"/>
                </a:lnTo>
                <a:lnTo>
                  <a:pt x="2020295" y="424717"/>
                </a:lnTo>
                <a:lnTo>
                  <a:pt x="2020295" y="418810"/>
                </a:lnTo>
                <a:lnTo>
                  <a:pt x="2022757" y="414626"/>
                </a:lnTo>
                <a:lnTo>
                  <a:pt x="2024479" y="410440"/>
                </a:lnTo>
                <a:lnTo>
                  <a:pt x="2024479" y="406256"/>
                </a:lnTo>
                <a:lnTo>
                  <a:pt x="2024479" y="402810"/>
                </a:lnTo>
                <a:close/>
                <a:moveTo>
                  <a:pt x="904489" y="392717"/>
                </a:moveTo>
                <a:lnTo>
                  <a:pt x="906951" y="400348"/>
                </a:lnTo>
                <a:lnTo>
                  <a:pt x="908427" y="410440"/>
                </a:lnTo>
                <a:lnTo>
                  <a:pt x="910151" y="418809"/>
                </a:lnTo>
                <a:lnTo>
                  <a:pt x="908427" y="420532"/>
                </a:lnTo>
                <a:lnTo>
                  <a:pt x="906951" y="420532"/>
                </a:lnTo>
                <a:lnTo>
                  <a:pt x="905966" y="420532"/>
                </a:lnTo>
                <a:lnTo>
                  <a:pt x="905966" y="422255"/>
                </a:lnTo>
                <a:lnTo>
                  <a:pt x="904489" y="422255"/>
                </a:lnTo>
                <a:lnTo>
                  <a:pt x="898581" y="422255"/>
                </a:lnTo>
                <a:lnTo>
                  <a:pt x="896858" y="420532"/>
                </a:lnTo>
                <a:lnTo>
                  <a:pt x="896858" y="418809"/>
                </a:lnTo>
                <a:lnTo>
                  <a:pt x="896858" y="418071"/>
                </a:lnTo>
                <a:lnTo>
                  <a:pt x="895381" y="418071"/>
                </a:lnTo>
                <a:lnTo>
                  <a:pt x="894396" y="416348"/>
                </a:lnTo>
                <a:close/>
                <a:moveTo>
                  <a:pt x="583999" y="365149"/>
                </a:moveTo>
                <a:lnTo>
                  <a:pt x="577353" y="375241"/>
                </a:lnTo>
                <a:lnTo>
                  <a:pt x="569969" y="384349"/>
                </a:lnTo>
                <a:lnTo>
                  <a:pt x="565784" y="396903"/>
                </a:lnTo>
                <a:lnTo>
                  <a:pt x="574153" y="396164"/>
                </a:lnTo>
                <a:lnTo>
                  <a:pt x="579815" y="398626"/>
                </a:lnTo>
                <a:lnTo>
                  <a:pt x="583999" y="402810"/>
                </a:lnTo>
                <a:lnTo>
                  <a:pt x="589661" y="410441"/>
                </a:lnTo>
                <a:lnTo>
                  <a:pt x="591385" y="404534"/>
                </a:lnTo>
                <a:lnTo>
                  <a:pt x="591385" y="400349"/>
                </a:lnTo>
                <a:lnTo>
                  <a:pt x="593107" y="396903"/>
                </a:lnTo>
                <a:lnTo>
                  <a:pt x="593107" y="392718"/>
                </a:lnTo>
                <a:lnTo>
                  <a:pt x="600491" y="392718"/>
                </a:lnTo>
                <a:lnTo>
                  <a:pt x="604677" y="402810"/>
                </a:lnTo>
                <a:lnTo>
                  <a:pt x="611323" y="406257"/>
                </a:lnTo>
                <a:lnTo>
                  <a:pt x="616984" y="408718"/>
                </a:lnTo>
                <a:lnTo>
                  <a:pt x="622645" y="412164"/>
                </a:lnTo>
                <a:lnTo>
                  <a:pt x="628306" y="418810"/>
                </a:lnTo>
                <a:lnTo>
                  <a:pt x="622645" y="427918"/>
                </a:lnTo>
                <a:lnTo>
                  <a:pt x="615999" y="438010"/>
                </a:lnTo>
                <a:lnTo>
                  <a:pt x="610338" y="451549"/>
                </a:lnTo>
                <a:lnTo>
                  <a:pt x="605415" y="463364"/>
                </a:lnTo>
                <a:lnTo>
                  <a:pt x="605415" y="470749"/>
                </a:lnTo>
                <a:lnTo>
                  <a:pt x="606400" y="475671"/>
                </a:lnTo>
                <a:lnTo>
                  <a:pt x="606400" y="478134"/>
                </a:lnTo>
                <a:lnTo>
                  <a:pt x="608122" y="479856"/>
                </a:lnTo>
                <a:lnTo>
                  <a:pt x="609846" y="481580"/>
                </a:lnTo>
                <a:lnTo>
                  <a:pt x="610584" y="483302"/>
                </a:lnTo>
                <a:lnTo>
                  <a:pt x="615507" y="484042"/>
                </a:lnTo>
                <a:lnTo>
                  <a:pt x="615507" y="481580"/>
                </a:lnTo>
                <a:lnTo>
                  <a:pt x="617969" y="475671"/>
                </a:lnTo>
                <a:lnTo>
                  <a:pt x="622153" y="466564"/>
                </a:lnTo>
                <a:lnTo>
                  <a:pt x="627076" y="454749"/>
                </a:lnTo>
                <a:lnTo>
                  <a:pt x="631261" y="444656"/>
                </a:lnTo>
                <a:lnTo>
                  <a:pt x="635445" y="436287"/>
                </a:lnTo>
                <a:lnTo>
                  <a:pt x="637169" y="430379"/>
                </a:lnTo>
                <a:lnTo>
                  <a:pt x="647014" y="430379"/>
                </a:lnTo>
                <a:lnTo>
                  <a:pt x="648738" y="446379"/>
                </a:lnTo>
                <a:lnTo>
                  <a:pt x="648738" y="460657"/>
                </a:lnTo>
                <a:lnTo>
                  <a:pt x="648738" y="478379"/>
                </a:lnTo>
                <a:lnTo>
                  <a:pt x="650461" y="497579"/>
                </a:lnTo>
                <a:lnTo>
                  <a:pt x="668677" y="500041"/>
                </a:lnTo>
                <a:lnTo>
                  <a:pt x="676061" y="489210"/>
                </a:lnTo>
                <a:lnTo>
                  <a:pt x="689353" y="481580"/>
                </a:lnTo>
                <a:lnTo>
                  <a:pt x="703383" y="473949"/>
                </a:lnTo>
                <a:lnTo>
                  <a:pt x="718153" y="468041"/>
                </a:lnTo>
                <a:lnTo>
                  <a:pt x="732184" y="462133"/>
                </a:lnTo>
                <a:lnTo>
                  <a:pt x="745476" y="454502"/>
                </a:lnTo>
                <a:lnTo>
                  <a:pt x="751137" y="446133"/>
                </a:lnTo>
                <a:lnTo>
                  <a:pt x="747937" y="446133"/>
                </a:lnTo>
                <a:lnTo>
                  <a:pt x="747198" y="442688"/>
                </a:lnTo>
                <a:lnTo>
                  <a:pt x="747198" y="441949"/>
                </a:lnTo>
                <a:lnTo>
                  <a:pt x="745476" y="440225"/>
                </a:lnTo>
                <a:lnTo>
                  <a:pt x="743752" y="440225"/>
                </a:lnTo>
                <a:lnTo>
                  <a:pt x="742029" y="440225"/>
                </a:lnTo>
                <a:lnTo>
                  <a:pt x="739568" y="438503"/>
                </a:lnTo>
                <a:lnTo>
                  <a:pt x="733906" y="442688"/>
                </a:lnTo>
                <a:lnTo>
                  <a:pt x="724060" y="448595"/>
                </a:lnTo>
                <a:lnTo>
                  <a:pt x="712491" y="457702"/>
                </a:lnTo>
                <a:lnTo>
                  <a:pt x="697722" y="465334"/>
                </a:lnTo>
                <a:lnTo>
                  <a:pt x="684429" y="473703"/>
                </a:lnTo>
                <a:lnTo>
                  <a:pt x="672122" y="479611"/>
                </a:lnTo>
                <a:lnTo>
                  <a:pt x="663014" y="483056"/>
                </a:lnTo>
                <a:lnTo>
                  <a:pt x="660553" y="483795"/>
                </a:lnTo>
                <a:lnTo>
                  <a:pt x="658830" y="483056"/>
                </a:lnTo>
                <a:lnTo>
                  <a:pt x="657107" y="481334"/>
                </a:lnTo>
                <a:lnTo>
                  <a:pt x="657107" y="479611"/>
                </a:lnTo>
                <a:lnTo>
                  <a:pt x="657107" y="477887"/>
                </a:lnTo>
                <a:lnTo>
                  <a:pt x="656368" y="475425"/>
                </a:lnTo>
                <a:lnTo>
                  <a:pt x="660553" y="467794"/>
                </a:lnTo>
                <a:lnTo>
                  <a:pt x="660553" y="461887"/>
                </a:lnTo>
                <a:lnTo>
                  <a:pt x="658830" y="457702"/>
                </a:lnTo>
                <a:lnTo>
                  <a:pt x="657107" y="450071"/>
                </a:lnTo>
                <a:lnTo>
                  <a:pt x="660306" y="441703"/>
                </a:lnTo>
                <a:lnTo>
                  <a:pt x="662031" y="439980"/>
                </a:lnTo>
                <a:lnTo>
                  <a:pt x="662768" y="438257"/>
                </a:lnTo>
                <a:lnTo>
                  <a:pt x="664491" y="436534"/>
                </a:lnTo>
                <a:lnTo>
                  <a:pt x="666215" y="436534"/>
                </a:lnTo>
                <a:lnTo>
                  <a:pt x="667937" y="436534"/>
                </a:lnTo>
                <a:lnTo>
                  <a:pt x="668677" y="435794"/>
                </a:lnTo>
                <a:lnTo>
                  <a:pt x="670399" y="434072"/>
                </a:lnTo>
                <a:lnTo>
                  <a:pt x="670399" y="430626"/>
                </a:lnTo>
                <a:lnTo>
                  <a:pt x="672122" y="426441"/>
                </a:lnTo>
                <a:lnTo>
                  <a:pt x="672122" y="418810"/>
                </a:lnTo>
                <a:lnTo>
                  <a:pt x="664738" y="414626"/>
                </a:lnTo>
                <a:lnTo>
                  <a:pt x="657353" y="412903"/>
                </a:lnTo>
                <a:lnTo>
                  <a:pt x="651692" y="412903"/>
                </a:lnTo>
                <a:lnTo>
                  <a:pt x="645046" y="410441"/>
                </a:lnTo>
                <a:lnTo>
                  <a:pt x="634215" y="402810"/>
                </a:lnTo>
                <a:lnTo>
                  <a:pt x="627569" y="396164"/>
                </a:lnTo>
                <a:lnTo>
                  <a:pt x="622645" y="387057"/>
                </a:lnTo>
                <a:lnTo>
                  <a:pt x="616984" y="378687"/>
                </a:lnTo>
                <a:lnTo>
                  <a:pt x="610338" y="372780"/>
                </a:lnTo>
                <a:lnTo>
                  <a:pt x="598769" y="366872"/>
                </a:lnTo>
                <a:close/>
                <a:moveTo>
                  <a:pt x="873963" y="351856"/>
                </a:moveTo>
                <a:lnTo>
                  <a:pt x="884795" y="352594"/>
                </a:lnTo>
                <a:lnTo>
                  <a:pt x="891195" y="354317"/>
                </a:lnTo>
                <a:lnTo>
                  <a:pt x="900304" y="357764"/>
                </a:lnTo>
                <a:lnTo>
                  <a:pt x="900304" y="364410"/>
                </a:lnTo>
                <a:lnTo>
                  <a:pt x="897102" y="364410"/>
                </a:lnTo>
                <a:lnTo>
                  <a:pt x="894641" y="366134"/>
                </a:lnTo>
                <a:lnTo>
                  <a:pt x="891195" y="366134"/>
                </a:lnTo>
                <a:lnTo>
                  <a:pt x="888733" y="366134"/>
                </a:lnTo>
                <a:lnTo>
                  <a:pt x="884795" y="367611"/>
                </a:lnTo>
                <a:lnTo>
                  <a:pt x="881348" y="363426"/>
                </a:lnTo>
                <a:lnTo>
                  <a:pt x="879625" y="361948"/>
                </a:lnTo>
                <a:lnTo>
                  <a:pt x="878887" y="358503"/>
                </a:lnTo>
                <a:lnTo>
                  <a:pt x="877164" y="356041"/>
                </a:lnTo>
                <a:close/>
                <a:moveTo>
                  <a:pt x="941657" y="335118"/>
                </a:moveTo>
                <a:lnTo>
                  <a:pt x="950765" y="335118"/>
                </a:lnTo>
                <a:lnTo>
                  <a:pt x="950765" y="346932"/>
                </a:lnTo>
                <a:lnTo>
                  <a:pt x="950765" y="357763"/>
                </a:lnTo>
                <a:lnTo>
                  <a:pt x="952488" y="366133"/>
                </a:lnTo>
                <a:lnTo>
                  <a:pt x="953226" y="375979"/>
                </a:lnTo>
                <a:lnTo>
                  <a:pt x="969718" y="375979"/>
                </a:lnTo>
                <a:lnTo>
                  <a:pt x="969718" y="392717"/>
                </a:lnTo>
                <a:lnTo>
                  <a:pt x="976365" y="392717"/>
                </a:lnTo>
                <a:lnTo>
                  <a:pt x="978089" y="393456"/>
                </a:lnTo>
                <a:lnTo>
                  <a:pt x="979811" y="393456"/>
                </a:lnTo>
                <a:lnTo>
                  <a:pt x="981288" y="393456"/>
                </a:lnTo>
                <a:lnTo>
                  <a:pt x="982272" y="393456"/>
                </a:lnTo>
                <a:lnTo>
                  <a:pt x="983750" y="393456"/>
                </a:lnTo>
                <a:lnTo>
                  <a:pt x="985472" y="395179"/>
                </a:lnTo>
                <a:lnTo>
                  <a:pt x="983750" y="404286"/>
                </a:lnTo>
                <a:lnTo>
                  <a:pt x="981288" y="414379"/>
                </a:lnTo>
                <a:lnTo>
                  <a:pt x="979811" y="424225"/>
                </a:lnTo>
                <a:lnTo>
                  <a:pt x="976365" y="424225"/>
                </a:lnTo>
                <a:lnTo>
                  <a:pt x="975626" y="421025"/>
                </a:lnTo>
                <a:lnTo>
                  <a:pt x="975626" y="420041"/>
                </a:lnTo>
                <a:lnTo>
                  <a:pt x="975626" y="418563"/>
                </a:lnTo>
                <a:lnTo>
                  <a:pt x="973904" y="416841"/>
                </a:lnTo>
                <a:lnTo>
                  <a:pt x="973904" y="415117"/>
                </a:lnTo>
                <a:lnTo>
                  <a:pt x="972180" y="418563"/>
                </a:lnTo>
                <a:lnTo>
                  <a:pt x="970703" y="418563"/>
                </a:lnTo>
                <a:lnTo>
                  <a:pt x="970703" y="420041"/>
                </a:lnTo>
                <a:lnTo>
                  <a:pt x="969718" y="420041"/>
                </a:lnTo>
                <a:lnTo>
                  <a:pt x="966519" y="421025"/>
                </a:lnTo>
                <a:lnTo>
                  <a:pt x="966519" y="415117"/>
                </a:lnTo>
                <a:lnTo>
                  <a:pt x="968242" y="414379"/>
                </a:lnTo>
                <a:lnTo>
                  <a:pt x="968242" y="412655"/>
                </a:lnTo>
                <a:lnTo>
                  <a:pt x="969718" y="410932"/>
                </a:lnTo>
                <a:lnTo>
                  <a:pt x="969718" y="408471"/>
                </a:lnTo>
                <a:lnTo>
                  <a:pt x="969718" y="405271"/>
                </a:lnTo>
                <a:lnTo>
                  <a:pt x="966519" y="405271"/>
                </a:lnTo>
                <a:lnTo>
                  <a:pt x="960611" y="410932"/>
                </a:lnTo>
                <a:lnTo>
                  <a:pt x="954950" y="416841"/>
                </a:lnTo>
                <a:lnTo>
                  <a:pt x="947565" y="421025"/>
                </a:lnTo>
                <a:lnTo>
                  <a:pt x="947565" y="416841"/>
                </a:lnTo>
                <a:lnTo>
                  <a:pt x="947565" y="412655"/>
                </a:lnTo>
                <a:lnTo>
                  <a:pt x="947565" y="410932"/>
                </a:lnTo>
                <a:lnTo>
                  <a:pt x="946580" y="410194"/>
                </a:lnTo>
                <a:lnTo>
                  <a:pt x="943380" y="408471"/>
                </a:lnTo>
                <a:lnTo>
                  <a:pt x="939195" y="408471"/>
                </a:lnTo>
                <a:lnTo>
                  <a:pt x="931811" y="408471"/>
                </a:lnTo>
                <a:lnTo>
                  <a:pt x="929349" y="408471"/>
                </a:lnTo>
                <a:lnTo>
                  <a:pt x="925903" y="408471"/>
                </a:lnTo>
                <a:lnTo>
                  <a:pt x="921965" y="406748"/>
                </a:lnTo>
                <a:lnTo>
                  <a:pt x="917780" y="406748"/>
                </a:lnTo>
                <a:lnTo>
                  <a:pt x="913595" y="405271"/>
                </a:lnTo>
                <a:lnTo>
                  <a:pt x="910395" y="402564"/>
                </a:lnTo>
                <a:lnTo>
                  <a:pt x="918519" y="390994"/>
                </a:lnTo>
                <a:lnTo>
                  <a:pt x="927626" y="373518"/>
                </a:lnTo>
                <a:lnTo>
                  <a:pt x="933534" y="354317"/>
                </a:lnTo>
                <a:close/>
                <a:moveTo>
                  <a:pt x="668181" y="284409"/>
                </a:moveTo>
                <a:lnTo>
                  <a:pt x="680489" y="284409"/>
                </a:lnTo>
                <a:lnTo>
                  <a:pt x="680489" y="290318"/>
                </a:lnTo>
                <a:lnTo>
                  <a:pt x="678027" y="290318"/>
                </a:lnTo>
                <a:lnTo>
                  <a:pt x="676551" y="291793"/>
                </a:lnTo>
                <a:lnTo>
                  <a:pt x="675565" y="291793"/>
                </a:lnTo>
                <a:lnTo>
                  <a:pt x="674089" y="291793"/>
                </a:lnTo>
                <a:lnTo>
                  <a:pt x="672366" y="293518"/>
                </a:lnTo>
                <a:lnTo>
                  <a:pt x="668181" y="293518"/>
                </a:lnTo>
                <a:close/>
                <a:moveTo>
                  <a:pt x="3216347" y="266933"/>
                </a:moveTo>
                <a:lnTo>
                  <a:pt x="3218071" y="268656"/>
                </a:lnTo>
                <a:lnTo>
                  <a:pt x="3218071" y="270133"/>
                </a:lnTo>
                <a:lnTo>
                  <a:pt x="3218809" y="270133"/>
                </a:lnTo>
                <a:lnTo>
                  <a:pt x="3218809" y="271856"/>
                </a:lnTo>
                <a:lnTo>
                  <a:pt x="3223732" y="281948"/>
                </a:lnTo>
                <a:lnTo>
                  <a:pt x="3223732" y="295240"/>
                </a:lnTo>
                <a:lnTo>
                  <a:pt x="3223732" y="307795"/>
                </a:lnTo>
                <a:lnTo>
                  <a:pt x="3226193" y="322810"/>
                </a:lnTo>
                <a:lnTo>
                  <a:pt x="3230377" y="336841"/>
                </a:lnTo>
                <a:lnTo>
                  <a:pt x="3237763" y="352595"/>
                </a:lnTo>
                <a:lnTo>
                  <a:pt x="3241947" y="370071"/>
                </a:lnTo>
                <a:lnTo>
                  <a:pt x="3222255" y="367609"/>
                </a:lnTo>
                <a:lnTo>
                  <a:pt x="3222255" y="380902"/>
                </a:lnTo>
                <a:lnTo>
                  <a:pt x="3224717" y="390995"/>
                </a:lnTo>
                <a:lnTo>
                  <a:pt x="3226193" y="401087"/>
                </a:lnTo>
                <a:lnTo>
                  <a:pt x="3229639" y="415117"/>
                </a:lnTo>
                <a:lnTo>
                  <a:pt x="3224717" y="415117"/>
                </a:lnTo>
                <a:lnTo>
                  <a:pt x="3222255" y="415117"/>
                </a:lnTo>
                <a:lnTo>
                  <a:pt x="3218071" y="416840"/>
                </a:lnTo>
                <a:lnTo>
                  <a:pt x="3216347" y="416840"/>
                </a:lnTo>
                <a:lnTo>
                  <a:pt x="3213885" y="418564"/>
                </a:lnTo>
                <a:lnTo>
                  <a:pt x="3210686" y="410194"/>
                </a:lnTo>
                <a:lnTo>
                  <a:pt x="3208962" y="393456"/>
                </a:lnTo>
                <a:lnTo>
                  <a:pt x="3208962" y="375240"/>
                </a:lnTo>
                <a:lnTo>
                  <a:pt x="3208962" y="354317"/>
                </a:lnTo>
                <a:lnTo>
                  <a:pt x="3208962" y="335117"/>
                </a:lnTo>
                <a:lnTo>
                  <a:pt x="3206501" y="322810"/>
                </a:lnTo>
                <a:lnTo>
                  <a:pt x="3206501" y="290318"/>
                </a:lnTo>
                <a:lnTo>
                  <a:pt x="3208962" y="286133"/>
                </a:lnTo>
                <a:lnTo>
                  <a:pt x="3210686" y="283672"/>
                </a:lnTo>
                <a:lnTo>
                  <a:pt x="3212163" y="280226"/>
                </a:lnTo>
                <a:lnTo>
                  <a:pt x="3213885" y="277764"/>
                </a:lnTo>
                <a:lnTo>
                  <a:pt x="3214625" y="272841"/>
                </a:lnTo>
                <a:close/>
                <a:moveTo>
                  <a:pt x="1521837" y="255363"/>
                </a:moveTo>
                <a:lnTo>
                  <a:pt x="1525037" y="272840"/>
                </a:lnTo>
                <a:lnTo>
                  <a:pt x="1523314" y="290318"/>
                </a:lnTo>
                <a:lnTo>
                  <a:pt x="1519375" y="309272"/>
                </a:lnTo>
                <a:lnTo>
                  <a:pt x="1507806" y="315179"/>
                </a:lnTo>
                <a:lnTo>
                  <a:pt x="1496976" y="318626"/>
                </a:lnTo>
                <a:lnTo>
                  <a:pt x="1481221" y="319364"/>
                </a:lnTo>
                <a:lnTo>
                  <a:pt x="1481221" y="312718"/>
                </a:lnTo>
                <a:lnTo>
                  <a:pt x="1485406" y="301887"/>
                </a:lnTo>
                <a:lnTo>
                  <a:pt x="1485406" y="289332"/>
                </a:lnTo>
                <a:lnTo>
                  <a:pt x="1484667" y="274317"/>
                </a:lnTo>
                <a:lnTo>
                  <a:pt x="1492791" y="266933"/>
                </a:lnTo>
                <a:lnTo>
                  <a:pt x="1500175" y="261025"/>
                </a:lnTo>
                <a:lnTo>
                  <a:pt x="1508545" y="256841"/>
                </a:lnTo>
                <a:close/>
                <a:moveTo>
                  <a:pt x="1728358" y="232718"/>
                </a:moveTo>
                <a:lnTo>
                  <a:pt x="1730820" y="235180"/>
                </a:lnTo>
                <a:lnTo>
                  <a:pt x="1732542" y="236903"/>
                </a:lnTo>
                <a:lnTo>
                  <a:pt x="1734019" y="238625"/>
                </a:lnTo>
                <a:lnTo>
                  <a:pt x="1734019" y="241087"/>
                </a:lnTo>
                <a:lnTo>
                  <a:pt x="1734019" y="244533"/>
                </a:lnTo>
                <a:lnTo>
                  <a:pt x="1735004" y="248472"/>
                </a:lnTo>
                <a:lnTo>
                  <a:pt x="1734019" y="251179"/>
                </a:lnTo>
                <a:lnTo>
                  <a:pt x="1732542" y="252656"/>
                </a:lnTo>
                <a:lnTo>
                  <a:pt x="1732542" y="254379"/>
                </a:lnTo>
                <a:lnTo>
                  <a:pt x="1732542" y="255364"/>
                </a:lnTo>
                <a:lnTo>
                  <a:pt x="1732542" y="256841"/>
                </a:lnTo>
                <a:lnTo>
                  <a:pt x="1730820" y="258564"/>
                </a:lnTo>
                <a:lnTo>
                  <a:pt x="1729095" y="260287"/>
                </a:lnTo>
                <a:lnTo>
                  <a:pt x="1728358" y="260287"/>
                </a:lnTo>
                <a:lnTo>
                  <a:pt x="1726634" y="260287"/>
                </a:lnTo>
                <a:lnTo>
                  <a:pt x="1724911" y="261025"/>
                </a:lnTo>
                <a:lnTo>
                  <a:pt x="1722449" y="261025"/>
                </a:lnTo>
                <a:lnTo>
                  <a:pt x="1717527" y="251179"/>
                </a:lnTo>
                <a:lnTo>
                  <a:pt x="1715066" y="246995"/>
                </a:lnTo>
                <a:lnTo>
                  <a:pt x="1715066" y="245271"/>
                </a:lnTo>
                <a:lnTo>
                  <a:pt x="1716788" y="244533"/>
                </a:lnTo>
                <a:lnTo>
                  <a:pt x="1722449" y="241087"/>
                </a:lnTo>
                <a:close/>
                <a:moveTo>
                  <a:pt x="1794327" y="200225"/>
                </a:moveTo>
                <a:lnTo>
                  <a:pt x="1798512" y="201949"/>
                </a:lnTo>
                <a:lnTo>
                  <a:pt x="1800236" y="201949"/>
                </a:lnTo>
                <a:lnTo>
                  <a:pt x="1801712" y="201949"/>
                </a:lnTo>
                <a:lnTo>
                  <a:pt x="1802696" y="203671"/>
                </a:lnTo>
                <a:lnTo>
                  <a:pt x="1804420" y="203671"/>
                </a:lnTo>
                <a:lnTo>
                  <a:pt x="1801712" y="207856"/>
                </a:lnTo>
                <a:lnTo>
                  <a:pt x="1800236" y="212041"/>
                </a:lnTo>
                <a:lnTo>
                  <a:pt x="1798512" y="216226"/>
                </a:lnTo>
                <a:lnTo>
                  <a:pt x="1796050" y="221148"/>
                </a:lnTo>
                <a:lnTo>
                  <a:pt x="1791127" y="223610"/>
                </a:lnTo>
                <a:lnTo>
                  <a:pt x="1791127" y="219426"/>
                </a:lnTo>
                <a:lnTo>
                  <a:pt x="1790143" y="219426"/>
                </a:lnTo>
                <a:lnTo>
                  <a:pt x="1790143" y="217703"/>
                </a:lnTo>
                <a:lnTo>
                  <a:pt x="1790143" y="216226"/>
                </a:lnTo>
                <a:lnTo>
                  <a:pt x="1788665" y="213518"/>
                </a:lnTo>
                <a:lnTo>
                  <a:pt x="1791127" y="210317"/>
                </a:lnTo>
                <a:lnTo>
                  <a:pt x="1792850" y="207856"/>
                </a:lnTo>
                <a:lnTo>
                  <a:pt x="1794327" y="204411"/>
                </a:lnTo>
                <a:close/>
                <a:moveTo>
                  <a:pt x="1846512" y="178564"/>
                </a:moveTo>
                <a:lnTo>
                  <a:pt x="1858082" y="184473"/>
                </a:lnTo>
                <a:lnTo>
                  <a:pt x="1858082" y="188657"/>
                </a:lnTo>
                <a:lnTo>
                  <a:pt x="1854635" y="188657"/>
                </a:lnTo>
                <a:lnTo>
                  <a:pt x="1853897" y="190380"/>
                </a:lnTo>
                <a:lnTo>
                  <a:pt x="1850696" y="191858"/>
                </a:lnTo>
                <a:lnTo>
                  <a:pt x="1848973" y="194565"/>
                </a:lnTo>
                <a:lnTo>
                  <a:pt x="1846512" y="192842"/>
                </a:lnTo>
                <a:lnTo>
                  <a:pt x="1844788" y="192842"/>
                </a:lnTo>
                <a:lnTo>
                  <a:pt x="1843065" y="191858"/>
                </a:lnTo>
                <a:lnTo>
                  <a:pt x="1842326" y="191858"/>
                </a:lnTo>
                <a:lnTo>
                  <a:pt x="1842326" y="188657"/>
                </a:lnTo>
                <a:lnTo>
                  <a:pt x="1842326" y="186196"/>
                </a:lnTo>
                <a:lnTo>
                  <a:pt x="1842326" y="184473"/>
                </a:lnTo>
                <a:lnTo>
                  <a:pt x="1843065" y="181026"/>
                </a:lnTo>
                <a:close/>
                <a:moveTo>
                  <a:pt x="1537343" y="171179"/>
                </a:moveTo>
                <a:lnTo>
                  <a:pt x="1552360" y="172902"/>
                </a:lnTo>
                <a:lnTo>
                  <a:pt x="1563928" y="175364"/>
                </a:lnTo>
                <a:lnTo>
                  <a:pt x="1560482" y="181025"/>
                </a:lnTo>
                <a:lnTo>
                  <a:pt x="1559006" y="186194"/>
                </a:lnTo>
                <a:lnTo>
                  <a:pt x="1556544" y="190379"/>
                </a:lnTo>
                <a:lnTo>
                  <a:pt x="1553098" y="194564"/>
                </a:lnTo>
                <a:lnTo>
                  <a:pt x="1560482" y="194564"/>
                </a:lnTo>
                <a:lnTo>
                  <a:pt x="1563928" y="191856"/>
                </a:lnTo>
                <a:lnTo>
                  <a:pt x="1564667" y="190379"/>
                </a:lnTo>
                <a:lnTo>
                  <a:pt x="1568112" y="188656"/>
                </a:lnTo>
                <a:lnTo>
                  <a:pt x="1572051" y="188656"/>
                </a:lnTo>
                <a:lnTo>
                  <a:pt x="1572051" y="194564"/>
                </a:lnTo>
                <a:lnTo>
                  <a:pt x="1576236" y="204410"/>
                </a:lnTo>
                <a:lnTo>
                  <a:pt x="1573774" y="213517"/>
                </a:lnTo>
                <a:lnTo>
                  <a:pt x="1569590" y="221148"/>
                </a:lnTo>
                <a:lnTo>
                  <a:pt x="1566390" y="227055"/>
                </a:lnTo>
                <a:lnTo>
                  <a:pt x="1573774" y="233702"/>
                </a:lnTo>
                <a:lnTo>
                  <a:pt x="1581159" y="244532"/>
                </a:lnTo>
                <a:lnTo>
                  <a:pt x="1591251" y="255363"/>
                </a:lnTo>
                <a:lnTo>
                  <a:pt x="1599374" y="268655"/>
                </a:lnTo>
                <a:lnTo>
                  <a:pt x="1606758" y="283671"/>
                </a:lnTo>
                <a:lnTo>
                  <a:pt x="1612667" y="295978"/>
                </a:lnTo>
                <a:lnTo>
                  <a:pt x="1614389" y="306810"/>
                </a:lnTo>
                <a:lnTo>
                  <a:pt x="1610943" y="316901"/>
                </a:lnTo>
                <a:lnTo>
                  <a:pt x="1604297" y="322809"/>
                </a:lnTo>
                <a:lnTo>
                  <a:pt x="1595190" y="328471"/>
                </a:lnTo>
                <a:lnTo>
                  <a:pt x="1581159" y="334379"/>
                </a:lnTo>
                <a:lnTo>
                  <a:pt x="1563928" y="338563"/>
                </a:lnTo>
                <a:lnTo>
                  <a:pt x="1548175" y="342747"/>
                </a:lnTo>
                <a:lnTo>
                  <a:pt x="1534883" y="344470"/>
                </a:lnTo>
                <a:lnTo>
                  <a:pt x="1534883" y="341025"/>
                </a:lnTo>
                <a:lnTo>
                  <a:pt x="1543251" y="328471"/>
                </a:lnTo>
                <a:lnTo>
                  <a:pt x="1550635" y="315178"/>
                </a:lnTo>
                <a:lnTo>
                  <a:pt x="1546451" y="315178"/>
                </a:lnTo>
                <a:lnTo>
                  <a:pt x="1543251" y="315178"/>
                </a:lnTo>
                <a:lnTo>
                  <a:pt x="1540790" y="313456"/>
                </a:lnTo>
                <a:lnTo>
                  <a:pt x="1540790" y="312716"/>
                </a:lnTo>
                <a:lnTo>
                  <a:pt x="1539067" y="310994"/>
                </a:lnTo>
                <a:lnTo>
                  <a:pt x="1539067" y="307793"/>
                </a:lnTo>
                <a:lnTo>
                  <a:pt x="1537343" y="303609"/>
                </a:lnTo>
                <a:lnTo>
                  <a:pt x="1548175" y="301147"/>
                </a:lnTo>
                <a:lnTo>
                  <a:pt x="1544974" y="297701"/>
                </a:lnTo>
                <a:lnTo>
                  <a:pt x="1544974" y="295978"/>
                </a:lnTo>
                <a:lnTo>
                  <a:pt x="1543251" y="295240"/>
                </a:lnTo>
                <a:lnTo>
                  <a:pt x="1543251" y="293517"/>
                </a:lnTo>
                <a:lnTo>
                  <a:pt x="1544974" y="290317"/>
                </a:lnTo>
                <a:lnTo>
                  <a:pt x="1546451" y="284409"/>
                </a:lnTo>
                <a:lnTo>
                  <a:pt x="1550635" y="280225"/>
                </a:lnTo>
                <a:lnTo>
                  <a:pt x="1553098" y="277763"/>
                </a:lnTo>
                <a:lnTo>
                  <a:pt x="1559006" y="274317"/>
                </a:lnTo>
                <a:lnTo>
                  <a:pt x="1563928" y="271855"/>
                </a:lnTo>
                <a:lnTo>
                  <a:pt x="1562205" y="268655"/>
                </a:lnTo>
                <a:lnTo>
                  <a:pt x="1562205" y="266932"/>
                </a:lnTo>
                <a:lnTo>
                  <a:pt x="1560482" y="266194"/>
                </a:lnTo>
                <a:lnTo>
                  <a:pt x="1560482" y="264471"/>
                </a:lnTo>
                <a:lnTo>
                  <a:pt x="1559006" y="261025"/>
                </a:lnTo>
                <a:lnTo>
                  <a:pt x="1558021" y="261025"/>
                </a:lnTo>
                <a:lnTo>
                  <a:pt x="1558021" y="260286"/>
                </a:lnTo>
                <a:lnTo>
                  <a:pt x="1556544" y="260286"/>
                </a:lnTo>
                <a:lnTo>
                  <a:pt x="1553098" y="258562"/>
                </a:lnTo>
                <a:lnTo>
                  <a:pt x="1550635" y="256840"/>
                </a:lnTo>
                <a:lnTo>
                  <a:pt x="1548913" y="256840"/>
                </a:lnTo>
                <a:lnTo>
                  <a:pt x="1546451" y="256840"/>
                </a:lnTo>
                <a:lnTo>
                  <a:pt x="1543251" y="255363"/>
                </a:lnTo>
                <a:lnTo>
                  <a:pt x="1540790" y="255363"/>
                </a:lnTo>
                <a:lnTo>
                  <a:pt x="1540790" y="254379"/>
                </a:lnTo>
                <a:lnTo>
                  <a:pt x="1539067" y="252656"/>
                </a:lnTo>
                <a:lnTo>
                  <a:pt x="1539067" y="251178"/>
                </a:lnTo>
                <a:lnTo>
                  <a:pt x="1539067" y="248471"/>
                </a:lnTo>
                <a:lnTo>
                  <a:pt x="1537343" y="245271"/>
                </a:lnTo>
                <a:lnTo>
                  <a:pt x="1539067" y="244532"/>
                </a:lnTo>
                <a:lnTo>
                  <a:pt x="1539067" y="242810"/>
                </a:lnTo>
                <a:lnTo>
                  <a:pt x="1540790" y="241086"/>
                </a:lnTo>
                <a:lnTo>
                  <a:pt x="1540790" y="239364"/>
                </a:lnTo>
                <a:lnTo>
                  <a:pt x="1540790" y="236902"/>
                </a:lnTo>
                <a:lnTo>
                  <a:pt x="1537343" y="236902"/>
                </a:lnTo>
                <a:lnTo>
                  <a:pt x="1536605" y="239364"/>
                </a:lnTo>
                <a:lnTo>
                  <a:pt x="1536605" y="241086"/>
                </a:lnTo>
                <a:lnTo>
                  <a:pt x="1536605" y="242810"/>
                </a:lnTo>
                <a:lnTo>
                  <a:pt x="1534883" y="242810"/>
                </a:lnTo>
                <a:lnTo>
                  <a:pt x="1533405" y="244532"/>
                </a:lnTo>
                <a:lnTo>
                  <a:pt x="1531682" y="245271"/>
                </a:lnTo>
                <a:lnTo>
                  <a:pt x="1529221" y="230994"/>
                </a:lnTo>
                <a:lnTo>
                  <a:pt x="1525774" y="217702"/>
                </a:lnTo>
                <a:lnTo>
                  <a:pt x="1525036" y="207856"/>
                </a:lnTo>
                <a:lnTo>
                  <a:pt x="1527497" y="200225"/>
                </a:lnTo>
                <a:lnTo>
                  <a:pt x="1531682" y="192840"/>
                </a:lnTo>
                <a:lnTo>
                  <a:pt x="1536605" y="184471"/>
                </a:lnTo>
                <a:close/>
                <a:moveTo>
                  <a:pt x="683935" y="95365"/>
                </a:moveTo>
                <a:lnTo>
                  <a:pt x="688119" y="98810"/>
                </a:lnTo>
                <a:lnTo>
                  <a:pt x="692058" y="102749"/>
                </a:lnTo>
                <a:lnTo>
                  <a:pt x="695504" y="108657"/>
                </a:lnTo>
                <a:lnTo>
                  <a:pt x="697227" y="114565"/>
                </a:lnTo>
                <a:lnTo>
                  <a:pt x="693781" y="114565"/>
                </a:lnTo>
                <a:lnTo>
                  <a:pt x="691319" y="116288"/>
                </a:lnTo>
                <a:lnTo>
                  <a:pt x="689596" y="116288"/>
                </a:lnTo>
                <a:lnTo>
                  <a:pt x="685657" y="117765"/>
                </a:lnTo>
                <a:lnTo>
                  <a:pt x="680488" y="117765"/>
                </a:lnTo>
                <a:lnTo>
                  <a:pt x="680488" y="114565"/>
                </a:lnTo>
                <a:lnTo>
                  <a:pt x="679750" y="114565"/>
                </a:lnTo>
                <a:lnTo>
                  <a:pt x="679750" y="112843"/>
                </a:lnTo>
                <a:lnTo>
                  <a:pt x="678027" y="112103"/>
                </a:lnTo>
                <a:lnTo>
                  <a:pt x="679750" y="108657"/>
                </a:lnTo>
                <a:lnTo>
                  <a:pt x="679750" y="106934"/>
                </a:lnTo>
                <a:lnTo>
                  <a:pt x="679750" y="106196"/>
                </a:lnTo>
                <a:lnTo>
                  <a:pt x="680488" y="104473"/>
                </a:lnTo>
                <a:close/>
                <a:moveTo>
                  <a:pt x="659074" y="85274"/>
                </a:moveTo>
                <a:lnTo>
                  <a:pt x="662520" y="88719"/>
                </a:lnTo>
                <a:lnTo>
                  <a:pt x="663997" y="90442"/>
                </a:lnTo>
                <a:lnTo>
                  <a:pt x="663997" y="91181"/>
                </a:lnTo>
                <a:lnTo>
                  <a:pt x="664982" y="94627"/>
                </a:lnTo>
                <a:lnTo>
                  <a:pt x="664982" y="97088"/>
                </a:lnTo>
                <a:lnTo>
                  <a:pt x="664982" y="101273"/>
                </a:lnTo>
                <a:lnTo>
                  <a:pt x="662520" y="101273"/>
                </a:lnTo>
                <a:lnTo>
                  <a:pt x="662520" y="104473"/>
                </a:lnTo>
                <a:lnTo>
                  <a:pt x="656613" y="102751"/>
                </a:lnTo>
                <a:lnTo>
                  <a:pt x="650951" y="101273"/>
                </a:lnTo>
                <a:lnTo>
                  <a:pt x="646766" y="98812"/>
                </a:lnTo>
                <a:lnTo>
                  <a:pt x="643320" y="98812"/>
                </a:lnTo>
                <a:lnTo>
                  <a:pt x="643320" y="95365"/>
                </a:lnTo>
                <a:lnTo>
                  <a:pt x="649228" y="92904"/>
                </a:lnTo>
                <a:lnTo>
                  <a:pt x="654889" y="90442"/>
                </a:lnTo>
                <a:close/>
                <a:moveTo>
                  <a:pt x="722827" y="59426"/>
                </a:moveTo>
                <a:lnTo>
                  <a:pt x="726028" y="61150"/>
                </a:lnTo>
                <a:lnTo>
                  <a:pt x="726766" y="62135"/>
                </a:lnTo>
                <a:lnTo>
                  <a:pt x="728489" y="63611"/>
                </a:lnTo>
                <a:lnTo>
                  <a:pt x="731935" y="63611"/>
                </a:lnTo>
                <a:lnTo>
                  <a:pt x="731935" y="65335"/>
                </a:lnTo>
                <a:lnTo>
                  <a:pt x="731935" y="67057"/>
                </a:lnTo>
                <a:lnTo>
                  <a:pt x="730213" y="67796"/>
                </a:lnTo>
                <a:lnTo>
                  <a:pt x="728489" y="69519"/>
                </a:lnTo>
                <a:lnTo>
                  <a:pt x="726766" y="71242"/>
                </a:lnTo>
                <a:lnTo>
                  <a:pt x="726028" y="71242"/>
                </a:lnTo>
                <a:lnTo>
                  <a:pt x="724304" y="72966"/>
                </a:lnTo>
                <a:lnTo>
                  <a:pt x="722827" y="72966"/>
                </a:lnTo>
                <a:lnTo>
                  <a:pt x="720366" y="72966"/>
                </a:lnTo>
                <a:lnTo>
                  <a:pt x="720366" y="67796"/>
                </a:lnTo>
                <a:lnTo>
                  <a:pt x="720366" y="65335"/>
                </a:lnTo>
                <a:lnTo>
                  <a:pt x="721104" y="63611"/>
                </a:lnTo>
                <a:close/>
                <a:moveTo>
                  <a:pt x="633474" y="8720"/>
                </a:moveTo>
                <a:lnTo>
                  <a:pt x="633474" y="15366"/>
                </a:lnTo>
                <a:lnTo>
                  <a:pt x="635197" y="18812"/>
                </a:lnTo>
                <a:lnTo>
                  <a:pt x="635936" y="21274"/>
                </a:lnTo>
                <a:lnTo>
                  <a:pt x="635936" y="26197"/>
                </a:lnTo>
                <a:lnTo>
                  <a:pt x="635936" y="32104"/>
                </a:lnTo>
                <a:lnTo>
                  <a:pt x="652428" y="32104"/>
                </a:lnTo>
                <a:lnTo>
                  <a:pt x="666459" y="47859"/>
                </a:lnTo>
                <a:lnTo>
                  <a:pt x="680489" y="63611"/>
                </a:lnTo>
                <a:lnTo>
                  <a:pt x="680489" y="65336"/>
                </a:lnTo>
                <a:lnTo>
                  <a:pt x="679752" y="67058"/>
                </a:lnTo>
                <a:lnTo>
                  <a:pt x="679752" y="67796"/>
                </a:lnTo>
                <a:lnTo>
                  <a:pt x="678028" y="69520"/>
                </a:lnTo>
                <a:lnTo>
                  <a:pt x="675566" y="72966"/>
                </a:lnTo>
                <a:lnTo>
                  <a:pt x="674090" y="73704"/>
                </a:lnTo>
                <a:lnTo>
                  <a:pt x="672367" y="75428"/>
                </a:lnTo>
                <a:lnTo>
                  <a:pt x="670643" y="75428"/>
                </a:lnTo>
                <a:lnTo>
                  <a:pt x="666459" y="75428"/>
                </a:lnTo>
                <a:lnTo>
                  <a:pt x="662520" y="77151"/>
                </a:lnTo>
                <a:lnTo>
                  <a:pt x="662520" y="72966"/>
                </a:lnTo>
                <a:lnTo>
                  <a:pt x="662520" y="67796"/>
                </a:lnTo>
                <a:lnTo>
                  <a:pt x="662520" y="65336"/>
                </a:lnTo>
                <a:lnTo>
                  <a:pt x="662520" y="63611"/>
                </a:lnTo>
                <a:lnTo>
                  <a:pt x="659074" y="61151"/>
                </a:lnTo>
                <a:lnTo>
                  <a:pt x="656613" y="59427"/>
                </a:lnTo>
                <a:lnTo>
                  <a:pt x="652428" y="56227"/>
                </a:lnTo>
                <a:lnTo>
                  <a:pt x="647505" y="67796"/>
                </a:lnTo>
                <a:lnTo>
                  <a:pt x="639381" y="75428"/>
                </a:lnTo>
                <a:lnTo>
                  <a:pt x="627813" y="79612"/>
                </a:lnTo>
                <a:lnTo>
                  <a:pt x="627813" y="75428"/>
                </a:lnTo>
                <a:lnTo>
                  <a:pt x="627813" y="72966"/>
                </a:lnTo>
                <a:lnTo>
                  <a:pt x="629290" y="69520"/>
                </a:lnTo>
                <a:lnTo>
                  <a:pt x="627813" y="67058"/>
                </a:lnTo>
                <a:lnTo>
                  <a:pt x="626089" y="63611"/>
                </a:lnTo>
                <a:lnTo>
                  <a:pt x="624367" y="59427"/>
                </a:lnTo>
                <a:lnTo>
                  <a:pt x="620182" y="57950"/>
                </a:lnTo>
                <a:lnTo>
                  <a:pt x="617720" y="56227"/>
                </a:lnTo>
                <a:lnTo>
                  <a:pt x="614520" y="56227"/>
                </a:lnTo>
                <a:lnTo>
                  <a:pt x="612058" y="55490"/>
                </a:lnTo>
                <a:lnTo>
                  <a:pt x="610335" y="55490"/>
                </a:lnTo>
                <a:lnTo>
                  <a:pt x="607135" y="53766"/>
                </a:lnTo>
                <a:lnTo>
                  <a:pt x="604674" y="50319"/>
                </a:lnTo>
                <a:lnTo>
                  <a:pt x="612797" y="40474"/>
                </a:lnTo>
                <a:lnTo>
                  <a:pt x="618704" y="28658"/>
                </a:lnTo>
                <a:lnTo>
                  <a:pt x="624367" y="17089"/>
                </a:lnTo>
                <a:close/>
                <a:moveTo>
                  <a:pt x="3641951" y="0"/>
                </a:moveTo>
                <a:lnTo>
                  <a:pt x="3750040" y="0"/>
                </a:lnTo>
                <a:lnTo>
                  <a:pt x="3751729" y="7982"/>
                </a:lnTo>
                <a:lnTo>
                  <a:pt x="3722929" y="7982"/>
                </a:lnTo>
                <a:lnTo>
                  <a:pt x="3721206" y="10443"/>
                </a:lnTo>
                <a:lnTo>
                  <a:pt x="3718744" y="13888"/>
                </a:lnTo>
                <a:lnTo>
                  <a:pt x="3717022" y="15612"/>
                </a:lnTo>
                <a:lnTo>
                  <a:pt x="3715298" y="19797"/>
                </a:lnTo>
                <a:lnTo>
                  <a:pt x="3713576" y="23981"/>
                </a:lnTo>
                <a:lnTo>
                  <a:pt x="3716775" y="25705"/>
                </a:lnTo>
                <a:lnTo>
                  <a:pt x="3718497" y="27428"/>
                </a:lnTo>
                <a:lnTo>
                  <a:pt x="3719237" y="28166"/>
                </a:lnTo>
                <a:lnTo>
                  <a:pt x="3720959" y="31611"/>
                </a:lnTo>
                <a:lnTo>
                  <a:pt x="3720959" y="33335"/>
                </a:lnTo>
                <a:lnTo>
                  <a:pt x="3719237" y="35797"/>
                </a:lnTo>
                <a:lnTo>
                  <a:pt x="3716775" y="39982"/>
                </a:lnTo>
                <a:lnTo>
                  <a:pt x="3715052" y="41704"/>
                </a:lnTo>
                <a:lnTo>
                  <a:pt x="3712591" y="43428"/>
                </a:lnTo>
                <a:lnTo>
                  <a:pt x="3709391" y="43428"/>
                </a:lnTo>
                <a:lnTo>
                  <a:pt x="3706929" y="43428"/>
                </a:lnTo>
                <a:lnTo>
                  <a:pt x="3701267" y="43428"/>
                </a:lnTo>
                <a:lnTo>
                  <a:pt x="3695606" y="34320"/>
                </a:lnTo>
                <a:lnTo>
                  <a:pt x="3686498" y="30136"/>
                </a:lnTo>
                <a:lnTo>
                  <a:pt x="3674930" y="27674"/>
                </a:lnTo>
                <a:lnTo>
                  <a:pt x="3674930" y="16844"/>
                </a:lnTo>
                <a:lnTo>
                  <a:pt x="3672467" y="16104"/>
                </a:lnTo>
                <a:lnTo>
                  <a:pt x="3669267" y="14381"/>
                </a:lnTo>
                <a:lnTo>
                  <a:pt x="3668529" y="12659"/>
                </a:lnTo>
                <a:lnTo>
                  <a:pt x="3665329" y="10935"/>
                </a:lnTo>
                <a:lnTo>
                  <a:pt x="3659668" y="10935"/>
                </a:lnTo>
                <a:lnTo>
                  <a:pt x="3657944" y="10935"/>
                </a:lnTo>
                <a:lnTo>
                  <a:pt x="3657207" y="12659"/>
                </a:lnTo>
                <a:lnTo>
                  <a:pt x="3655483" y="12659"/>
                </a:lnTo>
                <a:lnTo>
                  <a:pt x="3653760" y="12659"/>
                </a:lnTo>
                <a:lnTo>
                  <a:pt x="3651298" y="14381"/>
                </a:lnTo>
                <a:lnTo>
                  <a:pt x="3648098" y="8474"/>
                </a:lnTo>
                <a:lnTo>
                  <a:pt x="3643914" y="2567"/>
                </a:lnTo>
                <a:close/>
                <a:moveTo>
                  <a:pt x="1870193" y="0"/>
                </a:moveTo>
                <a:lnTo>
                  <a:pt x="1986120" y="0"/>
                </a:lnTo>
                <a:lnTo>
                  <a:pt x="1986571" y="3551"/>
                </a:lnTo>
                <a:lnTo>
                  <a:pt x="1988295" y="17827"/>
                </a:lnTo>
                <a:lnTo>
                  <a:pt x="1990757" y="29643"/>
                </a:lnTo>
                <a:lnTo>
                  <a:pt x="1993956" y="37274"/>
                </a:lnTo>
                <a:lnTo>
                  <a:pt x="1996418" y="41458"/>
                </a:lnTo>
                <a:lnTo>
                  <a:pt x="2000603" y="43181"/>
                </a:lnTo>
                <a:lnTo>
                  <a:pt x="2003802" y="46628"/>
                </a:lnTo>
                <a:lnTo>
                  <a:pt x="2009465" y="47366"/>
                </a:lnTo>
                <a:lnTo>
                  <a:pt x="2007741" y="37274"/>
                </a:lnTo>
                <a:lnTo>
                  <a:pt x="2006018" y="29643"/>
                </a:lnTo>
                <a:lnTo>
                  <a:pt x="2006018" y="21274"/>
                </a:lnTo>
                <a:lnTo>
                  <a:pt x="2011187" y="21274"/>
                </a:lnTo>
                <a:lnTo>
                  <a:pt x="2011187" y="17827"/>
                </a:lnTo>
                <a:lnTo>
                  <a:pt x="2021032" y="23735"/>
                </a:lnTo>
                <a:lnTo>
                  <a:pt x="2030879" y="29643"/>
                </a:lnTo>
                <a:lnTo>
                  <a:pt x="2042448" y="34566"/>
                </a:lnTo>
                <a:lnTo>
                  <a:pt x="2044171" y="31120"/>
                </a:lnTo>
                <a:lnTo>
                  <a:pt x="2045895" y="28658"/>
                </a:lnTo>
                <a:lnTo>
                  <a:pt x="2046633" y="26936"/>
                </a:lnTo>
                <a:lnTo>
                  <a:pt x="2048355" y="22750"/>
                </a:lnTo>
                <a:lnTo>
                  <a:pt x="2048355" y="17827"/>
                </a:lnTo>
                <a:lnTo>
                  <a:pt x="2046633" y="17089"/>
                </a:lnTo>
                <a:lnTo>
                  <a:pt x="2045895" y="15366"/>
                </a:lnTo>
                <a:lnTo>
                  <a:pt x="2044171" y="13643"/>
                </a:lnTo>
                <a:lnTo>
                  <a:pt x="2044171" y="11920"/>
                </a:lnTo>
                <a:lnTo>
                  <a:pt x="2044171" y="9458"/>
                </a:lnTo>
                <a:lnTo>
                  <a:pt x="2042448" y="5274"/>
                </a:lnTo>
                <a:lnTo>
                  <a:pt x="2054314" y="0"/>
                </a:lnTo>
                <a:lnTo>
                  <a:pt x="3640714" y="0"/>
                </a:lnTo>
                <a:lnTo>
                  <a:pt x="3640714" y="8474"/>
                </a:lnTo>
                <a:lnTo>
                  <a:pt x="3638252" y="20290"/>
                </a:lnTo>
                <a:lnTo>
                  <a:pt x="3635053" y="30382"/>
                </a:lnTo>
                <a:lnTo>
                  <a:pt x="3628406" y="36289"/>
                </a:lnTo>
                <a:lnTo>
                  <a:pt x="3625207" y="38012"/>
                </a:lnTo>
                <a:lnTo>
                  <a:pt x="3622745" y="38012"/>
                </a:lnTo>
                <a:lnTo>
                  <a:pt x="3621022" y="38012"/>
                </a:lnTo>
                <a:lnTo>
                  <a:pt x="3619298" y="38012"/>
                </a:lnTo>
                <a:lnTo>
                  <a:pt x="3617576" y="36289"/>
                </a:lnTo>
                <a:lnTo>
                  <a:pt x="3616838" y="36289"/>
                </a:lnTo>
                <a:lnTo>
                  <a:pt x="3615114" y="36289"/>
                </a:lnTo>
                <a:lnTo>
                  <a:pt x="3613391" y="38012"/>
                </a:lnTo>
                <a:lnTo>
                  <a:pt x="3611668" y="39735"/>
                </a:lnTo>
                <a:lnTo>
                  <a:pt x="3609207" y="43920"/>
                </a:lnTo>
                <a:lnTo>
                  <a:pt x="3617576" y="54012"/>
                </a:lnTo>
                <a:lnTo>
                  <a:pt x="3626683" y="71735"/>
                </a:lnTo>
                <a:lnTo>
                  <a:pt x="3630868" y="91920"/>
                </a:lnTo>
                <a:lnTo>
                  <a:pt x="3628406" y="91920"/>
                </a:lnTo>
                <a:lnTo>
                  <a:pt x="3626683" y="93643"/>
                </a:lnTo>
                <a:lnTo>
                  <a:pt x="3623483" y="93643"/>
                </a:lnTo>
                <a:lnTo>
                  <a:pt x="3619298" y="95365"/>
                </a:lnTo>
                <a:lnTo>
                  <a:pt x="3613637" y="91181"/>
                </a:lnTo>
                <a:lnTo>
                  <a:pt x="3609452" y="87734"/>
                </a:lnTo>
                <a:lnTo>
                  <a:pt x="3603791" y="86996"/>
                </a:lnTo>
                <a:lnTo>
                  <a:pt x="3596406" y="85274"/>
                </a:lnTo>
                <a:lnTo>
                  <a:pt x="3592222" y="97089"/>
                </a:lnTo>
                <a:lnTo>
                  <a:pt x="3583854" y="102997"/>
                </a:lnTo>
                <a:lnTo>
                  <a:pt x="3573022" y="107181"/>
                </a:lnTo>
                <a:lnTo>
                  <a:pt x="3561453" y="111366"/>
                </a:lnTo>
                <a:lnTo>
                  <a:pt x="3560715" y="123180"/>
                </a:lnTo>
                <a:lnTo>
                  <a:pt x="3557514" y="132289"/>
                </a:lnTo>
                <a:lnTo>
                  <a:pt x="3551854" y="140657"/>
                </a:lnTo>
                <a:lnTo>
                  <a:pt x="3540284" y="142381"/>
                </a:lnTo>
                <a:lnTo>
                  <a:pt x="3531915" y="144842"/>
                </a:lnTo>
                <a:lnTo>
                  <a:pt x="3526253" y="148288"/>
                </a:lnTo>
                <a:lnTo>
                  <a:pt x="3520592" y="150012"/>
                </a:lnTo>
                <a:lnTo>
                  <a:pt x="3516408" y="146565"/>
                </a:lnTo>
                <a:lnTo>
                  <a:pt x="3511484" y="142381"/>
                </a:lnTo>
                <a:lnTo>
                  <a:pt x="3509022" y="138196"/>
                </a:lnTo>
                <a:lnTo>
                  <a:pt x="3503362" y="138935"/>
                </a:lnTo>
                <a:lnTo>
                  <a:pt x="3495977" y="140657"/>
                </a:lnTo>
                <a:lnTo>
                  <a:pt x="3490315" y="144103"/>
                </a:lnTo>
                <a:lnTo>
                  <a:pt x="3486130" y="146565"/>
                </a:lnTo>
                <a:lnTo>
                  <a:pt x="3486130" y="152473"/>
                </a:lnTo>
                <a:lnTo>
                  <a:pt x="3481946" y="154195"/>
                </a:lnTo>
                <a:lnTo>
                  <a:pt x="3474562" y="154195"/>
                </a:lnTo>
                <a:lnTo>
                  <a:pt x="3464716" y="154195"/>
                </a:lnTo>
                <a:lnTo>
                  <a:pt x="3455608" y="155919"/>
                </a:lnTo>
                <a:lnTo>
                  <a:pt x="3451423" y="156658"/>
                </a:lnTo>
                <a:lnTo>
                  <a:pt x="3444038" y="174381"/>
                </a:lnTo>
                <a:lnTo>
                  <a:pt x="3443300" y="193580"/>
                </a:lnTo>
                <a:lnTo>
                  <a:pt x="3443300" y="215488"/>
                </a:lnTo>
                <a:lnTo>
                  <a:pt x="3445762" y="234687"/>
                </a:lnTo>
                <a:lnTo>
                  <a:pt x="3441577" y="234687"/>
                </a:lnTo>
                <a:lnTo>
                  <a:pt x="3439854" y="234687"/>
                </a:lnTo>
                <a:lnTo>
                  <a:pt x="3438131" y="234687"/>
                </a:lnTo>
                <a:lnTo>
                  <a:pt x="3437392" y="236410"/>
                </a:lnTo>
                <a:lnTo>
                  <a:pt x="3435670" y="237150"/>
                </a:lnTo>
                <a:lnTo>
                  <a:pt x="3433946" y="242072"/>
                </a:lnTo>
                <a:lnTo>
                  <a:pt x="3432223" y="246257"/>
                </a:lnTo>
                <a:lnTo>
                  <a:pt x="3432223" y="252164"/>
                </a:lnTo>
                <a:lnTo>
                  <a:pt x="3432223" y="258810"/>
                </a:lnTo>
                <a:lnTo>
                  <a:pt x="3422377" y="258810"/>
                </a:lnTo>
                <a:lnTo>
                  <a:pt x="3416715" y="267918"/>
                </a:lnTo>
                <a:lnTo>
                  <a:pt x="3412531" y="273825"/>
                </a:lnTo>
                <a:lnTo>
                  <a:pt x="3410808" y="279734"/>
                </a:lnTo>
                <a:lnTo>
                  <a:pt x="3409084" y="291548"/>
                </a:lnTo>
                <a:lnTo>
                  <a:pt x="3406623" y="291548"/>
                </a:lnTo>
                <a:lnTo>
                  <a:pt x="3403423" y="291548"/>
                </a:lnTo>
                <a:lnTo>
                  <a:pt x="3402685" y="291548"/>
                </a:lnTo>
                <a:lnTo>
                  <a:pt x="3400962" y="291548"/>
                </a:lnTo>
                <a:lnTo>
                  <a:pt x="3397762" y="291548"/>
                </a:lnTo>
                <a:lnTo>
                  <a:pt x="3392100" y="303365"/>
                </a:lnTo>
                <a:lnTo>
                  <a:pt x="3387915" y="317641"/>
                </a:lnTo>
                <a:lnTo>
                  <a:pt x="3378069" y="317641"/>
                </a:lnTo>
                <a:lnTo>
                  <a:pt x="3374869" y="333640"/>
                </a:lnTo>
                <a:lnTo>
                  <a:pt x="3369947" y="333640"/>
                </a:lnTo>
                <a:lnTo>
                  <a:pt x="3369947" y="329457"/>
                </a:lnTo>
                <a:lnTo>
                  <a:pt x="3358378" y="313456"/>
                </a:lnTo>
                <a:lnTo>
                  <a:pt x="3350993" y="294256"/>
                </a:lnTo>
                <a:lnTo>
                  <a:pt x="3349270" y="272349"/>
                </a:lnTo>
                <a:lnTo>
                  <a:pt x="3350993" y="246257"/>
                </a:lnTo>
                <a:lnTo>
                  <a:pt x="3355178" y="242811"/>
                </a:lnTo>
                <a:lnTo>
                  <a:pt x="3358378" y="240349"/>
                </a:lnTo>
                <a:lnTo>
                  <a:pt x="3362562" y="236903"/>
                </a:lnTo>
                <a:lnTo>
                  <a:pt x="3364285" y="232719"/>
                </a:lnTo>
                <a:lnTo>
                  <a:pt x="3366747" y="226811"/>
                </a:lnTo>
                <a:lnTo>
                  <a:pt x="3362562" y="219180"/>
                </a:lnTo>
                <a:lnTo>
                  <a:pt x="3360839" y="209088"/>
                </a:lnTo>
                <a:lnTo>
                  <a:pt x="3366501" y="197272"/>
                </a:lnTo>
                <a:lnTo>
                  <a:pt x="3372162" y="193088"/>
                </a:lnTo>
                <a:lnTo>
                  <a:pt x="3379547" y="189642"/>
                </a:lnTo>
                <a:lnTo>
                  <a:pt x="3387915" y="187180"/>
                </a:lnTo>
                <a:lnTo>
                  <a:pt x="3393577" y="181272"/>
                </a:lnTo>
                <a:lnTo>
                  <a:pt x="3405147" y="163550"/>
                </a:lnTo>
                <a:lnTo>
                  <a:pt x="3416715" y="145827"/>
                </a:lnTo>
                <a:lnTo>
                  <a:pt x="3425824" y="138196"/>
                </a:lnTo>
                <a:lnTo>
                  <a:pt x="3435670" y="131550"/>
                </a:lnTo>
                <a:lnTo>
                  <a:pt x="3445515" y="123920"/>
                </a:lnTo>
                <a:lnTo>
                  <a:pt x="3449700" y="113827"/>
                </a:lnTo>
                <a:lnTo>
                  <a:pt x="3452900" y="102011"/>
                </a:lnTo>
                <a:lnTo>
                  <a:pt x="3457085" y="91181"/>
                </a:lnTo>
                <a:lnTo>
                  <a:pt x="3457085" y="90443"/>
                </a:lnTo>
                <a:lnTo>
                  <a:pt x="3455361" y="90443"/>
                </a:lnTo>
                <a:lnTo>
                  <a:pt x="3455361" y="88719"/>
                </a:lnTo>
                <a:lnTo>
                  <a:pt x="3453639" y="86996"/>
                </a:lnTo>
                <a:lnTo>
                  <a:pt x="3451176" y="88719"/>
                </a:lnTo>
                <a:lnTo>
                  <a:pt x="3449454" y="90443"/>
                </a:lnTo>
                <a:lnTo>
                  <a:pt x="3448715" y="91181"/>
                </a:lnTo>
                <a:lnTo>
                  <a:pt x="3441331" y="102011"/>
                </a:lnTo>
                <a:lnTo>
                  <a:pt x="3433946" y="113827"/>
                </a:lnTo>
                <a:lnTo>
                  <a:pt x="3426561" y="123920"/>
                </a:lnTo>
                <a:lnTo>
                  <a:pt x="3416715" y="131550"/>
                </a:lnTo>
                <a:lnTo>
                  <a:pt x="3403423" y="137457"/>
                </a:lnTo>
                <a:lnTo>
                  <a:pt x="3402685" y="132535"/>
                </a:lnTo>
                <a:lnTo>
                  <a:pt x="3402685" y="131796"/>
                </a:lnTo>
                <a:lnTo>
                  <a:pt x="3400962" y="128350"/>
                </a:lnTo>
                <a:lnTo>
                  <a:pt x="3400962" y="124165"/>
                </a:lnTo>
                <a:lnTo>
                  <a:pt x="3402685" y="122442"/>
                </a:lnTo>
                <a:lnTo>
                  <a:pt x="3402685" y="120719"/>
                </a:lnTo>
                <a:lnTo>
                  <a:pt x="3402685" y="119980"/>
                </a:lnTo>
                <a:lnTo>
                  <a:pt x="3403423" y="116534"/>
                </a:lnTo>
                <a:lnTo>
                  <a:pt x="3403423" y="114073"/>
                </a:lnTo>
                <a:lnTo>
                  <a:pt x="3399238" y="110628"/>
                </a:lnTo>
                <a:lnTo>
                  <a:pt x="3395054" y="108903"/>
                </a:lnTo>
                <a:lnTo>
                  <a:pt x="3391854" y="108166"/>
                </a:lnTo>
                <a:lnTo>
                  <a:pt x="3387670" y="106442"/>
                </a:lnTo>
                <a:lnTo>
                  <a:pt x="3385208" y="108166"/>
                </a:lnTo>
                <a:lnTo>
                  <a:pt x="3377824" y="112350"/>
                </a:lnTo>
                <a:lnTo>
                  <a:pt x="3367978" y="120719"/>
                </a:lnTo>
                <a:lnTo>
                  <a:pt x="3358870" y="131550"/>
                </a:lnTo>
                <a:lnTo>
                  <a:pt x="3350500" y="141642"/>
                </a:lnTo>
                <a:lnTo>
                  <a:pt x="3346316" y="149273"/>
                </a:lnTo>
                <a:lnTo>
                  <a:pt x="3346316" y="151734"/>
                </a:lnTo>
                <a:lnTo>
                  <a:pt x="3346316" y="155180"/>
                </a:lnTo>
                <a:lnTo>
                  <a:pt x="3347055" y="157642"/>
                </a:lnTo>
                <a:lnTo>
                  <a:pt x="3348778" y="161826"/>
                </a:lnTo>
                <a:lnTo>
                  <a:pt x="3350500" y="165272"/>
                </a:lnTo>
                <a:lnTo>
                  <a:pt x="3350500" y="167734"/>
                </a:lnTo>
                <a:lnTo>
                  <a:pt x="3341394" y="171918"/>
                </a:lnTo>
                <a:lnTo>
                  <a:pt x="3331548" y="173642"/>
                </a:lnTo>
                <a:lnTo>
                  <a:pt x="3318255" y="175365"/>
                </a:lnTo>
                <a:lnTo>
                  <a:pt x="3305947" y="175365"/>
                </a:lnTo>
                <a:lnTo>
                  <a:pt x="3305947" y="159365"/>
                </a:lnTo>
                <a:lnTo>
                  <a:pt x="3292655" y="161826"/>
                </a:lnTo>
                <a:lnTo>
                  <a:pt x="3281085" y="166750"/>
                </a:lnTo>
                <a:lnTo>
                  <a:pt x="3271240" y="165026"/>
                </a:lnTo>
                <a:lnTo>
                  <a:pt x="3263855" y="155919"/>
                </a:lnTo>
                <a:lnTo>
                  <a:pt x="3235055" y="151734"/>
                </a:lnTo>
                <a:lnTo>
                  <a:pt x="3225209" y="161826"/>
                </a:lnTo>
                <a:lnTo>
                  <a:pt x="3213640" y="169457"/>
                </a:lnTo>
                <a:lnTo>
                  <a:pt x="3203794" y="177827"/>
                </a:lnTo>
                <a:lnTo>
                  <a:pt x="3198133" y="188657"/>
                </a:lnTo>
                <a:lnTo>
                  <a:pt x="3192471" y="198750"/>
                </a:lnTo>
                <a:lnTo>
                  <a:pt x="3186810" y="208841"/>
                </a:lnTo>
                <a:lnTo>
                  <a:pt x="3179425" y="216473"/>
                </a:lnTo>
                <a:lnTo>
                  <a:pt x="3156287" y="224103"/>
                </a:lnTo>
                <a:lnTo>
                  <a:pt x="3150625" y="230011"/>
                </a:lnTo>
                <a:lnTo>
                  <a:pt x="3146441" y="236657"/>
                </a:lnTo>
                <a:lnTo>
                  <a:pt x="3142256" y="242564"/>
                </a:lnTo>
                <a:lnTo>
                  <a:pt x="3132409" y="250195"/>
                </a:lnTo>
                <a:lnTo>
                  <a:pt x="3132409" y="258564"/>
                </a:lnTo>
                <a:lnTo>
                  <a:pt x="3144717" y="258564"/>
                </a:lnTo>
                <a:lnTo>
                  <a:pt x="3146441" y="263487"/>
                </a:lnTo>
                <a:lnTo>
                  <a:pt x="3148164" y="265949"/>
                </a:lnTo>
                <a:lnTo>
                  <a:pt x="3148902" y="269395"/>
                </a:lnTo>
                <a:lnTo>
                  <a:pt x="3152102" y="271857"/>
                </a:lnTo>
                <a:lnTo>
                  <a:pt x="3154563" y="273580"/>
                </a:lnTo>
                <a:lnTo>
                  <a:pt x="3160225" y="275303"/>
                </a:lnTo>
                <a:lnTo>
                  <a:pt x="3163425" y="271857"/>
                </a:lnTo>
                <a:lnTo>
                  <a:pt x="3165887" y="270133"/>
                </a:lnTo>
                <a:lnTo>
                  <a:pt x="3170809" y="269395"/>
                </a:lnTo>
                <a:lnTo>
                  <a:pt x="3174994" y="269395"/>
                </a:lnTo>
                <a:lnTo>
                  <a:pt x="3182379" y="269395"/>
                </a:lnTo>
                <a:lnTo>
                  <a:pt x="3188041" y="276041"/>
                </a:lnTo>
                <a:lnTo>
                  <a:pt x="3192225" y="281949"/>
                </a:lnTo>
                <a:lnTo>
                  <a:pt x="3194687" y="289580"/>
                </a:lnTo>
                <a:lnTo>
                  <a:pt x="3197887" y="301394"/>
                </a:lnTo>
                <a:lnTo>
                  <a:pt x="3199609" y="309026"/>
                </a:lnTo>
                <a:lnTo>
                  <a:pt x="3197887" y="313210"/>
                </a:lnTo>
                <a:lnTo>
                  <a:pt x="3193702" y="317395"/>
                </a:lnTo>
                <a:lnTo>
                  <a:pt x="3191978" y="325026"/>
                </a:lnTo>
                <a:lnTo>
                  <a:pt x="3191978" y="333395"/>
                </a:lnTo>
                <a:lnTo>
                  <a:pt x="3194441" y="341025"/>
                </a:lnTo>
                <a:lnTo>
                  <a:pt x="3197640" y="348656"/>
                </a:lnTo>
                <a:lnTo>
                  <a:pt x="3200102" y="358748"/>
                </a:lnTo>
                <a:lnTo>
                  <a:pt x="3191733" y="367856"/>
                </a:lnTo>
                <a:lnTo>
                  <a:pt x="3186072" y="377949"/>
                </a:lnTo>
                <a:lnTo>
                  <a:pt x="3181886" y="388041"/>
                </a:lnTo>
                <a:lnTo>
                  <a:pt x="3176226" y="401579"/>
                </a:lnTo>
                <a:lnTo>
                  <a:pt x="3173025" y="404041"/>
                </a:lnTo>
                <a:lnTo>
                  <a:pt x="3165640" y="413148"/>
                </a:lnTo>
                <a:lnTo>
                  <a:pt x="3157271" y="423241"/>
                </a:lnTo>
                <a:lnTo>
                  <a:pt x="3148164" y="435056"/>
                </a:lnTo>
                <a:lnTo>
                  <a:pt x="3138318" y="445148"/>
                </a:lnTo>
                <a:lnTo>
                  <a:pt x="3129949" y="455241"/>
                </a:lnTo>
                <a:lnTo>
                  <a:pt x="3124288" y="462871"/>
                </a:lnTo>
                <a:lnTo>
                  <a:pt x="3121088" y="466318"/>
                </a:lnTo>
                <a:lnTo>
                  <a:pt x="3111241" y="468778"/>
                </a:lnTo>
                <a:lnTo>
                  <a:pt x="3101395" y="467056"/>
                </a:lnTo>
                <a:lnTo>
                  <a:pt x="3092288" y="467056"/>
                </a:lnTo>
                <a:lnTo>
                  <a:pt x="3083918" y="468778"/>
                </a:lnTo>
                <a:lnTo>
                  <a:pt x="3076533" y="476409"/>
                </a:lnTo>
                <a:lnTo>
                  <a:pt x="3070872" y="484779"/>
                </a:lnTo>
                <a:lnTo>
                  <a:pt x="3066687" y="493887"/>
                </a:lnTo>
                <a:lnTo>
                  <a:pt x="3061026" y="502256"/>
                </a:lnTo>
                <a:lnTo>
                  <a:pt x="3052657" y="508164"/>
                </a:lnTo>
                <a:lnTo>
                  <a:pt x="3050934" y="508164"/>
                </a:lnTo>
                <a:lnTo>
                  <a:pt x="3049211" y="509887"/>
                </a:lnTo>
                <a:lnTo>
                  <a:pt x="3047487" y="509887"/>
                </a:lnTo>
                <a:lnTo>
                  <a:pt x="3045026" y="509887"/>
                </a:lnTo>
                <a:lnTo>
                  <a:pt x="3041826" y="511610"/>
                </a:lnTo>
                <a:lnTo>
                  <a:pt x="3045026" y="519979"/>
                </a:lnTo>
                <a:lnTo>
                  <a:pt x="3050688" y="529086"/>
                </a:lnTo>
                <a:lnTo>
                  <a:pt x="3054872" y="539179"/>
                </a:lnTo>
                <a:lnTo>
                  <a:pt x="3060534" y="549271"/>
                </a:lnTo>
                <a:lnTo>
                  <a:pt x="3062995" y="558378"/>
                </a:lnTo>
                <a:lnTo>
                  <a:pt x="3064719" y="568471"/>
                </a:lnTo>
                <a:lnTo>
                  <a:pt x="3062256" y="575117"/>
                </a:lnTo>
                <a:lnTo>
                  <a:pt x="3056595" y="581022"/>
                </a:lnTo>
                <a:lnTo>
                  <a:pt x="3045026" y="585945"/>
                </a:lnTo>
                <a:lnTo>
                  <a:pt x="3026073" y="588407"/>
                </a:lnTo>
                <a:lnTo>
                  <a:pt x="3026073" y="580776"/>
                </a:lnTo>
                <a:lnTo>
                  <a:pt x="3024348" y="574133"/>
                </a:lnTo>
                <a:lnTo>
                  <a:pt x="3024348" y="564040"/>
                </a:lnTo>
                <a:lnTo>
                  <a:pt x="3026073" y="552225"/>
                </a:lnTo>
                <a:lnTo>
                  <a:pt x="3026073" y="543117"/>
                </a:lnTo>
                <a:lnTo>
                  <a:pt x="3021888" y="543117"/>
                </a:lnTo>
                <a:lnTo>
                  <a:pt x="3018688" y="543117"/>
                </a:lnTo>
                <a:lnTo>
                  <a:pt x="3016226" y="543117"/>
                </a:lnTo>
                <a:lnTo>
                  <a:pt x="3014503" y="543117"/>
                </a:lnTo>
                <a:lnTo>
                  <a:pt x="3012780" y="541394"/>
                </a:lnTo>
                <a:lnTo>
                  <a:pt x="3010318" y="540655"/>
                </a:lnTo>
                <a:lnTo>
                  <a:pt x="3007118" y="535733"/>
                </a:lnTo>
                <a:lnTo>
                  <a:pt x="3010318" y="531548"/>
                </a:lnTo>
                <a:lnTo>
                  <a:pt x="3012780" y="527363"/>
                </a:lnTo>
                <a:lnTo>
                  <a:pt x="3014503" y="523179"/>
                </a:lnTo>
                <a:lnTo>
                  <a:pt x="3017703" y="517271"/>
                </a:lnTo>
                <a:lnTo>
                  <a:pt x="3010318" y="517271"/>
                </a:lnTo>
                <a:lnTo>
                  <a:pt x="3001211" y="515548"/>
                </a:lnTo>
                <a:lnTo>
                  <a:pt x="2991365" y="518010"/>
                </a:lnTo>
                <a:lnTo>
                  <a:pt x="2979796" y="522932"/>
                </a:lnTo>
                <a:lnTo>
                  <a:pt x="2969950" y="527117"/>
                </a:lnTo>
                <a:lnTo>
                  <a:pt x="2969950" y="523672"/>
                </a:lnTo>
                <a:lnTo>
                  <a:pt x="2971672" y="519486"/>
                </a:lnTo>
                <a:lnTo>
                  <a:pt x="2973396" y="517025"/>
                </a:lnTo>
                <a:lnTo>
                  <a:pt x="2974134" y="512102"/>
                </a:lnTo>
                <a:lnTo>
                  <a:pt x="2975857" y="509640"/>
                </a:lnTo>
                <a:lnTo>
                  <a:pt x="2978318" y="503733"/>
                </a:lnTo>
                <a:lnTo>
                  <a:pt x="2975857" y="503733"/>
                </a:lnTo>
                <a:lnTo>
                  <a:pt x="2973396" y="502009"/>
                </a:lnTo>
                <a:lnTo>
                  <a:pt x="2970196" y="502009"/>
                </a:lnTo>
                <a:lnTo>
                  <a:pt x="2966011" y="500287"/>
                </a:lnTo>
                <a:lnTo>
                  <a:pt x="2956904" y="509395"/>
                </a:lnTo>
                <a:lnTo>
                  <a:pt x="2947058" y="517025"/>
                </a:lnTo>
                <a:lnTo>
                  <a:pt x="2937212" y="525394"/>
                </a:lnTo>
                <a:lnTo>
                  <a:pt x="2931550" y="535487"/>
                </a:lnTo>
                <a:lnTo>
                  <a:pt x="2937212" y="538932"/>
                </a:lnTo>
                <a:lnTo>
                  <a:pt x="2941396" y="541394"/>
                </a:lnTo>
                <a:lnTo>
                  <a:pt x="2944596" y="544840"/>
                </a:lnTo>
                <a:lnTo>
                  <a:pt x="2947058" y="547301"/>
                </a:lnTo>
                <a:lnTo>
                  <a:pt x="2950257" y="552225"/>
                </a:lnTo>
                <a:lnTo>
                  <a:pt x="2958626" y="547301"/>
                </a:lnTo>
                <a:lnTo>
                  <a:pt x="2966011" y="544840"/>
                </a:lnTo>
                <a:lnTo>
                  <a:pt x="2973396" y="544840"/>
                </a:lnTo>
                <a:lnTo>
                  <a:pt x="2981764" y="549025"/>
                </a:lnTo>
                <a:lnTo>
                  <a:pt x="2985949" y="549025"/>
                </a:lnTo>
                <a:lnTo>
                  <a:pt x="2985949" y="559117"/>
                </a:lnTo>
                <a:lnTo>
                  <a:pt x="2970196" y="559117"/>
                </a:lnTo>
                <a:lnTo>
                  <a:pt x="2964534" y="566748"/>
                </a:lnTo>
                <a:lnTo>
                  <a:pt x="2958873" y="572655"/>
                </a:lnTo>
                <a:lnTo>
                  <a:pt x="2954688" y="578561"/>
                </a:lnTo>
                <a:lnTo>
                  <a:pt x="2950503" y="588653"/>
                </a:lnTo>
                <a:lnTo>
                  <a:pt x="2962073" y="596284"/>
                </a:lnTo>
                <a:lnTo>
                  <a:pt x="2968719" y="608099"/>
                </a:lnTo>
                <a:lnTo>
                  <a:pt x="2974380" y="624099"/>
                </a:lnTo>
                <a:lnTo>
                  <a:pt x="2977581" y="640099"/>
                </a:lnTo>
                <a:lnTo>
                  <a:pt x="2978318" y="657822"/>
                </a:lnTo>
                <a:lnTo>
                  <a:pt x="2978318" y="673330"/>
                </a:lnTo>
                <a:lnTo>
                  <a:pt x="2968472" y="679976"/>
                </a:lnTo>
                <a:lnTo>
                  <a:pt x="2962811" y="691791"/>
                </a:lnTo>
                <a:lnTo>
                  <a:pt x="2957149" y="702622"/>
                </a:lnTo>
                <a:lnTo>
                  <a:pt x="2950503" y="714437"/>
                </a:lnTo>
                <a:lnTo>
                  <a:pt x="2935734" y="730437"/>
                </a:lnTo>
                <a:lnTo>
                  <a:pt x="2916781" y="742251"/>
                </a:lnTo>
                <a:lnTo>
                  <a:pt x="2896842" y="750622"/>
                </a:lnTo>
                <a:lnTo>
                  <a:pt x="2873704" y="758252"/>
                </a:lnTo>
                <a:lnTo>
                  <a:pt x="2852289" y="762437"/>
                </a:lnTo>
                <a:lnTo>
                  <a:pt x="2852289" y="768345"/>
                </a:lnTo>
                <a:lnTo>
                  <a:pt x="2852289" y="771791"/>
                </a:lnTo>
                <a:lnTo>
                  <a:pt x="2852289" y="774251"/>
                </a:lnTo>
                <a:lnTo>
                  <a:pt x="2852289" y="775976"/>
                </a:lnTo>
                <a:lnTo>
                  <a:pt x="2854012" y="777698"/>
                </a:lnTo>
                <a:lnTo>
                  <a:pt x="2854012" y="781882"/>
                </a:lnTo>
                <a:lnTo>
                  <a:pt x="2854750" y="786068"/>
                </a:lnTo>
                <a:lnTo>
                  <a:pt x="2852289" y="789513"/>
                </a:lnTo>
                <a:lnTo>
                  <a:pt x="2849089" y="791974"/>
                </a:lnTo>
                <a:lnTo>
                  <a:pt x="2848350" y="793699"/>
                </a:lnTo>
                <a:lnTo>
                  <a:pt x="2845150" y="796159"/>
                </a:lnTo>
                <a:lnTo>
                  <a:pt x="2839489" y="799605"/>
                </a:lnTo>
                <a:lnTo>
                  <a:pt x="2837766" y="799605"/>
                </a:lnTo>
                <a:lnTo>
                  <a:pt x="2837027" y="801329"/>
                </a:lnTo>
                <a:lnTo>
                  <a:pt x="2835304" y="801329"/>
                </a:lnTo>
                <a:lnTo>
                  <a:pt x="2833582" y="801329"/>
                </a:lnTo>
                <a:lnTo>
                  <a:pt x="2831119" y="802067"/>
                </a:lnTo>
                <a:lnTo>
                  <a:pt x="2829396" y="797883"/>
                </a:lnTo>
                <a:lnTo>
                  <a:pt x="2827673" y="793699"/>
                </a:lnTo>
                <a:lnTo>
                  <a:pt x="2827673" y="789513"/>
                </a:lnTo>
                <a:lnTo>
                  <a:pt x="2827673" y="781882"/>
                </a:lnTo>
                <a:lnTo>
                  <a:pt x="2830873" y="780160"/>
                </a:lnTo>
                <a:lnTo>
                  <a:pt x="2833336" y="780160"/>
                </a:lnTo>
                <a:lnTo>
                  <a:pt x="2836535" y="778437"/>
                </a:lnTo>
                <a:lnTo>
                  <a:pt x="2837274" y="775976"/>
                </a:lnTo>
                <a:lnTo>
                  <a:pt x="2838997" y="772529"/>
                </a:lnTo>
                <a:lnTo>
                  <a:pt x="2837274" y="770067"/>
                </a:lnTo>
                <a:lnTo>
                  <a:pt x="2834812" y="765883"/>
                </a:lnTo>
                <a:lnTo>
                  <a:pt x="2833089" y="762437"/>
                </a:lnTo>
                <a:lnTo>
                  <a:pt x="2830627" y="760714"/>
                </a:lnTo>
                <a:lnTo>
                  <a:pt x="2828905" y="760714"/>
                </a:lnTo>
                <a:lnTo>
                  <a:pt x="2824720" y="759975"/>
                </a:lnTo>
                <a:lnTo>
                  <a:pt x="2819797" y="759975"/>
                </a:lnTo>
                <a:lnTo>
                  <a:pt x="2814874" y="766621"/>
                </a:lnTo>
                <a:lnTo>
                  <a:pt x="2809213" y="771545"/>
                </a:lnTo>
                <a:lnTo>
                  <a:pt x="2804289" y="775729"/>
                </a:lnTo>
                <a:lnTo>
                  <a:pt x="2800104" y="783360"/>
                </a:lnTo>
                <a:lnTo>
                  <a:pt x="2798382" y="795174"/>
                </a:lnTo>
                <a:lnTo>
                  <a:pt x="2811674" y="807729"/>
                </a:lnTo>
                <a:lnTo>
                  <a:pt x="2821520" y="821268"/>
                </a:lnTo>
                <a:lnTo>
                  <a:pt x="2830627" y="835544"/>
                </a:lnTo>
                <a:lnTo>
                  <a:pt x="2834812" y="854743"/>
                </a:lnTo>
                <a:lnTo>
                  <a:pt x="2836535" y="878129"/>
                </a:lnTo>
                <a:lnTo>
                  <a:pt x="2788535" y="917512"/>
                </a:lnTo>
                <a:lnTo>
                  <a:pt x="2782874" y="917512"/>
                </a:lnTo>
                <a:lnTo>
                  <a:pt x="2778689" y="901513"/>
                </a:lnTo>
                <a:lnTo>
                  <a:pt x="2769582" y="889697"/>
                </a:lnTo>
                <a:lnTo>
                  <a:pt x="2758012" y="879605"/>
                </a:lnTo>
                <a:lnTo>
                  <a:pt x="2745705" y="869513"/>
                </a:lnTo>
                <a:lnTo>
                  <a:pt x="2732412" y="858682"/>
                </a:lnTo>
                <a:lnTo>
                  <a:pt x="2726752" y="882067"/>
                </a:lnTo>
                <a:lnTo>
                  <a:pt x="2719366" y="901266"/>
                </a:lnTo>
                <a:lnTo>
                  <a:pt x="2726752" y="905451"/>
                </a:lnTo>
                <a:lnTo>
                  <a:pt x="2729951" y="911359"/>
                </a:lnTo>
                <a:lnTo>
                  <a:pt x="2730690" y="918989"/>
                </a:lnTo>
                <a:lnTo>
                  <a:pt x="2735613" y="927359"/>
                </a:lnTo>
                <a:lnTo>
                  <a:pt x="2736351" y="929082"/>
                </a:lnTo>
                <a:lnTo>
                  <a:pt x="2739551" y="929082"/>
                </a:lnTo>
                <a:lnTo>
                  <a:pt x="2742013" y="929082"/>
                </a:lnTo>
                <a:lnTo>
                  <a:pt x="2745213" y="929082"/>
                </a:lnTo>
                <a:lnTo>
                  <a:pt x="2747675" y="930805"/>
                </a:lnTo>
                <a:lnTo>
                  <a:pt x="2759243" y="942619"/>
                </a:lnTo>
                <a:lnTo>
                  <a:pt x="2768351" y="960342"/>
                </a:lnTo>
                <a:lnTo>
                  <a:pt x="2774013" y="980527"/>
                </a:lnTo>
                <a:lnTo>
                  <a:pt x="2774751" y="1001451"/>
                </a:lnTo>
                <a:lnTo>
                  <a:pt x="2766382" y="1001451"/>
                </a:lnTo>
                <a:lnTo>
                  <a:pt x="2757274" y="993820"/>
                </a:lnTo>
                <a:lnTo>
                  <a:pt x="2748905" y="989635"/>
                </a:lnTo>
                <a:lnTo>
                  <a:pt x="2747182" y="987911"/>
                </a:lnTo>
                <a:lnTo>
                  <a:pt x="2739797" y="982005"/>
                </a:lnTo>
                <a:lnTo>
                  <a:pt x="2734874" y="970188"/>
                </a:lnTo>
                <a:lnTo>
                  <a:pt x="2731675" y="956651"/>
                </a:lnTo>
                <a:lnTo>
                  <a:pt x="2727490" y="944835"/>
                </a:lnTo>
                <a:lnTo>
                  <a:pt x="2723305" y="933020"/>
                </a:lnTo>
                <a:lnTo>
                  <a:pt x="2715920" y="922928"/>
                </a:lnTo>
                <a:lnTo>
                  <a:pt x="2715920" y="920467"/>
                </a:lnTo>
                <a:lnTo>
                  <a:pt x="2708536" y="922928"/>
                </a:lnTo>
                <a:lnTo>
                  <a:pt x="2708536" y="920467"/>
                </a:lnTo>
                <a:lnTo>
                  <a:pt x="2706074" y="908651"/>
                </a:lnTo>
                <a:lnTo>
                  <a:pt x="2706074" y="893636"/>
                </a:lnTo>
                <a:lnTo>
                  <a:pt x="2706074" y="877636"/>
                </a:lnTo>
                <a:lnTo>
                  <a:pt x="2706074" y="859913"/>
                </a:lnTo>
                <a:lnTo>
                  <a:pt x="2704351" y="843913"/>
                </a:lnTo>
                <a:lnTo>
                  <a:pt x="2698690" y="830374"/>
                </a:lnTo>
                <a:lnTo>
                  <a:pt x="2689582" y="820283"/>
                </a:lnTo>
                <a:lnTo>
                  <a:pt x="2687121" y="822744"/>
                </a:lnTo>
                <a:lnTo>
                  <a:pt x="2682936" y="826190"/>
                </a:lnTo>
                <a:lnTo>
                  <a:pt x="2679736" y="827913"/>
                </a:lnTo>
                <a:lnTo>
                  <a:pt x="2674074" y="828652"/>
                </a:lnTo>
                <a:lnTo>
                  <a:pt x="2668414" y="828652"/>
                </a:lnTo>
                <a:lnTo>
                  <a:pt x="2666690" y="828652"/>
                </a:lnTo>
                <a:lnTo>
                  <a:pt x="2666690" y="827913"/>
                </a:lnTo>
                <a:lnTo>
                  <a:pt x="2665951" y="827913"/>
                </a:lnTo>
                <a:lnTo>
                  <a:pt x="2664228" y="826190"/>
                </a:lnTo>
                <a:lnTo>
                  <a:pt x="2664228" y="808467"/>
                </a:lnTo>
                <a:lnTo>
                  <a:pt x="2660044" y="794191"/>
                </a:lnTo>
                <a:lnTo>
                  <a:pt x="2654383" y="782375"/>
                </a:lnTo>
                <a:lnTo>
                  <a:pt x="2645275" y="771545"/>
                </a:lnTo>
                <a:lnTo>
                  <a:pt x="2638629" y="759729"/>
                </a:lnTo>
                <a:lnTo>
                  <a:pt x="2629522" y="745452"/>
                </a:lnTo>
                <a:lnTo>
                  <a:pt x="2627059" y="747914"/>
                </a:lnTo>
                <a:lnTo>
                  <a:pt x="2625337" y="749637"/>
                </a:lnTo>
                <a:lnTo>
                  <a:pt x="2623613" y="753083"/>
                </a:lnTo>
                <a:lnTo>
                  <a:pt x="2621891" y="753821"/>
                </a:lnTo>
                <a:lnTo>
                  <a:pt x="2621151" y="755545"/>
                </a:lnTo>
                <a:lnTo>
                  <a:pt x="2607860" y="757268"/>
                </a:lnTo>
                <a:lnTo>
                  <a:pt x="2596290" y="755545"/>
                </a:lnTo>
                <a:lnTo>
                  <a:pt x="2584721" y="755545"/>
                </a:lnTo>
                <a:lnTo>
                  <a:pt x="2581521" y="767360"/>
                </a:lnTo>
                <a:lnTo>
                  <a:pt x="2577337" y="773268"/>
                </a:lnTo>
                <a:lnTo>
                  <a:pt x="2574875" y="774991"/>
                </a:lnTo>
                <a:lnTo>
                  <a:pt x="2569214" y="774991"/>
                </a:lnTo>
                <a:lnTo>
                  <a:pt x="2563553" y="776714"/>
                </a:lnTo>
                <a:lnTo>
                  <a:pt x="2557891" y="780897"/>
                </a:lnTo>
                <a:lnTo>
                  <a:pt x="2548045" y="806991"/>
                </a:lnTo>
                <a:lnTo>
                  <a:pt x="2534753" y="806991"/>
                </a:lnTo>
                <a:lnTo>
                  <a:pt x="2527369" y="812897"/>
                </a:lnTo>
                <a:lnTo>
                  <a:pt x="2519983" y="820528"/>
                </a:lnTo>
                <a:lnTo>
                  <a:pt x="2510137" y="826436"/>
                </a:lnTo>
                <a:lnTo>
                  <a:pt x="2507676" y="855728"/>
                </a:lnTo>
                <a:lnTo>
                  <a:pt x="2500292" y="880836"/>
                </a:lnTo>
                <a:lnTo>
                  <a:pt x="2490445" y="901020"/>
                </a:lnTo>
                <a:lnTo>
                  <a:pt x="2474691" y="920221"/>
                </a:lnTo>
                <a:lnTo>
                  <a:pt x="2472968" y="920221"/>
                </a:lnTo>
                <a:lnTo>
                  <a:pt x="2471245" y="918497"/>
                </a:lnTo>
                <a:lnTo>
                  <a:pt x="2469522" y="918497"/>
                </a:lnTo>
                <a:lnTo>
                  <a:pt x="2468784" y="916775"/>
                </a:lnTo>
                <a:lnTo>
                  <a:pt x="2459676" y="906682"/>
                </a:lnTo>
                <a:lnTo>
                  <a:pt x="2451308" y="890682"/>
                </a:lnTo>
                <a:lnTo>
                  <a:pt x="2446384" y="877144"/>
                </a:lnTo>
                <a:lnTo>
                  <a:pt x="2445645" y="874682"/>
                </a:lnTo>
                <a:lnTo>
                  <a:pt x="2446384" y="871236"/>
                </a:lnTo>
                <a:lnTo>
                  <a:pt x="2448107" y="868774"/>
                </a:lnTo>
                <a:lnTo>
                  <a:pt x="2449830" y="867051"/>
                </a:lnTo>
                <a:lnTo>
                  <a:pt x="2449830" y="865328"/>
                </a:lnTo>
                <a:lnTo>
                  <a:pt x="2435061" y="843421"/>
                </a:lnTo>
                <a:lnTo>
                  <a:pt x="2425215" y="820036"/>
                </a:lnTo>
                <a:lnTo>
                  <a:pt x="2418568" y="794929"/>
                </a:lnTo>
                <a:lnTo>
                  <a:pt x="2415369" y="764652"/>
                </a:lnTo>
                <a:lnTo>
                  <a:pt x="2405523" y="765390"/>
                </a:lnTo>
                <a:lnTo>
                  <a:pt x="2398139" y="765390"/>
                </a:lnTo>
                <a:lnTo>
                  <a:pt x="2389769" y="764652"/>
                </a:lnTo>
                <a:lnTo>
                  <a:pt x="2386568" y="761206"/>
                </a:lnTo>
                <a:lnTo>
                  <a:pt x="2382384" y="758744"/>
                </a:lnTo>
                <a:lnTo>
                  <a:pt x="2379184" y="755298"/>
                </a:lnTo>
                <a:lnTo>
                  <a:pt x="2376723" y="752837"/>
                </a:lnTo>
                <a:lnTo>
                  <a:pt x="2379184" y="742006"/>
                </a:lnTo>
                <a:lnTo>
                  <a:pt x="2373523" y="733637"/>
                </a:lnTo>
                <a:lnTo>
                  <a:pt x="2363677" y="726006"/>
                </a:lnTo>
                <a:lnTo>
                  <a:pt x="2353830" y="719360"/>
                </a:lnTo>
                <a:lnTo>
                  <a:pt x="2344723" y="710252"/>
                </a:lnTo>
                <a:lnTo>
                  <a:pt x="2320847" y="713699"/>
                </a:lnTo>
                <a:lnTo>
                  <a:pt x="2295986" y="713699"/>
                </a:lnTo>
                <a:lnTo>
                  <a:pt x="2271123" y="711976"/>
                </a:lnTo>
                <a:lnTo>
                  <a:pt x="2247247" y="710252"/>
                </a:lnTo>
                <a:lnTo>
                  <a:pt x="2243063" y="701883"/>
                </a:lnTo>
                <a:lnTo>
                  <a:pt x="2237401" y="691053"/>
                </a:lnTo>
                <a:lnTo>
                  <a:pt x="2228293" y="694499"/>
                </a:lnTo>
                <a:lnTo>
                  <a:pt x="2222632" y="696222"/>
                </a:lnTo>
                <a:lnTo>
                  <a:pt x="2215247" y="696960"/>
                </a:lnTo>
                <a:lnTo>
                  <a:pt x="2205401" y="696960"/>
                </a:lnTo>
                <a:lnTo>
                  <a:pt x="2197031" y="691053"/>
                </a:lnTo>
                <a:lnTo>
                  <a:pt x="2187925" y="686868"/>
                </a:lnTo>
                <a:lnTo>
                  <a:pt x="2178078" y="680960"/>
                </a:lnTo>
                <a:lnTo>
                  <a:pt x="2170694" y="675053"/>
                </a:lnTo>
                <a:lnTo>
                  <a:pt x="2168232" y="666683"/>
                </a:lnTo>
                <a:lnTo>
                  <a:pt x="2164047" y="659053"/>
                </a:lnTo>
                <a:lnTo>
                  <a:pt x="2154940" y="651422"/>
                </a:lnTo>
                <a:lnTo>
                  <a:pt x="2153217" y="651422"/>
                </a:lnTo>
                <a:lnTo>
                  <a:pt x="2152479" y="651422"/>
                </a:lnTo>
                <a:lnTo>
                  <a:pt x="2150754" y="651422"/>
                </a:lnTo>
                <a:lnTo>
                  <a:pt x="2147555" y="651422"/>
                </a:lnTo>
                <a:lnTo>
                  <a:pt x="2141893" y="651422"/>
                </a:lnTo>
                <a:lnTo>
                  <a:pt x="2145094" y="663237"/>
                </a:lnTo>
                <a:lnTo>
                  <a:pt x="2149279" y="676776"/>
                </a:lnTo>
                <a:lnTo>
                  <a:pt x="2156663" y="690314"/>
                </a:lnTo>
                <a:lnTo>
                  <a:pt x="2162324" y="702130"/>
                </a:lnTo>
                <a:lnTo>
                  <a:pt x="2167986" y="710498"/>
                </a:lnTo>
                <a:lnTo>
                  <a:pt x="2169709" y="706314"/>
                </a:lnTo>
                <a:lnTo>
                  <a:pt x="2170448" y="704591"/>
                </a:lnTo>
                <a:lnTo>
                  <a:pt x="2170448" y="702868"/>
                </a:lnTo>
                <a:lnTo>
                  <a:pt x="2172170" y="702868"/>
                </a:lnTo>
                <a:lnTo>
                  <a:pt x="2173893" y="702868"/>
                </a:lnTo>
                <a:lnTo>
                  <a:pt x="2178078" y="704591"/>
                </a:lnTo>
                <a:lnTo>
                  <a:pt x="2179801" y="708776"/>
                </a:lnTo>
                <a:lnTo>
                  <a:pt x="2181524" y="713699"/>
                </a:lnTo>
                <a:lnTo>
                  <a:pt x="2181524" y="717883"/>
                </a:lnTo>
                <a:lnTo>
                  <a:pt x="2182262" y="722068"/>
                </a:lnTo>
                <a:lnTo>
                  <a:pt x="2183986" y="726252"/>
                </a:lnTo>
                <a:lnTo>
                  <a:pt x="2189647" y="725514"/>
                </a:lnTo>
                <a:lnTo>
                  <a:pt x="2197031" y="723791"/>
                </a:lnTo>
                <a:lnTo>
                  <a:pt x="2205401" y="723791"/>
                </a:lnTo>
                <a:lnTo>
                  <a:pt x="2218694" y="708776"/>
                </a:lnTo>
                <a:lnTo>
                  <a:pt x="2234447" y="696960"/>
                </a:lnTo>
                <a:lnTo>
                  <a:pt x="2236170" y="711976"/>
                </a:lnTo>
                <a:lnTo>
                  <a:pt x="2237892" y="723791"/>
                </a:lnTo>
                <a:lnTo>
                  <a:pt x="2259308" y="735605"/>
                </a:lnTo>
                <a:lnTo>
                  <a:pt x="2276538" y="749882"/>
                </a:lnTo>
                <a:lnTo>
                  <a:pt x="2270877" y="757513"/>
                </a:lnTo>
                <a:lnTo>
                  <a:pt x="2265954" y="765145"/>
                </a:lnTo>
                <a:lnTo>
                  <a:pt x="2261031" y="771052"/>
                </a:lnTo>
                <a:lnTo>
                  <a:pt x="2250200" y="775236"/>
                </a:lnTo>
                <a:lnTo>
                  <a:pt x="2250200" y="791236"/>
                </a:lnTo>
                <a:lnTo>
                  <a:pt x="2236170" y="800345"/>
                </a:lnTo>
                <a:lnTo>
                  <a:pt x="2221400" y="810436"/>
                </a:lnTo>
                <a:lnTo>
                  <a:pt x="2221400" y="817575"/>
                </a:lnTo>
                <a:lnTo>
                  <a:pt x="2203185" y="817575"/>
                </a:lnTo>
                <a:lnTo>
                  <a:pt x="2192355" y="823483"/>
                </a:lnTo>
                <a:lnTo>
                  <a:pt x="2183986" y="832590"/>
                </a:lnTo>
                <a:lnTo>
                  <a:pt x="2174140" y="840220"/>
                </a:lnTo>
                <a:lnTo>
                  <a:pt x="2160847" y="846129"/>
                </a:lnTo>
                <a:lnTo>
                  <a:pt x="2147555" y="848590"/>
                </a:lnTo>
                <a:lnTo>
                  <a:pt x="2133524" y="852775"/>
                </a:lnTo>
                <a:lnTo>
                  <a:pt x="2121956" y="857698"/>
                </a:lnTo>
                <a:lnTo>
                  <a:pt x="2112109" y="863605"/>
                </a:lnTo>
                <a:lnTo>
                  <a:pt x="2102263" y="866067"/>
                </a:lnTo>
                <a:lnTo>
                  <a:pt x="2094878" y="866067"/>
                </a:lnTo>
                <a:lnTo>
                  <a:pt x="2091678" y="864344"/>
                </a:lnTo>
                <a:lnTo>
                  <a:pt x="2090940" y="864344"/>
                </a:lnTo>
                <a:lnTo>
                  <a:pt x="2089217" y="863605"/>
                </a:lnTo>
                <a:lnTo>
                  <a:pt x="2087494" y="861882"/>
                </a:lnTo>
                <a:lnTo>
                  <a:pt x="2085771" y="858436"/>
                </a:lnTo>
                <a:lnTo>
                  <a:pt x="2081586" y="850067"/>
                </a:lnTo>
                <a:lnTo>
                  <a:pt x="2079864" y="840959"/>
                </a:lnTo>
                <a:lnTo>
                  <a:pt x="2079864" y="832590"/>
                </a:lnTo>
                <a:lnTo>
                  <a:pt x="2079125" y="823483"/>
                </a:lnTo>
                <a:lnTo>
                  <a:pt x="2071740" y="809206"/>
                </a:lnTo>
                <a:lnTo>
                  <a:pt x="2061895" y="795667"/>
                </a:lnTo>
                <a:lnTo>
                  <a:pt x="2051064" y="783853"/>
                </a:lnTo>
                <a:lnTo>
                  <a:pt x="2041218" y="772036"/>
                </a:lnTo>
                <a:lnTo>
                  <a:pt x="2038756" y="763667"/>
                </a:lnTo>
                <a:lnTo>
                  <a:pt x="2037033" y="753575"/>
                </a:lnTo>
                <a:lnTo>
                  <a:pt x="2035309" y="742744"/>
                </a:lnTo>
                <a:lnTo>
                  <a:pt x="2031125" y="734375"/>
                </a:lnTo>
                <a:lnTo>
                  <a:pt x="2015371" y="724284"/>
                </a:lnTo>
                <a:lnTo>
                  <a:pt x="2011187" y="714191"/>
                </a:lnTo>
                <a:lnTo>
                  <a:pt x="2006264" y="703361"/>
                </a:lnTo>
                <a:lnTo>
                  <a:pt x="2002079" y="693268"/>
                </a:lnTo>
                <a:lnTo>
                  <a:pt x="1996418" y="684899"/>
                </a:lnTo>
                <a:lnTo>
                  <a:pt x="1988049" y="678991"/>
                </a:lnTo>
                <a:lnTo>
                  <a:pt x="1983126" y="677268"/>
                </a:lnTo>
                <a:lnTo>
                  <a:pt x="1982387" y="673821"/>
                </a:lnTo>
                <a:lnTo>
                  <a:pt x="1979187" y="673083"/>
                </a:lnTo>
                <a:lnTo>
                  <a:pt x="1976725" y="671361"/>
                </a:lnTo>
                <a:lnTo>
                  <a:pt x="1973525" y="669637"/>
                </a:lnTo>
                <a:lnTo>
                  <a:pt x="1971065" y="667176"/>
                </a:lnTo>
                <a:lnTo>
                  <a:pt x="1967864" y="662253"/>
                </a:lnTo>
                <a:lnTo>
                  <a:pt x="1965403" y="656345"/>
                </a:lnTo>
                <a:lnTo>
                  <a:pt x="1962203" y="656345"/>
                </a:lnTo>
                <a:lnTo>
                  <a:pt x="1962203" y="662253"/>
                </a:lnTo>
                <a:lnTo>
                  <a:pt x="1972049" y="675791"/>
                </a:lnTo>
                <a:lnTo>
                  <a:pt x="1981156" y="690806"/>
                </a:lnTo>
                <a:lnTo>
                  <a:pt x="1986818" y="708529"/>
                </a:lnTo>
                <a:lnTo>
                  <a:pt x="1992479" y="724529"/>
                </a:lnTo>
                <a:lnTo>
                  <a:pt x="1999863" y="740529"/>
                </a:lnTo>
                <a:lnTo>
                  <a:pt x="2002326" y="742991"/>
                </a:lnTo>
                <a:lnTo>
                  <a:pt x="2006509" y="746437"/>
                </a:lnTo>
                <a:lnTo>
                  <a:pt x="2009710" y="748898"/>
                </a:lnTo>
                <a:lnTo>
                  <a:pt x="2013895" y="752344"/>
                </a:lnTo>
                <a:lnTo>
                  <a:pt x="2015618" y="756528"/>
                </a:lnTo>
                <a:lnTo>
                  <a:pt x="2015618" y="785821"/>
                </a:lnTo>
                <a:lnTo>
                  <a:pt x="2018079" y="789268"/>
                </a:lnTo>
                <a:lnTo>
                  <a:pt x="2021279" y="793452"/>
                </a:lnTo>
                <a:lnTo>
                  <a:pt x="2025464" y="795914"/>
                </a:lnTo>
                <a:lnTo>
                  <a:pt x="2029648" y="799360"/>
                </a:lnTo>
                <a:lnTo>
                  <a:pt x="2031371" y="801820"/>
                </a:lnTo>
                <a:lnTo>
                  <a:pt x="2033834" y="810929"/>
                </a:lnTo>
                <a:lnTo>
                  <a:pt x="2035556" y="817575"/>
                </a:lnTo>
                <a:lnTo>
                  <a:pt x="2038756" y="826682"/>
                </a:lnTo>
                <a:lnTo>
                  <a:pt x="2047125" y="836775"/>
                </a:lnTo>
                <a:lnTo>
                  <a:pt x="2060417" y="845882"/>
                </a:lnTo>
                <a:lnTo>
                  <a:pt x="2074448" y="854252"/>
                </a:lnTo>
                <a:lnTo>
                  <a:pt x="2086017" y="863359"/>
                </a:lnTo>
                <a:lnTo>
                  <a:pt x="2089217" y="867544"/>
                </a:lnTo>
                <a:lnTo>
                  <a:pt x="2089217" y="873451"/>
                </a:lnTo>
                <a:lnTo>
                  <a:pt x="2089217" y="877636"/>
                </a:lnTo>
                <a:lnTo>
                  <a:pt x="2090940" y="881821"/>
                </a:lnTo>
                <a:lnTo>
                  <a:pt x="2095125" y="886743"/>
                </a:lnTo>
                <a:lnTo>
                  <a:pt x="2107433" y="887482"/>
                </a:lnTo>
                <a:lnTo>
                  <a:pt x="2122201" y="880836"/>
                </a:lnTo>
                <a:lnTo>
                  <a:pt x="2142140" y="875912"/>
                </a:lnTo>
                <a:lnTo>
                  <a:pt x="2161093" y="871728"/>
                </a:lnTo>
                <a:lnTo>
                  <a:pt x="2178323" y="869267"/>
                </a:lnTo>
                <a:lnTo>
                  <a:pt x="2178323" y="871728"/>
                </a:lnTo>
                <a:lnTo>
                  <a:pt x="2174140" y="879359"/>
                </a:lnTo>
                <a:lnTo>
                  <a:pt x="2174140" y="888221"/>
                </a:lnTo>
                <a:lnTo>
                  <a:pt x="2170940" y="898313"/>
                </a:lnTo>
                <a:lnTo>
                  <a:pt x="2165278" y="913328"/>
                </a:lnTo>
                <a:lnTo>
                  <a:pt x="2156909" y="931051"/>
                </a:lnTo>
                <a:lnTo>
                  <a:pt x="2147063" y="948774"/>
                </a:lnTo>
                <a:lnTo>
                  <a:pt x="2136232" y="963051"/>
                </a:lnTo>
                <a:lnTo>
                  <a:pt x="2120479" y="979050"/>
                </a:lnTo>
                <a:lnTo>
                  <a:pt x="2103248" y="994066"/>
                </a:lnTo>
                <a:lnTo>
                  <a:pt x="2085032" y="1008343"/>
                </a:lnTo>
                <a:lnTo>
                  <a:pt x="2067802" y="1025082"/>
                </a:lnTo>
                <a:lnTo>
                  <a:pt x="2053032" y="1042804"/>
                </a:lnTo>
                <a:lnTo>
                  <a:pt x="2041464" y="1062988"/>
                </a:lnTo>
                <a:lnTo>
                  <a:pt x="2037279" y="1082189"/>
                </a:lnTo>
                <a:lnTo>
                  <a:pt x="2039740" y="1099911"/>
                </a:lnTo>
                <a:lnTo>
                  <a:pt x="2045402" y="1117634"/>
                </a:lnTo>
                <a:lnTo>
                  <a:pt x="2051064" y="1133634"/>
                </a:lnTo>
                <a:lnTo>
                  <a:pt x="2056725" y="1151357"/>
                </a:lnTo>
                <a:lnTo>
                  <a:pt x="2061648" y="1169080"/>
                </a:lnTo>
                <a:lnTo>
                  <a:pt x="2059925" y="1186804"/>
                </a:lnTo>
                <a:lnTo>
                  <a:pt x="2050818" y="1205264"/>
                </a:lnTo>
                <a:lnTo>
                  <a:pt x="2038509" y="1214372"/>
                </a:lnTo>
                <a:lnTo>
                  <a:pt x="2023741" y="1221018"/>
                </a:lnTo>
                <a:lnTo>
                  <a:pt x="2009710" y="1228649"/>
                </a:lnTo>
                <a:lnTo>
                  <a:pt x="1999990" y="1237129"/>
                </a:lnTo>
                <a:lnTo>
                  <a:pt x="1730490" y="1237129"/>
                </a:lnTo>
                <a:lnTo>
                  <a:pt x="1729835" y="1236280"/>
                </a:lnTo>
                <a:lnTo>
                  <a:pt x="1724174" y="1224465"/>
                </a:lnTo>
                <a:lnTo>
                  <a:pt x="1722450" y="1210188"/>
                </a:lnTo>
                <a:lnTo>
                  <a:pt x="1725650" y="1193450"/>
                </a:lnTo>
                <a:lnTo>
                  <a:pt x="1731312" y="1179173"/>
                </a:lnTo>
                <a:lnTo>
                  <a:pt x="1739681" y="1163172"/>
                </a:lnTo>
                <a:lnTo>
                  <a:pt x="1745342" y="1149634"/>
                </a:lnTo>
                <a:lnTo>
                  <a:pt x="1750265" y="1137819"/>
                </a:lnTo>
                <a:lnTo>
                  <a:pt x="1744604" y="1126003"/>
                </a:lnTo>
                <a:lnTo>
                  <a:pt x="1742882" y="1115911"/>
                </a:lnTo>
                <a:lnTo>
                  <a:pt x="1742882" y="1105819"/>
                </a:lnTo>
                <a:lnTo>
                  <a:pt x="1739681" y="1092281"/>
                </a:lnTo>
                <a:lnTo>
                  <a:pt x="1731312" y="1074558"/>
                </a:lnTo>
                <a:lnTo>
                  <a:pt x="1718022" y="1056835"/>
                </a:lnTo>
                <a:lnTo>
                  <a:pt x="1705715" y="1040834"/>
                </a:lnTo>
                <a:lnTo>
                  <a:pt x="1692422" y="1027297"/>
                </a:lnTo>
                <a:lnTo>
                  <a:pt x="1696606" y="1009574"/>
                </a:lnTo>
                <a:lnTo>
                  <a:pt x="1700792" y="993574"/>
                </a:lnTo>
                <a:lnTo>
                  <a:pt x="1705715" y="975851"/>
                </a:lnTo>
                <a:lnTo>
                  <a:pt x="1700792" y="973389"/>
                </a:lnTo>
                <a:lnTo>
                  <a:pt x="1698330" y="971666"/>
                </a:lnTo>
                <a:lnTo>
                  <a:pt x="1695130" y="968220"/>
                </a:lnTo>
                <a:lnTo>
                  <a:pt x="1692669" y="967481"/>
                </a:lnTo>
                <a:lnTo>
                  <a:pt x="1688484" y="967481"/>
                </a:lnTo>
                <a:lnTo>
                  <a:pt x="1682823" y="965758"/>
                </a:lnTo>
                <a:lnTo>
                  <a:pt x="1679622" y="968220"/>
                </a:lnTo>
                <a:lnTo>
                  <a:pt x="1677899" y="969943"/>
                </a:lnTo>
                <a:lnTo>
                  <a:pt x="1673715" y="971666"/>
                </a:lnTo>
                <a:lnTo>
                  <a:pt x="1669530" y="971666"/>
                </a:lnTo>
                <a:lnTo>
                  <a:pt x="1663869" y="971666"/>
                </a:lnTo>
                <a:lnTo>
                  <a:pt x="1648114" y="946558"/>
                </a:lnTo>
                <a:lnTo>
                  <a:pt x="1637284" y="944835"/>
                </a:lnTo>
                <a:lnTo>
                  <a:pt x="1627438" y="944097"/>
                </a:lnTo>
                <a:lnTo>
                  <a:pt x="1615870" y="942374"/>
                </a:lnTo>
                <a:lnTo>
                  <a:pt x="1601838" y="948282"/>
                </a:lnTo>
                <a:lnTo>
                  <a:pt x="1587070" y="954189"/>
                </a:lnTo>
                <a:lnTo>
                  <a:pt x="1575500" y="958374"/>
                </a:lnTo>
                <a:lnTo>
                  <a:pt x="1547439" y="952466"/>
                </a:lnTo>
                <a:lnTo>
                  <a:pt x="1544239" y="962558"/>
                </a:lnTo>
                <a:lnTo>
                  <a:pt x="1534393" y="962558"/>
                </a:lnTo>
                <a:lnTo>
                  <a:pt x="1525285" y="960097"/>
                </a:lnTo>
                <a:lnTo>
                  <a:pt x="1518639" y="958374"/>
                </a:lnTo>
                <a:lnTo>
                  <a:pt x="1515439" y="960097"/>
                </a:lnTo>
                <a:lnTo>
                  <a:pt x="1512978" y="962558"/>
                </a:lnTo>
                <a:lnTo>
                  <a:pt x="1508055" y="964282"/>
                </a:lnTo>
                <a:lnTo>
                  <a:pt x="1502393" y="966005"/>
                </a:lnTo>
                <a:lnTo>
                  <a:pt x="1494024" y="955912"/>
                </a:lnTo>
                <a:lnTo>
                  <a:pt x="1482455" y="950005"/>
                </a:lnTo>
                <a:lnTo>
                  <a:pt x="1470885" y="944097"/>
                </a:lnTo>
                <a:lnTo>
                  <a:pt x="1459316" y="938189"/>
                </a:lnTo>
                <a:lnTo>
                  <a:pt x="1449471" y="930558"/>
                </a:lnTo>
                <a:lnTo>
                  <a:pt x="1442086" y="911359"/>
                </a:lnTo>
                <a:lnTo>
                  <a:pt x="1433717" y="901266"/>
                </a:lnTo>
                <a:lnTo>
                  <a:pt x="1420424" y="891174"/>
                </a:lnTo>
                <a:lnTo>
                  <a:pt x="1408856" y="881082"/>
                </a:lnTo>
                <a:lnTo>
                  <a:pt x="1401471" y="871974"/>
                </a:lnTo>
                <a:lnTo>
                  <a:pt x="1401471" y="852775"/>
                </a:lnTo>
                <a:lnTo>
                  <a:pt x="1399010" y="844405"/>
                </a:lnTo>
                <a:lnTo>
                  <a:pt x="1399748" y="830867"/>
                </a:lnTo>
                <a:lnTo>
                  <a:pt x="1402948" y="819052"/>
                </a:lnTo>
                <a:lnTo>
                  <a:pt x="1405410" y="808959"/>
                </a:lnTo>
                <a:lnTo>
                  <a:pt x="1407132" y="801329"/>
                </a:lnTo>
                <a:lnTo>
                  <a:pt x="1407132" y="789513"/>
                </a:lnTo>
                <a:lnTo>
                  <a:pt x="1404671" y="782867"/>
                </a:lnTo>
                <a:lnTo>
                  <a:pt x="1399748" y="775236"/>
                </a:lnTo>
                <a:lnTo>
                  <a:pt x="1397286" y="769329"/>
                </a:lnTo>
                <a:lnTo>
                  <a:pt x="1397286" y="760221"/>
                </a:lnTo>
                <a:lnTo>
                  <a:pt x="1399748" y="748407"/>
                </a:lnTo>
                <a:lnTo>
                  <a:pt x="1405410" y="735852"/>
                </a:lnTo>
                <a:lnTo>
                  <a:pt x="1411071" y="720837"/>
                </a:lnTo>
                <a:lnTo>
                  <a:pt x="1416733" y="708283"/>
                </a:lnTo>
                <a:lnTo>
                  <a:pt x="1422394" y="697452"/>
                </a:lnTo>
                <a:lnTo>
                  <a:pt x="1425594" y="691545"/>
                </a:lnTo>
                <a:lnTo>
                  <a:pt x="1435439" y="683175"/>
                </a:lnTo>
                <a:lnTo>
                  <a:pt x="1447009" y="675545"/>
                </a:lnTo>
                <a:lnTo>
                  <a:pt x="1458578" y="669637"/>
                </a:lnTo>
                <a:lnTo>
                  <a:pt x="1470147" y="662006"/>
                </a:lnTo>
                <a:lnTo>
                  <a:pt x="1472608" y="655360"/>
                </a:lnTo>
                <a:lnTo>
                  <a:pt x="1472608" y="646253"/>
                </a:lnTo>
                <a:lnTo>
                  <a:pt x="1471871" y="636161"/>
                </a:lnTo>
                <a:lnTo>
                  <a:pt x="1472608" y="627791"/>
                </a:lnTo>
                <a:lnTo>
                  <a:pt x="1479993" y="615976"/>
                </a:lnTo>
                <a:lnTo>
                  <a:pt x="1489839" y="606868"/>
                </a:lnTo>
                <a:lnTo>
                  <a:pt x="1500669" y="598499"/>
                </a:lnTo>
                <a:lnTo>
                  <a:pt x="1510516" y="589392"/>
                </a:lnTo>
                <a:lnTo>
                  <a:pt x="1518885" y="579299"/>
                </a:lnTo>
                <a:lnTo>
                  <a:pt x="1523808" y="565763"/>
                </a:lnTo>
                <a:lnTo>
                  <a:pt x="1523808" y="565024"/>
                </a:lnTo>
                <a:lnTo>
                  <a:pt x="1522085" y="565024"/>
                </a:lnTo>
                <a:lnTo>
                  <a:pt x="1522085" y="563302"/>
                </a:lnTo>
                <a:lnTo>
                  <a:pt x="1522085" y="561578"/>
                </a:lnTo>
                <a:lnTo>
                  <a:pt x="1520363" y="559856"/>
                </a:lnTo>
                <a:lnTo>
                  <a:pt x="1517901" y="559117"/>
                </a:lnTo>
                <a:lnTo>
                  <a:pt x="1514701" y="557394"/>
                </a:lnTo>
                <a:lnTo>
                  <a:pt x="1512239" y="557394"/>
                </a:lnTo>
                <a:lnTo>
                  <a:pt x="1507316" y="555672"/>
                </a:lnTo>
                <a:lnTo>
                  <a:pt x="1504855" y="559117"/>
                </a:lnTo>
                <a:lnTo>
                  <a:pt x="1501655" y="559117"/>
                </a:lnTo>
                <a:lnTo>
                  <a:pt x="1497469" y="559856"/>
                </a:lnTo>
                <a:lnTo>
                  <a:pt x="1491808" y="559856"/>
                </a:lnTo>
                <a:lnTo>
                  <a:pt x="1491808" y="555672"/>
                </a:lnTo>
                <a:lnTo>
                  <a:pt x="1489348" y="555672"/>
                </a:lnTo>
                <a:lnTo>
                  <a:pt x="1489348" y="543855"/>
                </a:lnTo>
                <a:lnTo>
                  <a:pt x="1487624" y="527856"/>
                </a:lnTo>
                <a:lnTo>
                  <a:pt x="1485901" y="508655"/>
                </a:lnTo>
                <a:lnTo>
                  <a:pt x="1485901" y="490194"/>
                </a:lnTo>
                <a:lnTo>
                  <a:pt x="1485901" y="473456"/>
                </a:lnTo>
                <a:lnTo>
                  <a:pt x="1489101" y="463363"/>
                </a:lnTo>
                <a:lnTo>
                  <a:pt x="1489593" y="460410"/>
                </a:lnTo>
                <a:lnTo>
                  <a:pt x="1491316" y="456964"/>
                </a:lnTo>
                <a:lnTo>
                  <a:pt x="1493038" y="456225"/>
                </a:lnTo>
                <a:lnTo>
                  <a:pt x="1494762" y="456225"/>
                </a:lnTo>
                <a:lnTo>
                  <a:pt x="1497224" y="456225"/>
                </a:lnTo>
                <a:lnTo>
                  <a:pt x="1500424" y="454501"/>
                </a:lnTo>
                <a:lnTo>
                  <a:pt x="1504609" y="454501"/>
                </a:lnTo>
                <a:lnTo>
                  <a:pt x="1516177" y="458687"/>
                </a:lnTo>
                <a:lnTo>
                  <a:pt x="1529469" y="462133"/>
                </a:lnTo>
                <a:lnTo>
                  <a:pt x="1543501" y="462133"/>
                </a:lnTo>
                <a:lnTo>
                  <a:pt x="1557531" y="458687"/>
                </a:lnTo>
                <a:lnTo>
                  <a:pt x="1568362" y="454501"/>
                </a:lnTo>
                <a:lnTo>
                  <a:pt x="1569100" y="452779"/>
                </a:lnTo>
                <a:lnTo>
                  <a:pt x="1569100" y="451056"/>
                </a:lnTo>
                <a:lnTo>
                  <a:pt x="1570824" y="451056"/>
                </a:lnTo>
                <a:lnTo>
                  <a:pt x="1570824" y="450318"/>
                </a:lnTo>
                <a:lnTo>
                  <a:pt x="1570824" y="448595"/>
                </a:lnTo>
                <a:lnTo>
                  <a:pt x="1574024" y="436778"/>
                </a:lnTo>
                <a:lnTo>
                  <a:pt x="1574024" y="423241"/>
                </a:lnTo>
                <a:lnTo>
                  <a:pt x="1572300" y="410687"/>
                </a:lnTo>
                <a:lnTo>
                  <a:pt x="1570578" y="395672"/>
                </a:lnTo>
                <a:lnTo>
                  <a:pt x="1560731" y="393210"/>
                </a:lnTo>
                <a:lnTo>
                  <a:pt x="1550885" y="389764"/>
                </a:lnTo>
                <a:lnTo>
                  <a:pt x="1541039" y="383856"/>
                </a:lnTo>
                <a:lnTo>
                  <a:pt x="1533654" y="376225"/>
                </a:lnTo>
                <a:lnTo>
                  <a:pt x="1536115" y="375487"/>
                </a:lnTo>
                <a:lnTo>
                  <a:pt x="1539316" y="373764"/>
                </a:lnTo>
                <a:lnTo>
                  <a:pt x="1541039" y="372041"/>
                </a:lnTo>
                <a:lnTo>
                  <a:pt x="1543501" y="372041"/>
                </a:lnTo>
                <a:lnTo>
                  <a:pt x="1546701" y="370318"/>
                </a:lnTo>
                <a:lnTo>
                  <a:pt x="1551624" y="370318"/>
                </a:lnTo>
                <a:lnTo>
                  <a:pt x="1554823" y="369579"/>
                </a:lnTo>
                <a:lnTo>
                  <a:pt x="1559008" y="367856"/>
                </a:lnTo>
                <a:lnTo>
                  <a:pt x="1563193" y="367856"/>
                </a:lnTo>
                <a:lnTo>
                  <a:pt x="1568115" y="367856"/>
                </a:lnTo>
                <a:lnTo>
                  <a:pt x="1568115" y="351856"/>
                </a:lnTo>
                <a:lnTo>
                  <a:pt x="1572300" y="351856"/>
                </a:lnTo>
                <a:lnTo>
                  <a:pt x="1576484" y="352595"/>
                </a:lnTo>
                <a:lnTo>
                  <a:pt x="1578208" y="354318"/>
                </a:lnTo>
                <a:lnTo>
                  <a:pt x="1580670" y="354318"/>
                </a:lnTo>
                <a:lnTo>
                  <a:pt x="1583870" y="356041"/>
                </a:lnTo>
                <a:lnTo>
                  <a:pt x="1586331" y="357764"/>
                </a:lnTo>
                <a:lnTo>
                  <a:pt x="1589531" y="354318"/>
                </a:lnTo>
                <a:lnTo>
                  <a:pt x="1593716" y="352595"/>
                </a:lnTo>
                <a:lnTo>
                  <a:pt x="1596915" y="351856"/>
                </a:lnTo>
                <a:lnTo>
                  <a:pt x="1601100" y="350133"/>
                </a:lnTo>
                <a:lnTo>
                  <a:pt x="1602823" y="348410"/>
                </a:lnTo>
                <a:lnTo>
                  <a:pt x="1603562" y="345949"/>
                </a:lnTo>
                <a:lnTo>
                  <a:pt x="1603562" y="342502"/>
                </a:lnTo>
                <a:lnTo>
                  <a:pt x="1603562" y="340041"/>
                </a:lnTo>
                <a:lnTo>
                  <a:pt x="1603562" y="336595"/>
                </a:lnTo>
                <a:lnTo>
                  <a:pt x="1605285" y="334133"/>
                </a:lnTo>
                <a:lnTo>
                  <a:pt x="1607008" y="330687"/>
                </a:lnTo>
                <a:lnTo>
                  <a:pt x="1634331" y="322318"/>
                </a:lnTo>
                <a:lnTo>
                  <a:pt x="1639992" y="313210"/>
                </a:lnTo>
                <a:lnTo>
                  <a:pt x="1641715" y="304840"/>
                </a:lnTo>
                <a:lnTo>
                  <a:pt x="1645899" y="295734"/>
                </a:lnTo>
                <a:lnTo>
                  <a:pt x="1654269" y="289826"/>
                </a:lnTo>
                <a:lnTo>
                  <a:pt x="1665100" y="285641"/>
                </a:lnTo>
                <a:lnTo>
                  <a:pt x="1677407" y="281457"/>
                </a:lnTo>
                <a:lnTo>
                  <a:pt x="1688976" y="277271"/>
                </a:lnTo>
                <a:lnTo>
                  <a:pt x="1690699" y="275549"/>
                </a:lnTo>
                <a:lnTo>
                  <a:pt x="1690699" y="273825"/>
                </a:lnTo>
                <a:lnTo>
                  <a:pt x="1690699" y="272103"/>
                </a:lnTo>
                <a:lnTo>
                  <a:pt x="1692422" y="271365"/>
                </a:lnTo>
                <a:lnTo>
                  <a:pt x="1686760" y="256348"/>
                </a:lnTo>
                <a:lnTo>
                  <a:pt x="1683560" y="238625"/>
                </a:lnTo>
                <a:lnTo>
                  <a:pt x="1683560" y="222626"/>
                </a:lnTo>
                <a:lnTo>
                  <a:pt x="1682823" y="209088"/>
                </a:lnTo>
                <a:lnTo>
                  <a:pt x="1695130" y="208349"/>
                </a:lnTo>
                <a:lnTo>
                  <a:pt x="1704238" y="204903"/>
                </a:lnTo>
                <a:lnTo>
                  <a:pt x="1714084" y="202441"/>
                </a:lnTo>
                <a:lnTo>
                  <a:pt x="1714084" y="209088"/>
                </a:lnTo>
                <a:lnTo>
                  <a:pt x="1712361" y="214996"/>
                </a:lnTo>
                <a:lnTo>
                  <a:pt x="1710637" y="225826"/>
                </a:lnTo>
                <a:lnTo>
                  <a:pt x="1709899" y="240103"/>
                </a:lnTo>
                <a:lnTo>
                  <a:pt x="1708176" y="253641"/>
                </a:lnTo>
                <a:lnTo>
                  <a:pt x="1708176" y="263734"/>
                </a:lnTo>
                <a:lnTo>
                  <a:pt x="1712361" y="266194"/>
                </a:lnTo>
                <a:lnTo>
                  <a:pt x="1715560" y="267918"/>
                </a:lnTo>
                <a:lnTo>
                  <a:pt x="1716300" y="269640"/>
                </a:lnTo>
                <a:lnTo>
                  <a:pt x="1719499" y="271365"/>
                </a:lnTo>
                <a:lnTo>
                  <a:pt x="1723681" y="273825"/>
                </a:lnTo>
                <a:lnTo>
                  <a:pt x="1732789" y="269640"/>
                </a:lnTo>
                <a:lnTo>
                  <a:pt x="1739189" y="269640"/>
                </a:lnTo>
                <a:lnTo>
                  <a:pt x="1743373" y="272103"/>
                </a:lnTo>
                <a:lnTo>
                  <a:pt x="1749035" y="277026"/>
                </a:lnTo>
                <a:lnTo>
                  <a:pt x="1756419" y="277026"/>
                </a:lnTo>
                <a:lnTo>
                  <a:pt x="1764788" y="273580"/>
                </a:lnTo>
                <a:lnTo>
                  <a:pt x="1772173" y="269395"/>
                </a:lnTo>
                <a:lnTo>
                  <a:pt x="1776357" y="265210"/>
                </a:lnTo>
                <a:lnTo>
                  <a:pt x="1782019" y="261764"/>
                </a:lnTo>
                <a:lnTo>
                  <a:pt x="1789403" y="259303"/>
                </a:lnTo>
                <a:lnTo>
                  <a:pt x="1800973" y="260041"/>
                </a:lnTo>
                <a:lnTo>
                  <a:pt x="1816727" y="263487"/>
                </a:lnTo>
                <a:lnTo>
                  <a:pt x="1818450" y="259303"/>
                </a:lnTo>
                <a:lnTo>
                  <a:pt x="1819188" y="257580"/>
                </a:lnTo>
                <a:lnTo>
                  <a:pt x="1822388" y="254133"/>
                </a:lnTo>
                <a:lnTo>
                  <a:pt x="1824849" y="253395"/>
                </a:lnTo>
                <a:lnTo>
                  <a:pt x="1828049" y="253395"/>
                </a:lnTo>
                <a:lnTo>
                  <a:pt x="1832235" y="251673"/>
                </a:lnTo>
                <a:lnTo>
                  <a:pt x="1832235" y="226564"/>
                </a:lnTo>
                <a:lnTo>
                  <a:pt x="1835434" y="206380"/>
                </a:lnTo>
                <a:lnTo>
                  <a:pt x="1837895" y="202934"/>
                </a:lnTo>
                <a:lnTo>
                  <a:pt x="1841096" y="202195"/>
                </a:lnTo>
                <a:lnTo>
                  <a:pt x="1843557" y="198750"/>
                </a:lnTo>
                <a:lnTo>
                  <a:pt x="1846757" y="197026"/>
                </a:lnTo>
                <a:lnTo>
                  <a:pt x="1850943" y="196288"/>
                </a:lnTo>
                <a:lnTo>
                  <a:pt x="1850943" y="198750"/>
                </a:lnTo>
                <a:lnTo>
                  <a:pt x="1853403" y="202195"/>
                </a:lnTo>
                <a:lnTo>
                  <a:pt x="1855127" y="204657"/>
                </a:lnTo>
                <a:lnTo>
                  <a:pt x="1856849" y="208103"/>
                </a:lnTo>
                <a:lnTo>
                  <a:pt x="1858573" y="208841"/>
                </a:lnTo>
                <a:lnTo>
                  <a:pt x="1862757" y="210564"/>
                </a:lnTo>
                <a:lnTo>
                  <a:pt x="1866942" y="212288"/>
                </a:lnTo>
                <a:lnTo>
                  <a:pt x="1865219" y="198750"/>
                </a:lnTo>
                <a:lnTo>
                  <a:pt x="1864480" y="190380"/>
                </a:lnTo>
                <a:lnTo>
                  <a:pt x="1861280" y="184473"/>
                </a:lnTo>
                <a:lnTo>
                  <a:pt x="1859557" y="176842"/>
                </a:lnTo>
                <a:lnTo>
                  <a:pt x="1857096" y="163304"/>
                </a:lnTo>
                <a:lnTo>
                  <a:pt x="1864480" y="162565"/>
                </a:lnTo>
                <a:lnTo>
                  <a:pt x="1869404" y="159119"/>
                </a:lnTo>
                <a:lnTo>
                  <a:pt x="1874326" y="156658"/>
                </a:lnTo>
                <a:lnTo>
                  <a:pt x="1879988" y="153212"/>
                </a:lnTo>
                <a:lnTo>
                  <a:pt x="1889834" y="153212"/>
                </a:lnTo>
                <a:lnTo>
                  <a:pt x="1899680" y="154934"/>
                </a:lnTo>
                <a:lnTo>
                  <a:pt x="1907065" y="156658"/>
                </a:lnTo>
                <a:lnTo>
                  <a:pt x="1914449" y="153212"/>
                </a:lnTo>
                <a:lnTo>
                  <a:pt x="1920111" y="144842"/>
                </a:lnTo>
                <a:lnTo>
                  <a:pt x="1915187" y="143119"/>
                </a:lnTo>
                <a:lnTo>
                  <a:pt x="1911003" y="141396"/>
                </a:lnTo>
                <a:lnTo>
                  <a:pt x="1908541" y="139673"/>
                </a:lnTo>
                <a:lnTo>
                  <a:pt x="1903619" y="138935"/>
                </a:lnTo>
                <a:lnTo>
                  <a:pt x="1897957" y="138935"/>
                </a:lnTo>
                <a:lnTo>
                  <a:pt x="1883926" y="145581"/>
                </a:lnTo>
                <a:lnTo>
                  <a:pt x="1868173" y="150503"/>
                </a:lnTo>
                <a:lnTo>
                  <a:pt x="1850943" y="152965"/>
                </a:lnTo>
                <a:lnTo>
                  <a:pt x="1847742" y="145334"/>
                </a:lnTo>
                <a:lnTo>
                  <a:pt x="1843557" y="139427"/>
                </a:lnTo>
                <a:lnTo>
                  <a:pt x="1839373" y="133519"/>
                </a:lnTo>
                <a:lnTo>
                  <a:pt x="1836173" y="126873"/>
                </a:lnTo>
                <a:lnTo>
                  <a:pt x="1835434" y="115058"/>
                </a:lnTo>
                <a:lnTo>
                  <a:pt x="1836173" y="105950"/>
                </a:lnTo>
                <a:lnTo>
                  <a:pt x="1835434" y="95858"/>
                </a:lnTo>
                <a:lnTo>
                  <a:pt x="1833711" y="84042"/>
                </a:lnTo>
                <a:lnTo>
                  <a:pt x="1835434" y="73950"/>
                </a:lnTo>
                <a:lnTo>
                  <a:pt x="1842081" y="58935"/>
                </a:lnTo>
                <a:lnTo>
                  <a:pt x="1853649" y="48843"/>
                </a:lnTo>
                <a:lnTo>
                  <a:pt x="1865219" y="37027"/>
                </a:lnTo>
                <a:lnTo>
                  <a:pt x="1875065" y="25212"/>
                </a:lnTo>
                <a:lnTo>
                  <a:pt x="1882450" y="11673"/>
                </a:lnTo>
                <a:lnTo>
                  <a:pt x="1878265" y="7489"/>
                </a:lnTo>
                <a:lnTo>
                  <a:pt x="1874081" y="3304"/>
                </a:lnTo>
                <a:close/>
                <a:moveTo>
                  <a:pt x="1731537" y="0"/>
                </a:moveTo>
                <a:lnTo>
                  <a:pt x="1863626" y="0"/>
                </a:lnTo>
                <a:lnTo>
                  <a:pt x="1858327" y="843"/>
                </a:lnTo>
                <a:lnTo>
                  <a:pt x="1845034" y="1582"/>
                </a:lnTo>
                <a:lnTo>
                  <a:pt x="1840850" y="22505"/>
                </a:lnTo>
                <a:lnTo>
                  <a:pt x="1833465" y="38504"/>
                </a:lnTo>
                <a:lnTo>
                  <a:pt x="1823619" y="52043"/>
                </a:lnTo>
                <a:lnTo>
                  <a:pt x="1812050" y="64596"/>
                </a:lnTo>
                <a:lnTo>
                  <a:pt x="1801219" y="79612"/>
                </a:lnTo>
                <a:lnTo>
                  <a:pt x="1794573" y="97335"/>
                </a:lnTo>
                <a:lnTo>
                  <a:pt x="1789649" y="117519"/>
                </a:lnTo>
                <a:lnTo>
                  <a:pt x="1798758" y="125150"/>
                </a:lnTo>
                <a:lnTo>
                  <a:pt x="1807126" y="133519"/>
                </a:lnTo>
                <a:lnTo>
                  <a:pt x="1812788" y="144350"/>
                </a:lnTo>
                <a:lnTo>
                  <a:pt x="1815988" y="156904"/>
                </a:lnTo>
                <a:lnTo>
                  <a:pt x="1811804" y="158626"/>
                </a:lnTo>
                <a:lnTo>
                  <a:pt x="1810081" y="160350"/>
                </a:lnTo>
                <a:lnTo>
                  <a:pt x="1808357" y="162073"/>
                </a:lnTo>
                <a:lnTo>
                  <a:pt x="1808357" y="162811"/>
                </a:lnTo>
                <a:lnTo>
                  <a:pt x="1806634" y="164535"/>
                </a:lnTo>
                <a:lnTo>
                  <a:pt x="1806634" y="167981"/>
                </a:lnTo>
                <a:lnTo>
                  <a:pt x="1805896" y="168719"/>
                </a:lnTo>
                <a:lnTo>
                  <a:pt x="1786943" y="176349"/>
                </a:lnTo>
                <a:lnTo>
                  <a:pt x="1784481" y="194073"/>
                </a:lnTo>
                <a:lnTo>
                  <a:pt x="1778819" y="207611"/>
                </a:lnTo>
                <a:lnTo>
                  <a:pt x="1773158" y="217703"/>
                </a:lnTo>
                <a:lnTo>
                  <a:pt x="1764050" y="226073"/>
                </a:lnTo>
                <a:lnTo>
                  <a:pt x="1756666" y="235180"/>
                </a:lnTo>
                <a:lnTo>
                  <a:pt x="1750019" y="246995"/>
                </a:lnTo>
                <a:lnTo>
                  <a:pt x="1745097" y="246995"/>
                </a:lnTo>
                <a:lnTo>
                  <a:pt x="1745097" y="243549"/>
                </a:lnTo>
                <a:lnTo>
                  <a:pt x="1733527" y="227549"/>
                </a:lnTo>
                <a:lnTo>
                  <a:pt x="1726881" y="209826"/>
                </a:lnTo>
                <a:lnTo>
                  <a:pt x="1721958" y="190626"/>
                </a:lnTo>
                <a:lnTo>
                  <a:pt x="1713592" y="168719"/>
                </a:lnTo>
                <a:lnTo>
                  <a:pt x="1702022" y="174627"/>
                </a:lnTo>
                <a:lnTo>
                  <a:pt x="1694637" y="182257"/>
                </a:lnTo>
                <a:lnTo>
                  <a:pt x="1686269" y="188165"/>
                </a:lnTo>
                <a:lnTo>
                  <a:pt x="1677161" y="192349"/>
                </a:lnTo>
                <a:lnTo>
                  <a:pt x="1663130" y="195795"/>
                </a:lnTo>
                <a:lnTo>
                  <a:pt x="1661407" y="194073"/>
                </a:lnTo>
                <a:lnTo>
                  <a:pt x="1659684" y="194073"/>
                </a:lnTo>
                <a:lnTo>
                  <a:pt x="1658946" y="194073"/>
                </a:lnTo>
                <a:lnTo>
                  <a:pt x="1657223" y="192349"/>
                </a:lnTo>
                <a:lnTo>
                  <a:pt x="1654023" y="192349"/>
                </a:lnTo>
                <a:lnTo>
                  <a:pt x="1653285" y="174627"/>
                </a:lnTo>
                <a:lnTo>
                  <a:pt x="1651560" y="160350"/>
                </a:lnTo>
                <a:lnTo>
                  <a:pt x="1648361" y="148534"/>
                </a:lnTo>
                <a:lnTo>
                  <a:pt x="1645899" y="134996"/>
                </a:lnTo>
                <a:lnTo>
                  <a:pt x="1644176" y="117273"/>
                </a:lnTo>
                <a:lnTo>
                  <a:pt x="1651560" y="109642"/>
                </a:lnTo>
                <a:lnTo>
                  <a:pt x="1654023" y="102997"/>
                </a:lnTo>
                <a:lnTo>
                  <a:pt x="1655746" y="93889"/>
                </a:lnTo>
                <a:lnTo>
                  <a:pt x="1659931" y="82074"/>
                </a:lnTo>
                <a:lnTo>
                  <a:pt x="1663130" y="79612"/>
                </a:lnTo>
                <a:lnTo>
                  <a:pt x="1667315" y="75428"/>
                </a:lnTo>
                <a:lnTo>
                  <a:pt x="1671499" y="70504"/>
                </a:lnTo>
                <a:lnTo>
                  <a:pt x="1676422" y="66319"/>
                </a:lnTo>
                <a:lnTo>
                  <a:pt x="1678884" y="68042"/>
                </a:lnTo>
                <a:lnTo>
                  <a:pt x="1680607" y="69765"/>
                </a:lnTo>
                <a:lnTo>
                  <a:pt x="1682329" y="70504"/>
                </a:lnTo>
                <a:lnTo>
                  <a:pt x="1683068" y="72227"/>
                </a:lnTo>
                <a:lnTo>
                  <a:pt x="1686269" y="69765"/>
                </a:lnTo>
                <a:lnTo>
                  <a:pt x="1687991" y="66319"/>
                </a:lnTo>
                <a:lnTo>
                  <a:pt x="1688731" y="63858"/>
                </a:lnTo>
                <a:lnTo>
                  <a:pt x="1690453" y="58935"/>
                </a:lnTo>
                <a:lnTo>
                  <a:pt x="1692176" y="56473"/>
                </a:lnTo>
                <a:lnTo>
                  <a:pt x="1702022" y="50566"/>
                </a:lnTo>
                <a:lnTo>
                  <a:pt x="1710391" y="47119"/>
                </a:lnTo>
                <a:lnTo>
                  <a:pt x="1717775" y="40473"/>
                </a:lnTo>
                <a:lnTo>
                  <a:pt x="1715314" y="38750"/>
                </a:lnTo>
                <a:lnTo>
                  <a:pt x="1713592" y="38750"/>
                </a:lnTo>
                <a:lnTo>
                  <a:pt x="1711869" y="38750"/>
                </a:lnTo>
                <a:lnTo>
                  <a:pt x="1711869" y="37027"/>
                </a:lnTo>
                <a:lnTo>
                  <a:pt x="1711869" y="34566"/>
                </a:lnTo>
                <a:lnTo>
                  <a:pt x="1710146" y="31120"/>
                </a:lnTo>
                <a:lnTo>
                  <a:pt x="1720975" y="17581"/>
                </a:lnTo>
                <a:lnTo>
                  <a:pt x="1730820" y="1582"/>
                </a:lnTo>
                <a:close/>
                <a:moveTo>
                  <a:pt x="1335283" y="0"/>
                </a:moveTo>
                <a:lnTo>
                  <a:pt x="1355141" y="0"/>
                </a:lnTo>
                <a:lnTo>
                  <a:pt x="1357409" y="4536"/>
                </a:lnTo>
                <a:lnTo>
                  <a:pt x="1360609" y="6998"/>
                </a:lnTo>
                <a:lnTo>
                  <a:pt x="1363070" y="12905"/>
                </a:lnTo>
                <a:lnTo>
                  <a:pt x="1372178" y="5521"/>
                </a:lnTo>
                <a:lnTo>
                  <a:pt x="1380000" y="0"/>
                </a:lnTo>
                <a:lnTo>
                  <a:pt x="1394146" y="0"/>
                </a:lnTo>
                <a:lnTo>
                  <a:pt x="1396054" y="1337"/>
                </a:lnTo>
                <a:lnTo>
                  <a:pt x="1396054" y="2812"/>
                </a:lnTo>
                <a:lnTo>
                  <a:pt x="1397778" y="2812"/>
                </a:lnTo>
                <a:lnTo>
                  <a:pt x="1399501" y="2812"/>
                </a:lnTo>
                <a:lnTo>
                  <a:pt x="1401962" y="2812"/>
                </a:lnTo>
                <a:lnTo>
                  <a:pt x="1407235" y="0"/>
                </a:lnTo>
                <a:lnTo>
                  <a:pt x="1442331" y="0"/>
                </a:lnTo>
                <a:lnTo>
                  <a:pt x="1442331" y="2812"/>
                </a:lnTo>
                <a:lnTo>
                  <a:pt x="1442331" y="6998"/>
                </a:lnTo>
                <a:lnTo>
                  <a:pt x="1444054" y="18813"/>
                </a:lnTo>
                <a:lnTo>
                  <a:pt x="1445777" y="32105"/>
                </a:lnTo>
                <a:lnTo>
                  <a:pt x="1445777" y="43674"/>
                </a:lnTo>
                <a:lnTo>
                  <a:pt x="1429285" y="52043"/>
                </a:lnTo>
                <a:lnTo>
                  <a:pt x="1411070" y="59428"/>
                </a:lnTo>
                <a:lnTo>
                  <a:pt x="1393594" y="67796"/>
                </a:lnTo>
                <a:lnTo>
                  <a:pt x="1378824" y="79612"/>
                </a:lnTo>
                <a:lnTo>
                  <a:pt x="1374640" y="77151"/>
                </a:lnTo>
                <a:lnTo>
                  <a:pt x="1367255" y="73705"/>
                </a:lnTo>
                <a:lnTo>
                  <a:pt x="1357409" y="67796"/>
                </a:lnTo>
                <a:lnTo>
                  <a:pt x="1349040" y="63612"/>
                </a:lnTo>
                <a:lnTo>
                  <a:pt x="1341655" y="59428"/>
                </a:lnTo>
                <a:lnTo>
                  <a:pt x="1338209" y="56228"/>
                </a:lnTo>
                <a:lnTo>
                  <a:pt x="1339932" y="55490"/>
                </a:lnTo>
                <a:lnTo>
                  <a:pt x="1341655" y="53766"/>
                </a:lnTo>
                <a:lnTo>
                  <a:pt x="1343378" y="52043"/>
                </a:lnTo>
                <a:lnTo>
                  <a:pt x="1343378" y="50320"/>
                </a:lnTo>
                <a:lnTo>
                  <a:pt x="1344116" y="47859"/>
                </a:lnTo>
                <a:lnTo>
                  <a:pt x="1339932" y="44658"/>
                </a:lnTo>
                <a:lnTo>
                  <a:pt x="1334271" y="43674"/>
                </a:lnTo>
                <a:lnTo>
                  <a:pt x="1330086" y="40474"/>
                </a:lnTo>
                <a:lnTo>
                  <a:pt x="1325901" y="38012"/>
                </a:lnTo>
                <a:lnTo>
                  <a:pt x="1328363" y="38012"/>
                </a:lnTo>
                <a:lnTo>
                  <a:pt x="1331809" y="34567"/>
                </a:lnTo>
                <a:lnTo>
                  <a:pt x="1332547" y="32844"/>
                </a:lnTo>
                <a:lnTo>
                  <a:pt x="1334271" y="32844"/>
                </a:lnTo>
                <a:lnTo>
                  <a:pt x="1335747" y="32105"/>
                </a:lnTo>
                <a:lnTo>
                  <a:pt x="1339932" y="32105"/>
                </a:lnTo>
                <a:lnTo>
                  <a:pt x="1344116" y="32105"/>
                </a:lnTo>
                <a:lnTo>
                  <a:pt x="1344116" y="21275"/>
                </a:lnTo>
                <a:lnTo>
                  <a:pt x="1322701" y="21275"/>
                </a:lnTo>
                <a:lnTo>
                  <a:pt x="1318517" y="12905"/>
                </a:lnTo>
                <a:lnTo>
                  <a:pt x="1325901" y="6998"/>
                </a:lnTo>
                <a:lnTo>
                  <a:pt x="1331809" y="1337"/>
                </a:lnTo>
                <a:close/>
                <a:moveTo>
                  <a:pt x="994515" y="0"/>
                </a:moveTo>
                <a:lnTo>
                  <a:pt x="1240498" y="0"/>
                </a:lnTo>
                <a:lnTo>
                  <a:pt x="1238272" y="6013"/>
                </a:lnTo>
                <a:lnTo>
                  <a:pt x="1230887" y="13644"/>
                </a:lnTo>
                <a:lnTo>
                  <a:pt x="1218579" y="22012"/>
                </a:lnTo>
                <a:lnTo>
                  <a:pt x="1202088" y="29643"/>
                </a:lnTo>
                <a:lnTo>
                  <a:pt x="1188057" y="35551"/>
                </a:lnTo>
                <a:lnTo>
                  <a:pt x="1174765" y="38997"/>
                </a:lnTo>
                <a:lnTo>
                  <a:pt x="1174765" y="35551"/>
                </a:lnTo>
                <a:lnTo>
                  <a:pt x="1174765" y="33089"/>
                </a:lnTo>
                <a:lnTo>
                  <a:pt x="1173042" y="33089"/>
                </a:lnTo>
                <a:lnTo>
                  <a:pt x="1173042" y="31367"/>
                </a:lnTo>
                <a:lnTo>
                  <a:pt x="1172304" y="29643"/>
                </a:lnTo>
                <a:lnTo>
                  <a:pt x="1170580" y="41458"/>
                </a:lnTo>
                <a:lnTo>
                  <a:pt x="1166396" y="51551"/>
                </a:lnTo>
                <a:lnTo>
                  <a:pt x="1163196" y="60658"/>
                </a:lnTo>
                <a:lnTo>
                  <a:pt x="1159011" y="69027"/>
                </a:lnTo>
                <a:lnTo>
                  <a:pt x="1155811" y="80844"/>
                </a:lnTo>
                <a:lnTo>
                  <a:pt x="1159011" y="82566"/>
                </a:lnTo>
                <a:lnTo>
                  <a:pt x="1159011" y="84289"/>
                </a:lnTo>
                <a:lnTo>
                  <a:pt x="1160735" y="84289"/>
                </a:lnTo>
                <a:lnTo>
                  <a:pt x="1160735" y="86012"/>
                </a:lnTo>
                <a:lnTo>
                  <a:pt x="1159011" y="86750"/>
                </a:lnTo>
                <a:lnTo>
                  <a:pt x="1155811" y="90197"/>
                </a:lnTo>
                <a:lnTo>
                  <a:pt x="1153350" y="91920"/>
                </a:lnTo>
                <a:lnTo>
                  <a:pt x="1150889" y="94381"/>
                </a:lnTo>
                <a:lnTo>
                  <a:pt x="1147689" y="96104"/>
                </a:lnTo>
                <a:lnTo>
                  <a:pt x="1145965" y="98566"/>
                </a:lnTo>
                <a:lnTo>
                  <a:pt x="1143504" y="102750"/>
                </a:lnTo>
                <a:lnTo>
                  <a:pt x="1137597" y="119489"/>
                </a:lnTo>
                <a:lnTo>
                  <a:pt x="1133412" y="136966"/>
                </a:lnTo>
                <a:lnTo>
                  <a:pt x="1131688" y="157150"/>
                </a:lnTo>
                <a:lnTo>
                  <a:pt x="1128489" y="176350"/>
                </a:lnTo>
                <a:lnTo>
                  <a:pt x="1124305" y="193826"/>
                </a:lnTo>
                <a:lnTo>
                  <a:pt x="1121842" y="192104"/>
                </a:lnTo>
                <a:lnTo>
                  <a:pt x="1120119" y="192104"/>
                </a:lnTo>
                <a:lnTo>
                  <a:pt x="1120119" y="190380"/>
                </a:lnTo>
                <a:lnTo>
                  <a:pt x="1118396" y="190380"/>
                </a:lnTo>
                <a:lnTo>
                  <a:pt x="1114212" y="187919"/>
                </a:lnTo>
                <a:lnTo>
                  <a:pt x="1106828" y="182012"/>
                </a:lnTo>
                <a:lnTo>
                  <a:pt x="1095258" y="172903"/>
                </a:lnTo>
                <a:lnTo>
                  <a:pt x="1081966" y="165273"/>
                </a:lnTo>
                <a:lnTo>
                  <a:pt x="1069658" y="156904"/>
                </a:lnTo>
                <a:lnTo>
                  <a:pt x="1059813" y="149273"/>
                </a:lnTo>
                <a:lnTo>
                  <a:pt x="1050706" y="145088"/>
                </a:lnTo>
                <a:lnTo>
                  <a:pt x="1048243" y="143366"/>
                </a:lnTo>
                <a:lnTo>
                  <a:pt x="1045043" y="111612"/>
                </a:lnTo>
                <a:lnTo>
                  <a:pt x="1043320" y="108166"/>
                </a:lnTo>
                <a:lnTo>
                  <a:pt x="1039136" y="105705"/>
                </a:lnTo>
                <a:lnTo>
                  <a:pt x="1036674" y="103982"/>
                </a:lnTo>
                <a:lnTo>
                  <a:pt x="1031751" y="100535"/>
                </a:lnTo>
                <a:lnTo>
                  <a:pt x="1029290" y="98074"/>
                </a:lnTo>
                <a:lnTo>
                  <a:pt x="1031751" y="96351"/>
                </a:lnTo>
                <a:lnTo>
                  <a:pt x="1031751" y="94628"/>
                </a:lnTo>
                <a:lnTo>
                  <a:pt x="1033474" y="93889"/>
                </a:lnTo>
                <a:lnTo>
                  <a:pt x="1035197" y="90443"/>
                </a:lnTo>
                <a:lnTo>
                  <a:pt x="1036919" y="87982"/>
                </a:lnTo>
                <a:lnTo>
                  <a:pt x="1029536" y="87982"/>
                </a:lnTo>
                <a:lnTo>
                  <a:pt x="1025351" y="87982"/>
                </a:lnTo>
                <a:lnTo>
                  <a:pt x="1022152" y="87982"/>
                </a:lnTo>
                <a:lnTo>
                  <a:pt x="1020428" y="86258"/>
                </a:lnTo>
                <a:lnTo>
                  <a:pt x="1019689" y="83797"/>
                </a:lnTo>
                <a:lnTo>
                  <a:pt x="1016489" y="78873"/>
                </a:lnTo>
                <a:lnTo>
                  <a:pt x="1014766" y="76413"/>
                </a:lnTo>
                <a:lnTo>
                  <a:pt x="1014766" y="72966"/>
                </a:lnTo>
                <a:lnTo>
                  <a:pt x="1014766" y="72227"/>
                </a:lnTo>
                <a:lnTo>
                  <a:pt x="1014766" y="68782"/>
                </a:lnTo>
                <a:lnTo>
                  <a:pt x="1016489" y="66320"/>
                </a:lnTo>
                <a:lnTo>
                  <a:pt x="1016489" y="62874"/>
                </a:lnTo>
                <a:lnTo>
                  <a:pt x="1008119" y="62874"/>
                </a:lnTo>
                <a:lnTo>
                  <a:pt x="1008119" y="58690"/>
                </a:lnTo>
                <a:lnTo>
                  <a:pt x="1008859" y="54505"/>
                </a:lnTo>
                <a:lnTo>
                  <a:pt x="1010582" y="52782"/>
                </a:lnTo>
                <a:lnTo>
                  <a:pt x="1010582" y="49828"/>
                </a:lnTo>
                <a:lnTo>
                  <a:pt x="1012305" y="47366"/>
                </a:lnTo>
                <a:lnTo>
                  <a:pt x="1014028" y="43181"/>
                </a:lnTo>
                <a:lnTo>
                  <a:pt x="1009104" y="43181"/>
                </a:lnTo>
                <a:lnTo>
                  <a:pt x="1004182" y="43181"/>
                </a:lnTo>
                <a:lnTo>
                  <a:pt x="1001720" y="41458"/>
                </a:lnTo>
                <a:lnTo>
                  <a:pt x="996797" y="39735"/>
                </a:lnTo>
                <a:lnTo>
                  <a:pt x="996059" y="18075"/>
                </a:lnTo>
                <a:close/>
                <a:moveTo>
                  <a:pt x="864598" y="0"/>
                </a:moveTo>
                <a:lnTo>
                  <a:pt x="901871" y="0"/>
                </a:lnTo>
                <a:lnTo>
                  <a:pt x="899566" y="15368"/>
                </a:lnTo>
                <a:lnTo>
                  <a:pt x="895383" y="17090"/>
                </a:lnTo>
                <a:lnTo>
                  <a:pt x="890459" y="17090"/>
                </a:lnTo>
                <a:lnTo>
                  <a:pt x="886521" y="17829"/>
                </a:lnTo>
                <a:lnTo>
                  <a:pt x="880613" y="17829"/>
                </a:lnTo>
                <a:lnTo>
                  <a:pt x="874951" y="11183"/>
                </a:lnTo>
                <a:lnTo>
                  <a:pt x="867321" y="3552"/>
                </a:lnTo>
                <a:close/>
                <a:moveTo>
                  <a:pt x="769123" y="0"/>
                </a:moveTo>
                <a:lnTo>
                  <a:pt x="842019" y="0"/>
                </a:lnTo>
                <a:lnTo>
                  <a:pt x="845906" y="11921"/>
                </a:lnTo>
                <a:lnTo>
                  <a:pt x="851813" y="37275"/>
                </a:lnTo>
                <a:lnTo>
                  <a:pt x="861659" y="37275"/>
                </a:lnTo>
                <a:lnTo>
                  <a:pt x="867321" y="48845"/>
                </a:lnTo>
                <a:lnTo>
                  <a:pt x="872244" y="60660"/>
                </a:lnTo>
                <a:lnTo>
                  <a:pt x="873228" y="76660"/>
                </a:lnTo>
                <a:lnTo>
                  <a:pt x="872244" y="78383"/>
                </a:lnTo>
                <a:lnTo>
                  <a:pt x="870767" y="79859"/>
                </a:lnTo>
                <a:lnTo>
                  <a:pt x="870767" y="81582"/>
                </a:lnTo>
                <a:lnTo>
                  <a:pt x="869044" y="82567"/>
                </a:lnTo>
                <a:lnTo>
                  <a:pt x="867321" y="84290"/>
                </a:lnTo>
                <a:lnTo>
                  <a:pt x="864858" y="85767"/>
                </a:lnTo>
                <a:lnTo>
                  <a:pt x="859198" y="82567"/>
                </a:lnTo>
                <a:lnTo>
                  <a:pt x="851813" y="78383"/>
                </a:lnTo>
                <a:lnTo>
                  <a:pt x="844182" y="74198"/>
                </a:lnTo>
                <a:lnTo>
                  <a:pt x="838521" y="70752"/>
                </a:lnTo>
                <a:lnTo>
                  <a:pt x="836060" y="70013"/>
                </a:lnTo>
                <a:lnTo>
                  <a:pt x="833598" y="70013"/>
                </a:lnTo>
                <a:lnTo>
                  <a:pt x="841721" y="81582"/>
                </a:lnTo>
                <a:lnTo>
                  <a:pt x="849352" y="91675"/>
                </a:lnTo>
                <a:lnTo>
                  <a:pt x="855013" y="104229"/>
                </a:lnTo>
                <a:lnTo>
                  <a:pt x="851813" y="104229"/>
                </a:lnTo>
                <a:lnTo>
                  <a:pt x="841721" y="100044"/>
                </a:lnTo>
                <a:lnTo>
                  <a:pt x="828674" y="97582"/>
                </a:lnTo>
                <a:lnTo>
                  <a:pt x="814644" y="94136"/>
                </a:lnTo>
                <a:lnTo>
                  <a:pt x="804551" y="88475"/>
                </a:lnTo>
                <a:lnTo>
                  <a:pt x="795689" y="79859"/>
                </a:lnTo>
                <a:lnTo>
                  <a:pt x="789782" y="66567"/>
                </a:lnTo>
                <a:lnTo>
                  <a:pt x="784121" y="54752"/>
                </a:lnTo>
                <a:lnTo>
                  <a:pt x="775751" y="43183"/>
                </a:lnTo>
                <a:lnTo>
                  <a:pt x="766644" y="34568"/>
                </a:lnTo>
                <a:lnTo>
                  <a:pt x="754336" y="41460"/>
                </a:lnTo>
                <a:lnTo>
                  <a:pt x="739321" y="46383"/>
                </a:lnTo>
                <a:lnTo>
                  <a:pt x="722090" y="47368"/>
                </a:lnTo>
                <a:lnTo>
                  <a:pt x="720368" y="43183"/>
                </a:lnTo>
                <a:lnTo>
                  <a:pt x="719628" y="38998"/>
                </a:lnTo>
                <a:lnTo>
                  <a:pt x="719628" y="34568"/>
                </a:lnTo>
                <a:lnTo>
                  <a:pt x="719628" y="28906"/>
                </a:lnTo>
                <a:lnTo>
                  <a:pt x="731937" y="23737"/>
                </a:lnTo>
                <a:lnTo>
                  <a:pt x="748428" y="19552"/>
                </a:lnTo>
                <a:lnTo>
                  <a:pt x="762460" y="15368"/>
                </a:lnTo>
                <a:lnTo>
                  <a:pt x="766644" y="6998"/>
                </a:lnTo>
                <a:close/>
                <a:moveTo>
                  <a:pt x="0" y="0"/>
                </a:moveTo>
                <a:lnTo>
                  <a:pt x="611304" y="0"/>
                </a:lnTo>
                <a:lnTo>
                  <a:pt x="611815" y="1336"/>
                </a:lnTo>
                <a:lnTo>
                  <a:pt x="610093" y="10444"/>
                </a:lnTo>
                <a:lnTo>
                  <a:pt x="608368" y="24721"/>
                </a:lnTo>
                <a:lnTo>
                  <a:pt x="600984" y="24721"/>
                </a:lnTo>
                <a:lnTo>
                  <a:pt x="591138" y="18813"/>
                </a:lnTo>
                <a:lnTo>
                  <a:pt x="577108" y="15367"/>
                </a:lnTo>
                <a:lnTo>
                  <a:pt x="577108" y="18567"/>
                </a:lnTo>
                <a:lnTo>
                  <a:pt x="579569" y="18567"/>
                </a:lnTo>
                <a:lnTo>
                  <a:pt x="582769" y="21028"/>
                </a:lnTo>
                <a:lnTo>
                  <a:pt x="584492" y="22751"/>
                </a:lnTo>
                <a:lnTo>
                  <a:pt x="585230" y="24474"/>
                </a:lnTo>
                <a:lnTo>
                  <a:pt x="586954" y="26197"/>
                </a:lnTo>
                <a:lnTo>
                  <a:pt x="588677" y="30382"/>
                </a:lnTo>
                <a:lnTo>
                  <a:pt x="588677" y="34567"/>
                </a:lnTo>
                <a:lnTo>
                  <a:pt x="586954" y="38012"/>
                </a:lnTo>
                <a:lnTo>
                  <a:pt x="584492" y="40474"/>
                </a:lnTo>
                <a:lnTo>
                  <a:pt x="582769" y="43921"/>
                </a:lnTo>
                <a:lnTo>
                  <a:pt x="575384" y="49828"/>
                </a:lnTo>
                <a:lnTo>
                  <a:pt x="569722" y="55735"/>
                </a:lnTo>
                <a:lnTo>
                  <a:pt x="567262" y="62381"/>
                </a:lnTo>
                <a:lnTo>
                  <a:pt x="564061" y="73213"/>
                </a:lnTo>
                <a:lnTo>
                  <a:pt x="558400" y="73213"/>
                </a:lnTo>
                <a:lnTo>
                  <a:pt x="554215" y="71489"/>
                </a:lnTo>
                <a:lnTo>
                  <a:pt x="550031" y="69766"/>
                </a:lnTo>
                <a:lnTo>
                  <a:pt x="546830" y="68043"/>
                </a:lnTo>
                <a:lnTo>
                  <a:pt x="541169" y="67305"/>
                </a:lnTo>
                <a:lnTo>
                  <a:pt x="541169" y="69766"/>
                </a:lnTo>
                <a:lnTo>
                  <a:pt x="548554" y="69766"/>
                </a:lnTo>
                <a:lnTo>
                  <a:pt x="550277" y="73213"/>
                </a:lnTo>
                <a:lnTo>
                  <a:pt x="551015" y="75673"/>
                </a:lnTo>
                <a:lnTo>
                  <a:pt x="552739" y="77397"/>
                </a:lnTo>
                <a:lnTo>
                  <a:pt x="552739" y="79858"/>
                </a:lnTo>
                <a:lnTo>
                  <a:pt x="554461" y="84782"/>
                </a:lnTo>
                <a:lnTo>
                  <a:pt x="554461" y="88966"/>
                </a:lnTo>
                <a:lnTo>
                  <a:pt x="541169" y="93151"/>
                </a:lnTo>
                <a:lnTo>
                  <a:pt x="529601" y="100535"/>
                </a:lnTo>
                <a:lnTo>
                  <a:pt x="522216" y="108904"/>
                </a:lnTo>
                <a:lnTo>
                  <a:pt x="517292" y="122196"/>
                </a:lnTo>
                <a:lnTo>
                  <a:pt x="517292" y="141397"/>
                </a:lnTo>
                <a:lnTo>
                  <a:pt x="522216" y="152966"/>
                </a:lnTo>
                <a:lnTo>
                  <a:pt x="525416" y="168719"/>
                </a:lnTo>
                <a:lnTo>
                  <a:pt x="525416" y="184473"/>
                </a:lnTo>
                <a:lnTo>
                  <a:pt x="541169" y="184473"/>
                </a:lnTo>
                <a:lnTo>
                  <a:pt x="541169" y="191857"/>
                </a:lnTo>
                <a:lnTo>
                  <a:pt x="544369" y="194320"/>
                </a:lnTo>
                <a:lnTo>
                  <a:pt x="544369" y="197765"/>
                </a:lnTo>
                <a:lnTo>
                  <a:pt x="544369" y="200227"/>
                </a:lnTo>
                <a:lnTo>
                  <a:pt x="544369" y="201950"/>
                </a:lnTo>
                <a:lnTo>
                  <a:pt x="544369" y="203673"/>
                </a:lnTo>
                <a:lnTo>
                  <a:pt x="544369" y="204411"/>
                </a:lnTo>
                <a:lnTo>
                  <a:pt x="545108" y="206134"/>
                </a:lnTo>
                <a:lnTo>
                  <a:pt x="550031" y="206134"/>
                </a:lnTo>
                <a:lnTo>
                  <a:pt x="554215" y="207857"/>
                </a:lnTo>
                <a:lnTo>
                  <a:pt x="564061" y="206134"/>
                </a:lnTo>
                <a:lnTo>
                  <a:pt x="573908" y="210319"/>
                </a:lnTo>
                <a:lnTo>
                  <a:pt x="584739" y="217703"/>
                </a:lnTo>
                <a:lnTo>
                  <a:pt x="594584" y="227795"/>
                </a:lnTo>
                <a:lnTo>
                  <a:pt x="602954" y="236903"/>
                </a:lnTo>
                <a:lnTo>
                  <a:pt x="613292" y="242072"/>
                </a:lnTo>
                <a:lnTo>
                  <a:pt x="617476" y="243795"/>
                </a:lnTo>
                <a:lnTo>
                  <a:pt x="619938" y="244534"/>
                </a:lnTo>
                <a:lnTo>
                  <a:pt x="623138" y="243795"/>
                </a:lnTo>
                <a:lnTo>
                  <a:pt x="625600" y="243795"/>
                </a:lnTo>
                <a:lnTo>
                  <a:pt x="627323" y="242072"/>
                </a:lnTo>
                <a:lnTo>
                  <a:pt x="630523" y="240349"/>
                </a:lnTo>
                <a:lnTo>
                  <a:pt x="631261" y="238626"/>
                </a:lnTo>
                <a:lnTo>
                  <a:pt x="634462" y="238626"/>
                </a:lnTo>
                <a:lnTo>
                  <a:pt x="657600" y="244534"/>
                </a:lnTo>
                <a:lnTo>
                  <a:pt x="660060" y="260288"/>
                </a:lnTo>
                <a:lnTo>
                  <a:pt x="663261" y="271857"/>
                </a:lnTo>
                <a:lnTo>
                  <a:pt x="664984" y="280965"/>
                </a:lnTo>
                <a:lnTo>
                  <a:pt x="665722" y="289334"/>
                </a:lnTo>
                <a:lnTo>
                  <a:pt x="668922" y="298441"/>
                </a:lnTo>
                <a:lnTo>
                  <a:pt x="676307" y="308534"/>
                </a:lnTo>
                <a:lnTo>
                  <a:pt x="684676" y="321827"/>
                </a:lnTo>
                <a:lnTo>
                  <a:pt x="687138" y="320103"/>
                </a:lnTo>
                <a:lnTo>
                  <a:pt x="688860" y="320103"/>
                </a:lnTo>
                <a:lnTo>
                  <a:pt x="690584" y="318380"/>
                </a:lnTo>
                <a:lnTo>
                  <a:pt x="692306" y="318380"/>
                </a:lnTo>
                <a:lnTo>
                  <a:pt x="694769" y="317642"/>
                </a:lnTo>
                <a:lnTo>
                  <a:pt x="696491" y="317642"/>
                </a:lnTo>
                <a:lnTo>
                  <a:pt x="696491" y="315918"/>
                </a:lnTo>
                <a:lnTo>
                  <a:pt x="696491" y="314196"/>
                </a:lnTo>
                <a:lnTo>
                  <a:pt x="698215" y="311734"/>
                </a:lnTo>
                <a:lnTo>
                  <a:pt x="698215" y="302626"/>
                </a:lnTo>
                <a:lnTo>
                  <a:pt x="696491" y="291057"/>
                </a:lnTo>
                <a:lnTo>
                  <a:pt x="693291" y="276780"/>
                </a:lnTo>
                <a:lnTo>
                  <a:pt x="689107" y="263488"/>
                </a:lnTo>
                <a:lnTo>
                  <a:pt x="700676" y="257580"/>
                </a:lnTo>
                <a:lnTo>
                  <a:pt x="712246" y="249211"/>
                </a:lnTo>
                <a:lnTo>
                  <a:pt x="719629" y="237641"/>
                </a:lnTo>
                <a:lnTo>
                  <a:pt x="723814" y="222627"/>
                </a:lnTo>
                <a:lnTo>
                  <a:pt x="725538" y="214258"/>
                </a:lnTo>
                <a:lnTo>
                  <a:pt x="723814" y="200966"/>
                </a:lnTo>
                <a:lnTo>
                  <a:pt x="723814" y="187674"/>
                </a:lnTo>
                <a:lnTo>
                  <a:pt x="718153" y="185211"/>
                </a:lnTo>
                <a:lnTo>
                  <a:pt x="715692" y="183488"/>
                </a:lnTo>
                <a:lnTo>
                  <a:pt x="712491" y="181765"/>
                </a:lnTo>
                <a:lnTo>
                  <a:pt x="710030" y="179304"/>
                </a:lnTo>
                <a:lnTo>
                  <a:pt x="708307" y="174381"/>
                </a:lnTo>
                <a:lnTo>
                  <a:pt x="713968" y="164288"/>
                </a:lnTo>
                <a:lnTo>
                  <a:pt x="716429" y="152719"/>
                </a:lnTo>
                <a:lnTo>
                  <a:pt x="713968" y="140166"/>
                </a:lnTo>
                <a:lnTo>
                  <a:pt x="710768" y="126874"/>
                </a:lnTo>
                <a:lnTo>
                  <a:pt x="706583" y="111858"/>
                </a:lnTo>
                <a:lnTo>
                  <a:pt x="704861" y="97581"/>
                </a:lnTo>
                <a:lnTo>
                  <a:pt x="708061" y="97581"/>
                </a:lnTo>
                <a:lnTo>
                  <a:pt x="708061" y="94135"/>
                </a:lnTo>
                <a:lnTo>
                  <a:pt x="727999" y="97581"/>
                </a:lnTo>
                <a:lnTo>
                  <a:pt x="745229" y="97581"/>
                </a:lnTo>
                <a:lnTo>
                  <a:pt x="764184" y="94135"/>
                </a:lnTo>
                <a:lnTo>
                  <a:pt x="768368" y="101520"/>
                </a:lnTo>
                <a:lnTo>
                  <a:pt x="772552" y="111612"/>
                </a:lnTo>
                <a:lnTo>
                  <a:pt x="777476" y="118996"/>
                </a:lnTo>
                <a:lnTo>
                  <a:pt x="781660" y="122443"/>
                </a:lnTo>
                <a:lnTo>
                  <a:pt x="784122" y="123181"/>
                </a:lnTo>
                <a:lnTo>
                  <a:pt x="789044" y="123181"/>
                </a:lnTo>
                <a:lnTo>
                  <a:pt x="793229" y="124904"/>
                </a:lnTo>
                <a:lnTo>
                  <a:pt x="797415" y="126627"/>
                </a:lnTo>
                <a:lnTo>
                  <a:pt x="800615" y="129089"/>
                </a:lnTo>
                <a:lnTo>
                  <a:pt x="801352" y="136473"/>
                </a:lnTo>
                <a:lnTo>
                  <a:pt x="804552" y="149765"/>
                </a:lnTo>
                <a:lnTo>
                  <a:pt x="806276" y="161335"/>
                </a:lnTo>
                <a:lnTo>
                  <a:pt x="808736" y="169704"/>
                </a:lnTo>
                <a:lnTo>
                  <a:pt x="810460" y="171426"/>
                </a:lnTo>
                <a:lnTo>
                  <a:pt x="812922" y="173888"/>
                </a:lnTo>
                <a:lnTo>
                  <a:pt x="816122" y="175612"/>
                </a:lnTo>
                <a:lnTo>
                  <a:pt x="818583" y="179057"/>
                </a:lnTo>
                <a:lnTo>
                  <a:pt x="823506" y="179797"/>
                </a:lnTo>
                <a:lnTo>
                  <a:pt x="824244" y="183243"/>
                </a:lnTo>
                <a:lnTo>
                  <a:pt x="835814" y="174134"/>
                </a:lnTo>
                <a:lnTo>
                  <a:pt x="844922" y="163305"/>
                </a:lnTo>
                <a:lnTo>
                  <a:pt x="851568" y="151735"/>
                </a:lnTo>
                <a:lnTo>
                  <a:pt x="863137" y="142627"/>
                </a:lnTo>
                <a:lnTo>
                  <a:pt x="864860" y="152719"/>
                </a:lnTo>
                <a:lnTo>
                  <a:pt x="869044" y="158627"/>
                </a:lnTo>
                <a:lnTo>
                  <a:pt x="874705" y="164535"/>
                </a:lnTo>
                <a:lnTo>
                  <a:pt x="880367" y="170442"/>
                </a:lnTo>
                <a:lnTo>
                  <a:pt x="885290" y="177827"/>
                </a:lnTo>
                <a:lnTo>
                  <a:pt x="885290" y="180288"/>
                </a:lnTo>
                <a:lnTo>
                  <a:pt x="885290" y="183735"/>
                </a:lnTo>
                <a:lnTo>
                  <a:pt x="883567" y="185458"/>
                </a:lnTo>
                <a:lnTo>
                  <a:pt x="883567" y="187918"/>
                </a:lnTo>
                <a:lnTo>
                  <a:pt x="881845" y="191365"/>
                </a:lnTo>
                <a:lnTo>
                  <a:pt x="883567" y="193827"/>
                </a:lnTo>
                <a:lnTo>
                  <a:pt x="885290" y="197273"/>
                </a:lnTo>
                <a:lnTo>
                  <a:pt x="886028" y="198012"/>
                </a:lnTo>
                <a:lnTo>
                  <a:pt x="889228" y="198012"/>
                </a:lnTo>
                <a:lnTo>
                  <a:pt x="891689" y="198012"/>
                </a:lnTo>
                <a:lnTo>
                  <a:pt x="893414" y="198012"/>
                </a:lnTo>
                <a:lnTo>
                  <a:pt x="896613" y="198012"/>
                </a:lnTo>
                <a:lnTo>
                  <a:pt x="897352" y="199735"/>
                </a:lnTo>
                <a:lnTo>
                  <a:pt x="902275" y="211304"/>
                </a:lnTo>
                <a:lnTo>
                  <a:pt x="902275" y="220411"/>
                </a:lnTo>
                <a:lnTo>
                  <a:pt x="900552" y="228780"/>
                </a:lnTo>
                <a:lnTo>
                  <a:pt x="903013" y="236166"/>
                </a:lnTo>
                <a:lnTo>
                  <a:pt x="913844" y="244534"/>
                </a:lnTo>
                <a:lnTo>
                  <a:pt x="904736" y="262011"/>
                </a:lnTo>
                <a:lnTo>
                  <a:pt x="894890" y="277026"/>
                </a:lnTo>
                <a:lnTo>
                  <a:pt x="897352" y="277026"/>
                </a:lnTo>
                <a:lnTo>
                  <a:pt x="906459" y="267919"/>
                </a:lnTo>
                <a:lnTo>
                  <a:pt x="914828" y="260535"/>
                </a:lnTo>
                <a:lnTo>
                  <a:pt x="922213" y="252165"/>
                </a:lnTo>
                <a:lnTo>
                  <a:pt x="932059" y="254626"/>
                </a:lnTo>
                <a:lnTo>
                  <a:pt x="937720" y="260535"/>
                </a:lnTo>
                <a:lnTo>
                  <a:pt x="943382" y="267919"/>
                </a:lnTo>
                <a:lnTo>
                  <a:pt x="945105" y="279487"/>
                </a:lnTo>
                <a:lnTo>
                  <a:pt x="960120" y="279487"/>
                </a:lnTo>
                <a:lnTo>
                  <a:pt x="960120" y="283672"/>
                </a:lnTo>
                <a:lnTo>
                  <a:pt x="960859" y="287118"/>
                </a:lnTo>
                <a:lnTo>
                  <a:pt x="960859" y="291304"/>
                </a:lnTo>
                <a:lnTo>
                  <a:pt x="962582" y="295488"/>
                </a:lnTo>
                <a:lnTo>
                  <a:pt x="960859" y="300410"/>
                </a:lnTo>
                <a:lnTo>
                  <a:pt x="960859" y="302872"/>
                </a:lnTo>
                <a:lnTo>
                  <a:pt x="960859" y="306319"/>
                </a:lnTo>
                <a:lnTo>
                  <a:pt x="962582" y="307057"/>
                </a:lnTo>
                <a:lnTo>
                  <a:pt x="962582" y="310503"/>
                </a:lnTo>
                <a:lnTo>
                  <a:pt x="962582" y="312226"/>
                </a:lnTo>
                <a:lnTo>
                  <a:pt x="962582" y="314687"/>
                </a:lnTo>
                <a:lnTo>
                  <a:pt x="946828" y="326257"/>
                </a:lnTo>
                <a:lnTo>
                  <a:pt x="929598" y="333641"/>
                </a:lnTo>
                <a:lnTo>
                  <a:pt x="909659" y="337826"/>
                </a:lnTo>
                <a:lnTo>
                  <a:pt x="888983" y="340287"/>
                </a:lnTo>
                <a:lnTo>
                  <a:pt x="869044" y="343733"/>
                </a:lnTo>
                <a:lnTo>
                  <a:pt x="848367" y="346196"/>
                </a:lnTo>
                <a:lnTo>
                  <a:pt x="831137" y="352103"/>
                </a:lnTo>
                <a:lnTo>
                  <a:pt x="815382" y="359488"/>
                </a:lnTo>
                <a:lnTo>
                  <a:pt x="803814" y="372780"/>
                </a:lnTo>
                <a:lnTo>
                  <a:pt x="807014" y="372780"/>
                </a:lnTo>
                <a:lnTo>
                  <a:pt x="821045" y="362688"/>
                </a:lnTo>
                <a:lnTo>
                  <a:pt x="838275" y="355302"/>
                </a:lnTo>
                <a:lnTo>
                  <a:pt x="857228" y="351118"/>
                </a:lnTo>
                <a:lnTo>
                  <a:pt x="857967" y="353580"/>
                </a:lnTo>
                <a:lnTo>
                  <a:pt x="859690" y="357026"/>
                </a:lnTo>
                <a:lnTo>
                  <a:pt x="861414" y="357764"/>
                </a:lnTo>
                <a:lnTo>
                  <a:pt x="863874" y="359488"/>
                </a:lnTo>
                <a:lnTo>
                  <a:pt x="867075" y="361210"/>
                </a:lnTo>
                <a:lnTo>
                  <a:pt x="869536" y="363673"/>
                </a:lnTo>
                <a:lnTo>
                  <a:pt x="865352" y="371057"/>
                </a:lnTo>
                <a:lnTo>
                  <a:pt x="862890" y="376965"/>
                </a:lnTo>
                <a:lnTo>
                  <a:pt x="861168" y="382871"/>
                </a:lnTo>
                <a:lnTo>
                  <a:pt x="859444" y="391980"/>
                </a:lnTo>
                <a:lnTo>
                  <a:pt x="871014" y="397888"/>
                </a:lnTo>
                <a:lnTo>
                  <a:pt x="878397" y="406257"/>
                </a:lnTo>
                <a:lnTo>
                  <a:pt x="884060" y="414626"/>
                </a:lnTo>
                <a:lnTo>
                  <a:pt x="891443" y="423733"/>
                </a:lnTo>
                <a:lnTo>
                  <a:pt x="891443" y="426195"/>
                </a:lnTo>
                <a:lnTo>
                  <a:pt x="891443" y="427918"/>
                </a:lnTo>
                <a:lnTo>
                  <a:pt x="889721" y="427918"/>
                </a:lnTo>
                <a:lnTo>
                  <a:pt x="889721" y="429641"/>
                </a:lnTo>
                <a:lnTo>
                  <a:pt x="887998" y="431364"/>
                </a:lnTo>
                <a:lnTo>
                  <a:pt x="879629" y="441456"/>
                </a:lnTo>
                <a:lnTo>
                  <a:pt x="868059" y="449826"/>
                </a:lnTo>
                <a:lnTo>
                  <a:pt x="853290" y="455733"/>
                </a:lnTo>
                <a:lnTo>
                  <a:pt x="853290" y="443180"/>
                </a:lnTo>
                <a:lnTo>
                  <a:pt x="860674" y="438257"/>
                </a:lnTo>
                <a:lnTo>
                  <a:pt x="866336" y="434072"/>
                </a:lnTo>
                <a:lnTo>
                  <a:pt x="871999" y="426687"/>
                </a:lnTo>
                <a:lnTo>
                  <a:pt x="866336" y="424226"/>
                </a:lnTo>
                <a:lnTo>
                  <a:pt x="866336" y="420780"/>
                </a:lnTo>
                <a:lnTo>
                  <a:pt x="864613" y="420780"/>
                </a:lnTo>
                <a:lnTo>
                  <a:pt x="862890" y="420780"/>
                </a:lnTo>
                <a:lnTo>
                  <a:pt x="862890" y="422502"/>
                </a:lnTo>
                <a:lnTo>
                  <a:pt x="862890" y="424226"/>
                </a:lnTo>
                <a:lnTo>
                  <a:pt x="853044" y="431611"/>
                </a:lnTo>
                <a:lnTo>
                  <a:pt x="839751" y="437518"/>
                </a:lnTo>
                <a:lnTo>
                  <a:pt x="828921" y="441703"/>
                </a:lnTo>
                <a:lnTo>
                  <a:pt x="817352" y="447611"/>
                </a:lnTo>
                <a:lnTo>
                  <a:pt x="806521" y="454995"/>
                </a:lnTo>
                <a:lnTo>
                  <a:pt x="799875" y="465087"/>
                </a:lnTo>
                <a:lnTo>
                  <a:pt x="794952" y="479364"/>
                </a:lnTo>
                <a:lnTo>
                  <a:pt x="799875" y="481087"/>
                </a:lnTo>
                <a:lnTo>
                  <a:pt x="805536" y="482810"/>
                </a:lnTo>
                <a:lnTo>
                  <a:pt x="807998" y="485271"/>
                </a:lnTo>
                <a:lnTo>
                  <a:pt x="802337" y="485271"/>
                </a:lnTo>
                <a:lnTo>
                  <a:pt x="793968" y="492657"/>
                </a:lnTo>
                <a:lnTo>
                  <a:pt x="782398" y="495118"/>
                </a:lnTo>
                <a:lnTo>
                  <a:pt x="771568" y="496841"/>
                </a:lnTo>
                <a:lnTo>
                  <a:pt x="759999" y="498564"/>
                </a:lnTo>
                <a:lnTo>
                  <a:pt x="751629" y="521948"/>
                </a:lnTo>
                <a:lnTo>
                  <a:pt x="741783" y="546810"/>
                </a:lnTo>
                <a:lnTo>
                  <a:pt x="738583" y="543364"/>
                </a:lnTo>
                <a:lnTo>
                  <a:pt x="737845" y="541641"/>
                </a:lnTo>
                <a:lnTo>
                  <a:pt x="734645" y="540903"/>
                </a:lnTo>
                <a:lnTo>
                  <a:pt x="732922" y="539179"/>
                </a:lnTo>
                <a:lnTo>
                  <a:pt x="728737" y="535733"/>
                </a:lnTo>
                <a:lnTo>
                  <a:pt x="728737" y="543118"/>
                </a:lnTo>
                <a:lnTo>
                  <a:pt x="730459" y="546564"/>
                </a:lnTo>
                <a:lnTo>
                  <a:pt x="732922" y="554933"/>
                </a:lnTo>
                <a:lnTo>
                  <a:pt x="736122" y="565025"/>
                </a:lnTo>
                <a:lnTo>
                  <a:pt x="738583" y="574134"/>
                </a:lnTo>
                <a:lnTo>
                  <a:pt x="738583" y="578315"/>
                </a:lnTo>
                <a:lnTo>
                  <a:pt x="727014" y="585699"/>
                </a:lnTo>
                <a:lnTo>
                  <a:pt x="714707" y="592346"/>
                </a:lnTo>
                <a:lnTo>
                  <a:pt x="701415" y="601453"/>
                </a:lnTo>
                <a:lnTo>
                  <a:pt x="688123" y="609823"/>
                </a:lnTo>
                <a:lnTo>
                  <a:pt x="679753" y="621391"/>
                </a:lnTo>
                <a:lnTo>
                  <a:pt x="675568" y="636407"/>
                </a:lnTo>
                <a:lnTo>
                  <a:pt x="670645" y="647976"/>
                </a:lnTo>
                <a:lnTo>
                  <a:pt x="672368" y="662253"/>
                </a:lnTo>
                <a:lnTo>
                  <a:pt x="676553" y="678007"/>
                </a:lnTo>
                <a:lnTo>
                  <a:pt x="682214" y="694744"/>
                </a:lnTo>
                <a:lnTo>
                  <a:pt x="687876" y="710499"/>
                </a:lnTo>
                <a:lnTo>
                  <a:pt x="691076" y="724776"/>
                </a:lnTo>
                <a:lnTo>
                  <a:pt x="687876" y="724776"/>
                </a:lnTo>
                <a:lnTo>
                  <a:pt x="687876" y="728222"/>
                </a:lnTo>
                <a:lnTo>
                  <a:pt x="678030" y="724776"/>
                </a:lnTo>
                <a:lnTo>
                  <a:pt x="673845" y="712222"/>
                </a:lnTo>
                <a:lnTo>
                  <a:pt x="666461" y="695484"/>
                </a:lnTo>
                <a:lnTo>
                  <a:pt x="658091" y="678007"/>
                </a:lnTo>
                <a:lnTo>
                  <a:pt x="648983" y="665453"/>
                </a:lnTo>
                <a:lnTo>
                  <a:pt x="640615" y="658069"/>
                </a:lnTo>
                <a:lnTo>
                  <a:pt x="629784" y="656345"/>
                </a:lnTo>
                <a:lnTo>
                  <a:pt x="617476" y="650438"/>
                </a:lnTo>
                <a:lnTo>
                  <a:pt x="602707" y="644530"/>
                </a:lnTo>
                <a:lnTo>
                  <a:pt x="585477" y="642068"/>
                </a:lnTo>
                <a:lnTo>
                  <a:pt x="585477" y="644530"/>
                </a:lnTo>
                <a:lnTo>
                  <a:pt x="583014" y="644530"/>
                </a:lnTo>
                <a:lnTo>
                  <a:pt x="584739" y="649453"/>
                </a:lnTo>
                <a:lnTo>
                  <a:pt x="587199" y="653638"/>
                </a:lnTo>
                <a:lnTo>
                  <a:pt x="588923" y="656099"/>
                </a:lnTo>
                <a:lnTo>
                  <a:pt x="590645" y="659545"/>
                </a:lnTo>
                <a:lnTo>
                  <a:pt x="593107" y="663730"/>
                </a:lnTo>
                <a:lnTo>
                  <a:pt x="579815" y="663730"/>
                </a:lnTo>
                <a:lnTo>
                  <a:pt x="569969" y="659545"/>
                </a:lnTo>
                <a:lnTo>
                  <a:pt x="556677" y="656099"/>
                </a:lnTo>
                <a:lnTo>
                  <a:pt x="544369" y="656099"/>
                </a:lnTo>
                <a:lnTo>
                  <a:pt x="531077" y="657822"/>
                </a:lnTo>
                <a:lnTo>
                  <a:pt x="521970" y="660284"/>
                </a:lnTo>
                <a:lnTo>
                  <a:pt x="512124" y="665207"/>
                </a:lnTo>
                <a:lnTo>
                  <a:pt x="503754" y="671115"/>
                </a:lnTo>
                <a:lnTo>
                  <a:pt x="498092" y="679484"/>
                </a:lnTo>
                <a:lnTo>
                  <a:pt x="494892" y="686869"/>
                </a:lnTo>
                <a:lnTo>
                  <a:pt x="496616" y="692776"/>
                </a:lnTo>
                <a:lnTo>
                  <a:pt x="496616" y="700161"/>
                </a:lnTo>
                <a:lnTo>
                  <a:pt x="494154" y="708529"/>
                </a:lnTo>
                <a:lnTo>
                  <a:pt x="488492" y="727730"/>
                </a:lnTo>
                <a:lnTo>
                  <a:pt x="488492" y="742007"/>
                </a:lnTo>
                <a:lnTo>
                  <a:pt x="489231" y="757022"/>
                </a:lnTo>
                <a:lnTo>
                  <a:pt x="494892" y="771298"/>
                </a:lnTo>
                <a:lnTo>
                  <a:pt x="504000" y="788775"/>
                </a:lnTo>
                <a:lnTo>
                  <a:pt x="513846" y="790499"/>
                </a:lnTo>
                <a:lnTo>
                  <a:pt x="519508" y="792221"/>
                </a:lnTo>
                <a:lnTo>
                  <a:pt x="521970" y="794683"/>
                </a:lnTo>
                <a:lnTo>
                  <a:pt x="525170" y="796405"/>
                </a:lnTo>
                <a:lnTo>
                  <a:pt x="529354" y="798129"/>
                </a:lnTo>
                <a:lnTo>
                  <a:pt x="536738" y="794683"/>
                </a:lnTo>
                <a:lnTo>
                  <a:pt x="548308" y="788775"/>
                </a:lnTo>
                <a:lnTo>
                  <a:pt x="550770" y="787052"/>
                </a:lnTo>
                <a:lnTo>
                  <a:pt x="552492" y="787052"/>
                </a:lnTo>
                <a:lnTo>
                  <a:pt x="555692" y="787052"/>
                </a:lnTo>
                <a:lnTo>
                  <a:pt x="556430" y="787052"/>
                </a:lnTo>
                <a:lnTo>
                  <a:pt x="558153" y="787052"/>
                </a:lnTo>
                <a:lnTo>
                  <a:pt x="558153" y="786313"/>
                </a:lnTo>
                <a:lnTo>
                  <a:pt x="561354" y="782867"/>
                </a:lnTo>
                <a:lnTo>
                  <a:pt x="562092" y="778682"/>
                </a:lnTo>
                <a:lnTo>
                  <a:pt x="563816" y="774499"/>
                </a:lnTo>
                <a:lnTo>
                  <a:pt x="565538" y="769576"/>
                </a:lnTo>
                <a:lnTo>
                  <a:pt x="567262" y="767114"/>
                </a:lnTo>
                <a:lnTo>
                  <a:pt x="573908" y="759729"/>
                </a:lnTo>
                <a:lnTo>
                  <a:pt x="583014" y="755544"/>
                </a:lnTo>
                <a:lnTo>
                  <a:pt x="596308" y="753821"/>
                </a:lnTo>
                <a:lnTo>
                  <a:pt x="597046" y="757268"/>
                </a:lnTo>
                <a:lnTo>
                  <a:pt x="598769" y="758006"/>
                </a:lnTo>
                <a:lnTo>
                  <a:pt x="598769" y="759729"/>
                </a:lnTo>
                <a:lnTo>
                  <a:pt x="600491" y="759729"/>
                </a:lnTo>
                <a:lnTo>
                  <a:pt x="600491" y="758006"/>
                </a:lnTo>
                <a:lnTo>
                  <a:pt x="601477" y="758006"/>
                </a:lnTo>
                <a:lnTo>
                  <a:pt x="604677" y="758006"/>
                </a:lnTo>
                <a:lnTo>
                  <a:pt x="608861" y="757268"/>
                </a:lnTo>
                <a:lnTo>
                  <a:pt x="608861" y="769821"/>
                </a:lnTo>
                <a:lnTo>
                  <a:pt x="603200" y="775729"/>
                </a:lnTo>
                <a:lnTo>
                  <a:pt x="599015" y="786559"/>
                </a:lnTo>
                <a:lnTo>
                  <a:pt x="594831" y="800836"/>
                </a:lnTo>
                <a:lnTo>
                  <a:pt x="590645" y="814128"/>
                </a:lnTo>
                <a:lnTo>
                  <a:pt x="585722" y="824221"/>
                </a:lnTo>
                <a:lnTo>
                  <a:pt x="600491" y="824221"/>
                </a:lnTo>
                <a:lnTo>
                  <a:pt x="612799" y="822498"/>
                </a:lnTo>
                <a:lnTo>
                  <a:pt x="624369" y="822498"/>
                </a:lnTo>
                <a:lnTo>
                  <a:pt x="635199" y="824221"/>
                </a:lnTo>
                <a:lnTo>
                  <a:pt x="641845" y="828405"/>
                </a:lnTo>
                <a:lnTo>
                  <a:pt x="647507" y="837514"/>
                </a:lnTo>
                <a:lnTo>
                  <a:pt x="649229" y="850066"/>
                </a:lnTo>
                <a:lnTo>
                  <a:pt x="646768" y="859174"/>
                </a:lnTo>
                <a:lnTo>
                  <a:pt x="643568" y="870744"/>
                </a:lnTo>
                <a:lnTo>
                  <a:pt x="643568" y="882313"/>
                </a:lnTo>
                <a:lnTo>
                  <a:pt x="650954" y="889697"/>
                </a:lnTo>
                <a:lnTo>
                  <a:pt x="655138" y="894620"/>
                </a:lnTo>
                <a:lnTo>
                  <a:pt x="660799" y="900529"/>
                </a:lnTo>
                <a:lnTo>
                  <a:pt x="669906" y="905451"/>
                </a:lnTo>
                <a:lnTo>
                  <a:pt x="680738" y="907913"/>
                </a:lnTo>
                <a:lnTo>
                  <a:pt x="686399" y="900529"/>
                </a:lnTo>
                <a:lnTo>
                  <a:pt x="693784" y="898066"/>
                </a:lnTo>
                <a:lnTo>
                  <a:pt x="707076" y="898066"/>
                </a:lnTo>
                <a:lnTo>
                  <a:pt x="708798" y="900529"/>
                </a:lnTo>
                <a:lnTo>
                  <a:pt x="711261" y="903975"/>
                </a:lnTo>
                <a:lnTo>
                  <a:pt x="712737" y="905697"/>
                </a:lnTo>
                <a:lnTo>
                  <a:pt x="714460" y="905697"/>
                </a:lnTo>
                <a:lnTo>
                  <a:pt x="718645" y="906436"/>
                </a:lnTo>
                <a:lnTo>
                  <a:pt x="724060" y="907667"/>
                </a:lnTo>
                <a:lnTo>
                  <a:pt x="729722" y="896098"/>
                </a:lnTo>
                <a:lnTo>
                  <a:pt x="737106" y="887728"/>
                </a:lnTo>
                <a:lnTo>
                  <a:pt x="745476" y="880343"/>
                </a:lnTo>
                <a:lnTo>
                  <a:pt x="756306" y="874436"/>
                </a:lnTo>
                <a:lnTo>
                  <a:pt x="772060" y="871975"/>
                </a:lnTo>
                <a:lnTo>
                  <a:pt x="774522" y="870251"/>
                </a:lnTo>
                <a:lnTo>
                  <a:pt x="776244" y="870251"/>
                </a:lnTo>
                <a:lnTo>
                  <a:pt x="778707" y="870251"/>
                </a:lnTo>
                <a:lnTo>
                  <a:pt x="780429" y="870251"/>
                </a:lnTo>
                <a:lnTo>
                  <a:pt x="783629" y="871975"/>
                </a:lnTo>
                <a:lnTo>
                  <a:pt x="787813" y="871975"/>
                </a:lnTo>
                <a:lnTo>
                  <a:pt x="786090" y="874436"/>
                </a:lnTo>
                <a:lnTo>
                  <a:pt x="786090" y="877882"/>
                </a:lnTo>
                <a:lnTo>
                  <a:pt x="784367" y="877882"/>
                </a:lnTo>
                <a:lnTo>
                  <a:pt x="784367" y="878621"/>
                </a:lnTo>
                <a:lnTo>
                  <a:pt x="786090" y="878621"/>
                </a:lnTo>
                <a:lnTo>
                  <a:pt x="787813" y="880343"/>
                </a:lnTo>
                <a:lnTo>
                  <a:pt x="790275" y="882066"/>
                </a:lnTo>
                <a:lnTo>
                  <a:pt x="790275" y="878621"/>
                </a:lnTo>
                <a:lnTo>
                  <a:pt x="793475" y="876160"/>
                </a:lnTo>
                <a:lnTo>
                  <a:pt x="795199" y="874436"/>
                </a:lnTo>
                <a:lnTo>
                  <a:pt x="795937" y="872714"/>
                </a:lnTo>
                <a:lnTo>
                  <a:pt x="797660" y="871975"/>
                </a:lnTo>
                <a:lnTo>
                  <a:pt x="800860" y="870251"/>
                </a:lnTo>
                <a:lnTo>
                  <a:pt x="803320" y="868529"/>
                </a:lnTo>
                <a:lnTo>
                  <a:pt x="816613" y="880097"/>
                </a:lnTo>
                <a:lnTo>
                  <a:pt x="833845" y="886006"/>
                </a:lnTo>
                <a:lnTo>
                  <a:pt x="851075" y="887728"/>
                </a:lnTo>
                <a:lnTo>
                  <a:pt x="871014" y="886006"/>
                </a:lnTo>
                <a:lnTo>
                  <a:pt x="891689" y="884281"/>
                </a:lnTo>
                <a:lnTo>
                  <a:pt x="891689" y="887728"/>
                </a:lnTo>
                <a:lnTo>
                  <a:pt x="891689" y="889452"/>
                </a:lnTo>
                <a:lnTo>
                  <a:pt x="889967" y="890190"/>
                </a:lnTo>
                <a:lnTo>
                  <a:pt x="889967" y="891912"/>
                </a:lnTo>
                <a:lnTo>
                  <a:pt x="888243" y="894374"/>
                </a:lnTo>
                <a:lnTo>
                  <a:pt x="898090" y="897820"/>
                </a:lnTo>
                <a:lnTo>
                  <a:pt x="903751" y="902005"/>
                </a:lnTo>
                <a:lnTo>
                  <a:pt x="909413" y="906190"/>
                </a:lnTo>
                <a:lnTo>
                  <a:pt x="919259" y="911113"/>
                </a:lnTo>
                <a:lnTo>
                  <a:pt x="919259" y="919481"/>
                </a:lnTo>
                <a:lnTo>
                  <a:pt x="930090" y="922928"/>
                </a:lnTo>
                <a:lnTo>
                  <a:pt x="936736" y="923667"/>
                </a:lnTo>
                <a:lnTo>
                  <a:pt x="942397" y="929574"/>
                </a:lnTo>
                <a:lnTo>
                  <a:pt x="945597" y="938682"/>
                </a:lnTo>
                <a:lnTo>
                  <a:pt x="962828" y="940404"/>
                </a:lnTo>
                <a:lnTo>
                  <a:pt x="976859" y="941143"/>
                </a:lnTo>
                <a:lnTo>
                  <a:pt x="995813" y="942867"/>
                </a:lnTo>
                <a:lnTo>
                  <a:pt x="1009104" y="960343"/>
                </a:lnTo>
                <a:lnTo>
                  <a:pt x="1024859" y="976097"/>
                </a:lnTo>
                <a:lnTo>
                  <a:pt x="1042089" y="989389"/>
                </a:lnTo>
                <a:lnTo>
                  <a:pt x="1062028" y="999481"/>
                </a:lnTo>
                <a:lnTo>
                  <a:pt x="1061290" y="1005389"/>
                </a:lnTo>
                <a:lnTo>
                  <a:pt x="1058089" y="1008835"/>
                </a:lnTo>
                <a:lnTo>
                  <a:pt x="1055627" y="1013020"/>
                </a:lnTo>
                <a:lnTo>
                  <a:pt x="1052427" y="1015481"/>
                </a:lnTo>
                <a:lnTo>
                  <a:pt x="1049966" y="1020404"/>
                </a:lnTo>
                <a:lnTo>
                  <a:pt x="1068182" y="1020404"/>
                </a:lnTo>
                <a:lnTo>
                  <a:pt x="1085412" y="1026312"/>
                </a:lnTo>
                <a:lnTo>
                  <a:pt x="1088612" y="1036404"/>
                </a:lnTo>
                <a:lnTo>
                  <a:pt x="1092798" y="1034681"/>
                </a:lnTo>
                <a:lnTo>
                  <a:pt x="1095258" y="1032958"/>
                </a:lnTo>
                <a:lnTo>
                  <a:pt x="1100181" y="1034681"/>
                </a:lnTo>
                <a:lnTo>
                  <a:pt x="1100919" y="1034681"/>
                </a:lnTo>
                <a:lnTo>
                  <a:pt x="1104120" y="1036404"/>
                </a:lnTo>
                <a:lnTo>
                  <a:pt x="1106582" y="1038127"/>
                </a:lnTo>
                <a:lnTo>
                  <a:pt x="1109782" y="1038865"/>
                </a:lnTo>
                <a:lnTo>
                  <a:pt x="1154335" y="1042312"/>
                </a:lnTo>
                <a:lnTo>
                  <a:pt x="1158519" y="1046496"/>
                </a:lnTo>
                <a:lnTo>
                  <a:pt x="1161719" y="1054866"/>
                </a:lnTo>
                <a:lnTo>
                  <a:pt x="1162457" y="1062250"/>
                </a:lnTo>
                <a:lnTo>
                  <a:pt x="1167381" y="1068158"/>
                </a:lnTo>
                <a:lnTo>
                  <a:pt x="1174027" y="1069881"/>
                </a:lnTo>
                <a:lnTo>
                  <a:pt x="1181411" y="1069881"/>
                </a:lnTo>
                <a:lnTo>
                  <a:pt x="1187072" y="1068158"/>
                </a:lnTo>
                <a:lnTo>
                  <a:pt x="1191257" y="1074065"/>
                </a:lnTo>
                <a:lnTo>
                  <a:pt x="1196181" y="1078250"/>
                </a:lnTo>
                <a:lnTo>
                  <a:pt x="1198642" y="1083174"/>
                </a:lnTo>
                <a:lnTo>
                  <a:pt x="1200612" y="1088835"/>
                </a:lnTo>
                <a:lnTo>
                  <a:pt x="1202334" y="1095481"/>
                </a:lnTo>
                <a:lnTo>
                  <a:pt x="1191503" y="1108773"/>
                </a:lnTo>
                <a:lnTo>
                  <a:pt x="1179934" y="1124527"/>
                </a:lnTo>
                <a:lnTo>
                  <a:pt x="1168366" y="1142003"/>
                </a:lnTo>
                <a:lnTo>
                  <a:pt x="1158519" y="1159481"/>
                </a:lnTo>
                <a:lnTo>
                  <a:pt x="1151874" y="1172772"/>
                </a:lnTo>
                <a:lnTo>
                  <a:pt x="1151874" y="1181142"/>
                </a:lnTo>
                <a:lnTo>
                  <a:pt x="1152611" y="1192710"/>
                </a:lnTo>
                <a:lnTo>
                  <a:pt x="1155811" y="1206003"/>
                </a:lnTo>
                <a:lnTo>
                  <a:pt x="1154089" y="1217572"/>
                </a:lnTo>
                <a:lnTo>
                  <a:pt x="1151627" y="1224957"/>
                </a:lnTo>
                <a:lnTo>
                  <a:pt x="1145965" y="1236526"/>
                </a:lnTo>
                <a:lnTo>
                  <a:pt x="1145610" y="1237129"/>
                </a:lnTo>
                <a:lnTo>
                  <a:pt x="795176" y="1237129"/>
                </a:lnTo>
                <a:lnTo>
                  <a:pt x="797415" y="1220772"/>
                </a:lnTo>
                <a:lnTo>
                  <a:pt x="768614" y="1209941"/>
                </a:lnTo>
                <a:lnTo>
                  <a:pt x="743752" y="1193203"/>
                </a:lnTo>
                <a:lnTo>
                  <a:pt x="723814" y="1171542"/>
                </a:lnTo>
                <a:lnTo>
                  <a:pt x="707322" y="1148157"/>
                </a:lnTo>
                <a:lnTo>
                  <a:pt x="701661" y="1134865"/>
                </a:lnTo>
                <a:lnTo>
                  <a:pt x="697476" y="1122311"/>
                </a:lnTo>
                <a:lnTo>
                  <a:pt x="693291" y="1107296"/>
                </a:lnTo>
                <a:lnTo>
                  <a:pt x="687630" y="1095727"/>
                </a:lnTo>
                <a:lnTo>
                  <a:pt x="678522" y="1087357"/>
                </a:lnTo>
                <a:lnTo>
                  <a:pt x="676061" y="1083911"/>
                </a:lnTo>
                <a:lnTo>
                  <a:pt x="671876" y="1083911"/>
                </a:lnTo>
                <a:lnTo>
                  <a:pt x="668677" y="1083174"/>
                </a:lnTo>
                <a:lnTo>
                  <a:pt x="666215" y="1079727"/>
                </a:lnTo>
                <a:lnTo>
                  <a:pt x="663014" y="1077265"/>
                </a:lnTo>
                <a:lnTo>
                  <a:pt x="666215" y="1071358"/>
                </a:lnTo>
                <a:lnTo>
                  <a:pt x="666215" y="1066434"/>
                </a:lnTo>
                <a:lnTo>
                  <a:pt x="666215" y="1060527"/>
                </a:lnTo>
                <a:lnTo>
                  <a:pt x="666215" y="1054620"/>
                </a:lnTo>
                <a:lnTo>
                  <a:pt x="673599" y="1050435"/>
                </a:lnTo>
                <a:lnTo>
                  <a:pt x="678522" y="1046250"/>
                </a:lnTo>
                <a:lnTo>
                  <a:pt x="685907" y="1042065"/>
                </a:lnTo>
                <a:lnTo>
                  <a:pt x="685907" y="1038619"/>
                </a:lnTo>
                <a:lnTo>
                  <a:pt x="678522" y="1038619"/>
                </a:lnTo>
                <a:lnTo>
                  <a:pt x="674337" y="1037881"/>
                </a:lnTo>
                <a:lnTo>
                  <a:pt x="670152" y="1037881"/>
                </a:lnTo>
                <a:lnTo>
                  <a:pt x="665969" y="1036158"/>
                </a:lnTo>
                <a:lnTo>
                  <a:pt x="671630" y="1022866"/>
                </a:lnTo>
                <a:lnTo>
                  <a:pt x="675815" y="1009574"/>
                </a:lnTo>
                <a:lnTo>
                  <a:pt x="681476" y="997020"/>
                </a:lnTo>
                <a:lnTo>
                  <a:pt x="691322" y="986189"/>
                </a:lnTo>
                <a:lnTo>
                  <a:pt x="702891" y="976097"/>
                </a:lnTo>
                <a:lnTo>
                  <a:pt x="712737" y="964528"/>
                </a:lnTo>
                <a:lnTo>
                  <a:pt x="711998" y="956159"/>
                </a:lnTo>
                <a:lnTo>
                  <a:pt x="711998" y="944590"/>
                </a:lnTo>
                <a:lnTo>
                  <a:pt x="710276" y="933020"/>
                </a:lnTo>
                <a:lnTo>
                  <a:pt x="706091" y="925636"/>
                </a:lnTo>
                <a:lnTo>
                  <a:pt x="700430" y="917266"/>
                </a:lnTo>
                <a:lnTo>
                  <a:pt x="694769" y="908159"/>
                </a:lnTo>
                <a:lnTo>
                  <a:pt x="689107" y="908159"/>
                </a:lnTo>
                <a:lnTo>
                  <a:pt x="687384" y="909882"/>
                </a:lnTo>
                <a:lnTo>
                  <a:pt x="685660" y="911605"/>
                </a:lnTo>
                <a:lnTo>
                  <a:pt x="683938" y="912343"/>
                </a:lnTo>
                <a:lnTo>
                  <a:pt x="681476" y="914066"/>
                </a:lnTo>
                <a:lnTo>
                  <a:pt x="683199" y="917513"/>
                </a:lnTo>
                <a:lnTo>
                  <a:pt x="683199" y="919974"/>
                </a:lnTo>
                <a:lnTo>
                  <a:pt x="683199" y="921697"/>
                </a:lnTo>
                <a:lnTo>
                  <a:pt x="681476" y="924159"/>
                </a:lnTo>
                <a:lnTo>
                  <a:pt x="679753" y="924159"/>
                </a:lnTo>
                <a:lnTo>
                  <a:pt x="678030" y="925882"/>
                </a:lnTo>
                <a:lnTo>
                  <a:pt x="677292" y="925882"/>
                </a:lnTo>
                <a:lnTo>
                  <a:pt x="675568" y="925882"/>
                </a:lnTo>
                <a:lnTo>
                  <a:pt x="673108" y="927605"/>
                </a:lnTo>
                <a:lnTo>
                  <a:pt x="665722" y="921697"/>
                </a:lnTo>
                <a:lnTo>
                  <a:pt x="652430" y="914313"/>
                </a:lnTo>
                <a:lnTo>
                  <a:pt x="639137" y="906929"/>
                </a:lnTo>
                <a:lnTo>
                  <a:pt x="626831" y="901020"/>
                </a:lnTo>
                <a:lnTo>
                  <a:pt x="617722" y="898558"/>
                </a:lnTo>
                <a:lnTo>
                  <a:pt x="610338" y="881082"/>
                </a:lnTo>
                <a:lnTo>
                  <a:pt x="603692" y="870989"/>
                </a:lnTo>
                <a:lnTo>
                  <a:pt x="596308" y="863605"/>
                </a:lnTo>
                <a:lnTo>
                  <a:pt x="588923" y="861144"/>
                </a:lnTo>
                <a:lnTo>
                  <a:pt x="577353" y="857698"/>
                </a:lnTo>
                <a:lnTo>
                  <a:pt x="565046" y="853513"/>
                </a:lnTo>
                <a:lnTo>
                  <a:pt x="548554" y="847606"/>
                </a:lnTo>
                <a:lnTo>
                  <a:pt x="538708" y="840221"/>
                </a:lnTo>
                <a:lnTo>
                  <a:pt x="530338" y="832836"/>
                </a:lnTo>
                <a:lnTo>
                  <a:pt x="517046" y="826929"/>
                </a:lnTo>
                <a:lnTo>
                  <a:pt x="508677" y="826929"/>
                </a:lnTo>
                <a:lnTo>
                  <a:pt x="503016" y="830375"/>
                </a:lnTo>
                <a:lnTo>
                  <a:pt x="498092" y="832836"/>
                </a:lnTo>
                <a:lnTo>
                  <a:pt x="492431" y="836283"/>
                </a:lnTo>
                <a:lnTo>
                  <a:pt x="485785" y="834560"/>
                </a:lnTo>
                <a:lnTo>
                  <a:pt x="482585" y="832836"/>
                </a:lnTo>
                <a:lnTo>
                  <a:pt x="480124" y="830375"/>
                </a:lnTo>
                <a:lnTo>
                  <a:pt x="476924" y="826929"/>
                </a:lnTo>
                <a:lnTo>
                  <a:pt x="472739" y="822744"/>
                </a:lnTo>
                <a:lnTo>
                  <a:pt x="469539" y="820283"/>
                </a:lnTo>
                <a:lnTo>
                  <a:pt x="467077" y="818559"/>
                </a:lnTo>
                <a:lnTo>
                  <a:pt x="448124" y="815113"/>
                </a:lnTo>
                <a:lnTo>
                  <a:pt x="445662" y="812652"/>
                </a:lnTo>
                <a:lnTo>
                  <a:pt x="442462" y="810190"/>
                </a:lnTo>
                <a:lnTo>
                  <a:pt x="440000" y="806744"/>
                </a:lnTo>
                <a:lnTo>
                  <a:pt x="436801" y="804283"/>
                </a:lnTo>
                <a:lnTo>
                  <a:pt x="436062" y="802560"/>
                </a:lnTo>
                <a:lnTo>
                  <a:pt x="419570" y="805021"/>
                </a:lnTo>
                <a:lnTo>
                  <a:pt x="417108" y="804283"/>
                </a:lnTo>
                <a:lnTo>
                  <a:pt x="412924" y="798375"/>
                </a:lnTo>
                <a:lnTo>
                  <a:pt x="405539" y="792467"/>
                </a:lnTo>
                <a:lnTo>
                  <a:pt x="399878" y="785082"/>
                </a:lnTo>
                <a:lnTo>
                  <a:pt x="394217" y="779175"/>
                </a:lnTo>
                <a:lnTo>
                  <a:pt x="391017" y="775729"/>
                </a:lnTo>
                <a:lnTo>
                  <a:pt x="396677" y="757513"/>
                </a:lnTo>
                <a:lnTo>
                  <a:pt x="380924" y="740036"/>
                </a:lnTo>
                <a:lnTo>
                  <a:pt x="366893" y="720837"/>
                </a:lnTo>
                <a:lnTo>
                  <a:pt x="352124" y="700899"/>
                </a:lnTo>
                <a:lnTo>
                  <a:pt x="338094" y="679976"/>
                </a:lnTo>
                <a:lnTo>
                  <a:pt x="334894" y="678252"/>
                </a:lnTo>
                <a:lnTo>
                  <a:pt x="330709" y="677514"/>
                </a:lnTo>
                <a:lnTo>
                  <a:pt x="328248" y="677514"/>
                </a:lnTo>
                <a:lnTo>
                  <a:pt x="323324" y="675792"/>
                </a:lnTo>
                <a:lnTo>
                  <a:pt x="322586" y="674068"/>
                </a:lnTo>
                <a:lnTo>
                  <a:pt x="316925" y="666683"/>
                </a:lnTo>
                <a:lnTo>
                  <a:pt x="313725" y="658315"/>
                </a:lnTo>
                <a:lnTo>
                  <a:pt x="311262" y="649945"/>
                </a:lnTo>
                <a:lnTo>
                  <a:pt x="306339" y="640837"/>
                </a:lnTo>
                <a:lnTo>
                  <a:pt x="299694" y="636653"/>
                </a:lnTo>
                <a:lnTo>
                  <a:pt x="296493" y="633207"/>
                </a:lnTo>
                <a:lnTo>
                  <a:pt x="294032" y="630746"/>
                </a:lnTo>
                <a:lnTo>
                  <a:pt x="290832" y="629022"/>
                </a:lnTo>
                <a:lnTo>
                  <a:pt x="290832" y="644777"/>
                </a:lnTo>
                <a:lnTo>
                  <a:pt x="295017" y="650683"/>
                </a:lnTo>
                <a:lnTo>
                  <a:pt x="304124" y="660776"/>
                </a:lnTo>
                <a:lnTo>
                  <a:pt x="312494" y="672346"/>
                </a:lnTo>
                <a:lnTo>
                  <a:pt x="323324" y="687360"/>
                </a:lnTo>
                <a:lnTo>
                  <a:pt x="331693" y="701637"/>
                </a:lnTo>
                <a:lnTo>
                  <a:pt x="340801" y="716653"/>
                </a:lnTo>
                <a:lnTo>
                  <a:pt x="347447" y="729945"/>
                </a:lnTo>
                <a:lnTo>
                  <a:pt x="350647" y="738314"/>
                </a:lnTo>
                <a:lnTo>
                  <a:pt x="350647" y="744222"/>
                </a:lnTo>
                <a:lnTo>
                  <a:pt x="348925" y="746683"/>
                </a:lnTo>
                <a:lnTo>
                  <a:pt x="347200" y="748406"/>
                </a:lnTo>
                <a:lnTo>
                  <a:pt x="347200" y="750129"/>
                </a:lnTo>
                <a:lnTo>
                  <a:pt x="344740" y="751853"/>
                </a:lnTo>
                <a:lnTo>
                  <a:pt x="344740" y="745945"/>
                </a:lnTo>
                <a:lnTo>
                  <a:pt x="343017" y="741021"/>
                </a:lnTo>
                <a:lnTo>
                  <a:pt x="343017" y="738561"/>
                </a:lnTo>
                <a:lnTo>
                  <a:pt x="341294" y="735114"/>
                </a:lnTo>
                <a:lnTo>
                  <a:pt x="338832" y="735114"/>
                </a:lnTo>
                <a:lnTo>
                  <a:pt x="337109" y="735114"/>
                </a:lnTo>
                <a:lnTo>
                  <a:pt x="335386" y="735114"/>
                </a:lnTo>
                <a:lnTo>
                  <a:pt x="334648" y="735114"/>
                </a:lnTo>
                <a:lnTo>
                  <a:pt x="332924" y="735114"/>
                </a:lnTo>
                <a:lnTo>
                  <a:pt x="328740" y="735114"/>
                </a:lnTo>
                <a:lnTo>
                  <a:pt x="325540" y="725022"/>
                </a:lnTo>
                <a:lnTo>
                  <a:pt x="323078" y="714929"/>
                </a:lnTo>
                <a:lnTo>
                  <a:pt x="318156" y="706561"/>
                </a:lnTo>
                <a:lnTo>
                  <a:pt x="311509" y="699175"/>
                </a:lnTo>
                <a:lnTo>
                  <a:pt x="302401" y="693269"/>
                </a:lnTo>
                <a:lnTo>
                  <a:pt x="294032" y="687360"/>
                </a:lnTo>
                <a:lnTo>
                  <a:pt x="286647" y="677268"/>
                </a:lnTo>
                <a:lnTo>
                  <a:pt x="289109" y="675545"/>
                </a:lnTo>
                <a:lnTo>
                  <a:pt x="290832" y="675545"/>
                </a:lnTo>
                <a:lnTo>
                  <a:pt x="292555" y="675545"/>
                </a:lnTo>
                <a:lnTo>
                  <a:pt x="292555" y="673821"/>
                </a:lnTo>
                <a:lnTo>
                  <a:pt x="292555" y="672099"/>
                </a:lnTo>
                <a:lnTo>
                  <a:pt x="294278" y="671361"/>
                </a:lnTo>
                <a:lnTo>
                  <a:pt x="283447" y="663976"/>
                </a:lnTo>
                <a:lnTo>
                  <a:pt x="278524" y="654869"/>
                </a:lnTo>
                <a:lnTo>
                  <a:pt x="273601" y="644777"/>
                </a:lnTo>
                <a:lnTo>
                  <a:pt x="271140" y="633207"/>
                </a:lnTo>
                <a:lnTo>
                  <a:pt x="265478" y="623115"/>
                </a:lnTo>
                <a:lnTo>
                  <a:pt x="258093" y="614745"/>
                </a:lnTo>
                <a:lnTo>
                  <a:pt x="249725" y="609823"/>
                </a:lnTo>
                <a:lnTo>
                  <a:pt x="238894" y="605638"/>
                </a:lnTo>
                <a:lnTo>
                  <a:pt x="230524" y="599730"/>
                </a:lnTo>
                <a:lnTo>
                  <a:pt x="224863" y="592346"/>
                </a:lnTo>
                <a:lnTo>
                  <a:pt x="221663" y="583977"/>
                </a:lnTo>
                <a:lnTo>
                  <a:pt x="217478" y="574871"/>
                </a:lnTo>
                <a:lnTo>
                  <a:pt x="207633" y="560594"/>
                </a:lnTo>
                <a:lnTo>
                  <a:pt x="199264" y="550502"/>
                </a:lnTo>
                <a:lnTo>
                  <a:pt x="190156" y="541394"/>
                </a:lnTo>
                <a:lnTo>
                  <a:pt x="184494" y="531303"/>
                </a:lnTo>
                <a:lnTo>
                  <a:pt x="180309" y="518010"/>
                </a:lnTo>
                <a:lnTo>
                  <a:pt x="177109" y="500533"/>
                </a:lnTo>
                <a:lnTo>
                  <a:pt x="176371" y="476410"/>
                </a:lnTo>
                <a:lnTo>
                  <a:pt x="176371" y="470503"/>
                </a:lnTo>
                <a:lnTo>
                  <a:pt x="177109" y="458933"/>
                </a:lnTo>
                <a:lnTo>
                  <a:pt x="177109" y="443180"/>
                </a:lnTo>
                <a:lnTo>
                  <a:pt x="177109" y="423980"/>
                </a:lnTo>
                <a:lnTo>
                  <a:pt x="177109" y="406503"/>
                </a:lnTo>
                <a:lnTo>
                  <a:pt x="178833" y="392226"/>
                </a:lnTo>
                <a:lnTo>
                  <a:pt x="180556" y="383118"/>
                </a:lnTo>
                <a:lnTo>
                  <a:pt x="184740" y="381396"/>
                </a:lnTo>
                <a:lnTo>
                  <a:pt x="187940" y="381396"/>
                </a:lnTo>
                <a:lnTo>
                  <a:pt x="190402" y="381396"/>
                </a:lnTo>
                <a:lnTo>
                  <a:pt x="193602" y="381396"/>
                </a:lnTo>
                <a:lnTo>
                  <a:pt x="196064" y="383118"/>
                </a:lnTo>
                <a:lnTo>
                  <a:pt x="197787" y="386564"/>
                </a:lnTo>
                <a:lnTo>
                  <a:pt x="200248" y="389026"/>
                </a:lnTo>
                <a:lnTo>
                  <a:pt x="201970" y="392473"/>
                </a:lnTo>
                <a:lnTo>
                  <a:pt x="201970" y="375733"/>
                </a:lnTo>
                <a:lnTo>
                  <a:pt x="192125" y="364165"/>
                </a:lnTo>
                <a:lnTo>
                  <a:pt x="180556" y="352596"/>
                </a:lnTo>
                <a:lnTo>
                  <a:pt x="167264" y="344226"/>
                </a:lnTo>
                <a:lnTo>
                  <a:pt x="167264" y="351611"/>
                </a:lnTo>
                <a:lnTo>
                  <a:pt x="172926" y="355795"/>
                </a:lnTo>
                <a:lnTo>
                  <a:pt x="178586" y="359980"/>
                </a:lnTo>
                <a:lnTo>
                  <a:pt x="184247" y="364165"/>
                </a:lnTo>
                <a:lnTo>
                  <a:pt x="188433" y="370072"/>
                </a:lnTo>
                <a:lnTo>
                  <a:pt x="188433" y="373518"/>
                </a:lnTo>
                <a:lnTo>
                  <a:pt x="187694" y="373518"/>
                </a:lnTo>
                <a:lnTo>
                  <a:pt x="187694" y="375241"/>
                </a:lnTo>
                <a:lnTo>
                  <a:pt x="185971" y="375980"/>
                </a:lnTo>
                <a:lnTo>
                  <a:pt x="182772" y="377703"/>
                </a:lnTo>
                <a:lnTo>
                  <a:pt x="182032" y="379426"/>
                </a:lnTo>
                <a:lnTo>
                  <a:pt x="177109" y="379426"/>
                </a:lnTo>
                <a:lnTo>
                  <a:pt x="172926" y="379426"/>
                </a:lnTo>
                <a:lnTo>
                  <a:pt x="171202" y="379426"/>
                </a:lnTo>
                <a:lnTo>
                  <a:pt x="171202" y="377703"/>
                </a:lnTo>
                <a:lnTo>
                  <a:pt x="170463" y="377703"/>
                </a:lnTo>
                <a:lnTo>
                  <a:pt x="167264" y="375980"/>
                </a:lnTo>
                <a:lnTo>
                  <a:pt x="157418" y="363426"/>
                </a:lnTo>
                <a:lnTo>
                  <a:pt x="148310" y="350134"/>
                </a:lnTo>
                <a:lnTo>
                  <a:pt x="141664" y="335119"/>
                </a:lnTo>
                <a:lnTo>
                  <a:pt x="148310" y="335119"/>
                </a:lnTo>
                <a:lnTo>
                  <a:pt x="151510" y="336841"/>
                </a:lnTo>
                <a:lnTo>
                  <a:pt x="153972" y="336841"/>
                </a:lnTo>
                <a:lnTo>
                  <a:pt x="157171" y="336841"/>
                </a:lnTo>
                <a:lnTo>
                  <a:pt x="159633" y="335119"/>
                </a:lnTo>
                <a:lnTo>
                  <a:pt x="148064" y="330934"/>
                </a:lnTo>
                <a:lnTo>
                  <a:pt x="141418" y="324288"/>
                </a:lnTo>
                <a:lnTo>
                  <a:pt x="135756" y="315180"/>
                </a:lnTo>
                <a:lnTo>
                  <a:pt x="130834" y="305088"/>
                </a:lnTo>
                <a:lnTo>
                  <a:pt x="128371" y="294995"/>
                </a:lnTo>
                <a:lnTo>
                  <a:pt x="124187" y="285888"/>
                </a:lnTo>
                <a:lnTo>
                  <a:pt x="118525" y="278503"/>
                </a:lnTo>
                <a:lnTo>
                  <a:pt x="109418" y="274319"/>
                </a:lnTo>
                <a:lnTo>
                  <a:pt x="112618" y="255118"/>
                </a:lnTo>
                <a:lnTo>
                  <a:pt x="102772" y="244287"/>
                </a:lnTo>
                <a:lnTo>
                  <a:pt x="93664" y="230995"/>
                </a:lnTo>
                <a:lnTo>
                  <a:pt x="86279" y="217703"/>
                </a:lnTo>
                <a:lnTo>
                  <a:pt x="76433" y="204411"/>
                </a:lnTo>
                <a:lnTo>
                  <a:pt x="64865" y="194320"/>
                </a:lnTo>
                <a:lnTo>
                  <a:pt x="49111" y="186935"/>
                </a:lnTo>
                <a:lnTo>
                  <a:pt x="30156" y="182750"/>
                </a:lnTo>
                <a:lnTo>
                  <a:pt x="14403" y="175366"/>
                </a:lnTo>
                <a:lnTo>
                  <a:pt x="2834" y="165273"/>
                </a:lnTo>
                <a:lnTo>
                  <a:pt x="0" y="162806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310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xmlns="" id="{B5980401-AB6A-4774-BE69-BCE8DE977E90}"/>
              </a:ext>
            </a:extLst>
          </p:cNvPr>
          <p:cNvSpPr/>
          <p:nvPr userDrawn="1"/>
        </p:nvSpPr>
        <p:spPr>
          <a:xfrm>
            <a:off x="0" y="6606000"/>
            <a:ext cx="12192000" cy="25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xmlns="" id="{5CD036EB-19B9-423B-8660-8BD9177C0E97}"/>
              </a:ext>
            </a:extLst>
          </p:cNvPr>
          <p:cNvSpPr/>
          <p:nvPr userDrawn="1"/>
        </p:nvSpPr>
        <p:spPr>
          <a:xfrm>
            <a:off x="0" y="936627"/>
            <a:ext cx="252000" cy="59213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Rectangle 19">
            <a:extLst>
              <a:ext uri="{FF2B5EF4-FFF2-40B4-BE49-F238E27FC236}">
                <a16:creationId xmlns:a16="http://schemas.microsoft.com/office/drawing/2014/main" xmlns="" id="{9F272C1B-DE42-4AEA-B50D-9EA744EE8326}"/>
              </a:ext>
            </a:extLst>
          </p:cNvPr>
          <p:cNvSpPr/>
          <p:nvPr userDrawn="1"/>
        </p:nvSpPr>
        <p:spPr>
          <a:xfrm>
            <a:off x="11940000" y="1004735"/>
            <a:ext cx="252000" cy="57701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0" y="259243"/>
            <a:ext cx="121919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xmlns="" id="{94ADDBA1-BB9A-4C4D-96C4-07E1746CFFCE}"/>
              </a:ext>
            </a:extLst>
          </p:cNvPr>
          <p:cNvGrpSpPr/>
          <p:nvPr userDrawn="1"/>
        </p:nvGrpSpPr>
        <p:grpSpPr>
          <a:xfrm>
            <a:off x="10415614" y="758756"/>
            <a:ext cx="1344926" cy="246023"/>
            <a:chOff x="6916230" y="365408"/>
            <a:chExt cx="3673340" cy="671952"/>
          </a:xfrm>
          <a:solidFill>
            <a:schemeClr val="bg1">
              <a:alpha val="94000"/>
            </a:schemeClr>
          </a:solidFill>
        </p:grpSpPr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xmlns="" id="{81473206-7C42-4786-B140-605978C37B51}"/>
                </a:ext>
              </a:extLst>
            </p:cNvPr>
            <p:cNvSpPr/>
            <p:nvPr/>
          </p:nvSpPr>
          <p:spPr>
            <a:xfrm rot="1020000">
              <a:off x="8384147" y="408886"/>
              <a:ext cx="403282" cy="600493"/>
            </a:xfrm>
            <a:custGeom>
              <a:avLst/>
              <a:gdLst>
                <a:gd name="connsiteX0" fmla="*/ 370630 w 403282"/>
                <a:gd name="connsiteY0" fmla="*/ 493654 h 600493"/>
                <a:gd name="connsiteX1" fmla="*/ 383308 w 403282"/>
                <a:gd name="connsiteY1" fmla="*/ 495095 h 600493"/>
                <a:gd name="connsiteX2" fmla="*/ 402037 w 403282"/>
                <a:gd name="connsiteY2" fmla="*/ 508637 h 600493"/>
                <a:gd name="connsiteX3" fmla="*/ 395698 w 403282"/>
                <a:gd name="connsiteY3" fmla="*/ 532265 h 600493"/>
                <a:gd name="connsiteX4" fmla="*/ 377833 w 403282"/>
                <a:gd name="connsiteY4" fmla="*/ 541197 h 600493"/>
                <a:gd name="connsiteX5" fmla="*/ 306951 w 403282"/>
                <a:gd name="connsiteY5" fmla="*/ 562519 h 600493"/>
                <a:gd name="connsiteX6" fmla="*/ 261137 w 403282"/>
                <a:gd name="connsiteY6" fmla="*/ 575774 h 600493"/>
                <a:gd name="connsiteX7" fmla="*/ 186510 w 403282"/>
                <a:gd name="connsiteY7" fmla="*/ 597384 h 600493"/>
                <a:gd name="connsiteX8" fmla="*/ 165476 w 403282"/>
                <a:gd name="connsiteY8" fmla="*/ 600265 h 600493"/>
                <a:gd name="connsiteX9" fmla="*/ 146747 w 403282"/>
                <a:gd name="connsiteY9" fmla="*/ 584706 h 600493"/>
                <a:gd name="connsiteX10" fmla="*/ 153950 w 403282"/>
                <a:gd name="connsiteY10" fmla="*/ 562519 h 600493"/>
                <a:gd name="connsiteX11" fmla="*/ 162594 w 403282"/>
                <a:gd name="connsiteY11" fmla="*/ 556180 h 600493"/>
                <a:gd name="connsiteX12" fmla="*/ 172391 w 403282"/>
                <a:gd name="connsiteY12" fmla="*/ 524773 h 600493"/>
                <a:gd name="connsiteX13" fmla="*/ 164323 w 403282"/>
                <a:gd name="connsiteY13" fmla="*/ 507197 h 600493"/>
                <a:gd name="connsiteX14" fmla="*/ 151645 w 403282"/>
                <a:gd name="connsiteY14" fmla="*/ 463400 h 600493"/>
                <a:gd name="connsiteX15" fmla="*/ 87679 w 403282"/>
                <a:gd name="connsiteY15" fmla="*/ 246432 h 600493"/>
                <a:gd name="connsiteX16" fmla="*/ 54543 w 403282"/>
                <a:gd name="connsiteY16" fmla="*/ 132330 h 600493"/>
                <a:gd name="connsiteX17" fmla="*/ 32356 w 403282"/>
                <a:gd name="connsiteY17" fmla="*/ 112737 h 600493"/>
                <a:gd name="connsiteX18" fmla="*/ 20543 w 403282"/>
                <a:gd name="connsiteY18" fmla="*/ 110720 h 600493"/>
                <a:gd name="connsiteX19" fmla="*/ 373 w 403282"/>
                <a:gd name="connsiteY19" fmla="*/ 91991 h 600493"/>
                <a:gd name="connsiteX20" fmla="*/ 12475 w 403282"/>
                <a:gd name="connsiteY20" fmla="*/ 65482 h 600493"/>
                <a:gd name="connsiteX21" fmla="*/ 33509 w 403282"/>
                <a:gd name="connsiteY21" fmla="*/ 57414 h 600493"/>
                <a:gd name="connsiteX22" fmla="*/ 219357 w 403282"/>
                <a:gd name="connsiteY22" fmla="*/ 2956 h 600493"/>
                <a:gd name="connsiteX23" fmla="*/ 233188 w 403282"/>
                <a:gd name="connsiteY23" fmla="*/ 75 h 600493"/>
                <a:gd name="connsiteX24" fmla="*/ 242697 w 403282"/>
                <a:gd name="connsiteY24" fmla="*/ 1227 h 600493"/>
                <a:gd name="connsiteX25" fmla="*/ 261426 w 403282"/>
                <a:gd name="connsiteY25" fmla="*/ 19092 h 600493"/>
                <a:gd name="connsiteX26" fmla="*/ 253070 w 403282"/>
                <a:gd name="connsiteY26" fmla="*/ 43296 h 600493"/>
                <a:gd name="connsiteX27" fmla="*/ 239527 w 403282"/>
                <a:gd name="connsiteY27" fmla="*/ 92279 h 600493"/>
                <a:gd name="connsiteX28" fmla="*/ 295714 w 403282"/>
                <a:gd name="connsiteY28" fmla="*/ 283314 h 600493"/>
                <a:gd name="connsiteX29" fmla="*/ 298019 w 403282"/>
                <a:gd name="connsiteY29" fmla="*/ 300890 h 600493"/>
                <a:gd name="connsiteX30" fmla="*/ 333748 w 403282"/>
                <a:gd name="connsiteY30" fmla="*/ 422484 h 600493"/>
                <a:gd name="connsiteX31" fmla="*/ 347867 w 403282"/>
                <a:gd name="connsiteY31" fmla="*/ 461383 h 600493"/>
                <a:gd name="connsiteX32" fmla="*/ 370630 w 403282"/>
                <a:gd name="connsiteY32" fmla="*/ 493654 h 60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03282" h="600493">
                  <a:moveTo>
                    <a:pt x="370630" y="493654"/>
                  </a:moveTo>
                  <a:cubicBezTo>
                    <a:pt x="374952" y="494230"/>
                    <a:pt x="378986" y="494807"/>
                    <a:pt x="383308" y="495095"/>
                  </a:cubicBezTo>
                  <a:cubicBezTo>
                    <a:pt x="392528" y="495671"/>
                    <a:pt x="399443" y="499705"/>
                    <a:pt x="402037" y="508637"/>
                  </a:cubicBezTo>
                  <a:cubicBezTo>
                    <a:pt x="404630" y="517281"/>
                    <a:pt x="403477" y="525638"/>
                    <a:pt x="395698" y="532265"/>
                  </a:cubicBezTo>
                  <a:cubicBezTo>
                    <a:pt x="390511" y="536587"/>
                    <a:pt x="384460" y="539180"/>
                    <a:pt x="377833" y="541197"/>
                  </a:cubicBezTo>
                  <a:cubicBezTo>
                    <a:pt x="354206" y="548112"/>
                    <a:pt x="330579" y="555316"/>
                    <a:pt x="306951" y="562519"/>
                  </a:cubicBezTo>
                  <a:cubicBezTo>
                    <a:pt x="292832" y="571163"/>
                    <a:pt x="277561" y="575197"/>
                    <a:pt x="261137" y="575774"/>
                  </a:cubicBezTo>
                  <a:cubicBezTo>
                    <a:pt x="236358" y="582977"/>
                    <a:pt x="211290" y="590180"/>
                    <a:pt x="186510" y="597384"/>
                  </a:cubicBezTo>
                  <a:cubicBezTo>
                    <a:pt x="179594" y="599401"/>
                    <a:pt x="172967" y="601130"/>
                    <a:pt x="165476" y="600265"/>
                  </a:cubicBezTo>
                  <a:cubicBezTo>
                    <a:pt x="155967" y="599113"/>
                    <a:pt x="149628" y="594214"/>
                    <a:pt x="146747" y="584706"/>
                  </a:cubicBezTo>
                  <a:cubicBezTo>
                    <a:pt x="143577" y="575485"/>
                    <a:pt x="147323" y="568570"/>
                    <a:pt x="153950" y="562519"/>
                  </a:cubicBezTo>
                  <a:cubicBezTo>
                    <a:pt x="156543" y="560214"/>
                    <a:pt x="159713" y="558485"/>
                    <a:pt x="162594" y="556180"/>
                  </a:cubicBezTo>
                  <a:cubicBezTo>
                    <a:pt x="175849" y="546383"/>
                    <a:pt x="177001" y="541773"/>
                    <a:pt x="172391" y="524773"/>
                  </a:cubicBezTo>
                  <a:cubicBezTo>
                    <a:pt x="166628" y="520163"/>
                    <a:pt x="166340" y="513248"/>
                    <a:pt x="164323" y="507197"/>
                  </a:cubicBezTo>
                  <a:cubicBezTo>
                    <a:pt x="160001" y="492502"/>
                    <a:pt x="155103" y="478383"/>
                    <a:pt x="151645" y="463400"/>
                  </a:cubicBezTo>
                  <a:cubicBezTo>
                    <a:pt x="130035" y="391077"/>
                    <a:pt x="109289" y="318755"/>
                    <a:pt x="87679" y="246432"/>
                  </a:cubicBezTo>
                  <a:cubicBezTo>
                    <a:pt x="77018" y="208398"/>
                    <a:pt x="65492" y="170364"/>
                    <a:pt x="54543" y="132330"/>
                  </a:cubicBezTo>
                  <a:cubicBezTo>
                    <a:pt x="51085" y="120805"/>
                    <a:pt x="44746" y="113601"/>
                    <a:pt x="32356" y="112737"/>
                  </a:cubicBezTo>
                  <a:cubicBezTo>
                    <a:pt x="28322" y="112449"/>
                    <a:pt x="24577" y="111584"/>
                    <a:pt x="20543" y="110720"/>
                  </a:cubicBezTo>
                  <a:cubicBezTo>
                    <a:pt x="8729" y="108415"/>
                    <a:pt x="2102" y="102076"/>
                    <a:pt x="373" y="91991"/>
                  </a:cubicBezTo>
                  <a:cubicBezTo>
                    <a:pt x="-1356" y="81330"/>
                    <a:pt x="2966" y="71533"/>
                    <a:pt x="12475" y="65482"/>
                  </a:cubicBezTo>
                  <a:cubicBezTo>
                    <a:pt x="18814" y="61448"/>
                    <a:pt x="26305" y="59431"/>
                    <a:pt x="33509" y="57414"/>
                  </a:cubicBezTo>
                  <a:cubicBezTo>
                    <a:pt x="95458" y="38974"/>
                    <a:pt x="157408" y="21397"/>
                    <a:pt x="219357" y="2956"/>
                  </a:cubicBezTo>
                  <a:cubicBezTo>
                    <a:pt x="223968" y="1516"/>
                    <a:pt x="228578" y="363"/>
                    <a:pt x="233188" y="75"/>
                  </a:cubicBezTo>
                  <a:cubicBezTo>
                    <a:pt x="236358" y="-213"/>
                    <a:pt x="239527" y="363"/>
                    <a:pt x="242697" y="1227"/>
                  </a:cubicBezTo>
                  <a:cubicBezTo>
                    <a:pt x="252205" y="3533"/>
                    <a:pt x="258832" y="9295"/>
                    <a:pt x="261426" y="19092"/>
                  </a:cubicBezTo>
                  <a:cubicBezTo>
                    <a:pt x="264307" y="29177"/>
                    <a:pt x="261426" y="38397"/>
                    <a:pt x="253070" y="43296"/>
                  </a:cubicBezTo>
                  <a:cubicBezTo>
                    <a:pt x="232036" y="55685"/>
                    <a:pt x="233476" y="72109"/>
                    <a:pt x="239527" y="92279"/>
                  </a:cubicBezTo>
                  <a:cubicBezTo>
                    <a:pt x="258832" y="155669"/>
                    <a:pt x="276985" y="219636"/>
                    <a:pt x="295714" y="283314"/>
                  </a:cubicBezTo>
                  <a:cubicBezTo>
                    <a:pt x="297443" y="289077"/>
                    <a:pt x="298595" y="294839"/>
                    <a:pt x="298019" y="300890"/>
                  </a:cubicBezTo>
                  <a:cubicBezTo>
                    <a:pt x="309833" y="341518"/>
                    <a:pt x="321646" y="381857"/>
                    <a:pt x="333748" y="422484"/>
                  </a:cubicBezTo>
                  <a:cubicBezTo>
                    <a:pt x="340951" y="434586"/>
                    <a:pt x="344409" y="448129"/>
                    <a:pt x="347867" y="461383"/>
                  </a:cubicBezTo>
                  <a:cubicBezTo>
                    <a:pt x="351324" y="474925"/>
                    <a:pt x="356223" y="487315"/>
                    <a:pt x="370630" y="49365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xmlns="" id="{0836F97A-1633-4467-A2A3-20FC385DF45B}"/>
                </a:ext>
              </a:extLst>
            </p:cNvPr>
            <p:cNvSpPr/>
            <p:nvPr userDrawn="1"/>
          </p:nvSpPr>
          <p:spPr>
            <a:xfrm rot="1020000">
              <a:off x="9705320" y="428745"/>
              <a:ext cx="391436" cy="584760"/>
            </a:xfrm>
            <a:custGeom>
              <a:avLst/>
              <a:gdLst>
                <a:gd name="connsiteX0" fmla="*/ 167549 w 391436"/>
                <a:gd name="connsiteY0" fmla="*/ 584760 h 584760"/>
                <a:gd name="connsiteX1" fmla="*/ 143634 w 391436"/>
                <a:gd name="connsiteY1" fmla="*/ 569201 h 584760"/>
                <a:gd name="connsiteX2" fmla="*/ 154871 w 391436"/>
                <a:gd name="connsiteY2" fmla="*/ 544709 h 584760"/>
                <a:gd name="connsiteX3" fmla="*/ 158905 w 391436"/>
                <a:gd name="connsiteY3" fmla="*/ 542404 h 584760"/>
                <a:gd name="connsiteX4" fmla="*/ 175329 w 391436"/>
                <a:gd name="connsiteY4" fmla="*/ 500048 h 584760"/>
                <a:gd name="connsiteX5" fmla="*/ 69006 w 391436"/>
                <a:gd name="connsiteY5" fmla="*/ 137859 h 584760"/>
                <a:gd name="connsiteX6" fmla="*/ 65837 w 391436"/>
                <a:gd name="connsiteY6" fmla="*/ 127774 h 584760"/>
                <a:gd name="connsiteX7" fmla="*/ 27515 w 391436"/>
                <a:gd name="connsiteY7" fmla="*/ 102706 h 584760"/>
                <a:gd name="connsiteX8" fmla="*/ 718 w 391436"/>
                <a:gd name="connsiteY8" fmla="*/ 88011 h 584760"/>
                <a:gd name="connsiteX9" fmla="*/ 18582 w 391436"/>
                <a:gd name="connsiteY9" fmla="*/ 59774 h 584760"/>
                <a:gd name="connsiteX10" fmla="*/ 123176 w 391436"/>
                <a:gd name="connsiteY10" fmla="*/ 22316 h 584760"/>
                <a:gd name="connsiteX11" fmla="*/ 182244 w 391436"/>
                <a:gd name="connsiteY11" fmla="*/ 1570 h 584760"/>
                <a:gd name="connsiteX12" fmla="*/ 194922 w 391436"/>
                <a:gd name="connsiteY12" fmla="*/ 7621 h 584760"/>
                <a:gd name="connsiteX13" fmla="*/ 277906 w 391436"/>
                <a:gd name="connsiteY13" fmla="*/ 291724 h 584760"/>
                <a:gd name="connsiteX14" fmla="*/ 327754 w 391436"/>
                <a:gd name="connsiteY14" fmla="*/ 460861 h 584760"/>
                <a:gd name="connsiteX15" fmla="*/ 357143 w 391436"/>
                <a:gd name="connsiteY15" fmla="*/ 483048 h 584760"/>
                <a:gd name="connsiteX16" fmla="*/ 371262 w 391436"/>
                <a:gd name="connsiteY16" fmla="*/ 482760 h 584760"/>
                <a:gd name="connsiteX17" fmla="*/ 389127 w 391436"/>
                <a:gd name="connsiteY17" fmla="*/ 494285 h 584760"/>
                <a:gd name="connsiteX18" fmla="*/ 385669 w 391436"/>
                <a:gd name="connsiteY18" fmla="*/ 517336 h 584760"/>
                <a:gd name="connsiteX19" fmla="*/ 368381 w 391436"/>
                <a:gd name="connsiteY19" fmla="*/ 527421 h 584760"/>
                <a:gd name="connsiteX20" fmla="*/ 178787 w 391436"/>
                <a:gd name="connsiteY20" fmla="*/ 583031 h 584760"/>
                <a:gd name="connsiteX21" fmla="*/ 167549 w 391436"/>
                <a:gd name="connsiteY21" fmla="*/ 584760 h 58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91436" h="584760">
                  <a:moveTo>
                    <a:pt x="167549" y="584760"/>
                  </a:moveTo>
                  <a:cubicBezTo>
                    <a:pt x="155447" y="584472"/>
                    <a:pt x="146803" y="580438"/>
                    <a:pt x="143634" y="569201"/>
                  </a:cubicBezTo>
                  <a:cubicBezTo>
                    <a:pt x="140464" y="557963"/>
                    <a:pt x="144786" y="549896"/>
                    <a:pt x="154871" y="544709"/>
                  </a:cubicBezTo>
                  <a:cubicBezTo>
                    <a:pt x="156312" y="544133"/>
                    <a:pt x="157753" y="543268"/>
                    <a:pt x="158905" y="542404"/>
                  </a:cubicBezTo>
                  <a:cubicBezTo>
                    <a:pt x="181380" y="528573"/>
                    <a:pt x="182820" y="525116"/>
                    <a:pt x="175329" y="500048"/>
                  </a:cubicBezTo>
                  <a:cubicBezTo>
                    <a:pt x="139888" y="379318"/>
                    <a:pt x="104447" y="258589"/>
                    <a:pt x="69006" y="137859"/>
                  </a:cubicBezTo>
                  <a:cubicBezTo>
                    <a:pt x="68142" y="134402"/>
                    <a:pt x="66989" y="130944"/>
                    <a:pt x="65837" y="127774"/>
                  </a:cubicBezTo>
                  <a:cubicBezTo>
                    <a:pt x="56904" y="102418"/>
                    <a:pt x="54311" y="100689"/>
                    <a:pt x="27515" y="102706"/>
                  </a:cubicBezTo>
                  <a:cubicBezTo>
                    <a:pt x="10226" y="103859"/>
                    <a:pt x="3887" y="100401"/>
                    <a:pt x="718" y="88011"/>
                  </a:cubicBezTo>
                  <a:cubicBezTo>
                    <a:pt x="-2164" y="76198"/>
                    <a:pt x="3599" y="65537"/>
                    <a:pt x="18582" y="59774"/>
                  </a:cubicBezTo>
                  <a:cubicBezTo>
                    <a:pt x="53159" y="46808"/>
                    <a:pt x="88312" y="34706"/>
                    <a:pt x="123176" y="22316"/>
                  </a:cubicBezTo>
                  <a:cubicBezTo>
                    <a:pt x="142770" y="15401"/>
                    <a:pt x="162939" y="8774"/>
                    <a:pt x="182244" y="1570"/>
                  </a:cubicBezTo>
                  <a:cubicBezTo>
                    <a:pt x="189736" y="-1311"/>
                    <a:pt x="192617" y="-735"/>
                    <a:pt x="194922" y="7621"/>
                  </a:cubicBezTo>
                  <a:cubicBezTo>
                    <a:pt x="222295" y="102418"/>
                    <a:pt x="250245" y="196927"/>
                    <a:pt x="277906" y="291724"/>
                  </a:cubicBezTo>
                  <a:cubicBezTo>
                    <a:pt x="294330" y="348199"/>
                    <a:pt x="311042" y="404386"/>
                    <a:pt x="327754" y="460861"/>
                  </a:cubicBezTo>
                  <a:cubicBezTo>
                    <a:pt x="333228" y="479590"/>
                    <a:pt x="337262" y="482760"/>
                    <a:pt x="357143" y="483048"/>
                  </a:cubicBezTo>
                  <a:cubicBezTo>
                    <a:pt x="361754" y="483048"/>
                    <a:pt x="366652" y="482760"/>
                    <a:pt x="371262" y="482760"/>
                  </a:cubicBezTo>
                  <a:cubicBezTo>
                    <a:pt x="379906" y="482471"/>
                    <a:pt x="385669" y="486505"/>
                    <a:pt x="389127" y="494285"/>
                  </a:cubicBezTo>
                  <a:cubicBezTo>
                    <a:pt x="392873" y="502641"/>
                    <a:pt x="392296" y="510421"/>
                    <a:pt x="385669" y="517336"/>
                  </a:cubicBezTo>
                  <a:cubicBezTo>
                    <a:pt x="380771" y="522234"/>
                    <a:pt x="374720" y="525404"/>
                    <a:pt x="368381" y="527421"/>
                  </a:cubicBezTo>
                  <a:cubicBezTo>
                    <a:pt x="305279" y="546150"/>
                    <a:pt x="241889" y="564591"/>
                    <a:pt x="178787" y="583031"/>
                  </a:cubicBezTo>
                  <a:cubicBezTo>
                    <a:pt x="175041" y="583896"/>
                    <a:pt x="170719" y="584184"/>
                    <a:pt x="167549" y="5847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xmlns="" id="{9B6E309C-AEC2-4925-B91D-98DDA2ACEA5E}"/>
                </a:ext>
              </a:extLst>
            </p:cNvPr>
            <p:cNvSpPr/>
            <p:nvPr/>
          </p:nvSpPr>
          <p:spPr>
            <a:xfrm rot="1020000">
              <a:off x="8699841" y="425712"/>
              <a:ext cx="573136" cy="611648"/>
            </a:xfrm>
            <a:custGeom>
              <a:avLst/>
              <a:gdLst>
                <a:gd name="connsiteX0" fmla="*/ 255772 w 573136"/>
                <a:gd name="connsiteY0" fmla="*/ 7712 h 611648"/>
                <a:gd name="connsiteX1" fmla="*/ 475333 w 573136"/>
                <a:gd name="connsiteY1" fmla="*/ 71679 h 611648"/>
                <a:gd name="connsiteX2" fmla="*/ 572723 w 573136"/>
                <a:gd name="connsiteY2" fmla="*/ 301612 h 611648"/>
                <a:gd name="connsiteX3" fmla="*/ 423756 w 573136"/>
                <a:gd name="connsiteY3" fmla="*/ 538173 h 611648"/>
                <a:gd name="connsiteX4" fmla="*/ 416553 w 573136"/>
                <a:gd name="connsiteY4" fmla="*/ 541919 h 611648"/>
                <a:gd name="connsiteX5" fmla="*/ 396095 w 573136"/>
                <a:gd name="connsiteY5" fmla="*/ 536732 h 611648"/>
                <a:gd name="connsiteX6" fmla="*/ 392061 w 573136"/>
                <a:gd name="connsiteY6" fmla="*/ 524343 h 611648"/>
                <a:gd name="connsiteX7" fmla="*/ 402722 w 573136"/>
                <a:gd name="connsiteY7" fmla="*/ 492359 h 611648"/>
                <a:gd name="connsiteX8" fmla="*/ 417129 w 573136"/>
                <a:gd name="connsiteY8" fmla="*/ 446834 h 611648"/>
                <a:gd name="connsiteX9" fmla="*/ 394366 w 573136"/>
                <a:gd name="connsiteY9" fmla="*/ 362121 h 611648"/>
                <a:gd name="connsiteX10" fmla="*/ 318010 w 573136"/>
                <a:gd name="connsiteY10" fmla="*/ 103662 h 611648"/>
                <a:gd name="connsiteX11" fmla="*/ 296399 w 573136"/>
                <a:gd name="connsiteY11" fmla="*/ 66204 h 611648"/>
                <a:gd name="connsiteX12" fmla="*/ 270755 w 573136"/>
                <a:gd name="connsiteY12" fmla="*/ 55831 h 611648"/>
                <a:gd name="connsiteX13" fmla="*/ 254619 w 573136"/>
                <a:gd name="connsiteY13" fmla="*/ 45746 h 611648"/>
                <a:gd name="connsiteX14" fmla="*/ 247992 w 573136"/>
                <a:gd name="connsiteY14" fmla="*/ 21831 h 611648"/>
                <a:gd name="connsiteX15" fmla="*/ 255772 w 573136"/>
                <a:gd name="connsiteY15" fmla="*/ 7712 h 611648"/>
                <a:gd name="connsiteX16" fmla="*/ 50907 w 573136"/>
                <a:gd name="connsiteY16" fmla="*/ 64474 h 611648"/>
                <a:gd name="connsiteX17" fmla="*/ 150026 w 573136"/>
                <a:gd name="connsiteY17" fmla="*/ 35662 h 611648"/>
                <a:gd name="connsiteX18" fmla="*/ 188925 w 573136"/>
                <a:gd name="connsiteY18" fmla="*/ 27306 h 611648"/>
                <a:gd name="connsiteX19" fmla="*/ 200162 w 573136"/>
                <a:gd name="connsiteY19" fmla="*/ 24136 h 611648"/>
                <a:gd name="connsiteX20" fmla="*/ 217451 w 573136"/>
                <a:gd name="connsiteY20" fmla="*/ 33356 h 611648"/>
                <a:gd name="connsiteX21" fmla="*/ 227824 w 573136"/>
                <a:gd name="connsiteY21" fmla="*/ 58135 h 611648"/>
                <a:gd name="connsiteX22" fmla="*/ 245688 w 573136"/>
                <a:gd name="connsiteY22" fmla="*/ 118357 h 611648"/>
                <a:gd name="connsiteX23" fmla="*/ 256061 w 573136"/>
                <a:gd name="connsiteY23" fmla="*/ 153798 h 611648"/>
                <a:gd name="connsiteX24" fmla="*/ 270468 w 573136"/>
                <a:gd name="connsiteY24" fmla="*/ 203934 h 611648"/>
                <a:gd name="connsiteX25" fmla="*/ 343654 w 573136"/>
                <a:gd name="connsiteY25" fmla="*/ 453749 h 611648"/>
                <a:gd name="connsiteX26" fmla="*/ 369299 w 573136"/>
                <a:gd name="connsiteY26" fmla="*/ 541343 h 611648"/>
                <a:gd name="connsiteX27" fmla="*/ 358638 w 573136"/>
                <a:gd name="connsiteY27" fmla="*/ 562377 h 611648"/>
                <a:gd name="connsiteX28" fmla="*/ 287179 w 573136"/>
                <a:gd name="connsiteY28" fmla="*/ 583699 h 611648"/>
                <a:gd name="connsiteX29" fmla="*/ 273061 w 573136"/>
                <a:gd name="connsiteY29" fmla="*/ 584274 h 611648"/>
                <a:gd name="connsiteX30" fmla="*/ 191230 w 573136"/>
                <a:gd name="connsiteY30" fmla="*/ 607614 h 611648"/>
                <a:gd name="connsiteX31" fmla="*/ 167891 w 573136"/>
                <a:gd name="connsiteY31" fmla="*/ 611648 h 611648"/>
                <a:gd name="connsiteX32" fmla="*/ 148874 w 573136"/>
                <a:gd name="connsiteY32" fmla="*/ 598394 h 611648"/>
                <a:gd name="connsiteX33" fmla="*/ 153484 w 573136"/>
                <a:gd name="connsiteY33" fmla="*/ 575343 h 611648"/>
                <a:gd name="connsiteX34" fmla="*/ 155213 w 573136"/>
                <a:gd name="connsiteY34" fmla="*/ 573902 h 611648"/>
                <a:gd name="connsiteX35" fmla="*/ 169908 w 573136"/>
                <a:gd name="connsiteY35" fmla="*/ 522326 h 611648"/>
                <a:gd name="connsiteX36" fmla="*/ 152332 w 573136"/>
                <a:gd name="connsiteY36" fmla="*/ 466139 h 611648"/>
                <a:gd name="connsiteX37" fmla="*/ 132738 w 573136"/>
                <a:gd name="connsiteY37" fmla="*/ 408223 h 611648"/>
                <a:gd name="connsiteX38" fmla="*/ 111992 w 573136"/>
                <a:gd name="connsiteY38" fmla="*/ 337917 h 611648"/>
                <a:gd name="connsiteX39" fmla="*/ 83467 w 573136"/>
                <a:gd name="connsiteY39" fmla="*/ 240238 h 611648"/>
                <a:gd name="connsiteX40" fmla="*/ 55517 w 573136"/>
                <a:gd name="connsiteY40" fmla="*/ 144577 h 611648"/>
                <a:gd name="connsiteX41" fmla="*/ 29297 w 573136"/>
                <a:gd name="connsiteY41" fmla="*/ 124119 h 611648"/>
                <a:gd name="connsiteX42" fmla="*/ 23534 w 573136"/>
                <a:gd name="connsiteY42" fmla="*/ 123543 h 611648"/>
                <a:gd name="connsiteX43" fmla="*/ 195 w 573136"/>
                <a:gd name="connsiteY43" fmla="*/ 101645 h 611648"/>
                <a:gd name="connsiteX44" fmla="*/ 17195 w 573136"/>
                <a:gd name="connsiteY44" fmla="*/ 75713 h 611648"/>
                <a:gd name="connsiteX45" fmla="*/ 50907 w 573136"/>
                <a:gd name="connsiteY45" fmla="*/ 64474 h 6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3136" h="611648">
                  <a:moveTo>
                    <a:pt x="255772" y="7712"/>
                  </a:moveTo>
                  <a:cubicBezTo>
                    <a:pt x="341349" y="-12746"/>
                    <a:pt x="415688" y="7136"/>
                    <a:pt x="475333" y="71679"/>
                  </a:cubicBezTo>
                  <a:cubicBezTo>
                    <a:pt x="534977" y="136221"/>
                    <a:pt x="567537" y="214019"/>
                    <a:pt x="572723" y="301612"/>
                  </a:cubicBezTo>
                  <a:cubicBezTo>
                    <a:pt x="578774" y="403613"/>
                    <a:pt x="517977" y="498698"/>
                    <a:pt x="423756" y="538173"/>
                  </a:cubicBezTo>
                  <a:cubicBezTo>
                    <a:pt x="421163" y="539326"/>
                    <a:pt x="418858" y="540766"/>
                    <a:pt x="416553" y="541919"/>
                  </a:cubicBezTo>
                  <a:cubicBezTo>
                    <a:pt x="406468" y="549410"/>
                    <a:pt x="400705" y="547970"/>
                    <a:pt x="396095" y="536732"/>
                  </a:cubicBezTo>
                  <a:cubicBezTo>
                    <a:pt x="394366" y="532698"/>
                    <a:pt x="393214" y="528665"/>
                    <a:pt x="392061" y="524343"/>
                  </a:cubicBezTo>
                  <a:cubicBezTo>
                    <a:pt x="386587" y="504461"/>
                    <a:pt x="386587" y="504461"/>
                    <a:pt x="402722" y="492359"/>
                  </a:cubicBezTo>
                  <a:cubicBezTo>
                    <a:pt x="415976" y="479969"/>
                    <a:pt x="419722" y="464122"/>
                    <a:pt x="417129" y="446834"/>
                  </a:cubicBezTo>
                  <a:cubicBezTo>
                    <a:pt x="412807" y="417732"/>
                    <a:pt x="402722" y="390070"/>
                    <a:pt x="394366" y="362121"/>
                  </a:cubicBezTo>
                  <a:cubicBezTo>
                    <a:pt x="369010" y="275968"/>
                    <a:pt x="344518" y="189527"/>
                    <a:pt x="318010" y="103662"/>
                  </a:cubicBezTo>
                  <a:cubicBezTo>
                    <a:pt x="313688" y="89543"/>
                    <a:pt x="307925" y="76289"/>
                    <a:pt x="296399" y="66204"/>
                  </a:cubicBezTo>
                  <a:cubicBezTo>
                    <a:pt x="288908" y="59577"/>
                    <a:pt x="280840" y="55543"/>
                    <a:pt x="270755" y="55831"/>
                  </a:cubicBezTo>
                  <a:cubicBezTo>
                    <a:pt x="263840" y="54967"/>
                    <a:pt x="254908" y="57272"/>
                    <a:pt x="254619" y="45746"/>
                  </a:cubicBezTo>
                  <a:cubicBezTo>
                    <a:pt x="252603" y="37678"/>
                    <a:pt x="251162" y="29611"/>
                    <a:pt x="247992" y="21831"/>
                  </a:cubicBezTo>
                  <a:cubicBezTo>
                    <a:pt x="244535" y="12899"/>
                    <a:pt x="246840" y="9729"/>
                    <a:pt x="255772" y="7712"/>
                  </a:cubicBezTo>
                  <a:close/>
                  <a:moveTo>
                    <a:pt x="50907" y="64474"/>
                  </a:moveTo>
                  <a:cubicBezTo>
                    <a:pt x="84043" y="54966"/>
                    <a:pt x="116891" y="45169"/>
                    <a:pt x="150026" y="35662"/>
                  </a:cubicBezTo>
                  <a:cubicBezTo>
                    <a:pt x="162993" y="32492"/>
                    <a:pt x="175094" y="25865"/>
                    <a:pt x="188925" y="27306"/>
                  </a:cubicBezTo>
                  <a:cubicBezTo>
                    <a:pt x="192671" y="26152"/>
                    <a:pt x="196705" y="25576"/>
                    <a:pt x="200162" y="24136"/>
                  </a:cubicBezTo>
                  <a:cubicBezTo>
                    <a:pt x="210247" y="19526"/>
                    <a:pt x="216298" y="21831"/>
                    <a:pt x="217451" y="33356"/>
                  </a:cubicBezTo>
                  <a:cubicBezTo>
                    <a:pt x="224366" y="39984"/>
                    <a:pt x="225230" y="49492"/>
                    <a:pt x="227824" y="58135"/>
                  </a:cubicBezTo>
                  <a:cubicBezTo>
                    <a:pt x="233586" y="78305"/>
                    <a:pt x="239925" y="98187"/>
                    <a:pt x="245688" y="118357"/>
                  </a:cubicBezTo>
                  <a:cubicBezTo>
                    <a:pt x="248570" y="130459"/>
                    <a:pt x="252892" y="141695"/>
                    <a:pt x="256061" y="153798"/>
                  </a:cubicBezTo>
                  <a:cubicBezTo>
                    <a:pt x="260383" y="170510"/>
                    <a:pt x="266146" y="187222"/>
                    <a:pt x="270468" y="203934"/>
                  </a:cubicBezTo>
                  <a:cubicBezTo>
                    <a:pt x="295248" y="287206"/>
                    <a:pt x="319450" y="370477"/>
                    <a:pt x="343654" y="453749"/>
                  </a:cubicBezTo>
                  <a:cubicBezTo>
                    <a:pt x="352587" y="482850"/>
                    <a:pt x="360654" y="511953"/>
                    <a:pt x="369299" y="541343"/>
                  </a:cubicBezTo>
                  <a:cubicBezTo>
                    <a:pt x="373333" y="555461"/>
                    <a:pt x="371892" y="558343"/>
                    <a:pt x="358638" y="562377"/>
                  </a:cubicBezTo>
                  <a:cubicBezTo>
                    <a:pt x="335011" y="569868"/>
                    <a:pt x="310807" y="576496"/>
                    <a:pt x="287179" y="583699"/>
                  </a:cubicBezTo>
                  <a:cubicBezTo>
                    <a:pt x="282570" y="584563"/>
                    <a:pt x="277960" y="585715"/>
                    <a:pt x="273061" y="584274"/>
                  </a:cubicBezTo>
                  <a:cubicBezTo>
                    <a:pt x="245688" y="592055"/>
                    <a:pt x="218603" y="599835"/>
                    <a:pt x="191230" y="607614"/>
                  </a:cubicBezTo>
                  <a:cubicBezTo>
                    <a:pt x="183739" y="609919"/>
                    <a:pt x="175959" y="611647"/>
                    <a:pt x="167891" y="611648"/>
                  </a:cubicBezTo>
                  <a:cubicBezTo>
                    <a:pt x="158383" y="611647"/>
                    <a:pt x="152042" y="607326"/>
                    <a:pt x="148874" y="598394"/>
                  </a:cubicBezTo>
                  <a:cubicBezTo>
                    <a:pt x="145704" y="590038"/>
                    <a:pt x="146857" y="581970"/>
                    <a:pt x="153484" y="575343"/>
                  </a:cubicBezTo>
                  <a:cubicBezTo>
                    <a:pt x="154060" y="574766"/>
                    <a:pt x="154637" y="574190"/>
                    <a:pt x="155213" y="573902"/>
                  </a:cubicBezTo>
                  <a:cubicBezTo>
                    <a:pt x="179705" y="562088"/>
                    <a:pt x="178264" y="543936"/>
                    <a:pt x="169908" y="522326"/>
                  </a:cubicBezTo>
                  <a:cubicBezTo>
                    <a:pt x="162993" y="503885"/>
                    <a:pt x="158094" y="484868"/>
                    <a:pt x="152332" y="466139"/>
                  </a:cubicBezTo>
                  <a:cubicBezTo>
                    <a:pt x="141382" y="448273"/>
                    <a:pt x="139077" y="427527"/>
                    <a:pt x="132738" y="408223"/>
                  </a:cubicBezTo>
                  <a:cubicBezTo>
                    <a:pt x="125247" y="384884"/>
                    <a:pt x="118908" y="361257"/>
                    <a:pt x="111992" y="337917"/>
                  </a:cubicBezTo>
                  <a:cubicBezTo>
                    <a:pt x="102772" y="305358"/>
                    <a:pt x="93263" y="272799"/>
                    <a:pt x="83467" y="240238"/>
                  </a:cubicBezTo>
                  <a:cubicBezTo>
                    <a:pt x="74534" y="208256"/>
                    <a:pt x="64738" y="176560"/>
                    <a:pt x="55517" y="144577"/>
                  </a:cubicBezTo>
                  <a:cubicBezTo>
                    <a:pt x="51772" y="131322"/>
                    <a:pt x="43992" y="123255"/>
                    <a:pt x="29297" y="124119"/>
                  </a:cubicBezTo>
                  <a:cubicBezTo>
                    <a:pt x="27280" y="124119"/>
                    <a:pt x="25263" y="123832"/>
                    <a:pt x="23534" y="123543"/>
                  </a:cubicBezTo>
                  <a:cubicBezTo>
                    <a:pt x="10280" y="120950"/>
                    <a:pt x="1924" y="113170"/>
                    <a:pt x="195" y="101645"/>
                  </a:cubicBezTo>
                  <a:cubicBezTo>
                    <a:pt x="-1246" y="91559"/>
                    <a:pt x="5381" y="81187"/>
                    <a:pt x="17195" y="75713"/>
                  </a:cubicBezTo>
                  <a:cubicBezTo>
                    <a:pt x="27856" y="70526"/>
                    <a:pt x="39670" y="67645"/>
                    <a:pt x="50907" y="6447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xmlns="" id="{C4F4EFB9-8BCE-4517-9C09-BBB033B96801}"/>
                </a:ext>
              </a:extLst>
            </p:cNvPr>
            <p:cNvSpPr/>
            <p:nvPr/>
          </p:nvSpPr>
          <p:spPr>
            <a:xfrm rot="1020000">
              <a:off x="9339897" y="633711"/>
              <a:ext cx="279964" cy="180525"/>
            </a:xfrm>
            <a:custGeom>
              <a:avLst/>
              <a:gdLst>
                <a:gd name="connsiteX0" fmla="*/ 34527 w 279964"/>
                <a:gd name="connsiteY0" fmla="*/ 180221 h 180525"/>
                <a:gd name="connsiteX1" fmla="*/ 29341 w 279964"/>
                <a:gd name="connsiteY1" fmla="*/ 175611 h 180525"/>
                <a:gd name="connsiteX2" fmla="*/ 527 w 279964"/>
                <a:gd name="connsiteY2" fmla="*/ 78220 h 180525"/>
                <a:gd name="connsiteX3" fmla="*/ 8019 w 279964"/>
                <a:gd name="connsiteY3" fmla="*/ 69576 h 180525"/>
                <a:gd name="connsiteX4" fmla="*/ 203087 w 279964"/>
                <a:gd name="connsiteY4" fmla="*/ 12237 h 180525"/>
                <a:gd name="connsiteX5" fmla="*/ 240545 w 279964"/>
                <a:gd name="connsiteY5" fmla="*/ 999 h 180525"/>
                <a:gd name="connsiteX6" fmla="*/ 252071 w 279964"/>
                <a:gd name="connsiteY6" fmla="*/ 7050 h 180525"/>
                <a:gd name="connsiteX7" fmla="*/ 278868 w 279964"/>
                <a:gd name="connsiteY7" fmla="*/ 98966 h 180525"/>
                <a:gd name="connsiteX8" fmla="*/ 273681 w 279964"/>
                <a:gd name="connsiteY8" fmla="*/ 109915 h 180525"/>
                <a:gd name="connsiteX9" fmla="*/ 37697 w 279964"/>
                <a:gd name="connsiteY9" fmla="*/ 178780 h 180525"/>
                <a:gd name="connsiteX10" fmla="*/ 34527 w 279964"/>
                <a:gd name="connsiteY10" fmla="*/ 180221 h 18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9964" h="180525">
                  <a:moveTo>
                    <a:pt x="34527" y="180221"/>
                  </a:moveTo>
                  <a:cubicBezTo>
                    <a:pt x="29917" y="181662"/>
                    <a:pt x="30205" y="177628"/>
                    <a:pt x="29341" y="175611"/>
                  </a:cubicBezTo>
                  <a:cubicBezTo>
                    <a:pt x="19544" y="143051"/>
                    <a:pt x="10323" y="110492"/>
                    <a:pt x="527" y="78220"/>
                  </a:cubicBezTo>
                  <a:cubicBezTo>
                    <a:pt x="-1778" y="70152"/>
                    <a:pt x="3985" y="70729"/>
                    <a:pt x="8019" y="69576"/>
                  </a:cubicBezTo>
                  <a:cubicBezTo>
                    <a:pt x="73138" y="50271"/>
                    <a:pt x="137968" y="31542"/>
                    <a:pt x="203087" y="12237"/>
                  </a:cubicBezTo>
                  <a:cubicBezTo>
                    <a:pt x="215478" y="8491"/>
                    <a:pt x="228156" y="5033"/>
                    <a:pt x="240545" y="999"/>
                  </a:cubicBezTo>
                  <a:cubicBezTo>
                    <a:pt x="246885" y="-1018"/>
                    <a:pt x="250054" y="-441"/>
                    <a:pt x="252071" y="7050"/>
                  </a:cubicBezTo>
                  <a:cubicBezTo>
                    <a:pt x="260427" y="37881"/>
                    <a:pt x="269647" y="68424"/>
                    <a:pt x="278868" y="98966"/>
                  </a:cubicBezTo>
                  <a:cubicBezTo>
                    <a:pt x="280596" y="104729"/>
                    <a:pt x="281173" y="107898"/>
                    <a:pt x="273681" y="109915"/>
                  </a:cubicBezTo>
                  <a:cubicBezTo>
                    <a:pt x="195020" y="132678"/>
                    <a:pt x="116358" y="155729"/>
                    <a:pt x="37697" y="178780"/>
                  </a:cubicBezTo>
                  <a:cubicBezTo>
                    <a:pt x="36544" y="179068"/>
                    <a:pt x="35392" y="179645"/>
                    <a:pt x="34527" y="180221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xmlns="" id="{273259F1-A5E6-4346-BC1B-CFDE8F987453}"/>
                </a:ext>
              </a:extLst>
            </p:cNvPr>
            <p:cNvSpPr/>
            <p:nvPr/>
          </p:nvSpPr>
          <p:spPr>
            <a:xfrm rot="1020000">
              <a:off x="10118028" y="422365"/>
              <a:ext cx="471542" cy="578663"/>
            </a:xfrm>
            <a:custGeom>
              <a:avLst/>
              <a:gdLst>
                <a:gd name="connsiteX0" fmla="*/ 175480 w 471542"/>
                <a:gd name="connsiteY0" fmla="*/ 400270 h 578663"/>
                <a:gd name="connsiteX1" fmla="*/ 245930 w 471542"/>
                <a:gd name="connsiteY1" fmla="*/ 416442 h 578663"/>
                <a:gd name="connsiteX2" fmla="*/ 262642 w 471542"/>
                <a:gd name="connsiteY2" fmla="*/ 482713 h 578663"/>
                <a:gd name="connsiteX3" fmla="*/ 256879 w 471542"/>
                <a:gd name="connsiteY3" fmla="*/ 496832 h 578663"/>
                <a:gd name="connsiteX4" fmla="*/ 281947 w 471542"/>
                <a:gd name="connsiteY4" fmla="*/ 530256 h 578663"/>
                <a:gd name="connsiteX5" fmla="*/ 296642 w 471542"/>
                <a:gd name="connsiteY5" fmla="*/ 540629 h 578663"/>
                <a:gd name="connsiteX6" fmla="*/ 300100 w 471542"/>
                <a:gd name="connsiteY6" fmla="*/ 553307 h 578663"/>
                <a:gd name="connsiteX7" fmla="*/ 286557 w 471542"/>
                <a:gd name="connsiteY7" fmla="*/ 575494 h 578663"/>
                <a:gd name="connsiteX8" fmla="*/ 255727 w 471542"/>
                <a:gd name="connsiteY8" fmla="*/ 578663 h 578663"/>
                <a:gd name="connsiteX9" fmla="*/ 159489 w 471542"/>
                <a:gd name="connsiteY9" fmla="*/ 552443 h 578663"/>
                <a:gd name="connsiteX10" fmla="*/ 120590 w 471542"/>
                <a:gd name="connsiteY10" fmla="*/ 450442 h 578663"/>
                <a:gd name="connsiteX11" fmla="*/ 175480 w 471542"/>
                <a:gd name="connsiteY11" fmla="*/ 400270 h 578663"/>
                <a:gd name="connsiteX12" fmla="*/ 183980 w 471542"/>
                <a:gd name="connsiteY12" fmla="*/ 2964 h 578663"/>
                <a:gd name="connsiteX13" fmla="*/ 305286 w 471542"/>
                <a:gd name="connsiteY13" fmla="*/ 23422 h 578663"/>
                <a:gd name="connsiteX14" fmla="*/ 427457 w 471542"/>
                <a:gd name="connsiteY14" fmla="*/ 155389 h 578663"/>
                <a:gd name="connsiteX15" fmla="*/ 471542 w 471542"/>
                <a:gd name="connsiteY15" fmla="*/ 341525 h 578663"/>
                <a:gd name="connsiteX16" fmla="*/ 420254 w 471542"/>
                <a:gd name="connsiteY16" fmla="*/ 502594 h 578663"/>
                <a:gd name="connsiteX17" fmla="*/ 345626 w 471542"/>
                <a:gd name="connsiteY17" fmla="*/ 559357 h 578663"/>
                <a:gd name="connsiteX18" fmla="*/ 334389 w 471542"/>
                <a:gd name="connsiteY18" fmla="*/ 553883 h 578663"/>
                <a:gd name="connsiteX19" fmla="*/ 331507 w 471542"/>
                <a:gd name="connsiteY19" fmla="*/ 543510 h 578663"/>
                <a:gd name="connsiteX20" fmla="*/ 338998 w 471542"/>
                <a:gd name="connsiteY20" fmla="*/ 508069 h 578663"/>
                <a:gd name="connsiteX21" fmla="*/ 349948 w 471542"/>
                <a:gd name="connsiteY21" fmla="*/ 462255 h 578663"/>
                <a:gd name="connsiteX22" fmla="*/ 308455 w 471542"/>
                <a:gd name="connsiteY22" fmla="*/ 316746 h 578663"/>
                <a:gd name="connsiteX23" fmla="*/ 244489 w 471542"/>
                <a:gd name="connsiteY23" fmla="*/ 98626 h 578663"/>
                <a:gd name="connsiteX24" fmla="*/ 234117 w 471542"/>
                <a:gd name="connsiteY24" fmla="*/ 72405 h 578663"/>
                <a:gd name="connsiteX25" fmla="*/ 192913 w 471542"/>
                <a:gd name="connsiteY25" fmla="*/ 47049 h 578663"/>
                <a:gd name="connsiteX26" fmla="*/ 184269 w 471542"/>
                <a:gd name="connsiteY26" fmla="*/ 40422 h 578663"/>
                <a:gd name="connsiteX27" fmla="*/ 176778 w 471542"/>
                <a:gd name="connsiteY27" fmla="*/ 15354 h 578663"/>
                <a:gd name="connsiteX28" fmla="*/ 183980 w 471542"/>
                <a:gd name="connsiteY28" fmla="*/ 2964 h 578663"/>
                <a:gd name="connsiteX29" fmla="*/ 131826 w 471542"/>
                <a:gd name="connsiteY29" fmla="*/ 17660 h 578663"/>
                <a:gd name="connsiteX30" fmla="*/ 145082 w 471542"/>
                <a:gd name="connsiteY30" fmla="*/ 25152 h 578663"/>
                <a:gd name="connsiteX31" fmla="*/ 148827 w 471542"/>
                <a:gd name="connsiteY31" fmla="*/ 37542 h 578663"/>
                <a:gd name="connsiteX32" fmla="*/ 142199 w 471542"/>
                <a:gd name="connsiteY32" fmla="*/ 67220 h 578663"/>
                <a:gd name="connsiteX33" fmla="*/ 135573 w 471542"/>
                <a:gd name="connsiteY33" fmla="*/ 92000 h 578663"/>
                <a:gd name="connsiteX34" fmla="*/ 183404 w 471542"/>
                <a:gd name="connsiteY34" fmla="*/ 254221 h 578663"/>
                <a:gd name="connsiteX35" fmla="*/ 237861 w 471542"/>
                <a:gd name="connsiteY35" fmla="*/ 268628 h 578663"/>
                <a:gd name="connsiteX36" fmla="*/ 246505 w 471542"/>
                <a:gd name="connsiteY36" fmla="*/ 258543 h 578663"/>
                <a:gd name="connsiteX37" fmla="*/ 258319 w 471542"/>
                <a:gd name="connsiteY37" fmla="*/ 297154 h 578663"/>
                <a:gd name="connsiteX38" fmla="*/ 256014 w 471542"/>
                <a:gd name="connsiteY38" fmla="*/ 305798 h 578663"/>
                <a:gd name="connsiteX39" fmla="*/ 35013 w 471542"/>
                <a:gd name="connsiteY39" fmla="*/ 302916 h 578663"/>
                <a:gd name="connsiteX40" fmla="*/ 147 w 471542"/>
                <a:gd name="connsiteY40" fmla="*/ 186221 h 578663"/>
                <a:gd name="connsiteX41" fmla="*/ 131826 w 471542"/>
                <a:gd name="connsiteY41" fmla="*/ 17660 h 57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542" h="578663">
                  <a:moveTo>
                    <a:pt x="175480" y="400270"/>
                  </a:moveTo>
                  <a:cubicBezTo>
                    <a:pt x="199756" y="393679"/>
                    <a:pt x="226625" y="398145"/>
                    <a:pt x="245930" y="416442"/>
                  </a:cubicBezTo>
                  <a:cubicBezTo>
                    <a:pt x="265235" y="434883"/>
                    <a:pt x="270421" y="457357"/>
                    <a:pt x="262642" y="482713"/>
                  </a:cubicBezTo>
                  <a:cubicBezTo>
                    <a:pt x="261201" y="487612"/>
                    <a:pt x="258608" y="492222"/>
                    <a:pt x="256879" y="496832"/>
                  </a:cubicBezTo>
                  <a:cubicBezTo>
                    <a:pt x="248811" y="518154"/>
                    <a:pt x="258608" y="532561"/>
                    <a:pt x="281947" y="530256"/>
                  </a:cubicBezTo>
                  <a:cubicBezTo>
                    <a:pt x="291744" y="529104"/>
                    <a:pt x="295201" y="531985"/>
                    <a:pt x="296642" y="540629"/>
                  </a:cubicBezTo>
                  <a:cubicBezTo>
                    <a:pt x="297506" y="544951"/>
                    <a:pt x="298659" y="548985"/>
                    <a:pt x="300100" y="553307"/>
                  </a:cubicBezTo>
                  <a:cubicBezTo>
                    <a:pt x="305863" y="572612"/>
                    <a:pt x="305863" y="572900"/>
                    <a:pt x="286557" y="575494"/>
                  </a:cubicBezTo>
                  <a:cubicBezTo>
                    <a:pt x="275032" y="577222"/>
                    <a:pt x="264083" y="577799"/>
                    <a:pt x="255727" y="578663"/>
                  </a:cubicBezTo>
                  <a:cubicBezTo>
                    <a:pt x="219709" y="577222"/>
                    <a:pt x="187726" y="571460"/>
                    <a:pt x="159489" y="552443"/>
                  </a:cubicBezTo>
                  <a:cubicBezTo>
                    <a:pt x="123759" y="528527"/>
                    <a:pt x="107912" y="487035"/>
                    <a:pt x="120590" y="450442"/>
                  </a:cubicBezTo>
                  <a:cubicBezTo>
                    <a:pt x="129523" y="424509"/>
                    <a:pt x="151204" y="406861"/>
                    <a:pt x="175480" y="400270"/>
                  </a:cubicBezTo>
                  <a:close/>
                  <a:moveTo>
                    <a:pt x="183980" y="2964"/>
                  </a:moveTo>
                  <a:cubicBezTo>
                    <a:pt x="226914" y="-4816"/>
                    <a:pt x="267253" y="2964"/>
                    <a:pt x="305286" y="23422"/>
                  </a:cubicBezTo>
                  <a:cubicBezTo>
                    <a:pt x="361185" y="53388"/>
                    <a:pt x="398931" y="100066"/>
                    <a:pt x="427457" y="155389"/>
                  </a:cubicBezTo>
                  <a:cubicBezTo>
                    <a:pt x="456847" y="212152"/>
                    <a:pt x="470678" y="272372"/>
                    <a:pt x="471542" y="341525"/>
                  </a:cubicBezTo>
                  <a:cubicBezTo>
                    <a:pt x="470678" y="396272"/>
                    <a:pt x="458000" y="453323"/>
                    <a:pt x="420254" y="502594"/>
                  </a:cubicBezTo>
                  <a:cubicBezTo>
                    <a:pt x="400660" y="528239"/>
                    <a:pt x="375880" y="547256"/>
                    <a:pt x="345626" y="559357"/>
                  </a:cubicBezTo>
                  <a:cubicBezTo>
                    <a:pt x="339287" y="561951"/>
                    <a:pt x="335540" y="561662"/>
                    <a:pt x="334389" y="553883"/>
                  </a:cubicBezTo>
                  <a:cubicBezTo>
                    <a:pt x="334100" y="550425"/>
                    <a:pt x="332660" y="546967"/>
                    <a:pt x="331507" y="543510"/>
                  </a:cubicBezTo>
                  <a:cubicBezTo>
                    <a:pt x="326321" y="529967"/>
                    <a:pt x="323440" y="519018"/>
                    <a:pt x="338998" y="508069"/>
                  </a:cubicBezTo>
                  <a:cubicBezTo>
                    <a:pt x="353694" y="497696"/>
                    <a:pt x="354270" y="478679"/>
                    <a:pt x="349948" y="462255"/>
                  </a:cubicBezTo>
                  <a:cubicBezTo>
                    <a:pt x="336694" y="413560"/>
                    <a:pt x="322575" y="365153"/>
                    <a:pt x="308455" y="316746"/>
                  </a:cubicBezTo>
                  <a:cubicBezTo>
                    <a:pt x="287422" y="244135"/>
                    <a:pt x="265811" y="171524"/>
                    <a:pt x="244489" y="98626"/>
                  </a:cubicBezTo>
                  <a:cubicBezTo>
                    <a:pt x="241897" y="89405"/>
                    <a:pt x="238727" y="80473"/>
                    <a:pt x="234117" y="72405"/>
                  </a:cubicBezTo>
                  <a:cubicBezTo>
                    <a:pt x="225185" y="56269"/>
                    <a:pt x="211641" y="47049"/>
                    <a:pt x="192913" y="47049"/>
                  </a:cubicBezTo>
                  <a:cubicBezTo>
                    <a:pt x="187438" y="47049"/>
                    <a:pt x="185421" y="45608"/>
                    <a:pt x="184269" y="40422"/>
                  </a:cubicBezTo>
                  <a:cubicBezTo>
                    <a:pt x="182251" y="32066"/>
                    <a:pt x="180235" y="23422"/>
                    <a:pt x="176778" y="15354"/>
                  </a:cubicBezTo>
                  <a:cubicBezTo>
                    <a:pt x="173320" y="6998"/>
                    <a:pt x="175912" y="4405"/>
                    <a:pt x="183980" y="2964"/>
                  </a:cubicBezTo>
                  <a:close/>
                  <a:moveTo>
                    <a:pt x="131826" y="17660"/>
                  </a:moveTo>
                  <a:cubicBezTo>
                    <a:pt x="139606" y="15355"/>
                    <a:pt x="144217" y="15643"/>
                    <a:pt x="145082" y="25152"/>
                  </a:cubicBezTo>
                  <a:cubicBezTo>
                    <a:pt x="145658" y="29474"/>
                    <a:pt x="147387" y="33508"/>
                    <a:pt x="148827" y="37542"/>
                  </a:cubicBezTo>
                  <a:cubicBezTo>
                    <a:pt x="153149" y="48779"/>
                    <a:pt x="156031" y="58864"/>
                    <a:pt x="142199" y="67220"/>
                  </a:cubicBezTo>
                  <a:cubicBezTo>
                    <a:pt x="134131" y="72118"/>
                    <a:pt x="132979" y="82491"/>
                    <a:pt x="135573" y="92000"/>
                  </a:cubicBezTo>
                  <a:cubicBezTo>
                    <a:pt x="151420" y="146170"/>
                    <a:pt x="166979" y="200339"/>
                    <a:pt x="183404" y="254221"/>
                  </a:cubicBezTo>
                  <a:cubicBezTo>
                    <a:pt x="192048" y="283035"/>
                    <a:pt x="215386" y="288798"/>
                    <a:pt x="237861" y="268628"/>
                  </a:cubicBezTo>
                  <a:cubicBezTo>
                    <a:pt x="240455" y="266323"/>
                    <a:pt x="242471" y="263153"/>
                    <a:pt x="246505" y="258543"/>
                  </a:cubicBezTo>
                  <a:cubicBezTo>
                    <a:pt x="250828" y="273238"/>
                    <a:pt x="254574" y="285340"/>
                    <a:pt x="258319" y="297154"/>
                  </a:cubicBezTo>
                  <a:cubicBezTo>
                    <a:pt x="259184" y="300323"/>
                    <a:pt x="258607" y="303204"/>
                    <a:pt x="256014" y="305798"/>
                  </a:cubicBezTo>
                  <a:cubicBezTo>
                    <a:pt x="189454" y="374086"/>
                    <a:pt x="90335" y="372069"/>
                    <a:pt x="35013" y="302916"/>
                  </a:cubicBezTo>
                  <a:cubicBezTo>
                    <a:pt x="7639" y="268916"/>
                    <a:pt x="-1292" y="228577"/>
                    <a:pt x="147" y="186221"/>
                  </a:cubicBezTo>
                  <a:cubicBezTo>
                    <a:pt x="3030" y="105542"/>
                    <a:pt x="54317" y="40711"/>
                    <a:pt x="131826" y="176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xmlns="" id="{594E921E-A6D5-4DD5-8BF2-758327B18813}"/>
                </a:ext>
              </a:extLst>
            </p:cNvPr>
            <p:cNvSpPr/>
            <p:nvPr/>
          </p:nvSpPr>
          <p:spPr>
            <a:xfrm rot="1020000">
              <a:off x="7393031" y="417861"/>
              <a:ext cx="516389" cy="582638"/>
            </a:xfrm>
            <a:custGeom>
              <a:avLst/>
              <a:gdLst>
                <a:gd name="connsiteX0" fmla="*/ 202598 w 516389"/>
                <a:gd name="connsiteY0" fmla="*/ 4066 h 582638"/>
                <a:gd name="connsiteX1" fmla="*/ 273480 w 516389"/>
                <a:gd name="connsiteY1" fmla="*/ 1761 h 582638"/>
                <a:gd name="connsiteX2" fmla="*/ 467108 w 516389"/>
                <a:gd name="connsiteY2" fmla="*/ 142084 h 582638"/>
                <a:gd name="connsiteX3" fmla="*/ 499380 w 516389"/>
                <a:gd name="connsiteY3" fmla="*/ 221034 h 582638"/>
                <a:gd name="connsiteX4" fmla="*/ 516380 w 516389"/>
                <a:gd name="connsiteY4" fmla="*/ 331967 h 582638"/>
                <a:gd name="connsiteX5" fmla="*/ 504278 w 516389"/>
                <a:gd name="connsiteY5" fmla="*/ 412645 h 582638"/>
                <a:gd name="connsiteX6" fmla="*/ 469702 w 516389"/>
                <a:gd name="connsiteY6" fmla="*/ 482662 h 582638"/>
                <a:gd name="connsiteX7" fmla="*/ 459040 w 516389"/>
                <a:gd name="connsiteY7" fmla="*/ 494188 h 582638"/>
                <a:gd name="connsiteX8" fmla="*/ 364531 w 516389"/>
                <a:gd name="connsiteY8" fmla="*/ 562189 h 582638"/>
                <a:gd name="connsiteX9" fmla="*/ 353582 w 516389"/>
                <a:gd name="connsiteY9" fmla="*/ 557002 h 582638"/>
                <a:gd name="connsiteX10" fmla="*/ 351277 w 516389"/>
                <a:gd name="connsiteY10" fmla="*/ 548934 h 582638"/>
                <a:gd name="connsiteX11" fmla="*/ 358192 w 516389"/>
                <a:gd name="connsiteY11" fmla="*/ 508883 h 582638"/>
                <a:gd name="connsiteX12" fmla="*/ 367413 w 516389"/>
                <a:gd name="connsiteY12" fmla="*/ 471425 h 582638"/>
                <a:gd name="connsiteX13" fmla="*/ 354735 w 516389"/>
                <a:gd name="connsiteY13" fmla="*/ 429645 h 582638"/>
                <a:gd name="connsiteX14" fmla="*/ 342633 w 516389"/>
                <a:gd name="connsiteY14" fmla="*/ 397374 h 582638"/>
                <a:gd name="connsiteX15" fmla="*/ 278667 w 516389"/>
                <a:gd name="connsiteY15" fmla="*/ 179830 h 582638"/>
                <a:gd name="connsiteX16" fmla="*/ 251582 w 516389"/>
                <a:gd name="connsiteY16" fmla="*/ 87626 h 582638"/>
                <a:gd name="connsiteX17" fmla="*/ 217581 w 516389"/>
                <a:gd name="connsiteY17" fmla="*/ 56219 h 582638"/>
                <a:gd name="connsiteX18" fmla="*/ 197412 w 516389"/>
                <a:gd name="connsiteY18" fmla="*/ 36338 h 582638"/>
                <a:gd name="connsiteX19" fmla="*/ 192513 w 516389"/>
                <a:gd name="connsiteY19" fmla="*/ 20490 h 582638"/>
                <a:gd name="connsiteX20" fmla="*/ 202598 w 516389"/>
                <a:gd name="connsiteY20" fmla="*/ 4066 h 582638"/>
                <a:gd name="connsiteX21" fmla="*/ 150733 w 516389"/>
                <a:gd name="connsiteY21" fmla="*/ 19050 h 582638"/>
                <a:gd name="connsiteX22" fmla="*/ 166869 w 516389"/>
                <a:gd name="connsiteY22" fmla="*/ 26541 h 582638"/>
                <a:gd name="connsiteX23" fmla="*/ 170327 w 516389"/>
                <a:gd name="connsiteY23" fmla="*/ 37779 h 582638"/>
                <a:gd name="connsiteX24" fmla="*/ 164276 w 516389"/>
                <a:gd name="connsiteY24" fmla="*/ 72643 h 582638"/>
                <a:gd name="connsiteX25" fmla="*/ 157649 w 516389"/>
                <a:gd name="connsiteY25" fmla="*/ 129983 h 582638"/>
                <a:gd name="connsiteX26" fmla="*/ 228819 w 516389"/>
                <a:gd name="connsiteY26" fmla="*/ 371442 h 582638"/>
                <a:gd name="connsiteX27" fmla="*/ 246395 w 516389"/>
                <a:gd name="connsiteY27" fmla="*/ 431951 h 582638"/>
                <a:gd name="connsiteX28" fmla="*/ 250429 w 516389"/>
                <a:gd name="connsiteY28" fmla="*/ 445781 h 582638"/>
                <a:gd name="connsiteX29" fmla="*/ 263107 w 516389"/>
                <a:gd name="connsiteY29" fmla="*/ 488714 h 582638"/>
                <a:gd name="connsiteX30" fmla="*/ 300565 w 516389"/>
                <a:gd name="connsiteY30" fmla="*/ 528188 h 582638"/>
                <a:gd name="connsiteX31" fmla="*/ 305175 w 516389"/>
                <a:gd name="connsiteY31" fmla="*/ 531358 h 582638"/>
                <a:gd name="connsiteX32" fmla="*/ 314395 w 516389"/>
                <a:gd name="connsiteY32" fmla="*/ 540290 h 582638"/>
                <a:gd name="connsiteX33" fmla="*/ 321887 w 516389"/>
                <a:gd name="connsiteY33" fmla="*/ 566223 h 582638"/>
                <a:gd name="connsiteX34" fmla="*/ 315260 w 516389"/>
                <a:gd name="connsiteY34" fmla="*/ 576307 h 582638"/>
                <a:gd name="connsiteX35" fmla="*/ 267141 w 516389"/>
                <a:gd name="connsiteY35" fmla="*/ 580918 h 582638"/>
                <a:gd name="connsiteX36" fmla="*/ 221615 w 516389"/>
                <a:gd name="connsiteY36" fmla="*/ 576019 h 582638"/>
                <a:gd name="connsiteX37" fmla="*/ 164852 w 516389"/>
                <a:gd name="connsiteY37" fmla="*/ 555850 h 582638"/>
                <a:gd name="connsiteX38" fmla="*/ 128547 w 516389"/>
                <a:gd name="connsiteY38" fmla="*/ 532799 h 582638"/>
                <a:gd name="connsiteX39" fmla="*/ 43834 w 516389"/>
                <a:gd name="connsiteY39" fmla="*/ 425035 h 582638"/>
                <a:gd name="connsiteX40" fmla="*/ 33461 w 516389"/>
                <a:gd name="connsiteY40" fmla="*/ 408035 h 582638"/>
                <a:gd name="connsiteX41" fmla="*/ 4936 w 516389"/>
                <a:gd name="connsiteY41" fmla="*/ 309492 h 582638"/>
                <a:gd name="connsiteX42" fmla="*/ 38 w 516389"/>
                <a:gd name="connsiteY42" fmla="*/ 266272 h 582638"/>
                <a:gd name="connsiteX43" fmla="*/ 51902 w 516389"/>
                <a:gd name="connsiteY43" fmla="*/ 92813 h 582638"/>
                <a:gd name="connsiteX44" fmla="*/ 72072 w 516389"/>
                <a:gd name="connsiteY44" fmla="*/ 71203 h 582638"/>
                <a:gd name="connsiteX45" fmla="*/ 150733 w 516389"/>
                <a:gd name="connsiteY45" fmla="*/ 19050 h 58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16389" h="582638">
                  <a:moveTo>
                    <a:pt x="202598" y="4066"/>
                  </a:moveTo>
                  <a:cubicBezTo>
                    <a:pt x="226226" y="-544"/>
                    <a:pt x="249853" y="-1120"/>
                    <a:pt x="273480" y="1761"/>
                  </a:cubicBezTo>
                  <a:cubicBezTo>
                    <a:pt x="363667" y="12999"/>
                    <a:pt x="425040" y="64863"/>
                    <a:pt x="467108" y="142084"/>
                  </a:cubicBezTo>
                  <a:cubicBezTo>
                    <a:pt x="480651" y="167152"/>
                    <a:pt x="491600" y="193661"/>
                    <a:pt x="499380" y="221034"/>
                  </a:cubicBezTo>
                  <a:cubicBezTo>
                    <a:pt x="510329" y="257339"/>
                    <a:pt x="516668" y="294221"/>
                    <a:pt x="516380" y="331967"/>
                  </a:cubicBezTo>
                  <a:cubicBezTo>
                    <a:pt x="516092" y="359340"/>
                    <a:pt x="512634" y="386425"/>
                    <a:pt x="504278" y="412645"/>
                  </a:cubicBezTo>
                  <a:cubicBezTo>
                    <a:pt x="495634" y="437425"/>
                    <a:pt x="485549" y="461340"/>
                    <a:pt x="469702" y="482662"/>
                  </a:cubicBezTo>
                  <a:cubicBezTo>
                    <a:pt x="467685" y="487561"/>
                    <a:pt x="465091" y="492747"/>
                    <a:pt x="459040" y="494188"/>
                  </a:cubicBezTo>
                  <a:cubicBezTo>
                    <a:pt x="432820" y="524154"/>
                    <a:pt x="401125" y="546341"/>
                    <a:pt x="364531" y="562189"/>
                  </a:cubicBezTo>
                  <a:cubicBezTo>
                    <a:pt x="358192" y="565070"/>
                    <a:pt x="354447" y="565070"/>
                    <a:pt x="353582" y="557002"/>
                  </a:cubicBezTo>
                  <a:cubicBezTo>
                    <a:pt x="353294" y="554409"/>
                    <a:pt x="352430" y="551527"/>
                    <a:pt x="351277" y="548934"/>
                  </a:cubicBezTo>
                  <a:cubicBezTo>
                    <a:pt x="344938" y="533951"/>
                    <a:pt x="342921" y="521273"/>
                    <a:pt x="358192" y="508883"/>
                  </a:cubicBezTo>
                  <a:cubicBezTo>
                    <a:pt x="368854" y="500239"/>
                    <a:pt x="371159" y="485832"/>
                    <a:pt x="367413" y="471425"/>
                  </a:cubicBezTo>
                  <a:cubicBezTo>
                    <a:pt x="363955" y="457306"/>
                    <a:pt x="360786" y="443188"/>
                    <a:pt x="354735" y="429645"/>
                  </a:cubicBezTo>
                  <a:cubicBezTo>
                    <a:pt x="346955" y="420137"/>
                    <a:pt x="347531" y="407747"/>
                    <a:pt x="342633" y="397374"/>
                  </a:cubicBezTo>
                  <a:cubicBezTo>
                    <a:pt x="321599" y="324763"/>
                    <a:pt x="299989" y="252153"/>
                    <a:pt x="278667" y="179830"/>
                  </a:cubicBezTo>
                  <a:cubicBezTo>
                    <a:pt x="270310" y="148711"/>
                    <a:pt x="261090" y="118169"/>
                    <a:pt x="251582" y="87626"/>
                  </a:cubicBezTo>
                  <a:cubicBezTo>
                    <a:pt x="246395" y="70914"/>
                    <a:pt x="234870" y="59389"/>
                    <a:pt x="217581" y="56219"/>
                  </a:cubicBezTo>
                  <a:cubicBezTo>
                    <a:pt x="205480" y="54202"/>
                    <a:pt x="199429" y="47863"/>
                    <a:pt x="197412" y="36338"/>
                  </a:cubicBezTo>
                  <a:cubicBezTo>
                    <a:pt x="196547" y="30863"/>
                    <a:pt x="193954" y="25965"/>
                    <a:pt x="192513" y="20490"/>
                  </a:cubicBezTo>
                  <a:cubicBezTo>
                    <a:pt x="189632" y="8965"/>
                    <a:pt x="191361" y="6083"/>
                    <a:pt x="202598" y="4066"/>
                  </a:cubicBezTo>
                  <a:close/>
                  <a:moveTo>
                    <a:pt x="150733" y="19050"/>
                  </a:moveTo>
                  <a:cubicBezTo>
                    <a:pt x="161106" y="14439"/>
                    <a:pt x="163411" y="15592"/>
                    <a:pt x="166869" y="26541"/>
                  </a:cubicBezTo>
                  <a:cubicBezTo>
                    <a:pt x="168022" y="30287"/>
                    <a:pt x="168598" y="34321"/>
                    <a:pt x="170327" y="37779"/>
                  </a:cubicBezTo>
                  <a:cubicBezTo>
                    <a:pt x="175801" y="50745"/>
                    <a:pt x="176666" y="61118"/>
                    <a:pt x="164276" y="72643"/>
                  </a:cubicBezTo>
                  <a:cubicBezTo>
                    <a:pt x="146700" y="88779"/>
                    <a:pt x="149869" y="109813"/>
                    <a:pt x="157649" y="129983"/>
                  </a:cubicBezTo>
                  <a:cubicBezTo>
                    <a:pt x="181564" y="210373"/>
                    <a:pt x="204903" y="291051"/>
                    <a:pt x="228819" y="371442"/>
                  </a:cubicBezTo>
                  <a:cubicBezTo>
                    <a:pt x="234293" y="391611"/>
                    <a:pt x="240920" y="411493"/>
                    <a:pt x="246395" y="431951"/>
                  </a:cubicBezTo>
                  <a:cubicBezTo>
                    <a:pt x="247836" y="436561"/>
                    <a:pt x="248700" y="441171"/>
                    <a:pt x="250429" y="445781"/>
                  </a:cubicBezTo>
                  <a:cubicBezTo>
                    <a:pt x="255039" y="459900"/>
                    <a:pt x="259073" y="474307"/>
                    <a:pt x="263107" y="488714"/>
                  </a:cubicBezTo>
                  <a:cubicBezTo>
                    <a:pt x="268293" y="508883"/>
                    <a:pt x="279243" y="523290"/>
                    <a:pt x="300565" y="528188"/>
                  </a:cubicBezTo>
                  <a:cubicBezTo>
                    <a:pt x="302294" y="529053"/>
                    <a:pt x="303734" y="529917"/>
                    <a:pt x="305175" y="531358"/>
                  </a:cubicBezTo>
                  <a:cubicBezTo>
                    <a:pt x="310362" y="532222"/>
                    <a:pt x="313243" y="535104"/>
                    <a:pt x="314395" y="540290"/>
                  </a:cubicBezTo>
                  <a:cubicBezTo>
                    <a:pt x="316412" y="548934"/>
                    <a:pt x="318429" y="557867"/>
                    <a:pt x="321887" y="566223"/>
                  </a:cubicBezTo>
                  <a:cubicBezTo>
                    <a:pt x="325057" y="574002"/>
                    <a:pt x="321599" y="575731"/>
                    <a:pt x="315260" y="576307"/>
                  </a:cubicBezTo>
                  <a:cubicBezTo>
                    <a:pt x="299124" y="577748"/>
                    <a:pt x="283277" y="579477"/>
                    <a:pt x="267141" y="580918"/>
                  </a:cubicBezTo>
                  <a:cubicBezTo>
                    <a:pt x="251581" y="583511"/>
                    <a:pt x="236310" y="584087"/>
                    <a:pt x="221615" y="576019"/>
                  </a:cubicBezTo>
                  <a:cubicBezTo>
                    <a:pt x="202310" y="570545"/>
                    <a:pt x="183005" y="564782"/>
                    <a:pt x="164852" y="555850"/>
                  </a:cubicBezTo>
                  <a:cubicBezTo>
                    <a:pt x="149869" y="552680"/>
                    <a:pt x="137479" y="545189"/>
                    <a:pt x="128547" y="532799"/>
                  </a:cubicBezTo>
                  <a:cubicBezTo>
                    <a:pt x="91953" y="503409"/>
                    <a:pt x="65157" y="466239"/>
                    <a:pt x="43834" y="425035"/>
                  </a:cubicBezTo>
                  <a:cubicBezTo>
                    <a:pt x="37784" y="421001"/>
                    <a:pt x="36343" y="414086"/>
                    <a:pt x="33461" y="408035"/>
                  </a:cubicBezTo>
                  <a:cubicBezTo>
                    <a:pt x="19343" y="376628"/>
                    <a:pt x="11275" y="343204"/>
                    <a:pt x="4936" y="309492"/>
                  </a:cubicBezTo>
                  <a:cubicBezTo>
                    <a:pt x="2343" y="295085"/>
                    <a:pt x="2343" y="280678"/>
                    <a:pt x="38" y="266272"/>
                  </a:cubicBezTo>
                  <a:cubicBezTo>
                    <a:pt x="-827" y="203169"/>
                    <a:pt x="12716" y="144101"/>
                    <a:pt x="51902" y="92813"/>
                  </a:cubicBezTo>
                  <a:cubicBezTo>
                    <a:pt x="57953" y="85033"/>
                    <a:pt x="65157" y="78406"/>
                    <a:pt x="72072" y="71203"/>
                  </a:cubicBezTo>
                  <a:cubicBezTo>
                    <a:pt x="94547" y="48152"/>
                    <a:pt x="121632" y="32304"/>
                    <a:pt x="150733" y="1905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xmlns="" id="{4BEE51DD-653A-463B-97D1-43CA56EE5161}"/>
                </a:ext>
              </a:extLst>
            </p:cNvPr>
            <p:cNvSpPr/>
            <p:nvPr/>
          </p:nvSpPr>
          <p:spPr>
            <a:xfrm rot="1020000">
              <a:off x="6916230" y="374174"/>
              <a:ext cx="483867" cy="617945"/>
            </a:xfrm>
            <a:custGeom>
              <a:avLst/>
              <a:gdLst>
                <a:gd name="connsiteX0" fmla="*/ 444716 w 483867"/>
                <a:gd name="connsiteY0" fmla="*/ 394271 h 617945"/>
                <a:gd name="connsiteX1" fmla="*/ 468667 w 483867"/>
                <a:gd name="connsiteY1" fmla="*/ 392002 h 617945"/>
                <a:gd name="connsiteX2" fmla="*/ 481345 w 483867"/>
                <a:gd name="connsiteY2" fmla="*/ 448765 h 617945"/>
                <a:gd name="connsiteX3" fmla="*/ 413345 w 483867"/>
                <a:gd name="connsiteY3" fmla="*/ 568630 h 617945"/>
                <a:gd name="connsiteX4" fmla="*/ 409311 w 483867"/>
                <a:gd name="connsiteY4" fmla="*/ 572664 h 617945"/>
                <a:gd name="connsiteX5" fmla="*/ 368972 w 483867"/>
                <a:gd name="connsiteY5" fmla="*/ 598596 h 617945"/>
                <a:gd name="connsiteX6" fmla="*/ 354565 w 483867"/>
                <a:gd name="connsiteY6" fmla="*/ 591393 h 617945"/>
                <a:gd name="connsiteX7" fmla="*/ 346497 w 483867"/>
                <a:gd name="connsiteY7" fmla="*/ 564020 h 617945"/>
                <a:gd name="connsiteX8" fmla="*/ 362057 w 483867"/>
                <a:gd name="connsiteY8" fmla="*/ 546732 h 617945"/>
                <a:gd name="connsiteX9" fmla="*/ 434955 w 483867"/>
                <a:gd name="connsiteY9" fmla="*/ 425714 h 617945"/>
                <a:gd name="connsiteX10" fmla="*/ 435243 w 483867"/>
                <a:gd name="connsiteY10" fmla="*/ 416205 h 617945"/>
                <a:gd name="connsiteX11" fmla="*/ 444716 w 483867"/>
                <a:gd name="connsiteY11" fmla="*/ 394271 h 617945"/>
                <a:gd name="connsiteX12" fmla="*/ 201564 w 483867"/>
                <a:gd name="connsiteY12" fmla="*/ 41050 h 617945"/>
                <a:gd name="connsiteX13" fmla="*/ 212225 w 483867"/>
                <a:gd name="connsiteY13" fmla="*/ 39897 h 617945"/>
                <a:gd name="connsiteX14" fmla="*/ 253141 w 483867"/>
                <a:gd name="connsiteY14" fmla="*/ 37592 h 617945"/>
                <a:gd name="connsiteX15" fmla="*/ 314226 w 483867"/>
                <a:gd name="connsiteY15" fmla="*/ 35863 h 617945"/>
                <a:gd name="connsiteX16" fmla="*/ 320853 w 483867"/>
                <a:gd name="connsiteY16" fmla="*/ 20016 h 617945"/>
                <a:gd name="connsiteX17" fmla="*/ 341023 w 483867"/>
                <a:gd name="connsiteY17" fmla="*/ 134 h 617945"/>
                <a:gd name="connsiteX18" fmla="*/ 364362 w 483867"/>
                <a:gd name="connsiteY18" fmla="*/ 16270 h 617945"/>
                <a:gd name="connsiteX19" fmla="*/ 385108 w 483867"/>
                <a:gd name="connsiteY19" fmla="*/ 85423 h 617945"/>
                <a:gd name="connsiteX20" fmla="*/ 392599 w 483867"/>
                <a:gd name="connsiteY20" fmla="*/ 109050 h 617945"/>
                <a:gd name="connsiteX21" fmla="*/ 401820 w 483867"/>
                <a:gd name="connsiteY21" fmla="*/ 130661 h 617945"/>
                <a:gd name="connsiteX22" fmla="*/ 418243 w 483867"/>
                <a:gd name="connsiteY22" fmla="*/ 188864 h 617945"/>
                <a:gd name="connsiteX23" fmla="*/ 394040 w 483867"/>
                <a:gd name="connsiteY23" fmla="*/ 223153 h 617945"/>
                <a:gd name="connsiteX24" fmla="*/ 366091 w 483867"/>
                <a:gd name="connsiteY24" fmla="*/ 208169 h 617945"/>
                <a:gd name="connsiteX25" fmla="*/ 346209 w 483867"/>
                <a:gd name="connsiteY25" fmla="*/ 175898 h 617945"/>
                <a:gd name="connsiteX26" fmla="*/ 284548 w 483867"/>
                <a:gd name="connsiteY26" fmla="*/ 111067 h 617945"/>
                <a:gd name="connsiteX27" fmla="*/ 272734 w 483867"/>
                <a:gd name="connsiteY27" fmla="*/ 103864 h 617945"/>
                <a:gd name="connsiteX28" fmla="*/ 228073 w 483867"/>
                <a:gd name="connsiteY28" fmla="*/ 88592 h 617945"/>
                <a:gd name="connsiteX29" fmla="*/ 199547 w 483867"/>
                <a:gd name="connsiteY29" fmla="*/ 51711 h 617945"/>
                <a:gd name="connsiteX30" fmla="*/ 201564 w 483867"/>
                <a:gd name="connsiteY30" fmla="*/ 41050 h 617945"/>
                <a:gd name="connsiteX31" fmla="*/ 153732 w 483867"/>
                <a:gd name="connsiteY31" fmla="*/ 55458 h 617945"/>
                <a:gd name="connsiteX32" fmla="*/ 168428 w 483867"/>
                <a:gd name="connsiteY32" fmla="*/ 63238 h 617945"/>
                <a:gd name="connsiteX33" fmla="*/ 173039 w 483867"/>
                <a:gd name="connsiteY33" fmla="*/ 77645 h 617945"/>
                <a:gd name="connsiteX34" fmla="*/ 172462 w 483867"/>
                <a:gd name="connsiteY34" fmla="*/ 99831 h 617945"/>
                <a:gd name="connsiteX35" fmla="*/ 152869 w 483867"/>
                <a:gd name="connsiteY35" fmla="*/ 167832 h 617945"/>
                <a:gd name="connsiteX36" fmla="*/ 215682 w 483867"/>
                <a:gd name="connsiteY36" fmla="*/ 383358 h 617945"/>
                <a:gd name="connsiteX37" fmla="*/ 254581 w 483867"/>
                <a:gd name="connsiteY37" fmla="*/ 514461 h 617945"/>
                <a:gd name="connsiteX38" fmla="*/ 267259 w 483867"/>
                <a:gd name="connsiteY38" fmla="*/ 539817 h 617945"/>
                <a:gd name="connsiteX39" fmla="*/ 273886 w 483867"/>
                <a:gd name="connsiteY39" fmla="*/ 548173 h 617945"/>
                <a:gd name="connsiteX40" fmla="*/ 309327 w 483867"/>
                <a:gd name="connsiteY40" fmla="*/ 562868 h 617945"/>
                <a:gd name="connsiteX41" fmla="*/ 318835 w 483867"/>
                <a:gd name="connsiteY41" fmla="*/ 568631 h 617945"/>
                <a:gd name="connsiteX42" fmla="*/ 328057 w 483867"/>
                <a:gd name="connsiteY42" fmla="*/ 605512 h 617945"/>
                <a:gd name="connsiteX43" fmla="*/ 272158 w 483867"/>
                <a:gd name="connsiteY43" fmla="*/ 617326 h 617945"/>
                <a:gd name="connsiteX44" fmla="*/ 75936 w 483867"/>
                <a:gd name="connsiteY44" fmla="*/ 525986 h 617945"/>
                <a:gd name="connsiteX45" fmla="*/ 12258 w 483867"/>
                <a:gd name="connsiteY45" fmla="*/ 211917 h 617945"/>
                <a:gd name="connsiteX46" fmla="*/ 153732 w 483867"/>
                <a:gd name="connsiteY46" fmla="*/ 55458 h 61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867" h="617945">
                  <a:moveTo>
                    <a:pt x="444716" y="394271"/>
                  </a:moveTo>
                  <a:cubicBezTo>
                    <a:pt x="450371" y="390201"/>
                    <a:pt x="458438" y="389409"/>
                    <a:pt x="468667" y="392002"/>
                  </a:cubicBezTo>
                  <a:cubicBezTo>
                    <a:pt x="487684" y="407561"/>
                    <a:pt x="484803" y="428884"/>
                    <a:pt x="481345" y="448765"/>
                  </a:cubicBezTo>
                  <a:cubicBezTo>
                    <a:pt x="472989" y="496596"/>
                    <a:pt x="448786" y="536071"/>
                    <a:pt x="413345" y="568630"/>
                  </a:cubicBezTo>
                  <a:cubicBezTo>
                    <a:pt x="411904" y="570071"/>
                    <a:pt x="410752" y="571512"/>
                    <a:pt x="409311" y="572664"/>
                  </a:cubicBezTo>
                  <a:cubicBezTo>
                    <a:pt x="398938" y="585918"/>
                    <a:pt x="383955" y="592546"/>
                    <a:pt x="368972" y="598596"/>
                  </a:cubicBezTo>
                  <a:cubicBezTo>
                    <a:pt x="361480" y="601766"/>
                    <a:pt x="357158" y="598885"/>
                    <a:pt x="354565" y="591393"/>
                  </a:cubicBezTo>
                  <a:cubicBezTo>
                    <a:pt x="351684" y="582461"/>
                    <a:pt x="349090" y="573240"/>
                    <a:pt x="346497" y="564020"/>
                  </a:cubicBezTo>
                  <a:cubicBezTo>
                    <a:pt x="343904" y="555088"/>
                    <a:pt x="346497" y="552494"/>
                    <a:pt x="362057" y="546732"/>
                  </a:cubicBezTo>
                  <a:cubicBezTo>
                    <a:pt x="405853" y="517918"/>
                    <a:pt x="430633" y="478155"/>
                    <a:pt x="434955" y="425714"/>
                  </a:cubicBezTo>
                  <a:cubicBezTo>
                    <a:pt x="435243" y="422545"/>
                    <a:pt x="434955" y="419375"/>
                    <a:pt x="435243" y="416205"/>
                  </a:cubicBezTo>
                  <a:cubicBezTo>
                    <a:pt x="435820" y="405688"/>
                    <a:pt x="439061" y="398340"/>
                    <a:pt x="444716" y="394271"/>
                  </a:cubicBezTo>
                  <a:close/>
                  <a:moveTo>
                    <a:pt x="201564" y="41050"/>
                  </a:moveTo>
                  <a:cubicBezTo>
                    <a:pt x="204661" y="40114"/>
                    <a:pt x="209200" y="40762"/>
                    <a:pt x="212225" y="39897"/>
                  </a:cubicBezTo>
                  <a:cubicBezTo>
                    <a:pt x="225479" y="34135"/>
                    <a:pt x="239598" y="36151"/>
                    <a:pt x="253141" y="37592"/>
                  </a:cubicBezTo>
                  <a:cubicBezTo>
                    <a:pt x="273310" y="39321"/>
                    <a:pt x="293768" y="40185"/>
                    <a:pt x="314226" y="35863"/>
                  </a:cubicBezTo>
                  <a:cubicBezTo>
                    <a:pt x="319700" y="32118"/>
                    <a:pt x="320277" y="25779"/>
                    <a:pt x="320853" y="20016"/>
                  </a:cubicBezTo>
                  <a:cubicBezTo>
                    <a:pt x="322582" y="7914"/>
                    <a:pt x="329497" y="1575"/>
                    <a:pt x="341023" y="134"/>
                  </a:cubicBezTo>
                  <a:cubicBezTo>
                    <a:pt x="353124" y="-1018"/>
                    <a:pt x="360904" y="5321"/>
                    <a:pt x="364362" y="16270"/>
                  </a:cubicBezTo>
                  <a:cubicBezTo>
                    <a:pt x="371853" y="39033"/>
                    <a:pt x="378192" y="62372"/>
                    <a:pt x="385108" y="85423"/>
                  </a:cubicBezTo>
                  <a:cubicBezTo>
                    <a:pt x="387413" y="93203"/>
                    <a:pt x="390006" y="101271"/>
                    <a:pt x="392599" y="109050"/>
                  </a:cubicBezTo>
                  <a:cubicBezTo>
                    <a:pt x="397497" y="115389"/>
                    <a:pt x="398938" y="123457"/>
                    <a:pt x="401820" y="130661"/>
                  </a:cubicBezTo>
                  <a:cubicBezTo>
                    <a:pt x="407006" y="149966"/>
                    <a:pt x="414209" y="168983"/>
                    <a:pt x="418243" y="188864"/>
                  </a:cubicBezTo>
                  <a:cubicBezTo>
                    <a:pt x="422277" y="208458"/>
                    <a:pt x="412481" y="222000"/>
                    <a:pt x="394040" y="223153"/>
                  </a:cubicBezTo>
                  <a:cubicBezTo>
                    <a:pt x="382226" y="223729"/>
                    <a:pt x="372718" y="217966"/>
                    <a:pt x="366091" y="208169"/>
                  </a:cubicBezTo>
                  <a:cubicBezTo>
                    <a:pt x="358887" y="197797"/>
                    <a:pt x="353413" y="186271"/>
                    <a:pt x="346209" y="175898"/>
                  </a:cubicBezTo>
                  <a:cubicBezTo>
                    <a:pt x="329785" y="150254"/>
                    <a:pt x="309904" y="128067"/>
                    <a:pt x="284548" y="111067"/>
                  </a:cubicBezTo>
                  <a:cubicBezTo>
                    <a:pt x="280802" y="108474"/>
                    <a:pt x="277056" y="105881"/>
                    <a:pt x="272734" y="103864"/>
                  </a:cubicBezTo>
                  <a:cubicBezTo>
                    <a:pt x="258615" y="96372"/>
                    <a:pt x="243920" y="90898"/>
                    <a:pt x="228073" y="88592"/>
                  </a:cubicBezTo>
                  <a:cubicBezTo>
                    <a:pt x="205598" y="85423"/>
                    <a:pt x="197530" y="75050"/>
                    <a:pt x="199547" y="51711"/>
                  </a:cubicBezTo>
                  <a:cubicBezTo>
                    <a:pt x="196810" y="44508"/>
                    <a:pt x="198467" y="41986"/>
                    <a:pt x="201564" y="41050"/>
                  </a:cubicBezTo>
                  <a:close/>
                  <a:moveTo>
                    <a:pt x="153732" y="55458"/>
                  </a:moveTo>
                  <a:cubicBezTo>
                    <a:pt x="163530" y="51712"/>
                    <a:pt x="166700" y="54306"/>
                    <a:pt x="168428" y="63238"/>
                  </a:cubicBezTo>
                  <a:cubicBezTo>
                    <a:pt x="169292" y="68136"/>
                    <a:pt x="171309" y="73035"/>
                    <a:pt x="173039" y="77645"/>
                  </a:cubicBezTo>
                  <a:cubicBezTo>
                    <a:pt x="180241" y="87729"/>
                    <a:pt x="180817" y="93492"/>
                    <a:pt x="172462" y="99831"/>
                  </a:cubicBezTo>
                  <a:cubicBezTo>
                    <a:pt x="148834" y="117696"/>
                    <a:pt x="147683" y="141611"/>
                    <a:pt x="152869" y="167832"/>
                  </a:cubicBezTo>
                  <a:cubicBezTo>
                    <a:pt x="173039" y="239866"/>
                    <a:pt x="194648" y="311612"/>
                    <a:pt x="215682" y="383358"/>
                  </a:cubicBezTo>
                  <a:cubicBezTo>
                    <a:pt x="228360" y="427155"/>
                    <a:pt x="240750" y="470952"/>
                    <a:pt x="254581" y="514461"/>
                  </a:cubicBezTo>
                  <a:cubicBezTo>
                    <a:pt x="257462" y="523681"/>
                    <a:pt x="261496" y="532037"/>
                    <a:pt x="267259" y="539817"/>
                  </a:cubicBezTo>
                  <a:cubicBezTo>
                    <a:pt x="269277" y="542698"/>
                    <a:pt x="271005" y="545868"/>
                    <a:pt x="273886" y="548173"/>
                  </a:cubicBezTo>
                  <a:cubicBezTo>
                    <a:pt x="284260" y="556529"/>
                    <a:pt x="295497" y="562292"/>
                    <a:pt x="309327" y="562868"/>
                  </a:cubicBezTo>
                  <a:cubicBezTo>
                    <a:pt x="313361" y="563156"/>
                    <a:pt x="317396" y="564309"/>
                    <a:pt x="318835" y="568631"/>
                  </a:cubicBezTo>
                  <a:cubicBezTo>
                    <a:pt x="322869" y="580444"/>
                    <a:pt x="328633" y="592258"/>
                    <a:pt x="328057" y="605512"/>
                  </a:cubicBezTo>
                  <a:cubicBezTo>
                    <a:pt x="310767" y="615021"/>
                    <a:pt x="291174" y="616174"/>
                    <a:pt x="272158" y="617326"/>
                  </a:cubicBezTo>
                  <a:cubicBezTo>
                    <a:pt x="190326" y="622801"/>
                    <a:pt x="123478" y="591970"/>
                    <a:pt x="75936" y="525986"/>
                  </a:cubicBezTo>
                  <a:cubicBezTo>
                    <a:pt x="7935" y="431477"/>
                    <a:pt x="-17420" y="326019"/>
                    <a:pt x="12258" y="211917"/>
                  </a:cubicBezTo>
                  <a:cubicBezTo>
                    <a:pt x="31851" y="136425"/>
                    <a:pt x="80835" y="84560"/>
                    <a:pt x="153732" y="55458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xmlns="" id="{915132EF-CEE4-4E38-A8E4-AEF410B8749A}"/>
                </a:ext>
              </a:extLst>
            </p:cNvPr>
            <p:cNvSpPr/>
            <p:nvPr/>
          </p:nvSpPr>
          <p:spPr>
            <a:xfrm rot="1020000">
              <a:off x="7873009" y="365408"/>
              <a:ext cx="472408" cy="616235"/>
            </a:xfrm>
            <a:custGeom>
              <a:avLst/>
              <a:gdLst>
                <a:gd name="connsiteX0" fmla="*/ 340279 w 472408"/>
                <a:gd name="connsiteY0" fmla="*/ 30674 h 616235"/>
                <a:gd name="connsiteX1" fmla="*/ 435653 w 472408"/>
                <a:gd name="connsiteY1" fmla="*/ 2725 h 616235"/>
                <a:gd name="connsiteX2" fmla="*/ 440263 w 472408"/>
                <a:gd name="connsiteY2" fmla="*/ 1284 h 616235"/>
                <a:gd name="connsiteX3" fmla="*/ 469364 w 472408"/>
                <a:gd name="connsiteY3" fmla="*/ 10217 h 616235"/>
                <a:gd name="connsiteX4" fmla="*/ 459856 w 472408"/>
                <a:gd name="connsiteY4" fmla="*/ 40759 h 616235"/>
                <a:gd name="connsiteX5" fmla="*/ 422974 w 472408"/>
                <a:gd name="connsiteY5" fmla="*/ 122302 h 616235"/>
                <a:gd name="connsiteX6" fmla="*/ 426432 w 472408"/>
                <a:gd name="connsiteY6" fmla="*/ 297778 h 616235"/>
                <a:gd name="connsiteX7" fmla="*/ 426432 w 472408"/>
                <a:gd name="connsiteY7" fmla="*/ 378168 h 616235"/>
                <a:gd name="connsiteX8" fmla="*/ 388974 w 472408"/>
                <a:gd name="connsiteY8" fmla="*/ 318812 h 616235"/>
                <a:gd name="connsiteX9" fmla="*/ 383788 w 472408"/>
                <a:gd name="connsiteY9" fmla="*/ 297490 h 616235"/>
                <a:gd name="connsiteX10" fmla="*/ 380618 w 472408"/>
                <a:gd name="connsiteY10" fmla="*/ 132675 h 616235"/>
                <a:gd name="connsiteX11" fmla="*/ 369957 w 472408"/>
                <a:gd name="connsiteY11" fmla="*/ 95793 h 616235"/>
                <a:gd name="connsiteX12" fmla="*/ 333364 w 472408"/>
                <a:gd name="connsiteY12" fmla="*/ 79946 h 616235"/>
                <a:gd name="connsiteX13" fmla="*/ 314059 w 472408"/>
                <a:gd name="connsiteY13" fmla="*/ 72166 h 616235"/>
                <a:gd name="connsiteX14" fmla="*/ 316940 w 472408"/>
                <a:gd name="connsiteY14" fmla="*/ 41624 h 616235"/>
                <a:gd name="connsiteX15" fmla="*/ 340279 w 472408"/>
                <a:gd name="connsiteY15" fmla="*/ 30674 h 616235"/>
                <a:gd name="connsiteX16" fmla="*/ 101162 w 472408"/>
                <a:gd name="connsiteY16" fmla="*/ 97126 h 616235"/>
                <a:gd name="connsiteX17" fmla="*/ 114091 w 472408"/>
                <a:gd name="connsiteY17" fmla="*/ 93777 h 616235"/>
                <a:gd name="connsiteX18" fmla="*/ 150974 w 472408"/>
                <a:gd name="connsiteY18" fmla="*/ 82828 h 616235"/>
                <a:gd name="connsiteX19" fmla="*/ 227330 w 472408"/>
                <a:gd name="connsiteY19" fmla="*/ 61217 h 616235"/>
                <a:gd name="connsiteX20" fmla="*/ 256720 w 472408"/>
                <a:gd name="connsiteY20" fmla="*/ 71014 h 616235"/>
                <a:gd name="connsiteX21" fmla="*/ 253550 w 472408"/>
                <a:gd name="connsiteY21" fmla="*/ 104150 h 616235"/>
                <a:gd name="connsiteX22" fmla="*/ 251246 w 472408"/>
                <a:gd name="connsiteY22" fmla="*/ 150252 h 616235"/>
                <a:gd name="connsiteX23" fmla="*/ 358145 w 472408"/>
                <a:gd name="connsiteY23" fmla="*/ 319677 h 616235"/>
                <a:gd name="connsiteX24" fmla="*/ 364196 w 472408"/>
                <a:gd name="connsiteY24" fmla="*/ 333507 h 616235"/>
                <a:gd name="connsiteX25" fmla="*/ 423264 w 472408"/>
                <a:gd name="connsiteY25" fmla="*/ 427728 h 616235"/>
                <a:gd name="connsiteX26" fmla="*/ 429026 w 472408"/>
                <a:gd name="connsiteY26" fmla="*/ 446457 h 616235"/>
                <a:gd name="connsiteX27" fmla="*/ 431043 w 472408"/>
                <a:gd name="connsiteY27" fmla="*/ 518780 h 616235"/>
                <a:gd name="connsiteX28" fmla="*/ 431620 w 472408"/>
                <a:gd name="connsiteY28" fmla="*/ 574390 h 616235"/>
                <a:gd name="connsiteX29" fmla="*/ 421246 w 472408"/>
                <a:gd name="connsiteY29" fmla="*/ 587644 h 616235"/>
                <a:gd name="connsiteX30" fmla="*/ 401077 w 472408"/>
                <a:gd name="connsiteY30" fmla="*/ 593695 h 616235"/>
                <a:gd name="connsiteX31" fmla="*/ 399060 w 472408"/>
                <a:gd name="connsiteY31" fmla="*/ 596577 h 616235"/>
                <a:gd name="connsiteX32" fmla="*/ 334229 w 472408"/>
                <a:gd name="connsiteY32" fmla="*/ 615882 h 616235"/>
                <a:gd name="connsiteX33" fmla="*/ 320111 w 472408"/>
                <a:gd name="connsiteY33" fmla="*/ 607526 h 616235"/>
                <a:gd name="connsiteX34" fmla="*/ 294466 w 472408"/>
                <a:gd name="connsiteY34" fmla="*/ 566322 h 616235"/>
                <a:gd name="connsiteX35" fmla="*/ 184974 w 472408"/>
                <a:gd name="connsiteY35" fmla="*/ 398914 h 616235"/>
                <a:gd name="connsiteX36" fmla="*/ 181516 w 472408"/>
                <a:gd name="connsiteY36" fmla="*/ 390558 h 616235"/>
                <a:gd name="connsiteX37" fmla="*/ 89313 w 472408"/>
                <a:gd name="connsiteY37" fmla="*/ 247066 h 616235"/>
                <a:gd name="connsiteX38" fmla="*/ 56177 w 472408"/>
                <a:gd name="connsiteY38" fmla="*/ 195201 h 616235"/>
                <a:gd name="connsiteX39" fmla="*/ 19583 w 472408"/>
                <a:gd name="connsiteY39" fmla="*/ 170133 h 616235"/>
                <a:gd name="connsiteX40" fmla="*/ 1431 w 472408"/>
                <a:gd name="connsiteY40" fmla="*/ 155438 h 616235"/>
                <a:gd name="connsiteX41" fmla="*/ 7769 w 472408"/>
                <a:gd name="connsiteY41" fmla="*/ 133828 h 616235"/>
                <a:gd name="connsiteX42" fmla="*/ 68278 w 472408"/>
                <a:gd name="connsiteY42" fmla="*/ 110201 h 616235"/>
                <a:gd name="connsiteX43" fmla="*/ 89313 w 472408"/>
                <a:gd name="connsiteY43" fmla="*/ 103285 h 616235"/>
                <a:gd name="connsiteX44" fmla="*/ 101162 w 472408"/>
                <a:gd name="connsiteY44" fmla="*/ 97126 h 61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72408" h="616235">
                  <a:moveTo>
                    <a:pt x="340279" y="30674"/>
                  </a:moveTo>
                  <a:cubicBezTo>
                    <a:pt x="371974" y="21454"/>
                    <a:pt x="403669" y="11945"/>
                    <a:pt x="435653" y="2725"/>
                  </a:cubicBezTo>
                  <a:cubicBezTo>
                    <a:pt x="437093" y="2149"/>
                    <a:pt x="438534" y="1573"/>
                    <a:pt x="440263" y="1284"/>
                  </a:cubicBezTo>
                  <a:cubicBezTo>
                    <a:pt x="455534" y="-1885"/>
                    <a:pt x="464466" y="708"/>
                    <a:pt x="469364" y="10217"/>
                  </a:cubicBezTo>
                  <a:cubicBezTo>
                    <a:pt x="475127" y="21454"/>
                    <a:pt x="473110" y="31251"/>
                    <a:pt x="459856" y="40759"/>
                  </a:cubicBezTo>
                  <a:cubicBezTo>
                    <a:pt x="431330" y="60929"/>
                    <a:pt x="422398" y="89743"/>
                    <a:pt x="422974" y="122302"/>
                  </a:cubicBezTo>
                  <a:cubicBezTo>
                    <a:pt x="423839" y="180794"/>
                    <a:pt x="425279" y="239286"/>
                    <a:pt x="426432" y="297778"/>
                  </a:cubicBezTo>
                  <a:cubicBezTo>
                    <a:pt x="426432" y="323998"/>
                    <a:pt x="426432" y="350219"/>
                    <a:pt x="426432" y="378168"/>
                  </a:cubicBezTo>
                  <a:cubicBezTo>
                    <a:pt x="413754" y="357998"/>
                    <a:pt x="401364" y="338405"/>
                    <a:pt x="388974" y="318812"/>
                  </a:cubicBezTo>
                  <a:cubicBezTo>
                    <a:pt x="384652" y="312185"/>
                    <a:pt x="384076" y="304981"/>
                    <a:pt x="383788" y="297490"/>
                  </a:cubicBezTo>
                  <a:cubicBezTo>
                    <a:pt x="382923" y="242455"/>
                    <a:pt x="381771" y="187709"/>
                    <a:pt x="380618" y="132675"/>
                  </a:cubicBezTo>
                  <a:cubicBezTo>
                    <a:pt x="380330" y="119421"/>
                    <a:pt x="377449" y="106743"/>
                    <a:pt x="369957" y="95793"/>
                  </a:cubicBezTo>
                  <a:cubicBezTo>
                    <a:pt x="361313" y="82827"/>
                    <a:pt x="347482" y="80810"/>
                    <a:pt x="333364" y="79946"/>
                  </a:cubicBezTo>
                  <a:cubicBezTo>
                    <a:pt x="326160" y="79370"/>
                    <a:pt x="319245" y="78217"/>
                    <a:pt x="314059" y="72166"/>
                  </a:cubicBezTo>
                  <a:cubicBezTo>
                    <a:pt x="306279" y="62946"/>
                    <a:pt x="307431" y="49403"/>
                    <a:pt x="316940" y="41624"/>
                  </a:cubicBezTo>
                  <a:cubicBezTo>
                    <a:pt x="323855" y="35861"/>
                    <a:pt x="331923" y="33268"/>
                    <a:pt x="340279" y="30674"/>
                  </a:cubicBezTo>
                  <a:close/>
                  <a:moveTo>
                    <a:pt x="101162" y="97126"/>
                  </a:moveTo>
                  <a:cubicBezTo>
                    <a:pt x="105447" y="95938"/>
                    <a:pt x="109914" y="95218"/>
                    <a:pt x="114091" y="93777"/>
                  </a:cubicBezTo>
                  <a:cubicBezTo>
                    <a:pt x="126194" y="89743"/>
                    <a:pt x="138583" y="85997"/>
                    <a:pt x="150974" y="82828"/>
                  </a:cubicBezTo>
                  <a:cubicBezTo>
                    <a:pt x="176329" y="75624"/>
                    <a:pt x="201397" y="66692"/>
                    <a:pt x="227330" y="61217"/>
                  </a:cubicBezTo>
                  <a:cubicBezTo>
                    <a:pt x="239143" y="58624"/>
                    <a:pt x="249517" y="60641"/>
                    <a:pt x="256720" y="71014"/>
                  </a:cubicBezTo>
                  <a:cubicBezTo>
                    <a:pt x="263059" y="79946"/>
                    <a:pt x="261331" y="93777"/>
                    <a:pt x="253550" y="104150"/>
                  </a:cubicBezTo>
                  <a:cubicBezTo>
                    <a:pt x="237991" y="124608"/>
                    <a:pt x="237415" y="128353"/>
                    <a:pt x="251246" y="150252"/>
                  </a:cubicBezTo>
                  <a:cubicBezTo>
                    <a:pt x="286686" y="206727"/>
                    <a:pt x="322416" y="263202"/>
                    <a:pt x="358145" y="319677"/>
                  </a:cubicBezTo>
                  <a:cubicBezTo>
                    <a:pt x="361026" y="323999"/>
                    <a:pt x="363907" y="328321"/>
                    <a:pt x="364196" y="333507"/>
                  </a:cubicBezTo>
                  <a:cubicBezTo>
                    <a:pt x="383789" y="364914"/>
                    <a:pt x="403382" y="396609"/>
                    <a:pt x="423264" y="427728"/>
                  </a:cubicBezTo>
                  <a:cubicBezTo>
                    <a:pt x="427010" y="433491"/>
                    <a:pt x="428738" y="439254"/>
                    <a:pt x="429026" y="446457"/>
                  </a:cubicBezTo>
                  <a:cubicBezTo>
                    <a:pt x="429314" y="470661"/>
                    <a:pt x="428162" y="494576"/>
                    <a:pt x="431043" y="518780"/>
                  </a:cubicBezTo>
                  <a:cubicBezTo>
                    <a:pt x="431042" y="537220"/>
                    <a:pt x="430466" y="555949"/>
                    <a:pt x="431620" y="574390"/>
                  </a:cubicBezTo>
                  <a:cubicBezTo>
                    <a:pt x="432196" y="583322"/>
                    <a:pt x="428737" y="585916"/>
                    <a:pt x="421246" y="587644"/>
                  </a:cubicBezTo>
                  <a:cubicBezTo>
                    <a:pt x="414332" y="589085"/>
                    <a:pt x="407704" y="591678"/>
                    <a:pt x="401077" y="593695"/>
                  </a:cubicBezTo>
                  <a:cubicBezTo>
                    <a:pt x="400789" y="594848"/>
                    <a:pt x="400213" y="596000"/>
                    <a:pt x="399060" y="596577"/>
                  </a:cubicBezTo>
                  <a:cubicBezTo>
                    <a:pt x="377738" y="604068"/>
                    <a:pt x="356127" y="610119"/>
                    <a:pt x="334229" y="615882"/>
                  </a:cubicBezTo>
                  <a:cubicBezTo>
                    <a:pt x="327313" y="617611"/>
                    <a:pt x="323279" y="612712"/>
                    <a:pt x="320111" y="607526"/>
                  </a:cubicBezTo>
                  <a:cubicBezTo>
                    <a:pt x="311466" y="593695"/>
                    <a:pt x="301958" y="580729"/>
                    <a:pt x="294466" y="566322"/>
                  </a:cubicBezTo>
                  <a:cubicBezTo>
                    <a:pt x="256719" y="511288"/>
                    <a:pt x="222144" y="454525"/>
                    <a:pt x="184974" y="398914"/>
                  </a:cubicBezTo>
                  <a:cubicBezTo>
                    <a:pt x="182381" y="396609"/>
                    <a:pt x="180652" y="394016"/>
                    <a:pt x="181516" y="390558"/>
                  </a:cubicBezTo>
                  <a:cubicBezTo>
                    <a:pt x="150686" y="342728"/>
                    <a:pt x="120143" y="294897"/>
                    <a:pt x="89313" y="247066"/>
                  </a:cubicBezTo>
                  <a:cubicBezTo>
                    <a:pt x="78074" y="229778"/>
                    <a:pt x="65973" y="213066"/>
                    <a:pt x="56177" y="195201"/>
                  </a:cubicBezTo>
                  <a:cubicBezTo>
                    <a:pt x="47820" y="179930"/>
                    <a:pt x="37448" y="170133"/>
                    <a:pt x="19583" y="170133"/>
                  </a:cubicBezTo>
                  <a:cubicBezTo>
                    <a:pt x="8922" y="170710"/>
                    <a:pt x="4024" y="164082"/>
                    <a:pt x="1431" y="155438"/>
                  </a:cubicBezTo>
                  <a:cubicBezTo>
                    <a:pt x="-1163" y="147082"/>
                    <a:pt x="-875" y="139014"/>
                    <a:pt x="7769" y="133828"/>
                  </a:cubicBezTo>
                  <a:cubicBezTo>
                    <a:pt x="25633" y="119709"/>
                    <a:pt x="47821" y="117404"/>
                    <a:pt x="68278" y="110201"/>
                  </a:cubicBezTo>
                  <a:cubicBezTo>
                    <a:pt x="75194" y="107896"/>
                    <a:pt x="82108" y="105591"/>
                    <a:pt x="89313" y="103285"/>
                  </a:cubicBezTo>
                  <a:cubicBezTo>
                    <a:pt x="92770" y="99972"/>
                    <a:pt x="96876" y="98315"/>
                    <a:pt x="101162" y="97126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95717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7839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53">
            <a:extLst>
              <a:ext uri="{FF2B5EF4-FFF2-40B4-BE49-F238E27FC236}">
                <a16:creationId xmlns:a16="http://schemas.microsoft.com/office/drawing/2014/main" xmlns="" id="{85AC0054-5108-49B2-A32A-823F0D0F70E8}"/>
              </a:ext>
            </a:extLst>
          </p:cNvPr>
          <p:cNvGrpSpPr/>
          <p:nvPr userDrawn="1"/>
        </p:nvGrpSpPr>
        <p:grpSpPr>
          <a:xfrm>
            <a:off x="3390899" y="1741426"/>
            <a:ext cx="5410202" cy="4772430"/>
            <a:chOff x="533894" y="4192047"/>
            <a:chExt cx="2381250" cy="2100541"/>
          </a:xfrm>
          <a:solidFill>
            <a:schemeClr val="accent4">
              <a:alpha val="10000"/>
            </a:scheme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49C2E96E-9E1D-4541-B4C4-6668D48BD62D}"/>
                </a:ext>
              </a:extLst>
            </p:cNvPr>
            <p:cNvSpPr/>
            <p:nvPr/>
          </p:nvSpPr>
          <p:spPr>
            <a:xfrm>
              <a:off x="2442202" y="4537836"/>
              <a:ext cx="315297" cy="421957"/>
            </a:xfrm>
            <a:custGeom>
              <a:avLst/>
              <a:gdLst>
                <a:gd name="connsiteX0" fmla="*/ 236722 w 315297"/>
                <a:gd name="connsiteY0" fmla="*/ 182880 h 421957"/>
                <a:gd name="connsiteX1" fmla="*/ 254820 w 315297"/>
                <a:gd name="connsiteY1" fmla="*/ 280035 h 421957"/>
                <a:gd name="connsiteX2" fmla="*/ 231959 w 315297"/>
                <a:gd name="connsiteY2" fmla="*/ 254318 h 421957"/>
                <a:gd name="connsiteX3" fmla="*/ 231959 w 315297"/>
                <a:gd name="connsiteY3" fmla="*/ 254318 h 421957"/>
                <a:gd name="connsiteX4" fmla="*/ 30029 w 315297"/>
                <a:gd name="connsiteY4" fmla="*/ 98107 h 421957"/>
                <a:gd name="connsiteX5" fmla="*/ 4312 w 315297"/>
                <a:gd name="connsiteY5" fmla="*/ 91440 h 421957"/>
                <a:gd name="connsiteX6" fmla="*/ 9075 w 315297"/>
                <a:gd name="connsiteY6" fmla="*/ 116205 h 421957"/>
                <a:gd name="connsiteX7" fmla="*/ 120517 w 315297"/>
                <a:gd name="connsiteY7" fmla="*/ 239078 h 421957"/>
                <a:gd name="connsiteX8" fmla="*/ 293872 w 315297"/>
                <a:gd name="connsiteY8" fmla="*/ 420053 h 421957"/>
                <a:gd name="connsiteX9" fmla="*/ 300539 w 315297"/>
                <a:gd name="connsiteY9" fmla="*/ 421958 h 421957"/>
                <a:gd name="connsiteX10" fmla="*/ 190050 w 315297"/>
                <a:gd name="connsiteY10" fmla="*/ 0 h 421957"/>
                <a:gd name="connsiteX11" fmla="*/ 233864 w 315297"/>
                <a:gd name="connsiteY11" fmla="*/ 165735 h 421957"/>
                <a:gd name="connsiteX12" fmla="*/ 236722 w 315297"/>
                <a:gd name="connsiteY12" fmla="*/ 18288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5297" h="421957">
                  <a:moveTo>
                    <a:pt x="236722" y="182880"/>
                  </a:moveTo>
                  <a:cubicBezTo>
                    <a:pt x="242437" y="214313"/>
                    <a:pt x="248152" y="245745"/>
                    <a:pt x="254820" y="280035"/>
                  </a:cubicBezTo>
                  <a:cubicBezTo>
                    <a:pt x="237675" y="274320"/>
                    <a:pt x="236722" y="262890"/>
                    <a:pt x="231959" y="254318"/>
                  </a:cubicBezTo>
                  <a:cubicBezTo>
                    <a:pt x="231959" y="254318"/>
                    <a:pt x="231959" y="254318"/>
                    <a:pt x="231959" y="254318"/>
                  </a:cubicBezTo>
                  <a:cubicBezTo>
                    <a:pt x="177667" y="184785"/>
                    <a:pt x="102420" y="143828"/>
                    <a:pt x="30029" y="98107"/>
                  </a:cubicBezTo>
                  <a:cubicBezTo>
                    <a:pt x="22409" y="93345"/>
                    <a:pt x="12884" y="84773"/>
                    <a:pt x="4312" y="91440"/>
                  </a:cubicBezTo>
                  <a:cubicBezTo>
                    <a:pt x="-6166" y="100013"/>
                    <a:pt x="5264" y="108585"/>
                    <a:pt x="9075" y="116205"/>
                  </a:cubicBezTo>
                  <a:cubicBezTo>
                    <a:pt x="33839" y="167640"/>
                    <a:pt x="72892" y="207645"/>
                    <a:pt x="120517" y="239078"/>
                  </a:cubicBezTo>
                  <a:cubicBezTo>
                    <a:pt x="191002" y="287655"/>
                    <a:pt x="253867" y="342900"/>
                    <a:pt x="293872" y="420053"/>
                  </a:cubicBezTo>
                  <a:cubicBezTo>
                    <a:pt x="294825" y="421005"/>
                    <a:pt x="297682" y="421005"/>
                    <a:pt x="300539" y="421958"/>
                  </a:cubicBezTo>
                  <a:cubicBezTo>
                    <a:pt x="341497" y="239078"/>
                    <a:pt x="294825" y="54293"/>
                    <a:pt x="190050" y="0"/>
                  </a:cubicBezTo>
                  <a:cubicBezTo>
                    <a:pt x="218625" y="53340"/>
                    <a:pt x="230054" y="108585"/>
                    <a:pt x="233864" y="165735"/>
                  </a:cubicBezTo>
                  <a:cubicBezTo>
                    <a:pt x="234817" y="171450"/>
                    <a:pt x="235770" y="177165"/>
                    <a:pt x="236722" y="1828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E396CF97-5E95-41B1-BEED-72A3F9EC78A9}"/>
                </a:ext>
              </a:extLst>
            </p:cNvPr>
            <p:cNvSpPr/>
            <p:nvPr/>
          </p:nvSpPr>
          <p:spPr>
            <a:xfrm>
              <a:off x="901297" y="4360276"/>
              <a:ext cx="1651315" cy="1642193"/>
            </a:xfrm>
            <a:custGeom>
              <a:avLst/>
              <a:gdLst>
                <a:gd name="connsiteX0" fmla="*/ 6929 w 1651315"/>
                <a:gd name="connsiteY0" fmla="*/ 919557 h 1642193"/>
                <a:gd name="connsiteX1" fmla="*/ 966097 w 1651315"/>
                <a:gd name="connsiteY1" fmla="*/ 1631075 h 1642193"/>
                <a:gd name="connsiteX2" fmla="*/ 1524262 w 1651315"/>
                <a:gd name="connsiteY2" fmla="*/ 379490 h 1642193"/>
                <a:gd name="connsiteX3" fmla="*/ 1224224 w 1651315"/>
                <a:gd name="connsiteY3" fmla="*/ 94692 h 1642193"/>
                <a:gd name="connsiteX4" fmla="*/ 1224224 w 1651315"/>
                <a:gd name="connsiteY4" fmla="*/ 94692 h 1642193"/>
                <a:gd name="connsiteX5" fmla="*/ 940379 w 1651315"/>
                <a:gd name="connsiteY5" fmla="*/ 2300 h 1642193"/>
                <a:gd name="connsiteX6" fmla="*/ 908947 w 1651315"/>
                <a:gd name="connsiteY6" fmla="*/ 13730 h 1642193"/>
                <a:gd name="connsiteX7" fmla="*/ 935617 w 1651315"/>
                <a:gd name="connsiteY7" fmla="*/ 29922 h 1642193"/>
                <a:gd name="connsiteX8" fmla="*/ 1343287 w 1651315"/>
                <a:gd name="connsiteY8" fmla="*/ 213755 h 1642193"/>
                <a:gd name="connsiteX9" fmla="*/ 1346144 w 1651315"/>
                <a:gd name="connsiteY9" fmla="*/ 285192 h 1642193"/>
                <a:gd name="connsiteX10" fmla="*/ 1340429 w 1651315"/>
                <a:gd name="connsiteY10" fmla="*/ 289002 h 1642193"/>
                <a:gd name="connsiteX11" fmla="*/ 1340429 w 1651315"/>
                <a:gd name="connsiteY11" fmla="*/ 289002 h 1642193"/>
                <a:gd name="connsiteX12" fmla="*/ 1309949 w 1651315"/>
                <a:gd name="connsiteY12" fmla="*/ 325197 h 1642193"/>
                <a:gd name="connsiteX13" fmla="*/ 1309949 w 1651315"/>
                <a:gd name="connsiteY13" fmla="*/ 325197 h 1642193"/>
                <a:gd name="connsiteX14" fmla="*/ 1309949 w 1651315"/>
                <a:gd name="connsiteY14" fmla="*/ 325197 h 1642193"/>
                <a:gd name="connsiteX15" fmla="*/ 1297567 w 1651315"/>
                <a:gd name="connsiteY15" fmla="*/ 325197 h 1642193"/>
                <a:gd name="connsiteX16" fmla="*/ 1269944 w 1651315"/>
                <a:gd name="connsiteY16" fmla="*/ 300432 h 1642193"/>
                <a:gd name="connsiteX17" fmla="*/ 1181362 w 1651315"/>
                <a:gd name="connsiteY17" fmla="*/ 215660 h 1642193"/>
                <a:gd name="connsiteX18" fmla="*/ 1158502 w 1651315"/>
                <a:gd name="connsiteY18" fmla="*/ 217565 h 1642193"/>
                <a:gd name="connsiteX19" fmla="*/ 1158502 w 1651315"/>
                <a:gd name="connsiteY19" fmla="*/ 237567 h 1642193"/>
                <a:gd name="connsiteX20" fmla="*/ 1180409 w 1651315"/>
                <a:gd name="connsiteY20" fmla="*/ 305195 h 1642193"/>
                <a:gd name="connsiteX21" fmla="*/ 1206127 w 1651315"/>
                <a:gd name="connsiteY21" fmla="*/ 384252 h 1642193"/>
                <a:gd name="connsiteX22" fmla="*/ 1187077 w 1651315"/>
                <a:gd name="connsiteY22" fmla="*/ 439497 h 1642193"/>
                <a:gd name="connsiteX23" fmla="*/ 1151834 w 1651315"/>
                <a:gd name="connsiteY23" fmla="*/ 481407 h 1642193"/>
                <a:gd name="connsiteX24" fmla="*/ 1108019 w 1651315"/>
                <a:gd name="connsiteY24" fmla="*/ 523317 h 1642193"/>
                <a:gd name="connsiteX25" fmla="*/ 1028962 w 1651315"/>
                <a:gd name="connsiteY25" fmla="*/ 567132 h 1642193"/>
                <a:gd name="connsiteX26" fmla="*/ 1016579 w 1651315"/>
                <a:gd name="connsiteY26" fmla="*/ 580467 h 1642193"/>
                <a:gd name="connsiteX27" fmla="*/ 1036582 w 1651315"/>
                <a:gd name="connsiteY27" fmla="*/ 589992 h 1642193"/>
                <a:gd name="connsiteX28" fmla="*/ 1036582 w 1651315"/>
                <a:gd name="connsiteY28" fmla="*/ 589992 h 1642193"/>
                <a:gd name="connsiteX29" fmla="*/ 968002 w 1651315"/>
                <a:gd name="connsiteY29" fmla="*/ 628092 h 1642193"/>
                <a:gd name="connsiteX30" fmla="*/ 940379 w 1651315"/>
                <a:gd name="connsiteY30" fmla="*/ 648095 h 1642193"/>
                <a:gd name="connsiteX31" fmla="*/ 911804 w 1651315"/>
                <a:gd name="connsiteY31" fmla="*/ 667145 h 1642193"/>
                <a:gd name="connsiteX32" fmla="*/ 887039 w 1651315"/>
                <a:gd name="connsiteY32" fmla="*/ 687147 h 1642193"/>
                <a:gd name="connsiteX33" fmla="*/ 885134 w 1651315"/>
                <a:gd name="connsiteY33" fmla="*/ 769062 h 1642193"/>
                <a:gd name="connsiteX34" fmla="*/ 909899 w 1651315"/>
                <a:gd name="connsiteY34" fmla="*/ 806210 h 1642193"/>
                <a:gd name="connsiteX35" fmla="*/ 997529 w 1651315"/>
                <a:gd name="connsiteY35" fmla="*/ 852882 h 1642193"/>
                <a:gd name="connsiteX36" fmla="*/ 988004 w 1651315"/>
                <a:gd name="connsiteY36" fmla="*/ 1083387 h 1642193"/>
                <a:gd name="connsiteX37" fmla="*/ 919424 w 1651315"/>
                <a:gd name="connsiteY37" fmla="*/ 1113867 h 1642193"/>
                <a:gd name="connsiteX38" fmla="*/ 874657 w 1651315"/>
                <a:gd name="connsiteY38" fmla="*/ 1155777 h 1642193"/>
                <a:gd name="connsiteX39" fmla="*/ 908947 w 1651315"/>
                <a:gd name="connsiteY39" fmla="*/ 1220547 h 1642193"/>
                <a:gd name="connsiteX40" fmla="*/ 908947 w 1651315"/>
                <a:gd name="connsiteY40" fmla="*/ 1220547 h 1642193"/>
                <a:gd name="connsiteX41" fmla="*/ 928949 w 1651315"/>
                <a:gd name="connsiteY41" fmla="*/ 1234835 h 1642193"/>
                <a:gd name="connsiteX42" fmla="*/ 999434 w 1651315"/>
                <a:gd name="connsiteY42" fmla="*/ 1385330 h 1642193"/>
                <a:gd name="connsiteX43" fmla="*/ 953714 w 1651315"/>
                <a:gd name="connsiteY43" fmla="*/ 1441527 h 1642193"/>
                <a:gd name="connsiteX44" fmla="*/ 887039 w 1651315"/>
                <a:gd name="connsiteY44" fmla="*/ 1452005 h 1642193"/>
                <a:gd name="connsiteX45" fmla="*/ 870847 w 1651315"/>
                <a:gd name="connsiteY45" fmla="*/ 1467245 h 1642193"/>
                <a:gd name="connsiteX46" fmla="*/ 887039 w 1651315"/>
                <a:gd name="connsiteY46" fmla="*/ 1482485 h 1642193"/>
                <a:gd name="connsiteX47" fmla="*/ 887039 w 1651315"/>
                <a:gd name="connsiteY47" fmla="*/ 1482485 h 1642193"/>
                <a:gd name="connsiteX48" fmla="*/ 897517 w 1651315"/>
                <a:gd name="connsiteY48" fmla="*/ 1480580 h 1642193"/>
                <a:gd name="connsiteX49" fmla="*/ 1072777 w 1651315"/>
                <a:gd name="connsiteY49" fmla="*/ 1432955 h 1642193"/>
                <a:gd name="connsiteX50" fmla="*/ 1129927 w 1651315"/>
                <a:gd name="connsiteY50" fmla="*/ 1403427 h 1642193"/>
                <a:gd name="connsiteX51" fmla="*/ 1260419 w 1651315"/>
                <a:gd name="connsiteY51" fmla="*/ 1317702 h 1642193"/>
                <a:gd name="connsiteX52" fmla="*/ 1299472 w 1651315"/>
                <a:gd name="connsiteY52" fmla="*/ 1318655 h 1642193"/>
                <a:gd name="connsiteX53" fmla="*/ 1327094 w 1651315"/>
                <a:gd name="connsiteY53" fmla="*/ 1346277 h 1642193"/>
                <a:gd name="connsiteX54" fmla="*/ 1319474 w 1651315"/>
                <a:gd name="connsiteY54" fmla="*/ 1443432 h 1642193"/>
                <a:gd name="connsiteX55" fmla="*/ 888944 w 1651315"/>
                <a:gd name="connsiteY55" fmla="*/ 1611072 h 1642193"/>
                <a:gd name="connsiteX56" fmla="*/ 888944 w 1651315"/>
                <a:gd name="connsiteY56" fmla="*/ 1611072 h 1642193"/>
                <a:gd name="connsiteX57" fmla="*/ 699397 w 1651315"/>
                <a:gd name="connsiteY57" fmla="*/ 1604405 h 1642193"/>
                <a:gd name="connsiteX58" fmla="*/ 699397 w 1651315"/>
                <a:gd name="connsiteY58" fmla="*/ 1604405 h 1642193"/>
                <a:gd name="connsiteX59" fmla="*/ 293632 w 1651315"/>
                <a:gd name="connsiteY59" fmla="*/ 1413905 h 1642193"/>
                <a:gd name="connsiteX60" fmla="*/ 293632 w 1651315"/>
                <a:gd name="connsiteY60" fmla="*/ 1378662 h 1642193"/>
                <a:gd name="connsiteX61" fmla="*/ 366022 w 1651315"/>
                <a:gd name="connsiteY61" fmla="*/ 1305320 h 1642193"/>
                <a:gd name="connsiteX62" fmla="*/ 366022 w 1651315"/>
                <a:gd name="connsiteY62" fmla="*/ 1305320 h 1642193"/>
                <a:gd name="connsiteX63" fmla="*/ 383167 w 1651315"/>
                <a:gd name="connsiteY63" fmla="*/ 1312940 h 1642193"/>
                <a:gd name="connsiteX64" fmla="*/ 423172 w 1651315"/>
                <a:gd name="connsiteY64" fmla="*/ 1347230 h 1642193"/>
                <a:gd name="connsiteX65" fmla="*/ 746069 w 1651315"/>
                <a:gd name="connsiteY65" fmla="*/ 1480580 h 1642193"/>
                <a:gd name="connsiteX66" fmla="*/ 751784 w 1651315"/>
                <a:gd name="connsiteY66" fmla="*/ 1481532 h 1642193"/>
                <a:gd name="connsiteX67" fmla="*/ 751784 w 1651315"/>
                <a:gd name="connsiteY67" fmla="*/ 1481532 h 1642193"/>
                <a:gd name="connsiteX68" fmla="*/ 772739 w 1651315"/>
                <a:gd name="connsiteY68" fmla="*/ 1467245 h 1642193"/>
                <a:gd name="connsiteX69" fmla="*/ 749879 w 1651315"/>
                <a:gd name="connsiteY69" fmla="*/ 1448195 h 1642193"/>
                <a:gd name="connsiteX70" fmla="*/ 749879 w 1651315"/>
                <a:gd name="connsiteY70" fmla="*/ 1448195 h 1642193"/>
                <a:gd name="connsiteX71" fmla="*/ 745117 w 1651315"/>
                <a:gd name="connsiteY71" fmla="*/ 1447242 h 1642193"/>
                <a:gd name="connsiteX72" fmla="*/ 408884 w 1651315"/>
                <a:gd name="connsiteY72" fmla="*/ 1299605 h 1642193"/>
                <a:gd name="connsiteX73" fmla="*/ 398407 w 1651315"/>
                <a:gd name="connsiteY73" fmla="*/ 1283412 h 1642193"/>
                <a:gd name="connsiteX74" fmla="*/ 401264 w 1651315"/>
                <a:gd name="connsiteY74" fmla="*/ 1267220 h 1642193"/>
                <a:gd name="connsiteX75" fmla="*/ 537472 w 1651315"/>
                <a:gd name="connsiteY75" fmla="*/ 1227215 h 1642193"/>
                <a:gd name="connsiteX76" fmla="*/ 537472 w 1651315"/>
                <a:gd name="connsiteY76" fmla="*/ 1227215 h 1642193"/>
                <a:gd name="connsiteX77" fmla="*/ 571762 w 1651315"/>
                <a:gd name="connsiteY77" fmla="*/ 1251980 h 1642193"/>
                <a:gd name="connsiteX78" fmla="*/ 744164 w 1651315"/>
                <a:gd name="connsiteY78" fmla="*/ 1315797 h 1642193"/>
                <a:gd name="connsiteX79" fmla="*/ 751784 w 1651315"/>
                <a:gd name="connsiteY79" fmla="*/ 1317702 h 1642193"/>
                <a:gd name="connsiteX80" fmla="*/ 751784 w 1651315"/>
                <a:gd name="connsiteY80" fmla="*/ 1317702 h 1642193"/>
                <a:gd name="connsiteX81" fmla="*/ 770834 w 1651315"/>
                <a:gd name="connsiteY81" fmla="*/ 1301510 h 1642193"/>
                <a:gd name="connsiteX82" fmla="*/ 753689 w 1651315"/>
                <a:gd name="connsiteY82" fmla="*/ 1287222 h 1642193"/>
                <a:gd name="connsiteX83" fmla="*/ 686062 w 1651315"/>
                <a:gd name="connsiteY83" fmla="*/ 1268172 h 1642193"/>
                <a:gd name="connsiteX84" fmla="*/ 686062 w 1651315"/>
                <a:gd name="connsiteY84" fmla="*/ 1268172 h 1642193"/>
                <a:gd name="connsiteX85" fmla="*/ 684157 w 1651315"/>
                <a:gd name="connsiteY85" fmla="*/ 1268172 h 1642193"/>
                <a:gd name="connsiteX86" fmla="*/ 540329 w 1651315"/>
                <a:gd name="connsiteY86" fmla="*/ 1197687 h 1642193"/>
                <a:gd name="connsiteX87" fmla="*/ 516517 w 1651315"/>
                <a:gd name="connsiteY87" fmla="*/ 1182447 h 1642193"/>
                <a:gd name="connsiteX88" fmla="*/ 517469 w 1651315"/>
                <a:gd name="connsiteY88" fmla="*/ 1153872 h 1642193"/>
                <a:gd name="connsiteX89" fmla="*/ 561284 w 1651315"/>
                <a:gd name="connsiteY89" fmla="*/ 1113867 h 1642193"/>
                <a:gd name="connsiteX90" fmla="*/ 640342 w 1651315"/>
                <a:gd name="connsiteY90" fmla="*/ 1105295 h 1642193"/>
                <a:gd name="connsiteX91" fmla="*/ 647009 w 1651315"/>
                <a:gd name="connsiteY91" fmla="*/ 1111010 h 1642193"/>
                <a:gd name="connsiteX92" fmla="*/ 647009 w 1651315"/>
                <a:gd name="connsiteY92" fmla="*/ 1111010 h 1642193"/>
                <a:gd name="connsiteX93" fmla="*/ 682252 w 1651315"/>
                <a:gd name="connsiteY93" fmla="*/ 1111010 h 1642193"/>
                <a:gd name="connsiteX94" fmla="*/ 673679 w 1651315"/>
                <a:gd name="connsiteY94" fmla="*/ 1090055 h 1642193"/>
                <a:gd name="connsiteX95" fmla="*/ 670822 w 1651315"/>
                <a:gd name="connsiteY95" fmla="*/ 1004330 h 1642193"/>
                <a:gd name="connsiteX96" fmla="*/ 686062 w 1651315"/>
                <a:gd name="connsiteY96" fmla="*/ 989090 h 1642193"/>
                <a:gd name="connsiteX97" fmla="*/ 745117 w 1651315"/>
                <a:gd name="connsiteY97" fmla="*/ 975755 h 1642193"/>
                <a:gd name="connsiteX98" fmla="*/ 764167 w 1651315"/>
                <a:gd name="connsiteY98" fmla="*/ 975755 h 1642193"/>
                <a:gd name="connsiteX99" fmla="*/ 761309 w 1651315"/>
                <a:gd name="connsiteY99" fmla="*/ 955752 h 1642193"/>
                <a:gd name="connsiteX100" fmla="*/ 746069 w 1651315"/>
                <a:gd name="connsiteY100" fmla="*/ 930987 h 1642193"/>
                <a:gd name="connsiteX101" fmla="*/ 725114 w 1651315"/>
                <a:gd name="connsiteY101" fmla="*/ 909080 h 1642193"/>
                <a:gd name="connsiteX102" fmla="*/ 708922 w 1651315"/>
                <a:gd name="connsiteY102" fmla="*/ 908127 h 1642193"/>
                <a:gd name="connsiteX103" fmla="*/ 615577 w 1651315"/>
                <a:gd name="connsiteY103" fmla="*/ 839547 h 1642193"/>
                <a:gd name="connsiteX104" fmla="*/ 615577 w 1651315"/>
                <a:gd name="connsiteY104" fmla="*/ 839547 h 1642193"/>
                <a:gd name="connsiteX105" fmla="*/ 615577 w 1651315"/>
                <a:gd name="connsiteY105" fmla="*/ 839547 h 1642193"/>
                <a:gd name="connsiteX106" fmla="*/ 558427 w 1651315"/>
                <a:gd name="connsiteY106" fmla="*/ 724295 h 1642193"/>
                <a:gd name="connsiteX107" fmla="*/ 578429 w 1651315"/>
                <a:gd name="connsiteY107" fmla="*/ 598565 h 1642193"/>
                <a:gd name="connsiteX108" fmla="*/ 582239 w 1651315"/>
                <a:gd name="connsiteY108" fmla="*/ 589040 h 1642193"/>
                <a:gd name="connsiteX109" fmla="*/ 582239 w 1651315"/>
                <a:gd name="connsiteY109" fmla="*/ 589040 h 1642193"/>
                <a:gd name="connsiteX110" fmla="*/ 593669 w 1651315"/>
                <a:gd name="connsiteY110" fmla="*/ 568085 h 1642193"/>
                <a:gd name="connsiteX111" fmla="*/ 593669 w 1651315"/>
                <a:gd name="connsiteY111" fmla="*/ 568085 h 1642193"/>
                <a:gd name="connsiteX112" fmla="*/ 546997 w 1651315"/>
                <a:gd name="connsiteY112" fmla="*/ 524270 h 1642193"/>
                <a:gd name="connsiteX113" fmla="*/ 557474 w 1651315"/>
                <a:gd name="connsiteY113" fmla="*/ 431877 h 1642193"/>
                <a:gd name="connsiteX114" fmla="*/ 729877 w 1651315"/>
                <a:gd name="connsiteY114" fmla="*/ 357582 h 1642193"/>
                <a:gd name="connsiteX115" fmla="*/ 750832 w 1651315"/>
                <a:gd name="connsiteY115" fmla="*/ 335675 h 1642193"/>
                <a:gd name="connsiteX116" fmla="*/ 723209 w 1651315"/>
                <a:gd name="connsiteY116" fmla="*/ 330912 h 1642193"/>
                <a:gd name="connsiteX117" fmla="*/ 624149 w 1651315"/>
                <a:gd name="connsiteY117" fmla="*/ 360440 h 1642193"/>
                <a:gd name="connsiteX118" fmla="*/ 624149 w 1651315"/>
                <a:gd name="connsiteY118" fmla="*/ 360440 h 1642193"/>
                <a:gd name="connsiteX119" fmla="*/ 624149 w 1651315"/>
                <a:gd name="connsiteY119" fmla="*/ 360440 h 1642193"/>
                <a:gd name="connsiteX120" fmla="*/ 497467 w 1651315"/>
                <a:gd name="connsiteY120" fmla="*/ 442355 h 1642193"/>
                <a:gd name="connsiteX121" fmla="*/ 466987 w 1651315"/>
                <a:gd name="connsiteY121" fmla="*/ 446165 h 1642193"/>
                <a:gd name="connsiteX122" fmla="*/ 466987 w 1651315"/>
                <a:gd name="connsiteY122" fmla="*/ 446165 h 1642193"/>
                <a:gd name="connsiteX123" fmla="*/ 466034 w 1651315"/>
                <a:gd name="connsiteY123" fmla="*/ 430925 h 1642193"/>
                <a:gd name="connsiteX124" fmla="*/ 512707 w 1651315"/>
                <a:gd name="connsiteY124" fmla="*/ 392825 h 1642193"/>
                <a:gd name="connsiteX125" fmla="*/ 601289 w 1651315"/>
                <a:gd name="connsiteY125" fmla="*/ 351867 h 1642193"/>
                <a:gd name="connsiteX126" fmla="*/ 601289 w 1651315"/>
                <a:gd name="connsiteY126" fmla="*/ 351867 h 1642193"/>
                <a:gd name="connsiteX127" fmla="*/ 711779 w 1651315"/>
                <a:gd name="connsiteY127" fmla="*/ 258522 h 1642193"/>
                <a:gd name="connsiteX128" fmla="*/ 751784 w 1651315"/>
                <a:gd name="connsiteY128" fmla="*/ 166130 h 1642193"/>
                <a:gd name="connsiteX129" fmla="*/ 717494 w 1651315"/>
                <a:gd name="connsiteY129" fmla="*/ 145175 h 1642193"/>
                <a:gd name="connsiteX130" fmla="*/ 638437 w 1651315"/>
                <a:gd name="connsiteY130" fmla="*/ 176607 h 1642193"/>
                <a:gd name="connsiteX131" fmla="*/ 498419 w 1651315"/>
                <a:gd name="connsiteY131" fmla="*/ 315672 h 1642193"/>
                <a:gd name="connsiteX132" fmla="*/ 452699 w 1651315"/>
                <a:gd name="connsiteY132" fmla="*/ 417590 h 1642193"/>
                <a:gd name="connsiteX133" fmla="*/ 432697 w 1651315"/>
                <a:gd name="connsiteY133" fmla="*/ 409970 h 1642193"/>
                <a:gd name="connsiteX134" fmla="*/ 432697 w 1651315"/>
                <a:gd name="connsiteY134" fmla="*/ 409970 h 1642193"/>
                <a:gd name="connsiteX135" fmla="*/ 437459 w 1651315"/>
                <a:gd name="connsiteY135" fmla="*/ 317577 h 1642193"/>
                <a:gd name="connsiteX136" fmla="*/ 466034 w 1651315"/>
                <a:gd name="connsiteY136" fmla="*/ 296622 h 1642193"/>
                <a:gd name="connsiteX137" fmla="*/ 484132 w 1651315"/>
                <a:gd name="connsiteY137" fmla="*/ 252807 h 1642193"/>
                <a:gd name="connsiteX138" fmla="*/ 362212 w 1651315"/>
                <a:gd name="connsiteY138" fmla="*/ 333770 h 1642193"/>
                <a:gd name="connsiteX139" fmla="*/ 293632 w 1651315"/>
                <a:gd name="connsiteY139" fmla="*/ 273762 h 1642193"/>
                <a:gd name="connsiteX140" fmla="*/ 296489 w 1651315"/>
                <a:gd name="connsiteY140" fmla="*/ 223280 h 1642193"/>
                <a:gd name="connsiteX141" fmla="*/ 711779 w 1651315"/>
                <a:gd name="connsiteY141" fmla="*/ 31827 h 1642193"/>
                <a:gd name="connsiteX142" fmla="*/ 737497 w 1651315"/>
                <a:gd name="connsiteY142" fmla="*/ 15635 h 1642193"/>
                <a:gd name="connsiteX143" fmla="*/ 708922 w 1651315"/>
                <a:gd name="connsiteY143" fmla="*/ 5157 h 1642193"/>
                <a:gd name="connsiteX144" fmla="*/ 600337 w 1651315"/>
                <a:gd name="connsiteY144" fmla="*/ 27065 h 1642193"/>
                <a:gd name="connsiteX145" fmla="*/ 6929 w 1651315"/>
                <a:gd name="connsiteY145" fmla="*/ 919557 h 1642193"/>
                <a:gd name="connsiteX146" fmla="*/ 1376624 w 1651315"/>
                <a:gd name="connsiteY146" fmla="*/ 294717 h 1642193"/>
                <a:gd name="connsiteX147" fmla="*/ 1429012 w 1651315"/>
                <a:gd name="connsiteY147" fmla="*/ 297575 h 1642193"/>
                <a:gd name="connsiteX148" fmla="*/ 1623322 w 1651315"/>
                <a:gd name="connsiteY148" fmla="*/ 807162 h 1642193"/>
                <a:gd name="connsiteX149" fmla="*/ 1495687 w 1651315"/>
                <a:gd name="connsiteY149" fmla="*/ 809067 h 1642193"/>
                <a:gd name="connsiteX150" fmla="*/ 1482352 w 1651315"/>
                <a:gd name="connsiteY150" fmla="*/ 743345 h 1642193"/>
                <a:gd name="connsiteX151" fmla="*/ 1482352 w 1651315"/>
                <a:gd name="connsiteY151" fmla="*/ 743345 h 1642193"/>
                <a:gd name="connsiteX152" fmla="*/ 1482352 w 1651315"/>
                <a:gd name="connsiteY152" fmla="*/ 742392 h 1642193"/>
                <a:gd name="connsiteX153" fmla="*/ 1424249 w 1651315"/>
                <a:gd name="connsiteY153" fmla="*/ 536652 h 1642193"/>
                <a:gd name="connsiteX154" fmla="*/ 1413772 w 1651315"/>
                <a:gd name="connsiteY154" fmla="*/ 483312 h 1642193"/>
                <a:gd name="connsiteX155" fmla="*/ 1329952 w 1651315"/>
                <a:gd name="connsiteY155" fmla="*/ 387110 h 1642193"/>
                <a:gd name="connsiteX156" fmla="*/ 1314712 w 1651315"/>
                <a:gd name="connsiteY156" fmla="*/ 359487 h 1642193"/>
                <a:gd name="connsiteX157" fmla="*/ 1317569 w 1651315"/>
                <a:gd name="connsiteY157" fmla="*/ 350915 h 1642193"/>
                <a:gd name="connsiteX158" fmla="*/ 1376624 w 1651315"/>
                <a:gd name="connsiteY158" fmla="*/ 294717 h 1642193"/>
                <a:gd name="connsiteX159" fmla="*/ 1423297 w 1651315"/>
                <a:gd name="connsiteY159" fmla="*/ 809067 h 1642193"/>
                <a:gd name="connsiteX160" fmla="*/ 1346144 w 1651315"/>
                <a:gd name="connsiteY160" fmla="*/ 810020 h 1642193"/>
                <a:gd name="connsiteX161" fmla="*/ 1346144 w 1651315"/>
                <a:gd name="connsiteY161" fmla="*/ 810020 h 1642193"/>
                <a:gd name="connsiteX162" fmla="*/ 1345192 w 1651315"/>
                <a:gd name="connsiteY162" fmla="*/ 810020 h 1642193"/>
                <a:gd name="connsiteX163" fmla="*/ 1342334 w 1651315"/>
                <a:gd name="connsiteY163" fmla="*/ 810020 h 1642193"/>
                <a:gd name="connsiteX164" fmla="*/ 1337572 w 1651315"/>
                <a:gd name="connsiteY164" fmla="*/ 810020 h 1642193"/>
                <a:gd name="connsiteX165" fmla="*/ 1323284 w 1651315"/>
                <a:gd name="connsiteY165" fmla="*/ 809067 h 1642193"/>
                <a:gd name="connsiteX166" fmla="*/ 1317569 w 1651315"/>
                <a:gd name="connsiteY166" fmla="*/ 779540 h 1642193"/>
                <a:gd name="connsiteX167" fmla="*/ 1316617 w 1651315"/>
                <a:gd name="connsiteY167" fmla="*/ 695720 h 1642193"/>
                <a:gd name="connsiteX168" fmla="*/ 1316617 w 1651315"/>
                <a:gd name="connsiteY168" fmla="*/ 695720 h 1642193"/>
                <a:gd name="connsiteX169" fmla="*/ 1325189 w 1651315"/>
                <a:gd name="connsiteY169" fmla="*/ 669050 h 1642193"/>
                <a:gd name="connsiteX170" fmla="*/ 1326142 w 1651315"/>
                <a:gd name="connsiteY170" fmla="*/ 658572 h 1642193"/>
                <a:gd name="connsiteX171" fmla="*/ 1280422 w 1651315"/>
                <a:gd name="connsiteY171" fmla="*/ 516650 h 1642193"/>
                <a:gd name="connsiteX172" fmla="*/ 1271849 w 1651315"/>
                <a:gd name="connsiteY172" fmla="*/ 499505 h 1642193"/>
                <a:gd name="connsiteX173" fmla="*/ 1252799 w 1651315"/>
                <a:gd name="connsiteY173" fmla="*/ 489980 h 1642193"/>
                <a:gd name="connsiteX174" fmla="*/ 1268039 w 1651315"/>
                <a:gd name="connsiteY174" fmla="*/ 521412 h 1642193"/>
                <a:gd name="connsiteX175" fmla="*/ 1310902 w 1651315"/>
                <a:gd name="connsiteY175" fmla="*/ 640475 h 1642193"/>
                <a:gd name="connsiteX176" fmla="*/ 1311854 w 1651315"/>
                <a:gd name="connsiteY176" fmla="*/ 646190 h 1642193"/>
                <a:gd name="connsiteX177" fmla="*/ 1302329 w 1651315"/>
                <a:gd name="connsiteY177" fmla="*/ 663335 h 1642193"/>
                <a:gd name="connsiteX178" fmla="*/ 1256609 w 1651315"/>
                <a:gd name="connsiteY178" fmla="*/ 548082 h 1642193"/>
                <a:gd name="connsiteX179" fmla="*/ 1202317 w 1651315"/>
                <a:gd name="connsiteY179" fmla="*/ 490932 h 1642193"/>
                <a:gd name="connsiteX180" fmla="*/ 1197554 w 1651315"/>
                <a:gd name="connsiteY180" fmla="*/ 486170 h 1642193"/>
                <a:gd name="connsiteX181" fmla="*/ 1197554 w 1651315"/>
                <a:gd name="connsiteY181" fmla="*/ 486170 h 1642193"/>
                <a:gd name="connsiteX182" fmla="*/ 1273754 w 1651315"/>
                <a:gd name="connsiteY182" fmla="*/ 469977 h 1642193"/>
                <a:gd name="connsiteX183" fmla="*/ 1288994 w 1651315"/>
                <a:gd name="connsiteY183" fmla="*/ 484265 h 1642193"/>
                <a:gd name="connsiteX184" fmla="*/ 1356622 w 1651315"/>
                <a:gd name="connsiteY184" fmla="*/ 536652 h 1642193"/>
                <a:gd name="connsiteX185" fmla="*/ 1409962 w 1651315"/>
                <a:gd name="connsiteY185" fmla="*/ 565227 h 1642193"/>
                <a:gd name="connsiteX186" fmla="*/ 1411867 w 1651315"/>
                <a:gd name="connsiteY186" fmla="*/ 570942 h 1642193"/>
                <a:gd name="connsiteX187" fmla="*/ 1459492 w 1651315"/>
                <a:gd name="connsiteY187" fmla="*/ 763347 h 1642193"/>
                <a:gd name="connsiteX188" fmla="*/ 1460444 w 1651315"/>
                <a:gd name="connsiteY188" fmla="*/ 771920 h 1642193"/>
                <a:gd name="connsiteX189" fmla="*/ 1423297 w 1651315"/>
                <a:gd name="connsiteY189" fmla="*/ 809067 h 1642193"/>
                <a:gd name="connsiteX190" fmla="*/ 1234702 w 1651315"/>
                <a:gd name="connsiteY190" fmla="*/ 690957 h 1642193"/>
                <a:gd name="connsiteX191" fmla="*/ 1219462 w 1651315"/>
                <a:gd name="connsiteY191" fmla="*/ 669050 h 1642193"/>
                <a:gd name="connsiteX192" fmla="*/ 1197554 w 1651315"/>
                <a:gd name="connsiteY192" fmla="*/ 674765 h 1642193"/>
                <a:gd name="connsiteX193" fmla="*/ 1166122 w 1651315"/>
                <a:gd name="connsiteY193" fmla="*/ 673812 h 1642193"/>
                <a:gd name="connsiteX194" fmla="*/ 1095637 w 1651315"/>
                <a:gd name="connsiteY194" fmla="*/ 618567 h 1642193"/>
                <a:gd name="connsiteX195" fmla="*/ 1089922 w 1651315"/>
                <a:gd name="connsiteY195" fmla="*/ 612852 h 1642193"/>
                <a:gd name="connsiteX196" fmla="*/ 1097542 w 1651315"/>
                <a:gd name="connsiteY196" fmla="*/ 569990 h 1642193"/>
                <a:gd name="connsiteX197" fmla="*/ 1153739 w 1651315"/>
                <a:gd name="connsiteY197" fmla="*/ 515697 h 1642193"/>
                <a:gd name="connsiteX198" fmla="*/ 1189934 w 1651315"/>
                <a:gd name="connsiteY198" fmla="*/ 518555 h 1642193"/>
                <a:gd name="connsiteX199" fmla="*/ 1220414 w 1651315"/>
                <a:gd name="connsiteY199" fmla="*/ 589040 h 1642193"/>
                <a:gd name="connsiteX200" fmla="*/ 1235654 w 1651315"/>
                <a:gd name="connsiteY200" fmla="*/ 610947 h 1642193"/>
                <a:gd name="connsiteX201" fmla="*/ 1266134 w 1651315"/>
                <a:gd name="connsiteY201" fmla="*/ 707150 h 1642193"/>
                <a:gd name="connsiteX202" fmla="*/ 1266134 w 1651315"/>
                <a:gd name="connsiteY202" fmla="*/ 707150 h 1642193"/>
                <a:gd name="connsiteX203" fmla="*/ 1266134 w 1651315"/>
                <a:gd name="connsiteY203" fmla="*/ 707150 h 1642193"/>
                <a:gd name="connsiteX204" fmla="*/ 1268039 w 1651315"/>
                <a:gd name="connsiteY204" fmla="*/ 711912 h 1642193"/>
                <a:gd name="connsiteX205" fmla="*/ 1270897 w 1651315"/>
                <a:gd name="connsiteY205" fmla="*/ 720485 h 1642193"/>
                <a:gd name="connsiteX206" fmla="*/ 1289947 w 1651315"/>
                <a:gd name="connsiteY206" fmla="*/ 755727 h 1642193"/>
                <a:gd name="connsiteX207" fmla="*/ 1294709 w 1651315"/>
                <a:gd name="connsiteY207" fmla="*/ 757632 h 1642193"/>
                <a:gd name="connsiteX208" fmla="*/ 1237559 w 1651315"/>
                <a:gd name="connsiteY208" fmla="*/ 807162 h 1642193"/>
                <a:gd name="connsiteX209" fmla="*/ 1186124 w 1651315"/>
                <a:gd name="connsiteY209" fmla="*/ 799542 h 1642193"/>
                <a:gd name="connsiteX210" fmla="*/ 1232797 w 1651315"/>
                <a:gd name="connsiteY210" fmla="*/ 746202 h 1642193"/>
                <a:gd name="connsiteX211" fmla="*/ 1265182 w 1651315"/>
                <a:gd name="connsiteY211" fmla="*/ 716675 h 1642193"/>
                <a:gd name="connsiteX212" fmla="*/ 1234702 w 1651315"/>
                <a:gd name="connsiteY212" fmla="*/ 690957 h 1642193"/>
                <a:gd name="connsiteX213" fmla="*/ 1070872 w 1651315"/>
                <a:gd name="connsiteY213" fmla="*/ 629045 h 1642193"/>
                <a:gd name="connsiteX214" fmla="*/ 1079444 w 1651315"/>
                <a:gd name="connsiteY214" fmla="*/ 637617 h 1642193"/>
                <a:gd name="connsiteX215" fmla="*/ 1079444 w 1651315"/>
                <a:gd name="connsiteY215" fmla="*/ 637617 h 1642193"/>
                <a:gd name="connsiteX216" fmla="*/ 1054679 w 1651315"/>
                <a:gd name="connsiteY216" fmla="*/ 663335 h 1642193"/>
                <a:gd name="connsiteX217" fmla="*/ 1045154 w 1651315"/>
                <a:gd name="connsiteY217" fmla="*/ 623330 h 1642193"/>
                <a:gd name="connsiteX218" fmla="*/ 1063252 w 1651315"/>
                <a:gd name="connsiteY218" fmla="*/ 621425 h 1642193"/>
                <a:gd name="connsiteX219" fmla="*/ 1070872 w 1651315"/>
                <a:gd name="connsiteY219" fmla="*/ 629045 h 1642193"/>
                <a:gd name="connsiteX220" fmla="*/ 1033724 w 1651315"/>
                <a:gd name="connsiteY220" fmla="*/ 1085292 h 1642193"/>
                <a:gd name="connsiteX221" fmla="*/ 1048964 w 1651315"/>
                <a:gd name="connsiteY221" fmla="*/ 1079577 h 1642193"/>
                <a:gd name="connsiteX222" fmla="*/ 1090874 w 1651315"/>
                <a:gd name="connsiteY222" fmla="*/ 1111010 h 1642193"/>
                <a:gd name="connsiteX223" fmla="*/ 1039439 w 1651315"/>
                <a:gd name="connsiteY223" fmla="*/ 1099580 h 1642193"/>
                <a:gd name="connsiteX224" fmla="*/ 1033724 w 1651315"/>
                <a:gd name="connsiteY224" fmla="*/ 1085292 h 1642193"/>
                <a:gd name="connsiteX225" fmla="*/ 1128974 w 1651315"/>
                <a:gd name="connsiteY225" fmla="*/ 1072910 h 1642193"/>
                <a:gd name="connsiteX226" fmla="*/ 1128022 w 1651315"/>
                <a:gd name="connsiteY226" fmla="*/ 970992 h 1642193"/>
                <a:gd name="connsiteX227" fmla="*/ 1163264 w 1651315"/>
                <a:gd name="connsiteY227" fmla="*/ 930035 h 1642193"/>
                <a:gd name="connsiteX228" fmla="*/ 1224224 w 1651315"/>
                <a:gd name="connsiteY228" fmla="*/ 912890 h 1642193"/>
                <a:gd name="connsiteX229" fmla="*/ 1248989 w 1651315"/>
                <a:gd name="connsiteY229" fmla="*/ 886220 h 1642193"/>
                <a:gd name="connsiteX230" fmla="*/ 1225177 w 1651315"/>
                <a:gd name="connsiteY230" fmla="*/ 873837 h 1642193"/>
                <a:gd name="connsiteX231" fmla="*/ 1204222 w 1651315"/>
                <a:gd name="connsiteY231" fmla="*/ 848120 h 1642193"/>
                <a:gd name="connsiteX232" fmla="*/ 1229939 w 1651315"/>
                <a:gd name="connsiteY232" fmla="*/ 837642 h 1642193"/>
                <a:gd name="connsiteX233" fmla="*/ 1250894 w 1651315"/>
                <a:gd name="connsiteY233" fmla="*/ 836690 h 1642193"/>
                <a:gd name="connsiteX234" fmla="*/ 1288042 w 1651315"/>
                <a:gd name="connsiteY234" fmla="*/ 844310 h 1642193"/>
                <a:gd name="connsiteX235" fmla="*/ 1295662 w 1651315"/>
                <a:gd name="connsiteY235" fmla="*/ 880505 h 1642193"/>
                <a:gd name="connsiteX236" fmla="*/ 1173742 w 1651315"/>
                <a:gd name="connsiteY236" fmla="*/ 1138632 h 1642193"/>
                <a:gd name="connsiteX237" fmla="*/ 1159454 w 1651315"/>
                <a:gd name="connsiteY237" fmla="*/ 1130060 h 1642193"/>
                <a:gd name="connsiteX238" fmla="*/ 1156597 w 1651315"/>
                <a:gd name="connsiteY238" fmla="*/ 1116725 h 1642193"/>
                <a:gd name="connsiteX239" fmla="*/ 1132784 w 1651315"/>
                <a:gd name="connsiteY239" fmla="*/ 1077672 h 1642193"/>
                <a:gd name="connsiteX240" fmla="*/ 1128974 w 1651315"/>
                <a:gd name="connsiteY240" fmla="*/ 1072910 h 1642193"/>
                <a:gd name="connsiteX241" fmla="*/ 1239464 w 1651315"/>
                <a:gd name="connsiteY241" fmla="*/ 1298652 h 1642193"/>
                <a:gd name="connsiteX242" fmla="*/ 1160407 w 1651315"/>
                <a:gd name="connsiteY242" fmla="*/ 1358660 h 1642193"/>
                <a:gd name="connsiteX243" fmla="*/ 1159454 w 1651315"/>
                <a:gd name="connsiteY243" fmla="*/ 1342467 h 1642193"/>
                <a:gd name="connsiteX244" fmla="*/ 1174694 w 1651315"/>
                <a:gd name="connsiteY244" fmla="*/ 1258647 h 1642193"/>
                <a:gd name="connsiteX245" fmla="*/ 1166122 w 1651315"/>
                <a:gd name="connsiteY245" fmla="*/ 1218642 h 1642193"/>
                <a:gd name="connsiteX246" fmla="*/ 1161359 w 1651315"/>
                <a:gd name="connsiteY246" fmla="*/ 1191972 h 1642193"/>
                <a:gd name="connsiteX247" fmla="*/ 1173742 w 1651315"/>
                <a:gd name="connsiteY247" fmla="*/ 1187210 h 1642193"/>
                <a:gd name="connsiteX248" fmla="*/ 1240417 w 1651315"/>
                <a:gd name="connsiteY248" fmla="*/ 1255790 h 1642193"/>
                <a:gd name="connsiteX249" fmla="*/ 1239464 w 1651315"/>
                <a:gd name="connsiteY249" fmla="*/ 1298652 h 1642193"/>
                <a:gd name="connsiteX250" fmla="*/ 1306139 w 1651315"/>
                <a:gd name="connsiteY250" fmla="*/ 1231025 h 1642193"/>
                <a:gd name="connsiteX251" fmla="*/ 1279469 w 1651315"/>
                <a:gd name="connsiteY251" fmla="*/ 1250075 h 1642193"/>
                <a:gd name="connsiteX252" fmla="*/ 1273754 w 1651315"/>
                <a:gd name="connsiteY252" fmla="*/ 1222452 h 1642193"/>
                <a:gd name="connsiteX253" fmla="*/ 1267087 w 1651315"/>
                <a:gd name="connsiteY253" fmla="*/ 1187210 h 1642193"/>
                <a:gd name="connsiteX254" fmla="*/ 1249942 w 1651315"/>
                <a:gd name="connsiteY254" fmla="*/ 1163397 h 1642193"/>
                <a:gd name="connsiteX255" fmla="*/ 1234702 w 1651315"/>
                <a:gd name="connsiteY255" fmla="*/ 1183400 h 1642193"/>
                <a:gd name="connsiteX256" fmla="*/ 1218509 w 1651315"/>
                <a:gd name="connsiteY256" fmla="*/ 1191020 h 1642193"/>
                <a:gd name="connsiteX257" fmla="*/ 1201364 w 1651315"/>
                <a:gd name="connsiteY257" fmla="*/ 1151967 h 1642193"/>
                <a:gd name="connsiteX258" fmla="*/ 1246132 w 1651315"/>
                <a:gd name="connsiteY258" fmla="*/ 1091960 h 1642193"/>
                <a:gd name="connsiteX259" fmla="*/ 1334714 w 1651315"/>
                <a:gd name="connsiteY259" fmla="*/ 849072 h 1642193"/>
                <a:gd name="connsiteX260" fmla="*/ 1392817 w 1651315"/>
                <a:gd name="connsiteY260" fmla="*/ 838595 h 1642193"/>
                <a:gd name="connsiteX261" fmla="*/ 1454729 w 1651315"/>
                <a:gd name="connsiteY261" fmla="*/ 845262 h 1642193"/>
                <a:gd name="connsiteX262" fmla="*/ 1462349 w 1651315"/>
                <a:gd name="connsiteY262" fmla="*/ 859550 h 1642193"/>
                <a:gd name="connsiteX263" fmla="*/ 1306139 w 1651315"/>
                <a:gd name="connsiteY263" fmla="*/ 1231025 h 1642193"/>
                <a:gd name="connsiteX264" fmla="*/ 1359479 w 1651315"/>
                <a:gd name="connsiteY264" fmla="*/ 1210070 h 1642193"/>
                <a:gd name="connsiteX265" fmla="*/ 1483304 w 1651315"/>
                <a:gd name="connsiteY265" fmla="*/ 881457 h 1642193"/>
                <a:gd name="connsiteX266" fmla="*/ 1497592 w 1651315"/>
                <a:gd name="connsiteY266" fmla="*/ 843357 h 1642193"/>
                <a:gd name="connsiteX267" fmla="*/ 1540454 w 1651315"/>
                <a:gd name="connsiteY267" fmla="*/ 835737 h 1642193"/>
                <a:gd name="connsiteX268" fmla="*/ 1593794 w 1651315"/>
                <a:gd name="connsiteY268" fmla="*/ 835737 h 1642193"/>
                <a:gd name="connsiteX269" fmla="*/ 1614749 w 1651315"/>
                <a:gd name="connsiteY269" fmla="*/ 840500 h 1642193"/>
                <a:gd name="connsiteX270" fmla="*/ 1625227 w 1651315"/>
                <a:gd name="connsiteY270" fmla="*/ 865265 h 1642193"/>
                <a:gd name="connsiteX271" fmla="*/ 1625227 w 1651315"/>
                <a:gd name="connsiteY271" fmla="*/ 865265 h 1642193"/>
                <a:gd name="connsiteX272" fmla="*/ 1486162 w 1651315"/>
                <a:gd name="connsiteY272" fmla="*/ 1264362 h 1642193"/>
                <a:gd name="connsiteX273" fmla="*/ 1418534 w 1651315"/>
                <a:gd name="connsiteY273" fmla="*/ 1351040 h 1642193"/>
                <a:gd name="connsiteX274" fmla="*/ 1380434 w 1651315"/>
                <a:gd name="connsiteY274" fmla="*/ 1352945 h 1642193"/>
                <a:gd name="connsiteX275" fmla="*/ 1359479 w 1651315"/>
                <a:gd name="connsiteY275" fmla="*/ 1210070 h 1642193"/>
                <a:gd name="connsiteX276" fmla="*/ 592717 w 1651315"/>
                <a:gd name="connsiteY276" fmla="*/ 252807 h 1642193"/>
                <a:gd name="connsiteX277" fmla="*/ 600337 w 1651315"/>
                <a:gd name="connsiteY277" fmla="*/ 257570 h 1642193"/>
                <a:gd name="connsiteX278" fmla="*/ 562237 w 1651315"/>
                <a:gd name="connsiteY278" fmla="*/ 289002 h 1642193"/>
                <a:gd name="connsiteX279" fmla="*/ 592717 w 1651315"/>
                <a:gd name="connsiteY279" fmla="*/ 252807 h 1642193"/>
                <a:gd name="connsiteX280" fmla="*/ 332684 w 1651315"/>
                <a:gd name="connsiteY280" fmla="*/ 1297700 h 1642193"/>
                <a:gd name="connsiteX281" fmla="*/ 297442 w 1651315"/>
                <a:gd name="connsiteY281" fmla="*/ 1332942 h 1642193"/>
                <a:gd name="connsiteX282" fmla="*/ 215527 w 1651315"/>
                <a:gd name="connsiteY282" fmla="*/ 1330085 h 1642193"/>
                <a:gd name="connsiteX283" fmla="*/ 30742 w 1651315"/>
                <a:gd name="connsiteY283" fmla="*/ 882410 h 1642193"/>
                <a:gd name="connsiteX284" fmla="*/ 74557 w 1651315"/>
                <a:gd name="connsiteY284" fmla="*/ 835737 h 1642193"/>
                <a:gd name="connsiteX285" fmla="*/ 169807 w 1651315"/>
                <a:gd name="connsiteY285" fmla="*/ 917652 h 1642193"/>
                <a:gd name="connsiteX286" fmla="*/ 185999 w 1651315"/>
                <a:gd name="connsiteY286" fmla="*/ 987185 h 1642193"/>
                <a:gd name="connsiteX287" fmla="*/ 176474 w 1651315"/>
                <a:gd name="connsiteY287" fmla="*/ 998615 h 1642193"/>
                <a:gd name="connsiteX288" fmla="*/ 124087 w 1651315"/>
                <a:gd name="connsiteY288" fmla="*/ 1001472 h 1642193"/>
                <a:gd name="connsiteX289" fmla="*/ 80272 w 1651315"/>
                <a:gd name="connsiteY289" fmla="*/ 1033857 h 1642193"/>
                <a:gd name="connsiteX290" fmla="*/ 115514 w 1651315"/>
                <a:gd name="connsiteY290" fmla="*/ 1129107 h 1642193"/>
                <a:gd name="connsiteX291" fmla="*/ 115514 w 1651315"/>
                <a:gd name="connsiteY291" fmla="*/ 1113867 h 1642193"/>
                <a:gd name="connsiteX292" fmla="*/ 115514 w 1651315"/>
                <a:gd name="connsiteY292" fmla="*/ 1081482 h 1642193"/>
                <a:gd name="connsiteX293" fmla="*/ 136469 w 1651315"/>
                <a:gd name="connsiteY293" fmla="*/ 1094817 h 1642193"/>
                <a:gd name="connsiteX294" fmla="*/ 233624 w 1651315"/>
                <a:gd name="connsiteY294" fmla="*/ 1167207 h 1642193"/>
                <a:gd name="connsiteX295" fmla="*/ 278392 w 1651315"/>
                <a:gd name="connsiteY295" fmla="*/ 1191972 h 1642193"/>
                <a:gd name="connsiteX296" fmla="*/ 286012 w 1651315"/>
                <a:gd name="connsiteY296" fmla="*/ 1201497 h 1642193"/>
                <a:gd name="connsiteX297" fmla="*/ 286012 w 1651315"/>
                <a:gd name="connsiteY297" fmla="*/ 1201497 h 1642193"/>
                <a:gd name="connsiteX298" fmla="*/ 331732 w 1651315"/>
                <a:gd name="connsiteY298" fmla="*/ 1260552 h 1642193"/>
                <a:gd name="connsiteX299" fmla="*/ 332684 w 1651315"/>
                <a:gd name="connsiteY299" fmla="*/ 1297700 h 1642193"/>
                <a:gd name="connsiteX300" fmla="*/ 317444 w 1651315"/>
                <a:gd name="connsiteY300" fmla="*/ 879552 h 1642193"/>
                <a:gd name="connsiteX301" fmla="*/ 309824 w 1651315"/>
                <a:gd name="connsiteY301" fmla="*/ 890982 h 1642193"/>
                <a:gd name="connsiteX302" fmla="*/ 272677 w 1651315"/>
                <a:gd name="connsiteY302" fmla="*/ 982422 h 1642193"/>
                <a:gd name="connsiteX303" fmla="*/ 227909 w 1651315"/>
                <a:gd name="connsiteY303" fmla="*/ 1008140 h 1642193"/>
                <a:gd name="connsiteX304" fmla="*/ 218384 w 1651315"/>
                <a:gd name="connsiteY304" fmla="*/ 1007187 h 1642193"/>
                <a:gd name="connsiteX305" fmla="*/ 218384 w 1651315"/>
                <a:gd name="connsiteY305" fmla="*/ 1007187 h 1642193"/>
                <a:gd name="connsiteX306" fmla="*/ 192667 w 1651315"/>
                <a:gd name="connsiteY306" fmla="*/ 874790 h 1642193"/>
                <a:gd name="connsiteX307" fmla="*/ 225052 w 1651315"/>
                <a:gd name="connsiteY307" fmla="*/ 835737 h 1642193"/>
                <a:gd name="connsiteX308" fmla="*/ 296489 w 1651315"/>
                <a:gd name="connsiteY308" fmla="*/ 836690 h 1642193"/>
                <a:gd name="connsiteX309" fmla="*/ 317444 w 1651315"/>
                <a:gd name="connsiteY309" fmla="*/ 879552 h 1642193"/>
                <a:gd name="connsiteX310" fmla="*/ 352687 w 1651315"/>
                <a:gd name="connsiteY310" fmla="*/ 1225310 h 1642193"/>
                <a:gd name="connsiteX311" fmla="*/ 375547 w 1651315"/>
                <a:gd name="connsiteY311" fmla="*/ 1229120 h 1642193"/>
                <a:gd name="connsiteX312" fmla="*/ 381262 w 1651315"/>
                <a:gd name="connsiteY312" fmla="*/ 1249122 h 1642193"/>
                <a:gd name="connsiteX313" fmla="*/ 375547 w 1651315"/>
                <a:gd name="connsiteY313" fmla="*/ 1258647 h 1642193"/>
                <a:gd name="connsiteX314" fmla="*/ 375547 w 1651315"/>
                <a:gd name="connsiteY314" fmla="*/ 1258647 h 1642193"/>
                <a:gd name="connsiteX315" fmla="*/ 346019 w 1651315"/>
                <a:gd name="connsiteY315" fmla="*/ 1236740 h 1642193"/>
                <a:gd name="connsiteX316" fmla="*/ 352687 w 1651315"/>
                <a:gd name="connsiteY316" fmla="*/ 1225310 h 1642193"/>
                <a:gd name="connsiteX317" fmla="*/ 404122 w 1651315"/>
                <a:gd name="connsiteY317" fmla="*/ 904317 h 1642193"/>
                <a:gd name="connsiteX318" fmla="*/ 397454 w 1651315"/>
                <a:gd name="connsiteY318" fmla="*/ 899555 h 1642193"/>
                <a:gd name="connsiteX319" fmla="*/ 398407 w 1651315"/>
                <a:gd name="connsiteY319" fmla="*/ 890982 h 1642193"/>
                <a:gd name="connsiteX320" fmla="*/ 398407 w 1651315"/>
                <a:gd name="connsiteY320" fmla="*/ 890982 h 1642193"/>
                <a:gd name="connsiteX321" fmla="*/ 398407 w 1651315"/>
                <a:gd name="connsiteY321" fmla="*/ 890982 h 1642193"/>
                <a:gd name="connsiteX322" fmla="*/ 356497 w 1651315"/>
                <a:gd name="connsiteY322" fmla="*/ 882410 h 1642193"/>
                <a:gd name="connsiteX323" fmla="*/ 366974 w 1651315"/>
                <a:gd name="connsiteY323" fmla="*/ 839547 h 1642193"/>
                <a:gd name="connsiteX324" fmla="*/ 398407 w 1651315"/>
                <a:gd name="connsiteY324" fmla="*/ 874790 h 1642193"/>
                <a:gd name="connsiteX325" fmla="*/ 418409 w 1651315"/>
                <a:gd name="connsiteY325" fmla="*/ 844310 h 1642193"/>
                <a:gd name="connsiteX326" fmla="*/ 460319 w 1651315"/>
                <a:gd name="connsiteY326" fmla="*/ 870980 h 1642193"/>
                <a:gd name="connsiteX327" fmla="*/ 459367 w 1651315"/>
                <a:gd name="connsiteY327" fmla="*/ 878600 h 1642193"/>
                <a:gd name="connsiteX328" fmla="*/ 459367 w 1651315"/>
                <a:gd name="connsiteY328" fmla="*/ 882410 h 1642193"/>
                <a:gd name="connsiteX329" fmla="*/ 470797 w 1651315"/>
                <a:gd name="connsiteY329" fmla="*/ 934797 h 1642193"/>
                <a:gd name="connsiteX330" fmla="*/ 467939 w 1651315"/>
                <a:gd name="connsiteY330" fmla="*/ 883362 h 1642193"/>
                <a:gd name="connsiteX331" fmla="*/ 467939 w 1651315"/>
                <a:gd name="connsiteY331" fmla="*/ 879552 h 1642193"/>
                <a:gd name="connsiteX332" fmla="*/ 468892 w 1651315"/>
                <a:gd name="connsiteY332" fmla="*/ 839547 h 1642193"/>
                <a:gd name="connsiteX333" fmla="*/ 468892 w 1651315"/>
                <a:gd name="connsiteY333" fmla="*/ 839547 h 1642193"/>
                <a:gd name="connsiteX334" fmla="*/ 488894 w 1651315"/>
                <a:gd name="connsiteY334" fmla="*/ 849072 h 1642193"/>
                <a:gd name="connsiteX335" fmla="*/ 496514 w 1651315"/>
                <a:gd name="connsiteY335" fmla="*/ 881457 h 1642193"/>
                <a:gd name="connsiteX336" fmla="*/ 496514 w 1651315"/>
                <a:gd name="connsiteY336" fmla="*/ 881457 h 1642193"/>
                <a:gd name="connsiteX337" fmla="*/ 559379 w 1651315"/>
                <a:gd name="connsiteY337" fmla="*/ 1025285 h 1642193"/>
                <a:gd name="connsiteX338" fmla="*/ 563189 w 1651315"/>
                <a:gd name="connsiteY338" fmla="*/ 1066242 h 1642193"/>
                <a:gd name="connsiteX339" fmla="*/ 486989 w 1651315"/>
                <a:gd name="connsiteY339" fmla="*/ 1132917 h 1642193"/>
                <a:gd name="connsiteX340" fmla="*/ 467939 w 1651315"/>
                <a:gd name="connsiteY340" fmla="*/ 1130060 h 1642193"/>
                <a:gd name="connsiteX341" fmla="*/ 431744 w 1651315"/>
                <a:gd name="connsiteY341" fmla="*/ 954800 h 1642193"/>
                <a:gd name="connsiteX342" fmla="*/ 404122 w 1651315"/>
                <a:gd name="connsiteY342" fmla="*/ 904317 h 1642193"/>
                <a:gd name="connsiteX343" fmla="*/ 469844 w 1651315"/>
                <a:gd name="connsiteY343" fmla="*/ 755727 h 1642193"/>
                <a:gd name="connsiteX344" fmla="*/ 488894 w 1651315"/>
                <a:gd name="connsiteY344" fmla="*/ 784302 h 1642193"/>
                <a:gd name="connsiteX345" fmla="*/ 483179 w 1651315"/>
                <a:gd name="connsiteY345" fmla="*/ 801447 h 1642193"/>
                <a:gd name="connsiteX346" fmla="*/ 459367 w 1651315"/>
                <a:gd name="connsiteY346" fmla="*/ 810020 h 1642193"/>
                <a:gd name="connsiteX347" fmla="*/ 459367 w 1651315"/>
                <a:gd name="connsiteY347" fmla="*/ 810020 h 1642193"/>
                <a:gd name="connsiteX348" fmla="*/ 452699 w 1651315"/>
                <a:gd name="connsiteY348" fmla="*/ 750965 h 1642193"/>
                <a:gd name="connsiteX349" fmla="*/ 469844 w 1651315"/>
                <a:gd name="connsiteY349" fmla="*/ 755727 h 1642193"/>
                <a:gd name="connsiteX350" fmla="*/ 582239 w 1651315"/>
                <a:gd name="connsiteY350" fmla="*/ 1010045 h 1642193"/>
                <a:gd name="connsiteX351" fmla="*/ 520327 w 1651315"/>
                <a:gd name="connsiteY351" fmla="*/ 888125 h 1642193"/>
                <a:gd name="connsiteX352" fmla="*/ 517469 w 1651315"/>
                <a:gd name="connsiteY352" fmla="*/ 880505 h 1642193"/>
                <a:gd name="connsiteX353" fmla="*/ 517469 w 1651315"/>
                <a:gd name="connsiteY353" fmla="*/ 880505 h 1642193"/>
                <a:gd name="connsiteX354" fmla="*/ 529852 w 1651315"/>
                <a:gd name="connsiteY354" fmla="*/ 869075 h 1642193"/>
                <a:gd name="connsiteX355" fmla="*/ 587002 w 1651315"/>
                <a:gd name="connsiteY355" fmla="*/ 894792 h 1642193"/>
                <a:gd name="connsiteX356" fmla="*/ 630817 w 1651315"/>
                <a:gd name="connsiteY356" fmla="*/ 893840 h 1642193"/>
                <a:gd name="connsiteX357" fmla="*/ 636532 w 1651315"/>
                <a:gd name="connsiteY357" fmla="*/ 903365 h 1642193"/>
                <a:gd name="connsiteX358" fmla="*/ 636532 w 1651315"/>
                <a:gd name="connsiteY358" fmla="*/ 903365 h 1642193"/>
                <a:gd name="connsiteX359" fmla="*/ 635579 w 1651315"/>
                <a:gd name="connsiteY359" fmla="*/ 932892 h 1642193"/>
                <a:gd name="connsiteX360" fmla="*/ 660344 w 1651315"/>
                <a:gd name="connsiteY360" fmla="*/ 911937 h 1642193"/>
                <a:gd name="connsiteX361" fmla="*/ 674632 w 1651315"/>
                <a:gd name="connsiteY361" fmla="*/ 911937 h 1642193"/>
                <a:gd name="connsiteX362" fmla="*/ 684157 w 1651315"/>
                <a:gd name="connsiteY362" fmla="*/ 943370 h 1642193"/>
                <a:gd name="connsiteX363" fmla="*/ 606052 w 1651315"/>
                <a:gd name="connsiteY363" fmla="*/ 1021475 h 1642193"/>
                <a:gd name="connsiteX364" fmla="*/ 582239 w 1651315"/>
                <a:gd name="connsiteY364" fmla="*/ 1010045 h 1642193"/>
                <a:gd name="connsiteX365" fmla="*/ 502229 w 1651315"/>
                <a:gd name="connsiteY365" fmla="*/ 517602 h 1642193"/>
                <a:gd name="connsiteX366" fmla="*/ 560332 w 1651315"/>
                <a:gd name="connsiteY366" fmla="*/ 579515 h 1642193"/>
                <a:gd name="connsiteX367" fmla="*/ 560332 w 1651315"/>
                <a:gd name="connsiteY367" fmla="*/ 579515 h 1642193"/>
                <a:gd name="connsiteX368" fmla="*/ 572714 w 1651315"/>
                <a:gd name="connsiteY368" fmla="*/ 587135 h 1642193"/>
                <a:gd name="connsiteX369" fmla="*/ 566999 w 1651315"/>
                <a:gd name="connsiteY369" fmla="*/ 594755 h 1642193"/>
                <a:gd name="connsiteX370" fmla="*/ 486989 w 1651315"/>
                <a:gd name="connsiteY370" fmla="*/ 690957 h 1642193"/>
                <a:gd name="connsiteX371" fmla="*/ 480322 w 1651315"/>
                <a:gd name="connsiteY371" fmla="*/ 701435 h 1642193"/>
                <a:gd name="connsiteX372" fmla="*/ 480322 w 1651315"/>
                <a:gd name="connsiteY372" fmla="*/ 701435 h 1642193"/>
                <a:gd name="connsiteX373" fmla="*/ 426029 w 1651315"/>
                <a:gd name="connsiteY373" fmla="*/ 762395 h 1642193"/>
                <a:gd name="connsiteX374" fmla="*/ 415552 w 1651315"/>
                <a:gd name="connsiteY374" fmla="*/ 792875 h 1642193"/>
                <a:gd name="connsiteX375" fmla="*/ 369832 w 1651315"/>
                <a:gd name="connsiteY375" fmla="*/ 808115 h 1642193"/>
                <a:gd name="connsiteX376" fmla="*/ 354592 w 1651315"/>
                <a:gd name="connsiteY376" fmla="*/ 778587 h 1642193"/>
                <a:gd name="connsiteX377" fmla="*/ 459367 w 1651315"/>
                <a:gd name="connsiteY377" fmla="*/ 521412 h 1642193"/>
                <a:gd name="connsiteX378" fmla="*/ 502229 w 1651315"/>
                <a:gd name="connsiteY378" fmla="*/ 517602 h 1642193"/>
                <a:gd name="connsiteX379" fmla="*/ 396502 w 1651315"/>
                <a:gd name="connsiteY379" fmla="*/ 412827 h 1642193"/>
                <a:gd name="connsiteX380" fmla="*/ 452699 w 1651315"/>
                <a:gd name="connsiteY380" fmla="*/ 466167 h 1642193"/>
                <a:gd name="connsiteX381" fmla="*/ 452699 w 1651315"/>
                <a:gd name="connsiteY381" fmla="*/ 466167 h 1642193"/>
                <a:gd name="connsiteX382" fmla="*/ 440317 w 1651315"/>
                <a:gd name="connsiteY382" fmla="*/ 499505 h 1642193"/>
                <a:gd name="connsiteX383" fmla="*/ 329827 w 1651315"/>
                <a:gd name="connsiteY383" fmla="*/ 765252 h 1642193"/>
                <a:gd name="connsiteX384" fmla="*/ 278392 w 1651315"/>
                <a:gd name="connsiteY384" fmla="*/ 809067 h 1642193"/>
                <a:gd name="connsiteX385" fmla="*/ 199334 w 1651315"/>
                <a:gd name="connsiteY385" fmla="*/ 713817 h 1642193"/>
                <a:gd name="connsiteX386" fmla="*/ 334589 w 1651315"/>
                <a:gd name="connsiteY386" fmla="*/ 415685 h 1642193"/>
                <a:gd name="connsiteX387" fmla="*/ 396502 w 1651315"/>
                <a:gd name="connsiteY387" fmla="*/ 412827 h 1642193"/>
                <a:gd name="connsiteX388" fmla="*/ 32647 w 1651315"/>
                <a:gd name="connsiteY388" fmla="*/ 739535 h 1642193"/>
                <a:gd name="connsiteX389" fmla="*/ 229814 w 1651315"/>
                <a:gd name="connsiteY389" fmla="*/ 289002 h 1642193"/>
                <a:gd name="connsiteX390" fmla="*/ 270772 w 1651315"/>
                <a:gd name="connsiteY390" fmla="*/ 286145 h 1642193"/>
                <a:gd name="connsiteX391" fmla="*/ 328874 w 1651315"/>
                <a:gd name="connsiteY391" fmla="*/ 344247 h 1642193"/>
                <a:gd name="connsiteX392" fmla="*/ 328874 w 1651315"/>
                <a:gd name="connsiteY392" fmla="*/ 380442 h 1642193"/>
                <a:gd name="connsiteX393" fmla="*/ 165997 w 1651315"/>
                <a:gd name="connsiteY393" fmla="*/ 771920 h 1642193"/>
                <a:gd name="connsiteX394" fmla="*/ 124087 w 1651315"/>
                <a:gd name="connsiteY394" fmla="*/ 809067 h 1642193"/>
                <a:gd name="connsiteX395" fmla="*/ 95512 w 1651315"/>
                <a:gd name="connsiteY395" fmla="*/ 809067 h 1642193"/>
                <a:gd name="connsiteX396" fmla="*/ 32647 w 1651315"/>
                <a:gd name="connsiteY396" fmla="*/ 739535 h 164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</a:cxnLst>
              <a:rect l="l" t="t" r="r" b="b"/>
              <a:pathLst>
                <a:path w="1651315" h="1642193">
                  <a:moveTo>
                    <a:pt x="6929" y="919557"/>
                  </a:moveTo>
                  <a:cubicBezTo>
                    <a:pt x="70747" y="1391997"/>
                    <a:pt x="494609" y="1706322"/>
                    <a:pt x="966097" y="1631075"/>
                  </a:cubicBezTo>
                  <a:cubicBezTo>
                    <a:pt x="1538549" y="1539635"/>
                    <a:pt x="1838587" y="867170"/>
                    <a:pt x="1524262" y="379490"/>
                  </a:cubicBezTo>
                  <a:cubicBezTo>
                    <a:pt x="1447109" y="259475"/>
                    <a:pt x="1345192" y="167082"/>
                    <a:pt x="1224224" y="94692"/>
                  </a:cubicBezTo>
                  <a:cubicBezTo>
                    <a:pt x="1224224" y="94692"/>
                    <a:pt x="1224224" y="94692"/>
                    <a:pt x="1224224" y="94692"/>
                  </a:cubicBezTo>
                  <a:cubicBezTo>
                    <a:pt x="1134689" y="48972"/>
                    <a:pt x="1041344" y="14682"/>
                    <a:pt x="940379" y="2300"/>
                  </a:cubicBezTo>
                  <a:cubicBezTo>
                    <a:pt x="928949" y="395"/>
                    <a:pt x="910852" y="-5320"/>
                    <a:pt x="908947" y="13730"/>
                  </a:cubicBezTo>
                  <a:cubicBezTo>
                    <a:pt x="907042" y="29922"/>
                    <a:pt x="925139" y="28017"/>
                    <a:pt x="935617" y="29922"/>
                  </a:cubicBezTo>
                  <a:cubicBezTo>
                    <a:pt x="1089922" y="50877"/>
                    <a:pt x="1224224" y="114695"/>
                    <a:pt x="1343287" y="213755"/>
                  </a:cubicBezTo>
                  <a:cubicBezTo>
                    <a:pt x="1385197" y="248045"/>
                    <a:pt x="1385197" y="248997"/>
                    <a:pt x="1346144" y="285192"/>
                  </a:cubicBezTo>
                  <a:cubicBezTo>
                    <a:pt x="1344239" y="287097"/>
                    <a:pt x="1342334" y="288050"/>
                    <a:pt x="1340429" y="289002"/>
                  </a:cubicBezTo>
                  <a:cubicBezTo>
                    <a:pt x="1340429" y="289002"/>
                    <a:pt x="1340429" y="289002"/>
                    <a:pt x="1340429" y="289002"/>
                  </a:cubicBezTo>
                  <a:cubicBezTo>
                    <a:pt x="1329952" y="301385"/>
                    <a:pt x="1320427" y="312815"/>
                    <a:pt x="1309949" y="325197"/>
                  </a:cubicBezTo>
                  <a:cubicBezTo>
                    <a:pt x="1309949" y="325197"/>
                    <a:pt x="1309949" y="325197"/>
                    <a:pt x="1309949" y="325197"/>
                  </a:cubicBezTo>
                  <a:cubicBezTo>
                    <a:pt x="1309949" y="325197"/>
                    <a:pt x="1309949" y="325197"/>
                    <a:pt x="1309949" y="325197"/>
                  </a:cubicBezTo>
                  <a:cubicBezTo>
                    <a:pt x="1305187" y="325197"/>
                    <a:pt x="1301377" y="325197"/>
                    <a:pt x="1297567" y="325197"/>
                  </a:cubicBezTo>
                  <a:cubicBezTo>
                    <a:pt x="1283279" y="323292"/>
                    <a:pt x="1272802" y="317577"/>
                    <a:pt x="1269944" y="300432"/>
                  </a:cubicBezTo>
                  <a:cubicBezTo>
                    <a:pt x="1261372" y="249950"/>
                    <a:pt x="1218509" y="235662"/>
                    <a:pt x="1181362" y="215660"/>
                  </a:cubicBezTo>
                  <a:cubicBezTo>
                    <a:pt x="1173742" y="210897"/>
                    <a:pt x="1165169" y="209945"/>
                    <a:pt x="1158502" y="217565"/>
                  </a:cubicBezTo>
                  <a:cubicBezTo>
                    <a:pt x="1152787" y="224232"/>
                    <a:pt x="1155644" y="230900"/>
                    <a:pt x="1158502" y="237567"/>
                  </a:cubicBezTo>
                  <a:cubicBezTo>
                    <a:pt x="1168027" y="259475"/>
                    <a:pt x="1178504" y="281382"/>
                    <a:pt x="1180409" y="305195"/>
                  </a:cubicBezTo>
                  <a:cubicBezTo>
                    <a:pt x="1182314" y="333770"/>
                    <a:pt x="1184219" y="361392"/>
                    <a:pt x="1206127" y="384252"/>
                  </a:cubicBezTo>
                  <a:cubicBezTo>
                    <a:pt x="1220414" y="399492"/>
                    <a:pt x="1205174" y="440450"/>
                    <a:pt x="1187077" y="439497"/>
                  </a:cubicBezTo>
                  <a:cubicBezTo>
                    <a:pt x="1151834" y="436640"/>
                    <a:pt x="1153739" y="459500"/>
                    <a:pt x="1151834" y="481407"/>
                  </a:cubicBezTo>
                  <a:cubicBezTo>
                    <a:pt x="1137547" y="495695"/>
                    <a:pt x="1123259" y="509982"/>
                    <a:pt x="1108019" y="523317"/>
                  </a:cubicBezTo>
                  <a:cubicBezTo>
                    <a:pt x="1085159" y="544272"/>
                    <a:pt x="1068967" y="575705"/>
                    <a:pt x="1028962" y="567132"/>
                  </a:cubicBezTo>
                  <a:cubicBezTo>
                    <a:pt x="1021342" y="565227"/>
                    <a:pt x="1015627" y="572847"/>
                    <a:pt x="1016579" y="580467"/>
                  </a:cubicBezTo>
                  <a:cubicBezTo>
                    <a:pt x="1018484" y="592850"/>
                    <a:pt x="1028962" y="588087"/>
                    <a:pt x="1036582" y="589992"/>
                  </a:cubicBezTo>
                  <a:cubicBezTo>
                    <a:pt x="1036582" y="589992"/>
                    <a:pt x="1036582" y="589992"/>
                    <a:pt x="1036582" y="589992"/>
                  </a:cubicBezTo>
                  <a:cubicBezTo>
                    <a:pt x="1021342" y="616662"/>
                    <a:pt x="1000387" y="639522"/>
                    <a:pt x="968002" y="628092"/>
                  </a:cubicBezTo>
                  <a:cubicBezTo>
                    <a:pt x="942284" y="618567"/>
                    <a:pt x="938474" y="634760"/>
                    <a:pt x="940379" y="648095"/>
                  </a:cubicBezTo>
                  <a:cubicBezTo>
                    <a:pt x="944189" y="677622"/>
                    <a:pt x="929902" y="674765"/>
                    <a:pt x="911804" y="667145"/>
                  </a:cubicBezTo>
                  <a:cubicBezTo>
                    <a:pt x="889897" y="657620"/>
                    <a:pt x="887039" y="670002"/>
                    <a:pt x="887039" y="687147"/>
                  </a:cubicBezTo>
                  <a:cubicBezTo>
                    <a:pt x="887039" y="714770"/>
                    <a:pt x="887039" y="742392"/>
                    <a:pt x="885134" y="769062"/>
                  </a:cubicBezTo>
                  <a:cubicBezTo>
                    <a:pt x="883229" y="790017"/>
                    <a:pt x="890849" y="799542"/>
                    <a:pt x="909899" y="806210"/>
                  </a:cubicBezTo>
                  <a:cubicBezTo>
                    <a:pt x="941332" y="817640"/>
                    <a:pt x="971812" y="831927"/>
                    <a:pt x="997529" y="852882"/>
                  </a:cubicBezTo>
                  <a:cubicBezTo>
                    <a:pt x="1076587" y="914795"/>
                    <a:pt x="1070872" y="1028142"/>
                    <a:pt x="988004" y="1083387"/>
                  </a:cubicBezTo>
                  <a:cubicBezTo>
                    <a:pt x="967049" y="1097675"/>
                    <a:pt x="943237" y="1105295"/>
                    <a:pt x="919424" y="1113867"/>
                  </a:cubicBezTo>
                  <a:cubicBezTo>
                    <a:pt x="898469" y="1121487"/>
                    <a:pt x="875609" y="1123392"/>
                    <a:pt x="874657" y="1155777"/>
                  </a:cubicBezTo>
                  <a:cubicBezTo>
                    <a:pt x="874657" y="1185305"/>
                    <a:pt x="875609" y="1211022"/>
                    <a:pt x="908947" y="1220547"/>
                  </a:cubicBezTo>
                  <a:cubicBezTo>
                    <a:pt x="908947" y="1220547"/>
                    <a:pt x="908947" y="1220547"/>
                    <a:pt x="908947" y="1220547"/>
                  </a:cubicBezTo>
                  <a:cubicBezTo>
                    <a:pt x="915614" y="1225310"/>
                    <a:pt x="922282" y="1230072"/>
                    <a:pt x="928949" y="1234835"/>
                  </a:cubicBezTo>
                  <a:cubicBezTo>
                    <a:pt x="980384" y="1271982"/>
                    <a:pt x="999434" y="1325322"/>
                    <a:pt x="999434" y="1385330"/>
                  </a:cubicBezTo>
                  <a:cubicBezTo>
                    <a:pt x="999434" y="1414857"/>
                    <a:pt x="988004" y="1437717"/>
                    <a:pt x="953714" y="1441527"/>
                  </a:cubicBezTo>
                  <a:cubicBezTo>
                    <a:pt x="931807" y="1443432"/>
                    <a:pt x="909899" y="1448195"/>
                    <a:pt x="887039" y="1452005"/>
                  </a:cubicBezTo>
                  <a:cubicBezTo>
                    <a:pt x="878467" y="1453910"/>
                    <a:pt x="870847" y="1456767"/>
                    <a:pt x="870847" y="1467245"/>
                  </a:cubicBezTo>
                  <a:cubicBezTo>
                    <a:pt x="870847" y="1477722"/>
                    <a:pt x="879419" y="1480580"/>
                    <a:pt x="887039" y="1482485"/>
                  </a:cubicBezTo>
                  <a:cubicBezTo>
                    <a:pt x="887039" y="1482485"/>
                    <a:pt x="887039" y="1482485"/>
                    <a:pt x="887039" y="1482485"/>
                  </a:cubicBezTo>
                  <a:cubicBezTo>
                    <a:pt x="890849" y="1481532"/>
                    <a:pt x="893707" y="1481532"/>
                    <a:pt x="897517" y="1480580"/>
                  </a:cubicBezTo>
                  <a:cubicBezTo>
                    <a:pt x="957524" y="1470102"/>
                    <a:pt x="1016579" y="1457720"/>
                    <a:pt x="1072777" y="1432955"/>
                  </a:cubicBezTo>
                  <a:cubicBezTo>
                    <a:pt x="1092779" y="1424382"/>
                    <a:pt x="1111829" y="1414857"/>
                    <a:pt x="1129927" y="1403427"/>
                  </a:cubicBezTo>
                  <a:cubicBezTo>
                    <a:pt x="1141357" y="1402475"/>
                    <a:pt x="1231844" y="1342467"/>
                    <a:pt x="1260419" y="1317702"/>
                  </a:cubicBezTo>
                  <a:cubicBezTo>
                    <a:pt x="1275659" y="1304367"/>
                    <a:pt x="1286137" y="1303415"/>
                    <a:pt x="1299472" y="1318655"/>
                  </a:cubicBezTo>
                  <a:cubicBezTo>
                    <a:pt x="1308044" y="1328180"/>
                    <a:pt x="1317569" y="1336752"/>
                    <a:pt x="1327094" y="1346277"/>
                  </a:cubicBezTo>
                  <a:cubicBezTo>
                    <a:pt x="1378529" y="1397712"/>
                    <a:pt x="1378529" y="1397712"/>
                    <a:pt x="1319474" y="1443432"/>
                  </a:cubicBezTo>
                  <a:cubicBezTo>
                    <a:pt x="1192792" y="1541540"/>
                    <a:pt x="1050869" y="1602500"/>
                    <a:pt x="888944" y="1611072"/>
                  </a:cubicBezTo>
                  <a:cubicBezTo>
                    <a:pt x="888944" y="1611072"/>
                    <a:pt x="888944" y="1611072"/>
                    <a:pt x="888944" y="1611072"/>
                  </a:cubicBezTo>
                  <a:cubicBezTo>
                    <a:pt x="825127" y="1622502"/>
                    <a:pt x="762262" y="1617740"/>
                    <a:pt x="699397" y="1604405"/>
                  </a:cubicBezTo>
                  <a:cubicBezTo>
                    <a:pt x="699397" y="1604405"/>
                    <a:pt x="699397" y="1604405"/>
                    <a:pt x="699397" y="1604405"/>
                  </a:cubicBezTo>
                  <a:cubicBezTo>
                    <a:pt x="543187" y="1584402"/>
                    <a:pt x="410789" y="1515822"/>
                    <a:pt x="293632" y="1413905"/>
                  </a:cubicBezTo>
                  <a:cubicBezTo>
                    <a:pt x="279344" y="1401522"/>
                    <a:pt x="281249" y="1391045"/>
                    <a:pt x="293632" y="1378662"/>
                  </a:cubicBezTo>
                  <a:cubicBezTo>
                    <a:pt x="318397" y="1354850"/>
                    <a:pt x="342209" y="1329132"/>
                    <a:pt x="366022" y="1305320"/>
                  </a:cubicBezTo>
                  <a:lnTo>
                    <a:pt x="366022" y="1305320"/>
                  </a:lnTo>
                  <a:cubicBezTo>
                    <a:pt x="367927" y="1309130"/>
                    <a:pt x="382214" y="1312940"/>
                    <a:pt x="383167" y="1312940"/>
                  </a:cubicBezTo>
                  <a:cubicBezTo>
                    <a:pt x="396502" y="1324370"/>
                    <a:pt x="409837" y="1336752"/>
                    <a:pt x="423172" y="1347230"/>
                  </a:cubicBezTo>
                  <a:cubicBezTo>
                    <a:pt x="518422" y="1421525"/>
                    <a:pt x="627959" y="1461530"/>
                    <a:pt x="746069" y="1480580"/>
                  </a:cubicBezTo>
                  <a:cubicBezTo>
                    <a:pt x="747974" y="1480580"/>
                    <a:pt x="749879" y="1481532"/>
                    <a:pt x="751784" y="1481532"/>
                  </a:cubicBezTo>
                  <a:cubicBezTo>
                    <a:pt x="751784" y="1481532"/>
                    <a:pt x="751784" y="1481532"/>
                    <a:pt x="751784" y="1481532"/>
                  </a:cubicBezTo>
                  <a:cubicBezTo>
                    <a:pt x="760357" y="1479627"/>
                    <a:pt x="772739" y="1480580"/>
                    <a:pt x="772739" y="1467245"/>
                  </a:cubicBezTo>
                  <a:cubicBezTo>
                    <a:pt x="772739" y="1452005"/>
                    <a:pt x="757499" y="1454862"/>
                    <a:pt x="749879" y="1448195"/>
                  </a:cubicBezTo>
                  <a:cubicBezTo>
                    <a:pt x="749879" y="1448195"/>
                    <a:pt x="749879" y="1448195"/>
                    <a:pt x="749879" y="1448195"/>
                  </a:cubicBezTo>
                  <a:cubicBezTo>
                    <a:pt x="747974" y="1448195"/>
                    <a:pt x="746069" y="1448195"/>
                    <a:pt x="745117" y="1447242"/>
                  </a:cubicBezTo>
                  <a:cubicBezTo>
                    <a:pt x="616529" y="1435812"/>
                    <a:pt x="506992" y="1380567"/>
                    <a:pt x="408884" y="1299605"/>
                  </a:cubicBezTo>
                  <a:cubicBezTo>
                    <a:pt x="403169" y="1294842"/>
                    <a:pt x="400312" y="1290080"/>
                    <a:pt x="398407" y="1283412"/>
                  </a:cubicBezTo>
                  <a:cubicBezTo>
                    <a:pt x="397454" y="1278650"/>
                    <a:pt x="398407" y="1272935"/>
                    <a:pt x="401264" y="1267220"/>
                  </a:cubicBezTo>
                  <a:cubicBezTo>
                    <a:pt x="446984" y="1253885"/>
                    <a:pt x="491752" y="1240550"/>
                    <a:pt x="537472" y="1227215"/>
                  </a:cubicBezTo>
                  <a:cubicBezTo>
                    <a:pt x="537472" y="1227215"/>
                    <a:pt x="537472" y="1227215"/>
                    <a:pt x="537472" y="1227215"/>
                  </a:cubicBezTo>
                  <a:cubicBezTo>
                    <a:pt x="539377" y="1228167"/>
                    <a:pt x="561284" y="1245312"/>
                    <a:pt x="571762" y="1251980"/>
                  </a:cubicBezTo>
                  <a:cubicBezTo>
                    <a:pt x="625102" y="1285317"/>
                    <a:pt x="684157" y="1301510"/>
                    <a:pt x="744164" y="1315797"/>
                  </a:cubicBezTo>
                  <a:cubicBezTo>
                    <a:pt x="747022" y="1316750"/>
                    <a:pt x="748927" y="1316750"/>
                    <a:pt x="751784" y="1317702"/>
                  </a:cubicBezTo>
                  <a:lnTo>
                    <a:pt x="751784" y="1317702"/>
                  </a:lnTo>
                  <a:cubicBezTo>
                    <a:pt x="761309" y="1315797"/>
                    <a:pt x="771787" y="1314845"/>
                    <a:pt x="770834" y="1301510"/>
                  </a:cubicBezTo>
                  <a:cubicBezTo>
                    <a:pt x="769882" y="1291032"/>
                    <a:pt x="761309" y="1289127"/>
                    <a:pt x="753689" y="1287222"/>
                  </a:cubicBezTo>
                  <a:cubicBezTo>
                    <a:pt x="730829" y="1281507"/>
                    <a:pt x="707017" y="1280555"/>
                    <a:pt x="686062" y="1268172"/>
                  </a:cubicBezTo>
                  <a:cubicBezTo>
                    <a:pt x="686062" y="1268172"/>
                    <a:pt x="686062" y="1268172"/>
                    <a:pt x="686062" y="1268172"/>
                  </a:cubicBezTo>
                  <a:cubicBezTo>
                    <a:pt x="685109" y="1268172"/>
                    <a:pt x="685109" y="1268172"/>
                    <a:pt x="684157" y="1268172"/>
                  </a:cubicBezTo>
                  <a:cubicBezTo>
                    <a:pt x="629864" y="1256742"/>
                    <a:pt x="585097" y="1227215"/>
                    <a:pt x="540329" y="1197687"/>
                  </a:cubicBezTo>
                  <a:cubicBezTo>
                    <a:pt x="532709" y="1192925"/>
                    <a:pt x="524137" y="1187210"/>
                    <a:pt x="516517" y="1182447"/>
                  </a:cubicBezTo>
                  <a:cubicBezTo>
                    <a:pt x="512707" y="1172922"/>
                    <a:pt x="511754" y="1163397"/>
                    <a:pt x="517469" y="1153872"/>
                  </a:cubicBezTo>
                  <a:cubicBezTo>
                    <a:pt x="519374" y="1151967"/>
                    <a:pt x="547949" y="1125297"/>
                    <a:pt x="561284" y="1113867"/>
                  </a:cubicBezTo>
                  <a:cubicBezTo>
                    <a:pt x="605099" y="1071957"/>
                    <a:pt x="595574" y="1069100"/>
                    <a:pt x="640342" y="1105295"/>
                  </a:cubicBezTo>
                  <a:cubicBezTo>
                    <a:pt x="642247" y="1107200"/>
                    <a:pt x="644152" y="1109105"/>
                    <a:pt x="647009" y="1111010"/>
                  </a:cubicBezTo>
                  <a:cubicBezTo>
                    <a:pt x="647009" y="1111010"/>
                    <a:pt x="647009" y="1111010"/>
                    <a:pt x="647009" y="1111010"/>
                  </a:cubicBezTo>
                  <a:cubicBezTo>
                    <a:pt x="658439" y="1111962"/>
                    <a:pt x="670822" y="1128155"/>
                    <a:pt x="682252" y="1111010"/>
                  </a:cubicBezTo>
                  <a:cubicBezTo>
                    <a:pt x="687967" y="1102437"/>
                    <a:pt x="681299" y="1096722"/>
                    <a:pt x="673679" y="1090055"/>
                  </a:cubicBezTo>
                  <a:cubicBezTo>
                    <a:pt x="625102" y="1050050"/>
                    <a:pt x="625102" y="1050050"/>
                    <a:pt x="670822" y="1004330"/>
                  </a:cubicBezTo>
                  <a:cubicBezTo>
                    <a:pt x="675584" y="999567"/>
                    <a:pt x="681299" y="994805"/>
                    <a:pt x="686062" y="989090"/>
                  </a:cubicBezTo>
                  <a:cubicBezTo>
                    <a:pt x="702254" y="969087"/>
                    <a:pt x="719399" y="954800"/>
                    <a:pt x="745117" y="975755"/>
                  </a:cubicBezTo>
                  <a:cubicBezTo>
                    <a:pt x="749879" y="979565"/>
                    <a:pt x="758452" y="983375"/>
                    <a:pt x="764167" y="975755"/>
                  </a:cubicBezTo>
                  <a:cubicBezTo>
                    <a:pt x="767977" y="969087"/>
                    <a:pt x="766072" y="962420"/>
                    <a:pt x="761309" y="955752"/>
                  </a:cubicBezTo>
                  <a:cubicBezTo>
                    <a:pt x="755594" y="948132"/>
                    <a:pt x="738449" y="944322"/>
                    <a:pt x="746069" y="930987"/>
                  </a:cubicBezTo>
                  <a:cubicBezTo>
                    <a:pt x="763214" y="898602"/>
                    <a:pt x="747022" y="901460"/>
                    <a:pt x="725114" y="909080"/>
                  </a:cubicBezTo>
                  <a:cubicBezTo>
                    <a:pt x="719399" y="910985"/>
                    <a:pt x="712732" y="914795"/>
                    <a:pt x="708922" y="908127"/>
                  </a:cubicBezTo>
                  <a:cubicBezTo>
                    <a:pt x="687967" y="870980"/>
                    <a:pt x="641294" y="869075"/>
                    <a:pt x="615577" y="839547"/>
                  </a:cubicBezTo>
                  <a:cubicBezTo>
                    <a:pt x="615577" y="839547"/>
                    <a:pt x="615577" y="839547"/>
                    <a:pt x="615577" y="839547"/>
                  </a:cubicBezTo>
                  <a:lnTo>
                    <a:pt x="615577" y="839547"/>
                  </a:lnTo>
                  <a:cubicBezTo>
                    <a:pt x="587002" y="805257"/>
                    <a:pt x="563189" y="770967"/>
                    <a:pt x="558427" y="724295"/>
                  </a:cubicBezTo>
                  <a:cubicBezTo>
                    <a:pt x="554617" y="680480"/>
                    <a:pt x="562237" y="638570"/>
                    <a:pt x="578429" y="598565"/>
                  </a:cubicBezTo>
                  <a:cubicBezTo>
                    <a:pt x="579382" y="595707"/>
                    <a:pt x="581287" y="592850"/>
                    <a:pt x="582239" y="589040"/>
                  </a:cubicBezTo>
                  <a:cubicBezTo>
                    <a:pt x="582239" y="589040"/>
                    <a:pt x="582239" y="589040"/>
                    <a:pt x="582239" y="589040"/>
                  </a:cubicBezTo>
                  <a:cubicBezTo>
                    <a:pt x="588907" y="583325"/>
                    <a:pt x="592717" y="576657"/>
                    <a:pt x="593669" y="568085"/>
                  </a:cubicBezTo>
                  <a:cubicBezTo>
                    <a:pt x="593669" y="568085"/>
                    <a:pt x="593669" y="568085"/>
                    <a:pt x="593669" y="568085"/>
                  </a:cubicBezTo>
                  <a:cubicBezTo>
                    <a:pt x="578429" y="553797"/>
                    <a:pt x="562237" y="539510"/>
                    <a:pt x="546997" y="524270"/>
                  </a:cubicBezTo>
                  <a:cubicBezTo>
                    <a:pt x="496514" y="472835"/>
                    <a:pt x="496514" y="472835"/>
                    <a:pt x="557474" y="431877"/>
                  </a:cubicBezTo>
                  <a:cubicBezTo>
                    <a:pt x="609862" y="395682"/>
                    <a:pt x="667012" y="370917"/>
                    <a:pt x="729877" y="357582"/>
                  </a:cubicBezTo>
                  <a:cubicBezTo>
                    <a:pt x="741307" y="355677"/>
                    <a:pt x="756547" y="352820"/>
                    <a:pt x="750832" y="335675"/>
                  </a:cubicBezTo>
                  <a:cubicBezTo>
                    <a:pt x="746069" y="320435"/>
                    <a:pt x="732734" y="329007"/>
                    <a:pt x="723209" y="330912"/>
                  </a:cubicBezTo>
                  <a:cubicBezTo>
                    <a:pt x="689872" y="337580"/>
                    <a:pt x="655582" y="346152"/>
                    <a:pt x="624149" y="360440"/>
                  </a:cubicBezTo>
                  <a:cubicBezTo>
                    <a:pt x="624149" y="360440"/>
                    <a:pt x="624149" y="360440"/>
                    <a:pt x="624149" y="360440"/>
                  </a:cubicBezTo>
                  <a:cubicBezTo>
                    <a:pt x="624149" y="360440"/>
                    <a:pt x="624149" y="360440"/>
                    <a:pt x="624149" y="360440"/>
                  </a:cubicBezTo>
                  <a:cubicBezTo>
                    <a:pt x="579382" y="384252"/>
                    <a:pt x="535567" y="408065"/>
                    <a:pt x="497467" y="442355"/>
                  </a:cubicBezTo>
                  <a:cubicBezTo>
                    <a:pt x="487942" y="450927"/>
                    <a:pt x="478417" y="456642"/>
                    <a:pt x="466987" y="446165"/>
                  </a:cubicBezTo>
                  <a:lnTo>
                    <a:pt x="466987" y="446165"/>
                  </a:lnTo>
                  <a:cubicBezTo>
                    <a:pt x="466987" y="444260"/>
                    <a:pt x="466034" y="432830"/>
                    <a:pt x="466034" y="430925"/>
                  </a:cubicBezTo>
                  <a:cubicBezTo>
                    <a:pt x="474607" y="409970"/>
                    <a:pt x="488894" y="396635"/>
                    <a:pt x="512707" y="392825"/>
                  </a:cubicBezTo>
                  <a:cubicBezTo>
                    <a:pt x="546044" y="387110"/>
                    <a:pt x="571762" y="364250"/>
                    <a:pt x="601289" y="351867"/>
                  </a:cubicBezTo>
                  <a:cubicBezTo>
                    <a:pt x="601289" y="351867"/>
                    <a:pt x="601289" y="351867"/>
                    <a:pt x="601289" y="351867"/>
                  </a:cubicBezTo>
                  <a:cubicBezTo>
                    <a:pt x="646057" y="329007"/>
                    <a:pt x="671774" y="283287"/>
                    <a:pt x="711779" y="258522"/>
                  </a:cubicBezTo>
                  <a:cubicBezTo>
                    <a:pt x="751784" y="234710"/>
                    <a:pt x="754642" y="204230"/>
                    <a:pt x="751784" y="166130"/>
                  </a:cubicBezTo>
                  <a:cubicBezTo>
                    <a:pt x="749879" y="139460"/>
                    <a:pt x="739402" y="136602"/>
                    <a:pt x="717494" y="145175"/>
                  </a:cubicBezTo>
                  <a:cubicBezTo>
                    <a:pt x="690824" y="155652"/>
                    <a:pt x="666059" y="168987"/>
                    <a:pt x="638437" y="176607"/>
                  </a:cubicBezTo>
                  <a:cubicBezTo>
                    <a:pt x="566047" y="196610"/>
                    <a:pt x="524137" y="246140"/>
                    <a:pt x="498419" y="315672"/>
                  </a:cubicBezTo>
                  <a:cubicBezTo>
                    <a:pt x="486037" y="349962"/>
                    <a:pt x="487942" y="391872"/>
                    <a:pt x="452699" y="417590"/>
                  </a:cubicBezTo>
                  <a:cubicBezTo>
                    <a:pt x="446032" y="414732"/>
                    <a:pt x="439364" y="412827"/>
                    <a:pt x="432697" y="409970"/>
                  </a:cubicBezTo>
                  <a:cubicBezTo>
                    <a:pt x="432697" y="409970"/>
                    <a:pt x="432697" y="409970"/>
                    <a:pt x="432697" y="409970"/>
                  </a:cubicBezTo>
                  <a:cubicBezTo>
                    <a:pt x="381262" y="356630"/>
                    <a:pt x="373642" y="370917"/>
                    <a:pt x="437459" y="317577"/>
                  </a:cubicBezTo>
                  <a:cubicBezTo>
                    <a:pt x="446984" y="309957"/>
                    <a:pt x="456509" y="303290"/>
                    <a:pt x="466034" y="296622"/>
                  </a:cubicBezTo>
                  <a:cubicBezTo>
                    <a:pt x="479369" y="287097"/>
                    <a:pt x="486037" y="274715"/>
                    <a:pt x="484132" y="252807"/>
                  </a:cubicBezTo>
                  <a:cubicBezTo>
                    <a:pt x="465082" y="265190"/>
                    <a:pt x="389834" y="337580"/>
                    <a:pt x="362212" y="333770"/>
                  </a:cubicBezTo>
                  <a:cubicBezTo>
                    <a:pt x="333637" y="329960"/>
                    <a:pt x="317444" y="293765"/>
                    <a:pt x="293632" y="273762"/>
                  </a:cubicBezTo>
                  <a:cubicBezTo>
                    <a:pt x="270772" y="254712"/>
                    <a:pt x="275534" y="241377"/>
                    <a:pt x="296489" y="223280"/>
                  </a:cubicBezTo>
                  <a:cubicBezTo>
                    <a:pt x="416504" y="119457"/>
                    <a:pt x="554617" y="54687"/>
                    <a:pt x="711779" y="31827"/>
                  </a:cubicBezTo>
                  <a:cubicBezTo>
                    <a:pt x="722257" y="29922"/>
                    <a:pt x="739402" y="31827"/>
                    <a:pt x="737497" y="15635"/>
                  </a:cubicBezTo>
                  <a:cubicBezTo>
                    <a:pt x="735592" y="-1510"/>
                    <a:pt x="719399" y="4205"/>
                    <a:pt x="708922" y="5157"/>
                  </a:cubicBezTo>
                  <a:cubicBezTo>
                    <a:pt x="671774" y="8015"/>
                    <a:pt x="636532" y="17540"/>
                    <a:pt x="600337" y="27065"/>
                  </a:cubicBezTo>
                  <a:cubicBezTo>
                    <a:pt x="213622" y="128982"/>
                    <a:pt x="-46411" y="521412"/>
                    <a:pt x="6929" y="919557"/>
                  </a:cubicBezTo>
                  <a:close/>
                  <a:moveTo>
                    <a:pt x="1376624" y="294717"/>
                  </a:moveTo>
                  <a:cubicBezTo>
                    <a:pt x="1396627" y="270905"/>
                    <a:pt x="1409962" y="274715"/>
                    <a:pt x="1429012" y="297575"/>
                  </a:cubicBezTo>
                  <a:cubicBezTo>
                    <a:pt x="1553789" y="445212"/>
                    <a:pt x="1617607" y="614757"/>
                    <a:pt x="1623322" y="807162"/>
                  </a:cubicBezTo>
                  <a:cubicBezTo>
                    <a:pt x="1619512" y="804305"/>
                    <a:pt x="1501402" y="809067"/>
                    <a:pt x="1495687" y="809067"/>
                  </a:cubicBezTo>
                  <a:cubicBezTo>
                    <a:pt x="1481399" y="789065"/>
                    <a:pt x="1492829" y="764300"/>
                    <a:pt x="1482352" y="743345"/>
                  </a:cubicBezTo>
                  <a:cubicBezTo>
                    <a:pt x="1482352" y="743345"/>
                    <a:pt x="1482352" y="743345"/>
                    <a:pt x="1482352" y="743345"/>
                  </a:cubicBezTo>
                  <a:cubicBezTo>
                    <a:pt x="1482352" y="743345"/>
                    <a:pt x="1482352" y="742392"/>
                    <a:pt x="1482352" y="742392"/>
                  </a:cubicBezTo>
                  <a:cubicBezTo>
                    <a:pt x="1477589" y="670002"/>
                    <a:pt x="1457587" y="601422"/>
                    <a:pt x="1424249" y="536652"/>
                  </a:cubicBezTo>
                  <a:cubicBezTo>
                    <a:pt x="1430917" y="516650"/>
                    <a:pt x="1423297" y="501410"/>
                    <a:pt x="1413772" y="483312"/>
                  </a:cubicBezTo>
                  <a:cubicBezTo>
                    <a:pt x="1392817" y="445212"/>
                    <a:pt x="1358527" y="418542"/>
                    <a:pt x="1329952" y="387110"/>
                  </a:cubicBezTo>
                  <a:cubicBezTo>
                    <a:pt x="1322332" y="378537"/>
                    <a:pt x="1312807" y="370917"/>
                    <a:pt x="1314712" y="359487"/>
                  </a:cubicBezTo>
                  <a:cubicBezTo>
                    <a:pt x="1314712" y="356630"/>
                    <a:pt x="1315664" y="353772"/>
                    <a:pt x="1317569" y="350915"/>
                  </a:cubicBezTo>
                  <a:cubicBezTo>
                    <a:pt x="1337572" y="332817"/>
                    <a:pt x="1359479" y="315672"/>
                    <a:pt x="1376624" y="294717"/>
                  </a:cubicBezTo>
                  <a:close/>
                  <a:moveTo>
                    <a:pt x="1423297" y="809067"/>
                  </a:moveTo>
                  <a:cubicBezTo>
                    <a:pt x="1397579" y="807162"/>
                    <a:pt x="1371862" y="809067"/>
                    <a:pt x="1346144" y="810020"/>
                  </a:cubicBezTo>
                  <a:cubicBezTo>
                    <a:pt x="1346144" y="810020"/>
                    <a:pt x="1346144" y="810020"/>
                    <a:pt x="1346144" y="810020"/>
                  </a:cubicBezTo>
                  <a:cubicBezTo>
                    <a:pt x="1346144" y="810020"/>
                    <a:pt x="1345192" y="810020"/>
                    <a:pt x="1345192" y="810020"/>
                  </a:cubicBezTo>
                  <a:cubicBezTo>
                    <a:pt x="1344239" y="810020"/>
                    <a:pt x="1343287" y="810020"/>
                    <a:pt x="1342334" y="810020"/>
                  </a:cubicBezTo>
                  <a:cubicBezTo>
                    <a:pt x="1340429" y="810020"/>
                    <a:pt x="1339477" y="810020"/>
                    <a:pt x="1337572" y="810020"/>
                  </a:cubicBezTo>
                  <a:cubicBezTo>
                    <a:pt x="1332809" y="810020"/>
                    <a:pt x="1328047" y="809067"/>
                    <a:pt x="1323284" y="809067"/>
                  </a:cubicBezTo>
                  <a:cubicBezTo>
                    <a:pt x="1320427" y="799542"/>
                    <a:pt x="1319474" y="789065"/>
                    <a:pt x="1317569" y="779540"/>
                  </a:cubicBezTo>
                  <a:cubicBezTo>
                    <a:pt x="1314712" y="751917"/>
                    <a:pt x="1316617" y="723342"/>
                    <a:pt x="1316617" y="695720"/>
                  </a:cubicBezTo>
                  <a:cubicBezTo>
                    <a:pt x="1316617" y="695720"/>
                    <a:pt x="1316617" y="695720"/>
                    <a:pt x="1316617" y="695720"/>
                  </a:cubicBezTo>
                  <a:cubicBezTo>
                    <a:pt x="1321379" y="687147"/>
                    <a:pt x="1324237" y="678575"/>
                    <a:pt x="1325189" y="669050"/>
                  </a:cubicBezTo>
                  <a:cubicBezTo>
                    <a:pt x="1325189" y="665240"/>
                    <a:pt x="1326142" y="662382"/>
                    <a:pt x="1326142" y="658572"/>
                  </a:cubicBezTo>
                  <a:cubicBezTo>
                    <a:pt x="1327094" y="606185"/>
                    <a:pt x="1308997" y="559512"/>
                    <a:pt x="1280422" y="516650"/>
                  </a:cubicBezTo>
                  <a:cubicBezTo>
                    <a:pt x="1276612" y="511887"/>
                    <a:pt x="1274707" y="505220"/>
                    <a:pt x="1271849" y="499505"/>
                  </a:cubicBezTo>
                  <a:cubicBezTo>
                    <a:pt x="1268992" y="493790"/>
                    <a:pt x="1263277" y="489027"/>
                    <a:pt x="1252799" y="489980"/>
                  </a:cubicBezTo>
                  <a:cubicBezTo>
                    <a:pt x="1251847" y="504267"/>
                    <a:pt x="1262324" y="511887"/>
                    <a:pt x="1268039" y="521412"/>
                  </a:cubicBezTo>
                  <a:cubicBezTo>
                    <a:pt x="1290899" y="557607"/>
                    <a:pt x="1307092" y="596660"/>
                    <a:pt x="1310902" y="640475"/>
                  </a:cubicBezTo>
                  <a:cubicBezTo>
                    <a:pt x="1310902" y="642380"/>
                    <a:pt x="1310902" y="644285"/>
                    <a:pt x="1311854" y="646190"/>
                  </a:cubicBezTo>
                  <a:cubicBezTo>
                    <a:pt x="1312807" y="653810"/>
                    <a:pt x="1312807" y="660477"/>
                    <a:pt x="1302329" y="663335"/>
                  </a:cubicBezTo>
                  <a:cubicBezTo>
                    <a:pt x="1297567" y="621425"/>
                    <a:pt x="1275659" y="584277"/>
                    <a:pt x="1256609" y="548082"/>
                  </a:cubicBezTo>
                  <a:cubicBezTo>
                    <a:pt x="1245179" y="527127"/>
                    <a:pt x="1221367" y="509982"/>
                    <a:pt x="1202317" y="490932"/>
                  </a:cubicBezTo>
                  <a:cubicBezTo>
                    <a:pt x="1200412" y="489027"/>
                    <a:pt x="1198507" y="488075"/>
                    <a:pt x="1197554" y="486170"/>
                  </a:cubicBezTo>
                  <a:cubicBezTo>
                    <a:pt x="1197554" y="486170"/>
                    <a:pt x="1197554" y="486170"/>
                    <a:pt x="1197554" y="486170"/>
                  </a:cubicBezTo>
                  <a:cubicBezTo>
                    <a:pt x="1217557" y="437592"/>
                    <a:pt x="1243274" y="431877"/>
                    <a:pt x="1273754" y="469977"/>
                  </a:cubicBezTo>
                  <a:cubicBezTo>
                    <a:pt x="1278517" y="475692"/>
                    <a:pt x="1284232" y="479502"/>
                    <a:pt x="1288994" y="484265"/>
                  </a:cubicBezTo>
                  <a:cubicBezTo>
                    <a:pt x="1317569" y="493790"/>
                    <a:pt x="1342334" y="509982"/>
                    <a:pt x="1356622" y="536652"/>
                  </a:cubicBezTo>
                  <a:cubicBezTo>
                    <a:pt x="1369004" y="559512"/>
                    <a:pt x="1395674" y="549987"/>
                    <a:pt x="1409962" y="565227"/>
                  </a:cubicBezTo>
                  <a:cubicBezTo>
                    <a:pt x="1410914" y="567132"/>
                    <a:pt x="1411867" y="569037"/>
                    <a:pt x="1411867" y="570942"/>
                  </a:cubicBezTo>
                  <a:cubicBezTo>
                    <a:pt x="1434727" y="633807"/>
                    <a:pt x="1451872" y="697625"/>
                    <a:pt x="1459492" y="763347"/>
                  </a:cubicBezTo>
                  <a:cubicBezTo>
                    <a:pt x="1459492" y="766205"/>
                    <a:pt x="1460444" y="769062"/>
                    <a:pt x="1460444" y="771920"/>
                  </a:cubicBezTo>
                  <a:cubicBezTo>
                    <a:pt x="1462349" y="799542"/>
                    <a:pt x="1451872" y="810972"/>
                    <a:pt x="1423297" y="809067"/>
                  </a:cubicBezTo>
                  <a:close/>
                  <a:moveTo>
                    <a:pt x="1234702" y="690957"/>
                  </a:moveTo>
                  <a:cubicBezTo>
                    <a:pt x="1237559" y="680480"/>
                    <a:pt x="1228987" y="673812"/>
                    <a:pt x="1219462" y="669050"/>
                  </a:cubicBezTo>
                  <a:cubicBezTo>
                    <a:pt x="1210889" y="664287"/>
                    <a:pt x="1202317" y="667145"/>
                    <a:pt x="1197554" y="674765"/>
                  </a:cubicBezTo>
                  <a:cubicBezTo>
                    <a:pt x="1186124" y="691910"/>
                    <a:pt x="1185172" y="706197"/>
                    <a:pt x="1166122" y="673812"/>
                  </a:cubicBezTo>
                  <a:cubicBezTo>
                    <a:pt x="1153739" y="652857"/>
                    <a:pt x="1130879" y="621425"/>
                    <a:pt x="1095637" y="618567"/>
                  </a:cubicBezTo>
                  <a:cubicBezTo>
                    <a:pt x="1093732" y="616662"/>
                    <a:pt x="1091827" y="614757"/>
                    <a:pt x="1089922" y="612852"/>
                  </a:cubicBezTo>
                  <a:cubicBezTo>
                    <a:pt x="1074682" y="598565"/>
                    <a:pt x="1074682" y="585230"/>
                    <a:pt x="1097542" y="569990"/>
                  </a:cubicBezTo>
                  <a:cubicBezTo>
                    <a:pt x="1118497" y="555702"/>
                    <a:pt x="1135642" y="534747"/>
                    <a:pt x="1153739" y="515697"/>
                  </a:cubicBezTo>
                  <a:cubicBezTo>
                    <a:pt x="1168027" y="500457"/>
                    <a:pt x="1179457" y="500457"/>
                    <a:pt x="1189934" y="518555"/>
                  </a:cubicBezTo>
                  <a:cubicBezTo>
                    <a:pt x="1203269" y="540462"/>
                    <a:pt x="1230892" y="555702"/>
                    <a:pt x="1220414" y="589040"/>
                  </a:cubicBezTo>
                  <a:cubicBezTo>
                    <a:pt x="1217557" y="598565"/>
                    <a:pt x="1228034" y="605232"/>
                    <a:pt x="1235654" y="610947"/>
                  </a:cubicBezTo>
                  <a:cubicBezTo>
                    <a:pt x="1270897" y="634760"/>
                    <a:pt x="1279469" y="667145"/>
                    <a:pt x="1266134" y="707150"/>
                  </a:cubicBezTo>
                  <a:cubicBezTo>
                    <a:pt x="1266134" y="707150"/>
                    <a:pt x="1266134" y="707150"/>
                    <a:pt x="1266134" y="707150"/>
                  </a:cubicBezTo>
                  <a:cubicBezTo>
                    <a:pt x="1266134" y="707150"/>
                    <a:pt x="1266134" y="707150"/>
                    <a:pt x="1266134" y="707150"/>
                  </a:cubicBezTo>
                  <a:cubicBezTo>
                    <a:pt x="1267087" y="709055"/>
                    <a:pt x="1268039" y="710007"/>
                    <a:pt x="1268039" y="711912"/>
                  </a:cubicBezTo>
                  <a:cubicBezTo>
                    <a:pt x="1268992" y="714770"/>
                    <a:pt x="1269944" y="717627"/>
                    <a:pt x="1270897" y="720485"/>
                  </a:cubicBezTo>
                  <a:cubicBezTo>
                    <a:pt x="1274707" y="733820"/>
                    <a:pt x="1275659" y="748107"/>
                    <a:pt x="1289947" y="755727"/>
                  </a:cubicBezTo>
                  <a:cubicBezTo>
                    <a:pt x="1289947" y="755727"/>
                    <a:pt x="1291852" y="758585"/>
                    <a:pt x="1294709" y="757632"/>
                  </a:cubicBezTo>
                  <a:cubicBezTo>
                    <a:pt x="1294709" y="808115"/>
                    <a:pt x="1294709" y="809067"/>
                    <a:pt x="1237559" y="807162"/>
                  </a:cubicBezTo>
                  <a:cubicBezTo>
                    <a:pt x="1219462" y="806210"/>
                    <a:pt x="1185172" y="816687"/>
                    <a:pt x="1186124" y="799542"/>
                  </a:cubicBezTo>
                  <a:cubicBezTo>
                    <a:pt x="1187077" y="781445"/>
                    <a:pt x="1208984" y="754775"/>
                    <a:pt x="1232797" y="746202"/>
                  </a:cubicBezTo>
                  <a:cubicBezTo>
                    <a:pt x="1248989" y="740487"/>
                    <a:pt x="1257562" y="730010"/>
                    <a:pt x="1265182" y="716675"/>
                  </a:cubicBezTo>
                  <a:cubicBezTo>
                    <a:pt x="1243274" y="724295"/>
                    <a:pt x="1225177" y="726200"/>
                    <a:pt x="1234702" y="690957"/>
                  </a:cubicBezTo>
                  <a:close/>
                  <a:moveTo>
                    <a:pt x="1070872" y="629045"/>
                  </a:moveTo>
                  <a:cubicBezTo>
                    <a:pt x="1073729" y="632855"/>
                    <a:pt x="1076587" y="635712"/>
                    <a:pt x="1079444" y="637617"/>
                  </a:cubicBezTo>
                  <a:cubicBezTo>
                    <a:pt x="1079444" y="637617"/>
                    <a:pt x="1079444" y="637617"/>
                    <a:pt x="1079444" y="637617"/>
                  </a:cubicBezTo>
                  <a:cubicBezTo>
                    <a:pt x="1083254" y="658572"/>
                    <a:pt x="1060394" y="652857"/>
                    <a:pt x="1054679" y="663335"/>
                  </a:cubicBezTo>
                  <a:cubicBezTo>
                    <a:pt x="1037534" y="652857"/>
                    <a:pt x="1045154" y="637617"/>
                    <a:pt x="1045154" y="623330"/>
                  </a:cubicBezTo>
                  <a:cubicBezTo>
                    <a:pt x="1053727" y="617615"/>
                    <a:pt x="1058489" y="618567"/>
                    <a:pt x="1063252" y="621425"/>
                  </a:cubicBezTo>
                  <a:cubicBezTo>
                    <a:pt x="1066109" y="623330"/>
                    <a:pt x="1068014" y="626187"/>
                    <a:pt x="1070872" y="629045"/>
                  </a:cubicBezTo>
                  <a:close/>
                  <a:moveTo>
                    <a:pt x="1033724" y="1085292"/>
                  </a:moveTo>
                  <a:cubicBezTo>
                    <a:pt x="1037534" y="1079577"/>
                    <a:pt x="1043249" y="1076720"/>
                    <a:pt x="1048964" y="1079577"/>
                  </a:cubicBezTo>
                  <a:cubicBezTo>
                    <a:pt x="1063252" y="1087197"/>
                    <a:pt x="1078492" y="1092912"/>
                    <a:pt x="1090874" y="1111010"/>
                  </a:cubicBezTo>
                  <a:cubicBezTo>
                    <a:pt x="1068967" y="1110057"/>
                    <a:pt x="1052774" y="1109105"/>
                    <a:pt x="1039439" y="1099580"/>
                  </a:cubicBezTo>
                  <a:cubicBezTo>
                    <a:pt x="1034677" y="1095770"/>
                    <a:pt x="1029914" y="1091960"/>
                    <a:pt x="1033724" y="1085292"/>
                  </a:cubicBezTo>
                  <a:close/>
                  <a:moveTo>
                    <a:pt x="1128974" y="1072910"/>
                  </a:moveTo>
                  <a:cubicBezTo>
                    <a:pt x="1133737" y="1038620"/>
                    <a:pt x="1138499" y="1006235"/>
                    <a:pt x="1128022" y="970992"/>
                  </a:cubicBezTo>
                  <a:cubicBezTo>
                    <a:pt x="1123259" y="955752"/>
                    <a:pt x="1148977" y="941465"/>
                    <a:pt x="1163264" y="930035"/>
                  </a:cubicBezTo>
                  <a:cubicBezTo>
                    <a:pt x="1181362" y="914795"/>
                    <a:pt x="1204222" y="921462"/>
                    <a:pt x="1224224" y="912890"/>
                  </a:cubicBezTo>
                  <a:cubicBezTo>
                    <a:pt x="1238512" y="907175"/>
                    <a:pt x="1247084" y="896697"/>
                    <a:pt x="1248989" y="886220"/>
                  </a:cubicBezTo>
                  <a:cubicBezTo>
                    <a:pt x="1250894" y="871932"/>
                    <a:pt x="1233749" y="876695"/>
                    <a:pt x="1225177" y="873837"/>
                  </a:cubicBezTo>
                  <a:cubicBezTo>
                    <a:pt x="1211842" y="870027"/>
                    <a:pt x="1203269" y="860502"/>
                    <a:pt x="1204222" y="848120"/>
                  </a:cubicBezTo>
                  <a:cubicBezTo>
                    <a:pt x="1205174" y="831927"/>
                    <a:pt x="1220414" y="839547"/>
                    <a:pt x="1229939" y="837642"/>
                  </a:cubicBezTo>
                  <a:cubicBezTo>
                    <a:pt x="1236607" y="836690"/>
                    <a:pt x="1244227" y="838595"/>
                    <a:pt x="1250894" y="836690"/>
                  </a:cubicBezTo>
                  <a:cubicBezTo>
                    <a:pt x="1268039" y="833832"/>
                    <a:pt x="1280422" y="836690"/>
                    <a:pt x="1288042" y="844310"/>
                  </a:cubicBezTo>
                  <a:cubicBezTo>
                    <a:pt x="1295662" y="850977"/>
                    <a:pt x="1297567" y="863360"/>
                    <a:pt x="1295662" y="880505"/>
                  </a:cubicBezTo>
                  <a:cubicBezTo>
                    <a:pt x="1278517" y="977660"/>
                    <a:pt x="1238512" y="1064337"/>
                    <a:pt x="1173742" y="1138632"/>
                  </a:cubicBezTo>
                  <a:cubicBezTo>
                    <a:pt x="1166122" y="1137680"/>
                    <a:pt x="1162312" y="1134822"/>
                    <a:pt x="1159454" y="1130060"/>
                  </a:cubicBezTo>
                  <a:cubicBezTo>
                    <a:pt x="1157549" y="1126250"/>
                    <a:pt x="1156597" y="1121487"/>
                    <a:pt x="1156597" y="1116725"/>
                  </a:cubicBezTo>
                  <a:cubicBezTo>
                    <a:pt x="1154692" y="1101485"/>
                    <a:pt x="1160407" y="1078625"/>
                    <a:pt x="1132784" y="1077672"/>
                  </a:cubicBezTo>
                  <a:cubicBezTo>
                    <a:pt x="1131832" y="1076720"/>
                    <a:pt x="1128974" y="1073862"/>
                    <a:pt x="1128974" y="1072910"/>
                  </a:cubicBezTo>
                  <a:close/>
                  <a:moveTo>
                    <a:pt x="1239464" y="1298652"/>
                  </a:moveTo>
                  <a:cubicBezTo>
                    <a:pt x="1212794" y="1318655"/>
                    <a:pt x="1187077" y="1338657"/>
                    <a:pt x="1160407" y="1358660"/>
                  </a:cubicBezTo>
                  <a:cubicBezTo>
                    <a:pt x="1159454" y="1355802"/>
                    <a:pt x="1159454" y="1349135"/>
                    <a:pt x="1159454" y="1342467"/>
                  </a:cubicBezTo>
                  <a:cubicBezTo>
                    <a:pt x="1160407" y="1314845"/>
                    <a:pt x="1168027" y="1267220"/>
                    <a:pt x="1174694" y="1258647"/>
                  </a:cubicBezTo>
                  <a:cubicBezTo>
                    <a:pt x="1188029" y="1240550"/>
                    <a:pt x="1184219" y="1229120"/>
                    <a:pt x="1166122" y="1218642"/>
                  </a:cubicBezTo>
                  <a:cubicBezTo>
                    <a:pt x="1142309" y="1204355"/>
                    <a:pt x="1148977" y="1197687"/>
                    <a:pt x="1161359" y="1191972"/>
                  </a:cubicBezTo>
                  <a:cubicBezTo>
                    <a:pt x="1165169" y="1190067"/>
                    <a:pt x="1169932" y="1189115"/>
                    <a:pt x="1173742" y="1187210"/>
                  </a:cubicBezTo>
                  <a:cubicBezTo>
                    <a:pt x="1195649" y="1210070"/>
                    <a:pt x="1217557" y="1234835"/>
                    <a:pt x="1240417" y="1255790"/>
                  </a:cubicBezTo>
                  <a:cubicBezTo>
                    <a:pt x="1259467" y="1272935"/>
                    <a:pt x="1257562" y="1285317"/>
                    <a:pt x="1239464" y="1298652"/>
                  </a:cubicBezTo>
                  <a:close/>
                  <a:moveTo>
                    <a:pt x="1306139" y="1231025"/>
                  </a:moveTo>
                  <a:cubicBezTo>
                    <a:pt x="1298519" y="1239597"/>
                    <a:pt x="1293757" y="1254837"/>
                    <a:pt x="1279469" y="1250075"/>
                  </a:cubicBezTo>
                  <a:cubicBezTo>
                    <a:pt x="1265182" y="1245312"/>
                    <a:pt x="1274707" y="1231977"/>
                    <a:pt x="1273754" y="1222452"/>
                  </a:cubicBezTo>
                  <a:cubicBezTo>
                    <a:pt x="1272802" y="1211022"/>
                    <a:pt x="1269944" y="1198640"/>
                    <a:pt x="1267087" y="1187210"/>
                  </a:cubicBezTo>
                  <a:cubicBezTo>
                    <a:pt x="1264229" y="1176732"/>
                    <a:pt x="1262324" y="1164350"/>
                    <a:pt x="1249942" y="1163397"/>
                  </a:cubicBezTo>
                  <a:cubicBezTo>
                    <a:pt x="1236607" y="1162445"/>
                    <a:pt x="1236607" y="1174827"/>
                    <a:pt x="1234702" y="1183400"/>
                  </a:cubicBezTo>
                  <a:cubicBezTo>
                    <a:pt x="1231844" y="1192925"/>
                    <a:pt x="1227082" y="1200545"/>
                    <a:pt x="1218509" y="1191020"/>
                  </a:cubicBezTo>
                  <a:cubicBezTo>
                    <a:pt x="1208984" y="1180542"/>
                    <a:pt x="1185172" y="1173875"/>
                    <a:pt x="1201364" y="1151967"/>
                  </a:cubicBezTo>
                  <a:cubicBezTo>
                    <a:pt x="1215652" y="1131965"/>
                    <a:pt x="1232797" y="1112915"/>
                    <a:pt x="1246132" y="1091960"/>
                  </a:cubicBezTo>
                  <a:cubicBezTo>
                    <a:pt x="1286137" y="1030047"/>
                    <a:pt x="1328999" y="856692"/>
                    <a:pt x="1334714" y="849072"/>
                  </a:cubicBezTo>
                  <a:cubicBezTo>
                    <a:pt x="1343287" y="837642"/>
                    <a:pt x="1357574" y="836690"/>
                    <a:pt x="1392817" y="838595"/>
                  </a:cubicBezTo>
                  <a:cubicBezTo>
                    <a:pt x="1412819" y="839547"/>
                    <a:pt x="1438537" y="826212"/>
                    <a:pt x="1454729" y="845262"/>
                  </a:cubicBezTo>
                  <a:cubicBezTo>
                    <a:pt x="1457587" y="849072"/>
                    <a:pt x="1460444" y="853835"/>
                    <a:pt x="1462349" y="859550"/>
                  </a:cubicBezTo>
                  <a:cubicBezTo>
                    <a:pt x="1448062" y="998615"/>
                    <a:pt x="1399484" y="1124345"/>
                    <a:pt x="1306139" y="1231025"/>
                  </a:cubicBezTo>
                  <a:close/>
                  <a:moveTo>
                    <a:pt x="1359479" y="1210070"/>
                  </a:moveTo>
                  <a:cubicBezTo>
                    <a:pt x="1430917" y="1111962"/>
                    <a:pt x="1476637" y="1004330"/>
                    <a:pt x="1483304" y="881457"/>
                  </a:cubicBezTo>
                  <a:cubicBezTo>
                    <a:pt x="1484257" y="863360"/>
                    <a:pt x="1489019" y="850977"/>
                    <a:pt x="1497592" y="843357"/>
                  </a:cubicBezTo>
                  <a:cubicBezTo>
                    <a:pt x="1507117" y="835737"/>
                    <a:pt x="1521404" y="832880"/>
                    <a:pt x="1540454" y="835737"/>
                  </a:cubicBezTo>
                  <a:cubicBezTo>
                    <a:pt x="1557599" y="838595"/>
                    <a:pt x="1575697" y="836690"/>
                    <a:pt x="1593794" y="835737"/>
                  </a:cubicBezTo>
                  <a:cubicBezTo>
                    <a:pt x="1602367" y="834785"/>
                    <a:pt x="1609987" y="836690"/>
                    <a:pt x="1614749" y="840500"/>
                  </a:cubicBezTo>
                  <a:cubicBezTo>
                    <a:pt x="1621417" y="845262"/>
                    <a:pt x="1624274" y="852882"/>
                    <a:pt x="1625227" y="865265"/>
                  </a:cubicBezTo>
                  <a:cubicBezTo>
                    <a:pt x="1625227" y="865265"/>
                    <a:pt x="1625227" y="865265"/>
                    <a:pt x="1625227" y="865265"/>
                  </a:cubicBezTo>
                  <a:cubicBezTo>
                    <a:pt x="1610939" y="1009092"/>
                    <a:pt x="1569029" y="1144347"/>
                    <a:pt x="1486162" y="1264362"/>
                  </a:cubicBezTo>
                  <a:cubicBezTo>
                    <a:pt x="1465207" y="1294842"/>
                    <a:pt x="1441394" y="1322465"/>
                    <a:pt x="1418534" y="1351040"/>
                  </a:cubicBezTo>
                  <a:cubicBezTo>
                    <a:pt x="1406152" y="1367232"/>
                    <a:pt x="1395674" y="1366280"/>
                    <a:pt x="1380434" y="1352945"/>
                  </a:cubicBezTo>
                  <a:cubicBezTo>
                    <a:pt x="1301377" y="1288175"/>
                    <a:pt x="1301377" y="1289127"/>
                    <a:pt x="1359479" y="1210070"/>
                  </a:cubicBezTo>
                  <a:close/>
                  <a:moveTo>
                    <a:pt x="592717" y="252807"/>
                  </a:moveTo>
                  <a:cubicBezTo>
                    <a:pt x="595574" y="252807"/>
                    <a:pt x="600337" y="256617"/>
                    <a:pt x="600337" y="257570"/>
                  </a:cubicBezTo>
                  <a:cubicBezTo>
                    <a:pt x="594622" y="273762"/>
                    <a:pt x="584144" y="284240"/>
                    <a:pt x="562237" y="289002"/>
                  </a:cubicBezTo>
                  <a:cubicBezTo>
                    <a:pt x="568904" y="268047"/>
                    <a:pt x="574619" y="254712"/>
                    <a:pt x="592717" y="252807"/>
                  </a:cubicBezTo>
                  <a:close/>
                  <a:moveTo>
                    <a:pt x="332684" y="1297700"/>
                  </a:moveTo>
                  <a:cubicBezTo>
                    <a:pt x="320302" y="1309130"/>
                    <a:pt x="308872" y="1321512"/>
                    <a:pt x="297442" y="1332942"/>
                  </a:cubicBezTo>
                  <a:cubicBezTo>
                    <a:pt x="254579" y="1375805"/>
                    <a:pt x="254579" y="1375805"/>
                    <a:pt x="215527" y="1330085"/>
                  </a:cubicBezTo>
                  <a:cubicBezTo>
                    <a:pt x="106942" y="1200545"/>
                    <a:pt x="44077" y="1051002"/>
                    <a:pt x="30742" y="882410"/>
                  </a:cubicBezTo>
                  <a:cubicBezTo>
                    <a:pt x="26932" y="838595"/>
                    <a:pt x="30742" y="836690"/>
                    <a:pt x="74557" y="835737"/>
                  </a:cubicBezTo>
                  <a:cubicBezTo>
                    <a:pt x="157424" y="834785"/>
                    <a:pt x="156472" y="834785"/>
                    <a:pt x="169807" y="917652"/>
                  </a:cubicBezTo>
                  <a:cubicBezTo>
                    <a:pt x="173617" y="941465"/>
                    <a:pt x="176474" y="965277"/>
                    <a:pt x="185999" y="987185"/>
                  </a:cubicBezTo>
                  <a:cubicBezTo>
                    <a:pt x="183142" y="991947"/>
                    <a:pt x="180284" y="995757"/>
                    <a:pt x="176474" y="998615"/>
                  </a:cubicBezTo>
                  <a:cubicBezTo>
                    <a:pt x="161234" y="1010997"/>
                    <a:pt x="139327" y="1003377"/>
                    <a:pt x="124087" y="1001472"/>
                  </a:cubicBezTo>
                  <a:cubicBezTo>
                    <a:pt x="92654" y="996710"/>
                    <a:pt x="80272" y="1002425"/>
                    <a:pt x="80272" y="1033857"/>
                  </a:cubicBezTo>
                  <a:cubicBezTo>
                    <a:pt x="80272" y="1057670"/>
                    <a:pt x="95512" y="1098627"/>
                    <a:pt x="115514" y="1129107"/>
                  </a:cubicBezTo>
                  <a:cubicBezTo>
                    <a:pt x="123134" y="1124345"/>
                    <a:pt x="117419" y="1118630"/>
                    <a:pt x="115514" y="1113867"/>
                  </a:cubicBezTo>
                  <a:cubicBezTo>
                    <a:pt x="112657" y="1102437"/>
                    <a:pt x="103132" y="1089102"/>
                    <a:pt x="115514" y="1081482"/>
                  </a:cubicBezTo>
                  <a:cubicBezTo>
                    <a:pt x="126944" y="1074815"/>
                    <a:pt x="128849" y="1094817"/>
                    <a:pt x="136469" y="1094817"/>
                  </a:cubicBezTo>
                  <a:cubicBezTo>
                    <a:pt x="185047" y="1098627"/>
                    <a:pt x="206002" y="1134822"/>
                    <a:pt x="233624" y="1167207"/>
                  </a:cubicBezTo>
                  <a:cubicBezTo>
                    <a:pt x="243149" y="1179590"/>
                    <a:pt x="264104" y="1180542"/>
                    <a:pt x="278392" y="1191972"/>
                  </a:cubicBezTo>
                  <a:cubicBezTo>
                    <a:pt x="281249" y="1194830"/>
                    <a:pt x="284107" y="1197687"/>
                    <a:pt x="286012" y="1201497"/>
                  </a:cubicBezTo>
                  <a:lnTo>
                    <a:pt x="286012" y="1201497"/>
                  </a:lnTo>
                  <a:cubicBezTo>
                    <a:pt x="297442" y="1224357"/>
                    <a:pt x="314587" y="1242455"/>
                    <a:pt x="331732" y="1260552"/>
                  </a:cubicBezTo>
                  <a:cubicBezTo>
                    <a:pt x="346019" y="1274840"/>
                    <a:pt x="346019" y="1286270"/>
                    <a:pt x="332684" y="1297700"/>
                  </a:cubicBezTo>
                  <a:close/>
                  <a:moveTo>
                    <a:pt x="317444" y="879552"/>
                  </a:moveTo>
                  <a:cubicBezTo>
                    <a:pt x="314587" y="883362"/>
                    <a:pt x="312682" y="887172"/>
                    <a:pt x="309824" y="890982"/>
                  </a:cubicBezTo>
                  <a:cubicBezTo>
                    <a:pt x="290774" y="917652"/>
                    <a:pt x="270772" y="943370"/>
                    <a:pt x="272677" y="982422"/>
                  </a:cubicBezTo>
                  <a:cubicBezTo>
                    <a:pt x="273629" y="1010045"/>
                    <a:pt x="249817" y="1010045"/>
                    <a:pt x="227909" y="1008140"/>
                  </a:cubicBezTo>
                  <a:cubicBezTo>
                    <a:pt x="225052" y="1008140"/>
                    <a:pt x="221242" y="1007187"/>
                    <a:pt x="218384" y="1007187"/>
                  </a:cubicBezTo>
                  <a:cubicBezTo>
                    <a:pt x="218384" y="1007187"/>
                    <a:pt x="218384" y="1007187"/>
                    <a:pt x="218384" y="1007187"/>
                  </a:cubicBezTo>
                  <a:cubicBezTo>
                    <a:pt x="208859" y="963372"/>
                    <a:pt x="197429" y="919557"/>
                    <a:pt x="192667" y="874790"/>
                  </a:cubicBezTo>
                  <a:cubicBezTo>
                    <a:pt x="189809" y="847167"/>
                    <a:pt x="195524" y="833832"/>
                    <a:pt x="225052" y="835737"/>
                  </a:cubicBezTo>
                  <a:cubicBezTo>
                    <a:pt x="248864" y="837642"/>
                    <a:pt x="272677" y="835737"/>
                    <a:pt x="296489" y="836690"/>
                  </a:cubicBezTo>
                  <a:cubicBezTo>
                    <a:pt x="327922" y="837642"/>
                    <a:pt x="332684" y="848120"/>
                    <a:pt x="317444" y="879552"/>
                  </a:cubicBezTo>
                  <a:close/>
                  <a:moveTo>
                    <a:pt x="352687" y="1225310"/>
                  </a:moveTo>
                  <a:cubicBezTo>
                    <a:pt x="358402" y="1221500"/>
                    <a:pt x="366974" y="1223405"/>
                    <a:pt x="375547" y="1229120"/>
                  </a:cubicBezTo>
                  <a:cubicBezTo>
                    <a:pt x="386024" y="1235787"/>
                    <a:pt x="385072" y="1242455"/>
                    <a:pt x="381262" y="1249122"/>
                  </a:cubicBezTo>
                  <a:cubicBezTo>
                    <a:pt x="379357" y="1251980"/>
                    <a:pt x="377452" y="1254837"/>
                    <a:pt x="375547" y="1258647"/>
                  </a:cubicBezTo>
                  <a:cubicBezTo>
                    <a:pt x="375547" y="1258647"/>
                    <a:pt x="375547" y="1258647"/>
                    <a:pt x="375547" y="1258647"/>
                  </a:cubicBezTo>
                  <a:cubicBezTo>
                    <a:pt x="366022" y="1251027"/>
                    <a:pt x="355544" y="1244360"/>
                    <a:pt x="346019" y="1236740"/>
                  </a:cubicBezTo>
                  <a:cubicBezTo>
                    <a:pt x="347924" y="1231025"/>
                    <a:pt x="349829" y="1227215"/>
                    <a:pt x="352687" y="1225310"/>
                  </a:cubicBezTo>
                  <a:close/>
                  <a:moveTo>
                    <a:pt x="404122" y="904317"/>
                  </a:moveTo>
                  <a:cubicBezTo>
                    <a:pt x="402217" y="902412"/>
                    <a:pt x="399359" y="901460"/>
                    <a:pt x="397454" y="899555"/>
                  </a:cubicBezTo>
                  <a:cubicBezTo>
                    <a:pt x="397454" y="896697"/>
                    <a:pt x="397454" y="893840"/>
                    <a:pt x="398407" y="890982"/>
                  </a:cubicBezTo>
                  <a:cubicBezTo>
                    <a:pt x="398407" y="890982"/>
                    <a:pt x="398407" y="890982"/>
                    <a:pt x="398407" y="890982"/>
                  </a:cubicBezTo>
                  <a:cubicBezTo>
                    <a:pt x="398407" y="890982"/>
                    <a:pt x="398407" y="890982"/>
                    <a:pt x="398407" y="890982"/>
                  </a:cubicBezTo>
                  <a:cubicBezTo>
                    <a:pt x="382214" y="895745"/>
                    <a:pt x="362212" y="916700"/>
                    <a:pt x="356497" y="882410"/>
                  </a:cubicBezTo>
                  <a:cubicBezTo>
                    <a:pt x="353639" y="868122"/>
                    <a:pt x="346019" y="846215"/>
                    <a:pt x="366974" y="839547"/>
                  </a:cubicBezTo>
                  <a:cubicBezTo>
                    <a:pt x="398407" y="829070"/>
                    <a:pt x="381262" y="868122"/>
                    <a:pt x="398407" y="874790"/>
                  </a:cubicBezTo>
                  <a:cubicBezTo>
                    <a:pt x="400312" y="861455"/>
                    <a:pt x="404122" y="850977"/>
                    <a:pt x="418409" y="844310"/>
                  </a:cubicBezTo>
                  <a:cubicBezTo>
                    <a:pt x="448889" y="830022"/>
                    <a:pt x="459367" y="835737"/>
                    <a:pt x="460319" y="870980"/>
                  </a:cubicBezTo>
                  <a:cubicBezTo>
                    <a:pt x="459367" y="873837"/>
                    <a:pt x="459367" y="876695"/>
                    <a:pt x="459367" y="878600"/>
                  </a:cubicBezTo>
                  <a:cubicBezTo>
                    <a:pt x="459367" y="879552"/>
                    <a:pt x="459367" y="881457"/>
                    <a:pt x="459367" y="882410"/>
                  </a:cubicBezTo>
                  <a:cubicBezTo>
                    <a:pt x="457462" y="900507"/>
                    <a:pt x="455557" y="918605"/>
                    <a:pt x="470797" y="934797"/>
                  </a:cubicBezTo>
                  <a:cubicBezTo>
                    <a:pt x="469844" y="917652"/>
                    <a:pt x="468892" y="900507"/>
                    <a:pt x="467939" y="883362"/>
                  </a:cubicBezTo>
                  <a:cubicBezTo>
                    <a:pt x="467939" y="882410"/>
                    <a:pt x="467939" y="880505"/>
                    <a:pt x="467939" y="879552"/>
                  </a:cubicBezTo>
                  <a:cubicBezTo>
                    <a:pt x="469844" y="866217"/>
                    <a:pt x="476512" y="852882"/>
                    <a:pt x="468892" y="839547"/>
                  </a:cubicBezTo>
                  <a:cubicBezTo>
                    <a:pt x="468892" y="839547"/>
                    <a:pt x="468892" y="839547"/>
                    <a:pt x="468892" y="839547"/>
                  </a:cubicBezTo>
                  <a:cubicBezTo>
                    <a:pt x="481274" y="838595"/>
                    <a:pt x="486037" y="843357"/>
                    <a:pt x="488894" y="849072"/>
                  </a:cubicBezTo>
                  <a:cubicBezTo>
                    <a:pt x="492704" y="858597"/>
                    <a:pt x="488894" y="873837"/>
                    <a:pt x="496514" y="881457"/>
                  </a:cubicBezTo>
                  <a:cubicBezTo>
                    <a:pt x="496514" y="881457"/>
                    <a:pt x="496514" y="881457"/>
                    <a:pt x="496514" y="881457"/>
                  </a:cubicBezTo>
                  <a:cubicBezTo>
                    <a:pt x="503182" y="935750"/>
                    <a:pt x="526994" y="982422"/>
                    <a:pt x="559379" y="1025285"/>
                  </a:cubicBezTo>
                  <a:cubicBezTo>
                    <a:pt x="569857" y="1038620"/>
                    <a:pt x="585097" y="1054812"/>
                    <a:pt x="563189" y="1066242"/>
                  </a:cubicBezTo>
                  <a:cubicBezTo>
                    <a:pt x="533662" y="1082435"/>
                    <a:pt x="526042" y="1131965"/>
                    <a:pt x="486989" y="1132917"/>
                  </a:cubicBezTo>
                  <a:cubicBezTo>
                    <a:pt x="481274" y="1132917"/>
                    <a:pt x="474607" y="1131965"/>
                    <a:pt x="467939" y="1130060"/>
                  </a:cubicBezTo>
                  <a:cubicBezTo>
                    <a:pt x="455557" y="1071957"/>
                    <a:pt x="443174" y="1012902"/>
                    <a:pt x="431744" y="954800"/>
                  </a:cubicBezTo>
                  <a:cubicBezTo>
                    <a:pt x="426982" y="933845"/>
                    <a:pt x="420314" y="916700"/>
                    <a:pt x="404122" y="904317"/>
                  </a:cubicBezTo>
                  <a:close/>
                  <a:moveTo>
                    <a:pt x="469844" y="755727"/>
                  </a:moveTo>
                  <a:cubicBezTo>
                    <a:pt x="481274" y="759537"/>
                    <a:pt x="489847" y="765252"/>
                    <a:pt x="488894" y="784302"/>
                  </a:cubicBezTo>
                  <a:cubicBezTo>
                    <a:pt x="488894" y="791922"/>
                    <a:pt x="486037" y="797637"/>
                    <a:pt x="483179" y="801447"/>
                  </a:cubicBezTo>
                  <a:cubicBezTo>
                    <a:pt x="478417" y="807162"/>
                    <a:pt x="469844" y="810020"/>
                    <a:pt x="459367" y="810020"/>
                  </a:cubicBezTo>
                  <a:lnTo>
                    <a:pt x="459367" y="810020"/>
                  </a:lnTo>
                  <a:cubicBezTo>
                    <a:pt x="437459" y="792875"/>
                    <a:pt x="433649" y="773825"/>
                    <a:pt x="452699" y="750965"/>
                  </a:cubicBezTo>
                  <a:cubicBezTo>
                    <a:pt x="458414" y="752870"/>
                    <a:pt x="464129" y="753822"/>
                    <a:pt x="469844" y="755727"/>
                  </a:cubicBezTo>
                  <a:close/>
                  <a:moveTo>
                    <a:pt x="582239" y="1010045"/>
                  </a:moveTo>
                  <a:cubicBezTo>
                    <a:pt x="553664" y="973850"/>
                    <a:pt x="533662" y="932892"/>
                    <a:pt x="520327" y="888125"/>
                  </a:cubicBezTo>
                  <a:cubicBezTo>
                    <a:pt x="519374" y="885267"/>
                    <a:pt x="518422" y="882410"/>
                    <a:pt x="517469" y="880505"/>
                  </a:cubicBezTo>
                  <a:cubicBezTo>
                    <a:pt x="517469" y="880505"/>
                    <a:pt x="517469" y="880505"/>
                    <a:pt x="517469" y="880505"/>
                  </a:cubicBezTo>
                  <a:cubicBezTo>
                    <a:pt x="519374" y="873837"/>
                    <a:pt x="519374" y="864312"/>
                    <a:pt x="529852" y="869075"/>
                  </a:cubicBezTo>
                  <a:cubicBezTo>
                    <a:pt x="549854" y="876695"/>
                    <a:pt x="574619" y="880505"/>
                    <a:pt x="587002" y="894792"/>
                  </a:cubicBezTo>
                  <a:cubicBezTo>
                    <a:pt x="606052" y="917652"/>
                    <a:pt x="616529" y="902412"/>
                    <a:pt x="630817" y="893840"/>
                  </a:cubicBezTo>
                  <a:cubicBezTo>
                    <a:pt x="632722" y="896697"/>
                    <a:pt x="633674" y="900507"/>
                    <a:pt x="636532" y="903365"/>
                  </a:cubicBezTo>
                  <a:cubicBezTo>
                    <a:pt x="636532" y="903365"/>
                    <a:pt x="636532" y="903365"/>
                    <a:pt x="636532" y="903365"/>
                  </a:cubicBezTo>
                  <a:cubicBezTo>
                    <a:pt x="645104" y="913842"/>
                    <a:pt x="618434" y="925272"/>
                    <a:pt x="635579" y="932892"/>
                  </a:cubicBezTo>
                  <a:cubicBezTo>
                    <a:pt x="649867" y="938607"/>
                    <a:pt x="653677" y="920510"/>
                    <a:pt x="660344" y="911937"/>
                  </a:cubicBezTo>
                  <a:cubicBezTo>
                    <a:pt x="665107" y="906222"/>
                    <a:pt x="669869" y="906222"/>
                    <a:pt x="674632" y="911937"/>
                  </a:cubicBezTo>
                  <a:cubicBezTo>
                    <a:pt x="682252" y="921462"/>
                    <a:pt x="693682" y="931940"/>
                    <a:pt x="684157" y="943370"/>
                  </a:cubicBezTo>
                  <a:cubicBezTo>
                    <a:pt x="659392" y="970992"/>
                    <a:pt x="633674" y="996710"/>
                    <a:pt x="606052" y="1021475"/>
                  </a:cubicBezTo>
                  <a:cubicBezTo>
                    <a:pt x="596527" y="1031000"/>
                    <a:pt x="587954" y="1017665"/>
                    <a:pt x="582239" y="1010045"/>
                  </a:cubicBezTo>
                  <a:close/>
                  <a:moveTo>
                    <a:pt x="502229" y="517602"/>
                  </a:moveTo>
                  <a:cubicBezTo>
                    <a:pt x="521279" y="538557"/>
                    <a:pt x="541282" y="559512"/>
                    <a:pt x="560332" y="579515"/>
                  </a:cubicBezTo>
                  <a:lnTo>
                    <a:pt x="560332" y="579515"/>
                  </a:lnTo>
                  <a:cubicBezTo>
                    <a:pt x="564142" y="582372"/>
                    <a:pt x="568904" y="584277"/>
                    <a:pt x="572714" y="587135"/>
                  </a:cubicBezTo>
                  <a:cubicBezTo>
                    <a:pt x="570809" y="589992"/>
                    <a:pt x="568904" y="591897"/>
                    <a:pt x="566999" y="594755"/>
                  </a:cubicBezTo>
                  <a:cubicBezTo>
                    <a:pt x="560332" y="604280"/>
                    <a:pt x="503182" y="669050"/>
                    <a:pt x="486989" y="690957"/>
                  </a:cubicBezTo>
                  <a:cubicBezTo>
                    <a:pt x="485084" y="693815"/>
                    <a:pt x="482227" y="697625"/>
                    <a:pt x="480322" y="701435"/>
                  </a:cubicBezTo>
                  <a:cubicBezTo>
                    <a:pt x="480322" y="701435"/>
                    <a:pt x="480322" y="701435"/>
                    <a:pt x="480322" y="701435"/>
                  </a:cubicBezTo>
                  <a:cubicBezTo>
                    <a:pt x="446984" y="708102"/>
                    <a:pt x="431744" y="730010"/>
                    <a:pt x="426029" y="762395"/>
                  </a:cubicBezTo>
                  <a:cubicBezTo>
                    <a:pt x="424124" y="772872"/>
                    <a:pt x="419362" y="782397"/>
                    <a:pt x="415552" y="792875"/>
                  </a:cubicBezTo>
                  <a:cubicBezTo>
                    <a:pt x="406979" y="817640"/>
                    <a:pt x="386024" y="809067"/>
                    <a:pt x="369832" y="808115"/>
                  </a:cubicBezTo>
                  <a:cubicBezTo>
                    <a:pt x="350782" y="807162"/>
                    <a:pt x="352687" y="790970"/>
                    <a:pt x="354592" y="778587"/>
                  </a:cubicBezTo>
                  <a:cubicBezTo>
                    <a:pt x="363164" y="682385"/>
                    <a:pt x="398407" y="596660"/>
                    <a:pt x="459367" y="521412"/>
                  </a:cubicBezTo>
                  <a:cubicBezTo>
                    <a:pt x="473654" y="502362"/>
                    <a:pt x="486037" y="499505"/>
                    <a:pt x="502229" y="517602"/>
                  </a:cubicBezTo>
                  <a:close/>
                  <a:moveTo>
                    <a:pt x="396502" y="412827"/>
                  </a:moveTo>
                  <a:cubicBezTo>
                    <a:pt x="401264" y="416637"/>
                    <a:pt x="448889" y="463310"/>
                    <a:pt x="452699" y="466167"/>
                  </a:cubicBezTo>
                  <a:cubicBezTo>
                    <a:pt x="452699" y="466167"/>
                    <a:pt x="452699" y="466167"/>
                    <a:pt x="452699" y="466167"/>
                  </a:cubicBezTo>
                  <a:cubicBezTo>
                    <a:pt x="460319" y="482360"/>
                    <a:pt x="447937" y="489980"/>
                    <a:pt x="440317" y="499505"/>
                  </a:cubicBezTo>
                  <a:cubicBezTo>
                    <a:pt x="376499" y="577610"/>
                    <a:pt x="337447" y="665240"/>
                    <a:pt x="329827" y="765252"/>
                  </a:cubicBezTo>
                  <a:cubicBezTo>
                    <a:pt x="326969" y="800495"/>
                    <a:pt x="313634" y="810972"/>
                    <a:pt x="278392" y="809067"/>
                  </a:cubicBezTo>
                  <a:cubicBezTo>
                    <a:pt x="179332" y="805257"/>
                    <a:pt x="182189" y="827165"/>
                    <a:pt x="199334" y="713817"/>
                  </a:cubicBezTo>
                  <a:cubicBezTo>
                    <a:pt x="216479" y="602375"/>
                    <a:pt x="263152" y="503315"/>
                    <a:pt x="334589" y="415685"/>
                  </a:cubicBezTo>
                  <a:cubicBezTo>
                    <a:pt x="363164" y="381395"/>
                    <a:pt x="363164" y="382347"/>
                    <a:pt x="396502" y="412827"/>
                  </a:cubicBezTo>
                  <a:close/>
                  <a:moveTo>
                    <a:pt x="32647" y="739535"/>
                  </a:moveTo>
                  <a:cubicBezTo>
                    <a:pt x="49792" y="568085"/>
                    <a:pt x="116467" y="418542"/>
                    <a:pt x="229814" y="289002"/>
                  </a:cubicBezTo>
                  <a:cubicBezTo>
                    <a:pt x="244102" y="272810"/>
                    <a:pt x="254579" y="269952"/>
                    <a:pt x="270772" y="286145"/>
                  </a:cubicBezTo>
                  <a:cubicBezTo>
                    <a:pt x="289822" y="306147"/>
                    <a:pt x="308872" y="325197"/>
                    <a:pt x="328874" y="344247"/>
                  </a:cubicBezTo>
                  <a:cubicBezTo>
                    <a:pt x="343162" y="356630"/>
                    <a:pt x="340304" y="367107"/>
                    <a:pt x="328874" y="380442"/>
                  </a:cubicBezTo>
                  <a:cubicBezTo>
                    <a:pt x="230767" y="492837"/>
                    <a:pt x="174569" y="622377"/>
                    <a:pt x="165997" y="771920"/>
                  </a:cubicBezTo>
                  <a:cubicBezTo>
                    <a:pt x="164092" y="801447"/>
                    <a:pt x="152662" y="812877"/>
                    <a:pt x="124087" y="809067"/>
                  </a:cubicBezTo>
                  <a:cubicBezTo>
                    <a:pt x="114562" y="808115"/>
                    <a:pt x="105037" y="809067"/>
                    <a:pt x="95512" y="809067"/>
                  </a:cubicBezTo>
                  <a:cubicBezTo>
                    <a:pt x="26932" y="809067"/>
                    <a:pt x="25027" y="809067"/>
                    <a:pt x="32647" y="7395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E8AA350E-0C72-4603-8C5A-7C6BD6F003BB}"/>
                </a:ext>
              </a:extLst>
            </p:cNvPr>
            <p:cNvSpPr/>
            <p:nvPr/>
          </p:nvSpPr>
          <p:spPr>
            <a:xfrm>
              <a:off x="1482550" y="4482380"/>
              <a:ext cx="577797" cy="755278"/>
            </a:xfrm>
            <a:custGeom>
              <a:avLst/>
              <a:gdLst>
                <a:gd name="connsiteX0" fmla="*/ 315311 w 577797"/>
                <a:gd name="connsiteY0" fmla="*/ 59266 h 755278"/>
                <a:gd name="connsiteX1" fmla="*/ 343886 w 577797"/>
                <a:gd name="connsiteY1" fmla="*/ 95461 h 755278"/>
                <a:gd name="connsiteX2" fmla="*/ 402941 w 577797"/>
                <a:gd name="connsiteY2" fmla="*/ 118321 h 755278"/>
                <a:gd name="connsiteX3" fmla="*/ 444851 w 577797"/>
                <a:gd name="connsiteY3" fmla="*/ 274531 h 755278"/>
                <a:gd name="connsiteX4" fmla="*/ 371509 w 577797"/>
                <a:gd name="connsiteY4" fmla="*/ 327871 h 755278"/>
                <a:gd name="connsiteX5" fmla="*/ 217204 w 577797"/>
                <a:gd name="connsiteY5" fmla="*/ 371686 h 755278"/>
                <a:gd name="connsiteX6" fmla="*/ 37181 w 577797"/>
                <a:gd name="connsiteY6" fmla="*/ 459316 h 755278"/>
                <a:gd name="connsiteX7" fmla="*/ 37181 w 577797"/>
                <a:gd name="connsiteY7" fmla="*/ 459316 h 755278"/>
                <a:gd name="connsiteX8" fmla="*/ 154339 w 577797"/>
                <a:gd name="connsiteY8" fmla="*/ 749829 h 755278"/>
                <a:gd name="connsiteX9" fmla="*/ 183866 w 577797"/>
                <a:gd name="connsiteY9" fmla="*/ 744114 h 755278"/>
                <a:gd name="connsiteX10" fmla="*/ 154339 w 577797"/>
                <a:gd name="connsiteY10" fmla="*/ 643149 h 755278"/>
                <a:gd name="connsiteX11" fmla="*/ 161959 w 577797"/>
                <a:gd name="connsiteY11" fmla="*/ 504084 h 755278"/>
                <a:gd name="connsiteX12" fmla="*/ 269591 w 577797"/>
                <a:gd name="connsiteY12" fmla="*/ 466936 h 755278"/>
                <a:gd name="connsiteX13" fmla="*/ 446756 w 577797"/>
                <a:gd name="connsiteY13" fmla="*/ 413596 h 755278"/>
                <a:gd name="connsiteX14" fmla="*/ 570581 w 577797"/>
                <a:gd name="connsiteY14" fmla="*/ 169756 h 755278"/>
                <a:gd name="connsiteX15" fmla="*/ 450566 w 577797"/>
                <a:gd name="connsiteY15" fmla="*/ 30691 h 755278"/>
                <a:gd name="connsiteX16" fmla="*/ 382939 w 577797"/>
                <a:gd name="connsiteY16" fmla="*/ 8784 h 755278"/>
                <a:gd name="connsiteX17" fmla="*/ 315311 w 577797"/>
                <a:gd name="connsiteY17" fmla="*/ 59266 h 755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7797" h="755278">
                  <a:moveTo>
                    <a:pt x="315311" y="59266"/>
                  </a:moveTo>
                  <a:cubicBezTo>
                    <a:pt x="315311" y="80221"/>
                    <a:pt x="321026" y="92604"/>
                    <a:pt x="343886" y="95461"/>
                  </a:cubicBezTo>
                  <a:cubicBezTo>
                    <a:pt x="364841" y="98319"/>
                    <a:pt x="384844" y="106891"/>
                    <a:pt x="402941" y="118321"/>
                  </a:cubicBezTo>
                  <a:cubicBezTo>
                    <a:pt x="461996" y="153564"/>
                    <a:pt x="480094" y="220239"/>
                    <a:pt x="444851" y="274531"/>
                  </a:cubicBezTo>
                  <a:cubicBezTo>
                    <a:pt x="427706" y="302154"/>
                    <a:pt x="400084" y="316441"/>
                    <a:pt x="371509" y="327871"/>
                  </a:cubicBezTo>
                  <a:cubicBezTo>
                    <a:pt x="321979" y="347874"/>
                    <a:pt x="269591" y="358351"/>
                    <a:pt x="217204" y="371686"/>
                  </a:cubicBezTo>
                  <a:cubicBezTo>
                    <a:pt x="151481" y="388831"/>
                    <a:pt x="86711" y="409786"/>
                    <a:pt x="37181" y="459316"/>
                  </a:cubicBezTo>
                  <a:cubicBezTo>
                    <a:pt x="37181" y="459316"/>
                    <a:pt x="37181" y="459316"/>
                    <a:pt x="37181" y="459316"/>
                  </a:cubicBezTo>
                  <a:cubicBezTo>
                    <a:pt x="-33304" y="568854"/>
                    <a:pt x="-8539" y="700299"/>
                    <a:pt x="154339" y="749829"/>
                  </a:cubicBezTo>
                  <a:cubicBezTo>
                    <a:pt x="163864" y="752686"/>
                    <a:pt x="177199" y="763164"/>
                    <a:pt x="183866" y="744114"/>
                  </a:cubicBezTo>
                  <a:cubicBezTo>
                    <a:pt x="194344" y="713634"/>
                    <a:pt x="180056" y="662199"/>
                    <a:pt x="154339" y="643149"/>
                  </a:cubicBezTo>
                  <a:cubicBezTo>
                    <a:pt x="99094" y="602191"/>
                    <a:pt x="101951" y="538374"/>
                    <a:pt x="161959" y="504084"/>
                  </a:cubicBezTo>
                  <a:cubicBezTo>
                    <a:pt x="195296" y="485034"/>
                    <a:pt x="232444" y="475509"/>
                    <a:pt x="269591" y="466936"/>
                  </a:cubicBezTo>
                  <a:cubicBezTo>
                    <a:pt x="329599" y="452649"/>
                    <a:pt x="389606" y="438361"/>
                    <a:pt x="446756" y="413596"/>
                  </a:cubicBezTo>
                  <a:cubicBezTo>
                    <a:pt x="548674" y="368829"/>
                    <a:pt x="597251" y="272626"/>
                    <a:pt x="570581" y="169756"/>
                  </a:cubicBezTo>
                  <a:cubicBezTo>
                    <a:pt x="553436" y="104034"/>
                    <a:pt x="505811" y="64029"/>
                    <a:pt x="450566" y="30691"/>
                  </a:cubicBezTo>
                  <a:cubicBezTo>
                    <a:pt x="427706" y="23071"/>
                    <a:pt x="405799" y="14499"/>
                    <a:pt x="382939" y="8784"/>
                  </a:cubicBezTo>
                  <a:cubicBezTo>
                    <a:pt x="321026" y="-9314"/>
                    <a:pt x="314359" y="-2646"/>
                    <a:pt x="315311" y="592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F5659847-4817-42E3-8D82-2D6F999ABE4A}"/>
                </a:ext>
              </a:extLst>
            </p:cNvPr>
            <p:cNvSpPr/>
            <p:nvPr/>
          </p:nvSpPr>
          <p:spPr>
            <a:xfrm>
              <a:off x="1661654" y="4192047"/>
              <a:ext cx="137874" cy="639780"/>
            </a:xfrm>
            <a:custGeom>
              <a:avLst/>
              <a:gdLst>
                <a:gd name="connsiteX0" fmla="*/ 18098 w 137874"/>
                <a:gd name="connsiteY0" fmla="*/ 321976 h 639780"/>
                <a:gd name="connsiteX1" fmla="*/ 24765 w 137874"/>
                <a:gd name="connsiteY1" fmla="*/ 603916 h 639780"/>
                <a:gd name="connsiteX2" fmla="*/ 31432 w 137874"/>
                <a:gd name="connsiteY2" fmla="*/ 638206 h 639780"/>
                <a:gd name="connsiteX3" fmla="*/ 38100 w 137874"/>
                <a:gd name="connsiteY3" fmla="*/ 639159 h 639780"/>
                <a:gd name="connsiteX4" fmla="*/ 109537 w 137874"/>
                <a:gd name="connsiteY4" fmla="*/ 556291 h 639780"/>
                <a:gd name="connsiteX5" fmla="*/ 108585 w 137874"/>
                <a:gd name="connsiteY5" fmla="*/ 510571 h 639780"/>
                <a:gd name="connsiteX6" fmla="*/ 108585 w 137874"/>
                <a:gd name="connsiteY6" fmla="*/ 364839 h 639780"/>
                <a:gd name="connsiteX7" fmla="*/ 108585 w 137874"/>
                <a:gd name="connsiteY7" fmla="*/ 266731 h 639780"/>
                <a:gd name="connsiteX8" fmla="*/ 135255 w 137874"/>
                <a:gd name="connsiteY8" fmla="*/ 110521 h 639780"/>
                <a:gd name="connsiteX9" fmla="*/ 136207 w 137874"/>
                <a:gd name="connsiteY9" fmla="*/ 59086 h 639780"/>
                <a:gd name="connsiteX10" fmla="*/ 71438 w 137874"/>
                <a:gd name="connsiteY10" fmla="*/ 31 h 639780"/>
                <a:gd name="connsiteX11" fmla="*/ 3810 w 137874"/>
                <a:gd name="connsiteY11" fmla="*/ 56229 h 639780"/>
                <a:gd name="connsiteX12" fmla="*/ 4763 w 137874"/>
                <a:gd name="connsiteY12" fmla="*/ 141954 h 639780"/>
                <a:gd name="connsiteX13" fmla="*/ 18098 w 137874"/>
                <a:gd name="connsiteY13" fmla="*/ 321976 h 63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874" h="639780">
                  <a:moveTo>
                    <a:pt x="18098" y="321976"/>
                  </a:moveTo>
                  <a:cubicBezTo>
                    <a:pt x="20002" y="416274"/>
                    <a:pt x="22860" y="509619"/>
                    <a:pt x="24765" y="603916"/>
                  </a:cubicBezTo>
                  <a:cubicBezTo>
                    <a:pt x="24765" y="615346"/>
                    <a:pt x="22860" y="627729"/>
                    <a:pt x="31432" y="638206"/>
                  </a:cubicBezTo>
                  <a:cubicBezTo>
                    <a:pt x="33338" y="641064"/>
                    <a:pt x="35242" y="639159"/>
                    <a:pt x="38100" y="639159"/>
                  </a:cubicBezTo>
                  <a:cubicBezTo>
                    <a:pt x="107632" y="626776"/>
                    <a:pt x="108585" y="626776"/>
                    <a:pt x="109537" y="556291"/>
                  </a:cubicBezTo>
                  <a:cubicBezTo>
                    <a:pt x="109537" y="541051"/>
                    <a:pt x="109537" y="525811"/>
                    <a:pt x="108585" y="510571"/>
                  </a:cubicBezTo>
                  <a:cubicBezTo>
                    <a:pt x="107632" y="493426"/>
                    <a:pt x="108585" y="364839"/>
                    <a:pt x="108585" y="364839"/>
                  </a:cubicBezTo>
                  <a:cubicBezTo>
                    <a:pt x="108585" y="332454"/>
                    <a:pt x="108585" y="299116"/>
                    <a:pt x="108585" y="266731"/>
                  </a:cubicBezTo>
                  <a:cubicBezTo>
                    <a:pt x="110490" y="207676"/>
                    <a:pt x="119062" y="182911"/>
                    <a:pt x="135255" y="110521"/>
                  </a:cubicBezTo>
                  <a:cubicBezTo>
                    <a:pt x="139065" y="92424"/>
                    <a:pt x="138112" y="77184"/>
                    <a:pt x="136207" y="59086"/>
                  </a:cubicBezTo>
                  <a:cubicBezTo>
                    <a:pt x="132398" y="21939"/>
                    <a:pt x="107632" y="984"/>
                    <a:pt x="71438" y="31"/>
                  </a:cubicBezTo>
                  <a:cubicBezTo>
                    <a:pt x="35242" y="-921"/>
                    <a:pt x="9525" y="20034"/>
                    <a:pt x="3810" y="56229"/>
                  </a:cubicBezTo>
                  <a:cubicBezTo>
                    <a:pt x="-952" y="84804"/>
                    <a:pt x="-1905" y="113379"/>
                    <a:pt x="4763" y="141954"/>
                  </a:cubicBezTo>
                  <a:cubicBezTo>
                    <a:pt x="18098" y="201009"/>
                    <a:pt x="17145" y="261969"/>
                    <a:pt x="18098" y="3219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3A232A39-49F9-49A7-B5C4-80854AA990D2}"/>
                </a:ext>
              </a:extLst>
            </p:cNvPr>
            <p:cNvSpPr/>
            <p:nvPr/>
          </p:nvSpPr>
          <p:spPr>
            <a:xfrm>
              <a:off x="962519" y="6060792"/>
              <a:ext cx="1525904" cy="231796"/>
            </a:xfrm>
            <a:custGeom>
              <a:avLst/>
              <a:gdLst>
                <a:gd name="connsiteX0" fmla="*/ 1358265 w 1525904"/>
                <a:gd name="connsiteY0" fmla="*/ 67719 h 231796"/>
                <a:gd name="connsiteX1" fmla="*/ 1198245 w 1525904"/>
                <a:gd name="connsiteY1" fmla="*/ 31524 h 231796"/>
                <a:gd name="connsiteX2" fmla="*/ 779145 w 1525904"/>
                <a:gd name="connsiteY2" fmla="*/ 30572 h 231796"/>
                <a:gd name="connsiteX3" fmla="*/ 734378 w 1525904"/>
                <a:gd name="connsiteY3" fmla="*/ 26762 h 231796"/>
                <a:gd name="connsiteX4" fmla="*/ 561975 w 1525904"/>
                <a:gd name="connsiteY4" fmla="*/ 1044 h 231796"/>
                <a:gd name="connsiteX5" fmla="*/ 270510 w 1525904"/>
                <a:gd name="connsiteY5" fmla="*/ 46764 h 231796"/>
                <a:gd name="connsiteX6" fmla="*/ 77152 w 1525904"/>
                <a:gd name="connsiteY6" fmla="*/ 72482 h 231796"/>
                <a:gd name="connsiteX7" fmla="*/ 0 w 1525904"/>
                <a:gd name="connsiteY7" fmla="*/ 60099 h 231796"/>
                <a:gd name="connsiteX8" fmla="*/ 57150 w 1525904"/>
                <a:gd name="connsiteY8" fmla="*/ 102009 h 231796"/>
                <a:gd name="connsiteX9" fmla="*/ 416242 w 1525904"/>
                <a:gd name="connsiteY9" fmla="*/ 128679 h 231796"/>
                <a:gd name="connsiteX10" fmla="*/ 629603 w 1525904"/>
                <a:gd name="connsiteY10" fmla="*/ 71529 h 231796"/>
                <a:gd name="connsiteX11" fmla="*/ 686753 w 1525904"/>
                <a:gd name="connsiteY11" fmla="*/ 70577 h 231796"/>
                <a:gd name="connsiteX12" fmla="*/ 503873 w 1525904"/>
                <a:gd name="connsiteY12" fmla="*/ 219167 h 231796"/>
                <a:gd name="connsiteX13" fmla="*/ 581025 w 1525904"/>
                <a:gd name="connsiteY13" fmla="*/ 198212 h 231796"/>
                <a:gd name="connsiteX14" fmla="*/ 724853 w 1525904"/>
                <a:gd name="connsiteY14" fmla="*/ 85817 h 231796"/>
                <a:gd name="connsiteX15" fmla="*/ 801053 w 1525904"/>
                <a:gd name="connsiteY15" fmla="*/ 84864 h 231796"/>
                <a:gd name="connsiteX16" fmla="*/ 958215 w 1525904"/>
                <a:gd name="connsiteY16" fmla="*/ 214404 h 231796"/>
                <a:gd name="connsiteX17" fmla="*/ 1014413 w 1525904"/>
                <a:gd name="connsiteY17" fmla="*/ 222024 h 231796"/>
                <a:gd name="connsiteX18" fmla="*/ 997268 w 1525904"/>
                <a:gd name="connsiteY18" fmla="*/ 188687 h 231796"/>
                <a:gd name="connsiteX19" fmla="*/ 980122 w 1525904"/>
                <a:gd name="connsiteY19" fmla="*/ 171542 h 231796"/>
                <a:gd name="connsiteX20" fmla="*/ 841058 w 1525904"/>
                <a:gd name="connsiteY20" fmla="*/ 70577 h 231796"/>
                <a:gd name="connsiteX21" fmla="*/ 897255 w 1525904"/>
                <a:gd name="connsiteY21" fmla="*/ 72482 h 231796"/>
                <a:gd name="connsiteX22" fmla="*/ 1103948 w 1525904"/>
                <a:gd name="connsiteY22" fmla="*/ 128679 h 231796"/>
                <a:gd name="connsiteX23" fmla="*/ 1469708 w 1525904"/>
                <a:gd name="connsiteY23" fmla="*/ 103914 h 231796"/>
                <a:gd name="connsiteX24" fmla="*/ 1525905 w 1525904"/>
                <a:gd name="connsiteY24" fmla="*/ 60099 h 231796"/>
                <a:gd name="connsiteX25" fmla="*/ 1358265 w 1525904"/>
                <a:gd name="connsiteY25" fmla="*/ 67719 h 23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5904" h="231796">
                  <a:moveTo>
                    <a:pt x="1358265" y="67719"/>
                  </a:moveTo>
                  <a:cubicBezTo>
                    <a:pt x="1303973" y="59147"/>
                    <a:pt x="1251585" y="43907"/>
                    <a:pt x="1198245" y="31524"/>
                  </a:cubicBezTo>
                  <a:cubicBezTo>
                    <a:pt x="1059180" y="-1813"/>
                    <a:pt x="919163" y="-18006"/>
                    <a:pt x="779145" y="30572"/>
                  </a:cubicBezTo>
                  <a:cubicBezTo>
                    <a:pt x="762953" y="36287"/>
                    <a:pt x="748665" y="30572"/>
                    <a:pt x="734378" y="26762"/>
                  </a:cubicBezTo>
                  <a:cubicBezTo>
                    <a:pt x="678180" y="9617"/>
                    <a:pt x="621030" y="1044"/>
                    <a:pt x="561975" y="1044"/>
                  </a:cubicBezTo>
                  <a:cubicBezTo>
                    <a:pt x="461963" y="1044"/>
                    <a:pt x="365760" y="21999"/>
                    <a:pt x="270510" y="46764"/>
                  </a:cubicBezTo>
                  <a:cubicBezTo>
                    <a:pt x="206692" y="62957"/>
                    <a:pt x="142875" y="78197"/>
                    <a:pt x="77152" y="72482"/>
                  </a:cubicBezTo>
                  <a:cubicBezTo>
                    <a:pt x="53340" y="70577"/>
                    <a:pt x="30480" y="64862"/>
                    <a:pt x="0" y="60099"/>
                  </a:cubicBezTo>
                  <a:cubicBezTo>
                    <a:pt x="20002" y="82007"/>
                    <a:pt x="39052" y="92484"/>
                    <a:pt x="57150" y="102009"/>
                  </a:cubicBezTo>
                  <a:cubicBezTo>
                    <a:pt x="173355" y="160112"/>
                    <a:pt x="294323" y="156302"/>
                    <a:pt x="416242" y="128679"/>
                  </a:cubicBezTo>
                  <a:cubicBezTo>
                    <a:pt x="488633" y="112487"/>
                    <a:pt x="557213" y="83912"/>
                    <a:pt x="629603" y="71529"/>
                  </a:cubicBezTo>
                  <a:cubicBezTo>
                    <a:pt x="646748" y="68672"/>
                    <a:pt x="662940" y="64862"/>
                    <a:pt x="686753" y="70577"/>
                  </a:cubicBezTo>
                  <a:cubicBezTo>
                    <a:pt x="616268" y="113439"/>
                    <a:pt x="552450" y="156302"/>
                    <a:pt x="503873" y="219167"/>
                  </a:cubicBezTo>
                  <a:cubicBezTo>
                    <a:pt x="539115" y="236312"/>
                    <a:pt x="561023" y="229644"/>
                    <a:pt x="581025" y="198212"/>
                  </a:cubicBezTo>
                  <a:cubicBezTo>
                    <a:pt x="615315" y="144872"/>
                    <a:pt x="665798" y="108677"/>
                    <a:pt x="724853" y="85817"/>
                  </a:cubicBezTo>
                  <a:cubicBezTo>
                    <a:pt x="750570" y="75339"/>
                    <a:pt x="774383" y="75339"/>
                    <a:pt x="801053" y="84864"/>
                  </a:cubicBezTo>
                  <a:cubicBezTo>
                    <a:pt x="867728" y="110582"/>
                    <a:pt x="919163" y="154397"/>
                    <a:pt x="958215" y="214404"/>
                  </a:cubicBezTo>
                  <a:cubicBezTo>
                    <a:pt x="974408" y="239169"/>
                    <a:pt x="1001078" y="233454"/>
                    <a:pt x="1014413" y="222024"/>
                  </a:cubicBezTo>
                  <a:cubicBezTo>
                    <a:pt x="1031558" y="207737"/>
                    <a:pt x="1003935" y="200117"/>
                    <a:pt x="997268" y="188687"/>
                  </a:cubicBezTo>
                  <a:cubicBezTo>
                    <a:pt x="993458" y="182019"/>
                    <a:pt x="985838" y="177257"/>
                    <a:pt x="980122" y="171542"/>
                  </a:cubicBezTo>
                  <a:cubicBezTo>
                    <a:pt x="940118" y="132489"/>
                    <a:pt x="893445" y="103914"/>
                    <a:pt x="841058" y="70577"/>
                  </a:cubicBezTo>
                  <a:cubicBezTo>
                    <a:pt x="864870" y="66767"/>
                    <a:pt x="881063" y="69624"/>
                    <a:pt x="897255" y="72482"/>
                  </a:cubicBezTo>
                  <a:cubicBezTo>
                    <a:pt x="967740" y="84864"/>
                    <a:pt x="1034415" y="112487"/>
                    <a:pt x="1103948" y="128679"/>
                  </a:cubicBezTo>
                  <a:cubicBezTo>
                    <a:pt x="1227773" y="157254"/>
                    <a:pt x="1351598" y="163922"/>
                    <a:pt x="1469708" y="103914"/>
                  </a:cubicBezTo>
                  <a:cubicBezTo>
                    <a:pt x="1488758" y="94389"/>
                    <a:pt x="1509713" y="84864"/>
                    <a:pt x="1525905" y="60099"/>
                  </a:cubicBezTo>
                  <a:cubicBezTo>
                    <a:pt x="1466850" y="72482"/>
                    <a:pt x="1412558" y="76292"/>
                    <a:pt x="1358265" y="677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4853CA65-062E-489B-85B1-96B1195CDBD9}"/>
                </a:ext>
              </a:extLst>
            </p:cNvPr>
            <p:cNvSpPr/>
            <p:nvPr/>
          </p:nvSpPr>
          <p:spPr>
            <a:xfrm>
              <a:off x="753364" y="5734176"/>
              <a:ext cx="493716" cy="342037"/>
            </a:xfrm>
            <a:custGeom>
              <a:avLst/>
              <a:gdLst>
                <a:gd name="connsiteX0" fmla="*/ 477760 w 493716"/>
                <a:gd name="connsiteY0" fmla="*/ 341948 h 342037"/>
                <a:gd name="connsiteX1" fmla="*/ 490142 w 493716"/>
                <a:gd name="connsiteY1" fmla="*/ 322898 h 342037"/>
                <a:gd name="connsiteX2" fmla="*/ 436802 w 493716"/>
                <a:gd name="connsiteY2" fmla="*/ 198120 h 342037"/>
                <a:gd name="connsiteX3" fmla="*/ 276782 w 493716"/>
                <a:gd name="connsiteY3" fmla="*/ 0 h 342037"/>
                <a:gd name="connsiteX4" fmla="*/ 380605 w 493716"/>
                <a:gd name="connsiteY4" fmla="*/ 263843 h 342037"/>
                <a:gd name="connsiteX5" fmla="*/ 2462 w 493716"/>
                <a:gd name="connsiteY5" fmla="*/ 149543 h 342037"/>
                <a:gd name="connsiteX6" fmla="*/ 8177 w 493716"/>
                <a:gd name="connsiteY6" fmla="*/ 174308 h 342037"/>
                <a:gd name="connsiteX7" fmla="*/ 253922 w 493716"/>
                <a:gd name="connsiteY7" fmla="*/ 335280 h 342037"/>
                <a:gd name="connsiteX8" fmla="*/ 477760 w 493716"/>
                <a:gd name="connsiteY8" fmla="*/ 341948 h 34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3716" h="342037">
                  <a:moveTo>
                    <a:pt x="477760" y="341948"/>
                  </a:moveTo>
                  <a:cubicBezTo>
                    <a:pt x="493000" y="342900"/>
                    <a:pt x="497762" y="336233"/>
                    <a:pt x="490142" y="322898"/>
                  </a:cubicBezTo>
                  <a:cubicBezTo>
                    <a:pt x="466330" y="283845"/>
                    <a:pt x="455852" y="239078"/>
                    <a:pt x="436802" y="198120"/>
                  </a:cubicBezTo>
                  <a:cubicBezTo>
                    <a:pt x="400607" y="121920"/>
                    <a:pt x="344410" y="60960"/>
                    <a:pt x="276782" y="0"/>
                  </a:cubicBezTo>
                  <a:cubicBezTo>
                    <a:pt x="294880" y="100965"/>
                    <a:pt x="312025" y="191453"/>
                    <a:pt x="380605" y="263843"/>
                  </a:cubicBezTo>
                  <a:cubicBezTo>
                    <a:pt x="255827" y="211455"/>
                    <a:pt x="114857" y="227648"/>
                    <a:pt x="2462" y="149543"/>
                  </a:cubicBezTo>
                  <a:cubicBezTo>
                    <a:pt x="-4205" y="161925"/>
                    <a:pt x="4367" y="168593"/>
                    <a:pt x="8177" y="174308"/>
                  </a:cubicBezTo>
                  <a:cubicBezTo>
                    <a:pt x="67232" y="262890"/>
                    <a:pt x="147242" y="318135"/>
                    <a:pt x="253922" y="335280"/>
                  </a:cubicBezTo>
                  <a:cubicBezTo>
                    <a:pt x="328217" y="347663"/>
                    <a:pt x="402512" y="337185"/>
                    <a:pt x="477760" y="3419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9A494BB1-0672-4080-BE11-3835441CDFAA}"/>
                </a:ext>
              </a:extLst>
            </p:cNvPr>
            <p:cNvSpPr/>
            <p:nvPr/>
          </p:nvSpPr>
          <p:spPr>
            <a:xfrm>
              <a:off x="2206442" y="5734176"/>
              <a:ext cx="486769" cy="340995"/>
            </a:xfrm>
            <a:custGeom>
              <a:avLst/>
              <a:gdLst>
                <a:gd name="connsiteX0" fmla="*/ 217212 w 486769"/>
                <a:gd name="connsiteY0" fmla="*/ 0 h 340995"/>
                <a:gd name="connsiteX1" fmla="*/ 120057 w 486769"/>
                <a:gd name="connsiteY1" fmla="*/ 98108 h 340995"/>
                <a:gd name="connsiteX2" fmla="*/ 2899 w 486769"/>
                <a:gd name="connsiteY2" fmla="*/ 324803 h 340995"/>
                <a:gd name="connsiteX3" fmla="*/ 19092 w 486769"/>
                <a:gd name="connsiteY3" fmla="*/ 340043 h 340995"/>
                <a:gd name="connsiteX4" fmla="*/ 165777 w 486769"/>
                <a:gd name="connsiteY4" fmla="*/ 340995 h 340995"/>
                <a:gd name="connsiteX5" fmla="*/ 339132 w 486769"/>
                <a:gd name="connsiteY5" fmla="*/ 305753 h 340995"/>
                <a:gd name="connsiteX6" fmla="*/ 486769 w 486769"/>
                <a:gd name="connsiteY6" fmla="*/ 160020 h 340995"/>
                <a:gd name="connsiteX7" fmla="*/ 113389 w 486769"/>
                <a:gd name="connsiteY7" fmla="*/ 260033 h 340995"/>
                <a:gd name="connsiteX8" fmla="*/ 217212 w 486769"/>
                <a:gd name="connsiteY8" fmla="*/ 0 h 340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6769" h="340995">
                  <a:moveTo>
                    <a:pt x="217212" y="0"/>
                  </a:moveTo>
                  <a:cubicBezTo>
                    <a:pt x="178159" y="33338"/>
                    <a:pt x="148632" y="65723"/>
                    <a:pt x="120057" y="98108"/>
                  </a:cubicBezTo>
                  <a:cubicBezTo>
                    <a:pt x="61002" y="163830"/>
                    <a:pt x="41952" y="249555"/>
                    <a:pt x="2899" y="324803"/>
                  </a:cubicBezTo>
                  <a:cubicBezTo>
                    <a:pt x="-6626" y="342900"/>
                    <a:pt x="9567" y="340043"/>
                    <a:pt x="19092" y="340043"/>
                  </a:cubicBezTo>
                  <a:cubicBezTo>
                    <a:pt x="67669" y="340043"/>
                    <a:pt x="116247" y="340995"/>
                    <a:pt x="165777" y="340995"/>
                  </a:cubicBezTo>
                  <a:cubicBezTo>
                    <a:pt x="225784" y="340043"/>
                    <a:pt x="284839" y="332423"/>
                    <a:pt x="339132" y="305753"/>
                  </a:cubicBezTo>
                  <a:cubicBezTo>
                    <a:pt x="403902" y="274320"/>
                    <a:pt x="456289" y="227648"/>
                    <a:pt x="486769" y="160020"/>
                  </a:cubicBezTo>
                  <a:cubicBezTo>
                    <a:pt x="369612" y="224790"/>
                    <a:pt x="235309" y="217170"/>
                    <a:pt x="113389" y="260033"/>
                  </a:cubicBezTo>
                  <a:cubicBezTo>
                    <a:pt x="186732" y="189548"/>
                    <a:pt x="196257" y="97155"/>
                    <a:pt x="21721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C393A03B-6D59-40D6-BB24-6DD26DFD3DF1}"/>
                </a:ext>
              </a:extLst>
            </p:cNvPr>
            <p:cNvSpPr/>
            <p:nvPr/>
          </p:nvSpPr>
          <p:spPr>
            <a:xfrm>
              <a:off x="600569" y="5524626"/>
              <a:ext cx="431482" cy="397192"/>
            </a:xfrm>
            <a:custGeom>
              <a:avLst/>
              <a:gdLst>
                <a:gd name="connsiteX0" fmla="*/ 431483 w 431482"/>
                <a:gd name="connsiteY0" fmla="*/ 397193 h 397192"/>
                <a:gd name="connsiteX1" fmla="*/ 382905 w 431482"/>
                <a:gd name="connsiteY1" fmla="*/ 225743 h 397192"/>
                <a:gd name="connsiteX2" fmla="*/ 312420 w 431482"/>
                <a:gd name="connsiteY2" fmla="*/ 20955 h 397192"/>
                <a:gd name="connsiteX3" fmla="*/ 290513 w 431482"/>
                <a:gd name="connsiteY3" fmla="*/ 0 h 397192"/>
                <a:gd name="connsiteX4" fmla="*/ 315278 w 431482"/>
                <a:gd name="connsiteY4" fmla="*/ 285750 h 397192"/>
                <a:gd name="connsiteX5" fmla="*/ 0 w 431482"/>
                <a:gd name="connsiteY5" fmla="*/ 67628 h 397192"/>
                <a:gd name="connsiteX6" fmla="*/ 196215 w 431482"/>
                <a:gd name="connsiteY6" fmla="*/ 326708 h 397192"/>
                <a:gd name="connsiteX7" fmla="*/ 431483 w 431482"/>
                <a:gd name="connsiteY7" fmla="*/ 397193 h 39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1482" h="397192">
                  <a:moveTo>
                    <a:pt x="431483" y="397193"/>
                  </a:moveTo>
                  <a:cubicBezTo>
                    <a:pt x="399098" y="342900"/>
                    <a:pt x="391478" y="283845"/>
                    <a:pt x="382905" y="225743"/>
                  </a:cubicBezTo>
                  <a:cubicBezTo>
                    <a:pt x="373380" y="152400"/>
                    <a:pt x="349568" y="84773"/>
                    <a:pt x="312420" y="20955"/>
                  </a:cubicBezTo>
                  <a:cubicBezTo>
                    <a:pt x="307658" y="12383"/>
                    <a:pt x="305753" y="0"/>
                    <a:pt x="290513" y="0"/>
                  </a:cubicBezTo>
                  <a:cubicBezTo>
                    <a:pt x="294323" y="96203"/>
                    <a:pt x="272415" y="192405"/>
                    <a:pt x="315278" y="285750"/>
                  </a:cubicBezTo>
                  <a:cubicBezTo>
                    <a:pt x="211455" y="207645"/>
                    <a:pt x="80010" y="176213"/>
                    <a:pt x="0" y="67628"/>
                  </a:cubicBezTo>
                  <a:cubicBezTo>
                    <a:pt x="29528" y="181928"/>
                    <a:pt x="85725" y="275273"/>
                    <a:pt x="196215" y="326708"/>
                  </a:cubicBezTo>
                  <a:cubicBezTo>
                    <a:pt x="270510" y="360998"/>
                    <a:pt x="354330" y="366713"/>
                    <a:pt x="431483" y="3971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D99D21EE-404E-4180-B03F-B65F11BC73F1}"/>
                </a:ext>
              </a:extLst>
            </p:cNvPr>
            <p:cNvSpPr/>
            <p:nvPr/>
          </p:nvSpPr>
          <p:spPr>
            <a:xfrm>
              <a:off x="2421748" y="5523674"/>
              <a:ext cx="421443" cy="392429"/>
            </a:xfrm>
            <a:custGeom>
              <a:avLst/>
              <a:gdLst>
                <a:gd name="connsiteX0" fmla="*/ 118110 w 421443"/>
                <a:gd name="connsiteY0" fmla="*/ 278130 h 392429"/>
                <a:gd name="connsiteX1" fmla="*/ 137160 w 421443"/>
                <a:gd name="connsiteY1" fmla="*/ 0 h 392429"/>
                <a:gd name="connsiteX2" fmla="*/ 74295 w 421443"/>
                <a:gd name="connsiteY2" fmla="*/ 114300 h 392429"/>
                <a:gd name="connsiteX3" fmla="*/ 0 w 421443"/>
                <a:gd name="connsiteY3" fmla="*/ 392430 h 392429"/>
                <a:gd name="connsiteX4" fmla="*/ 419100 w 421443"/>
                <a:gd name="connsiteY4" fmla="*/ 77152 h 392429"/>
                <a:gd name="connsiteX5" fmla="*/ 118110 w 421443"/>
                <a:gd name="connsiteY5" fmla="*/ 278130 h 392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443" h="392429">
                  <a:moveTo>
                    <a:pt x="118110" y="278130"/>
                  </a:moveTo>
                  <a:cubicBezTo>
                    <a:pt x="159067" y="186690"/>
                    <a:pt x="134303" y="92392"/>
                    <a:pt x="137160" y="0"/>
                  </a:cubicBezTo>
                  <a:cubicBezTo>
                    <a:pt x="107633" y="34290"/>
                    <a:pt x="90488" y="73342"/>
                    <a:pt x="74295" y="114300"/>
                  </a:cubicBezTo>
                  <a:cubicBezTo>
                    <a:pt x="39053" y="203835"/>
                    <a:pt x="51435" y="305752"/>
                    <a:pt x="0" y="392430"/>
                  </a:cubicBezTo>
                  <a:cubicBezTo>
                    <a:pt x="209550" y="382905"/>
                    <a:pt x="447675" y="204788"/>
                    <a:pt x="419100" y="77152"/>
                  </a:cubicBezTo>
                  <a:cubicBezTo>
                    <a:pt x="339090" y="178117"/>
                    <a:pt x="220028" y="212408"/>
                    <a:pt x="118110" y="2781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CF9B918F-3BDE-43D6-A4D4-A8D8F427E2FB}"/>
                </a:ext>
              </a:extLst>
            </p:cNvPr>
            <p:cNvSpPr/>
            <p:nvPr/>
          </p:nvSpPr>
          <p:spPr>
            <a:xfrm>
              <a:off x="533894" y="5274118"/>
              <a:ext cx="325490" cy="450532"/>
            </a:xfrm>
            <a:custGeom>
              <a:avLst/>
              <a:gdLst>
                <a:gd name="connsiteX0" fmla="*/ 320993 w 325490"/>
                <a:gd name="connsiteY0" fmla="*/ 450532 h 450532"/>
                <a:gd name="connsiteX1" fmla="*/ 323850 w 325490"/>
                <a:gd name="connsiteY1" fmla="*/ 176213 h 450532"/>
                <a:gd name="connsiteX2" fmla="*/ 300038 w 325490"/>
                <a:gd name="connsiteY2" fmla="*/ 0 h 450532"/>
                <a:gd name="connsiteX3" fmla="*/ 252413 w 325490"/>
                <a:gd name="connsiteY3" fmla="*/ 327660 h 450532"/>
                <a:gd name="connsiteX4" fmla="*/ 7620 w 325490"/>
                <a:gd name="connsiteY4" fmla="*/ 24765 h 450532"/>
                <a:gd name="connsiteX5" fmla="*/ 2858 w 325490"/>
                <a:gd name="connsiteY5" fmla="*/ 27623 h 450532"/>
                <a:gd name="connsiteX6" fmla="*/ 0 w 325490"/>
                <a:gd name="connsiteY6" fmla="*/ 39052 h 450532"/>
                <a:gd name="connsiteX7" fmla="*/ 104775 w 325490"/>
                <a:gd name="connsiteY7" fmla="*/ 290513 h 450532"/>
                <a:gd name="connsiteX8" fmla="*/ 320993 w 325490"/>
                <a:gd name="connsiteY8" fmla="*/ 450532 h 450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490" h="450532">
                  <a:moveTo>
                    <a:pt x="320993" y="450532"/>
                  </a:moveTo>
                  <a:cubicBezTo>
                    <a:pt x="300990" y="358140"/>
                    <a:pt x="314325" y="267653"/>
                    <a:pt x="323850" y="176213"/>
                  </a:cubicBezTo>
                  <a:cubicBezTo>
                    <a:pt x="329565" y="119063"/>
                    <a:pt x="320040" y="63818"/>
                    <a:pt x="300038" y="0"/>
                  </a:cubicBezTo>
                  <a:cubicBezTo>
                    <a:pt x="262890" y="112395"/>
                    <a:pt x="228600" y="215265"/>
                    <a:pt x="252413" y="327660"/>
                  </a:cubicBezTo>
                  <a:cubicBezTo>
                    <a:pt x="186690" y="212407"/>
                    <a:pt x="70485" y="140970"/>
                    <a:pt x="7620" y="24765"/>
                  </a:cubicBezTo>
                  <a:cubicBezTo>
                    <a:pt x="4763" y="26670"/>
                    <a:pt x="2858" y="27623"/>
                    <a:pt x="2858" y="27623"/>
                  </a:cubicBezTo>
                  <a:cubicBezTo>
                    <a:pt x="953" y="32385"/>
                    <a:pt x="0" y="35243"/>
                    <a:pt x="0" y="39052"/>
                  </a:cubicBezTo>
                  <a:cubicBezTo>
                    <a:pt x="7620" y="134302"/>
                    <a:pt x="39053" y="219075"/>
                    <a:pt x="104775" y="290513"/>
                  </a:cubicBezTo>
                  <a:cubicBezTo>
                    <a:pt x="166688" y="357188"/>
                    <a:pt x="248603" y="394335"/>
                    <a:pt x="320993" y="4505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AE659DC5-FEF7-4DD1-9258-D056C2A508A9}"/>
                </a:ext>
              </a:extLst>
            </p:cNvPr>
            <p:cNvSpPr/>
            <p:nvPr/>
          </p:nvSpPr>
          <p:spPr>
            <a:xfrm>
              <a:off x="2596035" y="5279833"/>
              <a:ext cx="319108" cy="445770"/>
            </a:xfrm>
            <a:custGeom>
              <a:avLst/>
              <a:gdLst>
                <a:gd name="connsiteX0" fmla="*/ 207666 w 319108"/>
                <a:gd name="connsiteY0" fmla="*/ 295275 h 445770"/>
                <a:gd name="connsiteX1" fmla="*/ 319108 w 319108"/>
                <a:gd name="connsiteY1" fmla="*/ 22860 h 445770"/>
                <a:gd name="connsiteX2" fmla="*/ 71458 w 319108"/>
                <a:gd name="connsiteY2" fmla="*/ 323850 h 445770"/>
                <a:gd name="connsiteX3" fmla="*/ 24786 w 319108"/>
                <a:gd name="connsiteY3" fmla="*/ 0 h 445770"/>
                <a:gd name="connsiteX4" fmla="*/ 21 w 319108"/>
                <a:gd name="connsiteY4" fmla="*/ 132398 h 445770"/>
                <a:gd name="connsiteX5" fmla="*/ 2878 w 319108"/>
                <a:gd name="connsiteY5" fmla="*/ 445770 h 445770"/>
                <a:gd name="connsiteX6" fmla="*/ 207666 w 319108"/>
                <a:gd name="connsiteY6" fmla="*/ 295275 h 44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108" h="445770">
                  <a:moveTo>
                    <a:pt x="207666" y="295275"/>
                  </a:moveTo>
                  <a:cubicBezTo>
                    <a:pt x="282913" y="220028"/>
                    <a:pt x="317203" y="128588"/>
                    <a:pt x="319108" y="22860"/>
                  </a:cubicBezTo>
                  <a:cubicBezTo>
                    <a:pt x="252433" y="136208"/>
                    <a:pt x="136228" y="207645"/>
                    <a:pt x="71458" y="323850"/>
                  </a:cubicBezTo>
                  <a:cubicBezTo>
                    <a:pt x="95271" y="210503"/>
                    <a:pt x="60981" y="108585"/>
                    <a:pt x="24786" y="0"/>
                  </a:cubicBezTo>
                  <a:cubicBezTo>
                    <a:pt x="6688" y="47625"/>
                    <a:pt x="973" y="89535"/>
                    <a:pt x="21" y="132398"/>
                  </a:cubicBezTo>
                  <a:cubicBezTo>
                    <a:pt x="-932" y="236220"/>
                    <a:pt x="31453" y="340042"/>
                    <a:pt x="2878" y="445770"/>
                  </a:cubicBezTo>
                  <a:cubicBezTo>
                    <a:pt x="70506" y="392430"/>
                    <a:pt x="147658" y="355283"/>
                    <a:pt x="207666" y="2952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107F76CD-464E-4973-9683-D08C06D4848B}"/>
                </a:ext>
              </a:extLst>
            </p:cNvPr>
            <p:cNvSpPr/>
            <p:nvPr/>
          </p:nvSpPr>
          <p:spPr>
            <a:xfrm>
              <a:off x="544924" y="5019801"/>
              <a:ext cx="293491" cy="448627"/>
            </a:xfrm>
            <a:custGeom>
              <a:avLst/>
              <a:gdLst>
                <a:gd name="connsiteX0" fmla="*/ 188994 w 293491"/>
                <a:gd name="connsiteY0" fmla="*/ 448628 h 448627"/>
                <a:gd name="connsiteX1" fmla="*/ 247097 w 293491"/>
                <a:gd name="connsiteY1" fmla="*/ 246698 h 448627"/>
                <a:gd name="connsiteX2" fmla="*/ 286149 w 293491"/>
                <a:gd name="connsiteY2" fmla="*/ 132398 h 448627"/>
                <a:gd name="connsiteX3" fmla="*/ 290912 w 293491"/>
                <a:gd name="connsiteY3" fmla="*/ 40005 h 448627"/>
                <a:gd name="connsiteX4" fmla="*/ 160419 w 293491"/>
                <a:gd name="connsiteY4" fmla="*/ 325755 h 448627"/>
                <a:gd name="connsiteX5" fmla="*/ 108032 w 293491"/>
                <a:gd name="connsiteY5" fmla="*/ 206692 h 448627"/>
                <a:gd name="connsiteX6" fmla="*/ 28022 w 293491"/>
                <a:gd name="connsiteY6" fmla="*/ 51435 h 448627"/>
                <a:gd name="connsiteX7" fmla="*/ 8972 w 293491"/>
                <a:gd name="connsiteY7" fmla="*/ 0 h 448627"/>
                <a:gd name="connsiteX8" fmla="*/ 7067 w 293491"/>
                <a:gd name="connsiteY8" fmla="*/ 13335 h 448627"/>
                <a:gd name="connsiteX9" fmla="*/ 3257 w 293491"/>
                <a:gd name="connsiteY9" fmla="*/ 52388 h 448627"/>
                <a:gd name="connsiteX10" fmla="*/ 56597 w 293491"/>
                <a:gd name="connsiteY10" fmla="*/ 293370 h 448627"/>
                <a:gd name="connsiteX11" fmla="*/ 188994 w 293491"/>
                <a:gd name="connsiteY11" fmla="*/ 448628 h 44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3491" h="448627">
                  <a:moveTo>
                    <a:pt x="188994" y="448628"/>
                  </a:moveTo>
                  <a:cubicBezTo>
                    <a:pt x="188994" y="374332"/>
                    <a:pt x="216617" y="310515"/>
                    <a:pt x="247097" y="246698"/>
                  </a:cubicBezTo>
                  <a:cubicBezTo>
                    <a:pt x="264242" y="210502"/>
                    <a:pt x="278529" y="172402"/>
                    <a:pt x="286149" y="132398"/>
                  </a:cubicBezTo>
                  <a:cubicBezTo>
                    <a:pt x="291864" y="102870"/>
                    <a:pt x="296627" y="72390"/>
                    <a:pt x="290912" y="40005"/>
                  </a:cubicBezTo>
                  <a:cubicBezTo>
                    <a:pt x="221379" y="101917"/>
                    <a:pt x="187089" y="177165"/>
                    <a:pt x="160419" y="325755"/>
                  </a:cubicBezTo>
                  <a:cubicBezTo>
                    <a:pt x="141369" y="283845"/>
                    <a:pt x="128034" y="243840"/>
                    <a:pt x="108032" y="206692"/>
                  </a:cubicBezTo>
                  <a:cubicBezTo>
                    <a:pt x="81362" y="155257"/>
                    <a:pt x="46119" y="107632"/>
                    <a:pt x="28022" y="51435"/>
                  </a:cubicBezTo>
                  <a:cubicBezTo>
                    <a:pt x="22307" y="34290"/>
                    <a:pt x="27069" y="12382"/>
                    <a:pt x="8972" y="0"/>
                  </a:cubicBezTo>
                  <a:cubicBezTo>
                    <a:pt x="8019" y="4763"/>
                    <a:pt x="8019" y="8573"/>
                    <a:pt x="7067" y="13335"/>
                  </a:cubicBezTo>
                  <a:cubicBezTo>
                    <a:pt x="6114" y="26670"/>
                    <a:pt x="4209" y="39052"/>
                    <a:pt x="3257" y="52388"/>
                  </a:cubicBezTo>
                  <a:cubicBezTo>
                    <a:pt x="-6268" y="139065"/>
                    <a:pt x="3257" y="220980"/>
                    <a:pt x="56597" y="293370"/>
                  </a:cubicBezTo>
                  <a:cubicBezTo>
                    <a:pt x="97554" y="347663"/>
                    <a:pt x="151847" y="388620"/>
                    <a:pt x="188994" y="4486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96D3E5CE-FCAB-433C-8F28-9DCCD4FC9E48}"/>
                </a:ext>
              </a:extLst>
            </p:cNvPr>
            <p:cNvSpPr/>
            <p:nvPr/>
          </p:nvSpPr>
          <p:spPr>
            <a:xfrm>
              <a:off x="2613113" y="5030279"/>
              <a:ext cx="293155" cy="431482"/>
            </a:xfrm>
            <a:custGeom>
              <a:avLst/>
              <a:gdLst>
                <a:gd name="connsiteX0" fmla="*/ 88 w 293155"/>
                <a:gd name="connsiteY0" fmla="*/ 22860 h 431482"/>
                <a:gd name="connsiteX1" fmla="*/ 23901 w 293155"/>
                <a:gd name="connsiteY1" fmla="*/ 180975 h 431482"/>
                <a:gd name="connsiteX2" fmla="*/ 106768 w 293155"/>
                <a:gd name="connsiteY2" fmla="*/ 431483 h 431482"/>
                <a:gd name="connsiteX3" fmla="*/ 220116 w 293155"/>
                <a:gd name="connsiteY3" fmla="*/ 304800 h 431482"/>
                <a:gd name="connsiteX4" fmla="*/ 280123 w 293155"/>
                <a:gd name="connsiteY4" fmla="*/ 0 h 431482"/>
                <a:gd name="connsiteX5" fmla="*/ 131533 w 293155"/>
                <a:gd name="connsiteY5" fmla="*/ 313373 h 431482"/>
                <a:gd name="connsiteX6" fmla="*/ 88 w 293155"/>
                <a:gd name="connsiteY6" fmla="*/ 22860 h 4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155" h="431482">
                  <a:moveTo>
                    <a:pt x="88" y="22860"/>
                  </a:moveTo>
                  <a:cubicBezTo>
                    <a:pt x="-864" y="83820"/>
                    <a:pt x="5803" y="133350"/>
                    <a:pt x="23901" y="180975"/>
                  </a:cubicBezTo>
                  <a:cubicBezTo>
                    <a:pt x="55333" y="262890"/>
                    <a:pt x="103911" y="338138"/>
                    <a:pt x="106768" y="431483"/>
                  </a:cubicBezTo>
                  <a:cubicBezTo>
                    <a:pt x="142963" y="384810"/>
                    <a:pt x="183921" y="346710"/>
                    <a:pt x="220116" y="304800"/>
                  </a:cubicBezTo>
                  <a:cubicBezTo>
                    <a:pt x="297268" y="215265"/>
                    <a:pt x="305841" y="111442"/>
                    <a:pt x="280123" y="0"/>
                  </a:cubicBezTo>
                  <a:cubicBezTo>
                    <a:pt x="250596" y="113348"/>
                    <a:pt x="164871" y="200025"/>
                    <a:pt x="131533" y="313373"/>
                  </a:cubicBezTo>
                  <a:cubicBezTo>
                    <a:pt x="135343" y="197167"/>
                    <a:pt x="77241" y="111442"/>
                    <a:pt x="88" y="228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91E49E47-9EE3-4F39-A498-15529F564F69}"/>
                </a:ext>
              </a:extLst>
            </p:cNvPr>
            <p:cNvSpPr/>
            <p:nvPr/>
          </p:nvSpPr>
          <p:spPr>
            <a:xfrm>
              <a:off x="590253" y="4745481"/>
              <a:ext cx="317972" cy="466725"/>
            </a:xfrm>
            <a:custGeom>
              <a:avLst/>
              <a:gdLst>
                <a:gd name="connsiteX0" fmla="*/ 98898 w 317972"/>
                <a:gd name="connsiteY0" fmla="*/ 466725 h 466725"/>
                <a:gd name="connsiteX1" fmla="*/ 204625 w 317972"/>
                <a:gd name="connsiteY1" fmla="*/ 285750 h 466725"/>
                <a:gd name="connsiteX2" fmla="*/ 272253 w 317972"/>
                <a:gd name="connsiteY2" fmla="*/ 184785 h 466725"/>
                <a:gd name="connsiteX3" fmla="*/ 317973 w 317972"/>
                <a:gd name="connsiteY3" fmla="*/ 69533 h 466725"/>
                <a:gd name="connsiteX4" fmla="*/ 100803 w 317972"/>
                <a:gd name="connsiteY4" fmla="*/ 331470 h 466725"/>
                <a:gd name="connsiteX5" fmla="*/ 72228 w 317972"/>
                <a:gd name="connsiteY5" fmla="*/ 166688 h 466725"/>
                <a:gd name="connsiteX6" fmla="*/ 69370 w 317972"/>
                <a:gd name="connsiteY6" fmla="*/ 0 h 466725"/>
                <a:gd name="connsiteX7" fmla="*/ 58893 w 317972"/>
                <a:gd name="connsiteY7" fmla="*/ 2858 h 466725"/>
                <a:gd name="connsiteX8" fmla="*/ 48415 w 317972"/>
                <a:gd name="connsiteY8" fmla="*/ 17145 h 466725"/>
                <a:gd name="connsiteX9" fmla="*/ 12220 w 317972"/>
                <a:gd name="connsiteY9" fmla="*/ 274320 h 466725"/>
                <a:gd name="connsiteX10" fmla="*/ 98898 w 317972"/>
                <a:gd name="connsiteY10" fmla="*/ 466725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7972" h="466725">
                  <a:moveTo>
                    <a:pt x="98898" y="466725"/>
                  </a:moveTo>
                  <a:cubicBezTo>
                    <a:pt x="121758" y="392430"/>
                    <a:pt x="160810" y="338138"/>
                    <a:pt x="204625" y="285750"/>
                  </a:cubicBezTo>
                  <a:cubicBezTo>
                    <a:pt x="230343" y="254318"/>
                    <a:pt x="253203" y="220980"/>
                    <a:pt x="272253" y="184785"/>
                  </a:cubicBezTo>
                  <a:cubicBezTo>
                    <a:pt x="291303" y="149543"/>
                    <a:pt x="306543" y="113348"/>
                    <a:pt x="317973" y="69533"/>
                  </a:cubicBezTo>
                  <a:cubicBezTo>
                    <a:pt x="225580" y="145733"/>
                    <a:pt x="136998" y="216218"/>
                    <a:pt x="100803" y="331470"/>
                  </a:cubicBezTo>
                  <a:cubicBezTo>
                    <a:pt x="91278" y="276225"/>
                    <a:pt x="81753" y="221933"/>
                    <a:pt x="72228" y="166688"/>
                  </a:cubicBezTo>
                  <a:cubicBezTo>
                    <a:pt x="62703" y="111443"/>
                    <a:pt x="60798" y="57150"/>
                    <a:pt x="69370" y="0"/>
                  </a:cubicBezTo>
                  <a:cubicBezTo>
                    <a:pt x="63655" y="1905"/>
                    <a:pt x="59845" y="1905"/>
                    <a:pt x="58893" y="2858"/>
                  </a:cubicBezTo>
                  <a:cubicBezTo>
                    <a:pt x="55083" y="7620"/>
                    <a:pt x="51273" y="12383"/>
                    <a:pt x="48415" y="17145"/>
                  </a:cubicBezTo>
                  <a:cubicBezTo>
                    <a:pt x="2695" y="98108"/>
                    <a:pt x="-13497" y="183833"/>
                    <a:pt x="12220" y="274320"/>
                  </a:cubicBezTo>
                  <a:cubicBezTo>
                    <a:pt x="32223" y="340995"/>
                    <a:pt x="68418" y="397193"/>
                    <a:pt x="98898" y="4667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A27D0708-6849-4604-B698-AA2DFC4091F4}"/>
                </a:ext>
              </a:extLst>
            </p:cNvPr>
            <p:cNvSpPr/>
            <p:nvPr/>
          </p:nvSpPr>
          <p:spPr>
            <a:xfrm>
              <a:off x="2546526" y="4738814"/>
              <a:ext cx="311914" cy="470535"/>
            </a:xfrm>
            <a:custGeom>
              <a:avLst/>
              <a:gdLst>
                <a:gd name="connsiteX0" fmla="*/ 0 w 311914"/>
                <a:gd name="connsiteY0" fmla="*/ 81915 h 470535"/>
                <a:gd name="connsiteX1" fmla="*/ 50483 w 311914"/>
                <a:gd name="connsiteY1" fmla="*/ 204788 h 470535"/>
                <a:gd name="connsiteX2" fmla="*/ 214313 w 311914"/>
                <a:gd name="connsiteY2" fmla="*/ 470535 h 470535"/>
                <a:gd name="connsiteX3" fmla="*/ 243840 w 311914"/>
                <a:gd name="connsiteY3" fmla="*/ 0 h 470535"/>
                <a:gd name="connsiteX4" fmla="*/ 212408 w 311914"/>
                <a:gd name="connsiteY4" fmla="*/ 335280 h 470535"/>
                <a:gd name="connsiteX5" fmla="*/ 0 w 311914"/>
                <a:gd name="connsiteY5" fmla="*/ 81915 h 470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914" h="470535">
                  <a:moveTo>
                    <a:pt x="0" y="81915"/>
                  </a:moveTo>
                  <a:cubicBezTo>
                    <a:pt x="11430" y="130492"/>
                    <a:pt x="29527" y="167640"/>
                    <a:pt x="50483" y="204788"/>
                  </a:cubicBezTo>
                  <a:cubicBezTo>
                    <a:pt x="100965" y="295275"/>
                    <a:pt x="186690" y="361950"/>
                    <a:pt x="214313" y="470535"/>
                  </a:cubicBezTo>
                  <a:cubicBezTo>
                    <a:pt x="333375" y="278130"/>
                    <a:pt x="343852" y="103823"/>
                    <a:pt x="243840" y="0"/>
                  </a:cubicBezTo>
                  <a:cubicBezTo>
                    <a:pt x="263842" y="117157"/>
                    <a:pt x="229552" y="224790"/>
                    <a:pt x="212408" y="335280"/>
                  </a:cubicBezTo>
                  <a:cubicBezTo>
                    <a:pt x="175260" y="224790"/>
                    <a:pt x="93345" y="153352"/>
                    <a:pt x="0" y="819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B3DA80AC-082B-4E9B-8E0C-3686AAFEA0F1}"/>
                </a:ext>
              </a:extLst>
            </p:cNvPr>
            <p:cNvSpPr/>
            <p:nvPr/>
          </p:nvSpPr>
          <p:spPr>
            <a:xfrm>
              <a:off x="696811" y="4534026"/>
              <a:ext cx="322857" cy="437197"/>
            </a:xfrm>
            <a:custGeom>
              <a:avLst/>
              <a:gdLst>
                <a:gd name="connsiteX0" fmla="*/ 242848 w 322857"/>
                <a:gd name="connsiteY0" fmla="*/ 201930 h 437197"/>
                <a:gd name="connsiteX1" fmla="*/ 322858 w 322857"/>
                <a:gd name="connsiteY1" fmla="*/ 73342 h 437197"/>
                <a:gd name="connsiteX2" fmla="*/ 68540 w 322857"/>
                <a:gd name="connsiteY2" fmla="*/ 269557 h 437197"/>
                <a:gd name="connsiteX3" fmla="*/ 124738 w 322857"/>
                <a:gd name="connsiteY3" fmla="*/ 0 h 437197"/>
                <a:gd name="connsiteX4" fmla="*/ 16153 w 322857"/>
                <a:gd name="connsiteY4" fmla="*/ 437198 h 437197"/>
                <a:gd name="connsiteX5" fmla="*/ 242848 w 322857"/>
                <a:gd name="connsiteY5" fmla="*/ 201930 h 43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2857" h="437197">
                  <a:moveTo>
                    <a:pt x="242848" y="201930"/>
                  </a:moveTo>
                  <a:cubicBezTo>
                    <a:pt x="279995" y="169545"/>
                    <a:pt x="303808" y="127635"/>
                    <a:pt x="322858" y="73342"/>
                  </a:cubicBezTo>
                  <a:cubicBezTo>
                    <a:pt x="230465" y="138113"/>
                    <a:pt x="132358" y="180975"/>
                    <a:pt x="68540" y="269557"/>
                  </a:cubicBezTo>
                  <a:cubicBezTo>
                    <a:pt x="80923" y="178117"/>
                    <a:pt x="77113" y="86677"/>
                    <a:pt x="124738" y="0"/>
                  </a:cubicBezTo>
                  <a:cubicBezTo>
                    <a:pt x="-4802" y="89535"/>
                    <a:pt x="-18137" y="256222"/>
                    <a:pt x="16153" y="437198"/>
                  </a:cubicBezTo>
                  <a:cubicBezTo>
                    <a:pt x="62825" y="323850"/>
                    <a:pt x="161885" y="271463"/>
                    <a:pt x="242848" y="2019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49FC2F08-7F8D-48AD-A2FE-9B72AFF3835F}"/>
                </a:ext>
              </a:extLst>
            </p:cNvPr>
            <p:cNvSpPr/>
            <p:nvPr/>
          </p:nvSpPr>
          <p:spPr>
            <a:xfrm>
              <a:off x="2356026" y="4396866"/>
              <a:ext cx="282892" cy="302894"/>
            </a:xfrm>
            <a:custGeom>
              <a:avLst/>
              <a:gdLst>
                <a:gd name="connsiteX0" fmla="*/ 282892 w 282892"/>
                <a:gd name="connsiteY0" fmla="*/ 302895 h 302894"/>
                <a:gd name="connsiteX1" fmla="*/ 0 w 282892"/>
                <a:gd name="connsiteY1" fmla="*/ 0 h 302894"/>
                <a:gd name="connsiteX2" fmla="*/ 282892 w 282892"/>
                <a:gd name="connsiteY2" fmla="*/ 302895 h 30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892" h="302894">
                  <a:moveTo>
                    <a:pt x="282892" y="302895"/>
                  </a:moveTo>
                  <a:cubicBezTo>
                    <a:pt x="274320" y="178118"/>
                    <a:pt x="121920" y="13335"/>
                    <a:pt x="0" y="0"/>
                  </a:cubicBezTo>
                  <a:cubicBezTo>
                    <a:pt x="115252" y="180023"/>
                    <a:pt x="171450" y="240030"/>
                    <a:pt x="282892" y="3028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DD3D8F0B-B7CF-41A3-BECA-9092CBEE0AE6}"/>
                </a:ext>
              </a:extLst>
            </p:cNvPr>
            <p:cNvSpPr/>
            <p:nvPr/>
          </p:nvSpPr>
          <p:spPr>
            <a:xfrm>
              <a:off x="813928" y="4399723"/>
              <a:ext cx="274320" cy="294322"/>
            </a:xfrm>
            <a:custGeom>
              <a:avLst/>
              <a:gdLst>
                <a:gd name="connsiteX0" fmla="*/ 274320 w 274320"/>
                <a:gd name="connsiteY0" fmla="*/ 0 h 294322"/>
                <a:gd name="connsiteX1" fmla="*/ 0 w 274320"/>
                <a:gd name="connsiteY1" fmla="*/ 294323 h 294322"/>
                <a:gd name="connsiteX2" fmla="*/ 274320 w 274320"/>
                <a:gd name="connsiteY2" fmla="*/ 0 h 29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4320" h="294322">
                  <a:moveTo>
                    <a:pt x="274320" y="0"/>
                  </a:moveTo>
                  <a:cubicBezTo>
                    <a:pt x="163830" y="8573"/>
                    <a:pt x="15240" y="168593"/>
                    <a:pt x="0" y="294323"/>
                  </a:cubicBezTo>
                  <a:cubicBezTo>
                    <a:pt x="133350" y="235268"/>
                    <a:pt x="207645" y="120968"/>
                    <a:pt x="27432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1FB428C9-725E-4E86-99B0-0E3136CDF1A8}"/>
                </a:ext>
              </a:extLst>
            </p:cNvPr>
            <p:cNvSpPr/>
            <p:nvPr/>
          </p:nvSpPr>
          <p:spPr>
            <a:xfrm>
              <a:off x="1798587" y="4686203"/>
              <a:ext cx="114930" cy="50651"/>
            </a:xfrm>
            <a:custGeom>
              <a:avLst/>
              <a:gdLst>
                <a:gd name="connsiteX0" fmla="*/ 92619 w 114930"/>
                <a:gd name="connsiteY0" fmla="*/ 48800 h 50651"/>
                <a:gd name="connsiteX1" fmla="*/ 113574 w 114930"/>
                <a:gd name="connsiteY1" fmla="*/ 43085 h 50651"/>
                <a:gd name="connsiteX2" fmla="*/ 100239 w 114930"/>
                <a:gd name="connsiteY2" fmla="*/ 22130 h 50651"/>
                <a:gd name="connsiteX3" fmla="*/ 29754 w 114930"/>
                <a:gd name="connsiteY3" fmla="*/ 1175 h 50651"/>
                <a:gd name="connsiteX4" fmla="*/ 226 w 114930"/>
                <a:gd name="connsiteY4" fmla="*/ 10700 h 50651"/>
                <a:gd name="connsiteX5" fmla="*/ 18324 w 114930"/>
                <a:gd name="connsiteY5" fmla="*/ 28798 h 50651"/>
                <a:gd name="connsiteX6" fmla="*/ 92619 w 114930"/>
                <a:gd name="connsiteY6" fmla="*/ 48800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930" h="50651">
                  <a:moveTo>
                    <a:pt x="92619" y="48800"/>
                  </a:moveTo>
                  <a:cubicBezTo>
                    <a:pt x="100239" y="50705"/>
                    <a:pt x="109764" y="53563"/>
                    <a:pt x="113574" y="43085"/>
                  </a:cubicBezTo>
                  <a:cubicBezTo>
                    <a:pt x="118336" y="30703"/>
                    <a:pt x="109764" y="25940"/>
                    <a:pt x="100239" y="22130"/>
                  </a:cubicBezTo>
                  <a:cubicBezTo>
                    <a:pt x="74521" y="13558"/>
                    <a:pt x="48804" y="6890"/>
                    <a:pt x="29754" y="1175"/>
                  </a:cubicBezTo>
                  <a:cubicBezTo>
                    <a:pt x="13561" y="223"/>
                    <a:pt x="2131" y="-3587"/>
                    <a:pt x="226" y="10700"/>
                  </a:cubicBezTo>
                  <a:cubicBezTo>
                    <a:pt x="-1679" y="23083"/>
                    <a:pt x="8799" y="25940"/>
                    <a:pt x="18324" y="28798"/>
                  </a:cubicBezTo>
                  <a:cubicBezTo>
                    <a:pt x="42136" y="34513"/>
                    <a:pt x="66901" y="42133"/>
                    <a:pt x="92619" y="488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5CCB051B-0F91-430C-A81A-CDFC8D9ED817}"/>
                </a:ext>
              </a:extLst>
            </p:cNvPr>
            <p:cNvSpPr/>
            <p:nvPr/>
          </p:nvSpPr>
          <p:spPr>
            <a:xfrm>
              <a:off x="1825484" y="4441872"/>
              <a:ext cx="62864" cy="13573"/>
            </a:xfrm>
            <a:custGeom>
              <a:avLst/>
              <a:gdLst>
                <a:gd name="connsiteX0" fmla="*/ 0 w 62864"/>
                <a:gd name="connsiteY0" fmla="*/ 7382 h 13573"/>
                <a:gd name="connsiteX1" fmla="*/ 62865 w 62864"/>
                <a:gd name="connsiteY1" fmla="*/ 8334 h 13573"/>
                <a:gd name="connsiteX2" fmla="*/ 0 w 62864"/>
                <a:gd name="connsiteY2" fmla="*/ 7382 h 1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864" h="13573">
                  <a:moveTo>
                    <a:pt x="0" y="7382"/>
                  </a:moveTo>
                  <a:cubicBezTo>
                    <a:pt x="24765" y="15954"/>
                    <a:pt x="40957" y="15002"/>
                    <a:pt x="62865" y="8334"/>
                  </a:cubicBezTo>
                  <a:cubicBezTo>
                    <a:pt x="40957" y="-3096"/>
                    <a:pt x="25717" y="-2143"/>
                    <a:pt x="0" y="73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E6405886-08C3-4DF3-937E-3E300E95751F}"/>
                </a:ext>
              </a:extLst>
            </p:cNvPr>
            <p:cNvSpPr/>
            <p:nvPr/>
          </p:nvSpPr>
          <p:spPr>
            <a:xfrm>
              <a:off x="1603997" y="5189226"/>
              <a:ext cx="323652" cy="400688"/>
            </a:xfrm>
            <a:custGeom>
              <a:avLst/>
              <a:gdLst>
                <a:gd name="connsiteX0" fmla="*/ 323404 w 323652"/>
                <a:gd name="connsiteY0" fmla="*/ 140137 h 400688"/>
                <a:gd name="connsiteX1" fmla="*/ 197674 w 323652"/>
                <a:gd name="connsiteY1" fmla="*/ 120 h 400688"/>
                <a:gd name="connsiteX2" fmla="*/ 181481 w 323652"/>
                <a:gd name="connsiteY2" fmla="*/ 13455 h 400688"/>
                <a:gd name="connsiteX3" fmla="*/ 209104 w 323652"/>
                <a:gd name="connsiteY3" fmla="*/ 103942 h 400688"/>
                <a:gd name="connsiteX4" fmla="*/ 211961 w 323652"/>
                <a:gd name="connsiteY4" fmla="*/ 172522 h 400688"/>
                <a:gd name="connsiteX5" fmla="*/ 141476 w 323652"/>
                <a:gd name="connsiteY5" fmla="*/ 204907 h 400688"/>
                <a:gd name="connsiteX6" fmla="*/ 40511 w 323652"/>
                <a:gd name="connsiteY6" fmla="*/ 248722 h 400688"/>
                <a:gd name="connsiteX7" fmla="*/ 36701 w 323652"/>
                <a:gd name="connsiteY7" fmla="*/ 386835 h 400688"/>
                <a:gd name="connsiteX8" fmla="*/ 64324 w 323652"/>
                <a:gd name="connsiteY8" fmla="*/ 399217 h 400688"/>
                <a:gd name="connsiteX9" fmla="*/ 70038 w 323652"/>
                <a:gd name="connsiteY9" fmla="*/ 369690 h 400688"/>
                <a:gd name="connsiteX10" fmla="*/ 128141 w 323652"/>
                <a:gd name="connsiteY10" fmla="*/ 284917 h 400688"/>
                <a:gd name="connsiteX11" fmla="*/ 268159 w 323652"/>
                <a:gd name="connsiteY11" fmla="*/ 231577 h 400688"/>
                <a:gd name="connsiteX12" fmla="*/ 323404 w 323652"/>
                <a:gd name="connsiteY12" fmla="*/ 140137 h 40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652" h="400688">
                  <a:moveTo>
                    <a:pt x="323404" y="140137"/>
                  </a:moveTo>
                  <a:cubicBezTo>
                    <a:pt x="323404" y="73462"/>
                    <a:pt x="257681" y="3930"/>
                    <a:pt x="197674" y="120"/>
                  </a:cubicBezTo>
                  <a:cubicBezTo>
                    <a:pt x="186243" y="-833"/>
                    <a:pt x="180529" y="3930"/>
                    <a:pt x="181481" y="13455"/>
                  </a:cubicBezTo>
                  <a:cubicBezTo>
                    <a:pt x="183386" y="45840"/>
                    <a:pt x="166241" y="81082"/>
                    <a:pt x="209104" y="103942"/>
                  </a:cubicBezTo>
                  <a:cubicBezTo>
                    <a:pt x="238631" y="119182"/>
                    <a:pt x="236726" y="149662"/>
                    <a:pt x="211961" y="172522"/>
                  </a:cubicBezTo>
                  <a:cubicBezTo>
                    <a:pt x="191959" y="190620"/>
                    <a:pt x="166241" y="197287"/>
                    <a:pt x="141476" y="204907"/>
                  </a:cubicBezTo>
                  <a:cubicBezTo>
                    <a:pt x="106234" y="216337"/>
                    <a:pt x="70991" y="226815"/>
                    <a:pt x="40511" y="248722"/>
                  </a:cubicBezTo>
                  <a:cubicBezTo>
                    <a:pt x="-11876" y="285870"/>
                    <a:pt x="-13781" y="346830"/>
                    <a:pt x="36701" y="386835"/>
                  </a:cubicBezTo>
                  <a:cubicBezTo>
                    <a:pt x="44321" y="392550"/>
                    <a:pt x="52894" y="404932"/>
                    <a:pt x="64324" y="399217"/>
                  </a:cubicBezTo>
                  <a:cubicBezTo>
                    <a:pt x="75754" y="393502"/>
                    <a:pt x="70038" y="380167"/>
                    <a:pt x="70038" y="369690"/>
                  </a:cubicBezTo>
                  <a:cubicBezTo>
                    <a:pt x="70038" y="308730"/>
                    <a:pt x="70991" y="307777"/>
                    <a:pt x="128141" y="284917"/>
                  </a:cubicBezTo>
                  <a:cubicBezTo>
                    <a:pt x="174813" y="266820"/>
                    <a:pt x="224343" y="258247"/>
                    <a:pt x="268159" y="231577"/>
                  </a:cubicBezTo>
                  <a:cubicBezTo>
                    <a:pt x="304354" y="209670"/>
                    <a:pt x="326261" y="180142"/>
                    <a:pt x="323404" y="1401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69F166D7-84FF-4B16-AC05-7522DEC16375}"/>
                </a:ext>
              </a:extLst>
            </p:cNvPr>
            <p:cNvSpPr/>
            <p:nvPr/>
          </p:nvSpPr>
          <p:spPr>
            <a:xfrm>
              <a:off x="1690200" y="4977631"/>
              <a:ext cx="72501" cy="399718"/>
            </a:xfrm>
            <a:custGeom>
              <a:avLst/>
              <a:gdLst>
                <a:gd name="connsiteX0" fmla="*/ 55274 w 72501"/>
                <a:gd name="connsiteY0" fmla="*/ 260 h 399718"/>
                <a:gd name="connsiteX1" fmla="*/ 29 w 72501"/>
                <a:gd name="connsiteY1" fmla="*/ 51695 h 399718"/>
                <a:gd name="connsiteX2" fmla="*/ 6696 w 72501"/>
                <a:gd name="connsiteY2" fmla="*/ 365067 h 399718"/>
                <a:gd name="connsiteX3" fmla="*/ 14316 w 72501"/>
                <a:gd name="connsiteY3" fmla="*/ 397452 h 399718"/>
                <a:gd name="connsiteX4" fmla="*/ 54321 w 72501"/>
                <a:gd name="connsiteY4" fmla="*/ 387927 h 399718"/>
                <a:gd name="connsiteX5" fmla="*/ 65751 w 72501"/>
                <a:gd name="connsiteY5" fmla="*/ 356495 h 399718"/>
                <a:gd name="connsiteX6" fmla="*/ 72419 w 72501"/>
                <a:gd name="connsiteY6" fmla="*/ 28835 h 399718"/>
                <a:gd name="connsiteX7" fmla="*/ 55274 w 72501"/>
                <a:gd name="connsiteY7" fmla="*/ 260 h 39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501" h="399718">
                  <a:moveTo>
                    <a:pt x="55274" y="260"/>
                  </a:moveTo>
                  <a:cubicBezTo>
                    <a:pt x="21936" y="-2598"/>
                    <a:pt x="-924" y="18357"/>
                    <a:pt x="29" y="51695"/>
                  </a:cubicBezTo>
                  <a:cubicBezTo>
                    <a:pt x="1934" y="156470"/>
                    <a:pt x="3839" y="261245"/>
                    <a:pt x="6696" y="365067"/>
                  </a:cubicBezTo>
                  <a:cubicBezTo>
                    <a:pt x="6696" y="376497"/>
                    <a:pt x="981" y="391737"/>
                    <a:pt x="14316" y="397452"/>
                  </a:cubicBezTo>
                  <a:cubicBezTo>
                    <a:pt x="27651" y="404120"/>
                    <a:pt x="41939" y="394595"/>
                    <a:pt x="54321" y="387927"/>
                  </a:cubicBezTo>
                  <a:cubicBezTo>
                    <a:pt x="67656" y="381260"/>
                    <a:pt x="64799" y="367925"/>
                    <a:pt x="65751" y="356495"/>
                  </a:cubicBezTo>
                  <a:cubicBezTo>
                    <a:pt x="65751" y="302202"/>
                    <a:pt x="73371" y="83127"/>
                    <a:pt x="72419" y="28835"/>
                  </a:cubicBezTo>
                  <a:cubicBezTo>
                    <a:pt x="71466" y="17405"/>
                    <a:pt x="75276" y="1212"/>
                    <a:pt x="55274" y="2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C28E82F8-B578-49EF-96C5-6152D4F34969}"/>
                </a:ext>
              </a:extLst>
            </p:cNvPr>
            <p:cNvSpPr/>
            <p:nvPr/>
          </p:nvSpPr>
          <p:spPr>
            <a:xfrm>
              <a:off x="1698722" y="5500636"/>
              <a:ext cx="53506" cy="439279"/>
            </a:xfrm>
            <a:custGeom>
              <a:avLst/>
              <a:gdLst>
                <a:gd name="connsiteX0" fmla="*/ 53419 w 53506"/>
                <a:gd name="connsiteY0" fmla="*/ 23037 h 439279"/>
                <a:gd name="connsiteX1" fmla="*/ 26749 w 53506"/>
                <a:gd name="connsiteY1" fmla="*/ 3987 h 439279"/>
                <a:gd name="connsiteX2" fmla="*/ 79 w 53506"/>
                <a:gd name="connsiteY2" fmla="*/ 44945 h 439279"/>
                <a:gd name="connsiteX3" fmla="*/ 5794 w 53506"/>
                <a:gd name="connsiteY3" fmla="*/ 190677 h 439279"/>
                <a:gd name="connsiteX4" fmla="*/ 14366 w 53506"/>
                <a:gd name="connsiteY4" fmla="*/ 432612 h 439279"/>
                <a:gd name="connsiteX5" fmla="*/ 14366 w 53506"/>
                <a:gd name="connsiteY5" fmla="*/ 432612 h 439279"/>
                <a:gd name="connsiteX6" fmla="*/ 15319 w 53506"/>
                <a:gd name="connsiteY6" fmla="*/ 433565 h 439279"/>
                <a:gd name="connsiteX7" fmla="*/ 17224 w 53506"/>
                <a:gd name="connsiteY7" fmla="*/ 435470 h 439279"/>
                <a:gd name="connsiteX8" fmla="*/ 21034 w 53506"/>
                <a:gd name="connsiteY8" fmla="*/ 439280 h 439279"/>
                <a:gd name="connsiteX9" fmla="*/ 46751 w 53506"/>
                <a:gd name="connsiteY9" fmla="*/ 376415 h 439279"/>
                <a:gd name="connsiteX10" fmla="*/ 53419 w 53506"/>
                <a:gd name="connsiteY10" fmla="*/ 23037 h 439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3506" h="439279">
                  <a:moveTo>
                    <a:pt x="53419" y="23037"/>
                  </a:moveTo>
                  <a:cubicBezTo>
                    <a:pt x="54371" y="177"/>
                    <a:pt x="47704" y="-4585"/>
                    <a:pt x="26749" y="3987"/>
                  </a:cubicBezTo>
                  <a:cubicBezTo>
                    <a:pt x="6746" y="11607"/>
                    <a:pt x="-874" y="23990"/>
                    <a:pt x="79" y="44945"/>
                  </a:cubicBezTo>
                  <a:cubicBezTo>
                    <a:pt x="1984" y="93522"/>
                    <a:pt x="3889" y="142100"/>
                    <a:pt x="5794" y="190677"/>
                  </a:cubicBezTo>
                  <a:cubicBezTo>
                    <a:pt x="8651" y="271640"/>
                    <a:pt x="1031" y="352602"/>
                    <a:pt x="14366" y="432612"/>
                  </a:cubicBezTo>
                  <a:cubicBezTo>
                    <a:pt x="14366" y="432612"/>
                    <a:pt x="14366" y="432612"/>
                    <a:pt x="14366" y="432612"/>
                  </a:cubicBezTo>
                  <a:cubicBezTo>
                    <a:pt x="14366" y="432612"/>
                    <a:pt x="15319" y="433565"/>
                    <a:pt x="15319" y="433565"/>
                  </a:cubicBezTo>
                  <a:cubicBezTo>
                    <a:pt x="16271" y="434517"/>
                    <a:pt x="16271" y="435470"/>
                    <a:pt x="17224" y="435470"/>
                  </a:cubicBezTo>
                  <a:cubicBezTo>
                    <a:pt x="18176" y="436422"/>
                    <a:pt x="19129" y="438327"/>
                    <a:pt x="21034" y="439280"/>
                  </a:cubicBezTo>
                  <a:cubicBezTo>
                    <a:pt x="53419" y="427850"/>
                    <a:pt x="46751" y="399275"/>
                    <a:pt x="46751" y="376415"/>
                  </a:cubicBezTo>
                  <a:cubicBezTo>
                    <a:pt x="49609" y="258305"/>
                    <a:pt x="50561" y="141147"/>
                    <a:pt x="53419" y="230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F48BD4B2-3976-411F-89AC-98CD9A7CCC1E}"/>
                </a:ext>
              </a:extLst>
            </p:cNvPr>
            <p:cNvSpPr/>
            <p:nvPr/>
          </p:nvSpPr>
          <p:spPr>
            <a:xfrm>
              <a:off x="1775953" y="5647499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  <a:gd name="connsiteX3" fmla="*/ 0 w 9525"/>
                <a:gd name="connsiteY3" fmla="*/ 0 h 9525"/>
                <a:gd name="connsiteX4" fmla="*/ 0 w 9525"/>
                <a:gd name="connsiteY4" fmla="*/ 0 h 9525"/>
                <a:gd name="connsiteX5" fmla="*/ 0 w 9525"/>
                <a:gd name="connsiteY5" fmla="*/ 0 h 9525"/>
                <a:gd name="connsiteX6" fmla="*/ 0 w 9525"/>
                <a:gd name="connsiteY6" fmla="*/ 0 h 9525"/>
                <a:gd name="connsiteX7" fmla="*/ 0 w 9525"/>
                <a:gd name="connsiteY7" fmla="*/ 0 h 9525"/>
                <a:gd name="connsiteX8" fmla="*/ 0 w 9525"/>
                <a:gd name="connsiteY8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F8D748EF-6C27-42AC-9E3A-AB5D88005614}"/>
                </a:ext>
              </a:extLst>
            </p:cNvPr>
            <p:cNvSpPr/>
            <p:nvPr/>
          </p:nvSpPr>
          <p:spPr>
            <a:xfrm>
              <a:off x="1773967" y="5599701"/>
              <a:ext cx="101046" cy="139237"/>
            </a:xfrm>
            <a:custGeom>
              <a:avLst/>
              <a:gdLst>
                <a:gd name="connsiteX0" fmla="*/ 101046 w 101046"/>
                <a:gd name="connsiteY0" fmla="*/ 139237 h 139237"/>
                <a:gd name="connsiteX1" fmla="*/ 54374 w 101046"/>
                <a:gd name="connsiteY1" fmla="*/ 24937 h 139237"/>
                <a:gd name="connsiteX2" fmla="*/ 9606 w 101046"/>
                <a:gd name="connsiteY2" fmla="*/ 2077 h 139237"/>
                <a:gd name="connsiteX3" fmla="*/ 1986 w 101046"/>
                <a:gd name="connsiteY3" fmla="*/ 47797 h 139237"/>
                <a:gd name="connsiteX4" fmla="*/ 101046 w 101046"/>
                <a:gd name="connsiteY4" fmla="*/ 139237 h 139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46" h="139237">
                  <a:moveTo>
                    <a:pt x="101046" y="139237"/>
                  </a:moveTo>
                  <a:cubicBezTo>
                    <a:pt x="101046" y="86850"/>
                    <a:pt x="85806" y="52560"/>
                    <a:pt x="54374" y="24937"/>
                  </a:cubicBezTo>
                  <a:cubicBezTo>
                    <a:pt x="41039" y="13507"/>
                    <a:pt x="27704" y="-6495"/>
                    <a:pt x="9606" y="2077"/>
                  </a:cubicBezTo>
                  <a:cubicBezTo>
                    <a:pt x="-7539" y="9697"/>
                    <a:pt x="3891" y="31605"/>
                    <a:pt x="1986" y="47797"/>
                  </a:cubicBezTo>
                  <a:cubicBezTo>
                    <a:pt x="43896" y="63037"/>
                    <a:pt x="71519" y="96375"/>
                    <a:pt x="101046" y="1392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AB0E71A8-1282-48AB-9BE5-18F6925BA890}"/>
                </a:ext>
              </a:extLst>
            </p:cNvPr>
            <p:cNvSpPr/>
            <p:nvPr/>
          </p:nvSpPr>
          <p:spPr>
            <a:xfrm>
              <a:off x="1625604" y="5015617"/>
              <a:ext cx="37750" cy="88003"/>
            </a:xfrm>
            <a:custGeom>
              <a:avLst/>
              <a:gdLst>
                <a:gd name="connsiteX0" fmla="*/ 37002 w 37750"/>
                <a:gd name="connsiteY0" fmla="*/ 17519 h 88003"/>
                <a:gd name="connsiteX1" fmla="*/ 28430 w 37750"/>
                <a:gd name="connsiteY1" fmla="*/ 374 h 88003"/>
                <a:gd name="connsiteX2" fmla="*/ 11285 w 37750"/>
                <a:gd name="connsiteY2" fmla="*/ 9899 h 88003"/>
                <a:gd name="connsiteX3" fmla="*/ 34145 w 37750"/>
                <a:gd name="connsiteY3" fmla="*/ 88004 h 88003"/>
                <a:gd name="connsiteX4" fmla="*/ 37002 w 37750"/>
                <a:gd name="connsiteY4" fmla="*/ 17519 h 88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50" h="88003">
                  <a:moveTo>
                    <a:pt x="37002" y="17519"/>
                  </a:moveTo>
                  <a:cubicBezTo>
                    <a:pt x="35097" y="10851"/>
                    <a:pt x="37955" y="2279"/>
                    <a:pt x="28430" y="374"/>
                  </a:cubicBezTo>
                  <a:cubicBezTo>
                    <a:pt x="20810" y="-1531"/>
                    <a:pt x="16047" y="4184"/>
                    <a:pt x="11285" y="9899"/>
                  </a:cubicBezTo>
                  <a:cubicBezTo>
                    <a:pt x="-9670" y="33711"/>
                    <a:pt x="-1098" y="66096"/>
                    <a:pt x="34145" y="88004"/>
                  </a:cubicBezTo>
                  <a:cubicBezTo>
                    <a:pt x="21762" y="61334"/>
                    <a:pt x="41765" y="41331"/>
                    <a:pt x="37002" y="175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36597DE7-839B-4E40-8F8D-C53943E6FD67}"/>
                </a:ext>
              </a:extLst>
            </p:cNvPr>
            <p:cNvSpPr/>
            <p:nvPr/>
          </p:nvSpPr>
          <p:spPr>
            <a:xfrm>
              <a:off x="1783045" y="5314124"/>
              <a:ext cx="23388" cy="32905"/>
            </a:xfrm>
            <a:custGeom>
              <a:avLst/>
              <a:gdLst>
                <a:gd name="connsiteX0" fmla="*/ 10053 w 23388"/>
                <a:gd name="connsiteY0" fmla="*/ 32385 h 32905"/>
                <a:gd name="connsiteX1" fmla="*/ 23388 w 23388"/>
                <a:gd name="connsiteY1" fmla="*/ 11430 h 32905"/>
                <a:gd name="connsiteX2" fmla="*/ 10053 w 23388"/>
                <a:gd name="connsiteY2" fmla="*/ 0 h 32905"/>
                <a:gd name="connsiteX3" fmla="*/ 528 w 23388"/>
                <a:gd name="connsiteY3" fmla="*/ 19050 h 32905"/>
                <a:gd name="connsiteX4" fmla="*/ 10053 w 23388"/>
                <a:gd name="connsiteY4" fmla="*/ 32385 h 3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88" h="32905">
                  <a:moveTo>
                    <a:pt x="10053" y="32385"/>
                  </a:moveTo>
                  <a:cubicBezTo>
                    <a:pt x="18626" y="30480"/>
                    <a:pt x="22436" y="22860"/>
                    <a:pt x="23388" y="11430"/>
                  </a:cubicBezTo>
                  <a:cubicBezTo>
                    <a:pt x="21483" y="6667"/>
                    <a:pt x="17673" y="0"/>
                    <a:pt x="10053" y="0"/>
                  </a:cubicBezTo>
                  <a:cubicBezTo>
                    <a:pt x="-1377" y="952"/>
                    <a:pt x="528" y="11430"/>
                    <a:pt x="528" y="19050"/>
                  </a:cubicBezTo>
                  <a:cubicBezTo>
                    <a:pt x="-424" y="25717"/>
                    <a:pt x="-1377" y="35242"/>
                    <a:pt x="10053" y="323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31" name="Freeform: Shape 30">
            <a:extLst>
              <a:ext uri="{FF2B5EF4-FFF2-40B4-BE49-F238E27FC236}">
                <a16:creationId xmlns:a16="http://schemas.microsoft.com/office/drawing/2014/main" xmlns="" id="{4FD3AA74-8129-4B86-9864-2C5F84DA2A67}"/>
              </a:ext>
            </a:extLst>
          </p:cNvPr>
          <p:cNvSpPr/>
          <p:nvPr userDrawn="1"/>
        </p:nvSpPr>
        <p:spPr>
          <a:xfrm>
            <a:off x="-27620" y="-7467"/>
            <a:ext cx="5750326" cy="6879357"/>
          </a:xfrm>
          <a:custGeom>
            <a:avLst/>
            <a:gdLst>
              <a:gd name="connsiteX0" fmla="*/ 0 w 5750326"/>
              <a:gd name="connsiteY0" fmla="*/ 0 h 6879357"/>
              <a:gd name="connsiteX1" fmla="*/ 2909153 w 5750326"/>
              <a:gd name="connsiteY1" fmla="*/ 0 h 6879357"/>
              <a:gd name="connsiteX2" fmla="*/ 2957941 w 5750326"/>
              <a:gd name="connsiteY2" fmla="*/ 110314 h 6879357"/>
              <a:gd name="connsiteX3" fmla="*/ 3000602 w 5750326"/>
              <a:gd name="connsiteY3" fmla="*/ 230172 h 6879357"/>
              <a:gd name="connsiteX4" fmla="*/ 3060116 w 5750326"/>
              <a:gd name="connsiteY4" fmla="*/ 598170 h 6879357"/>
              <a:gd name="connsiteX5" fmla="*/ 3044244 w 5750326"/>
              <a:gd name="connsiteY5" fmla="*/ 1068333 h 6879357"/>
              <a:gd name="connsiteX6" fmla="*/ 2997626 w 5750326"/>
              <a:gd name="connsiteY6" fmla="*/ 1366401 h 6879357"/>
              <a:gd name="connsiteX7" fmla="*/ 2984731 w 5750326"/>
              <a:gd name="connsiteY7" fmla="*/ 1479478 h 6879357"/>
              <a:gd name="connsiteX8" fmla="*/ 2985227 w 5750326"/>
              <a:gd name="connsiteY8" fmla="*/ 1483942 h 6879357"/>
              <a:gd name="connsiteX9" fmla="*/ 3077969 w 5750326"/>
              <a:gd name="connsiteY9" fmla="*/ 1538002 h 6879357"/>
              <a:gd name="connsiteX10" fmla="*/ 3169722 w 5750326"/>
              <a:gd name="connsiteY10" fmla="*/ 1511715 h 6879357"/>
              <a:gd name="connsiteX11" fmla="*/ 3287263 w 5750326"/>
              <a:gd name="connsiteY11" fmla="*/ 1585117 h 6879357"/>
              <a:gd name="connsiteX12" fmla="*/ 3337849 w 5750326"/>
              <a:gd name="connsiteY12" fmla="*/ 1762172 h 6879357"/>
              <a:gd name="connsiteX13" fmla="*/ 3255520 w 5750326"/>
              <a:gd name="connsiteY13" fmla="*/ 2043873 h 6879357"/>
              <a:gd name="connsiteX14" fmla="*/ 3163274 w 5750326"/>
              <a:gd name="connsiteY14" fmla="*/ 2384097 h 6879357"/>
              <a:gd name="connsiteX15" fmla="*/ 3108719 w 5750326"/>
              <a:gd name="connsiteY15" fmla="*/ 2845335 h 6879357"/>
              <a:gd name="connsiteX16" fmla="*/ 3058132 w 5750326"/>
              <a:gd name="connsiteY16" fmla="*/ 2971306 h 6879357"/>
              <a:gd name="connsiteX17" fmla="*/ 2960429 w 5750326"/>
              <a:gd name="connsiteY17" fmla="*/ 2990152 h 6879357"/>
              <a:gd name="connsiteX18" fmla="*/ 2917280 w 5750326"/>
              <a:gd name="connsiteY18" fmla="*/ 2956924 h 6879357"/>
              <a:gd name="connsiteX19" fmla="*/ 2837929 w 5750326"/>
              <a:gd name="connsiteY19" fmla="*/ 2969819 h 6879357"/>
              <a:gd name="connsiteX20" fmla="*/ 2804699 w 5750326"/>
              <a:gd name="connsiteY20" fmla="*/ 3046691 h 6879357"/>
              <a:gd name="connsiteX21" fmla="*/ 2751137 w 5750326"/>
              <a:gd name="connsiteY21" fmla="*/ 3366581 h 6879357"/>
              <a:gd name="connsiteX22" fmla="*/ 2528949 w 5750326"/>
              <a:gd name="connsiteY22" fmla="*/ 4045045 h 6879357"/>
              <a:gd name="connsiteX23" fmla="*/ 2323128 w 5750326"/>
              <a:gd name="connsiteY23" fmla="*/ 4393700 h 6879357"/>
              <a:gd name="connsiteX24" fmla="*/ 2241050 w 5750326"/>
              <a:gd name="connsiteY24" fmla="*/ 4505442 h 6879357"/>
              <a:gd name="connsiteX25" fmla="*/ 2234160 w 5750326"/>
              <a:gd name="connsiteY25" fmla="*/ 5127126 h 6879357"/>
              <a:gd name="connsiteX26" fmla="*/ 2895181 w 5750326"/>
              <a:gd name="connsiteY26" fmla="*/ 6112039 h 6879357"/>
              <a:gd name="connsiteX27" fmla="*/ 5750326 w 5750326"/>
              <a:gd name="connsiteY27" fmla="*/ 6879357 h 6879357"/>
              <a:gd name="connsiteX28" fmla="*/ 0 w 5750326"/>
              <a:gd name="connsiteY28" fmla="*/ 6868023 h 6879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750326" h="6879357">
                <a:moveTo>
                  <a:pt x="0" y="0"/>
                </a:moveTo>
                <a:lnTo>
                  <a:pt x="2909153" y="0"/>
                </a:lnTo>
                <a:lnTo>
                  <a:pt x="2957941" y="110314"/>
                </a:lnTo>
                <a:cubicBezTo>
                  <a:pt x="2973665" y="149579"/>
                  <a:pt x="2987955" y="189504"/>
                  <a:pt x="3000602" y="230172"/>
                </a:cubicBezTo>
                <a:cubicBezTo>
                  <a:pt x="3037797" y="350193"/>
                  <a:pt x="3060116" y="472198"/>
                  <a:pt x="3060116" y="598170"/>
                </a:cubicBezTo>
                <a:cubicBezTo>
                  <a:pt x="3060116" y="754891"/>
                  <a:pt x="3050692" y="911611"/>
                  <a:pt x="3044244" y="1068333"/>
                </a:cubicBezTo>
                <a:cubicBezTo>
                  <a:pt x="3040277" y="1169508"/>
                  <a:pt x="3017961" y="1267706"/>
                  <a:pt x="2997626" y="1366401"/>
                </a:cubicBezTo>
                <a:cubicBezTo>
                  <a:pt x="2989690" y="1403598"/>
                  <a:pt x="2985723" y="1441290"/>
                  <a:pt x="2984731" y="1479478"/>
                </a:cubicBezTo>
                <a:cubicBezTo>
                  <a:pt x="2985227" y="1480965"/>
                  <a:pt x="2985227" y="1482455"/>
                  <a:pt x="2985227" y="1483942"/>
                </a:cubicBezTo>
                <a:cubicBezTo>
                  <a:pt x="2978780" y="1559328"/>
                  <a:pt x="3028376" y="1572719"/>
                  <a:pt x="3077969" y="1538002"/>
                </a:cubicBezTo>
                <a:cubicBezTo>
                  <a:pt x="3106735" y="1523123"/>
                  <a:pt x="3137485" y="1513202"/>
                  <a:pt x="3169722" y="1511715"/>
                </a:cubicBezTo>
                <a:cubicBezTo>
                  <a:pt x="3224276" y="1509235"/>
                  <a:pt x="3260977" y="1540482"/>
                  <a:pt x="3287263" y="1585117"/>
                </a:cubicBezTo>
                <a:cubicBezTo>
                  <a:pt x="3319003" y="1639671"/>
                  <a:pt x="3330906" y="1699681"/>
                  <a:pt x="3337849" y="1762172"/>
                </a:cubicBezTo>
                <a:cubicBezTo>
                  <a:pt x="3349752" y="1867811"/>
                  <a:pt x="3309084" y="1956586"/>
                  <a:pt x="3255520" y="2043873"/>
                </a:cubicBezTo>
                <a:cubicBezTo>
                  <a:pt x="3193032" y="2148024"/>
                  <a:pt x="3160298" y="2262093"/>
                  <a:pt x="3163274" y="2384097"/>
                </a:cubicBezTo>
                <a:cubicBezTo>
                  <a:pt x="3166745" y="2540818"/>
                  <a:pt x="3146410" y="2694067"/>
                  <a:pt x="3108719" y="2845335"/>
                </a:cubicBezTo>
                <a:cubicBezTo>
                  <a:pt x="3097311" y="2889473"/>
                  <a:pt x="3084913" y="2933118"/>
                  <a:pt x="3058132" y="2971306"/>
                </a:cubicBezTo>
                <a:cubicBezTo>
                  <a:pt x="3031350" y="3009494"/>
                  <a:pt x="2999113" y="3016438"/>
                  <a:pt x="2960429" y="2990152"/>
                </a:cubicBezTo>
                <a:cubicBezTo>
                  <a:pt x="2945550" y="2979738"/>
                  <a:pt x="2932158" y="2967339"/>
                  <a:pt x="2917280" y="2956924"/>
                </a:cubicBezTo>
                <a:cubicBezTo>
                  <a:pt x="2886532" y="2935102"/>
                  <a:pt x="2860742" y="2939565"/>
                  <a:pt x="2837929" y="2969819"/>
                </a:cubicBezTo>
                <a:cubicBezTo>
                  <a:pt x="2820571" y="2992632"/>
                  <a:pt x="2811643" y="3019413"/>
                  <a:pt x="2804699" y="3046691"/>
                </a:cubicBezTo>
                <a:cubicBezTo>
                  <a:pt x="2778413" y="3151833"/>
                  <a:pt x="2765023" y="3259455"/>
                  <a:pt x="2751137" y="3366581"/>
                </a:cubicBezTo>
                <a:cubicBezTo>
                  <a:pt x="2726339" y="3562483"/>
                  <a:pt x="2642026" y="3815418"/>
                  <a:pt x="2528949" y="4045045"/>
                </a:cubicBezTo>
                <a:cubicBezTo>
                  <a:pt x="2509111" y="4085713"/>
                  <a:pt x="2368757" y="4325755"/>
                  <a:pt x="2323128" y="4393700"/>
                </a:cubicBezTo>
                <a:lnTo>
                  <a:pt x="2241050" y="4505442"/>
                </a:lnTo>
                <a:cubicBezTo>
                  <a:pt x="2238754" y="4712669"/>
                  <a:pt x="2236456" y="4919898"/>
                  <a:pt x="2234160" y="5127126"/>
                </a:cubicBezTo>
                <a:cubicBezTo>
                  <a:pt x="2340334" y="5844816"/>
                  <a:pt x="2695203" y="5966975"/>
                  <a:pt x="2895181" y="6112039"/>
                </a:cubicBezTo>
                <a:cubicBezTo>
                  <a:pt x="3481210" y="6404078"/>
                  <a:pt x="5748447" y="6671305"/>
                  <a:pt x="5750326" y="6879357"/>
                </a:cubicBezTo>
                <a:lnTo>
                  <a:pt x="0" y="6868023"/>
                </a:lnTo>
                <a:close/>
              </a:path>
            </a:pathLst>
          </a:custGeom>
          <a:solidFill>
            <a:schemeClr val="accent4"/>
          </a:solidFill>
          <a:ln w="245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389232AD-47E5-402C-8148-8734A76C432B}"/>
              </a:ext>
            </a:extLst>
          </p:cNvPr>
          <p:cNvGrpSpPr/>
          <p:nvPr userDrawn="1"/>
        </p:nvGrpSpPr>
        <p:grpSpPr>
          <a:xfrm>
            <a:off x="-30034" y="1468044"/>
            <a:ext cx="3025581" cy="3744927"/>
            <a:chOff x="-30035" y="2024045"/>
            <a:chExt cx="2714280" cy="335961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EC09DD2E-4D62-446A-AA8D-E72C184D8ED9}"/>
                </a:ext>
              </a:extLst>
            </p:cNvPr>
            <p:cNvSpPr/>
            <p:nvPr/>
          </p:nvSpPr>
          <p:spPr>
            <a:xfrm>
              <a:off x="-30035" y="2643185"/>
              <a:ext cx="2252378" cy="2740473"/>
            </a:xfrm>
            <a:custGeom>
              <a:avLst/>
              <a:gdLst>
                <a:gd name="connsiteX0" fmla="*/ 1006808 w 2252378"/>
                <a:gd name="connsiteY0" fmla="*/ 280 h 2740473"/>
                <a:gd name="connsiteX1" fmla="*/ 1148808 w 2252378"/>
                <a:gd name="connsiteY1" fmla="*/ 17104 h 2740473"/>
                <a:gd name="connsiteX2" fmla="*/ 1282730 w 2252378"/>
                <a:gd name="connsiteY2" fmla="*/ 57593 h 2740473"/>
                <a:gd name="connsiteX3" fmla="*/ 1439790 w 2252378"/>
                <a:gd name="connsiteY3" fmla="*/ 159926 h 2740473"/>
                <a:gd name="connsiteX4" fmla="*/ 1716088 w 2252378"/>
                <a:gd name="connsiteY4" fmla="*/ 458469 h 2740473"/>
                <a:gd name="connsiteX5" fmla="*/ 1944780 w 2252378"/>
                <a:gd name="connsiteY5" fmla="*/ 704068 h 2740473"/>
                <a:gd name="connsiteX6" fmla="*/ 2137876 w 2252378"/>
                <a:gd name="connsiteY6" fmla="*/ 994159 h 2740473"/>
                <a:gd name="connsiteX7" fmla="*/ 2246882 w 2252378"/>
                <a:gd name="connsiteY7" fmla="*/ 1367006 h 2740473"/>
                <a:gd name="connsiteX8" fmla="*/ 2232646 w 2252378"/>
                <a:gd name="connsiteY8" fmla="*/ 1691802 h 2740473"/>
                <a:gd name="connsiteX9" fmla="*/ 2183703 w 2252378"/>
                <a:gd name="connsiteY9" fmla="*/ 1810151 h 2740473"/>
                <a:gd name="connsiteX10" fmla="*/ 2071138 w 2252378"/>
                <a:gd name="connsiteY10" fmla="*/ 1999243 h 2740473"/>
                <a:gd name="connsiteX11" fmla="*/ 1812192 w 2252378"/>
                <a:gd name="connsiteY11" fmla="*/ 2323595 h 2740473"/>
                <a:gd name="connsiteX12" fmla="*/ 1488285 w 2252378"/>
                <a:gd name="connsiteY12" fmla="*/ 2588325 h 2740473"/>
                <a:gd name="connsiteX13" fmla="*/ 1057154 w 2252378"/>
                <a:gd name="connsiteY13" fmla="*/ 2734704 h 2740473"/>
                <a:gd name="connsiteX14" fmla="*/ 612673 w 2252378"/>
                <a:gd name="connsiteY14" fmla="*/ 2670636 h 2740473"/>
                <a:gd name="connsiteX15" fmla="*/ 210907 w 2252378"/>
                <a:gd name="connsiteY15" fmla="*/ 2425038 h 2740473"/>
                <a:gd name="connsiteX16" fmla="*/ 76707 w 2252378"/>
                <a:gd name="connsiteY16" fmla="*/ 2298067 h 2740473"/>
                <a:gd name="connsiteX17" fmla="*/ 0 w 2252378"/>
                <a:gd name="connsiteY17" fmla="*/ 2208476 h 2740473"/>
                <a:gd name="connsiteX18" fmla="*/ 0 w 2252378"/>
                <a:gd name="connsiteY18" fmla="*/ 661302 h 2740473"/>
                <a:gd name="connsiteX19" fmla="*/ 69865 w 2252378"/>
                <a:gd name="connsiteY19" fmla="*/ 583048 h 2740473"/>
                <a:gd name="connsiteX20" fmla="*/ 259403 w 2252378"/>
                <a:gd name="connsiteY20" fmla="*/ 418426 h 2740473"/>
                <a:gd name="connsiteX21" fmla="*/ 618014 w 2252378"/>
                <a:gd name="connsiteY21" fmla="*/ 129671 h 2740473"/>
                <a:gd name="connsiteX22" fmla="*/ 1006808 w 2252378"/>
                <a:gd name="connsiteY22" fmla="*/ 280 h 274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52378" h="2740473">
                  <a:moveTo>
                    <a:pt x="1006808" y="280"/>
                  </a:moveTo>
                  <a:cubicBezTo>
                    <a:pt x="1053177" y="1587"/>
                    <a:pt x="1100534" y="7427"/>
                    <a:pt x="1148808" y="17104"/>
                  </a:cubicBezTo>
                  <a:cubicBezTo>
                    <a:pt x="1194635" y="26447"/>
                    <a:pt x="1239573" y="39795"/>
                    <a:pt x="1282730" y="57593"/>
                  </a:cubicBezTo>
                  <a:cubicBezTo>
                    <a:pt x="1341461" y="81618"/>
                    <a:pt x="1393961" y="114542"/>
                    <a:pt x="1439790" y="159926"/>
                  </a:cubicBezTo>
                  <a:cubicBezTo>
                    <a:pt x="1535892" y="255584"/>
                    <a:pt x="1624432" y="358361"/>
                    <a:pt x="1716088" y="458469"/>
                  </a:cubicBezTo>
                  <a:cubicBezTo>
                    <a:pt x="1791724" y="540780"/>
                    <a:pt x="1864692" y="626207"/>
                    <a:pt x="1944780" y="704068"/>
                  </a:cubicBezTo>
                  <a:cubicBezTo>
                    <a:pt x="2030650" y="787715"/>
                    <a:pt x="2097388" y="882928"/>
                    <a:pt x="2137876" y="994159"/>
                  </a:cubicBezTo>
                  <a:cubicBezTo>
                    <a:pt x="2184149" y="1120074"/>
                    <a:pt x="2238873" y="1253550"/>
                    <a:pt x="2246882" y="1367006"/>
                  </a:cubicBezTo>
                  <a:cubicBezTo>
                    <a:pt x="2254891" y="1476013"/>
                    <a:pt x="2257116" y="1584130"/>
                    <a:pt x="2232646" y="1691802"/>
                  </a:cubicBezTo>
                  <a:cubicBezTo>
                    <a:pt x="2222857" y="1734070"/>
                    <a:pt x="2203280" y="1771888"/>
                    <a:pt x="2183703" y="1810151"/>
                  </a:cubicBezTo>
                  <a:cubicBezTo>
                    <a:pt x="2150333" y="1876001"/>
                    <a:pt x="2112070" y="1938289"/>
                    <a:pt x="2071138" y="1999243"/>
                  </a:cubicBezTo>
                  <a:cubicBezTo>
                    <a:pt x="1993720" y="2114035"/>
                    <a:pt x="1907405" y="2222151"/>
                    <a:pt x="1812192" y="2323595"/>
                  </a:cubicBezTo>
                  <a:cubicBezTo>
                    <a:pt x="1716088" y="2426817"/>
                    <a:pt x="1610641" y="2518026"/>
                    <a:pt x="1488285" y="2588325"/>
                  </a:cubicBezTo>
                  <a:cubicBezTo>
                    <a:pt x="1354363" y="2665297"/>
                    <a:pt x="1210653" y="2715572"/>
                    <a:pt x="1057154" y="2734704"/>
                  </a:cubicBezTo>
                  <a:cubicBezTo>
                    <a:pt x="903655" y="2753836"/>
                    <a:pt x="756384" y="2723581"/>
                    <a:pt x="612673" y="2670636"/>
                  </a:cubicBezTo>
                  <a:cubicBezTo>
                    <a:pt x="462290" y="2615464"/>
                    <a:pt x="331927" y="2528260"/>
                    <a:pt x="210907" y="2425038"/>
                  </a:cubicBezTo>
                  <a:cubicBezTo>
                    <a:pt x="163745" y="2384772"/>
                    <a:pt x="119030" y="2342504"/>
                    <a:pt x="76707" y="2298067"/>
                  </a:cubicBezTo>
                  <a:lnTo>
                    <a:pt x="0" y="2208476"/>
                  </a:lnTo>
                  <a:lnTo>
                    <a:pt x="0" y="661302"/>
                  </a:lnTo>
                  <a:lnTo>
                    <a:pt x="69865" y="583048"/>
                  </a:lnTo>
                  <a:cubicBezTo>
                    <a:pt x="128151" y="522985"/>
                    <a:pt x="194444" y="471372"/>
                    <a:pt x="259403" y="418426"/>
                  </a:cubicBezTo>
                  <a:cubicBezTo>
                    <a:pt x="378643" y="321434"/>
                    <a:pt x="498774" y="226219"/>
                    <a:pt x="618014" y="129671"/>
                  </a:cubicBezTo>
                  <a:cubicBezTo>
                    <a:pt x="737476" y="33233"/>
                    <a:pt x="867700" y="-3641"/>
                    <a:pt x="1006808" y="280"/>
                  </a:cubicBezTo>
                  <a:close/>
                </a:path>
              </a:pathLst>
            </a:custGeom>
            <a:solidFill>
              <a:srgbClr val="F3F3F3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10ACF7DF-8038-4A8D-ABB8-A1A520223F7E}"/>
                </a:ext>
              </a:extLst>
            </p:cNvPr>
            <p:cNvSpPr/>
            <p:nvPr/>
          </p:nvSpPr>
          <p:spPr>
            <a:xfrm>
              <a:off x="227889" y="2893864"/>
              <a:ext cx="1390558" cy="452447"/>
            </a:xfrm>
            <a:custGeom>
              <a:avLst/>
              <a:gdLst>
                <a:gd name="connsiteX0" fmla="*/ 376539 w 739990"/>
                <a:gd name="connsiteY0" fmla="*/ 5 h 240771"/>
                <a:gd name="connsiteX1" fmla="*/ 433126 w 739990"/>
                <a:gd name="connsiteY1" fmla="*/ 22498 h 240771"/>
                <a:gd name="connsiteX2" fmla="*/ 694992 w 739990"/>
                <a:gd name="connsiteY2" fmla="*/ 181369 h 240771"/>
                <a:gd name="connsiteX3" fmla="*/ 733112 w 739990"/>
                <a:gd name="connsiteY3" fmla="*/ 202442 h 240771"/>
                <a:gd name="connsiteX4" fmla="*/ 730981 w 739990"/>
                <a:gd name="connsiteY4" fmla="*/ 227302 h 240771"/>
                <a:gd name="connsiteX5" fmla="*/ 684101 w 739990"/>
                <a:gd name="connsiteY5" fmla="*/ 230380 h 240771"/>
                <a:gd name="connsiteX6" fmla="*/ 430285 w 739990"/>
                <a:gd name="connsiteY6" fmla="*/ 66773 h 240771"/>
                <a:gd name="connsiteX7" fmla="*/ 331553 w 739990"/>
                <a:gd name="connsiteY7" fmla="*/ 65826 h 240771"/>
                <a:gd name="connsiteX8" fmla="*/ 75370 w 739990"/>
                <a:gd name="connsiteY8" fmla="*/ 227302 h 240771"/>
                <a:gd name="connsiteX9" fmla="*/ 28253 w 739990"/>
                <a:gd name="connsiteY9" fmla="*/ 240561 h 240771"/>
                <a:gd name="connsiteX10" fmla="*/ 11679 w 739990"/>
                <a:gd name="connsiteY10" fmla="*/ 235352 h 240771"/>
                <a:gd name="connsiteX11" fmla="*/ 10022 w 739990"/>
                <a:gd name="connsiteY11" fmla="*/ 203389 h 240771"/>
                <a:gd name="connsiteX12" fmla="*/ 32041 w 739990"/>
                <a:gd name="connsiteY12" fmla="*/ 192261 h 240771"/>
                <a:gd name="connsiteX13" fmla="*/ 305745 w 739990"/>
                <a:gd name="connsiteY13" fmla="*/ 34573 h 240771"/>
                <a:gd name="connsiteX14" fmla="*/ 376539 w 739990"/>
                <a:gd name="connsiteY14" fmla="*/ 5 h 24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39990" h="240771">
                  <a:moveTo>
                    <a:pt x="376539" y="5"/>
                  </a:moveTo>
                  <a:cubicBezTo>
                    <a:pt x="397848" y="-232"/>
                    <a:pt x="412764" y="8528"/>
                    <a:pt x="433126" y="22498"/>
                  </a:cubicBezTo>
                  <a:cubicBezTo>
                    <a:pt x="490424" y="54461"/>
                    <a:pt x="661134" y="166453"/>
                    <a:pt x="694992" y="181369"/>
                  </a:cubicBezTo>
                  <a:cubicBezTo>
                    <a:pt x="708251" y="187288"/>
                    <a:pt x="721984" y="192734"/>
                    <a:pt x="733112" y="202442"/>
                  </a:cubicBezTo>
                  <a:cubicBezTo>
                    <a:pt x="743056" y="210965"/>
                    <a:pt x="742109" y="220673"/>
                    <a:pt x="730981" y="227302"/>
                  </a:cubicBezTo>
                  <a:cubicBezTo>
                    <a:pt x="719379" y="234169"/>
                    <a:pt x="700438" y="236299"/>
                    <a:pt x="684101" y="230380"/>
                  </a:cubicBezTo>
                  <a:cubicBezTo>
                    <a:pt x="640062" y="213806"/>
                    <a:pt x="436915" y="71509"/>
                    <a:pt x="430285" y="66773"/>
                  </a:cubicBezTo>
                  <a:cubicBezTo>
                    <a:pt x="397611" y="43097"/>
                    <a:pt x="364700" y="42623"/>
                    <a:pt x="331553" y="65826"/>
                  </a:cubicBezTo>
                  <a:cubicBezTo>
                    <a:pt x="305272" y="84057"/>
                    <a:pt x="134088" y="191077"/>
                    <a:pt x="75370" y="227302"/>
                  </a:cubicBezTo>
                  <a:cubicBezTo>
                    <a:pt x="61164" y="236063"/>
                    <a:pt x="45774" y="241982"/>
                    <a:pt x="28253" y="240561"/>
                  </a:cubicBezTo>
                  <a:cubicBezTo>
                    <a:pt x="22097" y="240088"/>
                    <a:pt x="16651" y="238667"/>
                    <a:pt x="11679" y="235352"/>
                  </a:cubicBezTo>
                  <a:cubicBezTo>
                    <a:pt x="-3237" y="225645"/>
                    <a:pt x="-3948" y="214280"/>
                    <a:pt x="10022" y="203389"/>
                  </a:cubicBezTo>
                  <a:cubicBezTo>
                    <a:pt x="16651" y="198180"/>
                    <a:pt x="24465" y="195338"/>
                    <a:pt x="32041" y="192261"/>
                  </a:cubicBezTo>
                  <a:cubicBezTo>
                    <a:pt x="73476" y="175687"/>
                    <a:pt x="237319" y="82163"/>
                    <a:pt x="305745" y="34573"/>
                  </a:cubicBezTo>
                  <a:cubicBezTo>
                    <a:pt x="318294" y="29838"/>
                    <a:pt x="363753" y="5"/>
                    <a:pt x="376539" y="5"/>
                  </a:cubicBezTo>
                  <a:close/>
                </a:path>
              </a:pathLst>
            </a:custGeom>
            <a:solidFill>
              <a:srgbClr val="FEFEFE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7F210129-499B-4B05-83FF-B21DBEC1DF66}"/>
                </a:ext>
              </a:extLst>
            </p:cNvPr>
            <p:cNvSpPr/>
            <p:nvPr/>
          </p:nvSpPr>
          <p:spPr>
            <a:xfrm>
              <a:off x="159516" y="4313628"/>
              <a:ext cx="1528761" cy="198629"/>
            </a:xfrm>
            <a:custGeom>
              <a:avLst/>
              <a:gdLst>
                <a:gd name="connsiteX0" fmla="*/ 813536 w 813535"/>
                <a:gd name="connsiteY0" fmla="*/ 3789 h 105701"/>
                <a:gd name="connsiteX1" fmla="*/ 791280 w 813535"/>
                <a:gd name="connsiteY1" fmla="*/ 21072 h 105701"/>
                <a:gd name="connsiteX2" fmla="*/ 554038 w 813535"/>
                <a:gd name="connsiteY2" fmla="*/ 95181 h 105701"/>
                <a:gd name="connsiteX3" fmla="*/ 92340 w 813535"/>
                <a:gd name="connsiteY3" fmla="*/ 45460 h 105701"/>
                <a:gd name="connsiteX4" fmla="*/ 14443 w 813535"/>
                <a:gd name="connsiteY4" fmla="*/ 11128 h 105701"/>
                <a:gd name="connsiteX5" fmla="*/ 0 w 813535"/>
                <a:gd name="connsiteY5" fmla="*/ 0 h 105701"/>
                <a:gd name="connsiteX6" fmla="*/ 406531 w 813535"/>
                <a:gd name="connsiteY6" fmla="*/ 72451 h 105701"/>
                <a:gd name="connsiteX7" fmla="*/ 813536 w 813535"/>
                <a:gd name="connsiteY7" fmla="*/ 3789 h 10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3535" h="105701">
                  <a:moveTo>
                    <a:pt x="813536" y="3789"/>
                  </a:moveTo>
                  <a:cubicBezTo>
                    <a:pt x="807853" y="12786"/>
                    <a:pt x="799566" y="17047"/>
                    <a:pt x="791280" y="21072"/>
                  </a:cubicBezTo>
                  <a:cubicBezTo>
                    <a:pt x="716461" y="59429"/>
                    <a:pt x="636670" y="82395"/>
                    <a:pt x="554038" y="95181"/>
                  </a:cubicBezTo>
                  <a:cubicBezTo>
                    <a:pt x="395877" y="119805"/>
                    <a:pt x="242214" y="100390"/>
                    <a:pt x="92340" y="45460"/>
                  </a:cubicBezTo>
                  <a:cubicBezTo>
                    <a:pt x="65585" y="35752"/>
                    <a:pt x="39540" y="24387"/>
                    <a:pt x="14443" y="11128"/>
                  </a:cubicBezTo>
                  <a:cubicBezTo>
                    <a:pt x="9234" y="8287"/>
                    <a:pt x="4499" y="5209"/>
                    <a:pt x="0" y="0"/>
                  </a:cubicBezTo>
                  <a:cubicBezTo>
                    <a:pt x="132353" y="43329"/>
                    <a:pt x="266838" y="71267"/>
                    <a:pt x="406531" y="72451"/>
                  </a:cubicBezTo>
                  <a:cubicBezTo>
                    <a:pt x="546461" y="73635"/>
                    <a:pt x="680945" y="46407"/>
                    <a:pt x="813536" y="3789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D894F678-B9AF-4409-8F37-807E424F3A26}"/>
                </a:ext>
              </a:extLst>
            </p:cNvPr>
            <p:cNvSpPr/>
            <p:nvPr/>
          </p:nvSpPr>
          <p:spPr>
            <a:xfrm>
              <a:off x="223584" y="4044893"/>
              <a:ext cx="1422868" cy="199523"/>
            </a:xfrm>
            <a:custGeom>
              <a:avLst/>
              <a:gdLst>
                <a:gd name="connsiteX0" fmla="*/ 757185 w 757184"/>
                <a:gd name="connsiteY0" fmla="*/ 4735 h 106177"/>
                <a:gd name="connsiteX1" fmla="*/ 711962 w 757184"/>
                <a:gd name="connsiteY1" fmla="*/ 34805 h 106177"/>
                <a:gd name="connsiteX2" fmla="*/ 460751 w 757184"/>
                <a:gd name="connsiteY2" fmla="*/ 102994 h 106177"/>
                <a:gd name="connsiteX3" fmla="*/ 107256 w 757184"/>
                <a:gd name="connsiteY3" fmla="*/ 54220 h 106177"/>
                <a:gd name="connsiteX4" fmla="*/ 21783 w 757184"/>
                <a:gd name="connsiteY4" fmla="*/ 16337 h 106177"/>
                <a:gd name="connsiteX5" fmla="*/ 0 w 757184"/>
                <a:gd name="connsiteY5" fmla="*/ 0 h 106177"/>
                <a:gd name="connsiteX6" fmla="*/ 378356 w 757184"/>
                <a:gd name="connsiteY6" fmla="*/ 73161 h 106177"/>
                <a:gd name="connsiteX7" fmla="*/ 757185 w 757184"/>
                <a:gd name="connsiteY7" fmla="*/ 4735 h 10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7184" h="106177">
                  <a:moveTo>
                    <a:pt x="757185" y="4735"/>
                  </a:moveTo>
                  <a:cubicBezTo>
                    <a:pt x="744399" y="18941"/>
                    <a:pt x="728062" y="27228"/>
                    <a:pt x="711962" y="34805"/>
                  </a:cubicBezTo>
                  <a:cubicBezTo>
                    <a:pt x="632408" y="72451"/>
                    <a:pt x="548355" y="95181"/>
                    <a:pt x="460751" y="102994"/>
                  </a:cubicBezTo>
                  <a:cubicBezTo>
                    <a:pt x="339289" y="114122"/>
                    <a:pt x="221615" y="95654"/>
                    <a:pt x="107256" y="54220"/>
                  </a:cubicBezTo>
                  <a:cubicBezTo>
                    <a:pt x="77897" y="43565"/>
                    <a:pt x="49485" y="31017"/>
                    <a:pt x="21783" y="16337"/>
                  </a:cubicBezTo>
                  <a:cubicBezTo>
                    <a:pt x="13969" y="12075"/>
                    <a:pt x="6156" y="7577"/>
                    <a:pt x="0" y="0"/>
                  </a:cubicBezTo>
                  <a:cubicBezTo>
                    <a:pt x="122409" y="44276"/>
                    <a:pt x="247660" y="71978"/>
                    <a:pt x="378356" y="73161"/>
                  </a:cubicBezTo>
                  <a:cubicBezTo>
                    <a:pt x="509052" y="74345"/>
                    <a:pt x="634302" y="47354"/>
                    <a:pt x="757185" y="4735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0893E2AB-F099-4448-9593-F807DD105C8B}"/>
                </a:ext>
              </a:extLst>
            </p:cNvPr>
            <p:cNvSpPr/>
            <p:nvPr/>
          </p:nvSpPr>
          <p:spPr>
            <a:xfrm>
              <a:off x="221361" y="4579249"/>
              <a:ext cx="1405073" cy="202008"/>
            </a:xfrm>
            <a:custGeom>
              <a:avLst/>
              <a:gdLst>
                <a:gd name="connsiteX0" fmla="*/ 747714 w 747714"/>
                <a:gd name="connsiteY0" fmla="*/ 4262 h 107499"/>
                <a:gd name="connsiteX1" fmla="*/ 733271 w 747714"/>
                <a:gd name="connsiteY1" fmla="*/ 18941 h 107499"/>
                <a:gd name="connsiteX2" fmla="*/ 549302 w 747714"/>
                <a:gd name="connsiteY2" fmla="*/ 88788 h 107499"/>
                <a:gd name="connsiteX3" fmla="*/ 387590 w 747714"/>
                <a:gd name="connsiteY3" fmla="*/ 107493 h 107499"/>
                <a:gd name="connsiteX4" fmla="*/ 159108 w 747714"/>
                <a:gd name="connsiteY4" fmla="*/ 72924 h 107499"/>
                <a:gd name="connsiteX5" fmla="*/ 12075 w 747714"/>
                <a:gd name="connsiteY5" fmla="*/ 11838 h 107499"/>
                <a:gd name="connsiteX6" fmla="*/ 0 w 747714"/>
                <a:gd name="connsiteY6" fmla="*/ 0 h 107499"/>
                <a:gd name="connsiteX7" fmla="*/ 747714 w 747714"/>
                <a:gd name="connsiteY7" fmla="*/ 4262 h 10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714" h="107499">
                  <a:moveTo>
                    <a:pt x="747714" y="4262"/>
                  </a:moveTo>
                  <a:cubicBezTo>
                    <a:pt x="745347" y="13022"/>
                    <a:pt x="738954" y="15627"/>
                    <a:pt x="733271" y="18941"/>
                  </a:cubicBezTo>
                  <a:cubicBezTo>
                    <a:pt x="675973" y="52562"/>
                    <a:pt x="613703" y="73398"/>
                    <a:pt x="549302" y="88788"/>
                  </a:cubicBezTo>
                  <a:cubicBezTo>
                    <a:pt x="496029" y="101574"/>
                    <a:pt x="442046" y="107730"/>
                    <a:pt x="387590" y="107493"/>
                  </a:cubicBezTo>
                  <a:cubicBezTo>
                    <a:pt x="309930" y="107019"/>
                    <a:pt x="233690" y="95654"/>
                    <a:pt x="159108" y="72924"/>
                  </a:cubicBezTo>
                  <a:cubicBezTo>
                    <a:pt x="107966" y="57298"/>
                    <a:pt x="58245" y="38593"/>
                    <a:pt x="12075" y="11838"/>
                  </a:cubicBezTo>
                  <a:cubicBezTo>
                    <a:pt x="7577" y="9234"/>
                    <a:pt x="2368" y="7103"/>
                    <a:pt x="0" y="0"/>
                  </a:cubicBezTo>
                  <a:cubicBezTo>
                    <a:pt x="248607" y="96601"/>
                    <a:pt x="497450" y="100153"/>
                    <a:pt x="747714" y="4262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923088B8-E206-4B0C-834C-8EC467885B9F}"/>
                </a:ext>
              </a:extLst>
            </p:cNvPr>
            <p:cNvSpPr/>
            <p:nvPr/>
          </p:nvSpPr>
          <p:spPr>
            <a:xfrm>
              <a:off x="240492" y="4779020"/>
              <a:ext cx="1347232" cy="204368"/>
            </a:xfrm>
            <a:custGeom>
              <a:avLst/>
              <a:gdLst>
                <a:gd name="connsiteX0" fmla="*/ 1421 w 716934"/>
                <a:gd name="connsiteY0" fmla="*/ 0 h 108755"/>
                <a:gd name="connsiteX1" fmla="*/ 716934 w 716934"/>
                <a:gd name="connsiteY1" fmla="*/ 3315 h 108755"/>
                <a:gd name="connsiteX2" fmla="*/ 704386 w 716934"/>
                <a:gd name="connsiteY2" fmla="*/ 18704 h 108755"/>
                <a:gd name="connsiteX3" fmla="*/ 555932 w 716934"/>
                <a:gd name="connsiteY3" fmla="*/ 82158 h 108755"/>
                <a:gd name="connsiteX4" fmla="*/ 349233 w 716934"/>
                <a:gd name="connsiteY4" fmla="*/ 108203 h 108755"/>
                <a:gd name="connsiteX5" fmla="*/ 19415 w 716934"/>
                <a:gd name="connsiteY5" fmla="*/ 17284 h 108755"/>
                <a:gd name="connsiteX6" fmla="*/ 0 w 716934"/>
                <a:gd name="connsiteY6" fmla="*/ 4735 h 108755"/>
                <a:gd name="connsiteX7" fmla="*/ 1421 w 716934"/>
                <a:gd name="connsiteY7" fmla="*/ 0 h 108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6934" h="108755">
                  <a:moveTo>
                    <a:pt x="1421" y="0"/>
                  </a:moveTo>
                  <a:cubicBezTo>
                    <a:pt x="238662" y="97785"/>
                    <a:pt x="476378" y="101337"/>
                    <a:pt x="716934" y="3315"/>
                  </a:cubicBezTo>
                  <a:cubicBezTo>
                    <a:pt x="714093" y="13732"/>
                    <a:pt x="708647" y="16100"/>
                    <a:pt x="704386" y="18704"/>
                  </a:cubicBezTo>
                  <a:cubicBezTo>
                    <a:pt x="658216" y="47590"/>
                    <a:pt x="608021" y="67242"/>
                    <a:pt x="555932" y="82158"/>
                  </a:cubicBezTo>
                  <a:cubicBezTo>
                    <a:pt x="488216" y="101337"/>
                    <a:pt x="419317" y="111281"/>
                    <a:pt x="349233" y="108203"/>
                  </a:cubicBezTo>
                  <a:cubicBezTo>
                    <a:pt x="232506" y="102994"/>
                    <a:pt x="121936" y="74345"/>
                    <a:pt x="19415" y="17284"/>
                  </a:cubicBezTo>
                  <a:cubicBezTo>
                    <a:pt x="12785" y="13496"/>
                    <a:pt x="6393" y="8760"/>
                    <a:pt x="0" y="4735"/>
                  </a:cubicBezTo>
                  <a:cubicBezTo>
                    <a:pt x="237" y="3078"/>
                    <a:pt x="710" y="1421"/>
                    <a:pt x="1421" y="0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F0B68078-DF9A-42D7-9D4C-BD951557432C}"/>
                </a:ext>
              </a:extLst>
            </p:cNvPr>
            <p:cNvSpPr/>
            <p:nvPr/>
          </p:nvSpPr>
          <p:spPr>
            <a:xfrm>
              <a:off x="325917" y="5021106"/>
              <a:ext cx="1176381" cy="198035"/>
            </a:xfrm>
            <a:custGeom>
              <a:avLst/>
              <a:gdLst>
                <a:gd name="connsiteX0" fmla="*/ 626015 w 626015"/>
                <a:gd name="connsiteY0" fmla="*/ 6368 h 105385"/>
                <a:gd name="connsiteX1" fmla="*/ 343551 w 626015"/>
                <a:gd name="connsiteY1" fmla="*/ 104863 h 105385"/>
                <a:gd name="connsiteX2" fmla="*/ 0 w 626015"/>
                <a:gd name="connsiteY2" fmla="*/ 449 h 105385"/>
                <a:gd name="connsiteX3" fmla="*/ 15627 w 626015"/>
                <a:gd name="connsiteY3" fmla="*/ 4237 h 105385"/>
                <a:gd name="connsiteX4" fmla="*/ 219247 w 626015"/>
                <a:gd name="connsiteY4" fmla="*/ 64613 h 105385"/>
                <a:gd name="connsiteX5" fmla="*/ 510709 w 626015"/>
                <a:gd name="connsiteY5" fmla="*/ 44014 h 105385"/>
                <a:gd name="connsiteX6" fmla="*/ 609678 w 626015"/>
                <a:gd name="connsiteY6" fmla="*/ 8262 h 105385"/>
                <a:gd name="connsiteX7" fmla="*/ 626015 w 626015"/>
                <a:gd name="connsiteY7" fmla="*/ 6368 h 10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6015" h="105385">
                  <a:moveTo>
                    <a:pt x="626015" y="6368"/>
                  </a:moveTo>
                  <a:cubicBezTo>
                    <a:pt x="542436" y="69111"/>
                    <a:pt x="447255" y="99654"/>
                    <a:pt x="343551" y="104863"/>
                  </a:cubicBezTo>
                  <a:cubicBezTo>
                    <a:pt x="193203" y="112203"/>
                    <a:pt x="39304" y="40462"/>
                    <a:pt x="0" y="449"/>
                  </a:cubicBezTo>
                  <a:cubicBezTo>
                    <a:pt x="6393" y="-1209"/>
                    <a:pt x="11128" y="2106"/>
                    <a:pt x="15627" y="4237"/>
                  </a:cubicBezTo>
                  <a:cubicBezTo>
                    <a:pt x="80975" y="33122"/>
                    <a:pt x="148454" y="53958"/>
                    <a:pt x="219247" y="64613"/>
                  </a:cubicBezTo>
                  <a:cubicBezTo>
                    <a:pt x="317980" y="79529"/>
                    <a:pt x="415055" y="71716"/>
                    <a:pt x="510709" y="44014"/>
                  </a:cubicBezTo>
                  <a:cubicBezTo>
                    <a:pt x="544567" y="34306"/>
                    <a:pt x="577004" y="21284"/>
                    <a:pt x="609678" y="8262"/>
                  </a:cubicBezTo>
                  <a:cubicBezTo>
                    <a:pt x="614650" y="6368"/>
                    <a:pt x="619386" y="3290"/>
                    <a:pt x="626015" y="6368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A6C3237A-E797-40B9-A3A6-9BD143304243}"/>
                </a:ext>
              </a:extLst>
            </p:cNvPr>
            <p:cNvSpPr/>
            <p:nvPr/>
          </p:nvSpPr>
          <p:spPr>
            <a:xfrm>
              <a:off x="366849" y="3763257"/>
              <a:ext cx="1137672" cy="200089"/>
            </a:xfrm>
            <a:custGeom>
              <a:avLst/>
              <a:gdLst>
                <a:gd name="connsiteX0" fmla="*/ 605416 w 605416"/>
                <a:gd name="connsiteY0" fmla="*/ 8997 h 106478"/>
                <a:gd name="connsiteX1" fmla="*/ 321531 w 605416"/>
                <a:gd name="connsiteY1" fmla="*/ 106309 h 106478"/>
                <a:gd name="connsiteX2" fmla="*/ 0 w 605416"/>
                <a:gd name="connsiteY2" fmla="*/ 0 h 106478"/>
                <a:gd name="connsiteX3" fmla="*/ 300932 w 605416"/>
                <a:gd name="connsiteY3" fmla="*/ 73398 h 106478"/>
                <a:gd name="connsiteX4" fmla="*/ 603522 w 605416"/>
                <a:gd name="connsiteY4" fmla="*/ 2841 h 106478"/>
                <a:gd name="connsiteX5" fmla="*/ 605416 w 605416"/>
                <a:gd name="connsiteY5" fmla="*/ 8997 h 10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416" h="106478">
                  <a:moveTo>
                    <a:pt x="605416" y="8997"/>
                  </a:moveTo>
                  <a:cubicBezTo>
                    <a:pt x="521837" y="72451"/>
                    <a:pt x="425946" y="103231"/>
                    <a:pt x="321531" y="106309"/>
                  </a:cubicBezTo>
                  <a:cubicBezTo>
                    <a:pt x="190835" y="110097"/>
                    <a:pt x="50432" y="49721"/>
                    <a:pt x="0" y="0"/>
                  </a:cubicBezTo>
                  <a:cubicBezTo>
                    <a:pt x="95654" y="43802"/>
                    <a:pt x="195334" y="72214"/>
                    <a:pt x="300932" y="73398"/>
                  </a:cubicBezTo>
                  <a:cubicBezTo>
                    <a:pt x="407241" y="74582"/>
                    <a:pt x="507394" y="47354"/>
                    <a:pt x="603522" y="2841"/>
                  </a:cubicBezTo>
                  <a:cubicBezTo>
                    <a:pt x="604233" y="4735"/>
                    <a:pt x="604706" y="6866"/>
                    <a:pt x="605416" y="8997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3BFB7100-180E-4453-9ACB-B1E5220F4B69}"/>
                </a:ext>
              </a:extLst>
            </p:cNvPr>
            <p:cNvSpPr/>
            <p:nvPr/>
          </p:nvSpPr>
          <p:spPr>
            <a:xfrm>
              <a:off x="434034" y="3504311"/>
              <a:ext cx="976164" cy="203556"/>
            </a:xfrm>
            <a:custGeom>
              <a:avLst/>
              <a:gdLst>
                <a:gd name="connsiteX0" fmla="*/ 0 w 519469"/>
                <a:gd name="connsiteY0" fmla="*/ 0 h 108323"/>
                <a:gd name="connsiteX1" fmla="*/ 519469 w 519469"/>
                <a:gd name="connsiteY1" fmla="*/ 6156 h 108323"/>
                <a:gd name="connsiteX2" fmla="*/ 503606 w 519469"/>
                <a:gd name="connsiteY2" fmla="*/ 26755 h 108323"/>
                <a:gd name="connsiteX3" fmla="*/ 297144 w 519469"/>
                <a:gd name="connsiteY3" fmla="*/ 107256 h 108323"/>
                <a:gd name="connsiteX4" fmla="*/ 11128 w 519469"/>
                <a:gd name="connsiteY4" fmla="*/ 15627 h 108323"/>
                <a:gd name="connsiteX5" fmla="*/ 0 w 519469"/>
                <a:gd name="connsiteY5" fmla="*/ 0 h 10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469" h="108323">
                  <a:moveTo>
                    <a:pt x="0" y="0"/>
                  </a:moveTo>
                  <a:cubicBezTo>
                    <a:pt x="173788" y="97785"/>
                    <a:pt x="346155" y="101574"/>
                    <a:pt x="519469" y="6156"/>
                  </a:cubicBezTo>
                  <a:cubicBezTo>
                    <a:pt x="517102" y="16811"/>
                    <a:pt x="509999" y="21783"/>
                    <a:pt x="503606" y="26755"/>
                  </a:cubicBezTo>
                  <a:cubicBezTo>
                    <a:pt x="442520" y="72925"/>
                    <a:pt x="374094" y="101574"/>
                    <a:pt x="297144" y="107256"/>
                  </a:cubicBezTo>
                  <a:cubicBezTo>
                    <a:pt x="189651" y="115069"/>
                    <a:pt x="95891" y="79554"/>
                    <a:pt x="11128" y="15627"/>
                  </a:cubicBezTo>
                  <a:cubicBezTo>
                    <a:pt x="7340" y="12786"/>
                    <a:pt x="2841" y="9708"/>
                    <a:pt x="0" y="0"/>
                  </a:cubicBezTo>
                  <a:close/>
                </a:path>
              </a:pathLst>
            </a:custGeom>
            <a:solidFill>
              <a:srgbClr val="CDCDCD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4339AB74-7FB6-46C3-A6E6-330A05262077}"/>
                </a:ext>
              </a:extLst>
            </p:cNvPr>
            <p:cNvSpPr/>
            <p:nvPr/>
          </p:nvSpPr>
          <p:spPr>
            <a:xfrm>
              <a:off x="1918299" y="3803549"/>
              <a:ext cx="91143" cy="238196"/>
            </a:xfrm>
            <a:custGeom>
              <a:avLst/>
              <a:gdLst>
                <a:gd name="connsiteX0" fmla="*/ 38122 w 48502"/>
                <a:gd name="connsiteY0" fmla="*/ 23781 h 126757"/>
                <a:gd name="connsiteX1" fmla="*/ 47119 w 48502"/>
                <a:gd name="connsiteY1" fmla="*/ 103099 h 126757"/>
                <a:gd name="connsiteX2" fmla="*/ 40727 w 48502"/>
                <a:gd name="connsiteY2" fmla="*/ 119199 h 126757"/>
                <a:gd name="connsiteX3" fmla="*/ 20838 w 48502"/>
                <a:gd name="connsiteY3" fmla="*/ 125591 h 126757"/>
                <a:gd name="connsiteX4" fmla="*/ 14919 w 48502"/>
                <a:gd name="connsiteY4" fmla="*/ 108307 h 126757"/>
                <a:gd name="connsiteX5" fmla="*/ 10657 w 48502"/>
                <a:gd name="connsiteY5" fmla="*/ 49115 h 126757"/>
                <a:gd name="connsiteX6" fmla="*/ 2607 w 48502"/>
                <a:gd name="connsiteY6" fmla="*/ 32068 h 126757"/>
                <a:gd name="connsiteX7" fmla="*/ 3791 w 48502"/>
                <a:gd name="connsiteY7" fmla="*/ 9812 h 126757"/>
                <a:gd name="connsiteX8" fmla="*/ 25100 w 48502"/>
                <a:gd name="connsiteY8" fmla="*/ 815 h 126757"/>
                <a:gd name="connsiteX9" fmla="*/ 38122 w 48502"/>
                <a:gd name="connsiteY9" fmla="*/ 23781 h 12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502" h="126757">
                  <a:moveTo>
                    <a:pt x="38122" y="23781"/>
                  </a:moveTo>
                  <a:cubicBezTo>
                    <a:pt x="42384" y="47221"/>
                    <a:pt x="52091" y="75870"/>
                    <a:pt x="47119" y="103099"/>
                  </a:cubicBezTo>
                  <a:cubicBezTo>
                    <a:pt x="46883" y="109018"/>
                    <a:pt x="45225" y="114700"/>
                    <a:pt x="40727" y="119199"/>
                  </a:cubicBezTo>
                  <a:cubicBezTo>
                    <a:pt x="35281" y="124645"/>
                    <a:pt x="28651" y="128906"/>
                    <a:pt x="20838" y="125591"/>
                  </a:cubicBezTo>
                  <a:cubicBezTo>
                    <a:pt x="12788" y="122277"/>
                    <a:pt x="13972" y="114700"/>
                    <a:pt x="14919" y="108307"/>
                  </a:cubicBezTo>
                  <a:cubicBezTo>
                    <a:pt x="17760" y="88182"/>
                    <a:pt x="18944" y="68294"/>
                    <a:pt x="10657" y="49115"/>
                  </a:cubicBezTo>
                  <a:cubicBezTo>
                    <a:pt x="8053" y="43433"/>
                    <a:pt x="4975" y="37987"/>
                    <a:pt x="2607" y="32068"/>
                  </a:cubicBezTo>
                  <a:cubicBezTo>
                    <a:pt x="-708" y="24492"/>
                    <a:pt x="-1418" y="16678"/>
                    <a:pt x="3791" y="9812"/>
                  </a:cubicBezTo>
                  <a:cubicBezTo>
                    <a:pt x="9000" y="2946"/>
                    <a:pt x="16103" y="-2026"/>
                    <a:pt x="25100" y="815"/>
                  </a:cubicBezTo>
                  <a:cubicBezTo>
                    <a:pt x="35991" y="4366"/>
                    <a:pt x="36938" y="14310"/>
                    <a:pt x="38122" y="23781"/>
                  </a:cubicBezTo>
                  <a:close/>
                </a:path>
              </a:pathLst>
            </a:custGeom>
            <a:solidFill>
              <a:srgbClr val="C0C0C0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60CFCC4B-7B83-438B-AA1B-D1DA0F06ADBB}"/>
                </a:ext>
              </a:extLst>
            </p:cNvPr>
            <p:cNvSpPr/>
            <p:nvPr/>
          </p:nvSpPr>
          <p:spPr>
            <a:xfrm>
              <a:off x="1949818" y="2024045"/>
              <a:ext cx="734427" cy="1960867"/>
            </a:xfrm>
            <a:custGeom>
              <a:avLst/>
              <a:gdLst>
                <a:gd name="connsiteX0" fmla="*/ 191584 w 390828"/>
                <a:gd name="connsiteY0" fmla="*/ 735639 h 1043482"/>
                <a:gd name="connsiteX1" fmla="*/ 293868 w 390828"/>
                <a:gd name="connsiteY1" fmla="*/ 442520 h 1043482"/>
                <a:gd name="connsiteX2" fmla="*/ 390706 w 390828"/>
                <a:gd name="connsiteY2" fmla="*/ 47354 h 1043482"/>
                <a:gd name="connsiteX3" fmla="*/ 376736 w 390828"/>
                <a:gd name="connsiteY3" fmla="*/ 0 h 1043482"/>
                <a:gd name="connsiteX4" fmla="*/ 254564 w 390828"/>
                <a:gd name="connsiteY4" fmla="*/ 468801 h 1043482"/>
                <a:gd name="connsiteX5" fmla="*/ 88116 w 390828"/>
                <a:gd name="connsiteY5" fmla="*/ 858285 h 1043482"/>
                <a:gd name="connsiteX6" fmla="*/ 18980 w 390828"/>
                <a:gd name="connsiteY6" fmla="*/ 968619 h 1043482"/>
                <a:gd name="connsiteX7" fmla="*/ 38 w 390828"/>
                <a:gd name="connsiteY7" fmla="*/ 1008633 h 1043482"/>
                <a:gd name="connsiteX8" fmla="*/ 26556 w 390828"/>
                <a:gd name="connsiteY8" fmla="*/ 1032309 h 1043482"/>
                <a:gd name="connsiteX9" fmla="*/ 124105 w 390828"/>
                <a:gd name="connsiteY9" fmla="*/ 1039886 h 1043482"/>
                <a:gd name="connsiteX10" fmla="*/ 252433 w 390828"/>
                <a:gd name="connsiteY10" fmla="*/ 981404 h 1043482"/>
                <a:gd name="connsiteX11" fmla="*/ 254564 w 390828"/>
                <a:gd name="connsiteY11" fmla="*/ 938076 h 1043482"/>
                <a:gd name="connsiteX12" fmla="*/ 147545 w 390828"/>
                <a:gd name="connsiteY12" fmla="*/ 990875 h 1043482"/>
                <a:gd name="connsiteX13" fmla="*/ 88353 w 390828"/>
                <a:gd name="connsiteY13" fmla="*/ 1005555 h 1043482"/>
                <a:gd name="connsiteX14" fmla="*/ 66333 w 390828"/>
                <a:gd name="connsiteY14" fmla="*/ 972644 h 1043482"/>
                <a:gd name="connsiteX15" fmla="*/ 191584 w 390828"/>
                <a:gd name="connsiteY15" fmla="*/ 735639 h 104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0828" h="1043482">
                  <a:moveTo>
                    <a:pt x="191584" y="735639"/>
                  </a:moveTo>
                  <a:cubicBezTo>
                    <a:pt x="239174" y="642589"/>
                    <a:pt x="272322" y="544804"/>
                    <a:pt x="293868" y="442520"/>
                  </a:cubicBezTo>
                  <a:cubicBezTo>
                    <a:pt x="309021" y="371489"/>
                    <a:pt x="394494" y="58719"/>
                    <a:pt x="390706" y="47354"/>
                  </a:cubicBezTo>
                  <a:cubicBezTo>
                    <a:pt x="382656" y="35515"/>
                    <a:pt x="379814" y="1894"/>
                    <a:pt x="376736" y="0"/>
                  </a:cubicBezTo>
                  <a:cubicBezTo>
                    <a:pt x="350929" y="26281"/>
                    <a:pt x="273269" y="407005"/>
                    <a:pt x="254564" y="468801"/>
                  </a:cubicBezTo>
                  <a:cubicBezTo>
                    <a:pt x="212419" y="609205"/>
                    <a:pt x="164355" y="732087"/>
                    <a:pt x="88116" y="858285"/>
                  </a:cubicBezTo>
                  <a:cubicBezTo>
                    <a:pt x="87406" y="859232"/>
                    <a:pt x="42420" y="938549"/>
                    <a:pt x="18980" y="968619"/>
                  </a:cubicBezTo>
                  <a:cubicBezTo>
                    <a:pt x="3353" y="986140"/>
                    <a:pt x="-435" y="996794"/>
                    <a:pt x="38" y="1008633"/>
                  </a:cubicBezTo>
                  <a:cubicBezTo>
                    <a:pt x="275" y="1022602"/>
                    <a:pt x="5721" y="1020945"/>
                    <a:pt x="26556" y="1032309"/>
                  </a:cubicBezTo>
                  <a:cubicBezTo>
                    <a:pt x="58283" y="1044385"/>
                    <a:pt x="90957" y="1046279"/>
                    <a:pt x="124105" y="1039886"/>
                  </a:cubicBezTo>
                  <a:cubicBezTo>
                    <a:pt x="182587" y="1023786"/>
                    <a:pt x="227809" y="997741"/>
                    <a:pt x="252433" y="981404"/>
                  </a:cubicBezTo>
                  <a:cubicBezTo>
                    <a:pt x="261904" y="974064"/>
                    <a:pt x="273979" y="934051"/>
                    <a:pt x="254564" y="938076"/>
                  </a:cubicBezTo>
                  <a:cubicBezTo>
                    <a:pt x="225915" y="947073"/>
                    <a:pt x="173116" y="976669"/>
                    <a:pt x="147545" y="990875"/>
                  </a:cubicBezTo>
                  <a:cubicBezTo>
                    <a:pt x="137837" y="996321"/>
                    <a:pt x="104216" y="1003661"/>
                    <a:pt x="88353" y="1005555"/>
                  </a:cubicBezTo>
                  <a:cubicBezTo>
                    <a:pt x="64913" y="1008396"/>
                    <a:pt x="62308" y="988507"/>
                    <a:pt x="66333" y="972644"/>
                  </a:cubicBezTo>
                  <a:cubicBezTo>
                    <a:pt x="75331" y="954413"/>
                    <a:pt x="161514" y="794594"/>
                    <a:pt x="191584" y="735639"/>
                  </a:cubicBezTo>
                  <a:close/>
                </a:path>
              </a:pathLst>
            </a:custGeom>
            <a:solidFill>
              <a:srgbClr val="FEFEFE"/>
            </a:solidFill>
            <a:ln w="2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4364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">
            <a:extLst>
              <a:ext uri="{FF2B5EF4-FFF2-40B4-BE49-F238E27FC236}">
                <a16:creationId xmlns:a16="http://schemas.microsoft.com/office/drawing/2014/main" xmlns="" id="{386B2C13-5A85-417E-AEF8-996FADF9CC16}"/>
              </a:ext>
            </a:extLst>
          </p:cNvPr>
          <p:cNvSpPr/>
          <p:nvPr userDrawn="1"/>
        </p:nvSpPr>
        <p:spPr>
          <a:xfrm>
            <a:off x="2" y="0"/>
            <a:ext cx="12191999" cy="2376000"/>
          </a:xfrm>
          <a:custGeom>
            <a:avLst/>
            <a:gdLst>
              <a:gd name="connsiteX0" fmla="*/ 0 w 9143999"/>
              <a:gd name="connsiteY0" fmla="*/ 0 h 2376000"/>
              <a:gd name="connsiteX1" fmla="*/ 9143999 w 9143999"/>
              <a:gd name="connsiteY1" fmla="*/ 0 h 2376000"/>
              <a:gd name="connsiteX2" fmla="*/ 9143999 w 9143999"/>
              <a:gd name="connsiteY2" fmla="*/ 2376000 h 2376000"/>
              <a:gd name="connsiteX3" fmla="*/ 2483768 w 9143999"/>
              <a:gd name="connsiteY3" fmla="*/ 2376000 h 2376000"/>
              <a:gd name="connsiteX4" fmla="*/ 539552 w 9143999"/>
              <a:gd name="connsiteY4" fmla="*/ 1574014 h 2376000"/>
              <a:gd name="connsiteX5" fmla="*/ 539552 w 9143999"/>
              <a:gd name="connsiteY5" fmla="*/ 2376000 h 2376000"/>
              <a:gd name="connsiteX6" fmla="*/ 0 w 9143999"/>
              <a:gd name="connsiteY6" fmla="*/ 2376000 h 2376000"/>
              <a:gd name="connsiteX7" fmla="*/ 0 w 9143999"/>
              <a:gd name="connsiteY7" fmla="*/ 0 h 2376000"/>
              <a:gd name="connsiteX0" fmla="*/ 0 w 9143999"/>
              <a:gd name="connsiteY0" fmla="*/ 0 h 2376000"/>
              <a:gd name="connsiteX1" fmla="*/ 9143999 w 9143999"/>
              <a:gd name="connsiteY1" fmla="*/ 0 h 2376000"/>
              <a:gd name="connsiteX2" fmla="*/ 9143999 w 9143999"/>
              <a:gd name="connsiteY2" fmla="*/ 2376000 h 2376000"/>
              <a:gd name="connsiteX3" fmla="*/ 2483768 w 9143999"/>
              <a:gd name="connsiteY3" fmla="*/ 2376000 h 2376000"/>
              <a:gd name="connsiteX4" fmla="*/ 539552 w 9143999"/>
              <a:gd name="connsiteY4" fmla="*/ 2376000 h 2376000"/>
              <a:gd name="connsiteX5" fmla="*/ 0 w 9143999"/>
              <a:gd name="connsiteY5" fmla="*/ 2376000 h 2376000"/>
              <a:gd name="connsiteX6" fmla="*/ 0 w 9143999"/>
              <a:gd name="connsiteY6" fmla="*/ 0 h 2376000"/>
              <a:gd name="connsiteX0" fmla="*/ 0 w 9143999"/>
              <a:gd name="connsiteY0" fmla="*/ 0 h 2376000"/>
              <a:gd name="connsiteX1" fmla="*/ 9143999 w 9143999"/>
              <a:gd name="connsiteY1" fmla="*/ 0 h 2376000"/>
              <a:gd name="connsiteX2" fmla="*/ 9143999 w 9143999"/>
              <a:gd name="connsiteY2" fmla="*/ 2376000 h 2376000"/>
              <a:gd name="connsiteX3" fmla="*/ 539552 w 9143999"/>
              <a:gd name="connsiteY3" fmla="*/ 2376000 h 2376000"/>
              <a:gd name="connsiteX4" fmla="*/ 0 w 9143999"/>
              <a:gd name="connsiteY4" fmla="*/ 2376000 h 2376000"/>
              <a:gd name="connsiteX5" fmla="*/ 0 w 9143999"/>
              <a:gd name="connsiteY5" fmla="*/ 0 h 2376000"/>
              <a:gd name="connsiteX0" fmla="*/ 0 w 9143999"/>
              <a:gd name="connsiteY0" fmla="*/ 0 h 2376000"/>
              <a:gd name="connsiteX1" fmla="*/ 9143999 w 9143999"/>
              <a:gd name="connsiteY1" fmla="*/ 0 h 2376000"/>
              <a:gd name="connsiteX2" fmla="*/ 9143999 w 9143999"/>
              <a:gd name="connsiteY2" fmla="*/ 2376000 h 2376000"/>
              <a:gd name="connsiteX3" fmla="*/ 0 w 9143999"/>
              <a:gd name="connsiteY3" fmla="*/ 2376000 h 2376000"/>
              <a:gd name="connsiteX4" fmla="*/ 0 w 9143999"/>
              <a:gd name="connsiteY4" fmla="*/ 0 h 23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999" h="2376000">
                <a:moveTo>
                  <a:pt x="0" y="0"/>
                </a:moveTo>
                <a:lnTo>
                  <a:pt x="9143999" y="0"/>
                </a:lnTo>
                <a:lnTo>
                  <a:pt x="9143999" y="2376000"/>
                </a:lnTo>
                <a:lnTo>
                  <a:pt x="0" y="2376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8" name="직사각형 1">
            <a:extLst>
              <a:ext uri="{FF2B5EF4-FFF2-40B4-BE49-F238E27FC236}">
                <a16:creationId xmlns:a16="http://schemas.microsoft.com/office/drawing/2014/main" xmlns="" id="{486DB458-356C-4F0C-A601-034ACE45713A}"/>
              </a:ext>
            </a:extLst>
          </p:cNvPr>
          <p:cNvSpPr/>
          <p:nvPr userDrawn="1"/>
        </p:nvSpPr>
        <p:spPr>
          <a:xfrm>
            <a:off x="766353" y="1663329"/>
            <a:ext cx="2688000" cy="3004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그림 개체 틀 2">
            <a:extLst>
              <a:ext uri="{FF2B5EF4-FFF2-40B4-BE49-F238E27FC236}">
                <a16:creationId xmlns:a16="http://schemas.microsoft.com/office/drawing/2014/main" xmlns="" id="{C25BBD44-E30E-4A31-A913-0C185961A43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0353" y="1807430"/>
            <a:ext cx="2400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48861E80-6678-4982-A9D8-0E0403096359}"/>
              </a:ext>
            </a:extLst>
          </p:cNvPr>
          <p:cNvSpPr/>
          <p:nvPr userDrawn="1"/>
        </p:nvSpPr>
        <p:spPr>
          <a:xfrm>
            <a:off x="0" y="-1"/>
            <a:ext cx="7205477" cy="2375999"/>
          </a:xfrm>
          <a:custGeom>
            <a:avLst/>
            <a:gdLst>
              <a:gd name="connsiteX0" fmla="*/ 2921457 w 3751729"/>
              <a:gd name="connsiteY0" fmla="*/ 929082 h 1237129"/>
              <a:gd name="connsiteX1" fmla="*/ 2929580 w 3751729"/>
              <a:gd name="connsiteY1" fmla="*/ 931543 h 1237129"/>
              <a:gd name="connsiteX2" fmla="*/ 2939672 w 3751729"/>
              <a:gd name="connsiteY2" fmla="*/ 937451 h 1237129"/>
              <a:gd name="connsiteX3" fmla="*/ 2948781 w 3751729"/>
              <a:gd name="connsiteY3" fmla="*/ 946559 h 1237129"/>
              <a:gd name="connsiteX4" fmla="*/ 2952719 w 3751729"/>
              <a:gd name="connsiteY4" fmla="*/ 954190 h 1237129"/>
              <a:gd name="connsiteX5" fmla="*/ 2948781 w 3751729"/>
              <a:gd name="connsiteY5" fmla="*/ 956651 h 1237129"/>
              <a:gd name="connsiteX6" fmla="*/ 2944596 w 3751729"/>
              <a:gd name="connsiteY6" fmla="*/ 960835 h 1237129"/>
              <a:gd name="connsiteX7" fmla="*/ 2939672 w 3751729"/>
              <a:gd name="connsiteY7" fmla="*/ 964282 h 1237129"/>
              <a:gd name="connsiteX8" fmla="*/ 2933765 w 3751729"/>
              <a:gd name="connsiteY8" fmla="*/ 966743 h 1237129"/>
              <a:gd name="connsiteX9" fmla="*/ 2938688 w 3751729"/>
              <a:gd name="connsiteY9" fmla="*/ 980035 h 1237129"/>
              <a:gd name="connsiteX10" fmla="*/ 2944596 w 3751729"/>
              <a:gd name="connsiteY10" fmla="*/ 990128 h 1237129"/>
              <a:gd name="connsiteX11" fmla="*/ 2950257 w 3751729"/>
              <a:gd name="connsiteY11" fmla="*/ 1001944 h 1237129"/>
              <a:gd name="connsiteX12" fmla="*/ 2945334 w 3751729"/>
              <a:gd name="connsiteY12" fmla="*/ 1003666 h 1237129"/>
              <a:gd name="connsiteX13" fmla="*/ 2942872 w 3751729"/>
              <a:gd name="connsiteY13" fmla="*/ 1003666 h 1237129"/>
              <a:gd name="connsiteX14" fmla="*/ 2941150 w 3751729"/>
              <a:gd name="connsiteY14" fmla="*/ 1003666 h 1237129"/>
              <a:gd name="connsiteX15" fmla="*/ 2939672 w 3751729"/>
              <a:gd name="connsiteY15" fmla="*/ 1005389 h 1237129"/>
              <a:gd name="connsiteX16" fmla="*/ 2938688 w 3751729"/>
              <a:gd name="connsiteY16" fmla="*/ 1006128 h 1237129"/>
              <a:gd name="connsiteX17" fmla="*/ 2937212 w 3751729"/>
              <a:gd name="connsiteY17" fmla="*/ 1009574 h 1237129"/>
              <a:gd name="connsiteX18" fmla="*/ 2929580 w 3751729"/>
              <a:gd name="connsiteY18" fmla="*/ 1022867 h 1237129"/>
              <a:gd name="connsiteX19" fmla="*/ 2925642 w 3751729"/>
              <a:gd name="connsiteY19" fmla="*/ 1038866 h 1237129"/>
              <a:gd name="connsiteX20" fmla="*/ 2918011 w 3751729"/>
              <a:gd name="connsiteY20" fmla="*/ 1053143 h 1237129"/>
              <a:gd name="connsiteX21" fmla="*/ 2914073 w 3751729"/>
              <a:gd name="connsiteY21" fmla="*/ 1056589 h 1237129"/>
              <a:gd name="connsiteX22" fmla="*/ 2909888 w 3751729"/>
              <a:gd name="connsiteY22" fmla="*/ 1056589 h 1237129"/>
              <a:gd name="connsiteX23" fmla="*/ 2904965 w 3751729"/>
              <a:gd name="connsiteY23" fmla="*/ 1057327 h 1237129"/>
              <a:gd name="connsiteX24" fmla="*/ 2900041 w 3751729"/>
              <a:gd name="connsiteY24" fmla="*/ 1057327 h 1237129"/>
              <a:gd name="connsiteX25" fmla="*/ 2890935 w 3751729"/>
              <a:gd name="connsiteY25" fmla="*/ 1052404 h 1237129"/>
              <a:gd name="connsiteX26" fmla="*/ 2882565 w 3751729"/>
              <a:gd name="connsiteY26" fmla="*/ 1050681 h 1237129"/>
              <a:gd name="connsiteX27" fmla="*/ 2871981 w 3751729"/>
              <a:gd name="connsiteY27" fmla="*/ 1050681 h 1237129"/>
              <a:gd name="connsiteX28" fmla="*/ 2861888 w 3751729"/>
              <a:gd name="connsiteY28" fmla="*/ 1048958 h 1237129"/>
              <a:gd name="connsiteX29" fmla="*/ 2852042 w 3751729"/>
              <a:gd name="connsiteY29" fmla="*/ 1044774 h 1237129"/>
              <a:gd name="connsiteX30" fmla="*/ 2842196 w 3751729"/>
              <a:gd name="connsiteY30" fmla="*/ 1031235 h 1237129"/>
              <a:gd name="connsiteX31" fmla="*/ 2834812 w 3751729"/>
              <a:gd name="connsiteY31" fmla="*/ 1013758 h 1237129"/>
              <a:gd name="connsiteX32" fmla="*/ 2833088 w 3751729"/>
              <a:gd name="connsiteY32" fmla="*/ 993574 h 1237129"/>
              <a:gd name="connsiteX33" fmla="*/ 2840472 w 3751729"/>
              <a:gd name="connsiteY33" fmla="*/ 990128 h 1237129"/>
              <a:gd name="connsiteX34" fmla="*/ 2846380 w 3751729"/>
              <a:gd name="connsiteY34" fmla="*/ 990128 h 1237129"/>
              <a:gd name="connsiteX35" fmla="*/ 2852042 w 3751729"/>
              <a:gd name="connsiteY35" fmla="*/ 991851 h 1237129"/>
              <a:gd name="connsiteX36" fmla="*/ 2857950 w 3751729"/>
              <a:gd name="connsiteY36" fmla="*/ 988651 h 1237129"/>
              <a:gd name="connsiteX37" fmla="*/ 2865334 w 3751729"/>
              <a:gd name="connsiteY37" fmla="*/ 976835 h 1237129"/>
              <a:gd name="connsiteX38" fmla="*/ 2883549 w 3751729"/>
              <a:gd name="connsiteY38" fmla="*/ 974374 h 1237129"/>
              <a:gd name="connsiteX39" fmla="*/ 2886749 w 3751729"/>
              <a:gd name="connsiteY39" fmla="*/ 971666 h 1237129"/>
              <a:gd name="connsiteX40" fmla="*/ 2889211 w 3751729"/>
              <a:gd name="connsiteY40" fmla="*/ 968466 h 1237129"/>
              <a:gd name="connsiteX41" fmla="*/ 2889211 w 3751729"/>
              <a:gd name="connsiteY41" fmla="*/ 966743 h 1237129"/>
              <a:gd name="connsiteX42" fmla="*/ 2890935 w 3751729"/>
              <a:gd name="connsiteY42" fmla="*/ 965758 h 1237129"/>
              <a:gd name="connsiteX43" fmla="*/ 2890935 w 3751729"/>
              <a:gd name="connsiteY43" fmla="*/ 964282 h 1237129"/>
              <a:gd name="connsiteX44" fmla="*/ 2890935 w 3751729"/>
              <a:gd name="connsiteY44" fmla="*/ 962559 h 1237129"/>
              <a:gd name="connsiteX45" fmla="*/ 2892411 w 3751729"/>
              <a:gd name="connsiteY45" fmla="*/ 960835 h 1237129"/>
              <a:gd name="connsiteX46" fmla="*/ 2895119 w 3751729"/>
              <a:gd name="connsiteY46" fmla="*/ 960835 h 1237129"/>
              <a:gd name="connsiteX47" fmla="*/ 2900041 w 3751729"/>
              <a:gd name="connsiteY47" fmla="*/ 960835 h 1237129"/>
              <a:gd name="connsiteX48" fmla="*/ 2904965 w 3751729"/>
              <a:gd name="connsiteY48" fmla="*/ 960835 h 1237129"/>
              <a:gd name="connsiteX49" fmla="*/ 2908165 w 3751729"/>
              <a:gd name="connsiteY49" fmla="*/ 950743 h 1237129"/>
              <a:gd name="connsiteX50" fmla="*/ 2912349 w 3751729"/>
              <a:gd name="connsiteY50" fmla="*/ 943112 h 1237129"/>
              <a:gd name="connsiteX51" fmla="*/ 2916534 w 3751729"/>
              <a:gd name="connsiteY51" fmla="*/ 936466 h 1237129"/>
              <a:gd name="connsiteX52" fmla="*/ 2505952 w 3751729"/>
              <a:gd name="connsiteY52" fmla="*/ 909636 h 1237129"/>
              <a:gd name="connsiteX53" fmla="*/ 2514321 w 3751729"/>
              <a:gd name="connsiteY53" fmla="*/ 915544 h 1237129"/>
              <a:gd name="connsiteX54" fmla="*/ 2519244 w 3751729"/>
              <a:gd name="connsiteY54" fmla="*/ 925636 h 1237129"/>
              <a:gd name="connsiteX55" fmla="*/ 2519244 w 3751729"/>
              <a:gd name="connsiteY55" fmla="*/ 940651 h 1237129"/>
              <a:gd name="connsiteX56" fmla="*/ 2519244 w 3751729"/>
              <a:gd name="connsiteY56" fmla="*/ 942374 h 1237129"/>
              <a:gd name="connsiteX57" fmla="*/ 2519983 w 3751729"/>
              <a:gd name="connsiteY57" fmla="*/ 942374 h 1237129"/>
              <a:gd name="connsiteX58" fmla="*/ 2521707 w 3751729"/>
              <a:gd name="connsiteY58" fmla="*/ 943113 h 1237129"/>
              <a:gd name="connsiteX59" fmla="*/ 2521707 w 3751729"/>
              <a:gd name="connsiteY59" fmla="*/ 944836 h 1237129"/>
              <a:gd name="connsiteX60" fmla="*/ 2521707 w 3751729"/>
              <a:gd name="connsiteY60" fmla="*/ 948282 h 1237129"/>
              <a:gd name="connsiteX61" fmla="*/ 2519244 w 3751729"/>
              <a:gd name="connsiteY61" fmla="*/ 948282 h 1237129"/>
              <a:gd name="connsiteX62" fmla="*/ 2515798 w 3751729"/>
              <a:gd name="connsiteY62" fmla="*/ 949021 h 1237129"/>
              <a:gd name="connsiteX63" fmla="*/ 2514321 w 3751729"/>
              <a:gd name="connsiteY63" fmla="*/ 952466 h 1237129"/>
              <a:gd name="connsiteX64" fmla="*/ 2511860 w 3751729"/>
              <a:gd name="connsiteY64" fmla="*/ 954190 h 1237129"/>
              <a:gd name="connsiteX65" fmla="*/ 2510137 w 3751729"/>
              <a:gd name="connsiteY65" fmla="*/ 954190 h 1237129"/>
              <a:gd name="connsiteX66" fmla="*/ 2508413 w 3751729"/>
              <a:gd name="connsiteY66" fmla="*/ 952466 h 1237129"/>
              <a:gd name="connsiteX67" fmla="*/ 2507675 w 3751729"/>
              <a:gd name="connsiteY67" fmla="*/ 952466 h 1237129"/>
              <a:gd name="connsiteX68" fmla="*/ 2505952 w 3751729"/>
              <a:gd name="connsiteY68" fmla="*/ 950743 h 1237129"/>
              <a:gd name="connsiteX69" fmla="*/ 2500290 w 3751729"/>
              <a:gd name="connsiteY69" fmla="*/ 938928 h 1237129"/>
              <a:gd name="connsiteX70" fmla="*/ 2500290 w 3751729"/>
              <a:gd name="connsiteY70" fmla="*/ 921452 h 1237129"/>
              <a:gd name="connsiteX71" fmla="*/ 2501768 w 3751729"/>
              <a:gd name="connsiteY71" fmla="*/ 918990 h 1237129"/>
              <a:gd name="connsiteX72" fmla="*/ 2503490 w 3751729"/>
              <a:gd name="connsiteY72" fmla="*/ 917267 h 1237129"/>
              <a:gd name="connsiteX73" fmla="*/ 2504229 w 3751729"/>
              <a:gd name="connsiteY73" fmla="*/ 913821 h 1237129"/>
              <a:gd name="connsiteX74" fmla="*/ 3023856 w 3751729"/>
              <a:gd name="connsiteY74" fmla="*/ 892159 h 1237129"/>
              <a:gd name="connsiteX75" fmla="*/ 3030503 w 3751729"/>
              <a:gd name="connsiteY75" fmla="*/ 899544 h 1237129"/>
              <a:gd name="connsiteX76" fmla="*/ 3035425 w 3751729"/>
              <a:gd name="connsiteY76" fmla="*/ 907913 h 1237129"/>
              <a:gd name="connsiteX77" fmla="*/ 3035425 w 3751729"/>
              <a:gd name="connsiteY77" fmla="*/ 921452 h 1237129"/>
              <a:gd name="connsiteX78" fmla="*/ 3036164 w 3751729"/>
              <a:gd name="connsiteY78" fmla="*/ 924652 h 1237129"/>
              <a:gd name="connsiteX79" fmla="*/ 3037887 w 3751729"/>
              <a:gd name="connsiteY79" fmla="*/ 924652 h 1237129"/>
              <a:gd name="connsiteX80" fmla="*/ 3037887 w 3751729"/>
              <a:gd name="connsiteY80" fmla="*/ 925637 h 1237129"/>
              <a:gd name="connsiteX81" fmla="*/ 3036164 w 3751729"/>
              <a:gd name="connsiteY81" fmla="*/ 925637 h 1237129"/>
              <a:gd name="connsiteX82" fmla="*/ 3035425 w 3751729"/>
              <a:gd name="connsiteY82" fmla="*/ 929083 h 1237129"/>
              <a:gd name="connsiteX83" fmla="*/ 3035425 w 3751729"/>
              <a:gd name="connsiteY83" fmla="*/ 931543 h 1237129"/>
              <a:gd name="connsiteX84" fmla="*/ 3033703 w 3751729"/>
              <a:gd name="connsiteY84" fmla="*/ 931543 h 1237129"/>
              <a:gd name="connsiteX85" fmla="*/ 3033703 w 3751729"/>
              <a:gd name="connsiteY85" fmla="*/ 933267 h 1237129"/>
              <a:gd name="connsiteX86" fmla="*/ 3032225 w 3751729"/>
              <a:gd name="connsiteY86" fmla="*/ 933267 h 1237129"/>
              <a:gd name="connsiteX87" fmla="*/ 3029519 w 3751729"/>
              <a:gd name="connsiteY87" fmla="*/ 934744 h 1237129"/>
              <a:gd name="connsiteX88" fmla="*/ 3028041 w 3751729"/>
              <a:gd name="connsiteY88" fmla="*/ 931543 h 1237129"/>
              <a:gd name="connsiteX89" fmla="*/ 3028041 w 3751729"/>
              <a:gd name="connsiteY89" fmla="*/ 930559 h 1237129"/>
              <a:gd name="connsiteX90" fmla="*/ 3026319 w 3751729"/>
              <a:gd name="connsiteY90" fmla="*/ 930559 h 1237129"/>
              <a:gd name="connsiteX91" fmla="*/ 3024595 w 3751729"/>
              <a:gd name="connsiteY91" fmla="*/ 930559 h 1237129"/>
              <a:gd name="connsiteX92" fmla="*/ 3023856 w 3751729"/>
              <a:gd name="connsiteY92" fmla="*/ 929083 h 1237129"/>
              <a:gd name="connsiteX93" fmla="*/ 3023856 w 3751729"/>
              <a:gd name="connsiteY93" fmla="*/ 931543 h 1237129"/>
              <a:gd name="connsiteX94" fmla="*/ 3024595 w 3751729"/>
              <a:gd name="connsiteY94" fmla="*/ 933267 h 1237129"/>
              <a:gd name="connsiteX95" fmla="*/ 3026319 w 3751729"/>
              <a:gd name="connsiteY95" fmla="*/ 934744 h 1237129"/>
              <a:gd name="connsiteX96" fmla="*/ 3028041 w 3751729"/>
              <a:gd name="connsiteY96" fmla="*/ 936467 h 1237129"/>
              <a:gd name="connsiteX97" fmla="*/ 3026319 w 3751729"/>
              <a:gd name="connsiteY97" fmla="*/ 937452 h 1237129"/>
              <a:gd name="connsiteX98" fmla="*/ 3026319 w 3751729"/>
              <a:gd name="connsiteY98" fmla="*/ 938929 h 1237129"/>
              <a:gd name="connsiteX99" fmla="*/ 3026319 w 3751729"/>
              <a:gd name="connsiteY99" fmla="*/ 940652 h 1237129"/>
              <a:gd name="connsiteX100" fmla="*/ 3026319 w 3751729"/>
              <a:gd name="connsiteY100" fmla="*/ 944836 h 1237129"/>
              <a:gd name="connsiteX101" fmla="*/ 3018933 w 3751729"/>
              <a:gd name="connsiteY101" fmla="*/ 944836 h 1237129"/>
              <a:gd name="connsiteX102" fmla="*/ 3018933 w 3751729"/>
              <a:gd name="connsiteY102" fmla="*/ 940652 h 1237129"/>
              <a:gd name="connsiteX103" fmla="*/ 3014749 w 3751729"/>
              <a:gd name="connsiteY103" fmla="*/ 938929 h 1237129"/>
              <a:gd name="connsiteX104" fmla="*/ 3010564 w 3751729"/>
              <a:gd name="connsiteY104" fmla="*/ 936467 h 1237129"/>
              <a:gd name="connsiteX105" fmla="*/ 3009087 w 3751729"/>
              <a:gd name="connsiteY105" fmla="*/ 933267 h 1237129"/>
              <a:gd name="connsiteX106" fmla="*/ 3007364 w 3751729"/>
              <a:gd name="connsiteY106" fmla="*/ 929083 h 1237129"/>
              <a:gd name="connsiteX107" fmla="*/ 3006626 w 3751729"/>
              <a:gd name="connsiteY107" fmla="*/ 924652 h 1237129"/>
              <a:gd name="connsiteX108" fmla="*/ 3003180 w 3751729"/>
              <a:gd name="connsiteY108" fmla="*/ 918990 h 1237129"/>
              <a:gd name="connsiteX109" fmla="*/ 2998995 w 3751729"/>
              <a:gd name="connsiteY109" fmla="*/ 921452 h 1237129"/>
              <a:gd name="connsiteX110" fmla="*/ 2993334 w 3751729"/>
              <a:gd name="connsiteY110" fmla="*/ 924652 h 1237129"/>
              <a:gd name="connsiteX111" fmla="*/ 2987426 w 3751729"/>
              <a:gd name="connsiteY111" fmla="*/ 925637 h 1237129"/>
              <a:gd name="connsiteX112" fmla="*/ 2981764 w 3751729"/>
              <a:gd name="connsiteY112" fmla="*/ 929083 h 1237129"/>
              <a:gd name="connsiteX113" fmla="*/ 2981764 w 3751729"/>
              <a:gd name="connsiteY113" fmla="*/ 921452 h 1237129"/>
              <a:gd name="connsiteX114" fmla="*/ 2983488 w 3751729"/>
              <a:gd name="connsiteY114" fmla="*/ 919729 h 1237129"/>
              <a:gd name="connsiteX115" fmla="*/ 2983488 w 3751729"/>
              <a:gd name="connsiteY115" fmla="*/ 918990 h 1237129"/>
              <a:gd name="connsiteX116" fmla="*/ 2984226 w 3751729"/>
              <a:gd name="connsiteY116" fmla="*/ 918990 h 1237129"/>
              <a:gd name="connsiteX117" fmla="*/ 2984226 w 3751729"/>
              <a:gd name="connsiteY117" fmla="*/ 915544 h 1237129"/>
              <a:gd name="connsiteX118" fmla="*/ 2995794 w 3751729"/>
              <a:gd name="connsiteY118" fmla="*/ 911360 h 1237129"/>
              <a:gd name="connsiteX119" fmla="*/ 3006626 w 3751729"/>
              <a:gd name="connsiteY119" fmla="*/ 907913 h 1237129"/>
              <a:gd name="connsiteX120" fmla="*/ 3016472 w 3751729"/>
              <a:gd name="connsiteY120" fmla="*/ 902005 h 1237129"/>
              <a:gd name="connsiteX121" fmla="*/ 2952719 w 3751729"/>
              <a:gd name="connsiteY121" fmla="*/ 876159 h 1237129"/>
              <a:gd name="connsiteX122" fmla="*/ 2956165 w 3751729"/>
              <a:gd name="connsiteY122" fmla="*/ 879359 h 1237129"/>
              <a:gd name="connsiteX123" fmla="*/ 2956904 w 3751729"/>
              <a:gd name="connsiteY123" fmla="*/ 879359 h 1237129"/>
              <a:gd name="connsiteX124" fmla="*/ 2958626 w 3751729"/>
              <a:gd name="connsiteY124" fmla="*/ 879359 h 1237129"/>
              <a:gd name="connsiteX125" fmla="*/ 2958626 w 3751729"/>
              <a:gd name="connsiteY125" fmla="*/ 880344 h 1237129"/>
              <a:gd name="connsiteX126" fmla="*/ 2958626 w 3751729"/>
              <a:gd name="connsiteY126" fmla="*/ 883543 h 1237129"/>
              <a:gd name="connsiteX127" fmla="*/ 2960350 w 3751729"/>
              <a:gd name="connsiteY127" fmla="*/ 886251 h 1237129"/>
              <a:gd name="connsiteX128" fmla="*/ 2951242 w 3751729"/>
              <a:gd name="connsiteY128" fmla="*/ 893636 h 1237129"/>
              <a:gd name="connsiteX129" fmla="*/ 2945334 w 3751729"/>
              <a:gd name="connsiteY129" fmla="*/ 901267 h 1237129"/>
              <a:gd name="connsiteX130" fmla="*/ 2938687 w 3751729"/>
              <a:gd name="connsiteY130" fmla="*/ 907175 h 1237129"/>
              <a:gd name="connsiteX131" fmla="*/ 2928103 w 3751729"/>
              <a:gd name="connsiteY131" fmla="*/ 913082 h 1237129"/>
              <a:gd name="connsiteX132" fmla="*/ 2928103 w 3751729"/>
              <a:gd name="connsiteY132" fmla="*/ 909636 h 1237129"/>
              <a:gd name="connsiteX133" fmla="*/ 2937212 w 3751729"/>
              <a:gd name="connsiteY133" fmla="*/ 899544 h 1237129"/>
              <a:gd name="connsiteX134" fmla="*/ 2947058 w 3751729"/>
              <a:gd name="connsiteY134" fmla="*/ 889451 h 1237129"/>
              <a:gd name="connsiteX135" fmla="*/ 882825 w 3751729"/>
              <a:gd name="connsiteY135" fmla="*/ 798867 h 1237129"/>
              <a:gd name="connsiteX136" fmla="*/ 888734 w 3751729"/>
              <a:gd name="connsiteY136" fmla="*/ 798867 h 1237129"/>
              <a:gd name="connsiteX137" fmla="*/ 894395 w 3751729"/>
              <a:gd name="connsiteY137" fmla="*/ 799852 h 1237129"/>
              <a:gd name="connsiteX138" fmla="*/ 901041 w 3751729"/>
              <a:gd name="connsiteY138" fmla="*/ 803052 h 1237129"/>
              <a:gd name="connsiteX139" fmla="*/ 898579 w 3751729"/>
              <a:gd name="connsiteY139" fmla="*/ 804776 h 1237129"/>
              <a:gd name="connsiteX140" fmla="*/ 896857 w 3751729"/>
              <a:gd name="connsiteY140" fmla="*/ 807236 h 1237129"/>
              <a:gd name="connsiteX141" fmla="*/ 894395 w 3751729"/>
              <a:gd name="connsiteY141" fmla="*/ 808960 h 1237129"/>
              <a:gd name="connsiteX142" fmla="*/ 889472 w 3751729"/>
              <a:gd name="connsiteY142" fmla="*/ 808960 h 1237129"/>
              <a:gd name="connsiteX143" fmla="*/ 885288 w 3751729"/>
              <a:gd name="connsiteY143" fmla="*/ 807236 h 1237129"/>
              <a:gd name="connsiteX144" fmla="*/ 881350 w 3751729"/>
              <a:gd name="connsiteY144" fmla="*/ 807236 h 1237129"/>
              <a:gd name="connsiteX145" fmla="*/ 877164 w 3751729"/>
              <a:gd name="connsiteY145" fmla="*/ 807236 h 1237129"/>
              <a:gd name="connsiteX146" fmla="*/ 872241 w 3751729"/>
              <a:gd name="connsiteY146" fmla="*/ 808960 h 1237129"/>
              <a:gd name="connsiteX147" fmla="*/ 872241 w 3751729"/>
              <a:gd name="connsiteY147" fmla="*/ 799852 h 1237129"/>
              <a:gd name="connsiteX148" fmla="*/ 2977580 w 3751729"/>
              <a:gd name="connsiteY148" fmla="*/ 789759 h 1237129"/>
              <a:gd name="connsiteX149" fmla="*/ 2981764 w 3751729"/>
              <a:gd name="connsiteY149" fmla="*/ 789759 h 1237129"/>
              <a:gd name="connsiteX150" fmla="*/ 2987426 w 3751729"/>
              <a:gd name="connsiteY150" fmla="*/ 789759 h 1237129"/>
              <a:gd name="connsiteX151" fmla="*/ 2987426 w 3751729"/>
              <a:gd name="connsiteY151" fmla="*/ 804775 h 1237129"/>
              <a:gd name="connsiteX152" fmla="*/ 2985948 w 3751729"/>
              <a:gd name="connsiteY152" fmla="*/ 814867 h 1237129"/>
              <a:gd name="connsiteX153" fmla="*/ 2983488 w 3751729"/>
              <a:gd name="connsiteY153" fmla="*/ 823237 h 1237129"/>
              <a:gd name="connsiteX154" fmla="*/ 2981764 w 3751729"/>
              <a:gd name="connsiteY154" fmla="*/ 838251 h 1237129"/>
              <a:gd name="connsiteX155" fmla="*/ 2984226 w 3751729"/>
              <a:gd name="connsiteY155" fmla="*/ 838251 h 1237129"/>
              <a:gd name="connsiteX156" fmla="*/ 2984226 w 3751729"/>
              <a:gd name="connsiteY156" fmla="*/ 840960 h 1237129"/>
              <a:gd name="connsiteX157" fmla="*/ 2989888 w 3751729"/>
              <a:gd name="connsiteY157" fmla="*/ 840960 h 1237129"/>
              <a:gd name="connsiteX158" fmla="*/ 2993334 w 3751729"/>
              <a:gd name="connsiteY158" fmla="*/ 840960 h 1237129"/>
              <a:gd name="connsiteX159" fmla="*/ 2995794 w 3751729"/>
              <a:gd name="connsiteY159" fmla="*/ 840960 h 1237129"/>
              <a:gd name="connsiteX160" fmla="*/ 2998995 w 3751729"/>
              <a:gd name="connsiteY160" fmla="*/ 842435 h 1237129"/>
              <a:gd name="connsiteX161" fmla="*/ 3001457 w 3751729"/>
              <a:gd name="connsiteY161" fmla="*/ 844160 h 1237129"/>
              <a:gd name="connsiteX162" fmla="*/ 3007364 w 3751729"/>
              <a:gd name="connsiteY162" fmla="*/ 845144 h 1237129"/>
              <a:gd name="connsiteX163" fmla="*/ 3010564 w 3751729"/>
              <a:gd name="connsiteY163" fmla="*/ 855974 h 1237129"/>
              <a:gd name="connsiteX164" fmla="*/ 3016472 w 3751729"/>
              <a:gd name="connsiteY164" fmla="*/ 862621 h 1237129"/>
              <a:gd name="connsiteX165" fmla="*/ 3023856 w 3751729"/>
              <a:gd name="connsiteY165" fmla="*/ 870251 h 1237129"/>
              <a:gd name="connsiteX166" fmla="*/ 3029519 w 3751729"/>
              <a:gd name="connsiteY166" fmla="*/ 880344 h 1237129"/>
              <a:gd name="connsiteX167" fmla="*/ 3024595 w 3751729"/>
              <a:gd name="connsiteY167" fmla="*/ 882066 h 1237129"/>
              <a:gd name="connsiteX168" fmla="*/ 3022133 w 3751729"/>
              <a:gd name="connsiteY168" fmla="*/ 883544 h 1237129"/>
              <a:gd name="connsiteX169" fmla="*/ 3020656 w 3751729"/>
              <a:gd name="connsiteY169" fmla="*/ 883544 h 1237129"/>
              <a:gd name="connsiteX170" fmla="*/ 3020656 w 3751729"/>
              <a:gd name="connsiteY170" fmla="*/ 885267 h 1237129"/>
              <a:gd name="connsiteX171" fmla="*/ 3020656 w 3751729"/>
              <a:gd name="connsiteY171" fmla="*/ 886252 h 1237129"/>
              <a:gd name="connsiteX172" fmla="*/ 3020656 w 3751729"/>
              <a:gd name="connsiteY172" fmla="*/ 887728 h 1237129"/>
              <a:gd name="connsiteX173" fmla="*/ 3017948 w 3751729"/>
              <a:gd name="connsiteY173" fmla="*/ 887728 h 1237129"/>
              <a:gd name="connsiteX174" fmla="*/ 3013026 w 3751729"/>
              <a:gd name="connsiteY174" fmla="*/ 889452 h 1237129"/>
              <a:gd name="connsiteX175" fmla="*/ 3012287 w 3751729"/>
              <a:gd name="connsiteY175" fmla="*/ 886252 h 1237129"/>
              <a:gd name="connsiteX176" fmla="*/ 3012287 w 3751729"/>
              <a:gd name="connsiteY176" fmla="*/ 885267 h 1237129"/>
              <a:gd name="connsiteX177" fmla="*/ 3010564 w 3751729"/>
              <a:gd name="connsiteY177" fmla="*/ 885267 h 1237129"/>
              <a:gd name="connsiteX178" fmla="*/ 3009087 w 3751729"/>
              <a:gd name="connsiteY178" fmla="*/ 885267 h 1237129"/>
              <a:gd name="connsiteX179" fmla="*/ 3007364 w 3751729"/>
              <a:gd name="connsiteY179" fmla="*/ 883544 h 1237129"/>
              <a:gd name="connsiteX180" fmla="*/ 3004903 w 3751729"/>
              <a:gd name="connsiteY180" fmla="*/ 889452 h 1237129"/>
              <a:gd name="connsiteX181" fmla="*/ 3003180 w 3751729"/>
              <a:gd name="connsiteY181" fmla="*/ 893636 h 1237129"/>
              <a:gd name="connsiteX182" fmla="*/ 3000718 w 3751729"/>
              <a:gd name="connsiteY182" fmla="*/ 897821 h 1237129"/>
              <a:gd name="connsiteX183" fmla="*/ 2995794 w 3751729"/>
              <a:gd name="connsiteY183" fmla="*/ 899544 h 1237129"/>
              <a:gd name="connsiteX184" fmla="*/ 2991611 w 3751729"/>
              <a:gd name="connsiteY184" fmla="*/ 902005 h 1237129"/>
              <a:gd name="connsiteX185" fmla="*/ 2991611 w 3751729"/>
              <a:gd name="connsiteY185" fmla="*/ 899544 h 1237129"/>
              <a:gd name="connsiteX186" fmla="*/ 2989148 w 3751729"/>
              <a:gd name="connsiteY186" fmla="*/ 896343 h 1237129"/>
              <a:gd name="connsiteX187" fmla="*/ 2989148 w 3751729"/>
              <a:gd name="connsiteY187" fmla="*/ 893636 h 1237129"/>
              <a:gd name="connsiteX188" fmla="*/ 2989148 w 3751729"/>
              <a:gd name="connsiteY188" fmla="*/ 892159 h 1237129"/>
              <a:gd name="connsiteX189" fmla="*/ 2989148 w 3751729"/>
              <a:gd name="connsiteY189" fmla="*/ 891175 h 1237129"/>
              <a:gd name="connsiteX190" fmla="*/ 2989148 w 3751729"/>
              <a:gd name="connsiteY190" fmla="*/ 889452 h 1237129"/>
              <a:gd name="connsiteX191" fmla="*/ 2987426 w 3751729"/>
              <a:gd name="connsiteY191" fmla="*/ 887728 h 1237129"/>
              <a:gd name="connsiteX192" fmla="*/ 2985948 w 3751729"/>
              <a:gd name="connsiteY192" fmla="*/ 887728 h 1237129"/>
              <a:gd name="connsiteX193" fmla="*/ 2981764 w 3751729"/>
              <a:gd name="connsiteY193" fmla="*/ 886252 h 1237129"/>
              <a:gd name="connsiteX194" fmla="*/ 2981764 w 3751729"/>
              <a:gd name="connsiteY194" fmla="*/ 882066 h 1237129"/>
              <a:gd name="connsiteX195" fmla="*/ 2981764 w 3751729"/>
              <a:gd name="connsiteY195" fmla="*/ 877882 h 1237129"/>
              <a:gd name="connsiteX196" fmla="*/ 2983488 w 3751729"/>
              <a:gd name="connsiteY196" fmla="*/ 874435 h 1237129"/>
              <a:gd name="connsiteX197" fmla="*/ 2983488 w 3751729"/>
              <a:gd name="connsiteY197" fmla="*/ 873698 h 1237129"/>
              <a:gd name="connsiteX198" fmla="*/ 2984226 w 3751729"/>
              <a:gd name="connsiteY198" fmla="*/ 871975 h 1237129"/>
              <a:gd name="connsiteX199" fmla="*/ 2987426 w 3751729"/>
              <a:gd name="connsiteY199" fmla="*/ 871975 h 1237129"/>
              <a:gd name="connsiteX200" fmla="*/ 2991611 w 3751729"/>
              <a:gd name="connsiteY200" fmla="*/ 870251 h 1237129"/>
              <a:gd name="connsiteX201" fmla="*/ 2997519 w 3751729"/>
              <a:gd name="connsiteY201" fmla="*/ 870251 h 1237129"/>
              <a:gd name="connsiteX202" fmla="*/ 2997519 w 3751729"/>
              <a:gd name="connsiteY202" fmla="*/ 880344 h 1237129"/>
              <a:gd name="connsiteX203" fmla="*/ 3007364 w 3751729"/>
              <a:gd name="connsiteY203" fmla="*/ 880344 h 1237129"/>
              <a:gd name="connsiteX204" fmla="*/ 3007364 w 3751729"/>
              <a:gd name="connsiteY204" fmla="*/ 877882 h 1237129"/>
              <a:gd name="connsiteX205" fmla="*/ 3009087 w 3751729"/>
              <a:gd name="connsiteY205" fmla="*/ 874435 h 1237129"/>
              <a:gd name="connsiteX206" fmla="*/ 3010564 w 3751729"/>
              <a:gd name="connsiteY206" fmla="*/ 873698 h 1237129"/>
              <a:gd name="connsiteX207" fmla="*/ 3010564 w 3751729"/>
              <a:gd name="connsiteY207" fmla="*/ 871975 h 1237129"/>
              <a:gd name="connsiteX208" fmla="*/ 3012287 w 3751729"/>
              <a:gd name="connsiteY208" fmla="*/ 870251 h 1237129"/>
              <a:gd name="connsiteX209" fmla="*/ 3013026 w 3751729"/>
              <a:gd name="connsiteY209" fmla="*/ 867789 h 1237129"/>
              <a:gd name="connsiteX210" fmla="*/ 3010564 w 3751729"/>
              <a:gd name="connsiteY210" fmla="*/ 867789 h 1237129"/>
              <a:gd name="connsiteX211" fmla="*/ 2995794 w 3751729"/>
              <a:gd name="connsiteY211" fmla="*/ 855974 h 1237129"/>
              <a:gd name="connsiteX212" fmla="*/ 2979303 w 3751729"/>
              <a:gd name="connsiteY212" fmla="*/ 848344 h 1237129"/>
              <a:gd name="connsiteX213" fmla="*/ 2979303 w 3751729"/>
              <a:gd name="connsiteY213" fmla="*/ 854252 h 1237129"/>
              <a:gd name="connsiteX214" fmla="*/ 2977580 w 3751729"/>
              <a:gd name="connsiteY214" fmla="*/ 858436 h 1237129"/>
              <a:gd name="connsiteX215" fmla="*/ 2975857 w 3751729"/>
              <a:gd name="connsiteY215" fmla="*/ 862621 h 1237129"/>
              <a:gd name="connsiteX216" fmla="*/ 2975857 w 3751729"/>
              <a:gd name="connsiteY216" fmla="*/ 867789 h 1237129"/>
              <a:gd name="connsiteX217" fmla="*/ 2974380 w 3751729"/>
              <a:gd name="connsiteY217" fmla="*/ 866067 h 1237129"/>
              <a:gd name="connsiteX218" fmla="*/ 2973396 w 3751729"/>
              <a:gd name="connsiteY218" fmla="*/ 864344 h 1237129"/>
              <a:gd name="connsiteX219" fmla="*/ 2973396 w 3751729"/>
              <a:gd name="connsiteY219" fmla="*/ 862621 h 1237129"/>
              <a:gd name="connsiteX220" fmla="*/ 2971918 w 3751729"/>
              <a:gd name="connsiteY220" fmla="*/ 861883 h 1237129"/>
              <a:gd name="connsiteX221" fmla="*/ 2967734 w 3751729"/>
              <a:gd name="connsiteY221" fmla="*/ 850806 h 1237129"/>
              <a:gd name="connsiteX222" fmla="*/ 2962810 w 3751729"/>
              <a:gd name="connsiteY222" fmla="*/ 838251 h 1237129"/>
              <a:gd name="connsiteX223" fmla="*/ 2961826 w 3751729"/>
              <a:gd name="connsiteY223" fmla="*/ 821513 h 1237129"/>
              <a:gd name="connsiteX224" fmla="*/ 2962810 w 3751729"/>
              <a:gd name="connsiteY224" fmla="*/ 807236 h 1237129"/>
              <a:gd name="connsiteX225" fmla="*/ 2968472 w 3751729"/>
              <a:gd name="connsiteY225" fmla="*/ 792959 h 1237129"/>
              <a:gd name="connsiteX226" fmla="*/ 2973396 w 3751729"/>
              <a:gd name="connsiteY226" fmla="*/ 791237 h 1237129"/>
              <a:gd name="connsiteX227" fmla="*/ 835074 w 3751729"/>
              <a:gd name="connsiteY227" fmla="*/ 789759 h 1237129"/>
              <a:gd name="connsiteX228" fmla="*/ 840735 w 3751729"/>
              <a:gd name="connsiteY228" fmla="*/ 789759 h 1237129"/>
              <a:gd name="connsiteX229" fmla="*/ 846643 w 3751729"/>
              <a:gd name="connsiteY229" fmla="*/ 791237 h 1237129"/>
              <a:gd name="connsiteX230" fmla="*/ 852305 w 3751729"/>
              <a:gd name="connsiteY230" fmla="*/ 791237 h 1237129"/>
              <a:gd name="connsiteX231" fmla="*/ 856490 w 3751729"/>
              <a:gd name="connsiteY231" fmla="*/ 792959 h 1237129"/>
              <a:gd name="connsiteX232" fmla="*/ 856490 w 3751729"/>
              <a:gd name="connsiteY232" fmla="*/ 799852 h 1237129"/>
              <a:gd name="connsiteX233" fmla="*/ 835074 w 3751729"/>
              <a:gd name="connsiteY233" fmla="*/ 799852 h 1237129"/>
              <a:gd name="connsiteX234" fmla="*/ 713473 w 3751729"/>
              <a:gd name="connsiteY234" fmla="*/ 789759 h 1237129"/>
              <a:gd name="connsiteX235" fmla="*/ 721104 w 3751729"/>
              <a:gd name="connsiteY235" fmla="*/ 791237 h 1237129"/>
              <a:gd name="connsiteX236" fmla="*/ 725043 w 3751729"/>
              <a:gd name="connsiteY236" fmla="*/ 793944 h 1237129"/>
              <a:gd name="connsiteX237" fmla="*/ 730950 w 3751729"/>
              <a:gd name="connsiteY237" fmla="*/ 797144 h 1237129"/>
              <a:gd name="connsiteX238" fmla="*/ 735873 w 3751729"/>
              <a:gd name="connsiteY238" fmla="*/ 799852 h 1237129"/>
              <a:gd name="connsiteX239" fmla="*/ 735873 w 3751729"/>
              <a:gd name="connsiteY239" fmla="*/ 803052 h 1237129"/>
              <a:gd name="connsiteX240" fmla="*/ 730212 w 3751729"/>
              <a:gd name="connsiteY240" fmla="*/ 803052 h 1237129"/>
              <a:gd name="connsiteX241" fmla="*/ 725043 w 3751729"/>
              <a:gd name="connsiteY241" fmla="*/ 804776 h 1237129"/>
              <a:gd name="connsiteX242" fmla="*/ 721104 w 3751729"/>
              <a:gd name="connsiteY242" fmla="*/ 805515 h 1237129"/>
              <a:gd name="connsiteX243" fmla="*/ 718642 w 3751729"/>
              <a:gd name="connsiteY243" fmla="*/ 804776 h 1237129"/>
              <a:gd name="connsiteX244" fmla="*/ 712735 w 3751729"/>
              <a:gd name="connsiteY244" fmla="*/ 804776 h 1237129"/>
              <a:gd name="connsiteX245" fmla="*/ 707812 w 3751729"/>
              <a:gd name="connsiteY245" fmla="*/ 803052 h 1237129"/>
              <a:gd name="connsiteX246" fmla="*/ 707812 w 3751729"/>
              <a:gd name="connsiteY246" fmla="*/ 792959 h 1237129"/>
              <a:gd name="connsiteX247" fmla="*/ 709535 w 3751729"/>
              <a:gd name="connsiteY247" fmla="*/ 792959 h 1237129"/>
              <a:gd name="connsiteX248" fmla="*/ 711012 w 3751729"/>
              <a:gd name="connsiteY248" fmla="*/ 791237 h 1237129"/>
              <a:gd name="connsiteX249" fmla="*/ 712735 w 3751729"/>
              <a:gd name="connsiteY249" fmla="*/ 791237 h 1237129"/>
              <a:gd name="connsiteX250" fmla="*/ 763934 w 3751729"/>
              <a:gd name="connsiteY250" fmla="*/ 776221 h 1237129"/>
              <a:gd name="connsiteX251" fmla="*/ 781411 w 3751729"/>
              <a:gd name="connsiteY251" fmla="*/ 777945 h 1237129"/>
              <a:gd name="connsiteX252" fmla="*/ 796181 w 3751729"/>
              <a:gd name="connsiteY252" fmla="*/ 781391 h 1237129"/>
              <a:gd name="connsiteX253" fmla="*/ 807751 w 3751729"/>
              <a:gd name="connsiteY253" fmla="*/ 785575 h 1237129"/>
              <a:gd name="connsiteX254" fmla="*/ 821781 w 3751729"/>
              <a:gd name="connsiteY254" fmla="*/ 789760 h 1237129"/>
              <a:gd name="connsiteX255" fmla="*/ 821781 w 3751729"/>
              <a:gd name="connsiteY255" fmla="*/ 797144 h 1237129"/>
              <a:gd name="connsiteX256" fmla="*/ 816120 w 3751729"/>
              <a:gd name="connsiteY256" fmla="*/ 797144 h 1237129"/>
              <a:gd name="connsiteX257" fmla="*/ 813412 w 3751729"/>
              <a:gd name="connsiteY257" fmla="*/ 798867 h 1237129"/>
              <a:gd name="connsiteX258" fmla="*/ 809474 w 3751729"/>
              <a:gd name="connsiteY258" fmla="*/ 799852 h 1237129"/>
              <a:gd name="connsiteX259" fmla="*/ 806028 w 3751729"/>
              <a:gd name="connsiteY259" fmla="*/ 801330 h 1237129"/>
              <a:gd name="connsiteX260" fmla="*/ 803565 w 3751729"/>
              <a:gd name="connsiteY260" fmla="*/ 803052 h 1237129"/>
              <a:gd name="connsiteX261" fmla="*/ 798643 w 3751729"/>
              <a:gd name="connsiteY261" fmla="*/ 803052 h 1237129"/>
              <a:gd name="connsiteX262" fmla="*/ 798643 w 3751729"/>
              <a:gd name="connsiteY262" fmla="*/ 801330 h 1237129"/>
              <a:gd name="connsiteX263" fmla="*/ 798643 w 3751729"/>
              <a:gd name="connsiteY263" fmla="*/ 799852 h 1237129"/>
              <a:gd name="connsiteX264" fmla="*/ 797904 w 3751729"/>
              <a:gd name="connsiteY264" fmla="*/ 798867 h 1237129"/>
              <a:gd name="connsiteX265" fmla="*/ 796181 w 3751729"/>
              <a:gd name="connsiteY265" fmla="*/ 797144 h 1237129"/>
              <a:gd name="connsiteX266" fmla="*/ 794458 w 3751729"/>
              <a:gd name="connsiteY266" fmla="*/ 795667 h 1237129"/>
              <a:gd name="connsiteX267" fmla="*/ 792981 w 3751729"/>
              <a:gd name="connsiteY267" fmla="*/ 797144 h 1237129"/>
              <a:gd name="connsiteX268" fmla="*/ 790519 w 3751729"/>
              <a:gd name="connsiteY268" fmla="*/ 805513 h 1237129"/>
              <a:gd name="connsiteX269" fmla="*/ 786335 w 3751729"/>
              <a:gd name="connsiteY269" fmla="*/ 805513 h 1237129"/>
              <a:gd name="connsiteX270" fmla="*/ 775504 w 3751729"/>
              <a:gd name="connsiteY270" fmla="*/ 804776 h 1237129"/>
              <a:gd name="connsiteX271" fmla="*/ 763934 w 3751729"/>
              <a:gd name="connsiteY271" fmla="*/ 803052 h 1237129"/>
              <a:gd name="connsiteX272" fmla="*/ 755812 w 3751729"/>
              <a:gd name="connsiteY272" fmla="*/ 803052 h 1237129"/>
              <a:gd name="connsiteX273" fmla="*/ 751627 w 3751729"/>
              <a:gd name="connsiteY273" fmla="*/ 792959 h 1237129"/>
              <a:gd name="connsiteX274" fmla="*/ 759011 w 3751729"/>
              <a:gd name="connsiteY274" fmla="*/ 792959 h 1237129"/>
              <a:gd name="connsiteX275" fmla="*/ 763934 w 3751729"/>
              <a:gd name="connsiteY275" fmla="*/ 792959 h 1237129"/>
              <a:gd name="connsiteX276" fmla="*/ 769842 w 3751729"/>
              <a:gd name="connsiteY276" fmla="*/ 791237 h 1237129"/>
              <a:gd name="connsiteX277" fmla="*/ 774765 w 3751729"/>
              <a:gd name="connsiteY277" fmla="*/ 789760 h 1237129"/>
              <a:gd name="connsiteX278" fmla="*/ 771319 w 3751729"/>
              <a:gd name="connsiteY278" fmla="*/ 788037 h 1237129"/>
              <a:gd name="connsiteX279" fmla="*/ 768858 w 3751729"/>
              <a:gd name="connsiteY279" fmla="*/ 785575 h 1237129"/>
              <a:gd name="connsiteX280" fmla="*/ 767381 w 3751729"/>
              <a:gd name="connsiteY280" fmla="*/ 783853 h 1237129"/>
              <a:gd name="connsiteX281" fmla="*/ 765658 w 3751729"/>
              <a:gd name="connsiteY281" fmla="*/ 781391 h 1237129"/>
              <a:gd name="connsiteX282" fmla="*/ 663259 w 3751729"/>
              <a:gd name="connsiteY282" fmla="*/ 735114 h 1237129"/>
              <a:gd name="connsiteX283" fmla="*/ 686398 w 3751729"/>
              <a:gd name="connsiteY283" fmla="*/ 740283 h 1237129"/>
              <a:gd name="connsiteX284" fmla="*/ 707074 w 3751729"/>
              <a:gd name="connsiteY284" fmla="*/ 746929 h 1237129"/>
              <a:gd name="connsiteX285" fmla="*/ 722582 w 3751729"/>
              <a:gd name="connsiteY285" fmla="*/ 754314 h 1237129"/>
              <a:gd name="connsiteX286" fmla="*/ 738335 w 3751729"/>
              <a:gd name="connsiteY286" fmla="*/ 761944 h 1237129"/>
              <a:gd name="connsiteX287" fmla="*/ 755813 w 3751729"/>
              <a:gd name="connsiteY287" fmla="*/ 770315 h 1237129"/>
              <a:gd name="connsiteX288" fmla="*/ 755813 w 3751729"/>
              <a:gd name="connsiteY288" fmla="*/ 776221 h 1237129"/>
              <a:gd name="connsiteX289" fmla="*/ 748182 w 3751729"/>
              <a:gd name="connsiteY289" fmla="*/ 776221 h 1237129"/>
              <a:gd name="connsiteX290" fmla="*/ 740059 w 3751729"/>
              <a:gd name="connsiteY290" fmla="*/ 779668 h 1237129"/>
              <a:gd name="connsiteX291" fmla="*/ 730212 w 3751729"/>
              <a:gd name="connsiteY291" fmla="*/ 782130 h 1237129"/>
              <a:gd name="connsiteX292" fmla="*/ 719382 w 3751729"/>
              <a:gd name="connsiteY292" fmla="*/ 783853 h 1237129"/>
              <a:gd name="connsiteX293" fmla="*/ 721105 w 3751729"/>
              <a:gd name="connsiteY293" fmla="*/ 781392 h 1237129"/>
              <a:gd name="connsiteX294" fmla="*/ 721105 w 3751729"/>
              <a:gd name="connsiteY294" fmla="*/ 777945 h 1237129"/>
              <a:gd name="connsiteX295" fmla="*/ 721105 w 3751729"/>
              <a:gd name="connsiteY295" fmla="*/ 776221 h 1237129"/>
              <a:gd name="connsiteX296" fmla="*/ 721105 w 3751729"/>
              <a:gd name="connsiteY296" fmla="*/ 775484 h 1237129"/>
              <a:gd name="connsiteX297" fmla="*/ 721105 w 3751729"/>
              <a:gd name="connsiteY297" fmla="*/ 773761 h 1237129"/>
              <a:gd name="connsiteX298" fmla="*/ 719382 w 3751729"/>
              <a:gd name="connsiteY298" fmla="*/ 770315 h 1237129"/>
              <a:gd name="connsiteX299" fmla="*/ 697966 w 3751729"/>
              <a:gd name="connsiteY299" fmla="*/ 764406 h 1237129"/>
              <a:gd name="connsiteX300" fmla="*/ 678028 w 3751729"/>
              <a:gd name="connsiteY300" fmla="*/ 754314 h 1237129"/>
              <a:gd name="connsiteX301" fmla="*/ 656613 w 3751729"/>
              <a:gd name="connsiteY301" fmla="*/ 744468 h 1237129"/>
              <a:gd name="connsiteX302" fmla="*/ 651689 w 3751729"/>
              <a:gd name="connsiteY302" fmla="*/ 748653 h 1237129"/>
              <a:gd name="connsiteX303" fmla="*/ 649228 w 3751729"/>
              <a:gd name="connsiteY303" fmla="*/ 752837 h 1237129"/>
              <a:gd name="connsiteX304" fmla="*/ 645043 w 3751729"/>
              <a:gd name="connsiteY304" fmla="*/ 757760 h 1237129"/>
              <a:gd name="connsiteX305" fmla="*/ 640120 w 3751729"/>
              <a:gd name="connsiteY305" fmla="*/ 756038 h 1237129"/>
              <a:gd name="connsiteX306" fmla="*/ 634212 w 3751729"/>
              <a:gd name="connsiteY306" fmla="*/ 752837 h 1237129"/>
              <a:gd name="connsiteX307" fmla="*/ 631751 w 3751729"/>
              <a:gd name="connsiteY307" fmla="*/ 751853 h 1237129"/>
              <a:gd name="connsiteX308" fmla="*/ 637659 w 3751729"/>
              <a:gd name="connsiteY308" fmla="*/ 751853 h 1237129"/>
              <a:gd name="connsiteX309" fmla="*/ 641597 w 3751729"/>
              <a:gd name="connsiteY309" fmla="*/ 745945 h 1237129"/>
              <a:gd name="connsiteX310" fmla="*/ 645781 w 3751729"/>
              <a:gd name="connsiteY310" fmla="*/ 742745 h 1237129"/>
              <a:gd name="connsiteX311" fmla="*/ 650704 w 3751729"/>
              <a:gd name="connsiteY311" fmla="*/ 738560 h 1237129"/>
              <a:gd name="connsiteX312" fmla="*/ 654889 w 3751729"/>
              <a:gd name="connsiteY312" fmla="*/ 738560 h 1237129"/>
              <a:gd name="connsiteX313" fmla="*/ 657351 w 3751729"/>
              <a:gd name="connsiteY313" fmla="*/ 736837 h 1237129"/>
              <a:gd name="connsiteX314" fmla="*/ 660797 w 3751729"/>
              <a:gd name="connsiteY314" fmla="*/ 736837 h 1237129"/>
              <a:gd name="connsiteX315" fmla="*/ 707812 w 3751729"/>
              <a:gd name="connsiteY315" fmla="*/ 712468 h 1237129"/>
              <a:gd name="connsiteX316" fmla="*/ 712736 w 3751729"/>
              <a:gd name="connsiteY316" fmla="*/ 714929 h 1237129"/>
              <a:gd name="connsiteX317" fmla="*/ 715197 w 3751729"/>
              <a:gd name="connsiteY317" fmla="*/ 718376 h 1237129"/>
              <a:gd name="connsiteX318" fmla="*/ 718643 w 3751729"/>
              <a:gd name="connsiteY318" fmla="*/ 720838 h 1237129"/>
              <a:gd name="connsiteX319" fmla="*/ 719382 w 3751729"/>
              <a:gd name="connsiteY319" fmla="*/ 725023 h 1237129"/>
              <a:gd name="connsiteX320" fmla="*/ 719382 w 3751729"/>
              <a:gd name="connsiteY320" fmla="*/ 732654 h 1237129"/>
              <a:gd name="connsiteX321" fmla="*/ 713473 w 3751729"/>
              <a:gd name="connsiteY321" fmla="*/ 732654 h 1237129"/>
              <a:gd name="connsiteX322" fmla="*/ 712736 w 3751729"/>
              <a:gd name="connsiteY322" fmla="*/ 728469 h 1237129"/>
              <a:gd name="connsiteX323" fmla="*/ 711012 w 3751729"/>
              <a:gd name="connsiteY323" fmla="*/ 726745 h 1237129"/>
              <a:gd name="connsiteX324" fmla="*/ 709535 w 3751729"/>
              <a:gd name="connsiteY324" fmla="*/ 724284 h 1237129"/>
              <a:gd name="connsiteX325" fmla="*/ 707812 w 3751729"/>
              <a:gd name="connsiteY325" fmla="*/ 720838 h 1237129"/>
              <a:gd name="connsiteX326" fmla="*/ 707812 w 3751729"/>
              <a:gd name="connsiteY326" fmla="*/ 718376 h 1237129"/>
              <a:gd name="connsiteX327" fmla="*/ 2981766 w 3751729"/>
              <a:gd name="connsiteY327" fmla="*/ 706561 h 1237129"/>
              <a:gd name="connsiteX328" fmla="*/ 2984227 w 3751729"/>
              <a:gd name="connsiteY328" fmla="*/ 709022 h 1237129"/>
              <a:gd name="connsiteX329" fmla="*/ 2985950 w 3751729"/>
              <a:gd name="connsiteY329" fmla="*/ 712468 h 1237129"/>
              <a:gd name="connsiteX330" fmla="*/ 2987428 w 3751729"/>
              <a:gd name="connsiteY330" fmla="*/ 714930 h 1237129"/>
              <a:gd name="connsiteX331" fmla="*/ 2987428 w 3751729"/>
              <a:gd name="connsiteY331" fmla="*/ 719115 h 1237129"/>
              <a:gd name="connsiteX332" fmla="*/ 2987428 w 3751729"/>
              <a:gd name="connsiteY332" fmla="*/ 725022 h 1237129"/>
              <a:gd name="connsiteX333" fmla="*/ 2975858 w 3751729"/>
              <a:gd name="connsiteY333" fmla="*/ 754316 h 1237129"/>
              <a:gd name="connsiteX334" fmla="*/ 2970196 w 3751729"/>
              <a:gd name="connsiteY334" fmla="*/ 746931 h 1237129"/>
              <a:gd name="connsiteX335" fmla="*/ 2967735 w 3751729"/>
              <a:gd name="connsiteY335" fmla="*/ 740284 h 1237129"/>
              <a:gd name="connsiteX336" fmla="*/ 2966011 w 3751729"/>
              <a:gd name="connsiteY336" fmla="*/ 728469 h 1237129"/>
              <a:gd name="connsiteX337" fmla="*/ 701166 w 3751729"/>
              <a:gd name="connsiteY337" fmla="*/ 693268 h 1237129"/>
              <a:gd name="connsiteX338" fmla="*/ 719382 w 3751729"/>
              <a:gd name="connsiteY338" fmla="*/ 693268 h 1237129"/>
              <a:gd name="connsiteX339" fmla="*/ 721104 w 3751729"/>
              <a:gd name="connsiteY339" fmla="*/ 695729 h 1237129"/>
              <a:gd name="connsiteX340" fmla="*/ 724304 w 3751729"/>
              <a:gd name="connsiteY340" fmla="*/ 697452 h 1237129"/>
              <a:gd name="connsiteX341" fmla="*/ 724304 w 3751729"/>
              <a:gd name="connsiteY341" fmla="*/ 699176 h 1237129"/>
              <a:gd name="connsiteX342" fmla="*/ 725043 w 3751729"/>
              <a:gd name="connsiteY342" fmla="*/ 700652 h 1237129"/>
              <a:gd name="connsiteX343" fmla="*/ 725043 w 3751729"/>
              <a:gd name="connsiteY343" fmla="*/ 701637 h 1237129"/>
              <a:gd name="connsiteX344" fmla="*/ 724304 w 3751729"/>
              <a:gd name="connsiteY344" fmla="*/ 703361 h 1237129"/>
              <a:gd name="connsiteX345" fmla="*/ 724304 w 3751729"/>
              <a:gd name="connsiteY345" fmla="*/ 706561 h 1237129"/>
              <a:gd name="connsiteX346" fmla="*/ 719382 w 3751729"/>
              <a:gd name="connsiteY346" fmla="*/ 703361 h 1237129"/>
              <a:gd name="connsiteX347" fmla="*/ 715197 w 3751729"/>
              <a:gd name="connsiteY347" fmla="*/ 701637 h 1237129"/>
              <a:gd name="connsiteX348" fmla="*/ 711012 w 3751729"/>
              <a:gd name="connsiteY348" fmla="*/ 701637 h 1237129"/>
              <a:gd name="connsiteX349" fmla="*/ 707812 w 3751729"/>
              <a:gd name="connsiteY349" fmla="*/ 700652 h 1237129"/>
              <a:gd name="connsiteX350" fmla="*/ 705350 w 3751729"/>
              <a:gd name="connsiteY350" fmla="*/ 700652 h 1237129"/>
              <a:gd name="connsiteX351" fmla="*/ 701904 w 3751729"/>
              <a:gd name="connsiteY351" fmla="*/ 699176 h 1237129"/>
              <a:gd name="connsiteX352" fmla="*/ 701166 w 3751729"/>
              <a:gd name="connsiteY352" fmla="*/ 695729 h 1237129"/>
              <a:gd name="connsiteX353" fmla="*/ 3074318 w 3751729"/>
              <a:gd name="connsiteY353" fmla="*/ 638622 h 1237129"/>
              <a:gd name="connsiteX354" fmla="*/ 3076780 w 3751729"/>
              <a:gd name="connsiteY354" fmla="*/ 640346 h 1237129"/>
              <a:gd name="connsiteX355" fmla="*/ 3078256 w 3751729"/>
              <a:gd name="connsiteY355" fmla="*/ 640346 h 1237129"/>
              <a:gd name="connsiteX356" fmla="*/ 3078256 w 3751729"/>
              <a:gd name="connsiteY356" fmla="*/ 642068 h 1237129"/>
              <a:gd name="connsiteX357" fmla="*/ 3079980 w 3751729"/>
              <a:gd name="connsiteY357" fmla="*/ 644530 h 1237129"/>
              <a:gd name="connsiteX358" fmla="*/ 3079980 w 3751729"/>
              <a:gd name="connsiteY358" fmla="*/ 647977 h 1237129"/>
              <a:gd name="connsiteX359" fmla="*/ 3078256 w 3751729"/>
              <a:gd name="connsiteY359" fmla="*/ 652161 h 1237129"/>
              <a:gd name="connsiteX360" fmla="*/ 3075056 w 3751729"/>
              <a:gd name="connsiteY360" fmla="*/ 656345 h 1237129"/>
              <a:gd name="connsiteX361" fmla="*/ 3074318 w 3751729"/>
              <a:gd name="connsiteY361" fmla="*/ 660530 h 1237129"/>
              <a:gd name="connsiteX362" fmla="*/ 3066687 w 3751729"/>
              <a:gd name="connsiteY362" fmla="*/ 660530 h 1237129"/>
              <a:gd name="connsiteX363" fmla="*/ 3066687 w 3751729"/>
              <a:gd name="connsiteY363" fmla="*/ 650438 h 1237129"/>
              <a:gd name="connsiteX364" fmla="*/ 3069395 w 3751729"/>
              <a:gd name="connsiteY364" fmla="*/ 649454 h 1237129"/>
              <a:gd name="connsiteX365" fmla="*/ 3070871 w 3751729"/>
              <a:gd name="connsiteY365" fmla="*/ 646253 h 1237129"/>
              <a:gd name="connsiteX366" fmla="*/ 3072596 w 3751729"/>
              <a:gd name="connsiteY366" fmla="*/ 643792 h 1237129"/>
              <a:gd name="connsiteX367" fmla="*/ 3035426 w 3751729"/>
              <a:gd name="connsiteY367" fmla="*/ 599238 h 1237129"/>
              <a:gd name="connsiteX368" fmla="*/ 3045272 w 3751729"/>
              <a:gd name="connsiteY368" fmla="*/ 599238 h 1237129"/>
              <a:gd name="connsiteX369" fmla="*/ 3045272 w 3751729"/>
              <a:gd name="connsiteY369" fmla="*/ 609331 h 1237129"/>
              <a:gd name="connsiteX370" fmla="*/ 3032226 w 3751729"/>
              <a:gd name="connsiteY370" fmla="*/ 609331 h 1237129"/>
              <a:gd name="connsiteX371" fmla="*/ 3032226 w 3751729"/>
              <a:gd name="connsiteY371" fmla="*/ 602684 h 1237129"/>
              <a:gd name="connsiteX372" fmla="*/ 3035426 w 3751729"/>
              <a:gd name="connsiteY372" fmla="*/ 602684 h 1237129"/>
              <a:gd name="connsiteX373" fmla="*/ 1985586 w 3751729"/>
              <a:gd name="connsiteY373" fmla="*/ 571424 h 1237129"/>
              <a:gd name="connsiteX374" fmla="*/ 1992971 w 3751729"/>
              <a:gd name="connsiteY374" fmla="*/ 571424 h 1237129"/>
              <a:gd name="connsiteX375" fmla="*/ 1989771 w 3751729"/>
              <a:gd name="connsiteY375" fmla="*/ 575609 h 1237129"/>
              <a:gd name="connsiteX376" fmla="*/ 1987309 w 3751729"/>
              <a:gd name="connsiteY376" fmla="*/ 579053 h 1237129"/>
              <a:gd name="connsiteX377" fmla="*/ 1983863 w 3751729"/>
              <a:gd name="connsiteY377" fmla="*/ 581514 h 1237129"/>
              <a:gd name="connsiteX378" fmla="*/ 1981401 w 3751729"/>
              <a:gd name="connsiteY378" fmla="*/ 584961 h 1237129"/>
              <a:gd name="connsiteX379" fmla="*/ 1976479 w 3751729"/>
              <a:gd name="connsiteY379" fmla="*/ 587422 h 1237129"/>
              <a:gd name="connsiteX380" fmla="*/ 1974017 w 3751729"/>
              <a:gd name="connsiteY380" fmla="*/ 587422 h 1237129"/>
              <a:gd name="connsiteX381" fmla="*/ 1974017 w 3751729"/>
              <a:gd name="connsiteY381" fmla="*/ 589145 h 1237129"/>
              <a:gd name="connsiteX382" fmla="*/ 1972294 w 3751729"/>
              <a:gd name="connsiteY382" fmla="*/ 589145 h 1237129"/>
              <a:gd name="connsiteX383" fmla="*/ 1969832 w 3751729"/>
              <a:gd name="connsiteY383" fmla="*/ 589145 h 1237129"/>
              <a:gd name="connsiteX384" fmla="*/ 1966632 w 3751729"/>
              <a:gd name="connsiteY384" fmla="*/ 590868 h 1237129"/>
              <a:gd name="connsiteX385" fmla="*/ 1964171 w 3751729"/>
              <a:gd name="connsiteY385" fmla="*/ 579792 h 1237129"/>
              <a:gd name="connsiteX386" fmla="*/ 1969832 w 3751729"/>
              <a:gd name="connsiteY386" fmla="*/ 579053 h 1237129"/>
              <a:gd name="connsiteX387" fmla="*/ 1975740 w 3751729"/>
              <a:gd name="connsiteY387" fmla="*/ 575609 h 1237129"/>
              <a:gd name="connsiteX388" fmla="*/ 1981401 w 3751729"/>
              <a:gd name="connsiteY388" fmla="*/ 574133 h 1237129"/>
              <a:gd name="connsiteX389" fmla="*/ 1865710 w 3751729"/>
              <a:gd name="connsiteY389" fmla="*/ 567240 h 1237129"/>
              <a:gd name="connsiteX390" fmla="*/ 1873341 w 3751729"/>
              <a:gd name="connsiteY390" fmla="*/ 569949 h 1237129"/>
              <a:gd name="connsiteX391" fmla="*/ 1881464 w 3751729"/>
              <a:gd name="connsiteY391" fmla="*/ 573149 h 1237129"/>
              <a:gd name="connsiteX392" fmla="*/ 1891310 w 3751729"/>
              <a:gd name="connsiteY392" fmla="*/ 575609 h 1237129"/>
              <a:gd name="connsiteX393" fmla="*/ 1897218 w 3751729"/>
              <a:gd name="connsiteY393" fmla="*/ 579793 h 1237129"/>
              <a:gd name="connsiteX394" fmla="*/ 1874080 w 3751729"/>
              <a:gd name="connsiteY394" fmla="*/ 579793 h 1237129"/>
              <a:gd name="connsiteX395" fmla="*/ 1871618 w 3751729"/>
              <a:gd name="connsiteY395" fmla="*/ 579053 h 1237129"/>
              <a:gd name="connsiteX396" fmla="*/ 1869895 w 3751729"/>
              <a:gd name="connsiteY396" fmla="*/ 579053 h 1237129"/>
              <a:gd name="connsiteX397" fmla="*/ 1867434 w 3751729"/>
              <a:gd name="connsiteY397" fmla="*/ 577331 h 1237129"/>
              <a:gd name="connsiteX398" fmla="*/ 1861772 w 3751729"/>
              <a:gd name="connsiteY398" fmla="*/ 577331 h 1237129"/>
              <a:gd name="connsiteX399" fmla="*/ 1861772 w 3751729"/>
              <a:gd name="connsiteY399" fmla="*/ 574133 h 1237129"/>
              <a:gd name="connsiteX400" fmla="*/ 1863249 w 3751729"/>
              <a:gd name="connsiteY400" fmla="*/ 573149 h 1237129"/>
              <a:gd name="connsiteX401" fmla="*/ 1864233 w 3751729"/>
              <a:gd name="connsiteY401" fmla="*/ 571425 h 1237129"/>
              <a:gd name="connsiteX402" fmla="*/ 1864233 w 3751729"/>
              <a:gd name="connsiteY402" fmla="*/ 569949 h 1237129"/>
              <a:gd name="connsiteX403" fmla="*/ 1608239 w 3751729"/>
              <a:gd name="connsiteY403" fmla="*/ 510379 h 1237129"/>
              <a:gd name="connsiteX404" fmla="*/ 1627932 w 3751729"/>
              <a:gd name="connsiteY404" fmla="*/ 510379 h 1237129"/>
              <a:gd name="connsiteX405" fmla="*/ 1627932 w 3751729"/>
              <a:gd name="connsiteY405" fmla="*/ 512840 h 1237129"/>
              <a:gd name="connsiteX406" fmla="*/ 1623747 w 3751729"/>
              <a:gd name="connsiteY406" fmla="*/ 514564 h 1237129"/>
              <a:gd name="connsiteX407" fmla="*/ 1622269 w 3751729"/>
              <a:gd name="connsiteY407" fmla="*/ 516041 h 1237129"/>
              <a:gd name="connsiteX408" fmla="*/ 1619561 w 3751729"/>
              <a:gd name="connsiteY408" fmla="*/ 517025 h 1237129"/>
              <a:gd name="connsiteX409" fmla="*/ 1616362 w 3751729"/>
              <a:gd name="connsiteY409" fmla="*/ 518748 h 1237129"/>
              <a:gd name="connsiteX410" fmla="*/ 1612177 w 3751729"/>
              <a:gd name="connsiteY410" fmla="*/ 518748 h 1237129"/>
              <a:gd name="connsiteX411" fmla="*/ 1913957 w 3751729"/>
              <a:gd name="connsiteY411" fmla="*/ 493394 h 1237129"/>
              <a:gd name="connsiteX412" fmla="*/ 1912234 w 3751729"/>
              <a:gd name="connsiteY412" fmla="*/ 495118 h 1237129"/>
              <a:gd name="connsiteX413" fmla="*/ 1910511 w 3751729"/>
              <a:gd name="connsiteY413" fmla="*/ 496840 h 1237129"/>
              <a:gd name="connsiteX414" fmla="*/ 1908787 w 3751729"/>
              <a:gd name="connsiteY414" fmla="*/ 496840 h 1237129"/>
              <a:gd name="connsiteX415" fmla="*/ 1908787 w 3751729"/>
              <a:gd name="connsiteY415" fmla="*/ 498563 h 1237129"/>
              <a:gd name="connsiteX416" fmla="*/ 1908049 w 3751729"/>
              <a:gd name="connsiteY416" fmla="*/ 499302 h 1237129"/>
              <a:gd name="connsiteX417" fmla="*/ 1906819 w 3751729"/>
              <a:gd name="connsiteY417" fmla="*/ 502749 h 1237129"/>
              <a:gd name="connsiteX418" fmla="*/ 1909280 w 3751729"/>
              <a:gd name="connsiteY418" fmla="*/ 502749 h 1237129"/>
              <a:gd name="connsiteX419" fmla="*/ 1914203 w 3751729"/>
              <a:gd name="connsiteY419" fmla="*/ 501025 h 1237129"/>
              <a:gd name="connsiteX420" fmla="*/ 1916665 w 3751729"/>
              <a:gd name="connsiteY420" fmla="*/ 499302 h 1237129"/>
              <a:gd name="connsiteX421" fmla="*/ 1919864 w 3751729"/>
              <a:gd name="connsiteY421" fmla="*/ 498563 h 1237129"/>
              <a:gd name="connsiteX422" fmla="*/ 1922326 w 3751729"/>
              <a:gd name="connsiteY422" fmla="*/ 496840 h 1237129"/>
              <a:gd name="connsiteX423" fmla="*/ 1925526 w 3751729"/>
              <a:gd name="connsiteY423" fmla="*/ 493394 h 1237129"/>
              <a:gd name="connsiteX424" fmla="*/ 1697345 w 3751729"/>
              <a:gd name="connsiteY424" fmla="*/ 493394 h 1237129"/>
              <a:gd name="connsiteX425" fmla="*/ 1701530 w 3751729"/>
              <a:gd name="connsiteY425" fmla="*/ 493394 h 1237129"/>
              <a:gd name="connsiteX426" fmla="*/ 1707192 w 3751729"/>
              <a:gd name="connsiteY426" fmla="*/ 493394 h 1237129"/>
              <a:gd name="connsiteX427" fmla="*/ 1708914 w 3751729"/>
              <a:gd name="connsiteY427" fmla="*/ 506934 h 1237129"/>
              <a:gd name="connsiteX428" fmla="*/ 1710639 w 3751729"/>
              <a:gd name="connsiteY428" fmla="*/ 522933 h 1237129"/>
              <a:gd name="connsiteX429" fmla="*/ 1703008 w 3751729"/>
              <a:gd name="connsiteY429" fmla="*/ 522933 h 1237129"/>
              <a:gd name="connsiteX430" fmla="*/ 1701530 w 3751729"/>
              <a:gd name="connsiteY430" fmla="*/ 524410 h 1237129"/>
              <a:gd name="connsiteX431" fmla="*/ 1699068 w 3751729"/>
              <a:gd name="connsiteY431" fmla="*/ 524410 h 1237129"/>
              <a:gd name="connsiteX432" fmla="*/ 1695621 w 3751729"/>
              <a:gd name="connsiteY432" fmla="*/ 524410 h 1237129"/>
              <a:gd name="connsiteX433" fmla="*/ 1691438 w 3751729"/>
              <a:gd name="connsiteY433" fmla="*/ 526133 h 1237129"/>
              <a:gd name="connsiteX434" fmla="*/ 1689960 w 3751729"/>
              <a:gd name="connsiteY434" fmla="*/ 514564 h 1237129"/>
              <a:gd name="connsiteX435" fmla="*/ 1689960 w 3751729"/>
              <a:gd name="connsiteY435" fmla="*/ 502749 h 1237129"/>
              <a:gd name="connsiteX436" fmla="*/ 1691438 w 3751729"/>
              <a:gd name="connsiteY436" fmla="*/ 496840 h 1237129"/>
              <a:gd name="connsiteX437" fmla="*/ 1693899 w 3751729"/>
              <a:gd name="connsiteY437" fmla="*/ 495118 h 1237129"/>
              <a:gd name="connsiteX438" fmla="*/ 1699807 w 3751729"/>
              <a:gd name="connsiteY438" fmla="*/ 464841 h 1237129"/>
              <a:gd name="connsiteX439" fmla="*/ 1707192 w 3751729"/>
              <a:gd name="connsiteY439" fmla="*/ 464841 h 1237129"/>
              <a:gd name="connsiteX440" fmla="*/ 1705468 w 3751729"/>
              <a:gd name="connsiteY440" fmla="*/ 470750 h 1237129"/>
              <a:gd name="connsiteX441" fmla="*/ 1705468 w 3751729"/>
              <a:gd name="connsiteY441" fmla="*/ 474934 h 1237129"/>
              <a:gd name="connsiteX442" fmla="*/ 1705468 w 3751729"/>
              <a:gd name="connsiteY442" fmla="*/ 479119 h 1237129"/>
              <a:gd name="connsiteX443" fmla="*/ 1704729 w 3751729"/>
              <a:gd name="connsiteY443" fmla="*/ 482565 h 1237129"/>
              <a:gd name="connsiteX444" fmla="*/ 1703007 w 3751729"/>
              <a:gd name="connsiteY444" fmla="*/ 486750 h 1237129"/>
              <a:gd name="connsiteX445" fmla="*/ 1697345 w 3751729"/>
              <a:gd name="connsiteY445" fmla="*/ 486750 h 1237129"/>
              <a:gd name="connsiteX446" fmla="*/ 1697345 w 3751729"/>
              <a:gd name="connsiteY446" fmla="*/ 480841 h 1237129"/>
              <a:gd name="connsiteX447" fmla="*/ 1699068 w 3751729"/>
              <a:gd name="connsiteY447" fmla="*/ 474934 h 1237129"/>
              <a:gd name="connsiteX448" fmla="*/ 1699068 w 3751729"/>
              <a:gd name="connsiteY448" fmla="*/ 469272 h 1237129"/>
              <a:gd name="connsiteX449" fmla="*/ 757274 w 3751729"/>
              <a:gd name="connsiteY449" fmla="*/ 424736 h 1237129"/>
              <a:gd name="connsiteX450" fmla="*/ 755814 w 3751729"/>
              <a:gd name="connsiteY450" fmla="*/ 426195 h 1237129"/>
              <a:gd name="connsiteX451" fmla="*/ 754104 w 3751729"/>
              <a:gd name="connsiteY451" fmla="*/ 427905 h 1237129"/>
              <a:gd name="connsiteX452" fmla="*/ 755812 w 3751729"/>
              <a:gd name="connsiteY452" fmla="*/ 426441 h 1237129"/>
              <a:gd name="connsiteX453" fmla="*/ 3219548 w 3751729"/>
              <a:gd name="connsiteY453" fmla="*/ 424717 h 1237129"/>
              <a:gd name="connsiteX454" fmla="*/ 3226933 w 3751729"/>
              <a:gd name="connsiteY454" fmla="*/ 435548 h 1237129"/>
              <a:gd name="connsiteX455" fmla="*/ 3233579 w 3751729"/>
              <a:gd name="connsiteY455" fmla="*/ 441455 h 1237129"/>
              <a:gd name="connsiteX456" fmla="*/ 3242687 w 3751729"/>
              <a:gd name="connsiteY456" fmla="*/ 443917 h 1237129"/>
              <a:gd name="connsiteX457" fmla="*/ 3248595 w 3751729"/>
              <a:gd name="connsiteY457" fmla="*/ 447363 h 1237129"/>
              <a:gd name="connsiteX458" fmla="*/ 3254257 w 3751729"/>
              <a:gd name="connsiteY458" fmla="*/ 451548 h 1237129"/>
              <a:gd name="connsiteX459" fmla="*/ 3255979 w 3751729"/>
              <a:gd name="connsiteY459" fmla="*/ 454009 h 1237129"/>
              <a:gd name="connsiteX460" fmla="*/ 3256717 w 3751729"/>
              <a:gd name="connsiteY460" fmla="*/ 457455 h 1237129"/>
              <a:gd name="connsiteX461" fmla="*/ 3256717 w 3751729"/>
              <a:gd name="connsiteY461" fmla="*/ 459917 h 1237129"/>
              <a:gd name="connsiteX462" fmla="*/ 3256717 w 3751729"/>
              <a:gd name="connsiteY462" fmla="*/ 464840 h 1237129"/>
              <a:gd name="connsiteX463" fmla="*/ 3246871 w 3751729"/>
              <a:gd name="connsiteY463" fmla="*/ 467548 h 1237129"/>
              <a:gd name="connsiteX464" fmla="*/ 3239487 w 3751729"/>
              <a:gd name="connsiteY464" fmla="*/ 473455 h 1237129"/>
              <a:gd name="connsiteX465" fmla="*/ 3233579 w 3751729"/>
              <a:gd name="connsiteY465" fmla="*/ 479117 h 1237129"/>
              <a:gd name="connsiteX466" fmla="*/ 3225457 w 3751729"/>
              <a:gd name="connsiteY466" fmla="*/ 483301 h 1237129"/>
              <a:gd name="connsiteX467" fmla="*/ 3222010 w 3751729"/>
              <a:gd name="connsiteY467" fmla="*/ 479117 h 1237129"/>
              <a:gd name="connsiteX468" fmla="*/ 3219548 w 3751729"/>
              <a:gd name="connsiteY468" fmla="*/ 477639 h 1237129"/>
              <a:gd name="connsiteX469" fmla="*/ 3217087 w 3751729"/>
              <a:gd name="connsiteY469" fmla="*/ 476655 h 1237129"/>
              <a:gd name="connsiteX470" fmla="*/ 3213887 w 3751729"/>
              <a:gd name="connsiteY470" fmla="*/ 477639 h 1237129"/>
              <a:gd name="connsiteX471" fmla="*/ 3211426 w 3751729"/>
              <a:gd name="connsiteY471" fmla="*/ 479117 h 1237129"/>
              <a:gd name="connsiteX472" fmla="*/ 3209702 w 3751729"/>
              <a:gd name="connsiteY472" fmla="*/ 482563 h 1237129"/>
              <a:gd name="connsiteX473" fmla="*/ 3206502 w 3751729"/>
              <a:gd name="connsiteY473" fmla="*/ 483301 h 1237129"/>
              <a:gd name="connsiteX474" fmla="*/ 3211426 w 3751729"/>
              <a:gd name="connsiteY474" fmla="*/ 501024 h 1237129"/>
              <a:gd name="connsiteX475" fmla="*/ 3212164 w 3751729"/>
              <a:gd name="connsiteY475" fmla="*/ 514563 h 1237129"/>
              <a:gd name="connsiteX476" fmla="*/ 3212164 w 3751729"/>
              <a:gd name="connsiteY476" fmla="*/ 524409 h 1237129"/>
              <a:gd name="connsiteX477" fmla="*/ 3211426 w 3751729"/>
              <a:gd name="connsiteY477" fmla="*/ 534501 h 1237129"/>
              <a:gd name="connsiteX478" fmla="*/ 3207980 w 3751729"/>
              <a:gd name="connsiteY478" fmla="*/ 545578 h 1237129"/>
              <a:gd name="connsiteX479" fmla="*/ 3205518 w 3751729"/>
              <a:gd name="connsiteY479" fmla="*/ 559855 h 1237129"/>
              <a:gd name="connsiteX480" fmla="*/ 3203795 w 3751729"/>
              <a:gd name="connsiteY480" fmla="*/ 577330 h 1237129"/>
              <a:gd name="connsiteX481" fmla="*/ 3184841 w 3751729"/>
              <a:gd name="connsiteY481" fmla="*/ 587423 h 1237129"/>
              <a:gd name="connsiteX482" fmla="*/ 3163425 w 3751729"/>
              <a:gd name="connsiteY482" fmla="*/ 597515 h 1237129"/>
              <a:gd name="connsiteX483" fmla="*/ 3142749 w 3751729"/>
              <a:gd name="connsiteY483" fmla="*/ 606868 h 1237129"/>
              <a:gd name="connsiteX484" fmla="*/ 3138564 w 3751729"/>
              <a:gd name="connsiteY484" fmla="*/ 599238 h 1237129"/>
              <a:gd name="connsiteX485" fmla="*/ 3134625 w 3751729"/>
              <a:gd name="connsiteY485" fmla="*/ 593330 h 1237129"/>
              <a:gd name="connsiteX486" fmla="*/ 3132903 w 3751729"/>
              <a:gd name="connsiteY486" fmla="*/ 599238 h 1237129"/>
              <a:gd name="connsiteX487" fmla="*/ 3132903 w 3751729"/>
              <a:gd name="connsiteY487" fmla="*/ 602684 h 1237129"/>
              <a:gd name="connsiteX488" fmla="*/ 3132165 w 3751729"/>
              <a:gd name="connsiteY488" fmla="*/ 606868 h 1237129"/>
              <a:gd name="connsiteX489" fmla="*/ 3130441 w 3751729"/>
              <a:gd name="connsiteY489" fmla="*/ 609330 h 1237129"/>
              <a:gd name="connsiteX490" fmla="*/ 3126257 w 3751729"/>
              <a:gd name="connsiteY490" fmla="*/ 609330 h 1237129"/>
              <a:gd name="connsiteX491" fmla="*/ 3123056 w 3751729"/>
              <a:gd name="connsiteY491" fmla="*/ 609330 h 1237129"/>
              <a:gd name="connsiteX492" fmla="*/ 3121333 w 3751729"/>
              <a:gd name="connsiteY492" fmla="*/ 611053 h 1237129"/>
              <a:gd name="connsiteX493" fmla="*/ 3120595 w 3751729"/>
              <a:gd name="connsiteY493" fmla="*/ 611053 h 1237129"/>
              <a:gd name="connsiteX494" fmla="*/ 3118873 w 3751729"/>
              <a:gd name="connsiteY494" fmla="*/ 612530 h 1237129"/>
              <a:gd name="connsiteX495" fmla="*/ 3117149 w 3751729"/>
              <a:gd name="connsiteY495" fmla="*/ 614253 h 1237129"/>
              <a:gd name="connsiteX496" fmla="*/ 3112964 w 3751729"/>
              <a:gd name="connsiteY496" fmla="*/ 614253 h 1237129"/>
              <a:gd name="connsiteX497" fmla="*/ 3109026 w 3751729"/>
              <a:gd name="connsiteY497" fmla="*/ 615238 h 1237129"/>
              <a:gd name="connsiteX498" fmla="*/ 3107303 w 3751729"/>
              <a:gd name="connsiteY498" fmla="*/ 612530 h 1237129"/>
              <a:gd name="connsiteX499" fmla="*/ 3107303 w 3751729"/>
              <a:gd name="connsiteY499" fmla="*/ 608346 h 1237129"/>
              <a:gd name="connsiteX500" fmla="*/ 3107303 w 3751729"/>
              <a:gd name="connsiteY500" fmla="*/ 606868 h 1237129"/>
              <a:gd name="connsiteX501" fmla="*/ 3107303 w 3751729"/>
              <a:gd name="connsiteY501" fmla="*/ 603422 h 1237129"/>
              <a:gd name="connsiteX502" fmla="*/ 3107303 w 3751729"/>
              <a:gd name="connsiteY502" fmla="*/ 602684 h 1237129"/>
              <a:gd name="connsiteX503" fmla="*/ 3103856 w 3751729"/>
              <a:gd name="connsiteY503" fmla="*/ 602684 h 1237129"/>
              <a:gd name="connsiteX504" fmla="*/ 3101395 w 3751729"/>
              <a:gd name="connsiteY504" fmla="*/ 600961 h 1237129"/>
              <a:gd name="connsiteX505" fmla="*/ 3095734 w 3751729"/>
              <a:gd name="connsiteY505" fmla="*/ 599238 h 1237129"/>
              <a:gd name="connsiteX506" fmla="*/ 3095734 w 3751729"/>
              <a:gd name="connsiteY506" fmla="*/ 602684 h 1237129"/>
              <a:gd name="connsiteX507" fmla="*/ 3098194 w 3751729"/>
              <a:gd name="connsiteY507" fmla="*/ 606868 h 1237129"/>
              <a:gd name="connsiteX508" fmla="*/ 3101395 w 3751729"/>
              <a:gd name="connsiteY508" fmla="*/ 608346 h 1237129"/>
              <a:gd name="connsiteX509" fmla="*/ 3101395 w 3751729"/>
              <a:gd name="connsiteY509" fmla="*/ 611053 h 1237129"/>
              <a:gd name="connsiteX510" fmla="*/ 3101395 w 3751729"/>
              <a:gd name="connsiteY510" fmla="*/ 615238 h 1237129"/>
              <a:gd name="connsiteX511" fmla="*/ 3103118 w 3751729"/>
              <a:gd name="connsiteY511" fmla="*/ 622623 h 1237129"/>
              <a:gd name="connsiteX512" fmla="*/ 3098194 w 3751729"/>
              <a:gd name="connsiteY512" fmla="*/ 626807 h 1237129"/>
              <a:gd name="connsiteX513" fmla="*/ 3095734 w 3751729"/>
              <a:gd name="connsiteY513" fmla="*/ 632715 h 1237129"/>
              <a:gd name="connsiteX514" fmla="*/ 3092288 w 3751729"/>
              <a:gd name="connsiteY514" fmla="*/ 638621 h 1237129"/>
              <a:gd name="connsiteX515" fmla="*/ 3082442 w 3751729"/>
              <a:gd name="connsiteY515" fmla="*/ 638621 h 1237129"/>
              <a:gd name="connsiteX516" fmla="*/ 3080964 w 3751729"/>
              <a:gd name="connsiteY516" fmla="*/ 626807 h 1237129"/>
              <a:gd name="connsiteX517" fmla="*/ 3079980 w 3751729"/>
              <a:gd name="connsiteY517" fmla="*/ 620899 h 1237129"/>
              <a:gd name="connsiteX518" fmla="*/ 3076779 w 3751729"/>
              <a:gd name="connsiteY518" fmla="*/ 615238 h 1237129"/>
              <a:gd name="connsiteX519" fmla="*/ 3074318 w 3751729"/>
              <a:gd name="connsiteY519" fmla="*/ 606868 h 1237129"/>
              <a:gd name="connsiteX520" fmla="*/ 3082442 w 3751729"/>
              <a:gd name="connsiteY520" fmla="*/ 606868 h 1237129"/>
              <a:gd name="connsiteX521" fmla="*/ 3092288 w 3751729"/>
              <a:gd name="connsiteY521" fmla="*/ 593330 h 1237129"/>
              <a:gd name="connsiteX522" fmla="*/ 3105579 w 3751729"/>
              <a:gd name="connsiteY522" fmla="*/ 581515 h 1237129"/>
              <a:gd name="connsiteX523" fmla="*/ 3121333 w 3751729"/>
              <a:gd name="connsiteY523" fmla="*/ 574132 h 1237129"/>
              <a:gd name="connsiteX524" fmla="*/ 3126994 w 3751729"/>
              <a:gd name="connsiteY524" fmla="*/ 573148 h 1237129"/>
              <a:gd name="connsiteX525" fmla="*/ 3132903 w 3751729"/>
              <a:gd name="connsiteY525" fmla="*/ 573148 h 1237129"/>
              <a:gd name="connsiteX526" fmla="*/ 3137825 w 3751729"/>
              <a:gd name="connsiteY526" fmla="*/ 574132 h 1237129"/>
              <a:gd name="connsiteX527" fmla="*/ 3140288 w 3751729"/>
              <a:gd name="connsiteY527" fmla="*/ 574132 h 1237129"/>
              <a:gd name="connsiteX528" fmla="*/ 3142749 w 3751729"/>
              <a:gd name="connsiteY528" fmla="*/ 574132 h 1237129"/>
              <a:gd name="connsiteX529" fmla="*/ 3146195 w 3751729"/>
              <a:gd name="connsiteY529" fmla="*/ 569947 h 1237129"/>
              <a:gd name="connsiteX530" fmla="*/ 3148656 w 3751729"/>
              <a:gd name="connsiteY530" fmla="*/ 565763 h 1237129"/>
              <a:gd name="connsiteX531" fmla="*/ 3150133 w 3751729"/>
              <a:gd name="connsiteY531" fmla="*/ 561331 h 1237129"/>
              <a:gd name="connsiteX532" fmla="*/ 3151856 w 3751729"/>
              <a:gd name="connsiteY532" fmla="*/ 558132 h 1237129"/>
              <a:gd name="connsiteX533" fmla="*/ 3154318 w 3751729"/>
              <a:gd name="connsiteY533" fmla="*/ 553947 h 1237129"/>
              <a:gd name="connsiteX534" fmla="*/ 3159241 w 3751729"/>
              <a:gd name="connsiteY534" fmla="*/ 551486 h 1237129"/>
              <a:gd name="connsiteX535" fmla="*/ 3160226 w 3751729"/>
              <a:gd name="connsiteY535" fmla="*/ 553947 h 1237129"/>
              <a:gd name="connsiteX536" fmla="*/ 3161703 w 3751729"/>
              <a:gd name="connsiteY536" fmla="*/ 555671 h 1237129"/>
              <a:gd name="connsiteX537" fmla="*/ 3163425 w 3751729"/>
              <a:gd name="connsiteY537" fmla="*/ 555671 h 1237129"/>
              <a:gd name="connsiteX538" fmla="*/ 3165150 w 3751729"/>
              <a:gd name="connsiteY538" fmla="*/ 555671 h 1237129"/>
              <a:gd name="connsiteX539" fmla="*/ 3165887 w 3751729"/>
              <a:gd name="connsiteY539" fmla="*/ 553947 h 1237129"/>
              <a:gd name="connsiteX540" fmla="*/ 3177456 w 3751729"/>
              <a:gd name="connsiteY540" fmla="*/ 543855 h 1237129"/>
              <a:gd name="connsiteX541" fmla="*/ 3184841 w 3751729"/>
              <a:gd name="connsiteY541" fmla="*/ 534501 h 1237129"/>
              <a:gd name="connsiteX542" fmla="*/ 3188288 w 3751729"/>
              <a:gd name="connsiteY542" fmla="*/ 524409 h 1237129"/>
              <a:gd name="connsiteX543" fmla="*/ 3190748 w 3751729"/>
              <a:gd name="connsiteY543" fmla="*/ 512840 h 1237129"/>
              <a:gd name="connsiteX544" fmla="*/ 3194933 w 3751729"/>
              <a:gd name="connsiteY544" fmla="*/ 502747 h 1237129"/>
              <a:gd name="connsiteX545" fmla="*/ 3203795 w 3751729"/>
              <a:gd name="connsiteY545" fmla="*/ 489209 h 1237129"/>
              <a:gd name="connsiteX546" fmla="*/ 3198133 w 3751729"/>
              <a:gd name="connsiteY546" fmla="*/ 489209 h 1237129"/>
              <a:gd name="connsiteX547" fmla="*/ 3193949 w 3751729"/>
              <a:gd name="connsiteY547" fmla="*/ 486747 h 1237129"/>
              <a:gd name="connsiteX548" fmla="*/ 3192472 w 3751729"/>
              <a:gd name="connsiteY548" fmla="*/ 483301 h 1237129"/>
              <a:gd name="connsiteX549" fmla="*/ 3190748 w 3751729"/>
              <a:gd name="connsiteY549" fmla="*/ 480841 h 1237129"/>
              <a:gd name="connsiteX550" fmla="*/ 3190748 w 3751729"/>
              <a:gd name="connsiteY550" fmla="*/ 474932 h 1237129"/>
              <a:gd name="connsiteX551" fmla="*/ 3190748 w 3751729"/>
              <a:gd name="connsiteY551" fmla="*/ 467548 h 1237129"/>
              <a:gd name="connsiteX552" fmla="*/ 3192472 w 3751729"/>
              <a:gd name="connsiteY552" fmla="*/ 465824 h 1237129"/>
              <a:gd name="connsiteX553" fmla="*/ 3193949 w 3751729"/>
              <a:gd name="connsiteY553" fmla="*/ 464840 h 1237129"/>
              <a:gd name="connsiteX554" fmla="*/ 3193949 w 3751729"/>
              <a:gd name="connsiteY554" fmla="*/ 463363 h 1237129"/>
              <a:gd name="connsiteX555" fmla="*/ 3193949 w 3751729"/>
              <a:gd name="connsiteY555" fmla="*/ 461640 h 1237129"/>
              <a:gd name="connsiteX556" fmla="*/ 3199856 w 3751729"/>
              <a:gd name="connsiteY556" fmla="*/ 459917 h 1237129"/>
              <a:gd name="connsiteX557" fmla="*/ 3203795 w 3751729"/>
              <a:gd name="connsiteY557" fmla="*/ 459917 h 1237129"/>
              <a:gd name="connsiteX558" fmla="*/ 3206502 w 3751729"/>
              <a:gd name="connsiteY558" fmla="*/ 459178 h 1237129"/>
              <a:gd name="connsiteX559" fmla="*/ 3209702 w 3751729"/>
              <a:gd name="connsiteY559" fmla="*/ 459178 h 1237129"/>
              <a:gd name="connsiteX560" fmla="*/ 3209702 w 3751729"/>
              <a:gd name="connsiteY560" fmla="*/ 443917 h 1237129"/>
              <a:gd name="connsiteX561" fmla="*/ 3212164 w 3751729"/>
              <a:gd name="connsiteY561" fmla="*/ 432348 h 1237129"/>
              <a:gd name="connsiteX562" fmla="*/ 763197 w 3751729"/>
              <a:gd name="connsiteY562" fmla="*/ 422258 h 1237129"/>
              <a:gd name="connsiteX563" fmla="*/ 761474 w 3751729"/>
              <a:gd name="connsiteY563" fmla="*/ 423733 h 1237129"/>
              <a:gd name="connsiteX564" fmla="*/ 759751 w 3751729"/>
              <a:gd name="connsiteY564" fmla="*/ 426442 h 1237129"/>
              <a:gd name="connsiteX565" fmla="*/ 759751 w 3751729"/>
              <a:gd name="connsiteY565" fmla="*/ 427918 h 1237129"/>
              <a:gd name="connsiteX566" fmla="*/ 759071 w 3751729"/>
              <a:gd name="connsiteY566" fmla="*/ 432000 h 1237129"/>
              <a:gd name="connsiteX567" fmla="*/ 759260 w 3751729"/>
              <a:gd name="connsiteY567" fmla="*/ 432103 h 1237129"/>
              <a:gd name="connsiteX568" fmla="*/ 759999 w 3751729"/>
              <a:gd name="connsiteY568" fmla="*/ 427918 h 1237129"/>
              <a:gd name="connsiteX569" fmla="*/ 759999 w 3751729"/>
              <a:gd name="connsiteY569" fmla="*/ 426195 h 1237129"/>
              <a:gd name="connsiteX570" fmla="*/ 761721 w 3751729"/>
              <a:gd name="connsiteY570" fmla="*/ 423733 h 1237129"/>
              <a:gd name="connsiteX571" fmla="*/ 1749281 w 3751729"/>
              <a:gd name="connsiteY571" fmla="*/ 422010 h 1237129"/>
              <a:gd name="connsiteX572" fmla="*/ 1748542 w 3751729"/>
              <a:gd name="connsiteY572" fmla="*/ 423733 h 1237129"/>
              <a:gd name="connsiteX573" fmla="*/ 1746819 w 3751729"/>
              <a:gd name="connsiteY573" fmla="*/ 423733 h 1237129"/>
              <a:gd name="connsiteX574" fmla="*/ 1745097 w 3751729"/>
              <a:gd name="connsiteY574" fmla="*/ 423733 h 1237129"/>
              <a:gd name="connsiteX575" fmla="*/ 1745097 w 3751729"/>
              <a:gd name="connsiteY575" fmla="*/ 424472 h 1237129"/>
              <a:gd name="connsiteX576" fmla="*/ 1743373 w 3751729"/>
              <a:gd name="connsiteY576" fmla="*/ 424472 h 1237129"/>
              <a:gd name="connsiteX577" fmla="*/ 1740911 w 3751729"/>
              <a:gd name="connsiteY577" fmla="*/ 427918 h 1237129"/>
              <a:gd name="connsiteX578" fmla="*/ 1737711 w 3751729"/>
              <a:gd name="connsiteY578" fmla="*/ 429640 h 1237129"/>
              <a:gd name="connsiteX579" fmla="*/ 1737711 w 3751729"/>
              <a:gd name="connsiteY579" fmla="*/ 430379 h 1237129"/>
              <a:gd name="connsiteX580" fmla="*/ 1737711 w 3751729"/>
              <a:gd name="connsiteY580" fmla="*/ 433825 h 1237129"/>
              <a:gd name="connsiteX581" fmla="*/ 1737711 w 3751729"/>
              <a:gd name="connsiteY581" fmla="*/ 436286 h 1237129"/>
              <a:gd name="connsiteX582" fmla="*/ 1737711 w 3751729"/>
              <a:gd name="connsiteY582" fmla="*/ 441210 h 1237129"/>
              <a:gd name="connsiteX583" fmla="*/ 1749281 w 3751729"/>
              <a:gd name="connsiteY583" fmla="*/ 453026 h 1237129"/>
              <a:gd name="connsiteX584" fmla="*/ 1760112 w 3751729"/>
              <a:gd name="connsiteY584" fmla="*/ 465578 h 1237129"/>
              <a:gd name="connsiteX585" fmla="*/ 1769958 w 3751729"/>
              <a:gd name="connsiteY585" fmla="*/ 480595 h 1237129"/>
              <a:gd name="connsiteX586" fmla="*/ 1781527 w 3751729"/>
              <a:gd name="connsiteY586" fmla="*/ 480595 h 1237129"/>
              <a:gd name="connsiteX587" fmla="*/ 1781527 w 3751729"/>
              <a:gd name="connsiteY587" fmla="*/ 488964 h 1237129"/>
              <a:gd name="connsiteX588" fmla="*/ 1793096 w 3751729"/>
              <a:gd name="connsiteY588" fmla="*/ 493147 h 1237129"/>
              <a:gd name="connsiteX589" fmla="*/ 1801465 w 3751729"/>
              <a:gd name="connsiteY589" fmla="*/ 499056 h 1237129"/>
              <a:gd name="connsiteX590" fmla="*/ 1810572 w 3751729"/>
              <a:gd name="connsiteY590" fmla="*/ 506687 h 1237129"/>
              <a:gd name="connsiteX591" fmla="*/ 1810572 w 3751729"/>
              <a:gd name="connsiteY591" fmla="*/ 510133 h 1237129"/>
              <a:gd name="connsiteX592" fmla="*/ 1807373 w 3751729"/>
              <a:gd name="connsiteY592" fmla="*/ 510133 h 1237129"/>
              <a:gd name="connsiteX593" fmla="*/ 1804911 w 3751729"/>
              <a:gd name="connsiteY593" fmla="*/ 510133 h 1237129"/>
              <a:gd name="connsiteX594" fmla="*/ 1801711 w 3751729"/>
              <a:gd name="connsiteY594" fmla="*/ 510133 h 1237129"/>
              <a:gd name="connsiteX595" fmla="*/ 1799988 w 3751729"/>
              <a:gd name="connsiteY595" fmla="*/ 510133 h 1237129"/>
              <a:gd name="connsiteX596" fmla="*/ 1797527 w 3751729"/>
              <a:gd name="connsiteY596" fmla="*/ 508409 h 1237129"/>
              <a:gd name="connsiteX597" fmla="*/ 1793342 w 3751729"/>
              <a:gd name="connsiteY597" fmla="*/ 506687 h 1237129"/>
              <a:gd name="connsiteX598" fmla="*/ 1789158 w 3751729"/>
              <a:gd name="connsiteY598" fmla="*/ 506687 h 1237129"/>
              <a:gd name="connsiteX599" fmla="*/ 1789158 w 3751729"/>
              <a:gd name="connsiteY599" fmla="*/ 510871 h 1237129"/>
              <a:gd name="connsiteX600" fmla="*/ 1789896 w 3751729"/>
              <a:gd name="connsiteY600" fmla="*/ 514317 h 1237129"/>
              <a:gd name="connsiteX601" fmla="*/ 1791619 w 3751729"/>
              <a:gd name="connsiteY601" fmla="*/ 516779 h 1237129"/>
              <a:gd name="connsiteX602" fmla="*/ 1791619 w 3751729"/>
              <a:gd name="connsiteY602" fmla="*/ 518501 h 1237129"/>
              <a:gd name="connsiteX603" fmla="*/ 1793342 w 3751729"/>
              <a:gd name="connsiteY603" fmla="*/ 521947 h 1237129"/>
              <a:gd name="connsiteX604" fmla="*/ 1794081 w 3751729"/>
              <a:gd name="connsiteY604" fmla="*/ 526132 h 1237129"/>
              <a:gd name="connsiteX605" fmla="*/ 1789896 w 3751729"/>
              <a:gd name="connsiteY605" fmla="*/ 528594 h 1237129"/>
              <a:gd name="connsiteX606" fmla="*/ 1787435 w 3751729"/>
              <a:gd name="connsiteY606" fmla="*/ 532040 h 1237129"/>
              <a:gd name="connsiteX607" fmla="*/ 1784235 w 3751729"/>
              <a:gd name="connsiteY607" fmla="*/ 536224 h 1237129"/>
              <a:gd name="connsiteX608" fmla="*/ 1781773 w 3751729"/>
              <a:gd name="connsiteY608" fmla="*/ 542133 h 1237129"/>
              <a:gd name="connsiteX609" fmla="*/ 1772666 w 3751729"/>
              <a:gd name="connsiteY609" fmla="*/ 542133 h 1237129"/>
              <a:gd name="connsiteX610" fmla="*/ 1772666 w 3751729"/>
              <a:gd name="connsiteY610" fmla="*/ 561578 h 1237129"/>
              <a:gd name="connsiteX611" fmla="*/ 1766020 w 3751729"/>
              <a:gd name="connsiteY611" fmla="*/ 561578 h 1237129"/>
              <a:gd name="connsiteX612" fmla="*/ 1758634 w 3751729"/>
              <a:gd name="connsiteY612" fmla="*/ 555672 h 1237129"/>
              <a:gd name="connsiteX613" fmla="*/ 1749528 w 3751729"/>
              <a:gd name="connsiteY613" fmla="*/ 552225 h 1237129"/>
              <a:gd name="connsiteX614" fmla="*/ 1742882 w 3751729"/>
              <a:gd name="connsiteY614" fmla="*/ 548040 h 1237129"/>
              <a:gd name="connsiteX615" fmla="*/ 1737958 w 3751729"/>
              <a:gd name="connsiteY615" fmla="*/ 537948 h 1237129"/>
              <a:gd name="connsiteX616" fmla="*/ 1749528 w 3751729"/>
              <a:gd name="connsiteY616" fmla="*/ 539671 h 1237129"/>
              <a:gd name="connsiteX617" fmla="*/ 1761096 w 3751729"/>
              <a:gd name="connsiteY617" fmla="*/ 537948 h 1237129"/>
              <a:gd name="connsiteX618" fmla="*/ 1770204 w 3751729"/>
              <a:gd name="connsiteY618" fmla="*/ 534502 h 1237129"/>
              <a:gd name="connsiteX619" fmla="*/ 1775866 w 3751729"/>
              <a:gd name="connsiteY619" fmla="*/ 528594 h 1237129"/>
              <a:gd name="connsiteX620" fmla="*/ 1777589 w 3751729"/>
              <a:gd name="connsiteY620" fmla="*/ 527856 h 1237129"/>
              <a:gd name="connsiteX621" fmla="*/ 1777589 w 3751729"/>
              <a:gd name="connsiteY621" fmla="*/ 526132 h 1237129"/>
              <a:gd name="connsiteX622" fmla="*/ 1778326 w 3751729"/>
              <a:gd name="connsiteY622" fmla="*/ 524410 h 1237129"/>
              <a:gd name="connsiteX623" fmla="*/ 1778326 w 3751729"/>
              <a:gd name="connsiteY623" fmla="*/ 521947 h 1237129"/>
              <a:gd name="connsiteX624" fmla="*/ 1778326 w 3751729"/>
              <a:gd name="connsiteY624" fmla="*/ 518501 h 1237129"/>
              <a:gd name="connsiteX625" fmla="*/ 1756912 w 3751729"/>
              <a:gd name="connsiteY625" fmla="*/ 502502 h 1237129"/>
              <a:gd name="connsiteX626" fmla="*/ 1733773 w 3751729"/>
              <a:gd name="connsiteY626" fmla="*/ 486501 h 1237129"/>
              <a:gd name="connsiteX627" fmla="*/ 1726389 w 3751729"/>
              <a:gd name="connsiteY627" fmla="*/ 477394 h 1237129"/>
              <a:gd name="connsiteX628" fmla="*/ 1719745 w 3751729"/>
              <a:gd name="connsiteY628" fmla="*/ 469025 h 1237129"/>
              <a:gd name="connsiteX629" fmla="*/ 1714084 w 3751729"/>
              <a:gd name="connsiteY629" fmla="*/ 458932 h 1237129"/>
              <a:gd name="connsiteX630" fmla="*/ 1704976 w 3751729"/>
              <a:gd name="connsiteY630" fmla="*/ 449826 h 1237129"/>
              <a:gd name="connsiteX631" fmla="*/ 1693406 w 3751729"/>
              <a:gd name="connsiteY631" fmla="*/ 445640 h 1237129"/>
              <a:gd name="connsiteX632" fmla="*/ 1683560 w 3751729"/>
              <a:gd name="connsiteY632" fmla="*/ 454009 h 1237129"/>
              <a:gd name="connsiteX633" fmla="*/ 1670268 w 3751729"/>
              <a:gd name="connsiteY633" fmla="*/ 461640 h 1237129"/>
              <a:gd name="connsiteX634" fmla="*/ 1654516 w 3751729"/>
              <a:gd name="connsiteY634" fmla="*/ 465086 h 1237129"/>
              <a:gd name="connsiteX635" fmla="*/ 1652792 w 3751729"/>
              <a:gd name="connsiteY635" fmla="*/ 461640 h 1237129"/>
              <a:gd name="connsiteX636" fmla="*/ 1652053 w 3751729"/>
              <a:gd name="connsiteY636" fmla="*/ 459179 h 1237129"/>
              <a:gd name="connsiteX637" fmla="*/ 1650330 w 3751729"/>
              <a:gd name="connsiteY637" fmla="*/ 457456 h 1237129"/>
              <a:gd name="connsiteX638" fmla="*/ 1647130 w 3751729"/>
              <a:gd name="connsiteY638" fmla="*/ 457456 h 1237129"/>
              <a:gd name="connsiteX639" fmla="*/ 1646392 w 3751729"/>
              <a:gd name="connsiteY639" fmla="*/ 457456 h 1237129"/>
              <a:gd name="connsiteX640" fmla="*/ 1643191 w 3751729"/>
              <a:gd name="connsiteY640" fmla="*/ 459179 h 1237129"/>
              <a:gd name="connsiteX641" fmla="*/ 1635808 w 3751729"/>
              <a:gd name="connsiteY641" fmla="*/ 465086 h 1237129"/>
              <a:gd name="connsiteX642" fmla="*/ 1633346 w 3751729"/>
              <a:gd name="connsiteY642" fmla="*/ 473456 h 1237129"/>
              <a:gd name="connsiteX643" fmla="*/ 1631622 w 3751729"/>
              <a:gd name="connsiteY643" fmla="*/ 482563 h 1237129"/>
              <a:gd name="connsiteX644" fmla="*/ 1627438 w 3751729"/>
              <a:gd name="connsiteY644" fmla="*/ 489210 h 1237129"/>
              <a:gd name="connsiteX645" fmla="*/ 1611685 w 3751729"/>
              <a:gd name="connsiteY645" fmla="*/ 489210 h 1237129"/>
              <a:gd name="connsiteX646" fmla="*/ 1606024 w 3751729"/>
              <a:gd name="connsiteY646" fmla="*/ 496840 h 1237129"/>
              <a:gd name="connsiteX647" fmla="*/ 1601838 w 3751729"/>
              <a:gd name="connsiteY647" fmla="*/ 505209 h 1237129"/>
              <a:gd name="connsiteX648" fmla="*/ 1598638 w 3751729"/>
              <a:gd name="connsiteY648" fmla="*/ 516041 h 1237129"/>
              <a:gd name="connsiteX649" fmla="*/ 1596915 w 3751729"/>
              <a:gd name="connsiteY649" fmla="*/ 516779 h 1237129"/>
              <a:gd name="connsiteX650" fmla="*/ 1596915 w 3751729"/>
              <a:gd name="connsiteY650" fmla="*/ 520225 h 1237129"/>
              <a:gd name="connsiteX651" fmla="*/ 1598638 w 3751729"/>
              <a:gd name="connsiteY651" fmla="*/ 521947 h 1237129"/>
              <a:gd name="connsiteX652" fmla="*/ 1600362 w 3751729"/>
              <a:gd name="connsiteY652" fmla="*/ 522686 h 1237129"/>
              <a:gd name="connsiteX653" fmla="*/ 1602823 w 3751729"/>
              <a:gd name="connsiteY653" fmla="*/ 526132 h 1237129"/>
              <a:gd name="connsiteX654" fmla="*/ 1604546 w 3751729"/>
              <a:gd name="connsiteY654" fmla="*/ 528594 h 1237129"/>
              <a:gd name="connsiteX655" fmla="*/ 1600362 w 3751729"/>
              <a:gd name="connsiteY655" fmla="*/ 528594 h 1237129"/>
              <a:gd name="connsiteX656" fmla="*/ 1598638 w 3751729"/>
              <a:gd name="connsiteY656" fmla="*/ 530318 h 1237129"/>
              <a:gd name="connsiteX657" fmla="*/ 1596915 w 3751729"/>
              <a:gd name="connsiteY657" fmla="*/ 530318 h 1237129"/>
              <a:gd name="connsiteX658" fmla="*/ 1596177 w 3751729"/>
              <a:gd name="connsiteY658" fmla="*/ 532040 h 1237129"/>
              <a:gd name="connsiteX659" fmla="*/ 1594454 w 3751729"/>
              <a:gd name="connsiteY659" fmla="*/ 533763 h 1237129"/>
              <a:gd name="connsiteX660" fmla="*/ 1591254 w 3751729"/>
              <a:gd name="connsiteY660" fmla="*/ 534502 h 1237129"/>
              <a:gd name="connsiteX661" fmla="*/ 1591254 w 3751729"/>
              <a:gd name="connsiteY661" fmla="*/ 537948 h 1237129"/>
              <a:gd name="connsiteX662" fmla="*/ 1591254 w 3751729"/>
              <a:gd name="connsiteY662" fmla="*/ 539671 h 1237129"/>
              <a:gd name="connsiteX663" fmla="*/ 1591254 w 3751729"/>
              <a:gd name="connsiteY663" fmla="*/ 541148 h 1237129"/>
              <a:gd name="connsiteX664" fmla="*/ 1591254 w 3751729"/>
              <a:gd name="connsiteY664" fmla="*/ 546071 h 1237129"/>
              <a:gd name="connsiteX665" fmla="*/ 1581408 w 3751729"/>
              <a:gd name="connsiteY665" fmla="*/ 546809 h 1237129"/>
              <a:gd name="connsiteX666" fmla="*/ 1577224 w 3751729"/>
              <a:gd name="connsiteY666" fmla="*/ 550255 h 1237129"/>
              <a:gd name="connsiteX667" fmla="*/ 1574024 w 3751729"/>
              <a:gd name="connsiteY667" fmla="*/ 552717 h 1237129"/>
              <a:gd name="connsiteX668" fmla="*/ 1571562 w 3751729"/>
              <a:gd name="connsiteY668" fmla="*/ 557640 h 1237129"/>
              <a:gd name="connsiteX669" fmla="*/ 1567377 w 3751729"/>
              <a:gd name="connsiteY669" fmla="*/ 561825 h 1237129"/>
              <a:gd name="connsiteX670" fmla="*/ 1562454 w 3751729"/>
              <a:gd name="connsiteY670" fmla="*/ 563548 h 1237129"/>
              <a:gd name="connsiteX671" fmla="*/ 1559993 w 3751729"/>
              <a:gd name="connsiteY671" fmla="*/ 563548 h 1237129"/>
              <a:gd name="connsiteX672" fmla="*/ 1555808 w 3751729"/>
              <a:gd name="connsiteY672" fmla="*/ 561825 h 1237129"/>
              <a:gd name="connsiteX673" fmla="*/ 1552608 w 3751729"/>
              <a:gd name="connsiteY673" fmla="*/ 560102 h 1237129"/>
              <a:gd name="connsiteX674" fmla="*/ 1550147 w 3751729"/>
              <a:gd name="connsiteY674" fmla="*/ 558378 h 1237129"/>
              <a:gd name="connsiteX675" fmla="*/ 1548424 w 3751729"/>
              <a:gd name="connsiteY675" fmla="*/ 558378 h 1237129"/>
              <a:gd name="connsiteX676" fmla="*/ 1545962 w 3751729"/>
              <a:gd name="connsiteY676" fmla="*/ 560102 h 1237129"/>
              <a:gd name="connsiteX677" fmla="*/ 1542761 w 3751729"/>
              <a:gd name="connsiteY677" fmla="*/ 561825 h 1237129"/>
              <a:gd name="connsiteX678" fmla="*/ 1540300 w 3751729"/>
              <a:gd name="connsiteY678" fmla="*/ 563548 h 1237129"/>
              <a:gd name="connsiteX679" fmla="*/ 1535378 w 3751729"/>
              <a:gd name="connsiteY679" fmla="*/ 564286 h 1237129"/>
              <a:gd name="connsiteX680" fmla="*/ 1535378 w 3751729"/>
              <a:gd name="connsiteY680" fmla="*/ 571917 h 1237129"/>
              <a:gd name="connsiteX681" fmla="*/ 1575746 w 3751729"/>
              <a:gd name="connsiteY681" fmla="*/ 577823 h 1237129"/>
              <a:gd name="connsiteX682" fmla="*/ 1587316 w 3751729"/>
              <a:gd name="connsiteY682" fmla="*/ 571917 h 1237129"/>
              <a:gd name="connsiteX683" fmla="*/ 1598884 w 3751729"/>
              <a:gd name="connsiteY683" fmla="*/ 564286 h 1237129"/>
              <a:gd name="connsiteX684" fmla="*/ 1607993 w 3751729"/>
              <a:gd name="connsiteY684" fmla="*/ 558378 h 1237129"/>
              <a:gd name="connsiteX685" fmla="*/ 1620300 w 3751729"/>
              <a:gd name="connsiteY685" fmla="*/ 555917 h 1237129"/>
              <a:gd name="connsiteX686" fmla="*/ 1639253 w 3751729"/>
              <a:gd name="connsiteY686" fmla="*/ 552471 h 1237129"/>
              <a:gd name="connsiteX687" fmla="*/ 1659191 w 3751729"/>
              <a:gd name="connsiteY687" fmla="*/ 551732 h 1237129"/>
              <a:gd name="connsiteX688" fmla="*/ 1681592 w 3751729"/>
              <a:gd name="connsiteY688" fmla="*/ 551732 h 1237129"/>
              <a:gd name="connsiteX689" fmla="*/ 1699807 w 3751729"/>
              <a:gd name="connsiteY689" fmla="*/ 551732 h 1237129"/>
              <a:gd name="connsiteX690" fmla="*/ 1715560 w 3751729"/>
              <a:gd name="connsiteY690" fmla="*/ 552471 h 1237129"/>
              <a:gd name="connsiteX691" fmla="*/ 1722943 w 3751729"/>
              <a:gd name="connsiteY691" fmla="*/ 554194 h 1237129"/>
              <a:gd name="connsiteX692" fmla="*/ 1726634 w 3751729"/>
              <a:gd name="connsiteY692" fmla="*/ 554194 h 1237129"/>
              <a:gd name="connsiteX693" fmla="*/ 1721712 w 3751729"/>
              <a:gd name="connsiteY693" fmla="*/ 567732 h 1237129"/>
              <a:gd name="connsiteX694" fmla="*/ 1719253 w 3751729"/>
              <a:gd name="connsiteY694" fmla="*/ 582007 h 1237129"/>
              <a:gd name="connsiteX695" fmla="*/ 1716053 w 3751729"/>
              <a:gd name="connsiteY695" fmla="*/ 597022 h 1237129"/>
              <a:gd name="connsiteX696" fmla="*/ 1720975 w 3751729"/>
              <a:gd name="connsiteY696" fmla="*/ 599484 h 1237129"/>
              <a:gd name="connsiteX697" fmla="*/ 1721712 w 3751729"/>
              <a:gd name="connsiteY697" fmla="*/ 602930 h 1237129"/>
              <a:gd name="connsiteX698" fmla="*/ 1724912 w 3751729"/>
              <a:gd name="connsiteY698" fmla="*/ 605392 h 1237129"/>
              <a:gd name="connsiteX699" fmla="*/ 1726634 w 3751729"/>
              <a:gd name="connsiteY699" fmla="*/ 607115 h 1237129"/>
              <a:gd name="connsiteX700" fmla="*/ 1729096 w 3751729"/>
              <a:gd name="connsiteY700" fmla="*/ 609576 h 1237129"/>
              <a:gd name="connsiteX701" fmla="*/ 1738943 w 3751729"/>
              <a:gd name="connsiteY701" fmla="*/ 613022 h 1237129"/>
              <a:gd name="connsiteX702" fmla="*/ 1750512 w 3751729"/>
              <a:gd name="connsiteY702" fmla="*/ 613022 h 1237129"/>
              <a:gd name="connsiteX703" fmla="*/ 1762081 w 3751729"/>
              <a:gd name="connsiteY703" fmla="*/ 614746 h 1237129"/>
              <a:gd name="connsiteX704" fmla="*/ 1773650 w 3751729"/>
              <a:gd name="connsiteY704" fmla="*/ 620653 h 1237129"/>
              <a:gd name="connsiteX705" fmla="*/ 1776850 w 3751729"/>
              <a:gd name="connsiteY705" fmla="*/ 632469 h 1237129"/>
              <a:gd name="connsiteX706" fmla="*/ 1782512 w 3751729"/>
              <a:gd name="connsiteY706" fmla="*/ 634930 h 1237129"/>
              <a:gd name="connsiteX707" fmla="*/ 1790881 w 3751729"/>
              <a:gd name="connsiteY707" fmla="*/ 638376 h 1237129"/>
              <a:gd name="connsiteX708" fmla="*/ 1802451 w 3751729"/>
              <a:gd name="connsiteY708" fmla="*/ 640837 h 1237129"/>
              <a:gd name="connsiteX709" fmla="*/ 1812296 w 3751729"/>
              <a:gd name="connsiteY709" fmla="*/ 644283 h 1237129"/>
              <a:gd name="connsiteX710" fmla="*/ 1817958 w 3751729"/>
              <a:gd name="connsiteY710" fmla="*/ 645022 h 1237129"/>
              <a:gd name="connsiteX711" fmla="*/ 1819681 w 3751729"/>
              <a:gd name="connsiteY711" fmla="*/ 636653 h 1237129"/>
              <a:gd name="connsiteX712" fmla="*/ 1822881 w 3751729"/>
              <a:gd name="connsiteY712" fmla="*/ 629022 h 1237129"/>
              <a:gd name="connsiteX713" fmla="*/ 1825342 w 3751729"/>
              <a:gd name="connsiteY713" fmla="*/ 621392 h 1237129"/>
              <a:gd name="connsiteX714" fmla="*/ 1834450 w 3751729"/>
              <a:gd name="connsiteY714" fmla="*/ 615484 h 1237129"/>
              <a:gd name="connsiteX715" fmla="*/ 1846757 w 3751729"/>
              <a:gd name="connsiteY715" fmla="*/ 613022 h 1237129"/>
              <a:gd name="connsiteX716" fmla="*/ 1858327 w 3751729"/>
              <a:gd name="connsiteY716" fmla="*/ 615484 h 1237129"/>
              <a:gd name="connsiteX717" fmla="*/ 1869895 w 3751729"/>
              <a:gd name="connsiteY717" fmla="*/ 621392 h 1237129"/>
              <a:gd name="connsiteX718" fmla="*/ 1881465 w 3751729"/>
              <a:gd name="connsiteY718" fmla="*/ 626315 h 1237129"/>
              <a:gd name="connsiteX719" fmla="*/ 1887126 w 3751729"/>
              <a:gd name="connsiteY719" fmla="*/ 627053 h 1237129"/>
              <a:gd name="connsiteX720" fmla="*/ 1898695 w 3751729"/>
              <a:gd name="connsiteY720" fmla="*/ 628776 h 1237129"/>
              <a:gd name="connsiteX721" fmla="*/ 1910265 w 3751729"/>
              <a:gd name="connsiteY721" fmla="*/ 632222 h 1237129"/>
              <a:gd name="connsiteX722" fmla="*/ 1921834 w 3751729"/>
              <a:gd name="connsiteY722" fmla="*/ 632961 h 1237129"/>
              <a:gd name="connsiteX723" fmla="*/ 1930941 w 3751729"/>
              <a:gd name="connsiteY723" fmla="*/ 634684 h 1237129"/>
              <a:gd name="connsiteX724" fmla="*/ 1935126 w 3751729"/>
              <a:gd name="connsiteY724" fmla="*/ 636407 h 1237129"/>
              <a:gd name="connsiteX725" fmla="*/ 1937587 w 3751729"/>
              <a:gd name="connsiteY725" fmla="*/ 634684 h 1237129"/>
              <a:gd name="connsiteX726" fmla="*/ 1939311 w 3751729"/>
              <a:gd name="connsiteY726" fmla="*/ 632222 h 1237129"/>
              <a:gd name="connsiteX727" fmla="*/ 1941034 w 3751729"/>
              <a:gd name="connsiteY727" fmla="*/ 630499 h 1237129"/>
              <a:gd name="connsiteX728" fmla="*/ 1943495 w 3751729"/>
              <a:gd name="connsiteY728" fmla="*/ 627053 h 1237129"/>
              <a:gd name="connsiteX729" fmla="*/ 1946695 w 3751729"/>
              <a:gd name="connsiteY729" fmla="*/ 626315 h 1237129"/>
              <a:gd name="connsiteX730" fmla="*/ 1949156 w 3751729"/>
              <a:gd name="connsiteY730" fmla="*/ 626315 h 1237129"/>
              <a:gd name="connsiteX731" fmla="*/ 1953342 w 3751729"/>
              <a:gd name="connsiteY731" fmla="*/ 626315 h 1237129"/>
              <a:gd name="connsiteX732" fmla="*/ 1964172 w 3751729"/>
              <a:gd name="connsiteY732" fmla="*/ 628776 h 1237129"/>
              <a:gd name="connsiteX733" fmla="*/ 1972541 w 3751729"/>
              <a:gd name="connsiteY733" fmla="*/ 632961 h 1237129"/>
              <a:gd name="connsiteX734" fmla="*/ 1982387 w 3751729"/>
              <a:gd name="connsiteY734" fmla="*/ 632222 h 1237129"/>
              <a:gd name="connsiteX735" fmla="*/ 1993217 w 3751729"/>
              <a:gd name="connsiteY735" fmla="*/ 628776 h 1237129"/>
              <a:gd name="connsiteX736" fmla="*/ 1993956 w 3751729"/>
              <a:gd name="connsiteY736" fmla="*/ 616960 h 1237129"/>
              <a:gd name="connsiteX737" fmla="*/ 1999618 w 3751729"/>
              <a:gd name="connsiteY737" fmla="*/ 602684 h 1237129"/>
              <a:gd name="connsiteX738" fmla="*/ 2004541 w 3751729"/>
              <a:gd name="connsiteY738" fmla="*/ 589145 h 1237129"/>
              <a:gd name="connsiteX739" fmla="*/ 2006018 w 3751729"/>
              <a:gd name="connsiteY739" fmla="*/ 577823 h 1237129"/>
              <a:gd name="connsiteX740" fmla="*/ 2003556 w 3751729"/>
              <a:gd name="connsiteY740" fmla="*/ 567732 h 1237129"/>
              <a:gd name="connsiteX741" fmla="*/ 2001834 w 3751729"/>
              <a:gd name="connsiteY741" fmla="*/ 564286 h 1237129"/>
              <a:gd name="connsiteX742" fmla="*/ 2001834 w 3751729"/>
              <a:gd name="connsiteY742" fmla="*/ 561825 h 1237129"/>
              <a:gd name="connsiteX743" fmla="*/ 2000110 w 3751729"/>
              <a:gd name="connsiteY743" fmla="*/ 560102 h 1237129"/>
              <a:gd name="connsiteX744" fmla="*/ 1998388 w 3751729"/>
              <a:gd name="connsiteY744" fmla="*/ 558378 h 1237129"/>
              <a:gd name="connsiteX745" fmla="*/ 1995925 w 3751729"/>
              <a:gd name="connsiteY745" fmla="*/ 558378 h 1237129"/>
              <a:gd name="connsiteX746" fmla="*/ 1992725 w 3751729"/>
              <a:gd name="connsiteY746" fmla="*/ 558378 h 1237129"/>
              <a:gd name="connsiteX747" fmla="*/ 1987064 w 3751729"/>
              <a:gd name="connsiteY747" fmla="*/ 558378 h 1237129"/>
              <a:gd name="connsiteX748" fmla="*/ 1980418 w 3751729"/>
              <a:gd name="connsiteY748" fmla="*/ 564286 h 1237129"/>
              <a:gd name="connsiteX749" fmla="*/ 1974756 w 3751729"/>
              <a:gd name="connsiteY749" fmla="*/ 566009 h 1237129"/>
              <a:gd name="connsiteX750" fmla="*/ 1969094 w 3751729"/>
              <a:gd name="connsiteY750" fmla="*/ 564286 h 1237129"/>
              <a:gd name="connsiteX751" fmla="*/ 1963433 w 3751729"/>
              <a:gd name="connsiteY751" fmla="*/ 561825 h 1237129"/>
              <a:gd name="connsiteX752" fmla="*/ 1956049 w 3751729"/>
              <a:gd name="connsiteY752" fmla="*/ 558378 h 1237129"/>
              <a:gd name="connsiteX753" fmla="*/ 1951864 w 3751729"/>
              <a:gd name="connsiteY753" fmla="*/ 557640 h 1237129"/>
              <a:gd name="connsiteX754" fmla="*/ 1948665 w 3751729"/>
              <a:gd name="connsiteY754" fmla="*/ 558378 h 1237129"/>
              <a:gd name="connsiteX755" fmla="*/ 1944480 w 3751729"/>
              <a:gd name="connsiteY755" fmla="*/ 560102 h 1237129"/>
              <a:gd name="connsiteX756" fmla="*/ 1942757 w 3751729"/>
              <a:gd name="connsiteY756" fmla="*/ 563548 h 1237129"/>
              <a:gd name="connsiteX757" fmla="*/ 1940295 w 3751729"/>
              <a:gd name="connsiteY757" fmla="*/ 566009 h 1237129"/>
              <a:gd name="connsiteX758" fmla="*/ 1937095 w 3751729"/>
              <a:gd name="connsiteY758" fmla="*/ 567732 h 1237129"/>
              <a:gd name="connsiteX759" fmla="*/ 1924788 w 3751729"/>
              <a:gd name="connsiteY759" fmla="*/ 564286 h 1237129"/>
              <a:gd name="connsiteX760" fmla="*/ 1911496 w 3751729"/>
              <a:gd name="connsiteY760" fmla="*/ 555917 h 1237129"/>
              <a:gd name="connsiteX761" fmla="*/ 1901649 w 3751729"/>
              <a:gd name="connsiteY761" fmla="*/ 542379 h 1237129"/>
              <a:gd name="connsiteX762" fmla="*/ 1896726 w 3751729"/>
              <a:gd name="connsiteY762" fmla="*/ 528840 h 1237129"/>
              <a:gd name="connsiteX763" fmla="*/ 1896726 w 3751729"/>
              <a:gd name="connsiteY763" fmla="*/ 526378 h 1237129"/>
              <a:gd name="connsiteX764" fmla="*/ 1896726 w 3751729"/>
              <a:gd name="connsiteY764" fmla="*/ 522932 h 1237129"/>
              <a:gd name="connsiteX765" fmla="*/ 1896726 w 3751729"/>
              <a:gd name="connsiteY765" fmla="*/ 520471 h 1237129"/>
              <a:gd name="connsiteX766" fmla="*/ 1896726 w 3751729"/>
              <a:gd name="connsiteY766" fmla="*/ 517025 h 1237129"/>
              <a:gd name="connsiteX767" fmla="*/ 1896726 w 3751729"/>
              <a:gd name="connsiteY767" fmla="*/ 514563 h 1237129"/>
              <a:gd name="connsiteX768" fmla="*/ 1898449 w 3751729"/>
              <a:gd name="connsiteY768" fmla="*/ 511117 h 1237129"/>
              <a:gd name="connsiteX769" fmla="*/ 1900173 w 3751729"/>
              <a:gd name="connsiteY769" fmla="*/ 506933 h 1237129"/>
              <a:gd name="connsiteX770" fmla="*/ 1896973 w 3751729"/>
              <a:gd name="connsiteY770" fmla="*/ 504471 h 1237129"/>
              <a:gd name="connsiteX771" fmla="*/ 1894510 w 3751729"/>
              <a:gd name="connsiteY771" fmla="*/ 502749 h 1237129"/>
              <a:gd name="connsiteX772" fmla="*/ 1892788 w 3751729"/>
              <a:gd name="connsiteY772" fmla="*/ 501025 h 1237129"/>
              <a:gd name="connsiteX773" fmla="*/ 1891064 w 3751729"/>
              <a:gd name="connsiteY773" fmla="*/ 499302 h 1237129"/>
              <a:gd name="connsiteX774" fmla="*/ 1888603 w 3751729"/>
              <a:gd name="connsiteY774" fmla="*/ 498563 h 1237129"/>
              <a:gd name="connsiteX775" fmla="*/ 1884418 w 3751729"/>
              <a:gd name="connsiteY775" fmla="*/ 496840 h 1237129"/>
              <a:gd name="connsiteX776" fmla="*/ 1882696 w 3751729"/>
              <a:gd name="connsiteY776" fmla="*/ 495118 h 1237129"/>
              <a:gd name="connsiteX777" fmla="*/ 1880972 w 3751729"/>
              <a:gd name="connsiteY777" fmla="*/ 495118 h 1237129"/>
              <a:gd name="connsiteX778" fmla="*/ 1879250 w 3751729"/>
              <a:gd name="connsiteY778" fmla="*/ 493394 h 1237129"/>
              <a:gd name="connsiteX779" fmla="*/ 1876787 w 3751729"/>
              <a:gd name="connsiteY779" fmla="*/ 493394 h 1237129"/>
              <a:gd name="connsiteX780" fmla="*/ 1873588 w 3751729"/>
              <a:gd name="connsiteY780" fmla="*/ 493394 h 1237129"/>
              <a:gd name="connsiteX781" fmla="*/ 1873588 w 3751729"/>
              <a:gd name="connsiteY781" fmla="*/ 496840 h 1237129"/>
              <a:gd name="connsiteX782" fmla="*/ 1871126 w 3751729"/>
              <a:gd name="connsiteY782" fmla="*/ 496840 h 1237129"/>
              <a:gd name="connsiteX783" fmla="*/ 1871126 w 3751729"/>
              <a:gd name="connsiteY783" fmla="*/ 501025 h 1237129"/>
              <a:gd name="connsiteX784" fmla="*/ 1872850 w 3751729"/>
              <a:gd name="connsiteY784" fmla="*/ 504471 h 1237129"/>
              <a:gd name="connsiteX785" fmla="*/ 1872850 w 3751729"/>
              <a:gd name="connsiteY785" fmla="*/ 505209 h 1237129"/>
              <a:gd name="connsiteX786" fmla="*/ 1872850 w 3751729"/>
              <a:gd name="connsiteY786" fmla="*/ 506933 h 1237129"/>
              <a:gd name="connsiteX787" fmla="*/ 1871126 w 3751729"/>
              <a:gd name="connsiteY787" fmla="*/ 508655 h 1237129"/>
              <a:gd name="connsiteX788" fmla="*/ 1869404 w 3751729"/>
              <a:gd name="connsiteY788" fmla="*/ 508655 h 1237129"/>
              <a:gd name="connsiteX789" fmla="*/ 1866942 w 3751729"/>
              <a:gd name="connsiteY789" fmla="*/ 508655 h 1237129"/>
              <a:gd name="connsiteX790" fmla="*/ 1861280 w 3751729"/>
              <a:gd name="connsiteY790" fmla="*/ 510380 h 1237129"/>
              <a:gd name="connsiteX791" fmla="*/ 1859557 w 3751729"/>
              <a:gd name="connsiteY791" fmla="*/ 506933 h 1237129"/>
              <a:gd name="connsiteX792" fmla="*/ 1857834 w 3751729"/>
              <a:gd name="connsiteY792" fmla="*/ 505209 h 1237129"/>
              <a:gd name="connsiteX793" fmla="*/ 1857834 w 3751729"/>
              <a:gd name="connsiteY793" fmla="*/ 504471 h 1237129"/>
              <a:gd name="connsiteX794" fmla="*/ 1855373 w 3751729"/>
              <a:gd name="connsiteY794" fmla="*/ 502749 h 1237129"/>
              <a:gd name="connsiteX795" fmla="*/ 1855373 w 3751729"/>
              <a:gd name="connsiteY795" fmla="*/ 506687 h 1237129"/>
              <a:gd name="connsiteX796" fmla="*/ 1862757 w 3751729"/>
              <a:gd name="connsiteY796" fmla="*/ 515794 h 1237129"/>
              <a:gd name="connsiteX797" fmla="*/ 1868419 w 3751729"/>
              <a:gd name="connsiteY797" fmla="*/ 528347 h 1237129"/>
              <a:gd name="connsiteX798" fmla="*/ 1870880 w 3751729"/>
              <a:gd name="connsiteY798" fmla="*/ 541887 h 1237129"/>
              <a:gd name="connsiteX799" fmla="*/ 1866695 w 3751729"/>
              <a:gd name="connsiteY799" fmla="*/ 545333 h 1237129"/>
              <a:gd name="connsiteX800" fmla="*/ 1863495 w 3751729"/>
              <a:gd name="connsiteY800" fmla="*/ 546071 h 1237129"/>
              <a:gd name="connsiteX801" fmla="*/ 1862757 w 3751729"/>
              <a:gd name="connsiteY801" fmla="*/ 549517 h 1237129"/>
              <a:gd name="connsiteX802" fmla="*/ 1861034 w 3751729"/>
              <a:gd name="connsiteY802" fmla="*/ 551979 h 1237129"/>
              <a:gd name="connsiteX803" fmla="*/ 1861034 w 3751729"/>
              <a:gd name="connsiteY803" fmla="*/ 553701 h 1237129"/>
              <a:gd name="connsiteX804" fmla="*/ 1859311 w 3751729"/>
              <a:gd name="connsiteY804" fmla="*/ 557147 h 1237129"/>
              <a:gd name="connsiteX805" fmla="*/ 1857589 w 3751729"/>
              <a:gd name="connsiteY805" fmla="*/ 557887 h 1237129"/>
              <a:gd name="connsiteX806" fmla="*/ 1853403 w 3751729"/>
              <a:gd name="connsiteY806" fmla="*/ 559610 h 1237129"/>
              <a:gd name="connsiteX807" fmla="*/ 1849218 w 3751729"/>
              <a:gd name="connsiteY807" fmla="*/ 561332 h 1237129"/>
              <a:gd name="connsiteX808" fmla="*/ 1847496 w 3751729"/>
              <a:gd name="connsiteY808" fmla="*/ 559610 h 1237129"/>
              <a:gd name="connsiteX809" fmla="*/ 1845772 w 3751729"/>
              <a:gd name="connsiteY809" fmla="*/ 559610 h 1237129"/>
              <a:gd name="connsiteX810" fmla="*/ 1845034 w 3751729"/>
              <a:gd name="connsiteY810" fmla="*/ 557887 h 1237129"/>
              <a:gd name="connsiteX811" fmla="*/ 1841834 w 3751729"/>
              <a:gd name="connsiteY811" fmla="*/ 557887 h 1237129"/>
              <a:gd name="connsiteX812" fmla="*/ 1828542 w 3751729"/>
              <a:gd name="connsiteY812" fmla="*/ 518501 h 1237129"/>
              <a:gd name="connsiteX813" fmla="*/ 1826081 w 3751729"/>
              <a:gd name="connsiteY813" fmla="*/ 516779 h 1237129"/>
              <a:gd name="connsiteX814" fmla="*/ 1822881 w 3751729"/>
              <a:gd name="connsiteY814" fmla="*/ 514317 h 1237129"/>
              <a:gd name="connsiteX815" fmla="*/ 1818696 w 3751729"/>
              <a:gd name="connsiteY815" fmla="*/ 510871 h 1237129"/>
              <a:gd name="connsiteX816" fmla="*/ 1816235 w 3751729"/>
              <a:gd name="connsiteY816" fmla="*/ 510133 h 1237129"/>
              <a:gd name="connsiteX817" fmla="*/ 1813035 w 3751729"/>
              <a:gd name="connsiteY817" fmla="*/ 506687 h 1237129"/>
              <a:gd name="connsiteX818" fmla="*/ 1811312 w 3751729"/>
              <a:gd name="connsiteY818" fmla="*/ 498318 h 1237129"/>
              <a:gd name="connsiteX819" fmla="*/ 1813035 w 3751729"/>
              <a:gd name="connsiteY819" fmla="*/ 490687 h 1237129"/>
              <a:gd name="connsiteX820" fmla="*/ 1814757 w 3751729"/>
              <a:gd name="connsiteY820" fmla="*/ 484779 h 1237129"/>
              <a:gd name="connsiteX821" fmla="*/ 1814757 w 3751729"/>
              <a:gd name="connsiteY821" fmla="*/ 478871 h 1237129"/>
              <a:gd name="connsiteX822" fmla="*/ 1810572 w 3751729"/>
              <a:gd name="connsiteY822" fmla="*/ 474687 h 1237129"/>
              <a:gd name="connsiteX823" fmla="*/ 1799742 w 3751729"/>
              <a:gd name="connsiteY823" fmla="*/ 467056 h 1237129"/>
              <a:gd name="connsiteX824" fmla="*/ 1791374 w 3751729"/>
              <a:gd name="connsiteY824" fmla="*/ 462871 h 1237129"/>
              <a:gd name="connsiteX825" fmla="*/ 1783988 w 3751729"/>
              <a:gd name="connsiteY825" fmla="*/ 461147 h 1237129"/>
              <a:gd name="connsiteX826" fmla="*/ 1777342 w 3751729"/>
              <a:gd name="connsiteY826" fmla="*/ 456964 h 1237129"/>
              <a:gd name="connsiteX827" fmla="*/ 1771681 w 3751729"/>
              <a:gd name="connsiteY827" fmla="*/ 447855 h 1237129"/>
              <a:gd name="connsiteX828" fmla="*/ 1766020 w 3751729"/>
              <a:gd name="connsiteY828" fmla="*/ 431856 h 1237129"/>
              <a:gd name="connsiteX829" fmla="*/ 1754450 w 3751729"/>
              <a:gd name="connsiteY829" fmla="*/ 435303 h 1237129"/>
              <a:gd name="connsiteX830" fmla="*/ 1752728 w 3751729"/>
              <a:gd name="connsiteY830" fmla="*/ 430379 h 1237129"/>
              <a:gd name="connsiteX831" fmla="*/ 1752728 w 3751729"/>
              <a:gd name="connsiteY831" fmla="*/ 427918 h 1237129"/>
              <a:gd name="connsiteX832" fmla="*/ 1751004 w 3751729"/>
              <a:gd name="connsiteY832" fmla="*/ 424472 h 1237129"/>
              <a:gd name="connsiteX833" fmla="*/ 761721 w 3751729"/>
              <a:gd name="connsiteY833" fmla="*/ 418564 h 1237129"/>
              <a:gd name="connsiteX834" fmla="*/ 761599 w 3751729"/>
              <a:gd name="connsiteY834" fmla="*/ 418810 h 1237129"/>
              <a:gd name="connsiteX835" fmla="*/ 763935 w 3751729"/>
              <a:gd name="connsiteY835" fmla="*/ 418810 h 1237129"/>
              <a:gd name="connsiteX836" fmla="*/ 763935 w 3751729"/>
              <a:gd name="connsiteY836" fmla="*/ 418811 h 1237129"/>
              <a:gd name="connsiteX837" fmla="*/ 763936 w 3751729"/>
              <a:gd name="connsiteY837" fmla="*/ 418811 h 1237129"/>
              <a:gd name="connsiteX838" fmla="*/ 763198 w 3751729"/>
              <a:gd name="connsiteY838" fmla="*/ 422257 h 1237129"/>
              <a:gd name="connsiteX839" fmla="*/ 763445 w 3751729"/>
              <a:gd name="connsiteY839" fmla="*/ 422010 h 1237129"/>
              <a:gd name="connsiteX840" fmla="*/ 764184 w 3751729"/>
              <a:gd name="connsiteY840" fmla="*/ 418564 h 1237129"/>
              <a:gd name="connsiteX841" fmla="*/ 1948172 w 3751729"/>
              <a:gd name="connsiteY841" fmla="*/ 406502 h 1237129"/>
              <a:gd name="connsiteX842" fmla="*/ 1944972 w 3751729"/>
              <a:gd name="connsiteY842" fmla="*/ 413148 h 1237129"/>
              <a:gd name="connsiteX843" fmla="*/ 1939311 w 3751729"/>
              <a:gd name="connsiteY843" fmla="*/ 423979 h 1237129"/>
              <a:gd name="connsiteX844" fmla="*/ 1931926 w 3751729"/>
              <a:gd name="connsiteY844" fmla="*/ 435794 h 1237129"/>
              <a:gd name="connsiteX845" fmla="*/ 1925280 w 3751729"/>
              <a:gd name="connsiteY845" fmla="*/ 447610 h 1237129"/>
              <a:gd name="connsiteX846" fmla="*/ 1919618 w 3751729"/>
              <a:gd name="connsiteY846" fmla="*/ 457702 h 1237129"/>
              <a:gd name="connsiteX847" fmla="*/ 1916418 w 3751729"/>
              <a:gd name="connsiteY847" fmla="*/ 466071 h 1237129"/>
              <a:gd name="connsiteX848" fmla="*/ 1916418 w 3751729"/>
              <a:gd name="connsiteY848" fmla="*/ 470994 h 1237129"/>
              <a:gd name="connsiteX849" fmla="*/ 1918142 w 3751729"/>
              <a:gd name="connsiteY849" fmla="*/ 476902 h 1237129"/>
              <a:gd name="connsiteX850" fmla="*/ 1918142 w 3751729"/>
              <a:gd name="connsiteY850" fmla="*/ 479363 h 1237129"/>
              <a:gd name="connsiteX851" fmla="*/ 1919864 w 3751729"/>
              <a:gd name="connsiteY851" fmla="*/ 482810 h 1237129"/>
              <a:gd name="connsiteX852" fmla="*/ 1922326 w 3751729"/>
              <a:gd name="connsiteY852" fmla="*/ 483548 h 1237129"/>
              <a:gd name="connsiteX853" fmla="*/ 1925526 w 3751729"/>
              <a:gd name="connsiteY853" fmla="*/ 485271 h 1237129"/>
              <a:gd name="connsiteX854" fmla="*/ 1929710 w 3751729"/>
              <a:gd name="connsiteY854" fmla="*/ 486994 h 1237129"/>
              <a:gd name="connsiteX855" fmla="*/ 1941280 w 3751729"/>
              <a:gd name="connsiteY855" fmla="*/ 491179 h 1237129"/>
              <a:gd name="connsiteX856" fmla="*/ 1952849 w 3751729"/>
              <a:gd name="connsiteY856" fmla="*/ 489456 h 1237129"/>
              <a:gd name="connsiteX857" fmla="*/ 1962695 w 3751729"/>
              <a:gd name="connsiteY857" fmla="*/ 485271 h 1237129"/>
              <a:gd name="connsiteX858" fmla="*/ 1974265 w 3751729"/>
              <a:gd name="connsiteY858" fmla="*/ 479363 h 1237129"/>
              <a:gd name="connsiteX859" fmla="*/ 1985833 w 3751729"/>
              <a:gd name="connsiteY859" fmla="*/ 477640 h 1237129"/>
              <a:gd name="connsiteX860" fmla="*/ 1997403 w 3751729"/>
              <a:gd name="connsiteY860" fmla="*/ 477640 h 1237129"/>
              <a:gd name="connsiteX861" fmla="*/ 2004787 w 3751729"/>
              <a:gd name="connsiteY861" fmla="*/ 482563 h 1237129"/>
              <a:gd name="connsiteX862" fmla="*/ 2010448 w 3751729"/>
              <a:gd name="connsiteY862" fmla="*/ 486748 h 1237129"/>
              <a:gd name="connsiteX863" fmla="*/ 2017094 w 3751729"/>
              <a:gd name="connsiteY863" fmla="*/ 489210 h 1237129"/>
              <a:gd name="connsiteX864" fmla="*/ 2034325 w 3751729"/>
              <a:gd name="connsiteY864" fmla="*/ 492656 h 1237129"/>
              <a:gd name="connsiteX865" fmla="*/ 2051556 w 3751729"/>
              <a:gd name="connsiteY865" fmla="*/ 490932 h 1237129"/>
              <a:gd name="connsiteX866" fmla="*/ 2067309 w 3751729"/>
              <a:gd name="connsiteY866" fmla="*/ 486748 h 1237129"/>
              <a:gd name="connsiteX867" fmla="*/ 2071740 w 3751729"/>
              <a:gd name="connsiteY867" fmla="*/ 477887 h 1237129"/>
              <a:gd name="connsiteX868" fmla="*/ 2066818 w 3751729"/>
              <a:gd name="connsiteY868" fmla="*/ 477887 h 1237129"/>
              <a:gd name="connsiteX869" fmla="*/ 2060171 w 3751729"/>
              <a:gd name="connsiteY869" fmla="*/ 466071 h 1237129"/>
              <a:gd name="connsiteX870" fmla="*/ 2048601 w 3751729"/>
              <a:gd name="connsiteY870" fmla="*/ 455979 h 1237129"/>
              <a:gd name="connsiteX871" fmla="*/ 2032110 w 3751729"/>
              <a:gd name="connsiteY871" fmla="*/ 445887 h 1237129"/>
              <a:gd name="connsiteX872" fmla="*/ 2016356 w 3751729"/>
              <a:gd name="connsiteY872" fmla="*/ 436778 h 1237129"/>
              <a:gd name="connsiteX873" fmla="*/ 2004049 w 3751729"/>
              <a:gd name="connsiteY873" fmla="*/ 432595 h 1237129"/>
              <a:gd name="connsiteX874" fmla="*/ 1996663 w 3751729"/>
              <a:gd name="connsiteY874" fmla="*/ 438502 h 1237129"/>
              <a:gd name="connsiteX875" fmla="*/ 1986818 w 3751729"/>
              <a:gd name="connsiteY875" fmla="*/ 442687 h 1237129"/>
              <a:gd name="connsiteX876" fmla="*/ 1979433 w 3751729"/>
              <a:gd name="connsiteY876" fmla="*/ 441949 h 1237129"/>
              <a:gd name="connsiteX877" fmla="*/ 1975249 w 3751729"/>
              <a:gd name="connsiteY877" fmla="*/ 436041 h 1237129"/>
              <a:gd name="connsiteX878" fmla="*/ 1969587 w 3751729"/>
              <a:gd name="connsiteY878" fmla="*/ 430133 h 1237129"/>
              <a:gd name="connsiteX879" fmla="*/ 1966388 w 3751729"/>
              <a:gd name="connsiteY879" fmla="*/ 422502 h 1237129"/>
              <a:gd name="connsiteX880" fmla="*/ 1976233 w 3751729"/>
              <a:gd name="connsiteY880" fmla="*/ 419056 h 1237129"/>
              <a:gd name="connsiteX881" fmla="*/ 1975495 w 3751729"/>
              <a:gd name="connsiteY881" fmla="*/ 418318 h 1237129"/>
              <a:gd name="connsiteX882" fmla="*/ 1973772 w 3751729"/>
              <a:gd name="connsiteY882" fmla="*/ 418318 h 1237129"/>
              <a:gd name="connsiteX883" fmla="*/ 1972049 w 3751729"/>
              <a:gd name="connsiteY883" fmla="*/ 418318 h 1237129"/>
              <a:gd name="connsiteX884" fmla="*/ 1969587 w 3751729"/>
              <a:gd name="connsiteY884" fmla="*/ 416595 h 1237129"/>
              <a:gd name="connsiteX885" fmla="*/ 1964664 w 3751729"/>
              <a:gd name="connsiteY885" fmla="*/ 412410 h 1237129"/>
              <a:gd name="connsiteX886" fmla="*/ 1960480 w 3751729"/>
              <a:gd name="connsiteY886" fmla="*/ 410687 h 1237129"/>
              <a:gd name="connsiteX887" fmla="*/ 1954818 w 3751729"/>
              <a:gd name="connsiteY887" fmla="*/ 408224 h 1237129"/>
              <a:gd name="connsiteX888" fmla="*/ 2179063 w 3751729"/>
              <a:gd name="connsiteY888" fmla="*/ 402318 h 1237129"/>
              <a:gd name="connsiteX889" fmla="*/ 2169955 w 3751729"/>
              <a:gd name="connsiteY889" fmla="*/ 409949 h 1237129"/>
              <a:gd name="connsiteX890" fmla="*/ 2160109 w 3751729"/>
              <a:gd name="connsiteY890" fmla="*/ 414133 h 1237129"/>
              <a:gd name="connsiteX891" fmla="*/ 2150263 w 3751729"/>
              <a:gd name="connsiteY891" fmla="*/ 418318 h 1237129"/>
              <a:gd name="connsiteX892" fmla="*/ 2141155 w 3751729"/>
              <a:gd name="connsiteY892" fmla="*/ 425948 h 1237129"/>
              <a:gd name="connsiteX893" fmla="*/ 2135494 w 3751729"/>
              <a:gd name="connsiteY893" fmla="*/ 435056 h 1237129"/>
              <a:gd name="connsiteX894" fmla="*/ 2133032 w 3751729"/>
              <a:gd name="connsiteY894" fmla="*/ 447610 h 1237129"/>
              <a:gd name="connsiteX895" fmla="*/ 2137217 w 3751729"/>
              <a:gd name="connsiteY895" fmla="*/ 461147 h 1237129"/>
              <a:gd name="connsiteX896" fmla="*/ 2146324 w 3751729"/>
              <a:gd name="connsiteY896" fmla="*/ 474687 h 1237129"/>
              <a:gd name="connsiteX897" fmla="*/ 2154694 w 3751729"/>
              <a:gd name="connsiteY897" fmla="*/ 488225 h 1237129"/>
              <a:gd name="connsiteX898" fmla="*/ 2164540 w 3751729"/>
              <a:gd name="connsiteY898" fmla="*/ 499056 h 1237129"/>
              <a:gd name="connsiteX899" fmla="*/ 2170202 w 3751729"/>
              <a:gd name="connsiteY899" fmla="*/ 509887 h 1237129"/>
              <a:gd name="connsiteX900" fmla="*/ 2160356 w 3751729"/>
              <a:gd name="connsiteY900" fmla="*/ 509887 h 1237129"/>
              <a:gd name="connsiteX901" fmla="*/ 2160356 w 3751729"/>
              <a:gd name="connsiteY901" fmla="*/ 528347 h 1237129"/>
              <a:gd name="connsiteX902" fmla="*/ 2163556 w 3751729"/>
              <a:gd name="connsiteY902" fmla="*/ 541887 h 1237129"/>
              <a:gd name="connsiteX903" fmla="*/ 2171924 w 3751729"/>
              <a:gd name="connsiteY903" fmla="*/ 549517 h 1237129"/>
              <a:gd name="connsiteX904" fmla="*/ 2186694 w 3751729"/>
              <a:gd name="connsiteY904" fmla="*/ 551979 h 1237129"/>
              <a:gd name="connsiteX905" fmla="*/ 2208108 w 3751729"/>
              <a:gd name="connsiteY905" fmla="*/ 551241 h 1237129"/>
              <a:gd name="connsiteX906" fmla="*/ 2206385 w 3751729"/>
              <a:gd name="connsiteY906" fmla="*/ 534502 h 1237129"/>
              <a:gd name="connsiteX907" fmla="*/ 2203185 w 3751729"/>
              <a:gd name="connsiteY907" fmla="*/ 524410 h 1237129"/>
              <a:gd name="connsiteX908" fmla="*/ 2199002 w 3751729"/>
              <a:gd name="connsiteY908" fmla="*/ 516041 h 1237129"/>
              <a:gd name="connsiteX909" fmla="*/ 2197278 w 3751729"/>
              <a:gd name="connsiteY909" fmla="*/ 506933 h 1237129"/>
              <a:gd name="connsiteX910" fmla="*/ 2199002 w 3751729"/>
              <a:gd name="connsiteY910" fmla="*/ 493394 h 1237129"/>
              <a:gd name="connsiteX911" fmla="*/ 2202201 w 3751729"/>
              <a:gd name="connsiteY911" fmla="*/ 495118 h 1237129"/>
              <a:gd name="connsiteX912" fmla="*/ 2204663 w 3751729"/>
              <a:gd name="connsiteY912" fmla="*/ 495118 h 1237129"/>
              <a:gd name="connsiteX913" fmla="*/ 2207863 w 3751729"/>
              <a:gd name="connsiteY913" fmla="*/ 495118 h 1237129"/>
              <a:gd name="connsiteX914" fmla="*/ 2210323 w 3751729"/>
              <a:gd name="connsiteY914" fmla="*/ 495118 h 1237129"/>
              <a:gd name="connsiteX915" fmla="*/ 2214509 w 3751729"/>
              <a:gd name="connsiteY915" fmla="*/ 493147 h 1237129"/>
              <a:gd name="connsiteX916" fmla="*/ 2212047 w 3751729"/>
              <a:gd name="connsiteY916" fmla="*/ 490687 h 1237129"/>
              <a:gd name="connsiteX917" fmla="*/ 2208848 w 3751729"/>
              <a:gd name="connsiteY917" fmla="*/ 488964 h 1237129"/>
              <a:gd name="connsiteX918" fmla="*/ 2208108 w 3751729"/>
              <a:gd name="connsiteY918" fmla="*/ 488225 h 1237129"/>
              <a:gd name="connsiteX919" fmla="*/ 2204909 w 3751729"/>
              <a:gd name="connsiteY919" fmla="*/ 484779 h 1237129"/>
              <a:gd name="connsiteX920" fmla="*/ 2202447 w 3751729"/>
              <a:gd name="connsiteY920" fmla="*/ 483055 h 1237129"/>
              <a:gd name="connsiteX921" fmla="*/ 2200724 w 3751729"/>
              <a:gd name="connsiteY921" fmla="*/ 484779 h 1237129"/>
              <a:gd name="connsiteX922" fmla="*/ 2200724 w 3751729"/>
              <a:gd name="connsiteY922" fmla="*/ 488225 h 1237129"/>
              <a:gd name="connsiteX923" fmla="*/ 2199002 w 3751729"/>
              <a:gd name="connsiteY923" fmla="*/ 490687 h 1237129"/>
              <a:gd name="connsiteX924" fmla="*/ 2199002 w 3751729"/>
              <a:gd name="connsiteY924" fmla="*/ 492410 h 1237129"/>
              <a:gd name="connsiteX925" fmla="*/ 2197278 w 3751729"/>
              <a:gd name="connsiteY925" fmla="*/ 493147 h 1237129"/>
              <a:gd name="connsiteX926" fmla="*/ 2196539 w 3751729"/>
              <a:gd name="connsiteY926" fmla="*/ 492410 h 1237129"/>
              <a:gd name="connsiteX927" fmla="*/ 2194816 w 3751729"/>
              <a:gd name="connsiteY927" fmla="*/ 488964 h 1237129"/>
              <a:gd name="connsiteX928" fmla="*/ 2190632 w 3751729"/>
              <a:gd name="connsiteY928" fmla="*/ 482317 h 1237129"/>
              <a:gd name="connsiteX929" fmla="*/ 2186447 w 3751729"/>
              <a:gd name="connsiteY929" fmla="*/ 474687 h 1237129"/>
              <a:gd name="connsiteX930" fmla="*/ 2187185 w 3751729"/>
              <a:gd name="connsiteY930" fmla="*/ 471241 h 1237129"/>
              <a:gd name="connsiteX931" fmla="*/ 2188909 w 3751729"/>
              <a:gd name="connsiteY931" fmla="*/ 471241 h 1237129"/>
              <a:gd name="connsiteX932" fmla="*/ 2190632 w 3751729"/>
              <a:gd name="connsiteY932" fmla="*/ 470502 h 1237129"/>
              <a:gd name="connsiteX933" fmla="*/ 2191371 w 3751729"/>
              <a:gd name="connsiteY933" fmla="*/ 467056 h 1237129"/>
              <a:gd name="connsiteX934" fmla="*/ 2179063 w 3751729"/>
              <a:gd name="connsiteY934" fmla="*/ 459425 h 1237129"/>
              <a:gd name="connsiteX935" fmla="*/ 2169217 w 3751729"/>
              <a:gd name="connsiteY935" fmla="*/ 447610 h 1237129"/>
              <a:gd name="connsiteX936" fmla="*/ 2163556 w 3751729"/>
              <a:gd name="connsiteY936" fmla="*/ 435056 h 1237129"/>
              <a:gd name="connsiteX937" fmla="*/ 2179309 w 3751729"/>
              <a:gd name="connsiteY937" fmla="*/ 433333 h 1237129"/>
              <a:gd name="connsiteX938" fmla="*/ 2190878 w 3751729"/>
              <a:gd name="connsiteY938" fmla="*/ 429148 h 1237129"/>
              <a:gd name="connsiteX939" fmla="*/ 2196539 w 3751729"/>
              <a:gd name="connsiteY939" fmla="*/ 418318 h 1237129"/>
              <a:gd name="connsiteX940" fmla="*/ 2199002 w 3751729"/>
              <a:gd name="connsiteY940" fmla="*/ 405764 h 1237129"/>
              <a:gd name="connsiteX941" fmla="*/ 2194816 w 3751729"/>
              <a:gd name="connsiteY941" fmla="*/ 404041 h 1237129"/>
              <a:gd name="connsiteX942" fmla="*/ 2190632 w 3751729"/>
              <a:gd name="connsiteY942" fmla="*/ 404041 h 1237129"/>
              <a:gd name="connsiteX943" fmla="*/ 2186447 w 3751729"/>
              <a:gd name="connsiteY943" fmla="*/ 402318 h 1237129"/>
              <a:gd name="connsiteX944" fmla="*/ 2024479 w 3751729"/>
              <a:gd name="connsiteY944" fmla="*/ 400349 h 1237129"/>
              <a:gd name="connsiteX945" fmla="*/ 2012911 w 3751729"/>
              <a:gd name="connsiteY945" fmla="*/ 406256 h 1237129"/>
              <a:gd name="connsiteX946" fmla="*/ 1998879 w 3751729"/>
              <a:gd name="connsiteY946" fmla="*/ 410440 h 1237129"/>
              <a:gd name="connsiteX947" fmla="*/ 1998879 w 3751729"/>
              <a:gd name="connsiteY947" fmla="*/ 422256 h 1237129"/>
              <a:gd name="connsiteX948" fmla="*/ 2004541 w 3751729"/>
              <a:gd name="connsiteY948" fmla="*/ 423979 h 1237129"/>
              <a:gd name="connsiteX949" fmla="*/ 2011187 w 3751729"/>
              <a:gd name="connsiteY949" fmla="*/ 424717 h 1237129"/>
              <a:gd name="connsiteX950" fmla="*/ 2020295 w 3751729"/>
              <a:gd name="connsiteY950" fmla="*/ 424717 h 1237129"/>
              <a:gd name="connsiteX951" fmla="*/ 2020295 w 3751729"/>
              <a:gd name="connsiteY951" fmla="*/ 418810 h 1237129"/>
              <a:gd name="connsiteX952" fmla="*/ 2022757 w 3751729"/>
              <a:gd name="connsiteY952" fmla="*/ 414626 h 1237129"/>
              <a:gd name="connsiteX953" fmla="*/ 2024479 w 3751729"/>
              <a:gd name="connsiteY953" fmla="*/ 410440 h 1237129"/>
              <a:gd name="connsiteX954" fmla="*/ 2024479 w 3751729"/>
              <a:gd name="connsiteY954" fmla="*/ 406256 h 1237129"/>
              <a:gd name="connsiteX955" fmla="*/ 2024479 w 3751729"/>
              <a:gd name="connsiteY955" fmla="*/ 402810 h 1237129"/>
              <a:gd name="connsiteX956" fmla="*/ 904489 w 3751729"/>
              <a:gd name="connsiteY956" fmla="*/ 392717 h 1237129"/>
              <a:gd name="connsiteX957" fmla="*/ 906951 w 3751729"/>
              <a:gd name="connsiteY957" fmla="*/ 400348 h 1237129"/>
              <a:gd name="connsiteX958" fmla="*/ 908427 w 3751729"/>
              <a:gd name="connsiteY958" fmla="*/ 410440 h 1237129"/>
              <a:gd name="connsiteX959" fmla="*/ 910151 w 3751729"/>
              <a:gd name="connsiteY959" fmla="*/ 418809 h 1237129"/>
              <a:gd name="connsiteX960" fmla="*/ 908427 w 3751729"/>
              <a:gd name="connsiteY960" fmla="*/ 420532 h 1237129"/>
              <a:gd name="connsiteX961" fmla="*/ 906951 w 3751729"/>
              <a:gd name="connsiteY961" fmla="*/ 420532 h 1237129"/>
              <a:gd name="connsiteX962" fmla="*/ 905966 w 3751729"/>
              <a:gd name="connsiteY962" fmla="*/ 420532 h 1237129"/>
              <a:gd name="connsiteX963" fmla="*/ 905966 w 3751729"/>
              <a:gd name="connsiteY963" fmla="*/ 422255 h 1237129"/>
              <a:gd name="connsiteX964" fmla="*/ 904489 w 3751729"/>
              <a:gd name="connsiteY964" fmla="*/ 422255 h 1237129"/>
              <a:gd name="connsiteX965" fmla="*/ 898581 w 3751729"/>
              <a:gd name="connsiteY965" fmla="*/ 422255 h 1237129"/>
              <a:gd name="connsiteX966" fmla="*/ 896858 w 3751729"/>
              <a:gd name="connsiteY966" fmla="*/ 420532 h 1237129"/>
              <a:gd name="connsiteX967" fmla="*/ 896858 w 3751729"/>
              <a:gd name="connsiteY967" fmla="*/ 418809 h 1237129"/>
              <a:gd name="connsiteX968" fmla="*/ 896858 w 3751729"/>
              <a:gd name="connsiteY968" fmla="*/ 418071 h 1237129"/>
              <a:gd name="connsiteX969" fmla="*/ 895381 w 3751729"/>
              <a:gd name="connsiteY969" fmla="*/ 418071 h 1237129"/>
              <a:gd name="connsiteX970" fmla="*/ 894396 w 3751729"/>
              <a:gd name="connsiteY970" fmla="*/ 416348 h 1237129"/>
              <a:gd name="connsiteX971" fmla="*/ 583999 w 3751729"/>
              <a:gd name="connsiteY971" fmla="*/ 365149 h 1237129"/>
              <a:gd name="connsiteX972" fmla="*/ 577353 w 3751729"/>
              <a:gd name="connsiteY972" fmla="*/ 375241 h 1237129"/>
              <a:gd name="connsiteX973" fmla="*/ 569969 w 3751729"/>
              <a:gd name="connsiteY973" fmla="*/ 384349 h 1237129"/>
              <a:gd name="connsiteX974" fmla="*/ 565784 w 3751729"/>
              <a:gd name="connsiteY974" fmla="*/ 396903 h 1237129"/>
              <a:gd name="connsiteX975" fmla="*/ 574153 w 3751729"/>
              <a:gd name="connsiteY975" fmla="*/ 396164 h 1237129"/>
              <a:gd name="connsiteX976" fmla="*/ 579815 w 3751729"/>
              <a:gd name="connsiteY976" fmla="*/ 398626 h 1237129"/>
              <a:gd name="connsiteX977" fmla="*/ 583999 w 3751729"/>
              <a:gd name="connsiteY977" fmla="*/ 402810 h 1237129"/>
              <a:gd name="connsiteX978" fmla="*/ 589661 w 3751729"/>
              <a:gd name="connsiteY978" fmla="*/ 410441 h 1237129"/>
              <a:gd name="connsiteX979" fmla="*/ 591385 w 3751729"/>
              <a:gd name="connsiteY979" fmla="*/ 404534 h 1237129"/>
              <a:gd name="connsiteX980" fmla="*/ 591385 w 3751729"/>
              <a:gd name="connsiteY980" fmla="*/ 400349 h 1237129"/>
              <a:gd name="connsiteX981" fmla="*/ 593107 w 3751729"/>
              <a:gd name="connsiteY981" fmla="*/ 396903 h 1237129"/>
              <a:gd name="connsiteX982" fmla="*/ 593107 w 3751729"/>
              <a:gd name="connsiteY982" fmla="*/ 392718 h 1237129"/>
              <a:gd name="connsiteX983" fmla="*/ 600491 w 3751729"/>
              <a:gd name="connsiteY983" fmla="*/ 392718 h 1237129"/>
              <a:gd name="connsiteX984" fmla="*/ 604677 w 3751729"/>
              <a:gd name="connsiteY984" fmla="*/ 402810 h 1237129"/>
              <a:gd name="connsiteX985" fmla="*/ 611323 w 3751729"/>
              <a:gd name="connsiteY985" fmla="*/ 406257 h 1237129"/>
              <a:gd name="connsiteX986" fmla="*/ 616984 w 3751729"/>
              <a:gd name="connsiteY986" fmla="*/ 408718 h 1237129"/>
              <a:gd name="connsiteX987" fmla="*/ 622645 w 3751729"/>
              <a:gd name="connsiteY987" fmla="*/ 412164 h 1237129"/>
              <a:gd name="connsiteX988" fmla="*/ 628306 w 3751729"/>
              <a:gd name="connsiteY988" fmla="*/ 418810 h 1237129"/>
              <a:gd name="connsiteX989" fmla="*/ 622645 w 3751729"/>
              <a:gd name="connsiteY989" fmla="*/ 427918 h 1237129"/>
              <a:gd name="connsiteX990" fmla="*/ 615999 w 3751729"/>
              <a:gd name="connsiteY990" fmla="*/ 438010 h 1237129"/>
              <a:gd name="connsiteX991" fmla="*/ 610338 w 3751729"/>
              <a:gd name="connsiteY991" fmla="*/ 451549 h 1237129"/>
              <a:gd name="connsiteX992" fmla="*/ 605415 w 3751729"/>
              <a:gd name="connsiteY992" fmla="*/ 463364 h 1237129"/>
              <a:gd name="connsiteX993" fmla="*/ 605415 w 3751729"/>
              <a:gd name="connsiteY993" fmla="*/ 470749 h 1237129"/>
              <a:gd name="connsiteX994" fmla="*/ 606400 w 3751729"/>
              <a:gd name="connsiteY994" fmla="*/ 475671 h 1237129"/>
              <a:gd name="connsiteX995" fmla="*/ 606400 w 3751729"/>
              <a:gd name="connsiteY995" fmla="*/ 478134 h 1237129"/>
              <a:gd name="connsiteX996" fmla="*/ 608122 w 3751729"/>
              <a:gd name="connsiteY996" fmla="*/ 479856 h 1237129"/>
              <a:gd name="connsiteX997" fmla="*/ 609846 w 3751729"/>
              <a:gd name="connsiteY997" fmla="*/ 481580 h 1237129"/>
              <a:gd name="connsiteX998" fmla="*/ 610584 w 3751729"/>
              <a:gd name="connsiteY998" fmla="*/ 483302 h 1237129"/>
              <a:gd name="connsiteX999" fmla="*/ 615507 w 3751729"/>
              <a:gd name="connsiteY999" fmla="*/ 484042 h 1237129"/>
              <a:gd name="connsiteX1000" fmla="*/ 615507 w 3751729"/>
              <a:gd name="connsiteY1000" fmla="*/ 481580 h 1237129"/>
              <a:gd name="connsiteX1001" fmla="*/ 617969 w 3751729"/>
              <a:gd name="connsiteY1001" fmla="*/ 475671 h 1237129"/>
              <a:gd name="connsiteX1002" fmla="*/ 622153 w 3751729"/>
              <a:gd name="connsiteY1002" fmla="*/ 466564 h 1237129"/>
              <a:gd name="connsiteX1003" fmla="*/ 627076 w 3751729"/>
              <a:gd name="connsiteY1003" fmla="*/ 454749 h 1237129"/>
              <a:gd name="connsiteX1004" fmla="*/ 631261 w 3751729"/>
              <a:gd name="connsiteY1004" fmla="*/ 444656 h 1237129"/>
              <a:gd name="connsiteX1005" fmla="*/ 635445 w 3751729"/>
              <a:gd name="connsiteY1005" fmla="*/ 436287 h 1237129"/>
              <a:gd name="connsiteX1006" fmla="*/ 637169 w 3751729"/>
              <a:gd name="connsiteY1006" fmla="*/ 430379 h 1237129"/>
              <a:gd name="connsiteX1007" fmla="*/ 647014 w 3751729"/>
              <a:gd name="connsiteY1007" fmla="*/ 430379 h 1237129"/>
              <a:gd name="connsiteX1008" fmla="*/ 648738 w 3751729"/>
              <a:gd name="connsiteY1008" fmla="*/ 446379 h 1237129"/>
              <a:gd name="connsiteX1009" fmla="*/ 648738 w 3751729"/>
              <a:gd name="connsiteY1009" fmla="*/ 460657 h 1237129"/>
              <a:gd name="connsiteX1010" fmla="*/ 648738 w 3751729"/>
              <a:gd name="connsiteY1010" fmla="*/ 478379 h 1237129"/>
              <a:gd name="connsiteX1011" fmla="*/ 650461 w 3751729"/>
              <a:gd name="connsiteY1011" fmla="*/ 497579 h 1237129"/>
              <a:gd name="connsiteX1012" fmla="*/ 668677 w 3751729"/>
              <a:gd name="connsiteY1012" fmla="*/ 500041 h 1237129"/>
              <a:gd name="connsiteX1013" fmla="*/ 676061 w 3751729"/>
              <a:gd name="connsiteY1013" fmla="*/ 489210 h 1237129"/>
              <a:gd name="connsiteX1014" fmla="*/ 689353 w 3751729"/>
              <a:gd name="connsiteY1014" fmla="*/ 481580 h 1237129"/>
              <a:gd name="connsiteX1015" fmla="*/ 703383 w 3751729"/>
              <a:gd name="connsiteY1015" fmla="*/ 473949 h 1237129"/>
              <a:gd name="connsiteX1016" fmla="*/ 718153 w 3751729"/>
              <a:gd name="connsiteY1016" fmla="*/ 468041 h 1237129"/>
              <a:gd name="connsiteX1017" fmla="*/ 732184 w 3751729"/>
              <a:gd name="connsiteY1017" fmla="*/ 462133 h 1237129"/>
              <a:gd name="connsiteX1018" fmla="*/ 745476 w 3751729"/>
              <a:gd name="connsiteY1018" fmla="*/ 454502 h 1237129"/>
              <a:gd name="connsiteX1019" fmla="*/ 751137 w 3751729"/>
              <a:gd name="connsiteY1019" fmla="*/ 446133 h 1237129"/>
              <a:gd name="connsiteX1020" fmla="*/ 747937 w 3751729"/>
              <a:gd name="connsiteY1020" fmla="*/ 446133 h 1237129"/>
              <a:gd name="connsiteX1021" fmla="*/ 747198 w 3751729"/>
              <a:gd name="connsiteY1021" fmla="*/ 442688 h 1237129"/>
              <a:gd name="connsiteX1022" fmla="*/ 747198 w 3751729"/>
              <a:gd name="connsiteY1022" fmla="*/ 441949 h 1237129"/>
              <a:gd name="connsiteX1023" fmla="*/ 745476 w 3751729"/>
              <a:gd name="connsiteY1023" fmla="*/ 440225 h 1237129"/>
              <a:gd name="connsiteX1024" fmla="*/ 743752 w 3751729"/>
              <a:gd name="connsiteY1024" fmla="*/ 440225 h 1237129"/>
              <a:gd name="connsiteX1025" fmla="*/ 742029 w 3751729"/>
              <a:gd name="connsiteY1025" fmla="*/ 440225 h 1237129"/>
              <a:gd name="connsiteX1026" fmla="*/ 739568 w 3751729"/>
              <a:gd name="connsiteY1026" fmla="*/ 438503 h 1237129"/>
              <a:gd name="connsiteX1027" fmla="*/ 733906 w 3751729"/>
              <a:gd name="connsiteY1027" fmla="*/ 442688 h 1237129"/>
              <a:gd name="connsiteX1028" fmla="*/ 724060 w 3751729"/>
              <a:gd name="connsiteY1028" fmla="*/ 448595 h 1237129"/>
              <a:gd name="connsiteX1029" fmla="*/ 712491 w 3751729"/>
              <a:gd name="connsiteY1029" fmla="*/ 457702 h 1237129"/>
              <a:gd name="connsiteX1030" fmla="*/ 697722 w 3751729"/>
              <a:gd name="connsiteY1030" fmla="*/ 465334 h 1237129"/>
              <a:gd name="connsiteX1031" fmla="*/ 684429 w 3751729"/>
              <a:gd name="connsiteY1031" fmla="*/ 473703 h 1237129"/>
              <a:gd name="connsiteX1032" fmla="*/ 672122 w 3751729"/>
              <a:gd name="connsiteY1032" fmla="*/ 479611 h 1237129"/>
              <a:gd name="connsiteX1033" fmla="*/ 663014 w 3751729"/>
              <a:gd name="connsiteY1033" fmla="*/ 483056 h 1237129"/>
              <a:gd name="connsiteX1034" fmla="*/ 660553 w 3751729"/>
              <a:gd name="connsiteY1034" fmla="*/ 483795 h 1237129"/>
              <a:gd name="connsiteX1035" fmla="*/ 658830 w 3751729"/>
              <a:gd name="connsiteY1035" fmla="*/ 483056 h 1237129"/>
              <a:gd name="connsiteX1036" fmla="*/ 657107 w 3751729"/>
              <a:gd name="connsiteY1036" fmla="*/ 481334 h 1237129"/>
              <a:gd name="connsiteX1037" fmla="*/ 657107 w 3751729"/>
              <a:gd name="connsiteY1037" fmla="*/ 479611 h 1237129"/>
              <a:gd name="connsiteX1038" fmla="*/ 657107 w 3751729"/>
              <a:gd name="connsiteY1038" fmla="*/ 477887 h 1237129"/>
              <a:gd name="connsiteX1039" fmla="*/ 656368 w 3751729"/>
              <a:gd name="connsiteY1039" fmla="*/ 475425 h 1237129"/>
              <a:gd name="connsiteX1040" fmla="*/ 660553 w 3751729"/>
              <a:gd name="connsiteY1040" fmla="*/ 467794 h 1237129"/>
              <a:gd name="connsiteX1041" fmla="*/ 660553 w 3751729"/>
              <a:gd name="connsiteY1041" fmla="*/ 461887 h 1237129"/>
              <a:gd name="connsiteX1042" fmla="*/ 658830 w 3751729"/>
              <a:gd name="connsiteY1042" fmla="*/ 457702 h 1237129"/>
              <a:gd name="connsiteX1043" fmla="*/ 657107 w 3751729"/>
              <a:gd name="connsiteY1043" fmla="*/ 450071 h 1237129"/>
              <a:gd name="connsiteX1044" fmla="*/ 660306 w 3751729"/>
              <a:gd name="connsiteY1044" fmla="*/ 441703 h 1237129"/>
              <a:gd name="connsiteX1045" fmla="*/ 662031 w 3751729"/>
              <a:gd name="connsiteY1045" fmla="*/ 439980 h 1237129"/>
              <a:gd name="connsiteX1046" fmla="*/ 662768 w 3751729"/>
              <a:gd name="connsiteY1046" fmla="*/ 438257 h 1237129"/>
              <a:gd name="connsiteX1047" fmla="*/ 664491 w 3751729"/>
              <a:gd name="connsiteY1047" fmla="*/ 436534 h 1237129"/>
              <a:gd name="connsiteX1048" fmla="*/ 666215 w 3751729"/>
              <a:gd name="connsiteY1048" fmla="*/ 436534 h 1237129"/>
              <a:gd name="connsiteX1049" fmla="*/ 667937 w 3751729"/>
              <a:gd name="connsiteY1049" fmla="*/ 436534 h 1237129"/>
              <a:gd name="connsiteX1050" fmla="*/ 668677 w 3751729"/>
              <a:gd name="connsiteY1050" fmla="*/ 435794 h 1237129"/>
              <a:gd name="connsiteX1051" fmla="*/ 670399 w 3751729"/>
              <a:gd name="connsiteY1051" fmla="*/ 434072 h 1237129"/>
              <a:gd name="connsiteX1052" fmla="*/ 670399 w 3751729"/>
              <a:gd name="connsiteY1052" fmla="*/ 430626 h 1237129"/>
              <a:gd name="connsiteX1053" fmla="*/ 672122 w 3751729"/>
              <a:gd name="connsiteY1053" fmla="*/ 426441 h 1237129"/>
              <a:gd name="connsiteX1054" fmla="*/ 672122 w 3751729"/>
              <a:gd name="connsiteY1054" fmla="*/ 418810 h 1237129"/>
              <a:gd name="connsiteX1055" fmla="*/ 664738 w 3751729"/>
              <a:gd name="connsiteY1055" fmla="*/ 414626 h 1237129"/>
              <a:gd name="connsiteX1056" fmla="*/ 657353 w 3751729"/>
              <a:gd name="connsiteY1056" fmla="*/ 412903 h 1237129"/>
              <a:gd name="connsiteX1057" fmla="*/ 651692 w 3751729"/>
              <a:gd name="connsiteY1057" fmla="*/ 412903 h 1237129"/>
              <a:gd name="connsiteX1058" fmla="*/ 645046 w 3751729"/>
              <a:gd name="connsiteY1058" fmla="*/ 410441 h 1237129"/>
              <a:gd name="connsiteX1059" fmla="*/ 634215 w 3751729"/>
              <a:gd name="connsiteY1059" fmla="*/ 402810 h 1237129"/>
              <a:gd name="connsiteX1060" fmla="*/ 627569 w 3751729"/>
              <a:gd name="connsiteY1060" fmla="*/ 396164 h 1237129"/>
              <a:gd name="connsiteX1061" fmla="*/ 622645 w 3751729"/>
              <a:gd name="connsiteY1061" fmla="*/ 387057 h 1237129"/>
              <a:gd name="connsiteX1062" fmla="*/ 616984 w 3751729"/>
              <a:gd name="connsiteY1062" fmla="*/ 378687 h 1237129"/>
              <a:gd name="connsiteX1063" fmla="*/ 610338 w 3751729"/>
              <a:gd name="connsiteY1063" fmla="*/ 372780 h 1237129"/>
              <a:gd name="connsiteX1064" fmla="*/ 598769 w 3751729"/>
              <a:gd name="connsiteY1064" fmla="*/ 366872 h 1237129"/>
              <a:gd name="connsiteX1065" fmla="*/ 873963 w 3751729"/>
              <a:gd name="connsiteY1065" fmla="*/ 351856 h 1237129"/>
              <a:gd name="connsiteX1066" fmla="*/ 884795 w 3751729"/>
              <a:gd name="connsiteY1066" fmla="*/ 352594 h 1237129"/>
              <a:gd name="connsiteX1067" fmla="*/ 891195 w 3751729"/>
              <a:gd name="connsiteY1067" fmla="*/ 354317 h 1237129"/>
              <a:gd name="connsiteX1068" fmla="*/ 900304 w 3751729"/>
              <a:gd name="connsiteY1068" fmla="*/ 357764 h 1237129"/>
              <a:gd name="connsiteX1069" fmla="*/ 900304 w 3751729"/>
              <a:gd name="connsiteY1069" fmla="*/ 364410 h 1237129"/>
              <a:gd name="connsiteX1070" fmla="*/ 897102 w 3751729"/>
              <a:gd name="connsiteY1070" fmla="*/ 364410 h 1237129"/>
              <a:gd name="connsiteX1071" fmla="*/ 894641 w 3751729"/>
              <a:gd name="connsiteY1071" fmla="*/ 366134 h 1237129"/>
              <a:gd name="connsiteX1072" fmla="*/ 891195 w 3751729"/>
              <a:gd name="connsiteY1072" fmla="*/ 366134 h 1237129"/>
              <a:gd name="connsiteX1073" fmla="*/ 888733 w 3751729"/>
              <a:gd name="connsiteY1073" fmla="*/ 366134 h 1237129"/>
              <a:gd name="connsiteX1074" fmla="*/ 884795 w 3751729"/>
              <a:gd name="connsiteY1074" fmla="*/ 367611 h 1237129"/>
              <a:gd name="connsiteX1075" fmla="*/ 881348 w 3751729"/>
              <a:gd name="connsiteY1075" fmla="*/ 363426 h 1237129"/>
              <a:gd name="connsiteX1076" fmla="*/ 879625 w 3751729"/>
              <a:gd name="connsiteY1076" fmla="*/ 361948 h 1237129"/>
              <a:gd name="connsiteX1077" fmla="*/ 878887 w 3751729"/>
              <a:gd name="connsiteY1077" fmla="*/ 358503 h 1237129"/>
              <a:gd name="connsiteX1078" fmla="*/ 877164 w 3751729"/>
              <a:gd name="connsiteY1078" fmla="*/ 356041 h 1237129"/>
              <a:gd name="connsiteX1079" fmla="*/ 941657 w 3751729"/>
              <a:gd name="connsiteY1079" fmla="*/ 335118 h 1237129"/>
              <a:gd name="connsiteX1080" fmla="*/ 950765 w 3751729"/>
              <a:gd name="connsiteY1080" fmla="*/ 335118 h 1237129"/>
              <a:gd name="connsiteX1081" fmla="*/ 950765 w 3751729"/>
              <a:gd name="connsiteY1081" fmla="*/ 346932 h 1237129"/>
              <a:gd name="connsiteX1082" fmla="*/ 950765 w 3751729"/>
              <a:gd name="connsiteY1082" fmla="*/ 357763 h 1237129"/>
              <a:gd name="connsiteX1083" fmla="*/ 952488 w 3751729"/>
              <a:gd name="connsiteY1083" fmla="*/ 366133 h 1237129"/>
              <a:gd name="connsiteX1084" fmla="*/ 953226 w 3751729"/>
              <a:gd name="connsiteY1084" fmla="*/ 375979 h 1237129"/>
              <a:gd name="connsiteX1085" fmla="*/ 969718 w 3751729"/>
              <a:gd name="connsiteY1085" fmla="*/ 375979 h 1237129"/>
              <a:gd name="connsiteX1086" fmla="*/ 969718 w 3751729"/>
              <a:gd name="connsiteY1086" fmla="*/ 392717 h 1237129"/>
              <a:gd name="connsiteX1087" fmla="*/ 976365 w 3751729"/>
              <a:gd name="connsiteY1087" fmla="*/ 392717 h 1237129"/>
              <a:gd name="connsiteX1088" fmla="*/ 978089 w 3751729"/>
              <a:gd name="connsiteY1088" fmla="*/ 393456 h 1237129"/>
              <a:gd name="connsiteX1089" fmla="*/ 979811 w 3751729"/>
              <a:gd name="connsiteY1089" fmla="*/ 393456 h 1237129"/>
              <a:gd name="connsiteX1090" fmla="*/ 981288 w 3751729"/>
              <a:gd name="connsiteY1090" fmla="*/ 393456 h 1237129"/>
              <a:gd name="connsiteX1091" fmla="*/ 982272 w 3751729"/>
              <a:gd name="connsiteY1091" fmla="*/ 393456 h 1237129"/>
              <a:gd name="connsiteX1092" fmla="*/ 983750 w 3751729"/>
              <a:gd name="connsiteY1092" fmla="*/ 393456 h 1237129"/>
              <a:gd name="connsiteX1093" fmla="*/ 985472 w 3751729"/>
              <a:gd name="connsiteY1093" fmla="*/ 395179 h 1237129"/>
              <a:gd name="connsiteX1094" fmla="*/ 983750 w 3751729"/>
              <a:gd name="connsiteY1094" fmla="*/ 404286 h 1237129"/>
              <a:gd name="connsiteX1095" fmla="*/ 981288 w 3751729"/>
              <a:gd name="connsiteY1095" fmla="*/ 414379 h 1237129"/>
              <a:gd name="connsiteX1096" fmla="*/ 979811 w 3751729"/>
              <a:gd name="connsiteY1096" fmla="*/ 424225 h 1237129"/>
              <a:gd name="connsiteX1097" fmla="*/ 976365 w 3751729"/>
              <a:gd name="connsiteY1097" fmla="*/ 424225 h 1237129"/>
              <a:gd name="connsiteX1098" fmla="*/ 975626 w 3751729"/>
              <a:gd name="connsiteY1098" fmla="*/ 421025 h 1237129"/>
              <a:gd name="connsiteX1099" fmla="*/ 975626 w 3751729"/>
              <a:gd name="connsiteY1099" fmla="*/ 420041 h 1237129"/>
              <a:gd name="connsiteX1100" fmla="*/ 975626 w 3751729"/>
              <a:gd name="connsiteY1100" fmla="*/ 418563 h 1237129"/>
              <a:gd name="connsiteX1101" fmla="*/ 973904 w 3751729"/>
              <a:gd name="connsiteY1101" fmla="*/ 416841 h 1237129"/>
              <a:gd name="connsiteX1102" fmla="*/ 973904 w 3751729"/>
              <a:gd name="connsiteY1102" fmla="*/ 415117 h 1237129"/>
              <a:gd name="connsiteX1103" fmla="*/ 972180 w 3751729"/>
              <a:gd name="connsiteY1103" fmla="*/ 418563 h 1237129"/>
              <a:gd name="connsiteX1104" fmla="*/ 970703 w 3751729"/>
              <a:gd name="connsiteY1104" fmla="*/ 418563 h 1237129"/>
              <a:gd name="connsiteX1105" fmla="*/ 970703 w 3751729"/>
              <a:gd name="connsiteY1105" fmla="*/ 420041 h 1237129"/>
              <a:gd name="connsiteX1106" fmla="*/ 969718 w 3751729"/>
              <a:gd name="connsiteY1106" fmla="*/ 420041 h 1237129"/>
              <a:gd name="connsiteX1107" fmla="*/ 966519 w 3751729"/>
              <a:gd name="connsiteY1107" fmla="*/ 421025 h 1237129"/>
              <a:gd name="connsiteX1108" fmla="*/ 966519 w 3751729"/>
              <a:gd name="connsiteY1108" fmla="*/ 415117 h 1237129"/>
              <a:gd name="connsiteX1109" fmla="*/ 968242 w 3751729"/>
              <a:gd name="connsiteY1109" fmla="*/ 414379 h 1237129"/>
              <a:gd name="connsiteX1110" fmla="*/ 968242 w 3751729"/>
              <a:gd name="connsiteY1110" fmla="*/ 412655 h 1237129"/>
              <a:gd name="connsiteX1111" fmla="*/ 969718 w 3751729"/>
              <a:gd name="connsiteY1111" fmla="*/ 410932 h 1237129"/>
              <a:gd name="connsiteX1112" fmla="*/ 969718 w 3751729"/>
              <a:gd name="connsiteY1112" fmla="*/ 408471 h 1237129"/>
              <a:gd name="connsiteX1113" fmla="*/ 969718 w 3751729"/>
              <a:gd name="connsiteY1113" fmla="*/ 405271 h 1237129"/>
              <a:gd name="connsiteX1114" fmla="*/ 966519 w 3751729"/>
              <a:gd name="connsiteY1114" fmla="*/ 405271 h 1237129"/>
              <a:gd name="connsiteX1115" fmla="*/ 960611 w 3751729"/>
              <a:gd name="connsiteY1115" fmla="*/ 410932 h 1237129"/>
              <a:gd name="connsiteX1116" fmla="*/ 954950 w 3751729"/>
              <a:gd name="connsiteY1116" fmla="*/ 416841 h 1237129"/>
              <a:gd name="connsiteX1117" fmla="*/ 947565 w 3751729"/>
              <a:gd name="connsiteY1117" fmla="*/ 421025 h 1237129"/>
              <a:gd name="connsiteX1118" fmla="*/ 947565 w 3751729"/>
              <a:gd name="connsiteY1118" fmla="*/ 416841 h 1237129"/>
              <a:gd name="connsiteX1119" fmla="*/ 947565 w 3751729"/>
              <a:gd name="connsiteY1119" fmla="*/ 412655 h 1237129"/>
              <a:gd name="connsiteX1120" fmla="*/ 947565 w 3751729"/>
              <a:gd name="connsiteY1120" fmla="*/ 410932 h 1237129"/>
              <a:gd name="connsiteX1121" fmla="*/ 946580 w 3751729"/>
              <a:gd name="connsiteY1121" fmla="*/ 410194 h 1237129"/>
              <a:gd name="connsiteX1122" fmla="*/ 943380 w 3751729"/>
              <a:gd name="connsiteY1122" fmla="*/ 408471 h 1237129"/>
              <a:gd name="connsiteX1123" fmla="*/ 939195 w 3751729"/>
              <a:gd name="connsiteY1123" fmla="*/ 408471 h 1237129"/>
              <a:gd name="connsiteX1124" fmla="*/ 931811 w 3751729"/>
              <a:gd name="connsiteY1124" fmla="*/ 408471 h 1237129"/>
              <a:gd name="connsiteX1125" fmla="*/ 929349 w 3751729"/>
              <a:gd name="connsiteY1125" fmla="*/ 408471 h 1237129"/>
              <a:gd name="connsiteX1126" fmla="*/ 925903 w 3751729"/>
              <a:gd name="connsiteY1126" fmla="*/ 408471 h 1237129"/>
              <a:gd name="connsiteX1127" fmla="*/ 921965 w 3751729"/>
              <a:gd name="connsiteY1127" fmla="*/ 406748 h 1237129"/>
              <a:gd name="connsiteX1128" fmla="*/ 917780 w 3751729"/>
              <a:gd name="connsiteY1128" fmla="*/ 406748 h 1237129"/>
              <a:gd name="connsiteX1129" fmla="*/ 913595 w 3751729"/>
              <a:gd name="connsiteY1129" fmla="*/ 405271 h 1237129"/>
              <a:gd name="connsiteX1130" fmla="*/ 910395 w 3751729"/>
              <a:gd name="connsiteY1130" fmla="*/ 402564 h 1237129"/>
              <a:gd name="connsiteX1131" fmla="*/ 918519 w 3751729"/>
              <a:gd name="connsiteY1131" fmla="*/ 390994 h 1237129"/>
              <a:gd name="connsiteX1132" fmla="*/ 927626 w 3751729"/>
              <a:gd name="connsiteY1132" fmla="*/ 373518 h 1237129"/>
              <a:gd name="connsiteX1133" fmla="*/ 933534 w 3751729"/>
              <a:gd name="connsiteY1133" fmla="*/ 354317 h 1237129"/>
              <a:gd name="connsiteX1134" fmla="*/ 668181 w 3751729"/>
              <a:gd name="connsiteY1134" fmla="*/ 284409 h 1237129"/>
              <a:gd name="connsiteX1135" fmla="*/ 680489 w 3751729"/>
              <a:gd name="connsiteY1135" fmla="*/ 284409 h 1237129"/>
              <a:gd name="connsiteX1136" fmla="*/ 680489 w 3751729"/>
              <a:gd name="connsiteY1136" fmla="*/ 290318 h 1237129"/>
              <a:gd name="connsiteX1137" fmla="*/ 678027 w 3751729"/>
              <a:gd name="connsiteY1137" fmla="*/ 290318 h 1237129"/>
              <a:gd name="connsiteX1138" fmla="*/ 676551 w 3751729"/>
              <a:gd name="connsiteY1138" fmla="*/ 291793 h 1237129"/>
              <a:gd name="connsiteX1139" fmla="*/ 675565 w 3751729"/>
              <a:gd name="connsiteY1139" fmla="*/ 291793 h 1237129"/>
              <a:gd name="connsiteX1140" fmla="*/ 674089 w 3751729"/>
              <a:gd name="connsiteY1140" fmla="*/ 291793 h 1237129"/>
              <a:gd name="connsiteX1141" fmla="*/ 672366 w 3751729"/>
              <a:gd name="connsiteY1141" fmla="*/ 293518 h 1237129"/>
              <a:gd name="connsiteX1142" fmla="*/ 668181 w 3751729"/>
              <a:gd name="connsiteY1142" fmla="*/ 293518 h 1237129"/>
              <a:gd name="connsiteX1143" fmla="*/ 3216347 w 3751729"/>
              <a:gd name="connsiteY1143" fmla="*/ 266933 h 1237129"/>
              <a:gd name="connsiteX1144" fmla="*/ 3218071 w 3751729"/>
              <a:gd name="connsiteY1144" fmla="*/ 268656 h 1237129"/>
              <a:gd name="connsiteX1145" fmla="*/ 3218071 w 3751729"/>
              <a:gd name="connsiteY1145" fmla="*/ 270133 h 1237129"/>
              <a:gd name="connsiteX1146" fmla="*/ 3218809 w 3751729"/>
              <a:gd name="connsiteY1146" fmla="*/ 270133 h 1237129"/>
              <a:gd name="connsiteX1147" fmla="*/ 3218809 w 3751729"/>
              <a:gd name="connsiteY1147" fmla="*/ 271856 h 1237129"/>
              <a:gd name="connsiteX1148" fmla="*/ 3223732 w 3751729"/>
              <a:gd name="connsiteY1148" fmla="*/ 281948 h 1237129"/>
              <a:gd name="connsiteX1149" fmla="*/ 3223732 w 3751729"/>
              <a:gd name="connsiteY1149" fmla="*/ 295240 h 1237129"/>
              <a:gd name="connsiteX1150" fmla="*/ 3223732 w 3751729"/>
              <a:gd name="connsiteY1150" fmla="*/ 307795 h 1237129"/>
              <a:gd name="connsiteX1151" fmla="*/ 3226193 w 3751729"/>
              <a:gd name="connsiteY1151" fmla="*/ 322810 h 1237129"/>
              <a:gd name="connsiteX1152" fmla="*/ 3230377 w 3751729"/>
              <a:gd name="connsiteY1152" fmla="*/ 336841 h 1237129"/>
              <a:gd name="connsiteX1153" fmla="*/ 3237763 w 3751729"/>
              <a:gd name="connsiteY1153" fmla="*/ 352595 h 1237129"/>
              <a:gd name="connsiteX1154" fmla="*/ 3241947 w 3751729"/>
              <a:gd name="connsiteY1154" fmla="*/ 370071 h 1237129"/>
              <a:gd name="connsiteX1155" fmla="*/ 3222255 w 3751729"/>
              <a:gd name="connsiteY1155" fmla="*/ 367609 h 1237129"/>
              <a:gd name="connsiteX1156" fmla="*/ 3222255 w 3751729"/>
              <a:gd name="connsiteY1156" fmla="*/ 380902 h 1237129"/>
              <a:gd name="connsiteX1157" fmla="*/ 3224717 w 3751729"/>
              <a:gd name="connsiteY1157" fmla="*/ 390995 h 1237129"/>
              <a:gd name="connsiteX1158" fmla="*/ 3226193 w 3751729"/>
              <a:gd name="connsiteY1158" fmla="*/ 401087 h 1237129"/>
              <a:gd name="connsiteX1159" fmla="*/ 3229639 w 3751729"/>
              <a:gd name="connsiteY1159" fmla="*/ 415117 h 1237129"/>
              <a:gd name="connsiteX1160" fmla="*/ 3224717 w 3751729"/>
              <a:gd name="connsiteY1160" fmla="*/ 415117 h 1237129"/>
              <a:gd name="connsiteX1161" fmla="*/ 3222255 w 3751729"/>
              <a:gd name="connsiteY1161" fmla="*/ 415117 h 1237129"/>
              <a:gd name="connsiteX1162" fmla="*/ 3218071 w 3751729"/>
              <a:gd name="connsiteY1162" fmla="*/ 416840 h 1237129"/>
              <a:gd name="connsiteX1163" fmla="*/ 3216347 w 3751729"/>
              <a:gd name="connsiteY1163" fmla="*/ 416840 h 1237129"/>
              <a:gd name="connsiteX1164" fmla="*/ 3213885 w 3751729"/>
              <a:gd name="connsiteY1164" fmla="*/ 418564 h 1237129"/>
              <a:gd name="connsiteX1165" fmla="*/ 3210686 w 3751729"/>
              <a:gd name="connsiteY1165" fmla="*/ 410194 h 1237129"/>
              <a:gd name="connsiteX1166" fmla="*/ 3208962 w 3751729"/>
              <a:gd name="connsiteY1166" fmla="*/ 393456 h 1237129"/>
              <a:gd name="connsiteX1167" fmla="*/ 3208962 w 3751729"/>
              <a:gd name="connsiteY1167" fmla="*/ 375240 h 1237129"/>
              <a:gd name="connsiteX1168" fmla="*/ 3208962 w 3751729"/>
              <a:gd name="connsiteY1168" fmla="*/ 354317 h 1237129"/>
              <a:gd name="connsiteX1169" fmla="*/ 3208962 w 3751729"/>
              <a:gd name="connsiteY1169" fmla="*/ 335117 h 1237129"/>
              <a:gd name="connsiteX1170" fmla="*/ 3206501 w 3751729"/>
              <a:gd name="connsiteY1170" fmla="*/ 322810 h 1237129"/>
              <a:gd name="connsiteX1171" fmla="*/ 3206501 w 3751729"/>
              <a:gd name="connsiteY1171" fmla="*/ 290318 h 1237129"/>
              <a:gd name="connsiteX1172" fmla="*/ 3208962 w 3751729"/>
              <a:gd name="connsiteY1172" fmla="*/ 286133 h 1237129"/>
              <a:gd name="connsiteX1173" fmla="*/ 3210686 w 3751729"/>
              <a:gd name="connsiteY1173" fmla="*/ 283672 h 1237129"/>
              <a:gd name="connsiteX1174" fmla="*/ 3212163 w 3751729"/>
              <a:gd name="connsiteY1174" fmla="*/ 280226 h 1237129"/>
              <a:gd name="connsiteX1175" fmla="*/ 3213885 w 3751729"/>
              <a:gd name="connsiteY1175" fmla="*/ 277764 h 1237129"/>
              <a:gd name="connsiteX1176" fmla="*/ 3214625 w 3751729"/>
              <a:gd name="connsiteY1176" fmla="*/ 272841 h 1237129"/>
              <a:gd name="connsiteX1177" fmla="*/ 1521837 w 3751729"/>
              <a:gd name="connsiteY1177" fmla="*/ 255363 h 1237129"/>
              <a:gd name="connsiteX1178" fmla="*/ 1525037 w 3751729"/>
              <a:gd name="connsiteY1178" fmla="*/ 272840 h 1237129"/>
              <a:gd name="connsiteX1179" fmla="*/ 1523314 w 3751729"/>
              <a:gd name="connsiteY1179" fmla="*/ 290318 h 1237129"/>
              <a:gd name="connsiteX1180" fmla="*/ 1519375 w 3751729"/>
              <a:gd name="connsiteY1180" fmla="*/ 309272 h 1237129"/>
              <a:gd name="connsiteX1181" fmla="*/ 1507806 w 3751729"/>
              <a:gd name="connsiteY1181" fmla="*/ 315179 h 1237129"/>
              <a:gd name="connsiteX1182" fmla="*/ 1496976 w 3751729"/>
              <a:gd name="connsiteY1182" fmla="*/ 318626 h 1237129"/>
              <a:gd name="connsiteX1183" fmla="*/ 1481221 w 3751729"/>
              <a:gd name="connsiteY1183" fmla="*/ 319364 h 1237129"/>
              <a:gd name="connsiteX1184" fmla="*/ 1481221 w 3751729"/>
              <a:gd name="connsiteY1184" fmla="*/ 312718 h 1237129"/>
              <a:gd name="connsiteX1185" fmla="*/ 1485406 w 3751729"/>
              <a:gd name="connsiteY1185" fmla="*/ 301887 h 1237129"/>
              <a:gd name="connsiteX1186" fmla="*/ 1485406 w 3751729"/>
              <a:gd name="connsiteY1186" fmla="*/ 289332 h 1237129"/>
              <a:gd name="connsiteX1187" fmla="*/ 1484667 w 3751729"/>
              <a:gd name="connsiteY1187" fmla="*/ 274317 h 1237129"/>
              <a:gd name="connsiteX1188" fmla="*/ 1492791 w 3751729"/>
              <a:gd name="connsiteY1188" fmla="*/ 266933 h 1237129"/>
              <a:gd name="connsiteX1189" fmla="*/ 1500175 w 3751729"/>
              <a:gd name="connsiteY1189" fmla="*/ 261025 h 1237129"/>
              <a:gd name="connsiteX1190" fmla="*/ 1508545 w 3751729"/>
              <a:gd name="connsiteY1190" fmla="*/ 256841 h 1237129"/>
              <a:gd name="connsiteX1191" fmla="*/ 1728358 w 3751729"/>
              <a:gd name="connsiteY1191" fmla="*/ 232718 h 1237129"/>
              <a:gd name="connsiteX1192" fmla="*/ 1730820 w 3751729"/>
              <a:gd name="connsiteY1192" fmla="*/ 235180 h 1237129"/>
              <a:gd name="connsiteX1193" fmla="*/ 1732542 w 3751729"/>
              <a:gd name="connsiteY1193" fmla="*/ 236903 h 1237129"/>
              <a:gd name="connsiteX1194" fmla="*/ 1734019 w 3751729"/>
              <a:gd name="connsiteY1194" fmla="*/ 238625 h 1237129"/>
              <a:gd name="connsiteX1195" fmla="*/ 1734019 w 3751729"/>
              <a:gd name="connsiteY1195" fmla="*/ 241087 h 1237129"/>
              <a:gd name="connsiteX1196" fmla="*/ 1734019 w 3751729"/>
              <a:gd name="connsiteY1196" fmla="*/ 244533 h 1237129"/>
              <a:gd name="connsiteX1197" fmla="*/ 1735004 w 3751729"/>
              <a:gd name="connsiteY1197" fmla="*/ 248472 h 1237129"/>
              <a:gd name="connsiteX1198" fmla="*/ 1734019 w 3751729"/>
              <a:gd name="connsiteY1198" fmla="*/ 251179 h 1237129"/>
              <a:gd name="connsiteX1199" fmla="*/ 1732542 w 3751729"/>
              <a:gd name="connsiteY1199" fmla="*/ 252656 h 1237129"/>
              <a:gd name="connsiteX1200" fmla="*/ 1732542 w 3751729"/>
              <a:gd name="connsiteY1200" fmla="*/ 254379 h 1237129"/>
              <a:gd name="connsiteX1201" fmla="*/ 1732542 w 3751729"/>
              <a:gd name="connsiteY1201" fmla="*/ 255364 h 1237129"/>
              <a:gd name="connsiteX1202" fmla="*/ 1732542 w 3751729"/>
              <a:gd name="connsiteY1202" fmla="*/ 256841 h 1237129"/>
              <a:gd name="connsiteX1203" fmla="*/ 1730820 w 3751729"/>
              <a:gd name="connsiteY1203" fmla="*/ 258564 h 1237129"/>
              <a:gd name="connsiteX1204" fmla="*/ 1729095 w 3751729"/>
              <a:gd name="connsiteY1204" fmla="*/ 260287 h 1237129"/>
              <a:gd name="connsiteX1205" fmla="*/ 1728358 w 3751729"/>
              <a:gd name="connsiteY1205" fmla="*/ 260287 h 1237129"/>
              <a:gd name="connsiteX1206" fmla="*/ 1726634 w 3751729"/>
              <a:gd name="connsiteY1206" fmla="*/ 260287 h 1237129"/>
              <a:gd name="connsiteX1207" fmla="*/ 1724911 w 3751729"/>
              <a:gd name="connsiteY1207" fmla="*/ 261025 h 1237129"/>
              <a:gd name="connsiteX1208" fmla="*/ 1722449 w 3751729"/>
              <a:gd name="connsiteY1208" fmla="*/ 261025 h 1237129"/>
              <a:gd name="connsiteX1209" fmla="*/ 1717527 w 3751729"/>
              <a:gd name="connsiteY1209" fmla="*/ 251179 h 1237129"/>
              <a:gd name="connsiteX1210" fmla="*/ 1715066 w 3751729"/>
              <a:gd name="connsiteY1210" fmla="*/ 246995 h 1237129"/>
              <a:gd name="connsiteX1211" fmla="*/ 1715066 w 3751729"/>
              <a:gd name="connsiteY1211" fmla="*/ 245271 h 1237129"/>
              <a:gd name="connsiteX1212" fmla="*/ 1716788 w 3751729"/>
              <a:gd name="connsiteY1212" fmla="*/ 244533 h 1237129"/>
              <a:gd name="connsiteX1213" fmla="*/ 1722449 w 3751729"/>
              <a:gd name="connsiteY1213" fmla="*/ 241087 h 1237129"/>
              <a:gd name="connsiteX1214" fmla="*/ 1794327 w 3751729"/>
              <a:gd name="connsiteY1214" fmla="*/ 200225 h 1237129"/>
              <a:gd name="connsiteX1215" fmla="*/ 1798512 w 3751729"/>
              <a:gd name="connsiteY1215" fmla="*/ 201949 h 1237129"/>
              <a:gd name="connsiteX1216" fmla="*/ 1800236 w 3751729"/>
              <a:gd name="connsiteY1216" fmla="*/ 201949 h 1237129"/>
              <a:gd name="connsiteX1217" fmla="*/ 1801712 w 3751729"/>
              <a:gd name="connsiteY1217" fmla="*/ 201949 h 1237129"/>
              <a:gd name="connsiteX1218" fmla="*/ 1802696 w 3751729"/>
              <a:gd name="connsiteY1218" fmla="*/ 203671 h 1237129"/>
              <a:gd name="connsiteX1219" fmla="*/ 1804420 w 3751729"/>
              <a:gd name="connsiteY1219" fmla="*/ 203671 h 1237129"/>
              <a:gd name="connsiteX1220" fmla="*/ 1801712 w 3751729"/>
              <a:gd name="connsiteY1220" fmla="*/ 207856 h 1237129"/>
              <a:gd name="connsiteX1221" fmla="*/ 1800236 w 3751729"/>
              <a:gd name="connsiteY1221" fmla="*/ 212041 h 1237129"/>
              <a:gd name="connsiteX1222" fmla="*/ 1798512 w 3751729"/>
              <a:gd name="connsiteY1222" fmla="*/ 216226 h 1237129"/>
              <a:gd name="connsiteX1223" fmla="*/ 1796050 w 3751729"/>
              <a:gd name="connsiteY1223" fmla="*/ 221148 h 1237129"/>
              <a:gd name="connsiteX1224" fmla="*/ 1791127 w 3751729"/>
              <a:gd name="connsiteY1224" fmla="*/ 223610 h 1237129"/>
              <a:gd name="connsiteX1225" fmla="*/ 1791127 w 3751729"/>
              <a:gd name="connsiteY1225" fmla="*/ 219426 h 1237129"/>
              <a:gd name="connsiteX1226" fmla="*/ 1790143 w 3751729"/>
              <a:gd name="connsiteY1226" fmla="*/ 219426 h 1237129"/>
              <a:gd name="connsiteX1227" fmla="*/ 1790143 w 3751729"/>
              <a:gd name="connsiteY1227" fmla="*/ 217703 h 1237129"/>
              <a:gd name="connsiteX1228" fmla="*/ 1790143 w 3751729"/>
              <a:gd name="connsiteY1228" fmla="*/ 216226 h 1237129"/>
              <a:gd name="connsiteX1229" fmla="*/ 1788665 w 3751729"/>
              <a:gd name="connsiteY1229" fmla="*/ 213518 h 1237129"/>
              <a:gd name="connsiteX1230" fmla="*/ 1791127 w 3751729"/>
              <a:gd name="connsiteY1230" fmla="*/ 210317 h 1237129"/>
              <a:gd name="connsiteX1231" fmla="*/ 1792850 w 3751729"/>
              <a:gd name="connsiteY1231" fmla="*/ 207856 h 1237129"/>
              <a:gd name="connsiteX1232" fmla="*/ 1794327 w 3751729"/>
              <a:gd name="connsiteY1232" fmla="*/ 204411 h 1237129"/>
              <a:gd name="connsiteX1233" fmla="*/ 1846512 w 3751729"/>
              <a:gd name="connsiteY1233" fmla="*/ 178564 h 1237129"/>
              <a:gd name="connsiteX1234" fmla="*/ 1858082 w 3751729"/>
              <a:gd name="connsiteY1234" fmla="*/ 184473 h 1237129"/>
              <a:gd name="connsiteX1235" fmla="*/ 1858082 w 3751729"/>
              <a:gd name="connsiteY1235" fmla="*/ 188657 h 1237129"/>
              <a:gd name="connsiteX1236" fmla="*/ 1854635 w 3751729"/>
              <a:gd name="connsiteY1236" fmla="*/ 188657 h 1237129"/>
              <a:gd name="connsiteX1237" fmla="*/ 1853897 w 3751729"/>
              <a:gd name="connsiteY1237" fmla="*/ 190380 h 1237129"/>
              <a:gd name="connsiteX1238" fmla="*/ 1850696 w 3751729"/>
              <a:gd name="connsiteY1238" fmla="*/ 191858 h 1237129"/>
              <a:gd name="connsiteX1239" fmla="*/ 1848973 w 3751729"/>
              <a:gd name="connsiteY1239" fmla="*/ 194565 h 1237129"/>
              <a:gd name="connsiteX1240" fmla="*/ 1846512 w 3751729"/>
              <a:gd name="connsiteY1240" fmla="*/ 192842 h 1237129"/>
              <a:gd name="connsiteX1241" fmla="*/ 1844788 w 3751729"/>
              <a:gd name="connsiteY1241" fmla="*/ 192842 h 1237129"/>
              <a:gd name="connsiteX1242" fmla="*/ 1843065 w 3751729"/>
              <a:gd name="connsiteY1242" fmla="*/ 191858 h 1237129"/>
              <a:gd name="connsiteX1243" fmla="*/ 1842326 w 3751729"/>
              <a:gd name="connsiteY1243" fmla="*/ 191858 h 1237129"/>
              <a:gd name="connsiteX1244" fmla="*/ 1842326 w 3751729"/>
              <a:gd name="connsiteY1244" fmla="*/ 188657 h 1237129"/>
              <a:gd name="connsiteX1245" fmla="*/ 1842326 w 3751729"/>
              <a:gd name="connsiteY1245" fmla="*/ 186196 h 1237129"/>
              <a:gd name="connsiteX1246" fmla="*/ 1842326 w 3751729"/>
              <a:gd name="connsiteY1246" fmla="*/ 184473 h 1237129"/>
              <a:gd name="connsiteX1247" fmla="*/ 1843065 w 3751729"/>
              <a:gd name="connsiteY1247" fmla="*/ 181026 h 1237129"/>
              <a:gd name="connsiteX1248" fmla="*/ 1537343 w 3751729"/>
              <a:gd name="connsiteY1248" fmla="*/ 171179 h 1237129"/>
              <a:gd name="connsiteX1249" fmla="*/ 1552360 w 3751729"/>
              <a:gd name="connsiteY1249" fmla="*/ 172902 h 1237129"/>
              <a:gd name="connsiteX1250" fmla="*/ 1563928 w 3751729"/>
              <a:gd name="connsiteY1250" fmla="*/ 175364 h 1237129"/>
              <a:gd name="connsiteX1251" fmla="*/ 1560482 w 3751729"/>
              <a:gd name="connsiteY1251" fmla="*/ 181025 h 1237129"/>
              <a:gd name="connsiteX1252" fmla="*/ 1559006 w 3751729"/>
              <a:gd name="connsiteY1252" fmla="*/ 186194 h 1237129"/>
              <a:gd name="connsiteX1253" fmla="*/ 1556544 w 3751729"/>
              <a:gd name="connsiteY1253" fmla="*/ 190379 h 1237129"/>
              <a:gd name="connsiteX1254" fmla="*/ 1553098 w 3751729"/>
              <a:gd name="connsiteY1254" fmla="*/ 194564 h 1237129"/>
              <a:gd name="connsiteX1255" fmla="*/ 1560482 w 3751729"/>
              <a:gd name="connsiteY1255" fmla="*/ 194564 h 1237129"/>
              <a:gd name="connsiteX1256" fmla="*/ 1563928 w 3751729"/>
              <a:gd name="connsiteY1256" fmla="*/ 191856 h 1237129"/>
              <a:gd name="connsiteX1257" fmla="*/ 1564667 w 3751729"/>
              <a:gd name="connsiteY1257" fmla="*/ 190379 h 1237129"/>
              <a:gd name="connsiteX1258" fmla="*/ 1568112 w 3751729"/>
              <a:gd name="connsiteY1258" fmla="*/ 188656 h 1237129"/>
              <a:gd name="connsiteX1259" fmla="*/ 1572051 w 3751729"/>
              <a:gd name="connsiteY1259" fmla="*/ 188656 h 1237129"/>
              <a:gd name="connsiteX1260" fmla="*/ 1572051 w 3751729"/>
              <a:gd name="connsiteY1260" fmla="*/ 194564 h 1237129"/>
              <a:gd name="connsiteX1261" fmla="*/ 1576236 w 3751729"/>
              <a:gd name="connsiteY1261" fmla="*/ 204410 h 1237129"/>
              <a:gd name="connsiteX1262" fmla="*/ 1573774 w 3751729"/>
              <a:gd name="connsiteY1262" fmla="*/ 213517 h 1237129"/>
              <a:gd name="connsiteX1263" fmla="*/ 1569590 w 3751729"/>
              <a:gd name="connsiteY1263" fmla="*/ 221148 h 1237129"/>
              <a:gd name="connsiteX1264" fmla="*/ 1566390 w 3751729"/>
              <a:gd name="connsiteY1264" fmla="*/ 227055 h 1237129"/>
              <a:gd name="connsiteX1265" fmla="*/ 1573774 w 3751729"/>
              <a:gd name="connsiteY1265" fmla="*/ 233702 h 1237129"/>
              <a:gd name="connsiteX1266" fmla="*/ 1581159 w 3751729"/>
              <a:gd name="connsiteY1266" fmla="*/ 244532 h 1237129"/>
              <a:gd name="connsiteX1267" fmla="*/ 1591251 w 3751729"/>
              <a:gd name="connsiteY1267" fmla="*/ 255363 h 1237129"/>
              <a:gd name="connsiteX1268" fmla="*/ 1599374 w 3751729"/>
              <a:gd name="connsiteY1268" fmla="*/ 268655 h 1237129"/>
              <a:gd name="connsiteX1269" fmla="*/ 1606758 w 3751729"/>
              <a:gd name="connsiteY1269" fmla="*/ 283671 h 1237129"/>
              <a:gd name="connsiteX1270" fmla="*/ 1612667 w 3751729"/>
              <a:gd name="connsiteY1270" fmla="*/ 295978 h 1237129"/>
              <a:gd name="connsiteX1271" fmla="*/ 1614389 w 3751729"/>
              <a:gd name="connsiteY1271" fmla="*/ 306810 h 1237129"/>
              <a:gd name="connsiteX1272" fmla="*/ 1610943 w 3751729"/>
              <a:gd name="connsiteY1272" fmla="*/ 316901 h 1237129"/>
              <a:gd name="connsiteX1273" fmla="*/ 1604297 w 3751729"/>
              <a:gd name="connsiteY1273" fmla="*/ 322809 h 1237129"/>
              <a:gd name="connsiteX1274" fmla="*/ 1595190 w 3751729"/>
              <a:gd name="connsiteY1274" fmla="*/ 328471 h 1237129"/>
              <a:gd name="connsiteX1275" fmla="*/ 1581159 w 3751729"/>
              <a:gd name="connsiteY1275" fmla="*/ 334379 h 1237129"/>
              <a:gd name="connsiteX1276" fmla="*/ 1563928 w 3751729"/>
              <a:gd name="connsiteY1276" fmla="*/ 338563 h 1237129"/>
              <a:gd name="connsiteX1277" fmla="*/ 1548175 w 3751729"/>
              <a:gd name="connsiteY1277" fmla="*/ 342747 h 1237129"/>
              <a:gd name="connsiteX1278" fmla="*/ 1534883 w 3751729"/>
              <a:gd name="connsiteY1278" fmla="*/ 344470 h 1237129"/>
              <a:gd name="connsiteX1279" fmla="*/ 1534883 w 3751729"/>
              <a:gd name="connsiteY1279" fmla="*/ 341025 h 1237129"/>
              <a:gd name="connsiteX1280" fmla="*/ 1543251 w 3751729"/>
              <a:gd name="connsiteY1280" fmla="*/ 328471 h 1237129"/>
              <a:gd name="connsiteX1281" fmla="*/ 1550635 w 3751729"/>
              <a:gd name="connsiteY1281" fmla="*/ 315178 h 1237129"/>
              <a:gd name="connsiteX1282" fmla="*/ 1546451 w 3751729"/>
              <a:gd name="connsiteY1282" fmla="*/ 315178 h 1237129"/>
              <a:gd name="connsiteX1283" fmla="*/ 1543251 w 3751729"/>
              <a:gd name="connsiteY1283" fmla="*/ 315178 h 1237129"/>
              <a:gd name="connsiteX1284" fmla="*/ 1540790 w 3751729"/>
              <a:gd name="connsiteY1284" fmla="*/ 313456 h 1237129"/>
              <a:gd name="connsiteX1285" fmla="*/ 1540790 w 3751729"/>
              <a:gd name="connsiteY1285" fmla="*/ 312716 h 1237129"/>
              <a:gd name="connsiteX1286" fmla="*/ 1539067 w 3751729"/>
              <a:gd name="connsiteY1286" fmla="*/ 310994 h 1237129"/>
              <a:gd name="connsiteX1287" fmla="*/ 1539067 w 3751729"/>
              <a:gd name="connsiteY1287" fmla="*/ 307793 h 1237129"/>
              <a:gd name="connsiteX1288" fmla="*/ 1537343 w 3751729"/>
              <a:gd name="connsiteY1288" fmla="*/ 303609 h 1237129"/>
              <a:gd name="connsiteX1289" fmla="*/ 1548175 w 3751729"/>
              <a:gd name="connsiteY1289" fmla="*/ 301147 h 1237129"/>
              <a:gd name="connsiteX1290" fmla="*/ 1544974 w 3751729"/>
              <a:gd name="connsiteY1290" fmla="*/ 297701 h 1237129"/>
              <a:gd name="connsiteX1291" fmla="*/ 1544974 w 3751729"/>
              <a:gd name="connsiteY1291" fmla="*/ 295978 h 1237129"/>
              <a:gd name="connsiteX1292" fmla="*/ 1543251 w 3751729"/>
              <a:gd name="connsiteY1292" fmla="*/ 295240 h 1237129"/>
              <a:gd name="connsiteX1293" fmla="*/ 1543251 w 3751729"/>
              <a:gd name="connsiteY1293" fmla="*/ 293517 h 1237129"/>
              <a:gd name="connsiteX1294" fmla="*/ 1544974 w 3751729"/>
              <a:gd name="connsiteY1294" fmla="*/ 290317 h 1237129"/>
              <a:gd name="connsiteX1295" fmla="*/ 1546451 w 3751729"/>
              <a:gd name="connsiteY1295" fmla="*/ 284409 h 1237129"/>
              <a:gd name="connsiteX1296" fmla="*/ 1550635 w 3751729"/>
              <a:gd name="connsiteY1296" fmla="*/ 280225 h 1237129"/>
              <a:gd name="connsiteX1297" fmla="*/ 1553098 w 3751729"/>
              <a:gd name="connsiteY1297" fmla="*/ 277763 h 1237129"/>
              <a:gd name="connsiteX1298" fmla="*/ 1559006 w 3751729"/>
              <a:gd name="connsiteY1298" fmla="*/ 274317 h 1237129"/>
              <a:gd name="connsiteX1299" fmla="*/ 1563928 w 3751729"/>
              <a:gd name="connsiteY1299" fmla="*/ 271855 h 1237129"/>
              <a:gd name="connsiteX1300" fmla="*/ 1562205 w 3751729"/>
              <a:gd name="connsiteY1300" fmla="*/ 268655 h 1237129"/>
              <a:gd name="connsiteX1301" fmla="*/ 1562205 w 3751729"/>
              <a:gd name="connsiteY1301" fmla="*/ 266932 h 1237129"/>
              <a:gd name="connsiteX1302" fmla="*/ 1560482 w 3751729"/>
              <a:gd name="connsiteY1302" fmla="*/ 266194 h 1237129"/>
              <a:gd name="connsiteX1303" fmla="*/ 1560482 w 3751729"/>
              <a:gd name="connsiteY1303" fmla="*/ 264471 h 1237129"/>
              <a:gd name="connsiteX1304" fmla="*/ 1559006 w 3751729"/>
              <a:gd name="connsiteY1304" fmla="*/ 261025 h 1237129"/>
              <a:gd name="connsiteX1305" fmla="*/ 1558021 w 3751729"/>
              <a:gd name="connsiteY1305" fmla="*/ 261025 h 1237129"/>
              <a:gd name="connsiteX1306" fmla="*/ 1558021 w 3751729"/>
              <a:gd name="connsiteY1306" fmla="*/ 260286 h 1237129"/>
              <a:gd name="connsiteX1307" fmla="*/ 1556544 w 3751729"/>
              <a:gd name="connsiteY1307" fmla="*/ 260286 h 1237129"/>
              <a:gd name="connsiteX1308" fmla="*/ 1553098 w 3751729"/>
              <a:gd name="connsiteY1308" fmla="*/ 258562 h 1237129"/>
              <a:gd name="connsiteX1309" fmla="*/ 1550635 w 3751729"/>
              <a:gd name="connsiteY1309" fmla="*/ 256840 h 1237129"/>
              <a:gd name="connsiteX1310" fmla="*/ 1548913 w 3751729"/>
              <a:gd name="connsiteY1310" fmla="*/ 256840 h 1237129"/>
              <a:gd name="connsiteX1311" fmla="*/ 1546451 w 3751729"/>
              <a:gd name="connsiteY1311" fmla="*/ 256840 h 1237129"/>
              <a:gd name="connsiteX1312" fmla="*/ 1543251 w 3751729"/>
              <a:gd name="connsiteY1312" fmla="*/ 255363 h 1237129"/>
              <a:gd name="connsiteX1313" fmla="*/ 1540790 w 3751729"/>
              <a:gd name="connsiteY1313" fmla="*/ 255363 h 1237129"/>
              <a:gd name="connsiteX1314" fmla="*/ 1540790 w 3751729"/>
              <a:gd name="connsiteY1314" fmla="*/ 254379 h 1237129"/>
              <a:gd name="connsiteX1315" fmla="*/ 1539067 w 3751729"/>
              <a:gd name="connsiteY1315" fmla="*/ 252656 h 1237129"/>
              <a:gd name="connsiteX1316" fmla="*/ 1539067 w 3751729"/>
              <a:gd name="connsiteY1316" fmla="*/ 251178 h 1237129"/>
              <a:gd name="connsiteX1317" fmla="*/ 1539067 w 3751729"/>
              <a:gd name="connsiteY1317" fmla="*/ 248471 h 1237129"/>
              <a:gd name="connsiteX1318" fmla="*/ 1537343 w 3751729"/>
              <a:gd name="connsiteY1318" fmla="*/ 245271 h 1237129"/>
              <a:gd name="connsiteX1319" fmla="*/ 1539067 w 3751729"/>
              <a:gd name="connsiteY1319" fmla="*/ 244532 h 1237129"/>
              <a:gd name="connsiteX1320" fmla="*/ 1539067 w 3751729"/>
              <a:gd name="connsiteY1320" fmla="*/ 242810 h 1237129"/>
              <a:gd name="connsiteX1321" fmla="*/ 1540790 w 3751729"/>
              <a:gd name="connsiteY1321" fmla="*/ 241086 h 1237129"/>
              <a:gd name="connsiteX1322" fmla="*/ 1540790 w 3751729"/>
              <a:gd name="connsiteY1322" fmla="*/ 239364 h 1237129"/>
              <a:gd name="connsiteX1323" fmla="*/ 1540790 w 3751729"/>
              <a:gd name="connsiteY1323" fmla="*/ 236902 h 1237129"/>
              <a:gd name="connsiteX1324" fmla="*/ 1537343 w 3751729"/>
              <a:gd name="connsiteY1324" fmla="*/ 236902 h 1237129"/>
              <a:gd name="connsiteX1325" fmla="*/ 1536605 w 3751729"/>
              <a:gd name="connsiteY1325" fmla="*/ 239364 h 1237129"/>
              <a:gd name="connsiteX1326" fmla="*/ 1536605 w 3751729"/>
              <a:gd name="connsiteY1326" fmla="*/ 241086 h 1237129"/>
              <a:gd name="connsiteX1327" fmla="*/ 1536605 w 3751729"/>
              <a:gd name="connsiteY1327" fmla="*/ 242810 h 1237129"/>
              <a:gd name="connsiteX1328" fmla="*/ 1534883 w 3751729"/>
              <a:gd name="connsiteY1328" fmla="*/ 242810 h 1237129"/>
              <a:gd name="connsiteX1329" fmla="*/ 1533405 w 3751729"/>
              <a:gd name="connsiteY1329" fmla="*/ 244532 h 1237129"/>
              <a:gd name="connsiteX1330" fmla="*/ 1531682 w 3751729"/>
              <a:gd name="connsiteY1330" fmla="*/ 245271 h 1237129"/>
              <a:gd name="connsiteX1331" fmla="*/ 1529221 w 3751729"/>
              <a:gd name="connsiteY1331" fmla="*/ 230994 h 1237129"/>
              <a:gd name="connsiteX1332" fmla="*/ 1525774 w 3751729"/>
              <a:gd name="connsiteY1332" fmla="*/ 217702 h 1237129"/>
              <a:gd name="connsiteX1333" fmla="*/ 1525036 w 3751729"/>
              <a:gd name="connsiteY1333" fmla="*/ 207856 h 1237129"/>
              <a:gd name="connsiteX1334" fmla="*/ 1527497 w 3751729"/>
              <a:gd name="connsiteY1334" fmla="*/ 200225 h 1237129"/>
              <a:gd name="connsiteX1335" fmla="*/ 1531682 w 3751729"/>
              <a:gd name="connsiteY1335" fmla="*/ 192840 h 1237129"/>
              <a:gd name="connsiteX1336" fmla="*/ 1536605 w 3751729"/>
              <a:gd name="connsiteY1336" fmla="*/ 184471 h 1237129"/>
              <a:gd name="connsiteX1337" fmla="*/ 683935 w 3751729"/>
              <a:gd name="connsiteY1337" fmla="*/ 95365 h 1237129"/>
              <a:gd name="connsiteX1338" fmla="*/ 688119 w 3751729"/>
              <a:gd name="connsiteY1338" fmla="*/ 98810 h 1237129"/>
              <a:gd name="connsiteX1339" fmla="*/ 692058 w 3751729"/>
              <a:gd name="connsiteY1339" fmla="*/ 102749 h 1237129"/>
              <a:gd name="connsiteX1340" fmla="*/ 695504 w 3751729"/>
              <a:gd name="connsiteY1340" fmla="*/ 108657 h 1237129"/>
              <a:gd name="connsiteX1341" fmla="*/ 697227 w 3751729"/>
              <a:gd name="connsiteY1341" fmla="*/ 114565 h 1237129"/>
              <a:gd name="connsiteX1342" fmla="*/ 693781 w 3751729"/>
              <a:gd name="connsiteY1342" fmla="*/ 114565 h 1237129"/>
              <a:gd name="connsiteX1343" fmla="*/ 691319 w 3751729"/>
              <a:gd name="connsiteY1343" fmla="*/ 116288 h 1237129"/>
              <a:gd name="connsiteX1344" fmla="*/ 689596 w 3751729"/>
              <a:gd name="connsiteY1344" fmla="*/ 116288 h 1237129"/>
              <a:gd name="connsiteX1345" fmla="*/ 685657 w 3751729"/>
              <a:gd name="connsiteY1345" fmla="*/ 117765 h 1237129"/>
              <a:gd name="connsiteX1346" fmla="*/ 680488 w 3751729"/>
              <a:gd name="connsiteY1346" fmla="*/ 117765 h 1237129"/>
              <a:gd name="connsiteX1347" fmla="*/ 680488 w 3751729"/>
              <a:gd name="connsiteY1347" fmla="*/ 114565 h 1237129"/>
              <a:gd name="connsiteX1348" fmla="*/ 679750 w 3751729"/>
              <a:gd name="connsiteY1348" fmla="*/ 114565 h 1237129"/>
              <a:gd name="connsiteX1349" fmla="*/ 679750 w 3751729"/>
              <a:gd name="connsiteY1349" fmla="*/ 112843 h 1237129"/>
              <a:gd name="connsiteX1350" fmla="*/ 678027 w 3751729"/>
              <a:gd name="connsiteY1350" fmla="*/ 112103 h 1237129"/>
              <a:gd name="connsiteX1351" fmla="*/ 679750 w 3751729"/>
              <a:gd name="connsiteY1351" fmla="*/ 108657 h 1237129"/>
              <a:gd name="connsiteX1352" fmla="*/ 679750 w 3751729"/>
              <a:gd name="connsiteY1352" fmla="*/ 106934 h 1237129"/>
              <a:gd name="connsiteX1353" fmla="*/ 679750 w 3751729"/>
              <a:gd name="connsiteY1353" fmla="*/ 106196 h 1237129"/>
              <a:gd name="connsiteX1354" fmla="*/ 680488 w 3751729"/>
              <a:gd name="connsiteY1354" fmla="*/ 104473 h 1237129"/>
              <a:gd name="connsiteX1355" fmla="*/ 659074 w 3751729"/>
              <a:gd name="connsiteY1355" fmla="*/ 85274 h 1237129"/>
              <a:gd name="connsiteX1356" fmla="*/ 662520 w 3751729"/>
              <a:gd name="connsiteY1356" fmla="*/ 88719 h 1237129"/>
              <a:gd name="connsiteX1357" fmla="*/ 663997 w 3751729"/>
              <a:gd name="connsiteY1357" fmla="*/ 90442 h 1237129"/>
              <a:gd name="connsiteX1358" fmla="*/ 663997 w 3751729"/>
              <a:gd name="connsiteY1358" fmla="*/ 91181 h 1237129"/>
              <a:gd name="connsiteX1359" fmla="*/ 664982 w 3751729"/>
              <a:gd name="connsiteY1359" fmla="*/ 94627 h 1237129"/>
              <a:gd name="connsiteX1360" fmla="*/ 664982 w 3751729"/>
              <a:gd name="connsiteY1360" fmla="*/ 97088 h 1237129"/>
              <a:gd name="connsiteX1361" fmla="*/ 664982 w 3751729"/>
              <a:gd name="connsiteY1361" fmla="*/ 101273 h 1237129"/>
              <a:gd name="connsiteX1362" fmla="*/ 662520 w 3751729"/>
              <a:gd name="connsiteY1362" fmla="*/ 101273 h 1237129"/>
              <a:gd name="connsiteX1363" fmla="*/ 662520 w 3751729"/>
              <a:gd name="connsiteY1363" fmla="*/ 104473 h 1237129"/>
              <a:gd name="connsiteX1364" fmla="*/ 656613 w 3751729"/>
              <a:gd name="connsiteY1364" fmla="*/ 102751 h 1237129"/>
              <a:gd name="connsiteX1365" fmla="*/ 650951 w 3751729"/>
              <a:gd name="connsiteY1365" fmla="*/ 101273 h 1237129"/>
              <a:gd name="connsiteX1366" fmla="*/ 646766 w 3751729"/>
              <a:gd name="connsiteY1366" fmla="*/ 98812 h 1237129"/>
              <a:gd name="connsiteX1367" fmla="*/ 643320 w 3751729"/>
              <a:gd name="connsiteY1367" fmla="*/ 98812 h 1237129"/>
              <a:gd name="connsiteX1368" fmla="*/ 643320 w 3751729"/>
              <a:gd name="connsiteY1368" fmla="*/ 95365 h 1237129"/>
              <a:gd name="connsiteX1369" fmla="*/ 649228 w 3751729"/>
              <a:gd name="connsiteY1369" fmla="*/ 92904 h 1237129"/>
              <a:gd name="connsiteX1370" fmla="*/ 654889 w 3751729"/>
              <a:gd name="connsiteY1370" fmla="*/ 90442 h 1237129"/>
              <a:gd name="connsiteX1371" fmla="*/ 722827 w 3751729"/>
              <a:gd name="connsiteY1371" fmla="*/ 59426 h 1237129"/>
              <a:gd name="connsiteX1372" fmla="*/ 726028 w 3751729"/>
              <a:gd name="connsiteY1372" fmla="*/ 61150 h 1237129"/>
              <a:gd name="connsiteX1373" fmla="*/ 726766 w 3751729"/>
              <a:gd name="connsiteY1373" fmla="*/ 62135 h 1237129"/>
              <a:gd name="connsiteX1374" fmla="*/ 728489 w 3751729"/>
              <a:gd name="connsiteY1374" fmla="*/ 63611 h 1237129"/>
              <a:gd name="connsiteX1375" fmla="*/ 731935 w 3751729"/>
              <a:gd name="connsiteY1375" fmla="*/ 63611 h 1237129"/>
              <a:gd name="connsiteX1376" fmla="*/ 731935 w 3751729"/>
              <a:gd name="connsiteY1376" fmla="*/ 65335 h 1237129"/>
              <a:gd name="connsiteX1377" fmla="*/ 731935 w 3751729"/>
              <a:gd name="connsiteY1377" fmla="*/ 67057 h 1237129"/>
              <a:gd name="connsiteX1378" fmla="*/ 730213 w 3751729"/>
              <a:gd name="connsiteY1378" fmla="*/ 67796 h 1237129"/>
              <a:gd name="connsiteX1379" fmla="*/ 728489 w 3751729"/>
              <a:gd name="connsiteY1379" fmla="*/ 69519 h 1237129"/>
              <a:gd name="connsiteX1380" fmla="*/ 726766 w 3751729"/>
              <a:gd name="connsiteY1380" fmla="*/ 71242 h 1237129"/>
              <a:gd name="connsiteX1381" fmla="*/ 726028 w 3751729"/>
              <a:gd name="connsiteY1381" fmla="*/ 71242 h 1237129"/>
              <a:gd name="connsiteX1382" fmla="*/ 724304 w 3751729"/>
              <a:gd name="connsiteY1382" fmla="*/ 72966 h 1237129"/>
              <a:gd name="connsiteX1383" fmla="*/ 722827 w 3751729"/>
              <a:gd name="connsiteY1383" fmla="*/ 72966 h 1237129"/>
              <a:gd name="connsiteX1384" fmla="*/ 720366 w 3751729"/>
              <a:gd name="connsiteY1384" fmla="*/ 72966 h 1237129"/>
              <a:gd name="connsiteX1385" fmla="*/ 720366 w 3751729"/>
              <a:gd name="connsiteY1385" fmla="*/ 67796 h 1237129"/>
              <a:gd name="connsiteX1386" fmla="*/ 720366 w 3751729"/>
              <a:gd name="connsiteY1386" fmla="*/ 65335 h 1237129"/>
              <a:gd name="connsiteX1387" fmla="*/ 721104 w 3751729"/>
              <a:gd name="connsiteY1387" fmla="*/ 63611 h 1237129"/>
              <a:gd name="connsiteX1388" fmla="*/ 633474 w 3751729"/>
              <a:gd name="connsiteY1388" fmla="*/ 8720 h 1237129"/>
              <a:gd name="connsiteX1389" fmla="*/ 633474 w 3751729"/>
              <a:gd name="connsiteY1389" fmla="*/ 15366 h 1237129"/>
              <a:gd name="connsiteX1390" fmla="*/ 635197 w 3751729"/>
              <a:gd name="connsiteY1390" fmla="*/ 18812 h 1237129"/>
              <a:gd name="connsiteX1391" fmla="*/ 635936 w 3751729"/>
              <a:gd name="connsiteY1391" fmla="*/ 21274 h 1237129"/>
              <a:gd name="connsiteX1392" fmla="*/ 635936 w 3751729"/>
              <a:gd name="connsiteY1392" fmla="*/ 26197 h 1237129"/>
              <a:gd name="connsiteX1393" fmla="*/ 635936 w 3751729"/>
              <a:gd name="connsiteY1393" fmla="*/ 32104 h 1237129"/>
              <a:gd name="connsiteX1394" fmla="*/ 652428 w 3751729"/>
              <a:gd name="connsiteY1394" fmla="*/ 32104 h 1237129"/>
              <a:gd name="connsiteX1395" fmla="*/ 666459 w 3751729"/>
              <a:gd name="connsiteY1395" fmla="*/ 47859 h 1237129"/>
              <a:gd name="connsiteX1396" fmla="*/ 680489 w 3751729"/>
              <a:gd name="connsiteY1396" fmla="*/ 63611 h 1237129"/>
              <a:gd name="connsiteX1397" fmla="*/ 680489 w 3751729"/>
              <a:gd name="connsiteY1397" fmla="*/ 65336 h 1237129"/>
              <a:gd name="connsiteX1398" fmla="*/ 679752 w 3751729"/>
              <a:gd name="connsiteY1398" fmla="*/ 67058 h 1237129"/>
              <a:gd name="connsiteX1399" fmla="*/ 679752 w 3751729"/>
              <a:gd name="connsiteY1399" fmla="*/ 67796 h 1237129"/>
              <a:gd name="connsiteX1400" fmla="*/ 678028 w 3751729"/>
              <a:gd name="connsiteY1400" fmla="*/ 69520 h 1237129"/>
              <a:gd name="connsiteX1401" fmla="*/ 675566 w 3751729"/>
              <a:gd name="connsiteY1401" fmla="*/ 72966 h 1237129"/>
              <a:gd name="connsiteX1402" fmla="*/ 674090 w 3751729"/>
              <a:gd name="connsiteY1402" fmla="*/ 73704 h 1237129"/>
              <a:gd name="connsiteX1403" fmla="*/ 672367 w 3751729"/>
              <a:gd name="connsiteY1403" fmla="*/ 75428 h 1237129"/>
              <a:gd name="connsiteX1404" fmla="*/ 670643 w 3751729"/>
              <a:gd name="connsiteY1404" fmla="*/ 75428 h 1237129"/>
              <a:gd name="connsiteX1405" fmla="*/ 666459 w 3751729"/>
              <a:gd name="connsiteY1405" fmla="*/ 75428 h 1237129"/>
              <a:gd name="connsiteX1406" fmla="*/ 662520 w 3751729"/>
              <a:gd name="connsiteY1406" fmla="*/ 77151 h 1237129"/>
              <a:gd name="connsiteX1407" fmla="*/ 662520 w 3751729"/>
              <a:gd name="connsiteY1407" fmla="*/ 72966 h 1237129"/>
              <a:gd name="connsiteX1408" fmla="*/ 662520 w 3751729"/>
              <a:gd name="connsiteY1408" fmla="*/ 67796 h 1237129"/>
              <a:gd name="connsiteX1409" fmla="*/ 662520 w 3751729"/>
              <a:gd name="connsiteY1409" fmla="*/ 65336 h 1237129"/>
              <a:gd name="connsiteX1410" fmla="*/ 662520 w 3751729"/>
              <a:gd name="connsiteY1410" fmla="*/ 63611 h 1237129"/>
              <a:gd name="connsiteX1411" fmla="*/ 659074 w 3751729"/>
              <a:gd name="connsiteY1411" fmla="*/ 61151 h 1237129"/>
              <a:gd name="connsiteX1412" fmla="*/ 656613 w 3751729"/>
              <a:gd name="connsiteY1412" fmla="*/ 59427 h 1237129"/>
              <a:gd name="connsiteX1413" fmla="*/ 652428 w 3751729"/>
              <a:gd name="connsiteY1413" fmla="*/ 56227 h 1237129"/>
              <a:gd name="connsiteX1414" fmla="*/ 647505 w 3751729"/>
              <a:gd name="connsiteY1414" fmla="*/ 67796 h 1237129"/>
              <a:gd name="connsiteX1415" fmla="*/ 639381 w 3751729"/>
              <a:gd name="connsiteY1415" fmla="*/ 75428 h 1237129"/>
              <a:gd name="connsiteX1416" fmla="*/ 627813 w 3751729"/>
              <a:gd name="connsiteY1416" fmla="*/ 79612 h 1237129"/>
              <a:gd name="connsiteX1417" fmla="*/ 627813 w 3751729"/>
              <a:gd name="connsiteY1417" fmla="*/ 75428 h 1237129"/>
              <a:gd name="connsiteX1418" fmla="*/ 627813 w 3751729"/>
              <a:gd name="connsiteY1418" fmla="*/ 72966 h 1237129"/>
              <a:gd name="connsiteX1419" fmla="*/ 629290 w 3751729"/>
              <a:gd name="connsiteY1419" fmla="*/ 69520 h 1237129"/>
              <a:gd name="connsiteX1420" fmla="*/ 627813 w 3751729"/>
              <a:gd name="connsiteY1420" fmla="*/ 67058 h 1237129"/>
              <a:gd name="connsiteX1421" fmla="*/ 626089 w 3751729"/>
              <a:gd name="connsiteY1421" fmla="*/ 63611 h 1237129"/>
              <a:gd name="connsiteX1422" fmla="*/ 624367 w 3751729"/>
              <a:gd name="connsiteY1422" fmla="*/ 59427 h 1237129"/>
              <a:gd name="connsiteX1423" fmla="*/ 620182 w 3751729"/>
              <a:gd name="connsiteY1423" fmla="*/ 57950 h 1237129"/>
              <a:gd name="connsiteX1424" fmla="*/ 617720 w 3751729"/>
              <a:gd name="connsiteY1424" fmla="*/ 56227 h 1237129"/>
              <a:gd name="connsiteX1425" fmla="*/ 614520 w 3751729"/>
              <a:gd name="connsiteY1425" fmla="*/ 56227 h 1237129"/>
              <a:gd name="connsiteX1426" fmla="*/ 612058 w 3751729"/>
              <a:gd name="connsiteY1426" fmla="*/ 55490 h 1237129"/>
              <a:gd name="connsiteX1427" fmla="*/ 610335 w 3751729"/>
              <a:gd name="connsiteY1427" fmla="*/ 55490 h 1237129"/>
              <a:gd name="connsiteX1428" fmla="*/ 607135 w 3751729"/>
              <a:gd name="connsiteY1428" fmla="*/ 53766 h 1237129"/>
              <a:gd name="connsiteX1429" fmla="*/ 604674 w 3751729"/>
              <a:gd name="connsiteY1429" fmla="*/ 50319 h 1237129"/>
              <a:gd name="connsiteX1430" fmla="*/ 612797 w 3751729"/>
              <a:gd name="connsiteY1430" fmla="*/ 40474 h 1237129"/>
              <a:gd name="connsiteX1431" fmla="*/ 618704 w 3751729"/>
              <a:gd name="connsiteY1431" fmla="*/ 28658 h 1237129"/>
              <a:gd name="connsiteX1432" fmla="*/ 624367 w 3751729"/>
              <a:gd name="connsiteY1432" fmla="*/ 17089 h 1237129"/>
              <a:gd name="connsiteX1433" fmla="*/ 3641951 w 3751729"/>
              <a:gd name="connsiteY1433" fmla="*/ 0 h 1237129"/>
              <a:gd name="connsiteX1434" fmla="*/ 3750040 w 3751729"/>
              <a:gd name="connsiteY1434" fmla="*/ 0 h 1237129"/>
              <a:gd name="connsiteX1435" fmla="*/ 3751729 w 3751729"/>
              <a:gd name="connsiteY1435" fmla="*/ 7982 h 1237129"/>
              <a:gd name="connsiteX1436" fmla="*/ 3722929 w 3751729"/>
              <a:gd name="connsiteY1436" fmla="*/ 7982 h 1237129"/>
              <a:gd name="connsiteX1437" fmla="*/ 3721206 w 3751729"/>
              <a:gd name="connsiteY1437" fmla="*/ 10443 h 1237129"/>
              <a:gd name="connsiteX1438" fmla="*/ 3718744 w 3751729"/>
              <a:gd name="connsiteY1438" fmla="*/ 13888 h 1237129"/>
              <a:gd name="connsiteX1439" fmla="*/ 3717022 w 3751729"/>
              <a:gd name="connsiteY1439" fmla="*/ 15612 h 1237129"/>
              <a:gd name="connsiteX1440" fmla="*/ 3715298 w 3751729"/>
              <a:gd name="connsiteY1440" fmla="*/ 19797 h 1237129"/>
              <a:gd name="connsiteX1441" fmla="*/ 3713576 w 3751729"/>
              <a:gd name="connsiteY1441" fmla="*/ 23981 h 1237129"/>
              <a:gd name="connsiteX1442" fmla="*/ 3716775 w 3751729"/>
              <a:gd name="connsiteY1442" fmla="*/ 25705 h 1237129"/>
              <a:gd name="connsiteX1443" fmla="*/ 3718497 w 3751729"/>
              <a:gd name="connsiteY1443" fmla="*/ 27428 h 1237129"/>
              <a:gd name="connsiteX1444" fmla="*/ 3719237 w 3751729"/>
              <a:gd name="connsiteY1444" fmla="*/ 28166 h 1237129"/>
              <a:gd name="connsiteX1445" fmla="*/ 3720959 w 3751729"/>
              <a:gd name="connsiteY1445" fmla="*/ 31611 h 1237129"/>
              <a:gd name="connsiteX1446" fmla="*/ 3720959 w 3751729"/>
              <a:gd name="connsiteY1446" fmla="*/ 33335 h 1237129"/>
              <a:gd name="connsiteX1447" fmla="*/ 3719237 w 3751729"/>
              <a:gd name="connsiteY1447" fmla="*/ 35797 h 1237129"/>
              <a:gd name="connsiteX1448" fmla="*/ 3716775 w 3751729"/>
              <a:gd name="connsiteY1448" fmla="*/ 39982 h 1237129"/>
              <a:gd name="connsiteX1449" fmla="*/ 3715052 w 3751729"/>
              <a:gd name="connsiteY1449" fmla="*/ 41704 h 1237129"/>
              <a:gd name="connsiteX1450" fmla="*/ 3712591 w 3751729"/>
              <a:gd name="connsiteY1450" fmla="*/ 43428 h 1237129"/>
              <a:gd name="connsiteX1451" fmla="*/ 3709391 w 3751729"/>
              <a:gd name="connsiteY1451" fmla="*/ 43428 h 1237129"/>
              <a:gd name="connsiteX1452" fmla="*/ 3706929 w 3751729"/>
              <a:gd name="connsiteY1452" fmla="*/ 43428 h 1237129"/>
              <a:gd name="connsiteX1453" fmla="*/ 3701267 w 3751729"/>
              <a:gd name="connsiteY1453" fmla="*/ 43428 h 1237129"/>
              <a:gd name="connsiteX1454" fmla="*/ 3695606 w 3751729"/>
              <a:gd name="connsiteY1454" fmla="*/ 34320 h 1237129"/>
              <a:gd name="connsiteX1455" fmla="*/ 3686498 w 3751729"/>
              <a:gd name="connsiteY1455" fmla="*/ 30136 h 1237129"/>
              <a:gd name="connsiteX1456" fmla="*/ 3674930 w 3751729"/>
              <a:gd name="connsiteY1456" fmla="*/ 27674 h 1237129"/>
              <a:gd name="connsiteX1457" fmla="*/ 3674930 w 3751729"/>
              <a:gd name="connsiteY1457" fmla="*/ 16844 h 1237129"/>
              <a:gd name="connsiteX1458" fmla="*/ 3672467 w 3751729"/>
              <a:gd name="connsiteY1458" fmla="*/ 16104 h 1237129"/>
              <a:gd name="connsiteX1459" fmla="*/ 3669267 w 3751729"/>
              <a:gd name="connsiteY1459" fmla="*/ 14381 h 1237129"/>
              <a:gd name="connsiteX1460" fmla="*/ 3668529 w 3751729"/>
              <a:gd name="connsiteY1460" fmla="*/ 12659 h 1237129"/>
              <a:gd name="connsiteX1461" fmla="*/ 3665329 w 3751729"/>
              <a:gd name="connsiteY1461" fmla="*/ 10935 h 1237129"/>
              <a:gd name="connsiteX1462" fmla="*/ 3659668 w 3751729"/>
              <a:gd name="connsiteY1462" fmla="*/ 10935 h 1237129"/>
              <a:gd name="connsiteX1463" fmla="*/ 3657944 w 3751729"/>
              <a:gd name="connsiteY1463" fmla="*/ 10935 h 1237129"/>
              <a:gd name="connsiteX1464" fmla="*/ 3657207 w 3751729"/>
              <a:gd name="connsiteY1464" fmla="*/ 12659 h 1237129"/>
              <a:gd name="connsiteX1465" fmla="*/ 3655483 w 3751729"/>
              <a:gd name="connsiteY1465" fmla="*/ 12659 h 1237129"/>
              <a:gd name="connsiteX1466" fmla="*/ 3653760 w 3751729"/>
              <a:gd name="connsiteY1466" fmla="*/ 12659 h 1237129"/>
              <a:gd name="connsiteX1467" fmla="*/ 3651298 w 3751729"/>
              <a:gd name="connsiteY1467" fmla="*/ 14381 h 1237129"/>
              <a:gd name="connsiteX1468" fmla="*/ 3648098 w 3751729"/>
              <a:gd name="connsiteY1468" fmla="*/ 8474 h 1237129"/>
              <a:gd name="connsiteX1469" fmla="*/ 3643914 w 3751729"/>
              <a:gd name="connsiteY1469" fmla="*/ 2567 h 1237129"/>
              <a:gd name="connsiteX1470" fmla="*/ 1870193 w 3751729"/>
              <a:gd name="connsiteY1470" fmla="*/ 0 h 1237129"/>
              <a:gd name="connsiteX1471" fmla="*/ 1986120 w 3751729"/>
              <a:gd name="connsiteY1471" fmla="*/ 0 h 1237129"/>
              <a:gd name="connsiteX1472" fmla="*/ 1986571 w 3751729"/>
              <a:gd name="connsiteY1472" fmla="*/ 3551 h 1237129"/>
              <a:gd name="connsiteX1473" fmla="*/ 1988295 w 3751729"/>
              <a:gd name="connsiteY1473" fmla="*/ 17827 h 1237129"/>
              <a:gd name="connsiteX1474" fmla="*/ 1990757 w 3751729"/>
              <a:gd name="connsiteY1474" fmla="*/ 29643 h 1237129"/>
              <a:gd name="connsiteX1475" fmla="*/ 1993956 w 3751729"/>
              <a:gd name="connsiteY1475" fmla="*/ 37274 h 1237129"/>
              <a:gd name="connsiteX1476" fmla="*/ 1996418 w 3751729"/>
              <a:gd name="connsiteY1476" fmla="*/ 41458 h 1237129"/>
              <a:gd name="connsiteX1477" fmla="*/ 2000603 w 3751729"/>
              <a:gd name="connsiteY1477" fmla="*/ 43181 h 1237129"/>
              <a:gd name="connsiteX1478" fmla="*/ 2003802 w 3751729"/>
              <a:gd name="connsiteY1478" fmla="*/ 46628 h 1237129"/>
              <a:gd name="connsiteX1479" fmla="*/ 2009465 w 3751729"/>
              <a:gd name="connsiteY1479" fmla="*/ 47366 h 1237129"/>
              <a:gd name="connsiteX1480" fmla="*/ 2007741 w 3751729"/>
              <a:gd name="connsiteY1480" fmla="*/ 37274 h 1237129"/>
              <a:gd name="connsiteX1481" fmla="*/ 2006018 w 3751729"/>
              <a:gd name="connsiteY1481" fmla="*/ 29643 h 1237129"/>
              <a:gd name="connsiteX1482" fmla="*/ 2006018 w 3751729"/>
              <a:gd name="connsiteY1482" fmla="*/ 21274 h 1237129"/>
              <a:gd name="connsiteX1483" fmla="*/ 2011187 w 3751729"/>
              <a:gd name="connsiteY1483" fmla="*/ 21274 h 1237129"/>
              <a:gd name="connsiteX1484" fmla="*/ 2011187 w 3751729"/>
              <a:gd name="connsiteY1484" fmla="*/ 17827 h 1237129"/>
              <a:gd name="connsiteX1485" fmla="*/ 2021032 w 3751729"/>
              <a:gd name="connsiteY1485" fmla="*/ 23735 h 1237129"/>
              <a:gd name="connsiteX1486" fmla="*/ 2030879 w 3751729"/>
              <a:gd name="connsiteY1486" fmla="*/ 29643 h 1237129"/>
              <a:gd name="connsiteX1487" fmla="*/ 2042448 w 3751729"/>
              <a:gd name="connsiteY1487" fmla="*/ 34566 h 1237129"/>
              <a:gd name="connsiteX1488" fmla="*/ 2044171 w 3751729"/>
              <a:gd name="connsiteY1488" fmla="*/ 31120 h 1237129"/>
              <a:gd name="connsiteX1489" fmla="*/ 2045895 w 3751729"/>
              <a:gd name="connsiteY1489" fmla="*/ 28658 h 1237129"/>
              <a:gd name="connsiteX1490" fmla="*/ 2046633 w 3751729"/>
              <a:gd name="connsiteY1490" fmla="*/ 26936 h 1237129"/>
              <a:gd name="connsiteX1491" fmla="*/ 2048355 w 3751729"/>
              <a:gd name="connsiteY1491" fmla="*/ 22750 h 1237129"/>
              <a:gd name="connsiteX1492" fmla="*/ 2048355 w 3751729"/>
              <a:gd name="connsiteY1492" fmla="*/ 17827 h 1237129"/>
              <a:gd name="connsiteX1493" fmla="*/ 2046633 w 3751729"/>
              <a:gd name="connsiteY1493" fmla="*/ 17089 h 1237129"/>
              <a:gd name="connsiteX1494" fmla="*/ 2045895 w 3751729"/>
              <a:gd name="connsiteY1494" fmla="*/ 15366 h 1237129"/>
              <a:gd name="connsiteX1495" fmla="*/ 2044171 w 3751729"/>
              <a:gd name="connsiteY1495" fmla="*/ 13643 h 1237129"/>
              <a:gd name="connsiteX1496" fmla="*/ 2044171 w 3751729"/>
              <a:gd name="connsiteY1496" fmla="*/ 11920 h 1237129"/>
              <a:gd name="connsiteX1497" fmla="*/ 2044171 w 3751729"/>
              <a:gd name="connsiteY1497" fmla="*/ 9458 h 1237129"/>
              <a:gd name="connsiteX1498" fmla="*/ 2042448 w 3751729"/>
              <a:gd name="connsiteY1498" fmla="*/ 5274 h 1237129"/>
              <a:gd name="connsiteX1499" fmla="*/ 2054314 w 3751729"/>
              <a:gd name="connsiteY1499" fmla="*/ 0 h 1237129"/>
              <a:gd name="connsiteX1500" fmla="*/ 3640714 w 3751729"/>
              <a:gd name="connsiteY1500" fmla="*/ 0 h 1237129"/>
              <a:gd name="connsiteX1501" fmla="*/ 3640714 w 3751729"/>
              <a:gd name="connsiteY1501" fmla="*/ 8474 h 1237129"/>
              <a:gd name="connsiteX1502" fmla="*/ 3638252 w 3751729"/>
              <a:gd name="connsiteY1502" fmla="*/ 20290 h 1237129"/>
              <a:gd name="connsiteX1503" fmla="*/ 3635053 w 3751729"/>
              <a:gd name="connsiteY1503" fmla="*/ 30382 h 1237129"/>
              <a:gd name="connsiteX1504" fmla="*/ 3628406 w 3751729"/>
              <a:gd name="connsiteY1504" fmla="*/ 36289 h 1237129"/>
              <a:gd name="connsiteX1505" fmla="*/ 3625207 w 3751729"/>
              <a:gd name="connsiteY1505" fmla="*/ 38012 h 1237129"/>
              <a:gd name="connsiteX1506" fmla="*/ 3622745 w 3751729"/>
              <a:gd name="connsiteY1506" fmla="*/ 38012 h 1237129"/>
              <a:gd name="connsiteX1507" fmla="*/ 3621022 w 3751729"/>
              <a:gd name="connsiteY1507" fmla="*/ 38012 h 1237129"/>
              <a:gd name="connsiteX1508" fmla="*/ 3619298 w 3751729"/>
              <a:gd name="connsiteY1508" fmla="*/ 38012 h 1237129"/>
              <a:gd name="connsiteX1509" fmla="*/ 3617576 w 3751729"/>
              <a:gd name="connsiteY1509" fmla="*/ 36289 h 1237129"/>
              <a:gd name="connsiteX1510" fmla="*/ 3616838 w 3751729"/>
              <a:gd name="connsiteY1510" fmla="*/ 36289 h 1237129"/>
              <a:gd name="connsiteX1511" fmla="*/ 3615114 w 3751729"/>
              <a:gd name="connsiteY1511" fmla="*/ 36289 h 1237129"/>
              <a:gd name="connsiteX1512" fmla="*/ 3613391 w 3751729"/>
              <a:gd name="connsiteY1512" fmla="*/ 38012 h 1237129"/>
              <a:gd name="connsiteX1513" fmla="*/ 3611668 w 3751729"/>
              <a:gd name="connsiteY1513" fmla="*/ 39735 h 1237129"/>
              <a:gd name="connsiteX1514" fmla="*/ 3609207 w 3751729"/>
              <a:gd name="connsiteY1514" fmla="*/ 43920 h 1237129"/>
              <a:gd name="connsiteX1515" fmla="*/ 3617576 w 3751729"/>
              <a:gd name="connsiteY1515" fmla="*/ 54012 h 1237129"/>
              <a:gd name="connsiteX1516" fmla="*/ 3626683 w 3751729"/>
              <a:gd name="connsiteY1516" fmla="*/ 71735 h 1237129"/>
              <a:gd name="connsiteX1517" fmla="*/ 3630868 w 3751729"/>
              <a:gd name="connsiteY1517" fmla="*/ 91920 h 1237129"/>
              <a:gd name="connsiteX1518" fmla="*/ 3628406 w 3751729"/>
              <a:gd name="connsiteY1518" fmla="*/ 91920 h 1237129"/>
              <a:gd name="connsiteX1519" fmla="*/ 3626683 w 3751729"/>
              <a:gd name="connsiteY1519" fmla="*/ 93643 h 1237129"/>
              <a:gd name="connsiteX1520" fmla="*/ 3623483 w 3751729"/>
              <a:gd name="connsiteY1520" fmla="*/ 93643 h 1237129"/>
              <a:gd name="connsiteX1521" fmla="*/ 3619298 w 3751729"/>
              <a:gd name="connsiteY1521" fmla="*/ 95365 h 1237129"/>
              <a:gd name="connsiteX1522" fmla="*/ 3613637 w 3751729"/>
              <a:gd name="connsiteY1522" fmla="*/ 91181 h 1237129"/>
              <a:gd name="connsiteX1523" fmla="*/ 3609452 w 3751729"/>
              <a:gd name="connsiteY1523" fmla="*/ 87734 h 1237129"/>
              <a:gd name="connsiteX1524" fmla="*/ 3603791 w 3751729"/>
              <a:gd name="connsiteY1524" fmla="*/ 86996 h 1237129"/>
              <a:gd name="connsiteX1525" fmla="*/ 3596406 w 3751729"/>
              <a:gd name="connsiteY1525" fmla="*/ 85274 h 1237129"/>
              <a:gd name="connsiteX1526" fmla="*/ 3592222 w 3751729"/>
              <a:gd name="connsiteY1526" fmla="*/ 97089 h 1237129"/>
              <a:gd name="connsiteX1527" fmla="*/ 3583854 w 3751729"/>
              <a:gd name="connsiteY1527" fmla="*/ 102997 h 1237129"/>
              <a:gd name="connsiteX1528" fmla="*/ 3573022 w 3751729"/>
              <a:gd name="connsiteY1528" fmla="*/ 107181 h 1237129"/>
              <a:gd name="connsiteX1529" fmla="*/ 3561453 w 3751729"/>
              <a:gd name="connsiteY1529" fmla="*/ 111366 h 1237129"/>
              <a:gd name="connsiteX1530" fmla="*/ 3560715 w 3751729"/>
              <a:gd name="connsiteY1530" fmla="*/ 123180 h 1237129"/>
              <a:gd name="connsiteX1531" fmla="*/ 3557514 w 3751729"/>
              <a:gd name="connsiteY1531" fmla="*/ 132289 h 1237129"/>
              <a:gd name="connsiteX1532" fmla="*/ 3551854 w 3751729"/>
              <a:gd name="connsiteY1532" fmla="*/ 140657 h 1237129"/>
              <a:gd name="connsiteX1533" fmla="*/ 3540284 w 3751729"/>
              <a:gd name="connsiteY1533" fmla="*/ 142381 h 1237129"/>
              <a:gd name="connsiteX1534" fmla="*/ 3531915 w 3751729"/>
              <a:gd name="connsiteY1534" fmla="*/ 144842 h 1237129"/>
              <a:gd name="connsiteX1535" fmla="*/ 3526253 w 3751729"/>
              <a:gd name="connsiteY1535" fmla="*/ 148288 h 1237129"/>
              <a:gd name="connsiteX1536" fmla="*/ 3520592 w 3751729"/>
              <a:gd name="connsiteY1536" fmla="*/ 150012 h 1237129"/>
              <a:gd name="connsiteX1537" fmla="*/ 3516408 w 3751729"/>
              <a:gd name="connsiteY1537" fmla="*/ 146565 h 1237129"/>
              <a:gd name="connsiteX1538" fmla="*/ 3511484 w 3751729"/>
              <a:gd name="connsiteY1538" fmla="*/ 142381 h 1237129"/>
              <a:gd name="connsiteX1539" fmla="*/ 3509022 w 3751729"/>
              <a:gd name="connsiteY1539" fmla="*/ 138196 h 1237129"/>
              <a:gd name="connsiteX1540" fmla="*/ 3503362 w 3751729"/>
              <a:gd name="connsiteY1540" fmla="*/ 138935 h 1237129"/>
              <a:gd name="connsiteX1541" fmla="*/ 3495977 w 3751729"/>
              <a:gd name="connsiteY1541" fmla="*/ 140657 h 1237129"/>
              <a:gd name="connsiteX1542" fmla="*/ 3490315 w 3751729"/>
              <a:gd name="connsiteY1542" fmla="*/ 144103 h 1237129"/>
              <a:gd name="connsiteX1543" fmla="*/ 3486130 w 3751729"/>
              <a:gd name="connsiteY1543" fmla="*/ 146565 h 1237129"/>
              <a:gd name="connsiteX1544" fmla="*/ 3486130 w 3751729"/>
              <a:gd name="connsiteY1544" fmla="*/ 152473 h 1237129"/>
              <a:gd name="connsiteX1545" fmla="*/ 3481946 w 3751729"/>
              <a:gd name="connsiteY1545" fmla="*/ 154195 h 1237129"/>
              <a:gd name="connsiteX1546" fmla="*/ 3474562 w 3751729"/>
              <a:gd name="connsiteY1546" fmla="*/ 154195 h 1237129"/>
              <a:gd name="connsiteX1547" fmla="*/ 3464716 w 3751729"/>
              <a:gd name="connsiteY1547" fmla="*/ 154195 h 1237129"/>
              <a:gd name="connsiteX1548" fmla="*/ 3455608 w 3751729"/>
              <a:gd name="connsiteY1548" fmla="*/ 155919 h 1237129"/>
              <a:gd name="connsiteX1549" fmla="*/ 3451423 w 3751729"/>
              <a:gd name="connsiteY1549" fmla="*/ 156658 h 1237129"/>
              <a:gd name="connsiteX1550" fmla="*/ 3444038 w 3751729"/>
              <a:gd name="connsiteY1550" fmla="*/ 174381 h 1237129"/>
              <a:gd name="connsiteX1551" fmla="*/ 3443300 w 3751729"/>
              <a:gd name="connsiteY1551" fmla="*/ 193580 h 1237129"/>
              <a:gd name="connsiteX1552" fmla="*/ 3443300 w 3751729"/>
              <a:gd name="connsiteY1552" fmla="*/ 215488 h 1237129"/>
              <a:gd name="connsiteX1553" fmla="*/ 3445762 w 3751729"/>
              <a:gd name="connsiteY1553" fmla="*/ 234687 h 1237129"/>
              <a:gd name="connsiteX1554" fmla="*/ 3441577 w 3751729"/>
              <a:gd name="connsiteY1554" fmla="*/ 234687 h 1237129"/>
              <a:gd name="connsiteX1555" fmla="*/ 3439854 w 3751729"/>
              <a:gd name="connsiteY1555" fmla="*/ 234687 h 1237129"/>
              <a:gd name="connsiteX1556" fmla="*/ 3438131 w 3751729"/>
              <a:gd name="connsiteY1556" fmla="*/ 234687 h 1237129"/>
              <a:gd name="connsiteX1557" fmla="*/ 3437392 w 3751729"/>
              <a:gd name="connsiteY1557" fmla="*/ 236410 h 1237129"/>
              <a:gd name="connsiteX1558" fmla="*/ 3435670 w 3751729"/>
              <a:gd name="connsiteY1558" fmla="*/ 237150 h 1237129"/>
              <a:gd name="connsiteX1559" fmla="*/ 3433946 w 3751729"/>
              <a:gd name="connsiteY1559" fmla="*/ 242072 h 1237129"/>
              <a:gd name="connsiteX1560" fmla="*/ 3432223 w 3751729"/>
              <a:gd name="connsiteY1560" fmla="*/ 246257 h 1237129"/>
              <a:gd name="connsiteX1561" fmla="*/ 3432223 w 3751729"/>
              <a:gd name="connsiteY1561" fmla="*/ 252164 h 1237129"/>
              <a:gd name="connsiteX1562" fmla="*/ 3432223 w 3751729"/>
              <a:gd name="connsiteY1562" fmla="*/ 258810 h 1237129"/>
              <a:gd name="connsiteX1563" fmla="*/ 3422377 w 3751729"/>
              <a:gd name="connsiteY1563" fmla="*/ 258810 h 1237129"/>
              <a:gd name="connsiteX1564" fmla="*/ 3416715 w 3751729"/>
              <a:gd name="connsiteY1564" fmla="*/ 267918 h 1237129"/>
              <a:gd name="connsiteX1565" fmla="*/ 3412531 w 3751729"/>
              <a:gd name="connsiteY1565" fmla="*/ 273825 h 1237129"/>
              <a:gd name="connsiteX1566" fmla="*/ 3410808 w 3751729"/>
              <a:gd name="connsiteY1566" fmla="*/ 279734 h 1237129"/>
              <a:gd name="connsiteX1567" fmla="*/ 3409084 w 3751729"/>
              <a:gd name="connsiteY1567" fmla="*/ 291548 h 1237129"/>
              <a:gd name="connsiteX1568" fmla="*/ 3406623 w 3751729"/>
              <a:gd name="connsiteY1568" fmla="*/ 291548 h 1237129"/>
              <a:gd name="connsiteX1569" fmla="*/ 3403423 w 3751729"/>
              <a:gd name="connsiteY1569" fmla="*/ 291548 h 1237129"/>
              <a:gd name="connsiteX1570" fmla="*/ 3402685 w 3751729"/>
              <a:gd name="connsiteY1570" fmla="*/ 291548 h 1237129"/>
              <a:gd name="connsiteX1571" fmla="*/ 3400962 w 3751729"/>
              <a:gd name="connsiteY1571" fmla="*/ 291548 h 1237129"/>
              <a:gd name="connsiteX1572" fmla="*/ 3397762 w 3751729"/>
              <a:gd name="connsiteY1572" fmla="*/ 291548 h 1237129"/>
              <a:gd name="connsiteX1573" fmla="*/ 3392100 w 3751729"/>
              <a:gd name="connsiteY1573" fmla="*/ 303365 h 1237129"/>
              <a:gd name="connsiteX1574" fmla="*/ 3387915 w 3751729"/>
              <a:gd name="connsiteY1574" fmla="*/ 317641 h 1237129"/>
              <a:gd name="connsiteX1575" fmla="*/ 3378069 w 3751729"/>
              <a:gd name="connsiteY1575" fmla="*/ 317641 h 1237129"/>
              <a:gd name="connsiteX1576" fmla="*/ 3374869 w 3751729"/>
              <a:gd name="connsiteY1576" fmla="*/ 333640 h 1237129"/>
              <a:gd name="connsiteX1577" fmla="*/ 3369947 w 3751729"/>
              <a:gd name="connsiteY1577" fmla="*/ 333640 h 1237129"/>
              <a:gd name="connsiteX1578" fmla="*/ 3369947 w 3751729"/>
              <a:gd name="connsiteY1578" fmla="*/ 329457 h 1237129"/>
              <a:gd name="connsiteX1579" fmla="*/ 3358378 w 3751729"/>
              <a:gd name="connsiteY1579" fmla="*/ 313456 h 1237129"/>
              <a:gd name="connsiteX1580" fmla="*/ 3350993 w 3751729"/>
              <a:gd name="connsiteY1580" fmla="*/ 294256 h 1237129"/>
              <a:gd name="connsiteX1581" fmla="*/ 3349270 w 3751729"/>
              <a:gd name="connsiteY1581" fmla="*/ 272349 h 1237129"/>
              <a:gd name="connsiteX1582" fmla="*/ 3350993 w 3751729"/>
              <a:gd name="connsiteY1582" fmla="*/ 246257 h 1237129"/>
              <a:gd name="connsiteX1583" fmla="*/ 3355178 w 3751729"/>
              <a:gd name="connsiteY1583" fmla="*/ 242811 h 1237129"/>
              <a:gd name="connsiteX1584" fmla="*/ 3358378 w 3751729"/>
              <a:gd name="connsiteY1584" fmla="*/ 240349 h 1237129"/>
              <a:gd name="connsiteX1585" fmla="*/ 3362562 w 3751729"/>
              <a:gd name="connsiteY1585" fmla="*/ 236903 h 1237129"/>
              <a:gd name="connsiteX1586" fmla="*/ 3364285 w 3751729"/>
              <a:gd name="connsiteY1586" fmla="*/ 232719 h 1237129"/>
              <a:gd name="connsiteX1587" fmla="*/ 3366747 w 3751729"/>
              <a:gd name="connsiteY1587" fmla="*/ 226811 h 1237129"/>
              <a:gd name="connsiteX1588" fmla="*/ 3362562 w 3751729"/>
              <a:gd name="connsiteY1588" fmla="*/ 219180 h 1237129"/>
              <a:gd name="connsiteX1589" fmla="*/ 3360839 w 3751729"/>
              <a:gd name="connsiteY1589" fmla="*/ 209088 h 1237129"/>
              <a:gd name="connsiteX1590" fmla="*/ 3366501 w 3751729"/>
              <a:gd name="connsiteY1590" fmla="*/ 197272 h 1237129"/>
              <a:gd name="connsiteX1591" fmla="*/ 3372162 w 3751729"/>
              <a:gd name="connsiteY1591" fmla="*/ 193088 h 1237129"/>
              <a:gd name="connsiteX1592" fmla="*/ 3379547 w 3751729"/>
              <a:gd name="connsiteY1592" fmla="*/ 189642 h 1237129"/>
              <a:gd name="connsiteX1593" fmla="*/ 3387915 w 3751729"/>
              <a:gd name="connsiteY1593" fmla="*/ 187180 h 1237129"/>
              <a:gd name="connsiteX1594" fmla="*/ 3393577 w 3751729"/>
              <a:gd name="connsiteY1594" fmla="*/ 181272 h 1237129"/>
              <a:gd name="connsiteX1595" fmla="*/ 3405147 w 3751729"/>
              <a:gd name="connsiteY1595" fmla="*/ 163550 h 1237129"/>
              <a:gd name="connsiteX1596" fmla="*/ 3416715 w 3751729"/>
              <a:gd name="connsiteY1596" fmla="*/ 145827 h 1237129"/>
              <a:gd name="connsiteX1597" fmla="*/ 3425824 w 3751729"/>
              <a:gd name="connsiteY1597" fmla="*/ 138196 h 1237129"/>
              <a:gd name="connsiteX1598" fmla="*/ 3435670 w 3751729"/>
              <a:gd name="connsiteY1598" fmla="*/ 131550 h 1237129"/>
              <a:gd name="connsiteX1599" fmla="*/ 3445515 w 3751729"/>
              <a:gd name="connsiteY1599" fmla="*/ 123920 h 1237129"/>
              <a:gd name="connsiteX1600" fmla="*/ 3449700 w 3751729"/>
              <a:gd name="connsiteY1600" fmla="*/ 113827 h 1237129"/>
              <a:gd name="connsiteX1601" fmla="*/ 3452900 w 3751729"/>
              <a:gd name="connsiteY1601" fmla="*/ 102011 h 1237129"/>
              <a:gd name="connsiteX1602" fmla="*/ 3457085 w 3751729"/>
              <a:gd name="connsiteY1602" fmla="*/ 91181 h 1237129"/>
              <a:gd name="connsiteX1603" fmla="*/ 3457085 w 3751729"/>
              <a:gd name="connsiteY1603" fmla="*/ 90443 h 1237129"/>
              <a:gd name="connsiteX1604" fmla="*/ 3455361 w 3751729"/>
              <a:gd name="connsiteY1604" fmla="*/ 90443 h 1237129"/>
              <a:gd name="connsiteX1605" fmla="*/ 3455361 w 3751729"/>
              <a:gd name="connsiteY1605" fmla="*/ 88719 h 1237129"/>
              <a:gd name="connsiteX1606" fmla="*/ 3453639 w 3751729"/>
              <a:gd name="connsiteY1606" fmla="*/ 86996 h 1237129"/>
              <a:gd name="connsiteX1607" fmla="*/ 3451176 w 3751729"/>
              <a:gd name="connsiteY1607" fmla="*/ 88719 h 1237129"/>
              <a:gd name="connsiteX1608" fmla="*/ 3449454 w 3751729"/>
              <a:gd name="connsiteY1608" fmla="*/ 90443 h 1237129"/>
              <a:gd name="connsiteX1609" fmla="*/ 3448715 w 3751729"/>
              <a:gd name="connsiteY1609" fmla="*/ 91181 h 1237129"/>
              <a:gd name="connsiteX1610" fmla="*/ 3441331 w 3751729"/>
              <a:gd name="connsiteY1610" fmla="*/ 102011 h 1237129"/>
              <a:gd name="connsiteX1611" fmla="*/ 3433946 w 3751729"/>
              <a:gd name="connsiteY1611" fmla="*/ 113827 h 1237129"/>
              <a:gd name="connsiteX1612" fmla="*/ 3426561 w 3751729"/>
              <a:gd name="connsiteY1612" fmla="*/ 123920 h 1237129"/>
              <a:gd name="connsiteX1613" fmla="*/ 3416715 w 3751729"/>
              <a:gd name="connsiteY1613" fmla="*/ 131550 h 1237129"/>
              <a:gd name="connsiteX1614" fmla="*/ 3403423 w 3751729"/>
              <a:gd name="connsiteY1614" fmla="*/ 137457 h 1237129"/>
              <a:gd name="connsiteX1615" fmla="*/ 3402685 w 3751729"/>
              <a:gd name="connsiteY1615" fmla="*/ 132535 h 1237129"/>
              <a:gd name="connsiteX1616" fmla="*/ 3402685 w 3751729"/>
              <a:gd name="connsiteY1616" fmla="*/ 131796 h 1237129"/>
              <a:gd name="connsiteX1617" fmla="*/ 3400962 w 3751729"/>
              <a:gd name="connsiteY1617" fmla="*/ 128350 h 1237129"/>
              <a:gd name="connsiteX1618" fmla="*/ 3400962 w 3751729"/>
              <a:gd name="connsiteY1618" fmla="*/ 124165 h 1237129"/>
              <a:gd name="connsiteX1619" fmla="*/ 3402685 w 3751729"/>
              <a:gd name="connsiteY1619" fmla="*/ 122442 h 1237129"/>
              <a:gd name="connsiteX1620" fmla="*/ 3402685 w 3751729"/>
              <a:gd name="connsiteY1620" fmla="*/ 120719 h 1237129"/>
              <a:gd name="connsiteX1621" fmla="*/ 3402685 w 3751729"/>
              <a:gd name="connsiteY1621" fmla="*/ 119980 h 1237129"/>
              <a:gd name="connsiteX1622" fmla="*/ 3403423 w 3751729"/>
              <a:gd name="connsiteY1622" fmla="*/ 116534 h 1237129"/>
              <a:gd name="connsiteX1623" fmla="*/ 3403423 w 3751729"/>
              <a:gd name="connsiteY1623" fmla="*/ 114073 h 1237129"/>
              <a:gd name="connsiteX1624" fmla="*/ 3399238 w 3751729"/>
              <a:gd name="connsiteY1624" fmla="*/ 110628 h 1237129"/>
              <a:gd name="connsiteX1625" fmla="*/ 3395054 w 3751729"/>
              <a:gd name="connsiteY1625" fmla="*/ 108903 h 1237129"/>
              <a:gd name="connsiteX1626" fmla="*/ 3391854 w 3751729"/>
              <a:gd name="connsiteY1626" fmla="*/ 108166 h 1237129"/>
              <a:gd name="connsiteX1627" fmla="*/ 3387670 w 3751729"/>
              <a:gd name="connsiteY1627" fmla="*/ 106442 h 1237129"/>
              <a:gd name="connsiteX1628" fmla="*/ 3385208 w 3751729"/>
              <a:gd name="connsiteY1628" fmla="*/ 108166 h 1237129"/>
              <a:gd name="connsiteX1629" fmla="*/ 3377824 w 3751729"/>
              <a:gd name="connsiteY1629" fmla="*/ 112350 h 1237129"/>
              <a:gd name="connsiteX1630" fmla="*/ 3367978 w 3751729"/>
              <a:gd name="connsiteY1630" fmla="*/ 120719 h 1237129"/>
              <a:gd name="connsiteX1631" fmla="*/ 3358870 w 3751729"/>
              <a:gd name="connsiteY1631" fmla="*/ 131550 h 1237129"/>
              <a:gd name="connsiteX1632" fmla="*/ 3350500 w 3751729"/>
              <a:gd name="connsiteY1632" fmla="*/ 141642 h 1237129"/>
              <a:gd name="connsiteX1633" fmla="*/ 3346316 w 3751729"/>
              <a:gd name="connsiteY1633" fmla="*/ 149273 h 1237129"/>
              <a:gd name="connsiteX1634" fmla="*/ 3346316 w 3751729"/>
              <a:gd name="connsiteY1634" fmla="*/ 151734 h 1237129"/>
              <a:gd name="connsiteX1635" fmla="*/ 3346316 w 3751729"/>
              <a:gd name="connsiteY1635" fmla="*/ 155180 h 1237129"/>
              <a:gd name="connsiteX1636" fmla="*/ 3347055 w 3751729"/>
              <a:gd name="connsiteY1636" fmla="*/ 157642 h 1237129"/>
              <a:gd name="connsiteX1637" fmla="*/ 3348778 w 3751729"/>
              <a:gd name="connsiteY1637" fmla="*/ 161826 h 1237129"/>
              <a:gd name="connsiteX1638" fmla="*/ 3350500 w 3751729"/>
              <a:gd name="connsiteY1638" fmla="*/ 165272 h 1237129"/>
              <a:gd name="connsiteX1639" fmla="*/ 3350500 w 3751729"/>
              <a:gd name="connsiteY1639" fmla="*/ 167734 h 1237129"/>
              <a:gd name="connsiteX1640" fmla="*/ 3341394 w 3751729"/>
              <a:gd name="connsiteY1640" fmla="*/ 171918 h 1237129"/>
              <a:gd name="connsiteX1641" fmla="*/ 3331548 w 3751729"/>
              <a:gd name="connsiteY1641" fmla="*/ 173642 h 1237129"/>
              <a:gd name="connsiteX1642" fmla="*/ 3318255 w 3751729"/>
              <a:gd name="connsiteY1642" fmla="*/ 175365 h 1237129"/>
              <a:gd name="connsiteX1643" fmla="*/ 3305947 w 3751729"/>
              <a:gd name="connsiteY1643" fmla="*/ 175365 h 1237129"/>
              <a:gd name="connsiteX1644" fmla="*/ 3305947 w 3751729"/>
              <a:gd name="connsiteY1644" fmla="*/ 159365 h 1237129"/>
              <a:gd name="connsiteX1645" fmla="*/ 3292655 w 3751729"/>
              <a:gd name="connsiteY1645" fmla="*/ 161826 h 1237129"/>
              <a:gd name="connsiteX1646" fmla="*/ 3281085 w 3751729"/>
              <a:gd name="connsiteY1646" fmla="*/ 166750 h 1237129"/>
              <a:gd name="connsiteX1647" fmla="*/ 3271240 w 3751729"/>
              <a:gd name="connsiteY1647" fmla="*/ 165026 h 1237129"/>
              <a:gd name="connsiteX1648" fmla="*/ 3263855 w 3751729"/>
              <a:gd name="connsiteY1648" fmla="*/ 155919 h 1237129"/>
              <a:gd name="connsiteX1649" fmla="*/ 3235055 w 3751729"/>
              <a:gd name="connsiteY1649" fmla="*/ 151734 h 1237129"/>
              <a:gd name="connsiteX1650" fmla="*/ 3225209 w 3751729"/>
              <a:gd name="connsiteY1650" fmla="*/ 161826 h 1237129"/>
              <a:gd name="connsiteX1651" fmla="*/ 3213640 w 3751729"/>
              <a:gd name="connsiteY1651" fmla="*/ 169457 h 1237129"/>
              <a:gd name="connsiteX1652" fmla="*/ 3203794 w 3751729"/>
              <a:gd name="connsiteY1652" fmla="*/ 177827 h 1237129"/>
              <a:gd name="connsiteX1653" fmla="*/ 3198133 w 3751729"/>
              <a:gd name="connsiteY1653" fmla="*/ 188657 h 1237129"/>
              <a:gd name="connsiteX1654" fmla="*/ 3192471 w 3751729"/>
              <a:gd name="connsiteY1654" fmla="*/ 198750 h 1237129"/>
              <a:gd name="connsiteX1655" fmla="*/ 3186810 w 3751729"/>
              <a:gd name="connsiteY1655" fmla="*/ 208841 h 1237129"/>
              <a:gd name="connsiteX1656" fmla="*/ 3179425 w 3751729"/>
              <a:gd name="connsiteY1656" fmla="*/ 216473 h 1237129"/>
              <a:gd name="connsiteX1657" fmla="*/ 3156287 w 3751729"/>
              <a:gd name="connsiteY1657" fmla="*/ 224103 h 1237129"/>
              <a:gd name="connsiteX1658" fmla="*/ 3150625 w 3751729"/>
              <a:gd name="connsiteY1658" fmla="*/ 230011 h 1237129"/>
              <a:gd name="connsiteX1659" fmla="*/ 3146441 w 3751729"/>
              <a:gd name="connsiteY1659" fmla="*/ 236657 h 1237129"/>
              <a:gd name="connsiteX1660" fmla="*/ 3142256 w 3751729"/>
              <a:gd name="connsiteY1660" fmla="*/ 242564 h 1237129"/>
              <a:gd name="connsiteX1661" fmla="*/ 3132409 w 3751729"/>
              <a:gd name="connsiteY1661" fmla="*/ 250195 h 1237129"/>
              <a:gd name="connsiteX1662" fmla="*/ 3132409 w 3751729"/>
              <a:gd name="connsiteY1662" fmla="*/ 258564 h 1237129"/>
              <a:gd name="connsiteX1663" fmla="*/ 3144717 w 3751729"/>
              <a:gd name="connsiteY1663" fmla="*/ 258564 h 1237129"/>
              <a:gd name="connsiteX1664" fmla="*/ 3146441 w 3751729"/>
              <a:gd name="connsiteY1664" fmla="*/ 263487 h 1237129"/>
              <a:gd name="connsiteX1665" fmla="*/ 3148164 w 3751729"/>
              <a:gd name="connsiteY1665" fmla="*/ 265949 h 1237129"/>
              <a:gd name="connsiteX1666" fmla="*/ 3148902 w 3751729"/>
              <a:gd name="connsiteY1666" fmla="*/ 269395 h 1237129"/>
              <a:gd name="connsiteX1667" fmla="*/ 3152102 w 3751729"/>
              <a:gd name="connsiteY1667" fmla="*/ 271857 h 1237129"/>
              <a:gd name="connsiteX1668" fmla="*/ 3154563 w 3751729"/>
              <a:gd name="connsiteY1668" fmla="*/ 273580 h 1237129"/>
              <a:gd name="connsiteX1669" fmla="*/ 3160225 w 3751729"/>
              <a:gd name="connsiteY1669" fmla="*/ 275303 h 1237129"/>
              <a:gd name="connsiteX1670" fmla="*/ 3163425 w 3751729"/>
              <a:gd name="connsiteY1670" fmla="*/ 271857 h 1237129"/>
              <a:gd name="connsiteX1671" fmla="*/ 3165887 w 3751729"/>
              <a:gd name="connsiteY1671" fmla="*/ 270133 h 1237129"/>
              <a:gd name="connsiteX1672" fmla="*/ 3170809 w 3751729"/>
              <a:gd name="connsiteY1672" fmla="*/ 269395 h 1237129"/>
              <a:gd name="connsiteX1673" fmla="*/ 3174994 w 3751729"/>
              <a:gd name="connsiteY1673" fmla="*/ 269395 h 1237129"/>
              <a:gd name="connsiteX1674" fmla="*/ 3182379 w 3751729"/>
              <a:gd name="connsiteY1674" fmla="*/ 269395 h 1237129"/>
              <a:gd name="connsiteX1675" fmla="*/ 3188041 w 3751729"/>
              <a:gd name="connsiteY1675" fmla="*/ 276041 h 1237129"/>
              <a:gd name="connsiteX1676" fmla="*/ 3192225 w 3751729"/>
              <a:gd name="connsiteY1676" fmla="*/ 281949 h 1237129"/>
              <a:gd name="connsiteX1677" fmla="*/ 3194687 w 3751729"/>
              <a:gd name="connsiteY1677" fmla="*/ 289580 h 1237129"/>
              <a:gd name="connsiteX1678" fmla="*/ 3197887 w 3751729"/>
              <a:gd name="connsiteY1678" fmla="*/ 301394 h 1237129"/>
              <a:gd name="connsiteX1679" fmla="*/ 3199609 w 3751729"/>
              <a:gd name="connsiteY1679" fmla="*/ 309026 h 1237129"/>
              <a:gd name="connsiteX1680" fmla="*/ 3197887 w 3751729"/>
              <a:gd name="connsiteY1680" fmla="*/ 313210 h 1237129"/>
              <a:gd name="connsiteX1681" fmla="*/ 3193702 w 3751729"/>
              <a:gd name="connsiteY1681" fmla="*/ 317395 h 1237129"/>
              <a:gd name="connsiteX1682" fmla="*/ 3191978 w 3751729"/>
              <a:gd name="connsiteY1682" fmla="*/ 325026 h 1237129"/>
              <a:gd name="connsiteX1683" fmla="*/ 3191978 w 3751729"/>
              <a:gd name="connsiteY1683" fmla="*/ 333395 h 1237129"/>
              <a:gd name="connsiteX1684" fmla="*/ 3194441 w 3751729"/>
              <a:gd name="connsiteY1684" fmla="*/ 341025 h 1237129"/>
              <a:gd name="connsiteX1685" fmla="*/ 3197640 w 3751729"/>
              <a:gd name="connsiteY1685" fmla="*/ 348656 h 1237129"/>
              <a:gd name="connsiteX1686" fmla="*/ 3200102 w 3751729"/>
              <a:gd name="connsiteY1686" fmla="*/ 358748 h 1237129"/>
              <a:gd name="connsiteX1687" fmla="*/ 3191733 w 3751729"/>
              <a:gd name="connsiteY1687" fmla="*/ 367856 h 1237129"/>
              <a:gd name="connsiteX1688" fmla="*/ 3186072 w 3751729"/>
              <a:gd name="connsiteY1688" fmla="*/ 377949 h 1237129"/>
              <a:gd name="connsiteX1689" fmla="*/ 3181886 w 3751729"/>
              <a:gd name="connsiteY1689" fmla="*/ 388041 h 1237129"/>
              <a:gd name="connsiteX1690" fmla="*/ 3176226 w 3751729"/>
              <a:gd name="connsiteY1690" fmla="*/ 401579 h 1237129"/>
              <a:gd name="connsiteX1691" fmla="*/ 3173025 w 3751729"/>
              <a:gd name="connsiteY1691" fmla="*/ 404041 h 1237129"/>
              <a:gd name="connsiteX1692" fmla="*/ 3165640 w 3751729"/>
              <a:gd name="connsiteY1692" fmla="*/ 413148 h 1237129"/>
              <a:gd name="connsiteX1693" fmla="*/ 3157271 w 3751729"/>
              <a:gd name="connsiteY1693" fmla="*/ 423241 h 1237129"/>
              <a:gd name="connsiteX1694" fmla="*/ 3148164 w 3751729"/>
              <a:gd name="connsiteY1694" fmla="*/ 435056 h 1237129"/>
              <a:gd name="connsiteX1695" fmla="*/ 3138318 w 3751729"/>
              <a:gd name="connsiteY1695" fmla="*/ 445148 h 1237129"/>
              <a:gd name="connsiteX1696" fmla="*/ 3129949 w 3751729"/>
              <a:gd name="connsiteY1696" fmla="*/ 455241 h 1237129"/>
              <a:gd name="connsiteX1697" fmla="*/ 3124288 w 3751729"/>
              <a:gd name="connsiteY1697" fmla="*/ 462871 h 1237129"/>
              <a:gd name="connsiteX1698" fmla="*/ 3121088 w 3751729"/>
              <a:gd name="connsiteY1698" fmla="*/ 466318 h 1237129"/>
              <a:gd name="connsiteX1699" fmla="*/ 3111241 w 3751729"/>
              <a:gd name="connsiteY1699" fmla="*/ 468778 h 1237129"/>
              <a:gd name="connsiteX1700" fmla="*/ 3101395 w 3751729"/>
              <a:gd name="connsiteY1700" fmla="*/ 467056 h 1237129"/>
              <a:gd name="connsiteX1701" fmla="*/ 3092288 w 3751729"/>
              <a:gd name="connsiteY1701" fmla="*/ 467056 h 1237129"/>
              <a:gd name="connsiteX1702" fmla="*/ 3083918 w 3751729"/>
              <a:gd name="connsiteY1702" fmla="*/ 468778 h 1237129"/>
              <a:gd name="connsiteX1703" fmla="*/ 3076533 w 3751729"/>
              <a:gd name="connsiteY1703" fmla="*/ 476409 h 1237129"/>
              <a:gd name="connsiteX1704" fmla="*/ 3070872 w 3751729"/>
              <a:gd name="connsiteY1704" fmla="*/ 484779 h 1237129"/>
              <a:gd name="connsiteX1705" fmla="*/ 3066687 w 3751729"/>
              <a:gd name="connsiteY1705" fmla="*/ 493887 h 1237129"/>
              <a:gd name="connsiteX1706" fmla="*/ 3061026 w 3751729"/>
              <a:gd name="connsiteY1706" fmla="*/ 502256 h 1237129"/>
              <a:gd name="connsiteX1707" fmla="*/ 3052657 w 3751729"/>
              <a:gd name="connsiteY1707" fmla="*/ 508164 h 1237129"/>
              <a:gd name="connsiteX1708" fmla="*/ 3050934 w 3751729"/>
              <a:gd name="connsiteY1708" fmla="*/ 508164 h 1237129"/>
              <a:gd name="connsiteX1709" fmla="*/ 3049211 w 3751729"/>
              <a:gd name="connsiteY1709" fmla="*/ 509887 h 1237129"/>
              <a:gd name="connsiteX1710" fmla="*/ 3047487 w 3751729"/>
              <a:gd name="connsiteY1710" fmla="*/ 509887 h 1237129"/>
              <a:gd name="connsiteX1711" fmla="*/ 3045026 w 3751729"/>
              <a:gd name="connsiteY1711" fmla="*/ 509887 h 1237129"/>
              <a:gd name="connsiteX1712" fmla="*/ 3041826 w 3751729"/>
              <a:gd name="connsiteY1712" fmla="*/ 511610 h 1237129"/>
              <a:gd name="connsiteX1713" fmla="*/ 3045026 w 3751729"/>
              <a:gd name="connsiteY1713" fmla="*/ 519979 h 1237129"/>
              <a:gd name="connsiteX1714" fmla="*/ 3050688 w 3751729"/>
              <a:gd name="connsiteY1714" fmla="*/ 529086 h 1237129"/>
              <a:gd name="connsiteX1715" fmla="*/ 3054872 w 3751729"/>
              <a:gd name="connsiteY1715" fmla="*/ 539179 h 1237129"/>
              <a:gd name="connsiteX1716" fmla="*/ 3060534 w 3751729"/>
              <a:gd name="connsiteY1716" fmla="*/ 549271 h 1237129"/>
              <a:gd name="connsiteX1717" fmla="*/ 3062995 w 3751729"/>
              <a:gd name="connsiteY1717" fmla="*/ 558378 h 1237129"/>
              <a:gd name="connsiteX1718" fmla="*/ 3064719 w 3751729"/>
              <a:gd name="connsiteY1718" fmla="*/ 568471 h 1237129"/>
              <a:gd name="connsiteX1719" fmla="*/ 3062256 w 3751729"/>
              <a:gd name="connsiteY1719" fmla="*/ 575117 h 1237129"/>
              <a:gd name="connsiteX1720" fmla="*/ 3056595 w 3751729"/>
              <a:gd name="connsiteY1720" fmla="*/ 581022 h 1237129"/>
              <a:gd name="connsiteX1721" fmla="*/ 3045026 w 3751729"/>
              <a:gd name="connsiteY1721" fmla="*/ 585945 h 1237129"/>
              <a:gd name="connsiteX1722" fmla="*/ 3026073 w 3751729"/>
              <a:gd name="connsiteY1722" fmla="*/ 588407 h 1237129"/>
              <a:gd name="connsiteX1723" fmla="*/ 3026073 w 3751729"/>
              <a:gd name="connsiteY1723" fmla="*/ 580776 h 1237129"/>
              <a:gd name="connsiteX1724" fmla="*/ 3024348 w 3751729"/>
              <a:gd name="connsiteY1724" fmla="*/ 574133 h 1237129"/>
              <a:gd name="connsiteX1725" fmla="*/ 3024348 w 3751729"/>
              <a:gd name="connsiteY1725" fmla="*/ 564040 h 1237129"/>
              <a:gd name="connsiteX1726" fmla="*/ 3026073 w 3751729"/>
              <a:gd name="connsiteY1726" fmla="*/ 552225 h 1237129"/>
              <a:gd name="connsiteX1727" fmla="*/ 3026073 w 3751729"/>
              <a:gd name="connsiteY1727" fmla="*/ 543117 h 1237129"/>
              <a:gd name="connsiteX1728" fmla="*/ 3021888 w 3751729"/>
              <a:gd name="connsiteY1728" fmla="*/ 543117 h 1237129"/>
              <a:gd name="connsiteX1729" fmla="*/ 3018688 w 3751729"/>
              <a:gd name="connsiteY1729" fmla="*/ 543117 h 1237129"/>
              <a:gd name="connsiteX1730" fmla="*/ 3016226 w 3751729"/>
              <a:gd name="connsiteY1730" fmla="*/ 543117 h 1237129"/>
              <a:gd name="connsiteX1731" fmla="*/ 3014503 w 3751729"/>
              <a:gd name="connsiteY1731" fmla="*/ 543117 h 1237129"/>
              <a:gd name="connsiteX1732" fmla="*/ 3012780 w 3751729"/>
              <a:gd name="connsiteY1732" fmla="*/ 541394 h 1237129"/>
              <a:gd name="connsiteX1733" fmla="*/ 3010318 w 3751729"/>
              <a:gd name="connsiteY1733" fmla="*/ 540655 h 1237129"/>
              <a:gd name="connsiteX1734" fmla="*/ 3007118 w 3751729"/>
              <a:gd name="connsiteY1734" fmla="*/ 535733 h 1237129"/>
              <a:gd name="connsiteX1735" fmla="*/ 3010318 w 3751729"/>
              <a:gd name="connsiteY1735" fmla="*/ 531548 h 1237129"/>
              <a:gd name="connsiteX1736" fmla="*/ 3012780 w 3751729"/>
              <a:gd name="connsiteY1736" fmla="*/ 527363 h 1237129"/>
              <a:gd name="connsiteX1737" fmla="*/ 3014503 w 3751729"/>
              <a:gd name="connsiteY1737" fmla="*/ 523179 h 1237129"/>
              <a:gd name="connsiteX1738" fmla="*/ 3017703 w 3751729"/>
              <a:gd name="connsiteY1738" fmla="*/ 517271 h 1237129"/>
              <a:gd name="connsiteX1739" fmla="*/ 3010318 w 3751729"/>
              <a:gd name="connsiteY1739" fmla="*/ 517271 h 1237129"/>
              <a:gd name="connsiteX1740" fmla="*/ 3001211 w 3751729"/>
              <a:gd name="connsiteY1740" fmla="*/ 515548 h 1237129"/>
              <a:gd name="connsiteX1741" fmla="*/ 2991365 w 3751729"/>
              <a:gd name="connsiteY1741" fmla="*/ 518010 h 1237129"/>
              <a:gd name="connsiteX1742" fmla="*/ 2979796 w 3751729"/>
              <a:gd name="connsiteY1742" fmla="*/ 522932 h 1237129"/>
              <a:gd name="connsiteX1743" fmla="*/ 2969950 w 3751729"/>
              <a:gd name="connsiteY1743" fmla="*/ 527117 h 1237129"/>
              <a:gd name="connsiteX1744" fmla="*/ 2969950 w 3751729"/>
              <a:gd name="connsiteY1744" fmla="*/ 523672 h 1237129"/>
              <a:gd name="connsiteX1745" fmla="*/ 2971672 w 3751729"/>
              <a:gd name="connsiteY1745" fmla="*/ 519486 h 1237129"/>
              <a:gd name="connsiteX1746" fmla="*/ 2973396 w 3751729"/>
              <a:gd name="connsiteY1746" fmla="*/ 517025 h 1237129"/>
              <a:gd name="connsiteX1747" fmla="*/ 2974134 w 3751729"/>
              <a:gd name="connsiteY1747" fmla="*/ 512102 h 1237129"/>
              <a:gd name="connsiteX1748" fmla="*/ 2975857 w 3751729"/>
              <a:gd name="connsiteY1748" fmla="*/ 509640 h 1237129"/>
              <a:gd name="connsiteX1749" fmla="*/ 2978318 w 3751729"/>
              <a:gd name="connsiteY1749" fmla="*/ 503733 h 1237129"/>
              <a:gd name="connsiteX1750" fmla="*/ 2975857 w 3751729"/>
              <a:gd name="connsiteY1750" fmla="*/ 503733 h 1237129"/>
              <a:gd name="connsiteX1751" fmla="*/ 2973396 w 3751729"/>
              <a:gd name="connsiteY1751" fmla="*/ 502009 h 1237129"/>
              <a:gd name="connsiteX1752" fmla="*/ 2970196 w 3751729"/>
              <a:gd name="connsiteY1752" fmla="*/ 502009 h 1237129"/>
              <a:gd name="connsiteX1753" fmla="*/ 2966011 w 3751729"/>
              <a:gd name="connsiteY1753" fmla="*/ 500287 h 1237129"/>
              <a:gd name="connsiteX1754" fmla="*/ 2956904 w 3751729"/>
              <a:gd name="connsiteY1754" fmla="*/ 509395 h 1237129"/>
              <a:gd name="connsiteX1755" fmla="*/ 2947058 w 3751729"/>
              <a:gd name="connsiteY1755" fmla="*/ 517025 h 1237129"/>
              <a:gd name="connsiteX1756" fmla="*/ 2937212 w 3751729"/>
              <a:gd name="connsiteY1756" fmla="*/ 525394 h 1237129"/>
              <a:gd name="connsiteX1757" fmla="*/ 2931550 w 3751729"/>
              <a:gd name="connsiteY1757" fmla="*/ 535487 h 1237129"/>
              <a:gd name="connsiteX1758" fmla="*/ 2937212 w 3751729"/>
              <a:gd name="connsiteY1758" fmla="*/ 538932 h 1237129"/>
              <a:gd name="connsiteX1759" fmla="*/ 2941396 w 3751729"/>
              <a:gd name="connsiteY1759" fmla="*/ 541394 h 1237129"/>
              <a:gd name="connsiteX1760" fmla="*/ 2944596 w 3751729"/>
              <a:gd name="connsiteY1760" fmla="*/ 544840 h 1237129"/>
              <a:gd name="connsiteX1761" fmla="*/ 2947058 w 3751729"/>
              <a:gd name="connsiteY1761" fmla="*/ 547301 h 1237129"/>
              <a:gd name="connsiteX1762" fmla="*/ 2950257 w 3751729"/>
              <a:gd name="connsiteY1762" fmla="*/ 552225 h 1237129"/>
              <a:gd name="connsiteX1763" fmla="*/ 2958626 w 3751729"/>
              <a:gd name="connsiteY1763" fmla="*/ 547301 h 1237129"/>
              <a:gd name="connsiteX1764" fmla="*/ 2966011 w 3751729"/>
              <a:gd name="connsiteY1764" fmla="*/ 544840 h 1237129"/>
              <a:gd name="connsiteX1765" fmla="*/ 2973396 w 3751729"/>
              <a:gd name="connsiteY1765" fmla="*/ 544840 h 1237129"/>
              <a:gd name="connsiteX1766" fmla="*/ 2981764 w 3751729"/>
              <a:gd name="connsiteY1766" fmla="*/ 549025 h 1237129"/>
              <a:gd name="connsiteX1767" fmla="*/ 2985949 w 3751729"/>
              <a:gd name="connsiteY1767" fmla="*/ 549025 h 1237129"/>
              <a:gd name="connsiteX1768" fmla="*/ 2985949 w 3751729"/>
              <a:gd name="connsiteY1768" fmla="*/ 559117 h 1237129"/>
              <a:gd name="connsiteX1769" fmla="*/ 2970196 w 3751729"/>
              <a:gd name="connsiteY1769" fmla="*/ 559117 h 1237129"/>
              <a:gd name="connsiteX1770" fmla="*/ 2964534 w 3751729"/>
              <a:gd name="connsiteY1770" fmla="*/ 566748 h 1237129"/>
              <a:gd name="connsiteX1771" fmla="*/ 2958873 w 3751729"/>
              <a:gd name="connsiteY1771" fmla="*/ 572655 h 1237129"/>
              <a:gd name="connsiteX1772" fmla="*/ 2954688 w 3751729"/>
              <a:gd name="connsiteY1772" fmla="*/ 578561 h 1237129"/>
              <a:gd name="connsiteX1773" fmla="*/ 2950503 w 3751729"/>
              <a:gd name="connsiteY1773" fmla="*/ 588653 h 1237129"/>
              <a:gd name="connsiteX1774" fmla="*/ 2962073 w 3751729"/>
              <a:gd name="connsiteY1774" fmla="*/ 596284 h 1237129"/>
              <a:gd name="connsiteX1775" fmla="*/ 2968719 w 3751729"/>
              <a:gd name="connsiteY1775" fmla="*/ 608099 h 1237129"/>
              <a:gd name="connsiteX1776" fmla="*/ 2974380 w 3751729"/>
              <a:gd name="connsiteY1776" fmla="*/ 624099 h 1237129"/>
              <a:gd name="connsiteX1777" fmla="*/ 2977581 w 3751729"/>
              <a:gd name="connsiteY1777" fmla="*/ 640099 h 1237129"/>
              <a:gd name="connsiteX1778" fmla="*/ 2978318 w 3751729"/>
              <a:gd name="connsiteY1778" fmla="*/ 657822 h 1237129"/>
              <a:gd name="connsiteX1779" fmla="*/ 2978318 w 3751729"/>
              <a:gd name="connsiteY1779" fmla="*/ 673330 h 1237129"/>
              <a:gd name="connsiteX1780" fmla="*/ 2968472 w 3751729"/>
              <a:gd name="connsiteY1780" fmla="*/ 679976 h 1237129"/>
              <a:gd name="connsiteX1781" fmla="*/ 2962811 w 3751729"/>
              <a:gd name="connsiteY1781" fmla="*/ 691791 h 1237129"/>
              <a:gd name="connsiteX1782" fmla="*/ 2957149 w 3751729"/>
              <a:gd name="connsiteY1782" fmla="*/ 702622 h 1237129"/>
              <a:gd name="connsiteX1783" fmla="*/ 2950503 w 3751729"/>
              <a:gd name="connsiteY1783" fmla="*/ 714437 h 1237129"/>
              <a:gd name="connsiteX1784" fmla="*/ 2935734 w 3751729"/>
              <a:gd name="connsiteY1784" fmla="*/ 730437 h 1237129"/>
              <a:gd name="connsiteX1785" fmla="*/ 2916781 w 3751729"/>
              <a:gd name="connsiteY1785" fmla="*/ 742251 h 1237129"/>
              <a:gd name="connsiteX1786" fmla="*/ 2896842 w 3751729"/>
              <a:gd name="connsiteY1786" fmla="*/ 750622 h 1237129"/>
              <a:gd name="connsiteX1787" fmla="*/ 2873704 w 3751729"/>
              <a:gd name="connsiteY1787" fmla="*/ 758252 h 1237129"/>
              <a:gd name="connsiteX1788" fmla="*/ 2852289 w 3751729"/>
              <a:gd name="connsiteY1788" fmla="*/ 762437 h 1237129"/>
              <a:gd name="connsiteX1789" fmla="*/ 2852289 w 3751729"/>
              <a:gd name="connsiteY1789" fmla="*/ 768345 h 1237129"/>
              <a:gd name="connsiteX1790" fmla="*/ 2852289 w 3751729"/>
              <a:gd name="connsiteY1790" fmla="*/ 771791 h 1237129"/>
              <a:gd name="connsiteX1791" fmla="*/ 2852289 w 3751729"/>
              <a:gd name="connsiteY1791" fmla="*/ 774251 h 1237129"/>
              <a:gd name="connsiteX1792" fmla="*/ 2852289 w 3751729"/>
              <a:gd name="connsiteY1792" fmla="*/ 775976 h 1237129"/>
              <a:gd name="connsiteX1793" fmla="*/ 2854012 w 3751729"/>
              <a:gd name="connsiteY1793" fmla="*/ 777698 h 1237129"/>
              <a:gd name="connsiteX1794" fmla="*/ 2854012 w 3751729"/>
              <a:gd name="connsiteY1794" fmla="*/ 781882 h 1237129"/>
              <a:gd name="connsiteX1795" fmla="*/ 2854750 w 3751729"/>
              <a:gd name="connsiteY1795" fmla="*/ 786068 h 1237129"/>
              <a:gd name="connsiteX1796" fmla="*/ 2852289 w 3751729"/>
              <a:gd name="connsiteY1796" fmla="*/ 789513 h 1237129"/>
              <a:gd name="connsiteX1797" fmla="*/ 2849089 w 3751729"/>
              <a:gd name="connsiteY1797" fmla="*/ 791974 h 1237129"/>
              <a:gd name="connsiteX1798" fmla="*/ 2848350 w 3751729"/>
              <a:gd name="connsiteY1798" fmla="*/ 793699 h 1237129"/>
              <a:gd name="connsiteX1799" fmla="*/ 2845150 w 3751729"/>
              <a:gd name="connsiteY1799" fmla="*/ 796159 h 1237129"/>
              <a:gd name="connsiteX1800" fmla="*/ 2839489 w 3751729"/>
              <a:gd name="connsiteY1800" fmla="*/ 799605 h 1237129"/>
              <a:gd name="connsiteX1801" fmla="*/ 2837766 w 3751729"/>
              <a:gd name="connsiteY1801" fmla="*/ 799605 h 1237129"/>
              <a:gd name="connsiteX1802" fmla="*/ 2837027 w 3751729"/>
              <a:gd name="connsiteY1802" fmla="*/ 801329 h 1237129"/>
              <a:gd name="connsiteX1803" fmla="*/ 2835304 w 3751729"/>
              <a:gd name="connsiteY1803" fmla="*/ 801329 h 1237129"/>
              <a:gd name="connsiteX1804" fmla="*/ 2833582 w 3751729"/>
              <a:gd name="connsiteY1804" fmla="*/ 801329 h 1237129"/>
              <a:gd name="connsiteX1805" fmla="*/ 2831119 w 3751729"/>
              <a:gd name="connsiteY1805" fmla="*/ 802067 h 1237129"/>
              <a:gd name="connsiteX1806" fmla="*/ 2829396 w 3751729"/>
              <a:gd name="connsiteY1806" fmla="*/ 797883 h 1237129"/>
              <a:gd name="connsiteX1807" fmla="*/ 2827673 w 3751729"/>
              <a:gd name="connsiteY1807" fmla="*/ 793699 h 1237129"/>
              <a:gd name="connsiteX1808" fmla="*/ 2827673 w 3751729"/>
              <a:gd name="connsiteY1808" fmla="*/ 789513 h 1237129"/>
              <a:gd name="connsiteX1809" fmla="*/ 2827673 w 3751729"/>
              <a:gd name="connsiteY1809" fmla="*/ 781882 h 1237129"/>
              <a:gd name="connsiteX1810" fmla="*/ 2830873 w 3751729"/>
              <a:gd name="connsiteY1810" fmla="*/ 780160 h 1237129"/>
              <a:gd name="connsiteX1811" fmla="*/ 2833336 w 3751729"/>
              <a:gd name="connsiteY1811" fmla="*/ 780160 h 1237129"/>
              <a:gd name="connsiteX1812" fmla="*/ 2836535 w 3751729"/>
              <a:gd name="connsiteY1812" fmla="*/ 778437 h 1237129"/>
              <a:gd name="connsiteX1813" fmla="*/ 2837274 w 3751729"/>
              <a:gd name="connsiteY1813" fmla="*/ 775976 h 1237129"/>
              <a:gd name="connsiteX1814" fmla="*/ 2838997 w 3751729"/>
              <a:gd name="connsiteY1814" fmla="*/ 772529 h 1237129"/>
              <a:gd name="connsiteX1815" fmla="*/ 2837274 w 3751729"/>
              <a:gd name="connsiteY1815" fmla="*/ 770067 h 1237129"/>
              <a:gd name="connsiteX1816" fmla="*/ 2834812 w 3751729"/>
              <a:gd name="connsiteY1816" fmla="*/ 765883 h 1237129"/>
              <a:gd name="connsiteX1817" fmla="*/ 2833089 w 3751729"/>
              <a:gd name="connsiteY1817" fmla="*/ 762437 h 1237129"/>
              <a:gd name="connsiteX1818" fmla="*/ 2830627 w 3751729"/>
              <a:gd name="connsiteY1818" fmla="*/ 760714 h 1237129"/>
              <a:gd name="connsiteX1819" fmla="*/ 2828905 w 3751729"/>
              <a:gd name="connsiteY1819" fmla="*/ 760714 h 1237129"/>
              <a:gd name="connsiteX1820" fmla="*/ 2824720 w 3751729"/>
              <a:gd name="connsiteY1820" fmla="*/ 759975 h 1237129"/>
              <a:gd name="connsiteX1821" fmla="*/ 2819797 w 3751729"/>
              <a:gd name="connsiteY1821" fmla="*/ 759975 h 1237129"/>
              <a:gd name="connsiteX1822" fmla="*/ 2814874 w 3751729"/>
              <a:gd name="connsiteY1822" fmla="*/ 766621 h 1237129"/>
              <a:gd name="connsiteX1823" fmla="*/ 2809213 w 3751729"/>
              <a:gd name="connsiteY1823" fmla="*/ 771545 h 1237129"/>
              <a:gd name="connsiteX1824" fmla="*/ 2804289 w 3751729"/>
              <a:gd name="connsiteY1824" fmla="*/ 775729 h 1237129"/>
              <a:gd name="connsiteX1825" fmla="*/ 2800104 w 3751729"/>
              <a:gd name="connsiteY1825" fmla="*/ 783360 h 1237129"/>
              <a:gd name="connsiteX1826" fmla="*/ 2798382 w 3751729"/>
              <a:gd name="connsiteY1826" fmla="*/ 795174 h 1237129"/>
              <a:gd name="connsiteX1827" fmla="*/ 2811674 w 3751729"/>
              <a:gd name="connsiteY1827" fmla="*/ 807729 h 1237129"/>
              <a:gd name="connsiteX1828" fmla="*/ 2821520 w 3751729"/>
              <a:gd name="connsiteY1828" fmla="*/ 821268 h 1237129"/>
              <a:gd name="connsiteX1829" fmla="*/ 2830627 w 3751729"/>
              <a:gd name="connsiteY1829" fmla="*/ 835544 h 1237129"/>
              <a:gd name="connsiteX1830" fmla="*/ 2834812 w 3751729"/>
              <a:gd name="connsiteY1830" fmla="*/ 854743 h 1237129"/>
              <a:gd name="connsiteX1831" fmla="*/ 2836535 w 3751729"/>
              <a:gd name="connsiteY1831" fmla="*/ 878129 h 1237129"/>
              <a:gd name="connsiteX1832" fmla="*/ 2788535 w 3751729"/>
              <a:gd name="connsiteY1832" fmla="*/ 917512 h 1237129"/>
              <a:gd name="connsiteX1833" fmla="*/ 2782874 w 3751729"/>
              <a:gd name="connsiteY1833" fmla="*/ 917512 h 1237129"/>
              <a:gd name="connsiteX1834" fmla="*/ 2778689 w 3751729"/>
              <a:gd name="connsiteY1834" fmla="*/ 901513 h 1237129"/>
              <a:gd name="connsiteX1835" fmla="*/ 2769582 w 3751729"/>
              <a:gd name="connsiteY1835" fmla="*/ 889697 h 1237129"/>
              <a:gd name="connsiteX1836" fmla="*/ 2758012 w 3751729"/>
              <a:gd name="connsiteY1836" fmla="*/ 879605 h 1237129"/>
              <a:gd name="connsiteX1837" fmla="*/ 2745705 w 3751729"/>
              <a:gd name="connsiteY1837" fmla="*/ 869513 h 1237129"/>
              <a:gd name="connsiteX1838" fmla="*/ 2732412 w 3751729"/>
              <a:gd name="connsiteY1838" fmla="*/ 858682 h 1237129"/>
              <a:gd name="connsiteX1839" fmla="*/ 2726752 w 3751729"/>
              <a:gd name="connsiteY1839" fmla="*/ 882067 h 1237129"/>
              <a:gd name="connsiteX1840" fmla="*/ 2719366 w 3751729"/>
              <a:gd name="connsiteY1840" fmla="*/ 901266 h 1237129"/>
              <a:gd name="connsiteX1841" fmla="*/ 2726752 w 3751729"/>
              <a:gd name="connsiteY1841" fmla="*/ 905451 h 1237129"/>
              <a:gd name="connsiteX1842" fmla="*/ 2729951 w 3751729"/>
              <a:gd name="connsiteY1842" fmla="*/ 911359 h 1237129"/>
              <a:gd name="connsiteX1843" fmla="*/ 2730690 w 3751729"/>
              <a:gd name="connsiteY1843" fmla="*/ 918989 h 1237129"/>
              <a:gd name="connsiteX1844" fmla="*/ 2735613 w 3751729"/>
              <a:gd name="connsiteY1844" fmla="*/ 927359 h 1237129"/>
              <a:gd name="connsiteX1845" fmla="*/ 2736351 w 3751729"/>
              <a:gd name="connsiteY1845" fmla="*/ 929082 h 1237129"/>
              <a:gd name="connsiteX1846" fmla="*/ 2739551 w 3751729"/>
              <a:gd name="connsiteY1846" fmla="*/ 929082 h 1237129"/>
              <a:gd name="connsiteX1847" fmla="*/ 2742013 w 3751729"/>
              <a:gd name="connsiteY1847" fmla="*/ 929082 h 1237129"/>
              <a:gd name="connsiteX1848" fmla="*/ 2745213 w 3751729"/>
              <a:gd name="connsiteY1848" fmla="*/ 929082 h 1237129"/>
              <a:gd name="connsiteX1849" fmla="*/ 2747675 w 3751729"/>
              <a:gd name="connsiteY1849" fmla="*/ 930805 h 1237129"/>
              <a:gd name="connsiteX1850" fmla="*/ 2759243 w 3751729"/>
              <a:gd name="connsiteY1850" fmla="*/ 942619 h 1237129"/>
              <a:gd name="connsiteX1851" fmla="*/ 2768351 w 3751729"/>
              <a:gd name="connsiteY1851" fmla="*/ 960342 h 1237129"/>
              <a:gd name="connsiteX1852" fmla="*/ 2774013 w 3751729"/>
              <a:gd name="connsiteY1852" fmla="*/ 980527 h 1237129"/>
              <a:gd name="connsiteX1853" fmla="*/ 2774751 w 3751729"/>
              <a:gd name="connsiteY1853" fmla="*/ 1001451 h 1237129"/>
              <a:gd name="connsiteX1854" fmla="*/ 2766382 w 3751729"/>
              <a:gd name="connsiteY1854" fmla="*/ 1001451 h 1237129"/>
              <a:gd name="connsiteX1855" fmla="*/ 2757274 w 3751729"/>
              <a:gd name="connsiteY1855" fmla="*/ 993820 h 1237129"/>
              <a:gd name="connsiteX1856" fmla="*/ 2748905 w 3751729"/>
              <a:gd name="connsiteY1856" fmla="*/ 989635 h 1237129"/>
              <a:gd name="connsiteX1857" fmla="*/ 2747182 w 3751729"/>
              <a:gd name="connsiteY1857" fmla="*/ 987911 h 1237129"/>
              <a:gd name="connsiteX1858" fmla="*/ 2739797 w 3751729"/>
              <a:gd name="connsiteY1858" fmla="*/ 982005 h 1237129"/>
              <a:gd name="connsiteX1859" fmla="*/ 2734874 w 3751729"/>
              <a:gd name="connsiteY1859" fmla="*/ 970188 h 1237129"/>
              <a:gd name="connsiteX1860" fmla="*/ 2731675 w 3751729"/>
              <a:gd name="connsiteY1860" fmla="*/ 956651 h 1237129"/>
              <a:gd name="connsiteX1861" fmla="*/ 2727490 w 3751729"/>
              <a:gd name="connsiteY1861" fmla="*/ 944835 h 1237129"/>
              <a:gd name="connsiteX1862" fmla="*/ 2723305 w 3751729"/>
              <a:gd name="connsiteY1862" fmla="*/ 933020 h 1237129"/>
              <a:gd name="connsiteX1863" fmla="*/ 2715920 w 3751729"/>
              <a:gd name="connsiteY1863" fmla="*/ 922928 h 1237129"/>
              <a:gd name="connsiteX1864" fmla="*/ 2715920 w 3751729"/>
              <a:gd name="connsiteY1864" fmla="*/ 920467 h 1237129"/>
              <a:gd name="connsiteX1865" fmla="*/ 2708536 w 3751729"/>
              <a:gd name="connsiteY1865" fmla="*/ 922928 h 1237129"/>
              <a:gd name="connsiteX1866" fmla="*/ 2708536 w 3751729"/>
              <a:gd name="connsiteY1866" fmla="*/ 920467 h 1237129"/>
              <a:gd name="connsiteX1867" fmla="*/ 2706074 w 3751729"/>
              <a:gd name="connsiteY1867" fmla="*/ 908651 h 1237129"/>
              <a:gd name="connsiteX1868" fmla="*/ 2706074 w 3751729"/>
              <a:gd name="connsiteY1868" fmla="*/ 893636 h 1237129"/>
              <a:gd name="connsiteX1869" fmla="*/ 2706074 w 3751729"/>
              <a:gd name="connsiteY1869" fmla="*/ 877636 h 1237129"/>
              <a:gd name="connsiteX1870" fmla="*/ 2706074 w 3751729"/>
              <a:gd name="connsiteY1870" fmla="*/ 859913 h 1237129"/>
              <a:gd name="connsiteX1871" fmla="*/ 2704351 w 3751729"/>
              <a:gd name="connsiteY1871" fmla="*/ 843913 h 1237129"/>
              <a:gd name="connsiteX1872" fmla="*/ 2698690 w 3751729"/>
              <a:gd name="connsiteY1872" fmla="*/ 830374 h 1237129"/>
              <a:gd name="connsiteX1873" fmla="*/ 2689582 w 3751729"/>
              <a:gd name="connsiteY1873" fmla="*/ 820283 h 1237129"/>
              <a:gd name="connsiteX1874" fmla="*/ 2687121 w 3751729"/>
              <a:gd name="connsiteY1874" fmla="*/ 822744 h 1237129"/>
              <a:gd name="connsiteX1875" fmla="*/ 2682936 w 3751729"/>
              <a:gd name="connsiteY1875" fmla="*/ 826190 h 1237129"/>
              <a:gd name="connsiteX1876" fmla="*/ 2679736 w 3751729"/>
              <a:gd name="connsiteY1876" fmla="*/ 827913 h 1237129"/>
              <a:gd name="connsiteX1877" fmla="*/ 2674074 w 3751729"/>
              <a:gd name="connsiteY1877" fmla="*/ 828652 h 1237129"/>
              <a:gd name="connsiteX1878" fmla="*/ 2668414 w 3751729"/>
              <a:gd name="connsiteY1878" fmla="*/ 828652 h 1237129"/>
              <a:gd name="connsiteX1879" fmla="*/ 2666690 w 3751729"/>
              <a:gd name="connsiteY1879" fmla="*/ 828652 h 1237129"/>
              <a:gd name="connsiteX1880" fmla="*/ 2666690 w 3751729"/>
              <a:gd name="connsiteY1880" fmla="*/ 827913 h 1237129"/>
              <a:gd name="connsiteX1881" fmla="*/ 2665951 w 3751729"/>
              <a:gd name="connsiteY1881" fmla="*/ 827913 h 1237129"/>
              <a:gd name="connsiteX1882" fmla="*/ 2664228 w 3751729"/>
              <a:gd name="connsiteY1882" fmla="*/ 826190 h 1237129"/>
              <a:gd name="connsiteX1883" fmla="*/ 2664228 w 3751729"/>
              <a:gd name="connsiteY1883" fmla="*/ 808467 h 1237129"/>
              <a:gd name="connsiteX1884" fmla="*/ 2660044 w 3751729"/>
              <a:gd name="connsiteY1884" fmla="*/ 794191 h 1237129"/>
              <a:gd name="connsiteX1885" fmla="*/ 2654383 w 3751729"/>
              <a:gd name="connsiteY1885" fmla="*/ 782375 h 1237129"/>
              <a:gd name="connsiteX1886" fmla="*/ 2645275 w 3751729"/>
              <a:gd name="connsiteY1886" fmla="*/ 771545 h 1237129"/>
              <a:gd name="connsiteX1887" fmla="*/ 2638629 w 3751729"/>
              <a:gd name="connsiteY1887" fmla="*/ 759729 h 1237129"/>
              <a:gd name="connsiteX1888" fmla="*/ 2629522 w 3751729"/>
              <a:gd name="connsiteY1888" fmla="*/ 745452 h 1237129"/>
              <a:gd name="connsiteX1889" fmla="*/ 2627059 w 3751729"/>
              <a:gd name="connsiteY1889" fmla="*/ 747914 h 1237129"/>
              <a:gd name="connsiteX1890" fmla="*/ 2625337 w 3751729"/>
              <a:gd name="connsiteY1890" fmla="*/ 749637 h 1237129"/>
              <a:gd name="connsiteX1891" fmla="*/ 2623613 w 3751729"/>
              <a:gd name="connsiteY1891" fmla="*/ 753083 h 1237129"/>
              <a:gd name="connsiteX1892" fmla="*/ 2621891 w 3751729"/>
              <a:gd name="connsiteY1892" fmla="*/ 753821 h 1237129"/>
              <a:gd name="connsiteX1893" fmla="*/ 2621151 w 3751729"/>
              <a:gd name="connsiteY1893" fmla="*/ 755545 h 1237129"/>
              <a:gd name="connsiteX1894" fmla="*/ 2607860 w 3751729"/>
              <a:gd name="connsiteY1894" fmla="*/ 757268 h 1237129"/>
              <a:gd name="connsiteX1895" fmla="*/ 2596290 w 3751729"/>
              <a:gd name="connsiteY1895" fmla="*/ 755545 h 1237129"/>
              <a:gd name="connsiteX1896" fmla="*/ 2584721 w 3751729"/>
              <a:gd name="connsiteY1896" fmla="*/ 755545 h 1237129"/>
              <a:gd name="connsiteX1897" fmla="*/ 2581521 w 3751729"/>
              <a:gd name="connsiteY1897" fmla="*/ 767360 h 1237129"/>
              <a:gd name="connsiteX1898" fmla="*/ 2577337 w 3751729"/>
              <a:gd name="connsiteY1898" fmla="*/ 773268 h 1237129"/>
              <a:gd name="connsiteX1899" fmla="*/ 2574875 w 3751729"/>
              <a:gd name="connsiteY1899" fmla="*/ 774991 h 1237129"/>
              <a:gd name="connsiteX1900" fmla="*/ 2569214 w 3751729"/>
              <a:gd name="connsiteY1900" fmla="*/ 774991 h 1237129"/>
              <a:gd name="connsiteX1901" fmla="*/ 2563553 w 3751729"/>
              <a:gd name="connsiteY1901" fmla="*/ 776714 h 1237129"/>
              <a:gd name="connsiteX1902" fmla="*/ 2557891 w 3751729"/>
              <a:gd name="connsiteY1902" fmla="*/ 780897 h 1237129"/>
              <a:gd name="connsiteX1903" fmla="*/ 2548045 w 3751729"/>
              <a:gd name="connsiteY1903" fmla="*/ 806991 h 1237129"/>
              <a:gd name="connsiteX1904" fmla="*/ 2534753 w 3751729"/>
              <a:gd name="connsiteY1904" fmla="*/ 806991 h 1237129"/>
              <a:gd name="connsiteX1905" fmla="*/ 2527369 w 3751729"/>
              <a:gd name="connsiteY1905" fmla="*/ 812897 h 1237129"/>
              <a:gd name="connsiteX1906" fmla="*/ 2519983 w 3751729"/>
              <a:gd name="connsiteY1906" fmla="*/ 820528 h 1237129"/>
              <a:gd name="connsiteX1907" fmla="*/ 2510137 w 3751729"/>
              <a:gd name="connsiteY1907" fmla="*/ 826436 h 1237129"/>
              <a:gd name="connsiteX1908" fmla="*/ 2507676 w 3751729"/>
              <a:gd name="connsiteY1908" fmla="*/ 855728 h 1237129"/>
              <a:gd name="connsiteX1909" fmla="*/ 2500292 w 3751729"/>
              <a:gd name="connsiteY1909" fmla="*/ 880836 h 1237129"/>
              <a:gd name="connsiteX1910" fmla="*/ 2490445 w 3751729"/>
              <a:gd name="connsiteY1910" fmla="*/ 901020 h 1237129"/>
              <a:gd name="connsiteX1911" fmla="*/ 2474691 w 3751729"/>
              <a:gd name="connsiteY1911" fmla="*/ 920221 h 1237129"/>
              <a:gd name="connsiteX1912" fmla="*/ 2472968 w 3751729"/>
              <a:gd name="connsiteY1912" fmla="*/ 920221 h 1237129"/>
              <a:gd name="connsiteX1913" fmla="*/ 2471245 w 3751729"/>
              <a:gd name="connsiteY1913" fmla="*/ 918497 h 1237129"/>
              <a:gd name="connsiteX1914" fmla="*/ 2469522 w 3751729"/>
              <a:gd name="connsiteY1914" fmla="*/ 918497 h 1237129"/>
              <a:gd name="connsiteX1915" fmla="*/ 2468784 w 3751729"/>
              <a:gd name="connsiteY1915" fmla="*/ 916775 h 1237129"/>
              <a:gd name="connsiteX1916" fmla="*/ 2459676 w 3751729"/>
              <a:gd name="connsiteY1916" fmla="*/ 906682 h 1237129"/>
              <a:gd name="connsiteX1917" fmla="*/ 2451308 w 3751729"/>
              <a:gd name="connsiteY1917" fmla="*/ 890682 h 1237129"/>
              <a:gd name="connsiteX1918" fmla="*/ 2446384 w 3751729"/>
              <a:gd name="connsiteY1918" fmla="*/ 877144 h 1237129"/>
              <a:gd name="connsiteX1919" fmla="*/ 2445645 w 3751729"/>
              <a:gd name="connsiteY1919" fmla="*/ 874682 h 1237129"/>
              <a:gd name="connsiteX1920" fmla="*/ 2446384 w 3751729"/>
              <a:gd name="connsiteY1920" fmla="*/ 871236 h 1237129"/>
              <a:gd name="connsiteX1921" fmla="*/ 2448107 w 3751729"/>
              <a:gd name="connsiteY1921" fmla="*/ 868774 h 1237129"/>
              <a:gd name="connsiteX1922" fmla="*/ 2449830 w 3751729"/>
              <a:gd name="connsiteY1922" fmla="*/ 867051 h 1237129"/>
              <a:gd name="connsiteX1923" fmla="*/ 2449830 w 3751729"/>
              <a:gd name="connsiteY1923" fmla="*/ 865328 h 1237129"/>
              <a:gd name="connsiteX1924" fmla="*/ 2435061 w 3751729"/>
              <a:gd name="connsiteY1924" fmla="*/ 843421 h 1237129"/>
              <a:gd name="connsiteX1925" fmla="*/ 2425215 w 3751729"/>
              <a:gd name="connsiteY1925" fmla="*/ 820036 h 1237129"/>
              <a:gd name="connsiteX1926" fmla="*/ 2418568 w 3751729"/>
              <a:gd name="connsiteY1926" fmla="*/ 794929 h 1237129"/>
              <a:gd name="connsiteX1927" fmla="*/ 2415369 w 3751729"/>
              <a:gd name="connsiteY1927" fmla="*/ 764652 h 1237129"/>
              <a:gd name="connsiteX1928" fmla="*/ 2405523 w 3751729"/>
              <a:gd name="connsiteY1928" fmla="*/ 765390 h 1237129"/>
              <a:gd name="connsiteX1929" fmla="*/ 2398139 w 3751729"/>
              <a:gd name="connsiteY1929" fmla="*/ 765390 h 1237129"/>
              <a:gd name="connsiteX1930" fmla="*/ 2389769 w 3751729"/>
              <a:gd name="connsiteY1930" fmla="*/ 764652 h 1237129"/>
              <a:gd name="connsiteX1931" fmla="*/ 2386568 w 3751729"/>
              <a:gd name="connsiteY1931" fmla="*/ 761206 h 1237129"/>
              <a:gd name="connsiteX1932" fmla="*/ 2382384 w 3751729"/>
              <a:gd name="connsiteY1932" fmla="*/ 758744 h 1237129"/>
              <a:gd name="connsiteX1933" fmla="*/ 2379184 w 3751729"/>
              <a:gd name="connsiteY1933" fmla="*/ 755298 h 1237129"/>
              <a:gd name="connsiteX1934" fmla="*/ 2376723 w 3751729"/>
              <a:gd name="connsiteY1934" fmla="*/ 752837 h 1237129"/>
              <a:gd name="connsiteX1935" fmla="*/ 2379184 w 3751729"/>
              <a:gd name="connsiteY1935" fmla="*/ 742006 h 1237129"/>
              <a:gd name="connsiteX1936" fmla="*/ 2373523 w 3751729"/>
              <a:gd name="connsiteY1936" fmla="*/ 733637 h 1237129"/>
              <a:gd name="connsiteX1937" fmla="*/ 2363677 w 3751729"/>
              <a:gd name="connsiteY1937" fmla="*/ 726006 h 1237129"/>
              <a:gd name="connsiteX1938" fmla="*/ 2353830 w 3751729"/>
              <a:gd name="connsiteY1938" fmla="*/ 719360 h 1237129"/>
              <a:gd name="connsiteX1939" fmla="*/ 2344723 w 3751729"/>
              <a:gd name="connsiteY1939" fmla="*/ 710252 h 1237129"/>
              <a:gd name="connsiteX1940" fmla="*/ 2320847 w 3751729"/>
              <a:gd name="connsiteY1940" fmla="*/ 713699 h 1237129"/>
              <a:gd name="connsiteX1941" fmla="*/ 2295986 w 3751729"/>
              <a:gd name="connsiteY1941" fmla="*/ 713699 h 1237129"/>
              <a:gd name="connsiteX1942" fmla="*/ 2271123 w 3751729"/>
              <a:gd name="connsiteY1942" fmla="*/ 711976 h 1237129"/>
              <a:gd name="connsiteX1943" fmla="*/ 2247247 w 3751729"/>
              <a:gd name="connsiteY1943" fmla="*/ 710252 h 1237129"/>
              <a:gd name="connsiteX1944" fmla="*/ 2243063 w 3751729"/>
              <a:gd name="connsiteY1944" fmla="*/ 701883 h 1237129"/>
              <a:gd name="connsiteX1945" fmla="*/ 2237401 w 3751729"/>
              <a:gd name="connsiteY1945" fmla="*/ 691053 h 1237129"/>
              <a:gd name="connsiteX1946" fmla="*/ 2228293 w 3751729"/>
              <a:gd name="connsiteY1946" fmla="*/ 694499 h 1237129"/>
              <a:gd name="connsiteX1947" fmla="*/ 2222632 w 3751729"/>
              <a:gd name="connsiteY1947" fmla="*/ 696222 h 1237129"/>
              <a:gd name="connsiteX1948" fmla="*/ 2215247 w 3751729"/>
              <a:gd name="connsiteY1948" fmla="*/ 696960 h 1237129"/>
              <a:gd name="connsiteX1949" fmla="*/ 2205401 w 3751729"/>
              <a:gd name="connsiteY1949" fmla="*/ 696960 h 1237129"/>
              <a:gd name="connsiteX1950" fmla="*/ 2197031 w 3751729"/>
              <a:gd name="connsiteY1950" fmla="*/ 691053 h 1237129"/>
              <a:gd name="connsiteX1951" fmla="*/ 2187925 w 3751729"/>
              <a:gd name="connsiteY1951" fmla="*/ 686868 h 1237129"/>
              <a:gd name="connsiteX1952" fmla="*/ 2178078 w 3751729"/>
              <a:gd name="connsiteY1952" fmla="*/ 680960 h 1237129"/>
              <a:gd name="connsiteX1953" fmla="*/ 2170694 w 3751729"/>
              <a:gd name="connsiteY1953" fmla="*/ 675053 h 1237129"/>
              <a:gd name="connsiteX1954" fmla="*/ 2168232 w 3751729"/>
              <a:gd name="connsiteY1954" fmla="*/ 666683 h 1237129"/>
              <a:gd name="connsiteX1955" fmla="*/ 2164047 w 3751729"/>
              <a:gd name="connsiteY1955" fmla="*/ 659053 h 1237129"/>
              <a:gd name="connsiteX1956" fmla="*/ 2154940 w 3751729"/>
              <a:gd name="connsiteY1956" fmla="*/ 651422 h 1237129"/>
              <a:gd name="connsiteX1957" fmla="*/ 2153217 w 3751729"/>
              <a:gd name="connsiteY1957" fmla="*/ 651422 h 1237129"/>
              <a:gd name="connsiteX1958" fmla="*/ 2152479 w 3751729"/>
              <a:gd name="connsiteY1958" fmla="*/ 651422 h 1237129"/>
              <a:gd name="connsiteX1959" fmla="*/ 2150754 w 3751729"/>
              <a:gd name="connsiteY1959" fmla="*/ 651422 h 1237129"/>
              <a:gd name="connsiteX1960" fmla="*/ 2147555 w 3751729"/>
              <a:gd name="connsiteY1960" fmla="*/ 651422 h 1237129"/>
              <a:gd name="connsiteX1961" fmla="*/ 2141893 w 3751729"/>
              <a:gd name="connsiteY1961" fmla="*/ 651422 h 1237129"/>
              <a:gd name="connsiteX1962" fmla="*/ 2145094 w 3751729"/>
              <a:gd name="connsiteY1962" fmla="*/ 663237 h 1237129"/>
              <a:gd name="connsiteX1963" fmla="*/ 2149279 w 3751729"/>
              <a:gd name="connsiteY1963" fmla="*/ 676776 h 1237129"/>
              <a:gd name="connsiteX1964" fmla="*/ 2156663 w 3751729"/>
              <a:gd name="connsiteY1964" fmla="*/ 690314 h 1237129"/>
              <a:gd name="connsiteX1965" fmla="*/ 2162324 w 3751729"/>
              <a:gd name="connsiteY1965" fmla="*/ 702130 h 1237129"/>
              <a:gd name="connsiteX1966" fmla="*/ 2167986 w 3751729"/>
              <a:gd name="connsiteY1966" fmla="*/ 710498 h 1237129"/>
              <a:gd name="connsiteX1967" fmla="*/ 2169709 w 3751729"/>
              <a:gd name="connsiteY1967" fmla="*/ 706314 h 1237129"/>
              <a:gd name="connsiteX1968" fmla="*/ 2170448 w 3751729"/>
              <a:gd name="connsiteY1968" fmla="*/ 704591 h 1237129"/>
              <a:gd name="connsiteX1969" fmla="*/ 2170448 w 3751729"/>
              <a:gd name="connsiteY1969" fmla="*/ 702868 h 1237129"/>
              <a:gd name="connsiteX1970" fmla="*/ 2172170 w 3751729"/>
              <a:gd name="connsiteY1970" fmla="*/ 702868 h 1237129"/>
              <a:gd name="connsiteX1971" fmla="*/ 2173893 w 3751729"/>
              <a:gd name="connsiteY1971" fmla="*/ 702868 h 1237129"/>
              <a:gd name="connsiteX1972" fmla="*/ 2178078 w 3751729"/>
              <a:gd name="connsiteY1972" fmla="*/ 704591 h 1237129"/>
              <a:gd name="connsiteX1973" fmla="*/ 2179801 w 3751729"/>
              <a:gd name="connsiteY1973" fmla="*/ 708776 h 1237129"/>
              <a:gd name="connsiteX1974" fmla="*/ 2181524 w 3751729"/>
              <a:gd name="connsiteY1974" fmla="*/ 713699 h 1237129"/>
              <a:gd name="connsiteX1975" fmla="*/ 2181524 w 3751729"/>
              <a:gd name="connsiteY1975" fmla="*/ 717883 h 1237129"/>
              <a:gd name="connsiteX1976" fmla="*/ 2182262 w 3751729"/>
              <a:gd name="connsiteY1976" fmla="*/ 722068 h 1237129"/>
              <a:gd name="connsiteX1977" fmla="*/ 2183986 w 3751729"/>
              <a:gd name="connsiteY1977" fmla="*/ 726252 h 1237129"/>
              <a:gd name="connsiteX1978" fmla="*/ 2189647 w 3751729"/>
              <a:gd name="connsiteY1978" fmla="*/ 725514 h 1237129"/>
              <a:gd name="connsiteX1979" fmla="*/ 2197031 w 3751729"/>
              <a:gd name="connsiteY1979" fmla="*/ 723791 h 1237129"/>
              <a:gd name="connsiteX1980" fmla="*/ 2205401 w 3751729"/>
              <a:gd name="connsiteY1980" fmla="*/ 723791 h 1237129"/>
              <a:gd name="connsiteX1981" fmla="*/ 2218694 w 3751729"/>
              <a:gd name="connsiteY1981" fmla="*/ 708776 h 1237129"/>
              <a:gd name="connsiteX1982" fmla="*/ 2234447 w 3751729"/>
              <a:gd name="connsiteY1982" fmla="*/ 696960 h 1237129"/>
              <a:gd name="connsiteX1983" fmla="*/ 2236170 w 3751729"/>
              <a:gd name="connsiteY1983" fmla="*/ 711976 h 1237129"/>
              <a:gd name="connsiteX1984" fmla="*/ 2237892 w 3751729"/>
              <a:gd name="connsiteY1984" fmla="*/ 723791 h 1237129"/>
              <a:gd name="connsiteX1985" fmla="*/ 2259308 w 3751729"/>
              <a:gd name="connsiteY1985" fmla="*/ 735605 h 1237129"/>
              <a:gd name="connsiteX1986" fmla="*/ 2276538 w 3751729"/>
              <a:gd name="connsiteY1986" fmla="*/ 749882 h 1237129"/>
              <a:gd name="connsiteX1987" fmla="*/ 2270877 w 3751729"/>
              <a:gd name="connsiteY1987" fmla="*/ 757513 h 1237129"/>
              <a:gd name="connsiteX1988" fmla="*/ 2265954 w 3751729"/>
              <a:gd name="connsiteY1988" fmla="*/ 765145 h 1237129"/>
              <a:gd name="connsiteX1989" fmla="*/ 2261031 w 3751729"/>
              <a:gd name="connsiteY1989" fmla="*/ 771052 h 1237129"/>
              <a:gd name="connsiteX1990" fmla="*/ 2250200 w 3751729"/>
              <a:gd name="connsiteY1990" fmla="*/ 775236 h 1237129"/>
              <a:gd name="connsiteX1991" fmla="*/ 2250200 w 3751729"/>
              <a:gd name="connsiteY1991" fmla="*/ 791236 h 1237129"/>
              <a:gd name="connsiteX1992" fmla="*/ 2236170 w 3751729"/>
              <a:gd name="connsiteY1992" fmla="*/ 800345 h 1237129"/>
              <a:gd name="connsiteX1993" fmla="*/ 2221400 w 3751729"/>
              <a:gd name="connsiteY1993" fmla="*/ 810436 h 1237129"/>
              <a:gd name="connsiteX1994" fmla="*/ 2221400 w 3751729"/>
              <a:gd name="connsiteY1994" fmla="*/ 817575 h 1237129"/>
              <a:gd name="connsiteX1995" fmla="*/ 2203185 w 3751729"/>
              <a:gd name="connsiteY1995" fmla="*/ 817575 h 1237129"/>
              <a:gd name="connsiteX1996" fmla="*/ 2192355 w 3751729"/>
              <a:gd name="connsiteY1996" fmla="*/ 823483 h 1237129"/>
              <a:gd name="connsiteX1997" fmla="*/ 2183986 w 3751729"/>
              <a:gd name="connsiteY1997" fmla="*/ 832590 h 1237129"/>
              <a:gd name="connsiteX1998" fmla="*/ 2174140 w 3751729"/>
              <a:gd name="connsiteY1998" fmla="*/ 840220 h 1237129"/>
              <a:gd name="connsiteX1999" fmla="*/ 2160847 w 3751729"/>
              <a:gd name="connsiteY1999" fmla="*/ 846129 h 1237129"/>
              <a:gd name="connsiteX2000" fmla="*/ 2147555 w 3751729"/>
              <a:gd name="connsiteY2000" fmla="*/ 848590 h 1237129"/>
              <a:gd name="connsiteX2001" fmla="*/ 2133524 w 3751729"/>
              <a:gd name="connsiteY2001" fmla="*/ 852775 h 1237129"/>
              <a:gd name="connsiteX2002" fmla="*/ 2121956 w 3751729"/>
              <a:gd name="connsiteY2002" fmla="*/ 857698 h 1237129"/>
              <a:gd name="connsiteX2003" fmla="*/ 2112109 w 3751729"/>
              <a:gd name="connsiteY2003" fmla="*/ 863605 h 1237129"/>
              <a:gd name="connsiteX2004" fmla="*/ 2102263 w 3751729"/>
              <a:gd name="connsiteY2004" fmla="*/ 866067 h 1237129"/>
              <a:gd name="connsiteX2005" fmla="*/ 2094878 w 3751729"/>
              <a:gd name="connsiteY2005" fmla="*/ 866067 h 1237129"/>
              <a:gd name="connsiteX2006" fmla="*/ 2091678 w 3751729"/>
              <a:gd name="connsiteY2006" fmla="*/ 864344 h 1237129"/>
              <a:gd name="connsiteX2007" fmla="*/ 2090940 w 3751729"/>
              <a:gd name="connsiteY2007" fmla="*/ 864344 h 1237129"/>
              <a:gd name="connsiteX2008" fmla="*/ 2089217 w 3751729"/>
              <a:gd name="connsiteY2008" fmla="*/ 863605 h 1237129"/>
              <a:gd name="connsiteX2009" fmla="*/ 2087494 w 3751729"/>
              <a:gd name="connsiteY2009" fmla="*/ 861882 h 1237129"/>
              <a:gd name="connsiteX2010" fmla="*/ 2085771 w 3751729"/>
              <a:gd name="connsiteY2010" fmla="*/ 858436 h 1237129"/>
              <a:gd name="connsiteX2011" fmla="*/ 2081586 w 3751729"/>
              <a:gd name="connsiteY2011" fmla="*/ 850067 h 1237129"/>
              <a:gd name="connsiteX2012" fmla="*/ 2079864 w 3751729"/>
              <a:gd name="connsiteY2012" fmla="*/ 840959 h 1237129"/>
              <a:gd name="connsiteX2013" fmla="*/ 2079864 w 3751729"/>
              <a:gd name="connsiteY2013" fmla="*/ 832590 h 1237129"/>
              <a:gd name="connsiteX2014" fmla="*/ 2079125 w 3751729"/>
              <a:gd name="connsiteY2014" fmla="*/ 823483 h 1237129"/>
              <a:gd name="connsiteX2015" fmla="*/ 2071740 w 3751729"/>
              <a:gd name="connsiteY2015" fmla="*/ 809206 h 1237129"/>
              <a:gd name="connsiteX2016" fmla="*/ 2061895 w 3751729"/>
              <a:gd name="connsiteY2016" fmla="*/ 795667 h 1237129"/>
              <a:gd name="connsiteX2017" fmla="*/ 2051064 w 3751729"/>
              <a:gd name="connsiteY2017" fmla="*/ 783853 h 1237129"/>
              <a:gd name="connsiteX2018" fmla="*/ 2041218 w 3751729"/>
              <a:gd name="connsiteY2018" fmla="*/ 772036 h 1237129"/>
              <a:gd name="connsiteX2019" fmla="*/ 2038756 w 3751729"/>
              <a:gd name="connsiteY2019" fmla="*/ 763667 h 1237129"/>
              <a:gd name="connsiteX2020" fmla="*/ 2037033 w 3751729"/>
              <a:gd name="connsiteY2020" fmla="*/ 753575 h 1237129"/>
              <a:gd name="connsiteX2021" fmla="*/ 2035309 w 3751729"/>
              <a:gd name="connsiteY2021" fmla="*/ 742744 h 1237129"/>
              <a:gd name="connsiteX2022" fmla="*/ 2031125 w 3751729"/>
              <a:gd name="connsiteY2022" fmla="*/ 734375 h 1237129"/>
              <a:gd name="connsiteX2023" fmla="*/ 2015371 w 3751729"/>
              <a:gd name="connsiteY2023" fmla="*/ 724284 h 1237129"/>
              <a:gd name="connsiteX2024" fmla="*/ 2011187 w 3751729"/>
              <a:gd name="connsiteY2024" fmla="*/ 714191 h 1237129"/>
              <a:gd name="connsiteX2025" fmla="*/ 2006264 w 3751729"/>
              <a:gd name="connsiteY2025" fmla="*/ 703361 h 1237129"/>
              <a:gd name="connsiteX2026" fmla="*/ 2002079 w 3751729"/>
              <a:gd name="connsiteY2026" fmla="*/ 693268 h 1237129"/>
              <a:gd name="connsiteX2027" fmla="*/ 1996418 w 3751729"/>
              <a:gd name="connsiteY2027" fmla="*/ 684899 h 1237129"/>
              <a:gd name="connsiteX2028" fmla="*/ 1988049 w 3751729"/>
              <a:gd name="connsiteY2028" fmla="*/ 678991 h 1237129"/>
              <a:gd name="connsiteX2029" fmla="*/ 1983126 w 3751729"/>
              <a:gd name="connsiteY2029" fmla="*/ 677268 h 1237129"/>
              <a:gd name="connsiteX2030" fmla="*/ 1982387 w 3751729"/>
              <a:gd name="connsiteY2030" fmla="*/ 673821 h 1237129"/>
              <a:gd name="connsiteX2031" fmla="*/ 1979187 w 3751729"/>
              <a:gd name="connsiteY2031" fmla="*/ 673083 h 1237129"/>
              <a:gd name="connsiteX2032" fmla="*/ 1976725 w 3751729"/>
              <a:gd name="connsiteY2032" fmla="*/ 671361 h 1237129"/>
              <a:gd name="connsiteX2033" fmla="*/ 1973525 w 3751729"/>
              <a:gd name="connsiteY2033" fmla="*/ 669637 h 1237129"/>
              <a:gd name="connsiteX2034" fmla="*/ 1971065 w 3751729"/>
              <a:gd name="connsiteY2034" fmla="*/ 667176 h 1237129"/>
              <a:gd name="connsiteX2035" fmla="*/ 1967864 w 3751729"/>
              <a:gd name="connsiteY2035" fmla="*/ 662253 h 1237129"/>
              <a:gd name="connsiteX2036" fmla="*/ 1965403 w 3751729"/>
              <a:gd name="connsiteY2036" fmla="*/ 656345 h 1237129"/>
              <a:gd name="connsiteX2037" fmla="*/ 1962203 w 3751729"/>
              <a:gd name="connsiteY2037" fmla="*/ 656345 h 1237129"/>
              <a:gd name="connsiteX2038" fmla="*/ 1962203 w 3751729"/>
              <a:gd name="connsiteY2038" fmla="*/ 662253 h 1237129"/>
              <a:gd name="connsiteX2039" fmla="*/ 1972049 w 3751729"/>
              <a:gd name="connsiteY2039" fmla="*/ 675791 h 1237129"/>
              <a:gd name="connsiteX2040" fmla="*/ 1981156 w 3751729"/>
              <a:gd name="connsiteY2040" fmla="*/ 690806 h 1237129"/>
              <a:gd name="connsiteX2041" fmla="*/ 1986818 w 3751729"/>
              <a:gd name="connsiteY2041" fmla="*/ 708529 h 1237129"/>
              <a:gd name="connsiteX2042" fmla="*/ 1992479 w 3751729"/>
              <a:gd name="connsiteY2042" fmla="*/ 724529 h 1237129"/>
              <a:gd name="connsiteX2043" fmla="*/ 1999863 w 3751729"/>
              <a:gd name="connsiteY2043" fmla="*/ 740529 h 1237129"/>
              <a:gd name="connsiteX2044" fmla="*/ 2002326 w 3751729"/>
              <a:gd name="connsiteY2044" fmla="*/ 742991 h 1237129"/>
              <a:gd name="connsiteX2045" fmla="*/ 2006509 w 3751729"/>
              <a:gd name="connsiteY2045" fmla="*/ 746437 h 1237129"/>
              <a:gd name="connsiteX2046" fmla="*/ 2009710 w 3751729"/>
              <a:gd name="connsiteY2046" fmla="*/ 748898 h 1237129"/>
              <a:gd name="connsiteX2047" fmla="*/ 2013895 w 3751729"/>
              <a:gd name="connsiteY2047" fmla="*/ 752344 h 1237129"/>
              <a:gd name="connsiteX2048" fmla="*/ 2015618 w 3751729"/>
              <a:gd name="connsiteY2048" fmla="*/ 756528 h 1237129"/>
              <a:gd name="connsiteX2049" fmla="*/ 2015618 w 3751729"/>
              <a:gd name="connsiteY2049" fmla="*/ 785821 h 1237129"/>
              <a:gd name="connsiteX2050" fmla="*/ 2018079 w 3751729"/>
              <a:gd name="connsiteY2050" fmla="*/ 789268 h 1237129"/>
              <a:gd name="connsiteX2051" fmla="*/ 2021279 w 3751729"/>
              <a:gd name="connsiteY2051" fmla="*/ 793452 h 1237129"/>
              <a:gd name="connsiteX2052" fmla="*/ 2025464 w 3751729"/>
              <a:gd name="connsiteY2052" fmla="*/ 795914 h 1237129"/>
              <a:gd name="connsiteX2053" fmla="*/ 2029648 w 3751729"/>
              <a:gd name="connsiteY2053" fmla="*/ 799360 h 1237129"/>
              <a:gd name="connsiteX2054" fmla="*/ 2031371 w 3751729"/>
              <a:gd name="connsiteY2054" fmla="*/ 801820 h 1237129"/>
              <a:gd name="connsiteX2055" fmla="*/ 2033834 w 3751729"/>
              <a:gd name="connsiteY2055" fmla="*/ 810929 h 1237129"/>
              <a:gd name="connsiteX2056" fmla="*/ 2035556 w 3751729"/>
              <a:gd name="connsiteY2056" fmla="*/ 817575 h 1237129"/>
              <a:gd name="connsiteX2057" fmla="*/ 2038756 w 3751729"/>
              <a:gd name="connsiteY2057" fmla="*/ 826682 h 1237129"/>
              <a:gd name="connsiteX2058" fmla="*/ 2047125 w 3751729"/>
              <a:gd name="connsiteY2058" fmla="*/ 836775 h 1237129"/>
              <a:gd name="connsiteX2059" fmla="*/ 2060417 w 3751729"/>
              <a:gd name="connsiteY2059" fmla="*/ 845882 h 1237129"/>
              <a:gd name="connsiteX2060" fmla="*/ 2074448 w 3751729"/>
              <a:gd name="connsiteY2060" fmla="*/ 854252 h 1237129"/>
              <a:gd name="connsiteX2061" fmla="*/ 2086017 w 3751729"/>
              <a:gd name="connsiteY2061" fmla="*/ 863359 h 1237129"/>
              <a:gd name="connsiteX2062" fmla="*/ 2089217 w 3751729"/>
              <a:gd name="connsiteY2062" fmla="*/ 867544 h 1237129"/>
              <a:gd name="connsiteX2063" fmla="*/ 2089217 w 3751729"/>
              <a:gd name="connsiteY2063" fmla="*/ 873451 h 1237129"/>
              <a:gd name="connsiteX2064" fmla="*/ 2089217 w 3751729"/>
              <a:gd name="connsiteY2064" fmla="*/ 877636 h 1237129"/>
              <a:gd name="connsiteX2065" fmla="*/ 2090940 w 3751729"/>
              <a:gd name="connsiteY2065" fmla="*/ 881821 h 1237129"/>
              <a:gd name="connsiteX2066" fmla="*/ 2095125 w 3751729"/>
              <a:gd name="connsiteY2066" fmla="*/ 886743 h 1237129"/>
              <a:gd name="connsiteX2067" fmla="*/ 2107433 w 3751729"/>
              <a:gd name="connsiteY2067" fmla="*/ 887482 h 1237129"/>
              <a:gd name="connsiteX2068" fmla="*/ 2122201 w 3751729"/>
              <a:gd name="connsiteY2068" fmla="*/ 880836 h 1237129"/>
              <a:gd name="connsiteX2069" fmla="*/ 2142140 w 3751729"/>
              <a:gd name="connsiteY2069" fmla="*/ 875912 h 1237129"/>
              <a:gd name="connsiteX2070" fmla="*/ 2161093 w 3751729"/>
              <a:gd name="connsiteY2070" fmla="*/ 871728 h 1237129"/>
              <a:gd name="connsiteX2071" fmla="*/ 2178323 w 3751729"/>
              <a:gd name="connsiteY2071" fmla="*/ 869267 h 1237129"/>
              <a:gd name="connsiteX2072" fmla="*/ 2178323 w 3751729"/>
              <a:gd name="connsiteY2072" fmla="*/ 871728 h 1237129"/>
              <a:gd name="connsiteX2073" fmla="*/ 2174140 w 3751729"/>
              <a:gd name="connsiteY2073" fmla="*/ 879359 h 1237129"/>
              <a:gd name="connsiteX2074" fmla="*/ 2174140 w 3751729"/>
              <a:gd name="connsiteY2074" fmla="*/ 888221 h 1237129"/>
              <a:gd name="connsiteX2075" fmla="*/ 2170940 w 3751729"/>
              <a:gd name="connsiteY2075" fmla="*/ 898313 h 1237129"/>
              <a:gd name="connsiteX2076" fmla="*/ 2165278 w 3751729"/>
              <a:gd name="connsiteY2076" fmla="*/ 913328 h 1237129"/>
              <a:gd name="connsiteX2077" fmla="*/ 2156909 w 3751729"/>
              <a:gd name="connsiteY2077" fmla="*/ 931051 h 1237129"/>
              <a:gd name="connsiteX2078" fmla="*/ 2147063 w 3751729"/>
              <a:gd name="connsiteY2078" fmla="*/ 948774 h 1237129"/>
              <a:gd name="connsiteX2079" fmla="*/ 2136232 w 3751729"/>
              <a:gd name="connsiteY2079" fmla="*/ 963051 h 1237129"/>
              <a:gd name="connsiteX2080" fmla="*/ 2120479 w 3751729"/>
              <a:gd name="connsiteY2080" fmla="*/ 979050 h 1237129"/>
              <a:gd name="connsiteX2081" fmla="*/ 2103248 w 3751729"/>
              <a:gd name="connsiteY2081" fmla="*/ 994066 h 1237129"/>
              <a:gd name="connsiteX2082" fmla="*/ 2085032 w 3751729"/>
              <a:gd name="connsiteY2082" fmla="*/ 1008343 h 1237129"/>
              <a:gd name="connsiteX2083" fmla="*/ 2067802 w 3751729"/>
              <a:gd name="connsiteY2083" fmla="*/ 1025082 h 1237129"/>
              <a:gd name="connsiteX2084" fmla="*/ 2053032 w 3751729"/>
              <a:gd name="connsiteY2084" fmla="*/ 1042804 h 1237129"/>
              <a:gd name="connsiteX2085" fmla="*/ 2041464 w 3751729"/>
              <a:gd name="connsiteY2085" fmla="*/ 1062988 h 1237129"/>
              <a:gd name="connsiteX2086" fmla="*/ 2037279 w 3751729"/>
              <a:gd name="connsiteY2086" fmla="*/ 1082189 h 1237129"/>
              <a:gd name="connsiteX2087" fmla="*/ 2039740 w 3751729"/>
              <a:gd name="connsiteY2087" fmla="*/ 1099911 h 1237129"/>
              <a:gd name="connsiteX2088" fmla="*/ 2045402 w 3751729"/>
              <a:gd name="connsiteY2088" fmla="*/ 1117634 h 1237129"/>
              <a:gd name="connsiteX2089" fmla="*/ 2051064 w 3751729"/>
              <a:gd name="connsiteY2089" fmla="*/ 1133634 h 1237129"/>
              <a:gd name="connsiteX2090" fmla="*/ 2056725 w 3751729"/>
              <a:gd name="connsiteY2090" fmla="*/ 1151357 h 1237129"/>
              <a:gd name="connsiteX2091" fmla="*/ 2061648 w 3751729"/>
              <a:gd name="connsiteY2091" fmla="*/ 1169080 h 1237129"/>
              <a:gd name="connsiteX2092" fmla="*/ 2059925 w 3751729"/>
              <a:gd name="connsiteY2092" fmla="*/ 1186804 h 1237129"/>
              <a:gd name="connsiteX2093" fmla="*/ 2050818 w 3751729"/>
              <a:gd name="connsiteY2093" fmla="*/ 1205264 h 1237129"/>
              <a:gd name="connsiteX2094" fmla="*/ 2038509 w 3751729"/>
              <a:gd name="connsiteY2094" fmla="*/ 1214372 h 1237129"/>
              <a:gd name="connsiteX2095" fmla="*/ 2023741 w 3751729"/>
              <a:gd name="connsiteY2095" fmla="*/ 1221018 h 1237129"/>
              <a:gd name="connsiteX2096" fmla="*/ 2009710 w 3751729"/>
              <a:gd name="connsiteY2096" fmla="*/ 1228649 h 1237129"/>
              <a:gd name="connsiteX2097" fmla="*/ 1999990 w 3751729"/>
              <a:gd name="connsiteY2097" fmla="*/ 1237129 h 1237129"/>
              <a:gd name="connsiteX2098" fmla="*/ 1730490 w 3751729"/>
              <a:gd name="connsiteY2098" fmla="*/ 1237129 h 1237129"/>
              <a:gd name="connsiteX2099" fmla="*/ 1729835 w 3751729"/>
              <a:gd name="connsiteY2099" fmla="*/ 1236280 h 1237129"/>
              <a:gd name="connsiteX2100" fmla="*/ 1724174 w 3751729"/>
              <a:gd name="connsiteY2100" fmla="*/ 1224465 h 1237129"/>
              <a:gd name="connsiteX2101" fmla="*/ 1722450 w 3751729"/>
              <a:gd name="connsiteY2101" fmla="*/ 1210188 h 1237129"/>
              <a:gd name="connsiteX2102" fmla="*/ 1725650 w 3751729"/>
              <a:gd name="connsiteY2102" fmla="*/ 1193450 h 1237129"/>
              <a:gd name="connsiteX2103" fmla="*/ 1731312 w 3751729"/>
              <a:gd name="connsiteY2103" fmla="*/ 1179173 h 1237129"/>
              <a:gd name="connsiteX2104" fmla="*/ 1739681 w 3751729"/>
              <a:gd name="connsiteY2104" fmla="*/ 1163172 h 1237129"/>
              <a:gd name="connsiteX2105" fmla="*/ 1745342 w 3751729"/>
              <a:gd name="connsiteY2105" fmla="*/ 1149634 h 1237129"/>
              <a:gd name="connsiteX2106" fmla="*/ 1750265 w 3751729"/>
              <a:gd name="connsiteY2106" fmla="*/ 1137819 h 1237129"/>
              <a:gd name="connsiteX2107" fmla="*/ 1744604 w 3751729"/>
              <a:gd name="connsiteY2107" fmla="*/ 1126003 h 1237129"/>
              <a:gd name="connsiteX2108" fmla="*/ 1742882 w 3751729"/>
              <a:gd name="connsiteY2108" fmla="*/ 1115911 h 1237129"/>
              <a:gd name="connsiteX2109" fmla="*/ 1742882 w 3751729"/>
              <a:gd name="connsiteY2109" fmla="*/ 1105819 h 1237129"/>
              <a:gd name="connsiteX2110" fmla="*/ 1739681 w 3751729"/>
              <a:gd name="connsiteY2110" fmla="*/ 1092281 h 1237129"/>
              <a:gd name="connsiteX2111" fmla="*/ 1731312 w 3751729"/>
              <a:gd name="connsiteY2111" fmla="*/ 1074558 h 1237129"/>
              <a:gd name="connsiteX2112" fmla="*/ 1718022 w 3751729"/>
              <a:gd name="connsiteY2112" fmla="*/ 1056835 h 1237129"/>
              <a:gd name="connsiteX2113" fmla="*/ 1705715 w 3751729"/>
              <a:gd name="connsiteY2113" fmla="*/ 1040834 h 1237129"/>
              <a:gd name="connsiteX2114" fmla="*/ 1692422 w 3751729"/>
              <a:gd name="connsiteY2114" fmla="*/ 1027297 h 1237129"/>
              <a:gd name="connsiteX2115" fmla="*/ 1696606 w 3751729"/>
              <a:gd name="connsiteY2115" fmla="*/ 1009574 h 1237129"/>
              <a:gd name="connsiteX2116" fmla="*/ 1700792 w 3751729"/>
              <a:gd name="connsiteY2116" fmla="*/ 993574 h 1237129"/>
              <a:gd name="connsiteX2117" fmla="*/ 1705715 w 3751729"/>
              <a:gd name="connsiteY2117" fmla="*/ 975851 h 1237129"/>
              <a:gd name="connsiteX2118" fmla="*/ 1700792 w 3751729"/>
              <a:gd name="connsiteY2118" fmla="*/ 973389 h 1237129"/>
              <a:gd name="connsiteX2119" fmla="*/ 1698330 w 3751729"/>
              <a:gd name="connsiteY2119" fmla="*/ 971666 h 1237129"/>
              <a:gd name="connsiteX2120" fmla="*/ 1695130 w 3751729"/>
              <a:gd name="connsiteY2120" fmla="*/ 968220 h 1237129"/>
              <a:gd name="connsiteX2121" fmla="*/ 1692669 w 3751729"/>
              <a:gd name="connsiteY2121" fmla="*/ 967481 h 1237129"/>
              <a:gd name="connsiteX2122" fmla="*/ 1688484 w 3751729"/>
              <a:gd name="connsiteY2122" fmla="*/ 967481 h 1237129"/>
              <a:gd name="connsiteX2123" fmla="*/ 1682823 w 3751729"/>
              <a:gd name="connsiteY2123" fmla="*/ 965758 h 1237129"/>
              <a:gd name="connsiteX2124" fmla="*/ 1679622 w 3751729"/>
              <a:gd name="connsiteY2124" fmla="*/ 968220 h 1237129"/>
              <a:gd name="connsiteX2125" fmla="*/ 1677899 w 3751729"/>
              <a:gd name="connsiteY2125" fmla="*/ 969943 h 1237129"/>
              <a:gd name="connsiteX2126" fmla="*/ 1673715 w 3751729"/>
              <a:gd name="connsiteY2126" fmla="*/ 971666 h 1237129"/>
              <a:gd name="connsiteX2127" fmla="*/ 1669530 w 3751729"/>
              <a:gd name="connsiteY2127" fmla="*/ 971666 h 1237129"/>
              <a:gd name="connsiteX2128" fmla="*/ 1663869 w 3751729"/>
              <a:gd name="connsiteY2128" fmla="*/ 971666 h 1237129"/>
              <a:gd name="connsiteX2129" fmla="*/ 1648114 w 3751729"/>
              <a:gd name="connsiteY2129" fmla="*/ 946558 h 1237129"/>
              <a:gd name="connsiteX2130" fmla="*/ 1637284 w 3751729"/>
              <a:gd name="connsiteY2130" fmla="*/ 944835 h 1237129"/>
              <a:gd name="connsiteX2131" fmla="*/ 1627438 w 3751729"/>
              <a:gd name="connsiteY2131" fmla="*/ 944097 h 1237129"/>
              <a:gd name="connsiteX2132" fmla="*/ 1615870 w 3751729"/>
              <a:gd name="connsiteY2132" fmla="*/ 942374 h 1237129"/>
              <a:gd name="connsiteX2133" fmla="*/ 1601838 w 3751729"/>
              <a:gd name="connsiteY2133" fmla="*/ 948282 h 1237129"/>
              <a:gd name="connsiteX2134" fmla="*/ 1587070 w 3751729"/>
              <a:gd name="connsiteY2134" fmla="*/ 954189 h 1237129"/>
              <a:gd name="connsiteX2135" fmla="*/ 1575500 w 3751729"/>
              <a:gd name="connsiteY2135" fmla="*/ 958374 h 1237129"/>
              <a:gd name="connsiteX2136" fmla="*/ 1547439 w 3751729"/>
              <a:gd name="connsiteY2136" fmla="*/ 952466 h 1237129"/>
              <a:gd name="connsiteX2137" fmla="*/ 1544239 w 3751729"/>
              <a:gd name="connsiteY2137" fmla="*/ 962558 h 1237129"/>
              <a:gd name="connsiteX2138" fmla="*/ 1534393 w 3751729"/>
              <a:gd name="connsiteY2138" fmla="*/ 962558 h 1237129"/>
              <a:gd name="connsiteX2139" fmla="*/ 1525285 w 3751729"/>
              <a:gd name="connsiteY2139" fmla="*/ 960097 h 1237129"/>
              <a:gd name="connsiteX2140" fmla="*/ 1518639 w 3751729"/>
              <a:gd name="connsiteY2140" fmla="*/ 958374 h 1237129"/>
              <a:gd name="connsiteX2141" fmla="*/ 1515439 w 3751729"/>
              <a:gd name="connsiteY2141" fmla="*/ 960097 h 1237129"/>
              <a:gd name="connsiteX2142" fmla="*/ 1512978 w 3751729"/>
              <a:gd name="connsiteY2142" fmla="*/ 962558 h 1237129"/>
              <a:gd name="connsiteX2143" fmla="*/ 1508055 w 3751729"/>
              <a:gd name="connsiteY2143" fmla="*/ 964282 h 1237129"/>
              <a:gd name="connsiteX2144" fmla="*/ 1502393 w 3751729"/>
              <a:gd name="connsiteY2144" fmla="*/ 966005 h 1237129"/>
              <a:gd name="connsiteX2145" fmla="*/ 1494024 w 3751729"/>
              <a:gd name="connsiteY2145" fmla="*/ 955912 h 1237129"/>
              <a:gd name="connsiteX2146" fmla="*/ 1482455 w 3751729"/>
              <a:gd name="connsiteY2146" fmla="*/ 950005 h 1237129"/>
              <a:gd name="connsiteX2147" fmla="*/ 1470885 w 3751729"/>
              <a:gd name="connsiteY2147" fmla="*/ 944097 h 1237129"/>
              <a:gd name="connsiteX2148" fmla="*/ 1459316 w 3751729"/>
              <a:gd name="connsiteY2148" fmla="*/ 938189 h 1237129"/>
              <a:gd name="connsiteX2149" fmla="*/ 1449471 w 3751729"/>
              <a:gd name="connsiteY2149" fmla="*/ 930558 h 1237129"/>
              <a:gd name="connsiteX2150" fmla="*/ 1442086 w 3751729"/>
              <a:gd name="connsiteY2150" fmla="*/ 911359 h 1237129"/>
              <a:gd name="connsiteX2151" fmla="*/ 1433717 w 3751729"/>
              <a:gd name="connsiteY2151" fmla="*/ 901266 h 1237129"/>
              <a:gd name="connsiteX2152" fmla="*/ 1420424 w 3751729"/>
              <a:gd name="connsiteY2152" fmla="*/ 891174 h 1237129"/>
              <a:gd name="connsiteX2153" fmla="*/ 1408856 w 3751729"/>
              <a:gd name="connsiteY2153" fmla="*/ 881082 h 1237129"/>
              <a:gd name="connsiteX2154" fmla="*/ 1401471 w 3751729"/>
              <a:gd name="connsiteY2154" fmla="*/ 871974 h 1237129"/>
              <a:gd name="connsiteX2155" fmla="*/ 1401471 w 3751729"/>
              <a:gd name="connsiteY2155" fmla="*/ 852775 h 1237129"/>
              <a:gd name="connsiteX2156" fmla="*/ 1399010 w 3751729"/>
              <a:gd name="connsiteY2156" fmla="*/ 844405 h 1237129"/>
              <a:gd name="connsiteX2157" fmla="*/ 1399748 w 3751729"/>
              <a:gd name="connsiteY2157" fmla="*/ 830867 h 1237129"/>
              <a:gd name="connsiteX2158" fmla="*/ 1402948 w 3751729"/>
              <a:gd name="connsiteY2158" fmla="*/ 819052 h 1237129"/>
              <a:gd name="connsiteX2159" fmla="*/ 1405410 w 3751729"/>
              <a:gd name="connsiteY2159" fmla="*/ 808959 h 1237129"/>
              <a:gd name="connsiteX2160" fmla="*/ 1407132 w 3751729"/>
              <a:gd name="connsiteY2160" fmla="*/ 801329 h 1237129"/>
              <a:gd name="connsiteX2161" fmla="*/ 1407132 w 3751729"/>
              <a:gd name="connsiteY2161" fmla="*/ 789513 h 1237129"/>
              <a:gd name="connsiteX2162" fmla="*/ 1404671 w 3751729"/>
              <a:gd name="connsiteY2162" fmla="*/ 782867 h 1237129"/>
              <a:gd name="connsiteX2163" fmla="*/ 1399748 w 3751729"/>
              <a:gd name="connsiteY2163" fmla="*/ 775236 h 1237129"/>
              <a:gd name="connsiteX2164" fmla="*/ 1397286 w 3751729"/>
              <a:gd name="connsiteY2164" fmla="*/ 769329 h 1237129"/>
              <a:gd name="connsiteX2165" fmla="*/ 1397286 w 3751729"/>
              <a:gd name="connsiteY2165" fmla="*/ 760221 h 1237129"/>
              <a:gd name="connsiteX2166" fmla="*/ 1399748 w 3751729"/>
              <a:gd name="connsiteY2166" fmla="*/ 748407 h 1237129"/>
              <a:gd name="connsiteX2167" fmla="*/ 1405410 w 3751729"/>
              <a:gd name="connsiteY2167" fmla="*/ 735852 h 1237129"/>
              <a:gd name="connsiteX2168" fmla="*/ 1411071 w 3751729"/>
              <a:gd name="connsiteY2168" fmla="*/ 720837 h 1237129"/>
              <a:gd name="connsiteX2169" fmla="*/ 1416733 w 3751729"/>
              <a:gd name="connsiteY2169" fmla="*/ 708283 h 1237129"/>
              <a:gd name="connsiteX2170" fmla="*/ 1422394 w 3751729"/>
              <a:gd name="connsiteY2170" fmla="*/ 697452 h 1237129"/>
              <a:gd name="connsiteX2171" fmla="*/ 1425594 w 3751729"/>
              <a:gd name="connsiteY2171" fmla="*/ 691545 h 1237129"/>
              <a:gd name="connsiteX2172" fmla="*/ 1435439 w 3751729"/>
              <a:gd name="connsiteY2172" fmla="*/ 683175 h 1237129"/>
              <a:gd name="connsiteX2173" fmla="*/ 1447009 w 3751729"/>
              <a:gd name="connsiteY2173" fmla="*/ 675545 h 1237129"/>
              <a:gd name="connsiteX2174" fmla="*/ 1458578 w 3751729"/>
              <a:gd name="connsiteY2174" fmla="*/ 669637 h 1237129"/>
              <a:gd name="connsiteX2175" fmla="*/ 1470147 w 3751729"/>
              <a:gd name="connsiteY2175" fmla="*/ 662006 h 1237129"/>
              <a:gd name="connsiteX2176" fmla="*/ 1472608 w 3751729"/>
              <a:gd name="connsiteY2176" fmla="*/ 655360 h 1237129"/>
              <a:gd name="connsiteX2177" fmla="*/ 1472608 w 3751729"/>
              <a:gd name="connsiteY2177" fmla="*/ 646253 h 1237129"/>
              <a:gd name="connsiteX2178" fmla="*/ 1471871 w 3751729"/>
              <a:gd name="connsiteY2178" fmla="*/ 636161 h 1237129"/>
              <a:gd name="connsiteX2179" fmla="*/ 1472608 w 3751729"/>
              <a:gd name="connsiteY2179" fmla="*/ 627791 h 1237129"/>
              <a:gd name="connsiteX2180" fmla="*/ 1479993 w 3751729"/>
              <a:gd name="connsiteY2180" fmla="*/ 615976 h 1237129"/>
              <a:gd name="connsiteX2181" fmla="*/ 1489839 w 3751729"/>
              <a:gd name="connsiteY2181" fmla="*/ 606868 h 1237129"/>
              <a:gd name="connsiteX2182" fmla="*/ 1500669 w 3751729"/>
              <a:gd name="connsiteY2182" fmla="*/ 598499 h 1237129"/>
              <a:gd name="connsiteX2183" fmla="*/ 1510516 w 3751729"/>
              <a:gd name="connsiteY2183" fmla="*/ 589392 h 1237129"/>
              <a:gd name="connsiteX2184" fmla="*/ 1518885 w 3751729"/>
              <a:gd name="connsiteY2184" fmla="*/ 579299 h 1237129"/>
              <a:gd name="connsiteX2185" fmla="*/ 1523808 w 3751729"/>
              <a:gd name="connsiteY2185" fmla="*/ 565763 h 1237129"/>
              <a:gd name="connsiteX2186" fmla="*/ 1523808 w 3751729"/>
              <a:gd name="connsiteY2186" fmla="*/ 565024 h 1237129"/>
              <a:gd name="connsiteX2187" fmla="*/ 1522085 w 3751729"/>
              <a:gd name="connsiteY2187" fmla="*/ 565024 h 1237129"/>
              <a:gd name="connsiteX2188" fmla="*/ 1522085 w 3751729"/>
              <a:gd name="connsiteY2188" fmla="*/ 563302 h 1237129"/>
              <a:gd name="connsiteX2189" fmla="*/ 1522085 w 3751729"/>
              <a:gd name="connsiteY2189" fmla="*/ 561578 h 1237129"/>
              <a:gd name="connsiteX2190" fmla="*/ 1520363 w 3751729"/>
              <a:gd name="connsiteY2190" fmla="*/ 559856 h 1237129"/>
              <a:gd name="connsiteX2191" fmla="*/ 1517901 w 3751729"/>
              <a:gd name="connsiteY2191" fmla="*/ 559117 h 1237129"/>
              <a:gd name="connsiteX2192" fmla="*/ 1514701 w 3751729"/>
              <a:gd name="connsiteY2192" fmla="*/ 557394 h 1237129"/>
              <a:gd name="connsiteX2193" fmla="*/ 1512239 w 3751729"/>
              <a:gd name="connsiteY2193" fmla="*/ 557394 h 1237129"/>
              <a:gd name="connsiteX2194" fmla="*/ 1507316 w 3751729"/>
              <a:gd name="connsiteY2194" fmla="*/ 555672 h 1237129"/>
              <a:gd name="connsiteX2195" fmla="*/ 1504855 w 3751729"/>
              <a:gd name="connsiteY2195" fmla="*/ 559117 h 1237129"/>
              <a:gd name="connsiteX2196" fmla="*/ 1501655 w 3751729"/>
              <a:gd name="connsiteY2196" fmla="*/ 559117 h 1237129"/>
              <a:gd name="connsiteX2197" fmla="*/ 1497469 w 3751729"/>
              <a:gd name="connsiteY2197" fmla="*/ 559856 h 1237129"/>
              <a:gd name="connsiteX2198" fmla="*/ 1491808 w 3751729"/>
              <a:gd name="connsiteY2198" fmla="*/ 559856 h 1237129"/>
              <a:gd name="connsiteX2199" fmla="*/ 1491808 w 3751729"/>
              <a:gd name="connsiteY2199" fmla="*/ 555672 h 1237129"/>
              <a:gd name="connsiteX2200" fmla="*/ 1489348 w 3751729"/>
              <a:gd name="connsiteY2200" fmla="*/ 555672 h 1237129"/>
              <a:gd name="connsiteX2201" fmla="*/ 1489348 w 3751729"/>
              <a:gd name="connsiteY2201" fmla="*/ 543855 h 1237129"/>
              <a:gd name="connsiteX2202" fmla="*/ 1487624 w 3751729"/>
              <a:gd name="connsiteY2202" fmla="*/ 527856 h 1237129"/>
              <a:gd name="connsiteX2203" fmla="*/ 1485901 w 3751729"/>
              <a:gd name="connsiteY2203" fmla="*/ 508655 h 1237129"/>
              <a:gd name="connsiteX2204" fmla="*/ 1485901 w 3751729"/>
              <a:gd name="connsiteY2204" fmla="*/ 490194 h 1237129"/>
              <a:gd name="connsiteX2205" fmla="*/ 1485901 w 3751729"/>
              <a:gd name="connsiteY2205" fmla="*/ 473456 h 1237129"/>
              <a:gd name="connsiteX2206" fmla="*/ 1489101 w 3751729"/>
              <a:gd name="connsiteY2206" fmla="*/ 463363 h 1237129"/>
              <a:gd name="connsiteX2207" fmla="*/ 1489593 w 3751729"/>
              <a:gd name="connsiteY2207" fmla="*/ 460410 h 1237129"/>
              <a:gd name="connsiteX2208" fmla="*/ 1491316 w 3751729"/>
              <a:gd name="connsiteY2208" fmla="*/ 456964 h 1237129"/>
              <a:gd name="connsiteX2209" fmla="*/ 1493038 w 3751729"/>
              <a:gd name="connsiteY2209" fmla="*/ 456225 h 1237129"/>
              <a:gd name="connsiteX2210" fmla="*/ 1494762 w 3751729"/>
              <a:gd name="connsiteY2210" fmla="*/ 456225 h 1237129"/>
              <a:gd name="connsiteX2211" fmla="*/ 1497224 w 3751729"/>
              <a:gd name="connsiteY2211" fmla="*/ 456225 h 1237129"/>
              <a:gd name="connsiteX2212" fmla="*/ 1500424 w 3751729"/>
              <a:gd name="connsiteY2212" fmla="*/ 454501 h 1237129"/>
              <a:gd name="connsiteX2213" fmla="*/ 1504609 w 3751729"/>
              <a:gd name="connsiteY2213" fmla="*/ 454501 h 1237129"/>
              <a:gd name="connsiteX2214" fmla="*/ 1516177 w 3751729"/>
              <a:gd name="connsiteY2214" fmla="*/ 458687 h 1237129"/>
              <a:gd name="connsiteX2215" fmla="*/ 1529469 w 3751729"/>
              <a:gd name="connsiteY2215" fmla="*/ 462133 h 1237129"/>
              <a:gd name="connsiteX2216" fmla="*/ 1543501 w 3751729"/>
              <a:gd name="connsiteY2216" fmla="*/ 462133 h 1237129"/>
              <a:gd name="connsiteX2217" fmla="*/ 1557531 w 3751729"/>
              <a:gd name="connsiteY2217" fmla="*/ 458687 h 1237129"/>
              <a:gd name="connsiteX2218" fmla="*/ 1568362 w 3751729"/>
              <a:gd name="connsiteY2218" fmla="*/ 454501 h 1237129"/>
              <a:gd name="connsiteX2219" fmla="*/ 1569100 w 3751729"/>
              <a:gd name="connsiteY2219" fmla="*/ 452779 h 1237129"/>
              <a:gd name="connsiteX2220" fmla="*/ 1569100 w 3751729"/>
              <a:gd name="connsiteY2220" fmla="*/ 451056 h 1237129"/>
              <a:gd name="connsiteX2221" fmla="*/ 1570824 w 3751729"/>
              <a:gd name="connsiteY2221" fmla="*/ 451056 h 1237129"/>
              <a:gd name="connsiteX2222" fmla="*/ 1570824 w 3751729"/>
              <a:gd name="connsiteY2222" fmla="*/ 450318 h 1237129"/>
              <a:gd name="connsiteX2223" fmla="*/ 1570824 w 3751729"/>
              <a:gd name="connsiteY2223" fmla="*/ 448595 h 1237129"/>
              <a:gd name="connsiteX2224" fmla="*/ 1574024 w 3751729"/>
              <a:gd name="connsiteY2224" fmla="*/ 436778 h 1237129"/>
              <a:gd name="connsiteX2225" fmla="*/ 1574024 w 3751729"/>
              <a:gd name="connsiteY2225" fmla="*/ 423241 h 1237129"/>
              <a:gd name="connsiteX2226" fmla="*/ 1572300 w 3751729"/>
              <a:gd name="connsiteY2226" fmla="*/ 410687 h 1237129"/>
              <a:gd name="connsiteX2227" fmla="*/ 1570578 w 3751729"/>
              <a:gd name="connsiteY2227" fmla="*/ 395672 h 1237129"/>
              <a:gd name="connsiteX2228" fmla="*/ 1560731 w 3751729"/>
              <a:gd name="connsiteY2228" fmla="*/ 393210 h 1237129"/>
              <a:gd name="connsiteX2229" fmla="*/ 1550885 w 3751729"/>
              <a:gd name="connsiteY2229" fmla="*/ 389764 h 1237129"/>
              <a:gd name="connsiteX2230" fmla="*/ 1541039 w 3751729"/>
              <a:gd name="connsiteY2230" fmla="*/ 383856 h 1237129"/>
              <a:gd name="connsiteX2231" fmla="*/ 1533654 w 3751729"/>
              <a:gd name="connsiteY2231" fmla="*/ 376225 h 1237129"/>
              <a:gd name="connsiteX2232" fmla="*/ 1536115 w 3751729"/>
              <a:gd name="connsiteY2232" fmla="*/ 375487 h 1237129"/>
              <a:gd name="connsiteX2233" fmla="*/ 1539316 w 3751729"/>
              <a:gd name="connsiteY2233" fmla="*/ 373764 h 1237129"/>
              <a:gd name="connsiteX2234" fmla="*/ 1541039 w 3751729"/>
              <a:gd name="connsiteY2234" fmla="*/ 372041 h 1237129"/>
              <a:gd name="connsiteX2235" fmla="*/ 1543501 w 3751729"/>
              <a:gd name="connsiteY2235" fmla="*/ 372041 h 1237129"/>
              <a:gd name="connsiteX2236" fmla="*/ 1546701 w 3751729"/>
              <a:gd name="connsiteY2236" fmla="*/ 370318 h 1237129"/>
              <a:gd name="connsiteX2237" fmla="*/ 1551624 w 3751729"/>
              <a:gd name="connsiteY2237" fmla="*/ 370318 h 1237129"/>
              <a:gd name="connsiteX2238" fmla="*/ 1554823 w 3751729"/>
              <a:gd name="connsiteY2238" fmla="*/ 369579 h 1237129"/>
              <a:gd name="connsiteX2239" fmla="*/ 1559008 w 3751729"/>
              <a:gd name="connsiteY2239" fmla="*/ 367856 h 1237129"/>
              <a:gd name="connsiteX2240" fmla="*/ 1563193 w 3751729"/>
              <a:gd name="connsiteY2240" fmla="*/ 367856 h 1237129"/>
              <a:gd name="connsiteX2241" fmla="*/ 1568115 w 3751729"/>
              <a:gd name="connsiteY2241" fmla="*/ 367856 h 1237129"/>
              <a:gd name="connsiteX2242" fmla="*/ 1568115 w 3751729"/>
              <a:gd name="connsiteY2242" fmla="*/ 351856 h 1237129"/>
              <a:gd name="connsiteX2243" fmla="*/ 1572300 w 3751729"/>
              <a:gd name="connsiteY2243" fmla="*/ 351856 h 1237129"/>
              <a:gd name="connsiteX2244" fmla="*/ 1576484 w 3751729"/>
              <a:gd name="connsiteY2244" fmla="*/ 352595 h 1237129"/>
              <a:gd name="connsiteX2245" fmla="*/ 1578208 w 3751729"/>
              <a:gd name="connsiteY2245" fmla="*/ 354318 h 1237129"/>
              <a:gd name="connsiteX2246" fmla="*/ 1580670 w 3751729"/>
              <a:gd name="connsiteY2246" fmla="*/ 354318 h 1237129"/>
              <a:gd name="connsiteX2247" fmla="*/ 1583870 w 3751729"/>
              <a:gd name="connsiteY2247" fmla="*/ 356041 h 1237129"/>
              <a:gd name="connsiteX2248" fmla="*/ 1586331 w 3751729"/>
              <a:gd name="connsiteY2248" fmla="*/ 357764 h 1237129"/>
              <a:gd name="connsiteX2249" fmla="*/ 1589531 w 3751729"/>
              <a:gd name="connsiteY2249" fmla="*/ 354318 h 1237129"/>
              <a:gd name="connsiteX2250" fmla="*/ 1593716 w 3751729"/>
              <a:gd name="connsiteY2250" fmla="*/ 352595 h 1237129"/>
              <a:gd name="connsiteX2251" fmla="*/ 1596915 w 3751729"/>
              <a:gd name="connsiteY2251" fmla="*/ 351856 h 1237129"/>
              <a:gd name="connsiteX2252" fmla="*/ 1601100 w 3751729"/>
              <a:gd name="connsiteY2252" fmla="*/ 350133 h 1237129"/>
              <a:gd name="connsiteX2253" fmla="*/ 1602823 w 3751729"/>
              <a:gd name="connsiteY2253" fmla="*/ 348410 h 1237129"/>
              <a:gd name="connsiteX2254" fmla="*/ 1603562 w 3751729"/>
              <a:gd name="connsiteY2254" fmla="*/ 345949 h 1237129"/>
              <a:gd name="connsiteX2255" fmla="*/ 1603562 w 3751729"/>
              <a:gd name="connsiteY2255" fmla="*/ 342502 h 1237129"/>
              <a:gd name="connsiteX2256" fmla="*/ 1603562 w 3751729"/>
              <a:gd name="connsiteY2256" fmla="*/ 340041 h 1237129"/>
              <a:gd name="connsiteX2257" fmla="*/ 1603562 w 3751729"/>
              <a:gd name="connsiteY2257" fmla="*/ 336595 h 1237129"/>
              <a:gd name="connsiteX2258" fmla="*/ 1605285 w 3751729"/>
              <a:gd name="connsiteY2258" fmla="*/ 334133 h 1237129"/>
              <a:gd name="connsiteX2259" fmla="*/ 1607008 w 3751729"/>
              <a:gd name="connsiteY2259" fmla="*/ 330687 h 1237129"/>
              <a:gd name="connsiteX2260" fmla="*/ 1634331 w 3751729"/>
              <a:gd name="connsiteY2260" fmla="*/ 322318 h 1237129"/>
              <a:gd name="connsiteX2261" fmla="*/ 1639992 w 3751729"/>
              <a:gd name="connsiteY2261" fmla="*/ 313210 h 1237129"/>
              <a:gd name="connsiteX2262" fmla="*/ 1641715 w 3751729"/>
              <a:gd name="connsiteY2262" fmla="*/ 304840 h 1237129"/>
              <a:gd name="connsiteX2263" fmla="*/ 1645899 w 3751729"/>
              <a:gd name="connsiteY2263" fmla="*/ 295734 h 1237129"/>
              <a:gd name="connsiteX2264" fmla="*/ 1654269 w 3751729"/>
              <a:gd name="connsiteY2264" fmla="*/ 289826 h 1237129"/>
              <a:gd name="connsiteX2265" fmla="*/ 1665100 w 3751729"/>
              <a:gd name="connsiteY2265" fmla="*/ 285641 h 1237129"/>
              <a:gd name="connsiteX2266" fmla="*/ 1677407 w 3751729"/>
              <a:gd name="connsiteY2266" fmla="*/ 281457 h 1237129"/>
              <a:gd name="connsiteX2267" fmla="*/ 1688976 w 3751729"/>
              <a:gd name="connsiteY2267" fmla="*/ 277271 h 1237129"/>
              <a:gd name="connsiteX2268" fmla="*/ 1690699 w 3751729"/>
              <a:gd name="connsiteY2268" fmla="*/ 275549 h 1237129"/>
              <a:gd name="connsiteX2269" fmla="*/ 1690699 w 3751729"/>
              <a:gd name="connsiteY2269" fmla="*/ 273825 h 1237129"/>
              <a:gd name="connsiteX2270" fmla="*/ 1690699 w 3751729"/>
              <a:gd name="connsiteY2270" fmla="*/ 272103 h 1237129"/>
              <a:gd name="connsiteX2271" fmla="*/ 1692422 w 3751729"/>
              <a:gd name="connsiteY2271" fmla="*/ 271365 h 1237129"/>
              <a:gd name="connsiteX2272" fmla="*/ 1686760 w 3751729"/>
              <a:gd name="connsiteY2272" fmla="*/ 256348 h 1237129"/>
              <a:gd name="connsiteX2273" fmla="*/ 1683560 w 3751729"/>
              <a:gd name="connsiteY2273" fmla="*/ 238625 h 1237129"/>
              <a:gd name="connsiteX2274" fmla="*/ 1683560 w 3751729"/>
              <a:gd name="connsiteY2274" fmla="*/ 222626 h 1237129"/>
              <a:gd name="connsiteX2275" fmla="*/ 1682823 w 3751729"/>
              <a:gd name="connsiteY2275" fmla="*/ 209088 h 1237129"/>
              <a:gd name="connsiteX2276" fmla="*/ 1695130 w 3751729"/>
              <a:gd name="connsiteY2276" fmla="*/ 208349 h 1237129"/>
              <a:gd name="connsiteX2277" fmla="*/ 1704238 w 3751729"/>
              <a:gd name="connsiteY2277" fmla="*/ 204903 h 1237129"/>
              <a:gd name="connsiteX2278" fmla="*/ 1714084 w 3751729"/>
              <a:gd name="connsiteY2278" fmla="*/ 202441 h 1237129"/>
              <a:gd name="connsiteX2279" fmla="*/ 1714084 w 3751729"/>
              <a:gd name="connsiteY2279" fmla="*/ 209088 h 1237129"/>
              <a:gd name="connsiteX2280" fmla="*/ 1712361 w 3751729"/>
              <a:gd name="connsiteY2280" fmla="*/ 214996 h 1237129"/>
              <a:gd name="connsiteX2281" fmla="*/ 1710637 w 3751729"/>
              <a:gd name="connsiteY2281" fmla="*/ 225826 h 1237129"/>
              <a:gd name="connsiteX2282" fmla="*/ 1709899 w 3751729"/>
              <a:gd name="connsiteY2282" fmla="*/ 240103 h 1237129"/>
              <a:gd name="connsiteX2283" fmla="*/ 1708176 w 3751729"/>
              <a:gd name="connsiteY2283" fmla="*/ 253641 h 1237129"/>
              <a:gd name="connsiteX2284" fmla="*/ 1708176 w 3751729"/>
              <a:gd name="connsiteY2284" fmla="*/ 263734 h 1237129"/>
              <a:gd name="connsiteX2285" fmla="*/ 1712361 w 3751729"/>
              <a:gd name="connsiteY2285" fmla="*/ 266194 h 1237129"/>
              <a:gd name="connsiteX2286" fmla="*/ 1715560 w 3751729"/>
              <a:gd name="connsiteY2286" fmla="*/ 267918 h 1237129"/>
              <a:gd name="connsiteX2287" fmla="*/ 1716300 w 3751729"/>
              <a:gd name="connsiteY2287" fmla="*/ 269640 h 1237129"/>
              <a:gd name="connsiteX2288" fmla="*/ 1719499 w 3751729"/>
              <a:gd name="connsiteY2288" fmla="*/ 271365 h 1237129"/>
              <a:gd name="connsiteX2289" fmla="*/ 1723681 w 3751729"/>
              <a:gd name="connsiteY2289" fmla="*/ 273825 h 1237129"/>
              <a:gd name="connsiteX2290" fmla="*/ 1732789 w 3751729"/>
              <a:gd name="connsiteY2290" fmla="*/ 269640 h 1237129"/>
              <a:gd name="connsiteX2291" fmla="*/ 1739189 w 3751729"/>
              <a:gd name="connsiteY2291" fmla="*/ 269640 h 1237129"/>
              <a:gd name="connsiteX2292" fmla="*/ 1743373 w 3751729"/>
              <a:gd name="connsiteY2292" fmla="*/ 272103 h 1237129"/>
              <a:gd name="connsiteX2293" fmla="*/ 1749035 w 3751729"/>
              <a:gd name="connsiteY2293" fmla="*/ 277026 h 1237129"/>
              <a:gd name="connsiteX2294" fmla="*/ 1756419 w 3751729"/>
              <a:gd name="connsiteY2294" fmla="*/ 277026 h 1237129"/>
              <a:gd name="connsiteX2295" fmla="*/ 1764788 w 3751729"/>
              <a:gd name="connsiteY2295" fmla="*/ 273580 h 1237129"/>
              <a:gd name="connsiteX2296" fmla="*/ 1772173 w 3751729"/>
              <a:gd name="connsiteY2296" fmla="*/ 269395 h 1237129"/>
              <a:gd name="connsiteX2297" fmla="*/ 1776357 w 3751729"/>
              <a:gd name="connsiteY2297" fmla="*/ 265210 h 1237129"/>
              <a:gd name="connsiteX2298" fmla="*/ 1782019 w 3751729"/>
              <a:gd name="connsiteY2298" fmla="*/ 261764 h 1237129"/>
              <a:gd name="connsiteX2299" fmla="*/ 1789403 w 3751729"/>
              <a:gd name="connsiteY2299" fmla="*/ 259303 h 1237129"/>
              <a:gd name="connsiteX2300" fmla="*/ 1800973 w 3751729"/>
              <a:gd name="connsiteY2300" fmla="*/ 260041 h 1237129"/>
              <a:gd name="connsiteX2301" fmla="*/ 1816727 w 3751729"/>
              <a:gd name="connsiteY2301" fmla="*/ 263487 h 1237129"/>
              <a:gd name="connsiteX2302" fmla="*/ 1818450 w 3751729"/>
              <a:gd name="connsiteY2302" fmla="*/ 259303 h 1237129"/>
              <a:gd name="connsiteX2303" fmla="*/ 1819188 w 3751729"/>
              <a:gd name="connsiteY2303" fmla="*/ 257580 h 1237129"/>
              <a:gd name="connsiteX2304" fmla="*/ 1822388 w 3751729"/>
              <a:gd name="connsiteY2304" fmla="*/ 254133 h 1237129"/>
              <a:gd name="connsiteX2305" fmla="*/ 1824849 w 3751729"/>
              <a:gd name="connsiteY2305" fmla="*/ 253395 h 1237129"/>
              <a:gd name="connsiteX2306" fmla="*/ 1828049 w 3751729"/>
              <a:gd name="connsiteY2306" fmla="*/ 253395 h 1237129"/>
              <a:gd name="connsiteX2307" fmla="*/ 1832235 w 3751729"/>
              <a:gd name="connsiteY2307" fmla="*/ 251673 h 1237129"/>
              <a:gd name="connsiteX2308" fmla="*/ 1832235 w 3751729"/>
              <a:gd name="connsiteY2308" fmla="*/ 226564 h 1237129"/>
              <a:gd name="connsiteX2309" fmla="*/ 1835434 w 3751729"/>
              <a:gd name="connsiteY2309" fmla="*/ 206380 h 1237129"/>
              <a:gd name="connsiteX2310" fmla="*/ 1837895 w 3751729"/>
              <a:gd name="connsiteY2310" fmla="*/ 202934 h 1237129"/>
              <a:gd name="connsiteX2311" fmla="*/ 1841096 w 3751729"/>
              <a:gd name="connsiteY2311" fmla="*/ 202195 h 1237129"/>
              <a:gd name="connsiteX2312" fmla="*/ 1843557 w 3751729"/>
              <a:gd name="connsiteY2312" fmla="*/ 198750 h 1237129"/>
              <a:gd name="connsiteX2313" fmla="*/ 1846757 w 3751729"/>
              <a:gd name="connsiteY2313" fmla="*/ 197026 h 1237129"/>
              <a:gd name="connsiteX2314" fmla="*/ 1850943 w 3751729"/>
              <a:gd name="connsiteY2314" fmla="*/ 196288 h 1237129"/>
              <a:gd name="connsiteX2315" fmla="*/ 1850943 w 3751729"/>
              <a:gd name="connsiteY2315" fmla="*/ 198750 h 1237129"/>
              <a:gd name="connsiteX2316" fmla="*/ 1853403 w 3751729"/>
              <a:gd name="connsiteY2316" fmla="*/ 202195 h 1237129"/>
              <a:gd name="connsiteX2317" fmla="*/ 1855127 w 3751729"/>
              <a:gd name="connsiteY2317" fmla="*/ 204657 h 1237129"/>
              <a:gd name="connsiteX2318" fmla="*/ 1856849 w 3751729"/>
              <a:gd name="connsiteY2318" fmla="*/ 208103 h 1237129"/>
              <a:gd name="connsiteX2319" fmla="*/ 1858573 w 3751729"/>
              <a:gd name="connsiteY2319" fmla="*/ 208841 h 1237129"/>
              <a:gd name="connsiteX2320" fmla="*/ 1862757 w 3751729"/>
              <a:gd name="connsiteY2320" fmla="*/ 210564 h 1237129"/>
              <a:gd name="connsiteX2321" fmla="*/ 1866942 w 3751729"/>
              <a:gd name="connsiteY2321" fmla="*/ 212288 h 1237129"/>
              <a:gd name="connsiteX2322" fmla="*/ 1865219 w 3751729"/>
              <a:gd name="connsiteY2322" fmla="*/ 198750 h 1237129"/>
              <a:gd name="connsiteX2323" fmla="*/ 1864480 w 3751729"/>
              <a:gd name="connsiteY2323" fmla="*/ 190380 h 1237129"/>
              <a:gd name="connsiteX2324" fmla="*/ 1861280 w 3751729"/>
              <a:gd name="connsiteY2324" fmla="*/ 184473 h 1237129"/>
              <a:gd name="connsiteX2325" fmla="*/ 1859557 w 3751729"/>
              <a:gd name="connsiteY2325" fmla="*/ 176842 h 1237129"/>
              <a:gd name="connsiteX2326" fmla="*/ 1857096 w 3751729"/>
              <a:gd name="connsiteY2326" fmla="*/ 163304 h 1237129"/>
              <a:gd name="connsiteX2327" fmla="*/ 1864480 w 3751729"/>
              <a:gd name="connsiteY2327" fmla="*/ 162565 h 1237129"/>
              <a:gd name="connsiteX2328" fmla="*/ 1869404 w 3751729"/>
              <a:gd name="connsiteY2328" fmla="*/ 159119 h 1237129"/>
              <a:gd name="connsiteX2329" fmla="*/ 1874326 w 3751729"/>
              <a:gd name="connsiteY2329" fmla="*/ 156658 h 1237129"/>
              <a:gd name="connsiteX2330" fmla="*/ 1879988 w 3751729"/>
              <a:gd name="connsiteY2330" fmla="*/ 153212 h 1237129"/>
              <a:gd name="connsiteX2331" fmla="*/ 1889834 w 3751729"/>
              <a:gd name="connsiteY2331" fmla="*/ 153212 h 1237129"/>
              <a:gd name="connsiteX2332" fmla="*/ 1899680 w 3751729"/>
              <a:gd name="connsiteY2332" fmla="*/ 154934 h 1237129"/>
              <a:gd name="connsiteX2333" fmla="*/ 1907065 w 3751729"/>
              <a:gd name="connsiteY2333" fmla="*/ 156658 h 1237129"/>
              <a:gd name="connsiteX2334" fmla="*/ 1914449 w 3751729"/>
              <a:gd name="connsiteY2334" fmla="*/ 153212 h 1237129"/>
              <a:gd name="connsiteX2335" fmla="*/ 1920111 w 3751729"/>
              <a:gd name="connsiteY2335" fmla="*/ 144842 h 1237129"/>
              <a:gd name="connsiteX2336" fmla="*/ 1915187 w 3751729"/>
              <a:gd name="connsiteY2336" fmla="*/ 143119 h 1237129"/>
              <a:gd name="connsiteX2337" fmla="*/ 1911003 w 3751729"/>
              <a:gd name="connsiteY2337" fmla="*/ 141396 h 1237129"/>
              <a:gd name="connsiteX2338" fmla="*/ 1908541 w 3751729"/>
              <a:gd name="connsiteY2338" fmla="*/ 139673 h 1237129"/>
              <a:gd name="connsiteX2339" fmla="*/ 1903619 w 3751729"/>
              <a:gd name="connsiteY2339" fmla="*/ 138935 h 1237129"/>
              <a:gd name="connsiteX2340" fmla="*/ 1897957 w 3751729"/>
              <a:gd name="connsiteY2340" fmla="*/ 138935 h 1237129"/>
              <a:gd name="connsiteX2341" fmla="*/ 1883926 w 3751729"/>
              <a:gd name="connsiteY2341" fmla="*/ 145581 h 1237129"/>
              <a:gd name="connsiteX2342" fmla="*/ 1868173 w 3751729"/>
              <a:gd name="connsiteY2342" fmla="*/ 150503 h 1237129"/>
              <a:gd name="connsiteX2343" fmla="*/ 1850943 w 3751729"/>
              <a:gd name="connsiteY2343" fmla="*/ 152965 h 1237129"/>
              <a:gd name="connsiteX2344" fmla="*/ 1847742 w 3751729"/>
              <a:gd name="connsiteY2344" fmla="*/ 145334 h 1237129"/>
              <a:gd name="connsiteX2345" fmla="*/ 1843557 w 3751729"/>
              <a:gd name="connsiteY2345" fmla="*/ 139427 h 1237129"/>
              <a:gd name="connsiteX2346" fmla="*/ 1839373 w 3751729"/>
              <a:gd name="connsiteY2346" fmla="*/ 133519 h 1237129"/>
              <a:gd name="connsiteX2347" fmla="*/ 1836173 w 3751729"/>
              <a:gd name="connsiteY2347" fmla="*/ 126873 h 1237129"/>
              <a:gd name="connsiteX2348" fmla="*/ 1835434 w 3751729"/>
              <a:gd name="connsiteY2348" fmla="*/ 115058 h 1237129"/>
              <a:gd name="connsiteX2349" fmla="*/ 1836173 w 3751729"/>
              <a:gd name="connsiteY2349" fmla="*/ 105950 h 1237129"/>
              <a:gd name="connsiteX2350" fmla="*/ 1835434 w 3751729"/>
              <a:gd name="connsiteY2350" fmla="*/ 95858 h 1237129"/>
              <a:gd name="connsiteX2351" fmla="*/ 1833711 w 3751729"/>
              <a:gd name="connsiteY2351" fmla="*/ 84042 h 1237129"/>
              <a:gd name="connsiteX2352" fmla="*/ 1835434 w 3751729"/>
              <a:gd name="connsiteY2352" fmla="*/ 73950 h 1237129"/>
              <a:gd name="connsiteX2353" fmla="*/ 1842081 w 3751729"/>
              <a:gd name="connsiteY2353" fmla="*/ 58935 h 1237129"/>
              <a:gd name="connsiteX2354" fmla="*/ 1853649 w 3751729"/>
              <a:gd name="connsiteY2354" fmla="*/ 48843 h 1237129"/>
              <a:gd name="connsiteX2355" fmla="*/ 1865219 w 3751729"/>
              <a:gd name="connsiteY2355" fmla="*/ 37027 h 1237129"/>
              <a:gd name="connsiteX2356" fmla="*/ 1875065 w 3751729"/>
              <a:gd name="connsiteY2356" fmla="*/ 25212 h 1237129"/>
              <a:gd name="connsiteX2357" fmla="*/ 1882450 w 3751729"/>
              <a:gd name="connsiteY2357" fmla="*/ 11673 h 1237129"/>
              <a:gd name="connsiteX2358" fmla="*/ 1878265 w 3751729"/>
              <a:gd name="connsiteY2358" fmla="*/ 7489 h 1237129"/>
              <a:gd name="connsiteX2359" fmla="*/ 1874081 w 3751729"/>
              <a:gd name="connsiteY2359" fmla="*/ 3304 h 1237129"/>
              <a:gd name="connsiteX2360" fmla="*/ 1731537 w 3751729"/>
              <a:gd name="connsiteY2360" fmla="*/ 0 h 1237129"/>
              <a:gd name="connsiteX2361" fmla="*/ 1863626 w 3751729"/>
              <a:gd name="connsiteY2361" fmla="*/ 0 h 1237129"/>
              <a:gd name="connsiteX2362" fmla="*/ 1858327 w 3751729"/>
              <a:gd name="connsiteY2362" fmla="*/ 843 h 1237129"/>
              <a:gd name="connsiteX2363" fmla="*/ 1845034 w 3751729"/>
              <a:gd name="connsiteY2363" fmla="*/ 1582 h 1237129"/>
              <a:gd name="connsiteX2364" fmla="*/ 1840850 w 3751729"/>
              <a:gd name="connsiteY2364" fmla="*/ 22505 h 1237129"/>
              <a:gd name="connsiteX2365" fmla="*/ 1833465 w 3751729"/>
              <a:gd name="connsiteY2365" fmla="*/ 38504 h 1237129"/>
              <a:gd name="connsiteX2366" fmla="*/ 1823619 w 3751729"/>
              <a:gd name="connsiteY2366" fmla="*/ 52043 h 1237129"/>
              <a:gd name="connsiteX2367" fmla="*/ 1812050 w 3751729"/>
              <a:gd name="connsiteY2367" fmla="*/ 64596 h 1237129"/>
              <a:gd name="connsiteX2368" fmla="*/ 1801219 w 3751729"/>
              <a:gd name="connsiteY2368" fmla="*/ 79612 h 1237129"/>
              <a:gd name="connsiteX2369" fmla="*/ 1794573 w 3751729"/>
              <a:gd name="connsiteY2369" fmla="*/ 97335 h 1237129"/>
              <a:gd name="connsiteX2370" fmla="*/ 1789649 w 3751729"/>
              <a:gd name="connsiteY2370" fmla="*/ 117519 h 1237129"/>
              <a:gd name="connsiteX2371" fmla="*/ 1798758 w 3751729"/>
              <a:gd name="connsiteY2371" fmla="*/ 125150 h 1237129"/>
              <a:gd name="connsiteX2372" fmla="*/ 1807126 w 3751729"/>
              <a:gd name="connsiteY2372" fmla="*/ 133519 h 1237129"/>
              <a:gd name="connsiteX2373" fmla="*/ 1812788 w 3751729"/>
              <a:gd name="connsiteY2373" fmla="*/ 144350 h 1237129"/>
              <a:gd name="connsiteX2374" fmla="*/ 1815988 w 3751729"/>
              <a:gd name="connsiteY2374" fmla="*/ 156904 h 1237129"/>
              <a:gd name="connsiteX2375" fmla="*/ 1811804 w 3751729"/>
              <a:gd name="connsiteY2375" fmla="*/ 158626 h 1237129"/>
              <a:gd name="connsiteX2376" fmla="*/ 1810081 w 3751729"/>
              <a:gd name="connsiteY2376" fmla="*/ 160350 h 1237129"/>
              <a:gd name="connsiteX2377" fmla="*/ 1808357 w 3751729"/>
              <a:gd name="connsiteY2377" fmla="*/ 162073 h 1237129"/>
              <a:gd name="connsiteX2378" fmla="*/ 1808357 w 3751729"/>
              <a:gd name="connsiteY2378" fmla="*/ 162811 h 1237129"/>
              <a:gd name="connsiteX2379" fmla="*/ 1806634 w 3751729"/>
              <a:gd name="connsiteY2379" fmla="*/ 164535 h 1237129"/>
              <a:gd name="connsiteX2380" fmla="*/ 1806634 w 3751729"/>
              <a:gd name="connsiteY2380" fmla="*/ 167981 h 1237129"/>
              <a:gd name="connsiteX2381" fmla="*/ 1805896 w 3751729"/>
              <a:gd name="connsiteY2381" fmla="*/ 168719 h 1237129"/>
              <a:gd name="connsiteX2382" fmla="*/ 1786943 w 3751729"/>
              <a:gd name="connsiteY2382" fmla="*/ 176349 h 1237129"/>
              <a:gd name="connsiteX2383" fmla="*/ 1784481 w 3751729"/>
              <a:gd name="connsiteY2383" fmla="*/ 194073 h 1237129"/>
              <a:gd name="connsiteX2384" fmla="*/ 1778819 w 3751729"/>
              <a:gd name="connsiteY2384" fmla="*/ 207611 h 1237129"/>
              <a:gd name="connsiteX2385" fmla="*/ 1773158 w 3751729"/>
              <a:gd name="connsiteY2385" fmla="*/ 217703 h 1237129"/>
              <a:gd name="connsiteX2386" fmla="*/ 1764050 w 3751729"/>
              <a:gd name="connsiteY2386" fmla="*/ 226073 h 1237129"/>
              <a:gd name="connsiteX2387" fmla="*/ 1756666 w 3751729"/>
              <a:gd name="connsiteY2387" fmla="*/ 235180 h 1237129"/>
              <a:gd name="connsiteX2388" fmla="*/ 1750019 w 3751729"/>
              <a:gd name="connsiteY2388" fmla="*/ 246995 h 1237129"/>
              <a:gd name="connsiteX2389" fmla="*/ 1745097 w 3751729"/>
              <a:gd name="connsiteY2389" fmla="*/ 246995 h 1237129"/>
              <a:gd name="connsiteX2390" fmla="*/ 1745097 w 3751729"/>
              <a:gd name="connsiteY2390" fmla="*/ 243549 h 1237129"/>
              <a:gd name="connsiteX2391" fmla="*/ 1733527 w 3751729"/>
              <a:gd name="connsiteY2391" fmla="*/ 227549 h 1237129"/>
              <a:gd name="connsiteX2392" fmla="*/ 1726881 w 3751729"/>
              <a:gd name="connsiteY2392" fmla="*/ 209826 h 1237129"/>
              <a:gd name="connsiteX2393" fmla="*/ 1721958 w 3751729"/>
              <a:gd name="connsiteY2393" fmla="*/ 190626 h 1237129"/>
              <a:gd name="connsiteX2394" fmla="*/ 1713592 w 3751729"/>
              <a:gd name="connsiteY2394" fmla="*/ 168719 h 1237129"/>
              <a:gd name="connsiteX2395" fmla="*/ 1702022 w 3751729"/>
              <a:gd name="connsiteY2395" fmla="*/ 174627 h 1237129"/>
              <a:gd name="connsiteX2396" fmla="*/ 1694637 w 3751729"/>
              <a:gd name="connsiteY2396" fmla="*/ 182257 h 1237129"/>
              <a:gd name="connsiteX2397" fmla="*/ 1686269 w 3751729"/>
              <a:gd name="connsiteY2397" fmla="*/ 188165 h 1237129"/>
              <a:gd name="connsiteX2398" fmla="*/ 1677161 w 3751729"/>
              <a:gd name="connsiteY2398" fmla="*/ 192349 h 1237129"/>
              <a:gd name="connsiteX2399" fmla="*/ 1663130 w 3751729"/>
              <a:gd name="connsiteY2399" fmla="*/ 195795 h 1237129"/>
              <a:gd name="connsiteX2400" fmla="*/ 1661407 w 3751729"/>
              <a:gd name="connsiteY2400" fmla="*/ 194073 h 1237129"/>
              <a:gd name="connsiteX2401" fmla="*/ 1659684 w 3751729"/>
              <a:gd name="connsiteY2401" fmla="*/ 194073 h 1237129"/>
              <a:gd name="connsiteX2402" fmla="*/ 1658946 w 3751729"/>
              <a:gd name="connsiteY2402" fmla="*/ 194073 h 1237129"/>
              <a:gd name="connsiteX2403" fmla="*/ 1657223 w 3751729"/>
              <a:gd name="connsiteY2403" fmla="*/ 192349 h 1237129"/>
              <a:gd name="connsiteX2404" fmla="*/ 1654023 w 3751729"/>
              <a:gd name="connsiteY2404" fmla="*/ 192349 h 1237129"/>
              <a:gd name="connsiteX2405" fmla="*/ 1653285 w 3751729"/>
              <a:gd name="connsiteY2405" fmla="*/ 174627 h 1237129"/>
              <a:gd name="connsiteX2406" fmla="*/ 1651560 w 3751729"/>
              <a:gd name="connsiteY2406" fmla="*/ 160350 h 1237129"/>
              <a:gd name="connsiteX2407" fmla="*/ 1648361 w 3751729"/>
              <a:gd name="connsiteY2407" fmla="*/ 148534 h 1237129"/>
              <a:gd name="connsiteX2408" fmla="*/ 1645899 w 3751729"/>
              <a:gd name="connsiteY2408" fmla="*/ 134996 h 1237129"/>
              <a:gd name="connsiteX2409" fmla="*/ 1644176 w 3751729"/>
              <a:gd name="connsiteY2409" fmla="*/ 117273 h 1237129"/>
              <a:gd name="connsiteX2410" fmla="*/ 1651560 w 3751729"/>
              <a:gd name="connsiteY2410" fmla="*/ 109642 h 1237129"/>
              <a:gd name="connsiteX2411" fmla="*/ 1654023 w 3751729"/>
              <a:gd name="connsiteY2411" fmla="*/ 102997 h 1237129"/>
              <a:gd name="connsiteX2412" fmla="*/ 1655746 w 3751729"/>
              <a:gd name="connsiteY2412" fmla="*/ 93889 h 1237129"/>
              <a:gd name="connsiteX2413" fmla="*/ 1659931 w 3751729"/>
              <a:gd name="connsiteY2413" fmla="*/ 82074 h 1237129"/>
              <a:gd name="connsiteX2414" fmla="*/ 1663130 w 3751729"/>
              <a:gd name="connsiteY2414" fmla="*/ 79612 h 1237129"/>
              <a:gd name="connsiteX2415" fmla="*/ 1667315 w 3751729"/>
              <a:gd name="connsiteY2415" fmla="*/ 75428 h 1237129"/>
              <a:gd name="connsiteX2416" fmla="*/ 1671499 w 3751729"/>
              <a:gd name="connsiteY2416" fmla="*/ 70504 h 1237129"/>
              <a:gd name="connsiteX2417" fmla="*/ 1676422 w 3751729"/>
              <a:gd name="connsiteY2417" fmla="*/ 66319 h 1237129"/>
              <a:gd name="connsiteX2418" fmla="*/ 1678884 w 3751729"/>
              <a:gd name="connsiteY2418" fmla="*/ 68042 h 1237129"/>
              <a:gd name="connsiteX2419" fmla="*/ 1680607 w 3751729"/>
              <a:gd name="connsiteY2419" fmla="*/ 69765 h 1237129"/>
              <a:gd name="connsiteX2420" fmla="*/ 1682329 w 3751729"/>
              <a:gd name="connsiteY2420" fmla="*/ 70504 h 1237129"/>
              <a:gd name="connsiteX2421" fmla="*/ 1683068 w 3751729"/>
              <a:gd name="connsiteY2421" fmla="*/ 72227 h 1237129"/>
              <a:gd name="connsiteX2422" fmla="*/ 1686269 w 3751729"/>
              <a:gd name="connsiteY2422" fmla="*/ 69765 h 1237129"/>
              <a:gd name="connsiteX2423" fmla="*/ 1687991 w 3751729"/>
              <a:gd name="connsiteY2423" fmla="*/ 66319 h 1237129"/>
              <a:gd name="connsiteX2424" fmla="*/ 1688731 w 3751729"/>
              <a:gd name="connsiteY2424" fmla="*/ 63858 h 1237129"/>
              <a:gd name="connsiteX2425" fmla="*/ 1690453 w 3751729"/>
              <a:gd name="connsiteY2425" fmla="*/ 58935 h 1237129"/>
              <a:gd name="connsiteX2426" fmla="*/ 1692176 w 3751729"/>
              <a:gd name="connsiteY2426" fmla="*/ 56473 h 1237129"/>
              <a:gd name="connsiteX2427" fmla="*/ 1702022 w 3751729"/>
              <a:gd name="connsiteY2427" fmla="*/ 50566 h 1237129"/>
              <a:gd name="connsiteX2428" fmla="*/ 1710391 w 3751729"/>
              <a:gd name="connsiteY2428" fmla="*/ 47119 h 1237129"/>
              <a:gd name="connsiteX2429" fmla="*/ 1717775 w 3751729"/>
              <a:gd name="connsiteY2429" fmla="*/ 40473 h 1237129"/>
              <a:gd name="connsiteX2430" fmla="*/ 1715314 w 3751729"/>
              <a:gd name="connsiteY2430" fmla="*/ 38750 h 1237129"/>
              <a:gd name="connsiteX2431" fmla="*/ 1713592 w 3751729"/>
              <a:gd name="connsiteY2431" fmla="*/ 38750 h 1237129"/>
              <a:gd name="connsiteX2432" fmla="*/ 1711869 w 3751729"/>
              <a:gd name="connsiteY2432" fmla="*/ 38750 h 1237129"/>
              <a:gd name="connsiteX2433" fmla="*/ 1711869 w 3751729"/>
              <a:gd name="connsiteY2433" fmla="*/ 37027 h 1237129"/>
              <a:gd name="connsiteX2434" fmla="*/ 1711869 w 3751729"/>
              <a:gd name="connsiteY2434" fmla="*/ 34566 h 1237129"/>
              <a:gd name="connsiteX2435" fmla="*/ 1710146 w 3751729"/>
              <a:gd name="connsiteY2435" fmla="*/ 31120 h 1237129"/>
              <a:gd name="connsiteX2436" fmla="*/ 1720975 w 3751729"/>
              <a:gd name="connsiteY2436" fmla="*/ 17581 h 1237129"/>
              <a:gd name="connsiteX2437" fmla="*/ 1730820 w 3751729"/>
              <a:gd name="connsiteY2437" fmla="*/ 1582 h 1237129"/>
              <a:gd name="connsiteX2438" fmla="*/ 1335283 w 3751729"/>
              <a:gd name="connsiteY2438" fmla="*/ 0 h 1237129"/>
              <a:gd name="connsiteX2439" fmla="*/ 1355141 w 3751729"/>
              <a:gd name="connsiteY2439" fmla="*/ 0 h 1237129"/>
              <a:gd name="connsiteX2440" fmla="*/ 1357409 w 3751729"/>
              <a:gd name="connsiteY2440" fmla="*/ 4536 h 1237129"/>
              <a:gd name="connsiteX2441" fmla="*/ 1360609 w 3751729"/>
              <a:gd name="connsiteY2441" fmla="*/ 6998 h 1237129"/>
              <a:gd name="connsiteX2442" fmla="*/ 1363070 w 3751729"/>
              <a:gd name="connsiteY2442" fmla="*/ 12905 h 1237129"/>
              <a:gd name="connsiteX2443" fmla="*/ 1372178 w 3751729"/>
              <a:gd name="connsiteY2443" fmla="*/ 5521 h 1237129"/>
              <a:gd name="connsiteX2444" fmla="*/ 1380000 w 3751729"/>
              <a:gd name="connsiteY2444" fmla="*/ 0 h 1237129"/>
              <a:gd name="connsiteX2445" fmla="*/ 1394146 w 3751729"/>
              <a:gd name="connsiteY2445" fmla="*/ 0 h 1237129"/>
              <a:gd name="connsiteX2446" fmla="*/ 1396054 w 3751729"/>
              <a:gd name="connsiteY2446" fmla="*/ 1337 h 1237129"/>
              <a:gd name="connsiteX2447" fmla="*/ 1396054 w 3751729"/>
              <a:gd name="connsiteY2447" fmla="*/ 2812 h 1237129"/>
              <a:gd name="connsiteX2448" fmla="*/ 1397778 w 3751729"/>
              <a:gd name="connsiteY2448" fmla="*/ 2812 h 1237129"/>
              <a:gd name="connsiteX2449" fmla="*/ 1399501 w 3751729"/>
              <a:gd name="connsiteY2449" fmla="*/ 2812 h 1237129"/>
              <a:gd name="connsiteX2450" fmla="*/ 1401962 w 3751729"/>
              <a:gd name="connsiteY2450" fmla="*/ 2812 h 1237129"/>
              <a:gd name="connsiteX2451" fmla="*/ 1407235 w 3751729"/>
              <a:gd name="connsiteY2451" fmla="*/ 0 h 1237129"/>
              <a:gd name="connsiteX2452" fmla="*/ 1442331 w 3751729"/>
              <a:gd name="connsiteY2452" fmla="*/ 0 h 1237129"/>
              <a:gd name="connsiteX2453" fmla="*/ 1442331 w 3751729"/>
              <a:gd name="connsiteY2453" fmla="*/ 2812 h 1237129"/>
              <a:gd name="connsiteX2454" fmla="*/ 1442331 w 3751729"/>
              <a:gd name="connsiteY2454" fmla="*/ 6998 h 1237129"/>
              <a:gd name="connsiteX2455" fmla="*/ 1444054 w 3751729"/>
              <a:gd name="connsiteY2455" fmla="*/ 18813 h 1237129"/>
              <a:gd name="connsiteX2456" fmla="*/ 1445777 w 3751729"/>
              <a:gd name="connsiteY2456" fmla="*/ 32105 h 1237129"/>
              <a:gd name="connsiteX2457" fmla="*/ 1445777 w 3751729"/>
              <a:gd name="connsiteY2457" fmla="*/ 43674 h 1237129"/>
              <a:gd name="connsiteX2458" fmla="*/ 1429285 w 3751729"/>
              <a:gd name="connsiteY2458" fmla="*/ 52043 h 1237129"/>
              <a:gd name="connsiteX2459" fmla="*/ 1411070 w 3751729"/>
              <a:gd name="connsiteY2459" fmla="*/ 59428 h 1237129"/>
              <a:gd name="connsiteX2460" fmla="*/ 1393594 w 3751729"/>
              <a:gd name="connsiteY2460" fmla="*/ 67796 h 1237129"/>
              <a:gd name="connsiteX2461" fmla="*/ 1378824 w 3751729"/>
              <a:gd name="connsiteY2461" fmla="*/ 79612 h 1237129"/>
              <a:gd name="connsiteX2462" fmla="*/ 1374640 w 3751729"/>
              <a:gd name="connsiteY2462" fmla="*/ 77151 h 1237129"/>
              <a:gd name="connsiteX2463" fmla="*/ 1367255 w 3751729"/>
              <a:gd name="connsiteY2463" fmla="*/ 73705 h 1237129"/>
              <a:gd name="connsiteX2464" fmla="*/ 1357409 w 3751729"/>
              <a:gd name="connsiteY2464" fmla="*/ 67796 h 1237129"/>
              <a:gd name="connsiteX2465" fmla="*/ 1349040 w 3751729"/>
              <a:gd name="connsiteY2465" fmla="*/ 63612 h 1237129"/>
              <a:gd name="connsiteX2466" fmla="*/ 1341655 w 3751729"/>
              <a:gd name="connsiteY2466" fmla="*/ 59428 h 1237129"/>
              <a:gd name="connsiteX2467" fmla="*/ 1338209 w 3751729"/>
              <a:gd name="connsiteY2467" fmla="*/ 56228 h 1237129"/>
              <a:gd name="connsiteX2468" fmla="*/ 1339932 w 3751729"/>
              <a:gd name="connsiteY2468" fmla="*/ 55490 h 1237129"/>
              <a:gd name="connsiteX2469" fmla="*/ 1341655 w 3751729"/>
              <a:gd name="connsiteY2469" fmla="*/ 53766 h 1237129"/>
              <a:gd name="connsiteX2470" fmla="*/ 1343378 w 3751729"/>
              <a:gd name="connsiteY2470" fmla="*/ 52043 h 1237129"/>
              <a:gd name="connsiteX2471" fmla="*/ 1343378 w 3751729"/>
              <a:gd name="connsiteY2471" fmla="*/ 50320 h 1237129"/>
              <a:gd name="connsiteX2472" fmla="*/ 1344116 w 3751729"/>
              <a:gd name="connsiteY2472" fmla="*/ 47859 h 1237129"/>
              <a:gd name="connsiteX2473" fmla="*/ 1339932 w 3751729"/>
              <a:gd name="connsiteY2473" fmla="*/ 44658 h 1237129"/>
              <a:gd name="connsiteX2474" fmla="*/ 1334271 w 3751729"/>
              <a:gd name="connsiteY2474" fmla="*/ 43674 h 1237129"/>
              <a:gd name="connsiteX2475" fmla="*/ 1330086 w 3751729"/>
              <a:gd name="connsiteY2475" fmla="*/ 40474 h 1237129"/>
              <a:gd name="connsiteX2476" fmla="*/ 1325901 w 3751729"/>
              <a:gd name="connsiteY2476" fmla="*/ 38012 h 1237129"/>
              <a:gd name="connsiteX2477" fmla="*/ 1328363 w 3751729"/>
              <a:gd name="connsiteY2477" fmla="*/ 38012 h 1237129"/>
              <a:gd name="connsiteX2478" fmla="*/ 1331809 w 3751729"/>
              <a:gd name="connsiteY2478" fmla="*/ 34567 h 1237129"/>
              <a:gd name="connsiteX2479" fmla="*/ 1332547 w 3751729"/>
              <a:gd name="connsiteY2479" fmla="*/ 32844 h 1237129"/>
              <a:gd name="connsiteX2480" fmla="*/ 1334271 w 3751729"/>
              <a:gd name="connsiteY2480" fmla="*/ 32844 h 1237129"/>
              <a:gd name="connsiteX2481" fmla="*/ 1335747 w 3751729"/>
              <a:gd name="connsiteY2481" fmla="*/ 32105 h 1237129"/>
              <a:gd name="connsiteX2482" fmla="*/ 1339932 w 3751729"/>
              <a:gd name="connsiteY2482" fmla="*/ 32105 h 1237129"/>
              <a:gd name="connsiteX2483" fmla="*/ 1344116 w 3751729"/>
              <a:gd name="connsiteY2483" fmla="*/ 32105 h 1237129"/>
              <a:gd name="connsiteX2484" fmla="*/ 1344116 w 3751729"/>
              <a:gd name="connsiteY2484" fmla="*/ 21275 h 1237129"/>
              <a:gd name="connsiteX2485" fmla="*/ 1322701 w 3751729"/>
              <a:gd name="connsiteY2485" fmla="*/ 21275 h 1237129"/>
              <a:gd name="connsiteX2486" fmla="*/ 1318517 w 3751729"/>
              <a:gd name="connsiteY2486" fmla="*/ 12905 h 1237129"/>
              <a:gd name="connsiteX2487" fmla="*/ 1325901 w 3751729"/>
              <a:gd name="connsiteY2487" fmla="*/ 6998 h 1237129"/>
              <a:gd name="connsiteX2488" fmla="*/ 1331809 w 3751729"/>
              <a:gd name="connsiteY2488" fmla="*/ 1337 h 1237129"/>
              <a:gd name="connsiteX2489" fmla="*/ 994515 w 3751729"/>
              <a:gd name="connsiteY2489" fmla="*/ 0 h 1237129"/>
              <a:gd name="connsiteX2490" fmla="*/ 1240498 w 3751729"/>
              <a:gd name="connsiteY2490" fmla="*/ 0 h 1237129"/>
              <a:gd name="connsiteX2491" fmla="*/ 1238272 w 3751729"/>
              <a:gd name="connsiteY2491" fmla="*/ 6013 h 1237129"/>
              <a:gd name="connsiteX2492" fmla="*/ 1230887 w 3751729"/>
              <a:gd name="connsiteY2492" fmla="*/ 13644 h 1237129"/>
              <a:gd name="connsiteX2493" fmla="*/ 1218579 w 3751729"/>
              <a:gd name="connsiteY2493" fmla="*/ 22012 h 1237129"/>
              <a:gd name="connsiteX2494" fmla="*/ 1202088 w 3751729"/>
              <a:gd name="connsiteY2494" fmla="*/ 29643 h 1237129"/>
              <a:gd name="connsiteX2495" fmla="*/ 1188057 w 3751729"/>
              <a:gd name="connsiteY2495" fmla="*/ 35551 h 1237129"/>
              <a:gd name="connsiteX2496" fmla="*/ 1174765 w 3751729"/>
              <a:gd name="connsiteY2496" fmla="*/ 38997 h 1237129"/>
              <a:gd name="connsiteX2497" fmla="*/ 1174765 w 3751729"/>
              <a:gd name="connsiteY2497" fmla="*/ 35551 h 1237129"/>
              <a:gd name="connsiteX2498" fmla="*/ 1174765 w 3751729"/>
              <a:gd name="connsiteY2498" fmla="*/ 33089 h 1237129"/>
              <a:gd name="connsiteX2499" fmla="*/ 1173042 w 3751729"/>
              <a:gd name="connsiteY2499" fmla="*/ 33089 h 1237129"/>
              <a:gd name="connsiteX2500" fmla="*/ 1173042 w 3751729"/>
              <a:gd name="connsiteY2500" fmla="*/ 31367 h 1237129"/>
              <a:gd name="connsiteX2501" fmla="*/ 1172304 w 3751729"/>
              <a:gd name="connsiteY2501" fmla="*/ 29643 h 1237129"/>
              <a:gd name="connsiteX2502" fmla="*/ 1170580 w 3751729"/>
              <a:gd name="connsiteY2502" fmla="*/ 41458 h 1237129"/>
              <a:gd name="connsiteX2503" fmla="*/ 1166396 w 3751729"/>
              <a:gd name="connsiteY2503" fmla="*/ 51551 h 1237129"/>
              <a:gd name="connsiteX2504" fmla="*/ 1163196 w 3751729"/>
              <a:gd name="connsiteY2504" fmla="*/ 60658 h 1237129"/>
              <a:gd name="connsiteX2505" fmla="*/ 1159011 w 3751729"/>
              <a:gd name="connsiteY2505" fmla="*/ 69027 h 1237129"/>
              <a:gd name="connsiteX2506" fmla="*/ 1155811 w 3751729"/>
              <a:gd name="connsiteY2506" fmla="*/ 80844 h 1237129"/>
              <a:gd name="connsiteX2507" fmla="*/ 1159011 w 3751729"/>
              <a:gd name="connsiteY2507" fmla="*/ 82566 h 1237129"/>
              <a:gd name="connsiteX2508" fmla="*/ 1159011 w 3751729"/>
              <a:gd name="connsiteY2508" fmla="*/ 84289 h 1237129"/>
              <a:gd name="connsiteX2509" fmla="*/ 1160735 w 3751729"/>
              <a:gd name="connsiteY2509" fmla="*/ 84289 h 1237129"/>
              <a:gd name="connsiteX2510" fmla="*/ 1160735 w 3751729"/>
              <a:gd name="connsiteY2510" fmla="*/ 86012 h 1237129"/>
              <a:gd name="connsiteX2511" fmla="*/ 1159011 w 3751729"/>
              <a:gd name="connsiteY2511" fmla="*/ 86750 h 1237129"/>
              <a:gd name="connsiteX2512" fmla="*/ 1155811 w 3751729"/>
              <a:gd name="connsiteY2512" fmla="*/ 90197 h 1237129"/>
              <a:gd name="connsiteX2513" fmla="*/ 1153350 w 3751729"/>
              <a:gd name="connsiteY2513" fmla="*/ 91920 h 1237129"/>
              <a:gd name="connsiteX2514" fmla="*/ 1150889 w 3751729"/>
              <a:gd name="connsiteY2514" fmla="*/ 94381 h 1237129"/>
              <a:gd name="connsiteX2515" fmla="*/ 1147689 w 3751729"/>
              <a:gd name="connsiteY2515" fmla="*/ 96104 h 1237129"/>
              <a:gd name="connsiteX2516" fmla="*/ 1145965 w 3751729"/>
              <a:gd name="connsiteY2516" fmla="*/ 98566 h 1237129"/>
              <a:gd name="connsiteX2517" fmla="*/ 1143504 w 3751729"/>
              <a:gd name="connsiteY2517" fmla="*/ 102750 h 1237129"/>
              <a:gd name="connsiteX2518" fmla="*/ 1137597 w 3751729"/>
              <a:gd name="connsiteY2518" fmla="*/ 119489 h 1237129"/>
              <a:gd name="connsiteX2519" fmla="*/ 1133412 w 3751729"/>
              <a:gd name="connsiteY2519" fmla="*/ 136966 h 1237129"/>
              <a:gd name="connsiteX2520" fmla="*/ 1131688 w 3751729"/>
              <a:gd name="connsiteY2520" fmla="*/ 157150 h 1237129"/>
              <a:gd name="connsiteX2521" fmla="*/ 1128489 w 3751729"/>
              <a:gd name="connsiteY2521" fmla="*/ 176350 h 1237129"/>
              <a:gd name="connsiteX2522" fmla="*/ 1124305 w 3751729"/>
              <a:gd name="connsiteY2522" fmla="*/ 193826 h 1237129"/>
              <a:gd name="connsiteX2523" fmla="*/ 1121842 w 3751729"/>
              <a:gd name="connsiteY2523" fmla="*/ 192104 h 1237129"/>
              <a:gd name="connsiteX2524" fmla="*/ 1120119 w 3751729"/>
              <a:gd name="connsiteY2524" fmla="*/ 192104 h 1237129"/>
              <a:gd name="connsiteX2525" fmla="*/ 1120119 w 3751729"/>
              <a:gd name="connsiteY2525" fmla="*/ 190380 h 1237129"/>
              <a:gd name="connsiteX2526" fmla="*/ 1118396 w 3751729"/>
              <a:gd name="connsiteY2526" fmla="*/ 190380 h 1237129"/>
              <a:gd name="connsiteX2527" fmla="*/ 1114212 w 3751729"/>
              <a:gd name="connsiteY2527" fmla="*/ 187919 h 1237129"/>
              <a:gd name="connsiteX2528" fmla="*/ 1106828 w 3751729"/>
              <a:gd name="connsiteY2528" fmla="*/ 182012 h 1237129"/>
              <a:gd name="connsiteX2529" fmla="*/ 1095258 w 3751729"/>
              <a:gd name="connsiteY2529" fmla="*/ 172903 h 1237129"/>
              <a:gd name="connsiteX2530" fmla="*/ 1081966 w 3751729"/>
              <a:gd name="connsiteY2530" fmla="*/ 165273 h 1237129"/>
              <a:gd name="connsiteX2531" fmla="*/ 1069658 w 3751729"/>
              <a:gd name="connsiteY2531" fmla="*/ 156904 h 1237129"/>
              <a:gd name="connsiteX2532" fmla="*/ 1059813 w 3751729"/>
              <a:gd name="connsiteY2532" fmla="*/ 149273 h 1237129"/>
              <a:gd name="connsiteX2533" fmla="*/ 1050706 w 3751729"/>
              <a:gd name="connsiteY2533" fmla="*/ 145088 h 1237129"/>
              <a:gd name="connsiteX2534" fmla="*/ 1048243 w 3751729"/>
              <a:gd name="connsiteY2534" fmla="*/ 143366 h 1237129"/>
              <a:gd name="connsiteX2535" fmla="*/ 1045043 w 3751729"/>
              <a:gd name="connsiteY2535" fmla="*/ 111612 h 1237129"/>
              <a:gd name="connsiteX2536" fmla="*/ 1043320 w 3751729"/>
              <a:gd name="connsiteY2536" fmla="*/ 108166 h 1237129"/>
              <a:gd name="connsiteX2537" fmla="*/ 1039136 w 3751729"/>
              <a:gd name="connsiteY2537" fmla="*/ 105705 h 1237129"/>
              <a:gd name="connsiteX2538" fmla="*/ 1036674 w 3751729"/>
              <a:gd name="connsiteY2538" fmla="*/ 103982 h 1237129"/>
              <a:gd name="connsiteX2539" fmla="*/ 1031751 w 3751729"/>
              <a:gd name="connsiteY2539" fmla="*/ 100535 h 1237129"/>
              <a:gd name="connsiteX2540" fmla="*/ 1029290 w 3751729"/>
              <a:gd name="connsiteY2540" fmla="*/ 98074 h 1237129"/>
              <a:gd name="connsiteX2541" fmla="*/ 1031751 w 3751729"/>
              <a:gd name="connsiteY2541" fmla="*/ 96351 h 1237129"/>
              <a:gd name="connsiteX2542" fmla="*/ 1031751 w 3751729"/>
              <a:gd name="connsiteY2542" fmla="*/ 94628 h 1237129"/>
              <a:gd name="connsiteX2543" fmla="*/ 1033474 w 3751729"/>
              <a:gd name="connsiteY2543" fmla="*/ 93889 h 1237129"/>
              <a:gd name="connsiteX2544" fmla="*/ 1035197 w 3751729"/>
              <a:gd name="connsiteY2544" fmla="*/ 90443 h 1237129"/>
              <a:gd name="connsiteX2545" fmla="*/ 1036919 w 3751729"/>
              <a:gd name="connsiteY2545" fmla="*/ 87982 h 1237129"/>
              <a:gd name="connsiteX2546" fmla="*/ 1029536 w 3751729"/>
              <a:gd name="connsiteY2546" fmla="*/ 87982 h 1237129"/>
              <a:gd name="connsiteX2547" fmla="*/ 1025351 w 3751729"/>
              <a:gd name="connsiteY2547" fmla="*/ 87982 h 1237129"/>
              <a:gd name="connsiteX2548" fmla="*/ 1022152 w 3751729"/>
              <a:gd name="connsiteY2548" fmla="*/ 87982 h 1237129"/>
              <a:gd name="connsiteX2549" fmla="*/ 1020428 w 3751729"/>
              <a:gd name="connsiteY2549" fmla="*/ 86258 h 1237129"/>
              <a:gd name="connsiteX2550" fmla="*/ 1019689 w 3751729"/>
              <a:gd name="connsiteY2550" fmla="*/ 83797 h 1237129"/>
              <a:gd name="connsiteX2551" fmla="*/ 1016489 w 3751729"/>
              <a:gd name="connsiteY2551" fmla="*/ 78873 h 1237129"/>
              <a:gd name="connsiteX2552" fmla="*/ 1014766 w 3751729"/>
              <a:gd name="connsiteY2552" fmla="*/ 76413 h 1237129"/>
              <a:gd name="connsiteX2553" fmla="*/ 1014766 w 3751729"/>
              <a:gd name="connsiteY2553" fmla="*/ 72966 h 1237129"/>
              <a:gd name="connsiteX2554" fmla="*/ 1014766 w 3751729"/>
              <a:gd name="connsiteY2554" fmla="*/ 72227 h 1237129"/>
              <a:gd name="connsiteX2555" fmla="*/ 1014766 w 3751729"/>
              <a:gd name="connsiteY2555" fmla="*/ 68782 h 1237129"/>
              <a:gd name="connsiteX2556" fmla="*/ 1016489 w 3751729"/>
              <a:gd name="connsiteY2556" fmla="*/ 66320 h 1237129"/>
              <a:gd name="connsiteX2557" fmla="*/ 1016489 w 3751729"/>
              <a:gd name="connsiteY2557" fmla="*/ 62874 h 1237129"/>
              <a:gd name="connsiteX2558" fmla="*/ 1008119 w 3751729"/>
              <a:gd name="connsiteY2558" fmla="*/ 62874 h 1237129"/>
              <a:gd name="connsiteX2559" fmla="*/ 1008119 w 3751729"/>
              <a:gd name="connsiteY2559" fmla="*/ 58690 h 1237129"/>
              <a:gd name="connsiteX2560" fmla="*/ 1008859 w 3751729"/>
              <a:gd name="connsiteY2560" fmla="*/ 54505 h 1237129"/>
              <a:gd name="connsiteX2561" fmla="*/ 1010582 w 3751729"/>
              <a:gd name="connsiteY2561" fmla="*/ 52782 h 1237129"/>
              <a:gd name="connsiteX2562" fmla="*/ 1010582 w 3751729"/>
              <a:gd name="connsiteY2562" fmla="*/ 49828 h 1237129"/>
              <a:gd name="connsiteX2563" fmla="*/ 1012305 w 3751729"/>
              <a:gd name="connsiteY2563" fmla="*/ 47366 h 1237129"/>
              <a:gd name="connsiteX2564" fmla="*/ 1014028 w 3751729"/>
              <a:gd name="connsiteY2564" fmla="*/ 43181 h 1237129"/>
              <a:gd name="connsiteX2565" fmla="*/ 1009104 w 3751729"/>
              <a:gd name="connsiteY2565" fmla="*/ 43181 h 1237129"/>
              <a:gd name="connsiteX2566" fmla="*/ 1004182 w 3751729"/>
              <a:gd name="connsiteY2566" fmla="*/ 43181 h 1237129"/>
              <a:gd name="connsiteX2567" fmla="*/ 1001720 w 3751729"/>
              <a:gd name="connsiteY2567" fmla="*/ 41458 h 1237129"/>
              <a:gd name="connsiteX2568" fmla="*/ 996797 w 3751729"/>
              <a:gd name="connsiteY2568" fmla="*/ 39735 h 1237129"/>
              <a:gd name="connsiteX2569" fmla="*/ 996059 w 3751729"/>
              <a:gd name="connsiteY2569" fmla="*/ 18075 h 1237129"/>
              <a:gd name="connsiteX2570" fmla="*/ 864598 w 3751729"/>
              <a:gd name="connsiteY2570" fmla="*/ 0 h 1237129"/>
              <a:gd name="connsiteX2571" fmla="*/ 901871 w 3751729"/>
              <a:gd name="connsiteY2571" fmla="*/ 0 h 1237129"/>
              <a:gd name="connsiteX2572" fmla="*/ 899566 w 3751729"/>
              <a:gd name="connsiteY2572" fmla="*/ 15368 h 1237129"/>
              <a:gd name="connsiteX2573" fmla="*/ 895383 w 3751729"/>
              <a:gd name="connsiteY2573" fmla="*/ 17090 h 1237129"/>
              <a:gd name="connsiteX2574" fmla="*/ 890459 w 3751729"/>
              <a:gd name="connsiteY2574" fmla="*/ 17090 h 1237129"/>
              <a:gd name="connsiteX2575" fmla="*/ 886521 w 3751729"/>
              <a:gd name="connsiteY2575" fmla="*/ 17829 h 1237129"/>
              <a:gd name="connsiteX2576" fmla="*/ 880613 w 3751729"/>
              <a:gd name="connsiteY2576" fmla="*/ 17829 h 1237129"/>
              <a:gd name="connsiteX2577" fmla="*/ 874951 w 3751729"/>
              <a:gd name="connsiteY2577" fmla="*/ 11183 h 1237129"/>
              <a:gd name="connsiteX2578" fmla="*/ 867321 w 3751729"/>
              <a:gd name="connsiteY2578" fmla="*/ 3552 h 1237129"/>
              <a:gd name="connsiteX2579" fmla="*/ 769123 w 3751729"/>
              <a:gd name="connsiteY2579" fmla="*/ 0 h 1237129"/>
              <a:gd name="connsiteX2580" fmla="*/ 842019 w 3751729"/>
              <a:gd name="connsiteY2580" fmla="*/ 0 h 1237129"/>
              <a:gd name="connsiteX2581" fmla="*/ 845906 w 3751729"/>
              <a:gd name="connsiteY2581" fmla="*/ 11921 h 1237129"/>
              <a:gd name="connsiteX2582" fmla="*/ 851813 w 3751729"/>
              <a:gd name="connsiteY2582" fmla="*/ 37275 h 1237129"/>
              <a:gd name="connsiteX2583" fmla="*/ 861659 w 3751729"/>
              <a:gd name="connsiteY2583" fmla="*/ 37275 h 1237129"/>
              <a:gd name="connsiteX2584" fmla="*/ 867321 w 3751729"/>
              <a:gd name="connsiteY2584" fmla="*/ 48845 h 1237129"/>
              <a:gd name="connsiteX2585" fmla="*/ 872244 w 3751729"/>
              <a:gd name="connsiteY2585" fmla="*/ 60660 h 1237129"/>
              <a:gd name="connsiteX2586" fmla="*/ 873228 w 3751729"/>
              <a:gd name="connsiteY2586" fmla="*/ 76660 h 1237129"/>
              <a:gd name="connsiteX2587" fmla="*/ 872244 w 3751729"/>
              <a:gd name="connsiteY2587" fmla="*/ 78383 h 1237129"/>
              <a:gd name="connsiteX2588" fmla="*/ 870767 w 3751729"/>
              <a:gd name="connsiteY2588" fmla="*/ 79859 h 1237129"/>
              <a:gd name="connsiteX2589" fmla="*/ 870767 w 3751729"/>
              <a:gd name="connsiteY2589" fmla="*/ 81582 h 1237129"/>
              <a:gd name="connsiteX2590" fmla="*/ 869044 w 3751729"/>
              <a:gd name="connsiteY2590" fmla="*/ 82567 h 1237129"/>
              <a:gd name="connsiteX2591" fmla="*/ 867321 w 3751729"/>
              <a:gd name="connsiteY2591" fmla="*/ 84290 h 1237129"/>
              <a:gd name="connsiteX2592" fmla="*/ 864858 w 3751729"/>
              <a:gd name="connsiteY2592" fmla="*/ 85767 h 1237129"/>
              <a:gd name="connsiteX2593" fmla="*/ 859198 w 3751729"/>
              <a:gd name="connsiteY2593" fmla="*/ 82567 h 1237129"/>
              <a:gd name="connsiteX2594" fmla="*/ 851813 w 3751729"/>
              <a:gd name="connsiteY2594" fmla="*/ 78383 h 1237129"/>
              <a:gd name="connsiteX2595" fmla="*/ 844182 w 3751729"/>
              <a:gd name="connsiteY2595" fmla="*/ 74198 h 1237129"/>
              <a:gd name="connsiteX2596" fmla="*/ 838521 w 3751729"/>
              <a:gd name="connsiteY2596" fmla="*/ 70752 h 1237129"/>
              <a:gd name="connsiteX2597" fmla="*/ 836060 w 3751729"/>
              <a:gd name="connsiteY2597" fmla="*/ 70013 h 1237129"/>
              <a:gd name="connsiteX2598" fmla="*/ 833598 w 3751729"/>
              <a:gd name="connsiteY2598" fmla="*/ 70013 h 1237129"/>
              <a:gd name="connsiteX2599" fmla="*/ 841721 w 3751729"/>
              <a:gd name="connsiteY2599" fmla="*/ 81582 h 1237129"/>
              <a:gd name="connsiteX2600" fmla="*/ 849352 w 3751729"/>
              <a:gd name="connsiteY2600" fmla="*/ 91675 h 1237129"/>
              <a:gd name="connsiteX2601" fmla="*/ 855013 w 3751729"/>
              <a:gd name="connsiteY2601" fmla="*/ 104229 h 1237129"/>
              <a:gd name="connsiteX2602" fmla="*/ 851813 w 3751729"/>
              <a:gd name="connsiteY2602" fmla="*/ 104229 h 1237129"/>
              <a:gd name="connsiteX2603" fmla="*/ 841721 w 3751729"/>
              <a:gd name="connsiteY2603" fmla="*/ 100044 h 1237129"/>
              <a:gd name="connsiteX2604" fmla="*/ 828674 w 3751729"/>
              <a:gd name="connsiteY2604" fmla="*/ 97582 h 1237129"/>
              <a:gd name="connsiteX2605" fmla="*/ 814644 w 3751729"/>
              <a:gd name="connsiteY2605" fmla="*/ 94136 h 1237129"/>
              <a:gd name="connsiteX2606" fmla="*/ 804551 w 3751729"/>
              <a:gd name="connsiteY2606" fmla="*/ 88475 h 1237129"/>
              <a:gd name="connsiteX2607" fmla="*/ 795689 w 3751729"/>
              <a:gd name="connsiteY2607" fmla="*/ 79859 h 1237129"/>
              <a:gd name="connsiteX2608" fmla="*/ 789782 w 3751729"/>
              <a:gd name="connsiteY2608" fmla="*/ 66567 h 1237129"/>
              <a:gd name="connsiteX2609" fmla="*/ 784121 w 3751729"/>
              <a:gd name="connsiteY2609" fmla="*/ 54752 h 1237129"/>
              <a:gd name="connsiteX2610" fmla="*/ 775751 w 3751729"/>
              <a:gd name="connsiteY2610" fmla="*/ 43183 h 1237129"/>
              <a:gd name="connsiteX2611" fmla="*/ 766644 w 3751729"/>
              <a:gd name="connsiteY2611" fmla="*/ 34568 h 1237129"/>
              <a:gd name="connsiteX2612" fmla="*/ 754336 w 3751729"/>
              <a:gd name="connsiteY2612" fmla="*/ 41460 h 1237129"/>
              <a:gd name="connsiteX2613" fmla="*/ 739321 w 3751729"/>
              <a:gd name="connsiteY2613" fmla="*/ 46383 h 1237129"/>
              <a:gd name="connsiteX2614" fmla="*/ 722090 w 3751729"/>
              <a:gd name="connsiteY2614" fmla="*/ 47368 h 1237129"/>
              <a:gd name="connsiteX2615" fmla="*/ 720368 w 3751729"/>
              <a:gd name="connsiteY2615" fmla="*/ 43183 h 1237129"/>
              <a:gd name="connsiteX2616" fmla="*/ 719628 w 3751729"/>
              <a:gd name="connsiteY2616" fmla="*/ 38998 h 1237129"/>
              <a:gd name="connsiteX2617" fmla="*/ 719628 w 3751729"/>
              <a:gd name="connsiteY2617" fmla="*/ 34568 h 1237129"/>
              <a:gd name="connsiteX2618" fmla="*/ 719628 w 3751729"/>
              <a:gd name="connsiteY2618" fmla="*/ 28906 h 1237129"/>
              <a:gd name="connsiteX2619" fmla="*/ 731937 w 3751729"/>
              <a:gd name="connsiteY2619" fmla="*/ 23737 h 1237129"/>
              <a:gd name="connsiteX2620" fmla="*/ 748428 w 3751729"/>
              <a:gd name="connsiteY2620" fmla="*/ 19552 h 1237129"/>
              <a:gd name="connsiteX2621" fmla="*/ 762460 w 3751729"/>
              <a:gd name="connsiteY2621" fmla="*/ 15368 h 1237129"/>
              <a:gd name="connsiteX2622" fmla="*/ 766644 w 3751729"/>
              <a:gd name="connsiteY2622" fmla="*/ 6998 h 1237129"/>
              <a:gd name="connsiteX2623" fmla="*/ 0 w 3751729"/>
              <a:gd name="connsiteY2623" fmla="*/ 0 h 1237129"/>
              <a:gd name="connsiteX2624" fmla="*/ 611304 w 3751729"/>
              <a:gd name="connsiteY2624" fmla="*/ 0 h 1237129"/>
              <a:gd name="connsiteX2625" fmla="*/ 611815 w 3751729"/>
              <a:gd name="connsiteY2625" fmla="*/ 1336 h 1237129"/>
              <a:gd name="connsiteX2626" fmla="*/ 610093 w 3751729"/>
              <a:gd name="connsiteY2626" fmla="*/ 10444 h 1237129"/>
              <a:gd name="connsiteX2627" fmla="*/ 608368 w 3751729"/>
              <a:gd name="connsiteY2627" fmla="*/ 24721 h 1237129"/>
              <a:gd name="connsiteX2628" fmla="*/ 600984 w 3751729"/>
              <a:gd name="connsiteY2628" fmla="*/ 24721 h 1237129"/>
              <a:gd name="connsiteX2629" fmla="*/ 591138 w 3751729"/>
              <a:gd name="connsiteY2629" fmla="*/ 18813 h 1237129"/>
              <a:gd name="connsiteX2630" fmla="*/ 577108 w 3751729"/>
              <a:gd name="connsiteY2630" fmla="*/ 15367 h 1237129"/>
              <a:gd name="connsiteX2631" fmla="*/ 577108 w 3751729"/>
              <a:gd name="connsiteY2631" fmla="*/ 18567 h 1237129"/>
              <a:gd name="connsiteX2632" fmla="*/ 579569 w 3751729"/>
              <a:gd name="connsiteY2632" fmla="*/ 18567 h 1237129"/>
              <a:gd name="connsiteX2633" fmla="*/ 582769 w 3751729"/>
              <a:gd name="connsiteY2633" fmla="*/ 21028 h 1237129"/>
              <a:gd name="connsiteX2634" fmla="*/ 584492 w 3751729"/>
              <a:gd name="connsiteY2634" fmla="*/ 22751 h 1237129"/>
              <a:gd name="connsiteX2635" fmla="*/ 585230 w 3751729"/>
              <a:gd name="connsiteY2635" fmla="*/ 24474 h 1237129"/>
              <a:gd name="connsiteX2636" fmla="*/ 586954 w 3751729"/>
              <a:gd name="connsiteY2636" fmla="*/ 26197 h 1237129"/>
              <a:gd name="connsiteX2637" fmla="*/ 588677 w 3751729"/>
              <a:gd name="connsiteY2637" fmla="*/ 30382 h 1237129"/>
              <a:gd name="connsiteX2638" fmla="*/ 588677 w 3751729"/>
              <a:gd name="connsiteY2638" fmla="*/ 34567 h 1237129"/>
              <a:gd name="connsiteX2639" fmla="*/ 586954 w 3751729"/>
              <a:gd name="connsiteY2639" fmla="*/ 38012 h 1237129"/>
              <a:gd name="connsiteX2640" fmla="*/ 584492 w 3751729"/>
              <a:gd name="connsiteY2640" fmla="*/ 40474 h 1237129"/>
              <a:gd name="connsiteX2641" fmla="*/ 582769 w 3751729"/>
              <a:gd name="connsiteY2641" fmla="*/ 43921 h 1237129"/>
              <a:gd name="connsiteX2642" fmla="*/ 575384 w 3751729"/>
              <a:gd name="connsiteY2642" fmla="*/ 49828 h 1237129"/>
              <a:gd name="connsiteX2643" fmla="*/ 569722 w 3751729"/>
              <a:gd name="connsiteY2643" fmla="*/ 55735 h 1237129"/>
              <a:gd name="connsiteX2644" fmla="*/ 567262 w 3751729"/>
              <a:gd name="connsiteY2644" fmla="*/ 62381 h 1237129"/>
              <a:gd name="connsiteX2645" fmla="*/ 564061 w 3751729"/>
              <a:gd name="connsiteY2645" fmla="*/ 73213 h 1237129"/>
              <a:gd name="connsiteX2646" fmla="*/ 558400 w 3751729"/>
              <a:gd name="connsiteY2646" fmla="*/ 73213 h 1237129"/>
              <a:gd name="connsiteX2647" fmla="*/ 554215 w 3751729"/>
              <a:gd name="connsiteY2647" fmla="*/ 71489 h 1237129"/>
              <a:gd name="connsiteX2648" fmla="*/ 550031 w 3751729"/>
              <a:gd name="connsiteY2648" fmla="*/ 69766 h 1237129"/>
              <a:gd name="connsiteX2649" fmla="*/ 546830 w 3751729"/>
              <a:gd name="connsiteY2649" fmla="*/ 68043 h 1237129"/>
              <a:gd name="connsiteX2650" fmla="*/ 541169 w 3751729"/>
              <a:gd name="connsiteY2650" fmla="*/ 67305 h 1237129"/>
              <a:gd name="connsiteX2651" fmla="*/ 541169 w 3751729"/>
              <a:gd name="connsiteY2651" fmla="*/ 69766 h 1237129"/>
              <a:gd name="connsiteX2652" fmla="*/ 548554 w 3751729"/>
              <a:gd name="connsiteY2652" fmla="*/ 69766 h 1237129"/>
              <a:gd name="connsiteX2653" fmla="*/ 550277 w 3751729"/>
              <a:gd name="connsiteY2653" fmla="*/ 73213 h 1237129"/>
              <a:gd name="connsiteX2654" fmla="*/ 551015 w 3751729"/>
              <a:gd name="connsiteY2654" fmla="*/ 75673 h 1237129"/>
              <a:gd name="connsiteX2655" fmla="*/ 552739 w 3751729"/>
              <a:gd name="connsiteY2655" fmla="*/ 77397 h 1237129"/>
              <a:gd name="connsiteX2656" fmla="*/ 552739 w 3751729"/>
              <a:gd name="connsiteY2656" fmla="*/ 79858 h 1237129"/>
              <a:gd name="connsiteX2657" fmla="*/ 554461 w 3751729"/>
              <a:gd name="connsiteY2657" fmla="*/ 84782 h 1237129"/>
              <a:gd name="connsiteX2658" fmla="*/ 554461 w 3751729"/>
              <a:gd name="connsiteY2658" fmla="*/ 88966 h 1237129"/>
              <a:gd name="connsiteX2659" fmla="*/ 541169 w 3751729"/>
              <a:gd name="connsiteY2659" fmla="*/ 93151 h 1237129"/>
              <a:gd name="connsiteX2660" fmla="*/ 529601 w 3751729"/>
              <a:gd name="connsiteY2660" fmla="*/ 100535 h 1237129"/>
              <a:gd name="connsiteX2661" fmla="*/ 522216 w 3751729"/>
              <a:gd name="connsiteY2661" fmla="*/ 108904 h 1237129"/>
              <a:gd name="connsiteX2662" fmla="*/ 517292 w 3751729"/>
              <a:gd name="connsiteY2662" fmla="*/ 122196 h 1237129"/>
              <a:gd name="connsiteX2663" fmla="*/ 517292 w 3751729"/>
              <a:gd name="connsiteY2663" fmla="*/ 141397 h 1237129"/>
              <a:gd name="connsiteX2664" fmla="*/ 522216 w 3751729"/>
              <a:gd name="connsiteY2664" fmla="*/ 152966 h 1237129"/>
              <a:gd name="connsiteX2665" fmla="*/ 525416 w 3751729"/>
              <a:gd name="connsiteY2665" fmla="*/ 168719 h 1237129"/>
              <a:gd name="connsiteX2666" fmla="*/ 525416 w 3751729"/>
              <a:gd name="connsiteY2666" fmla="*/ 184473 h 1237129"/>
              <a:gd name="connsiteX2667" fmla="*/ 541169 w 3751729"/>
              <a:gd name="connsiteY2667" fmla="*/ 184473 h 1237129"/>
              <a:gd name="connsiteX2668" fmla="*/ 541169 w 3751729"/>
              <a:gd name="connsiteY2668" fmla="*/ 191857 h 1237129"/>
              <a:gd name="connsiteX2669" fmla="*/ 544369 w 3751729"/>
              <a:gd name="connsiteY2669" fmla="*/ 194320 h 1237129"/>
              <a:gd name="connsiteX2670" fmla="*/ 544369 w 3751729"/>
              <a:gd name="connsiteY2670" fmla="*/ 197765 h 1237129"/>
              <a:gd name="connsiteX2671" fmla="*/ 544369 w 3751729"/>
              <a:gd name="connsiteY2671" fmla="*/ 200227 h 1237129"/>
              <a:gd name="connsiteX2672" fmla="*/ 544369 w 3751729"/>
              <a:gd name="connsiteY2672" fmla="*/ 201950 h 1237129"/>
              <a:gd name="connsiteX2673" fmla="*/ 544369 w 3751729"/>
              <a:gd name="connsiteY2673" fmla="*/ 203673 h 1237129"/>
              <a:gd name="connsiteX2674" fmla="*/ 544369 w 3751729"/>
              <a:gd name="connsiteY2674" fmla="*/ 204411 h 1237129"/>
              <a:gd name="connsiteX2675" fmla="*/ 545108 w 3751729"/>
              <a:gd name="connsiteY2675" fmla="*/ 206134 h 1237129"/>
              <a:gd name="connsiteX2676" fmla="*/ 550031 w 3751729"/>
              <a:gd name="connsiteY2676" fmla="*/ 206134 h 1237129"/>
              <a:gd name="connsiteX2677" fmla="*/ 554215 w 3751729"/>
              <a:gd name="connsiteY2677" fmla="*/ 207857 h 1237129"/>
              <a:gd name="connsiteX2678" fmla="*/ 564061 w 3751729"/>
              <a:gd name="connsiteY2678" fmla="*/ 206134 h 1237129"/>
              <a:gd name="connsiteX2679" fmla="*/ 573908 w 3751729"/>
              <a:gd name="connsiteY2679" fmla="*/ 210319 h 1237129"/>
              <a:gd name="connsiteX2680" fmla="*/ 584739 w 3751729"/>
              <a:gd name="connsiteY2680" fmla="*/ 217703 h 1237129"/>
              <a:gd name="connsiteX2681" fmla="*/ 594584 w 3751729"/>
              <a:gd name="connsiteY2681" fmla="*/ 227795 h 1237129"/>
              <a:gd name="connsiteX2682" fmla="*/ 602954 w 3751729"/>
              <a:gd name="connsiteY2682" fmla="*/ 236903 h 1237129"/>
              <a:gd name="connsiteX2683" fmla="*/ 613292 w 3751729"/>
              <a:gd name="connsiteY2683" fmla="*/ 242072 h 1237129"/>
              <a:gd name="connsiteX2684" fmla="*/ 617476 w 3751729"/>
              <a:gd name="connsiteY2684" fmla="*/ 243795 h 1237129"/>
              <a:gd name="connsiteX2685" fmla="*/ 619938 w 3751729"/>
              <a:gd name="connsiteY2685" fmla="*/ 244534 h 1237129"/>
              <a:gd name="connsiteX2686" fmla="*/ 623138 w 3751729"/>
              <a:gd name="connsiteY2686" fmla="*/ 243795 h 1237129"/>
              <a:gd name="connsiteX2687" fmla="*/ 625600 w 3751729"/>
              <a:gd name="connsiteY2687" fmla="*/ 243795 h 1237129"/>
              <a:gd name="connsiteX2688" fmla="*/ 627323 w 3751729"/>
              <a:gd name="connsiteY2688" fmla="*/ 242072 h 1237129"/>
              <a:gd name="connsiteX2689" fmla="*/ 630523 w 3751729"/>
              <a:gd name="connsiteY2689" fmla="*/ 240349 h 1237129"/>
              <a:gd name="connsiteX2690" fmla="*/ 631261 w 3751729"/>
              <a:gd name="connsiteY2690" fmla="*/ 238626 h 1237129"/>
              <a:gd name="connsiteX2691" fmla="*/ 634462 w 3751729"/>
              <a:gd name="connsiteY2691" fmla="*/ 238626 h 1237129"/>
              <a:gd name="connsiteX2692" fmla="*/ 657600 w 3751729"/>
              <a:gd name="connsiteY2692" fmla="*/ 244534 h 1237129"/>
              <a:gd name="connsiteX2693" fmla="*/ 660060 w 3751729"/>
              <a:gd name="connsiteY2693" fmla="*/ 260288 h 1237129"/>
              <a:gd name="connsiteX2694" fmla="*/ 663261 w 3751729"/>
              <a:gd name="connsiteY2694" fmla="*/ 271857 h 1237129"/>
              <a:gd name="connsiteX2695" fmla="*/ 664984 w 3751729"/>
              <a:gd name="connsiteY2695" fmla="*/ 280965 h 1237129"/>
              <a:gd name="connsiteX2696" fmla="*/ 665722 w 3751729"/>
              <a:gd name="connsiteY2696" fmla="*/ 289334 h 1237129"/>
              <a:gd name="connsiteX2697" fmla="*/ 668922 w 3751729"/>
              <a:gd name="connsiteY2697" fmla="*/ 298441 h 1237129"/>
              <a:gd name="connsiteX2698" fmla="*/ 676307 w 3751729"/>
              <a:gd name="connsiteY2698" fmla="*/ 308534 h 1237129"/>
              <a:gd name="connsiteX2699" fmla="*/ 684676 w 3751729"/>
              <a:gd name="connsiteY2699" fmla="*/ 321827 h 1237129"/>
              <a:gd name="connsiteX2700" fmla="*/ 687138 w 3751729"/>
              <a:gd name="connsiteY2700" fmla="*/ 320103 h 1237129"/>
              <a:gd name="connsiteX2701" fmla="*/ 688860 w 3751729"/>
              <a:gd name="connsiteY2701" fmla="*/ 320103 h 1237129"/>
              <a:gd name="connsiteX2702" fmla="*/ 690584 w 3751729"/>
              <a:gd name="connsiteY2702" fmla="*/ 318380 h 1237129"/>
              <a:gd name="connsiteX2703" fmla="*/ 692306 w 3751729"/>
              <a:gd name="connsiteY2703" fmla="*/ 318380 h 1237129"/>
              <a:gd name="connsiteX2704" fmla="*/ 694769 w 3751729"/>
              <a:gd name="connsiteY2704" fmla="*/ 317642 h 1237129"/>
              <a:gd name="connsiteX2705" fmla="*/ 696491 w 3751729"/>
              <a:gd name="connsiteY2705" fmla="*/ 317642 h 1237129"/>
              <a:gd name="connsiteX2706" fmla="*/ 696491 w 3751729"/>
              <a:gd name="connsiteY2706" fmla="*/ 315918 h 1237129"/>
              <a:gd name="connsiteX2707" fmla="*/ 696491 w 3751729"/>
              <a:gd name="connsiteY2707" fmla="*/ 314196 h 1237129"/>
              <a:gd name="connsiteX2708" fmla="*/ 698215 w 3751729"/>
              <a:gd name="connsiteY2708" fmla="*/ 311734 h 1237129"/>
              <a:gd name="connsiteX2709" fmla="*/ 698215 w 3751729"/>
              <a:gd name="connsiteY2709" fmla="*/ 302626 h 1237129"/>
              <a:gd name="connsiteX2710" fmla="*/ 696491 w 3751729"/>
              <a:gd name="connsiteY2710" fmla="*/ 291057 h 1237129"/>
              <a:gd name="connsiteX2711" fmla="*/ 693291 w 3751729"/>
              <a:gd name="connsiteY2711" fmla="*/ 276780 h 1237129"/>
              <a:gd name="connsiteX2712" fmla="*/ 689107 w 3751729"/>
              <a:gd name="connsiteY2712" fmla="*/ 263488 h 1237129"/>
              <a:gd name="connsiteX2713" fmla="*/ 700676 w 3751729"/>
              <a:gd name="connsiteY2713" fmla="*/ 257580 h 1237129"/>
              <a:gd name="connsiteX2714" fmla="*/ 712246 w 3751729"/>
              <a:gd name="connsiteY2714" fmla="*/ 249211 h 1237129"/>
              <a:gd name="connsiteX2715" fmla="*/ 719629 w 3751729"/>
              <a:gd name="connsiteY2715" fmla="*/ 237641 h 1237129"/>
              <a:gd name="connsiteX2716" fmla="*/ 723814 w 3751729"/>
              <a:gd name="connsiteY2716" fmla="*/ 222627 h 1237129"/>
              <a:gd name="connsiteX2717" fmla="*/ 725538 w 3751729"/>
              <a:gd name="connsiteY2717" fmla="*/ 214258 h 1237129"/>
              <a:gd name="connsiteX2718" fmla="*/ 723814 w 3751729"/>
              <a:gd name="connsiteY2718" fmla="*/ 200966 h 1237129"/>
              <a:gd name="connsiteX2719" fmla="*/ 723814 w 3751729"/>
              <a:gd name="connsiteY2719" fmla="*/ 187674 h 1237129"/>
              <a:gd name="connsiteX2720" fmla="*/ 718153 w 3751729"/>
              <a:gd name="connsiteY2720" fmla="*/ 185211 h 1237129"/>
              <a:gd name="connsiteX2721" fmla="*/ 715692 w 3751729"/>
              <a:gd name="connsiteY2721" fmla="*/ 183488 h 1237129"/>
              <a:gd name="connsiteX2722" fmla="*/ 712491 w 3751729"/>
              <a:gd name="connsiteY2722" fmla="*/ 181765 h 1237129"/>
              <a:gd name="connsiteX2723" fmla="*/ 710030 w 3751729"/>
              <a:gd name="connsiteY2723" fmla="*/ 179304 h 1237129"/>
              <a:gd name="connsiteX2724" fmla="*/ 708307 w 3751729"/>
              <a:gd name="connsiteY2724" fmla="*/ 174381 h 1237129"/>
              <a:gd name="connsiteX2725" fmla="*/ 713968 w 3751729"/>
              <a:gd name="connsiteY2725" fmla="*/ 164288 h 1237129"/>
              <a:gd name="connsiteX2726" fmla="*/ 716429 w 3751729"/>
              <a:gd name="connsiteY2726" fmla="*/ 152719 h 1237129"/>
              <a:gd name="connsiteX2727" fmla="*/ 713968 w 3751729"/>
              <a:gd name="connsiteY2727" fmla="*/ 140166 h 1237129"/>
              <a:gd name="connsiteX2728" fmla="*/ 710768 w 3751729"/>
              <a:gd name="connsiteY2728" fmla="*/ 126874 h 1237129"/>
              <a:gd name="connsiteX2729" fmla="*/ 706583 w 3751729"/>
              <a:gd name="connsiteY2729" fmla="*/ 111858 h 1237129"/>
              <a:gd name="connsiteX2730" fmla="*/ 704861 w 3751729"/>
              <a:gd name="connsiteY2730" fmla="*/ 97581 h 1237129"/>
              <a:gd name="connsiteX2731" fmla="*/ 708061 w 3751729"/>
              <a:gd name="connsiteY2731" fmla="*/ 97581 h 1237129"/>
              <a:gd name="connsiteX2732" fmla="*/ 708061 w 3751729"/>
              <a:gd name="connsiteY2732" fmla="*/ 94135 h 1237129"/>
              <a:gd name="connsiteX2733" fmla="*/ 727999 w 3751729"/>
              <a:gd name="connsiteY2733" fmla="*/ 97581 h 1237129"/>
              <a:gd name="connsiteX2734" fmla="*/ 745229 w 3751729"/>
              <a:gd name="connsiteY2734" fmla="*/ 97581 h 1237129"/>
              <a:gd name="connsiteX2735" fmla="*/ 764184 w 3751729"/>
              <a:gd name="connsiteY2735" fmla="*/ 94135 h 1237129"/>
              <a:gd name="connsiteX2736" fmla="*/ 768368 w 3751729"/>
              <a:gd name="connsiteY2736" fmla="*/ 101520 h 1237129"/>
              <a:gd name="connsiteX2737" fmla="*/ 772552 w 3751729"/>
              <a:gd name="connsiteY2737" fmla="*/ 111612 h 1237129"/>
              <a:gd name="connsiteX2738" fmla="*/ 777476 w 3751729"/>
              <a:gd name="connsiteY2738" fmla="*/ 118996 h 1237129"/>
              <a:gd name="connsiteX2739" fmla="*/ 781660 w 3751729"/>
              <a:gd name="connsiteY2739" fmla="*/ 122443 h 1237129"/>
              <a:gd name="connsiteX2740" fmla="*/ 784122 w 3751729"/>
              <a:gd name="connsiteY2740" fmla="*/ 123181 h 1237129"/>
              <a:gd name="connsiteX2741" fmla="*/ 789044 w 3751729"/>
              <a:gd name="connsiteY2741" fmla="*/ 123181 h 1237129"/>
              <a:gd name="connsiteX2742" fmla="*/ 793229 w 3751729"/>
              <a:gd name="connsiteY2742" fmla="*/ 124904 h 1237129"/>
              <a:gd name="connsiteX2743" fmla="*/ 797415 w 3751729"/>
              <a:gd name="connsiteY2743" fmla="*/ 126627 h 1237129"/>
              <a:gd name="connsiteX2744" fmla="*/ 800615 w 3751729"/>
              <a:gd name="connsiteY2744" fmla="*/ 129089 h 1237129"/>
              <a:gd name="connsiteX2745" fmla="*/ 801352 w 3751729"/>
              <a:gd name="connsiteY2745" fmla="*/ 136473 h 1237129"/>
              <a:gd name="connsiteX2746" fmla="*/ 804552 w 3751729"/>
              <a:gd name="connsiteY2746" fmla="*/ 149765 h 1237129"/>
              <a:gd name="connsiteX2747" fmla="*/ 806276 w 3751729"/>
              <a:gd name="connsiteY2747" fmla="*/ 161335 h 1237129"/>
              <a:gd name="connsiteX2748" fmla="*/ 808736 w 3751729"/>
              <a:gd name="connsiteY2748" fmla="*/ 169704 h 1237129"/>
              <a:gd name="connsiteX2749" fmla="*/ 810460 w 3751729"/>
              <a:gd name="connsiteY2749" fmla="*/ 171426 h 1237129"/>
              <a:gd name="connsiteX2750" fmla="*/ 812922 w 3751729"/>
              <a:gd name="connsiteY2750" fmla="*/ 173888 h 1237129"/>
              <a:gd name="connsiteX2751" fmla="*/ 816122 w 3751729"/>
              <a:gd name="connsiteY2751" fmla="*/ 175612 h 1237129"/>
              <a:gd name="connsiteX2752" fmla="*/ 818583 w 3751729"/>
              <a:gd name="connsiteY2752" fmla="*/ 179057 h 1237129"/>
              <a:gd name="connsiteX2753" fmla="*/ 823506 w 3751729"/>
              <a:gd name="connsiteY2753" fmla="*/ 179797 h 1237129"/>
              <a:gd name="connsiteX2754" fmla="*/ 824244 w 3751729"/>
              <a:gd name="connsiteY2754" fmla="*/ 183243 h 1237129"/>
              <a:gd name="connsiteX2755" fmla="*/ 835814 w 3751729"/>
              <a:gd name="connsiteY2755" fmla="*/ 174134 h 1237129"/>
              <a:gd name="connsiteX2756" fmla="*/ 844922 w 3751729"/>
              <a:gd name="connsiteY2756" fmla="*/ 163305 h 1237129"/>
              <a:gd name="connsiteX2757" fmla="*/ 851568 w 3751729"/>
              <a:gd name="connsiteY2757" fmla="*/ 151735 h 1237129"/>
              <a:gd name="connsiteX2758" fmla="*/ 863137 w 3751729"/>
              <a:gd name="connsiteY2758" fmla="*/ 142627 h 1237129"/>
              <a:gd name="connsiteX2759" fmla="*/ 864860 w 3751729"/>
              <a:gd name="connsiteY2759" fmla="*/ 152719 h 1237129"/>
              <a:gd name="connsiteX2760" fmla="*/ 869044 w 3751729"/>
              <a:gd name="connsiteY2760" fmla="*/ 158627 h 1237129"/>
              <a:gd name="connsiteX2761" fmla="*/ 874705 w 3751729"/>
              <a:gd name="connsiteY2761" fmla="*/ 164535 h 1237129"/>
              <a:gd name="connsiteX2762" fmla="*/ 880367 w 3751729"/>
              <a:gd name="connsiteY2762" fmla="*/ 170442 h 1237129"/>
              <a:gd name="connsiteX2763" fmla="*/ 885290 w 3751729"/>
              <a:gd name="connsiteY2763" fmla="*/ 177827 h 1237129"/>
              <a:gd name="connsiteX2764" fmla="*/ 885290 w 3751729"/>
              <a:gd name="connsiteY2764" fmla="*/ 180288 h 1237129"/>
              <a:gd name="connsiteX2765" fmla="*/ 885290 w 3751729"/>
              <a:gd name="connsiteY2765" fmla="*/ 183735 h 1237129"/>
              <a:gd name="connsiteX2766" fmla="*/ 883567 w 3751729"/>
              <a:gd name="connsiteY2766" fmla="*/ 185458 h 1237129"/>
              <a:gd name="connsiteX2767" fmla="*/ 883567 w 3751729"/>
              <a:gd name="connsiteY2767" fmla="*/ 187918 h 1237129"/>
              <a:gd name="connsiteX2768" fmla="*/ 881845 w 3751729"/>
              <a:gd name="connsiteY2768" fmla="*/ 191365 h 1237129"/>
              <a:gd name="connsiteX2769" fmla="*/ 883567 w 3751729"/>
              <a:gd name="connsiteY2769" fmla="*/ 193827 h 1237129"/>
              <a:gd name="connsiteX2770" fmla="*/ 885290 w 3751729"/>
              <a:gd name="connsiteY2770" fmla="*/ 197273 h 1237129"/>
              <a:gd name="connsiteX2771" fmla="*/ 886028 w 3751729"/>
              <a:gd name="connsiteY2771" fmla="*/ 198012 h 1237129"/>
              <a:gd name="connsiteX2772" fmla="*/ 889228 w 3751729"/>
              <a:gd name="connsiteY2772" fmla="*/ 198012 h 1237129"/>
              <a:gd name="connsiteX2773" fmla="*/ 891689 w 3751729"/>
              <a:gd name="connsiteY2773" fmla="*/ 198012 h 1237129"/>
              <a:gd name="connsiteX2774" fmla="*/ 893414 w 3751729"/>
              <a:gd name="connsiteY2774" fmla="*/ 198012 h 1237129"/>
              <a:gd name="connsiteX2775" fmla="*/ 896613 w 3751729"/>
              <a:gd name="connsiteY2775" fmla="*/ 198012 h 1237129"/>
              <a:gd name="connsiteX2776" fmla="*/ 897352 w 3751729"/>
              <a:gd name="connsiteY2776" fmla="*/ 199735 h 1237129"/>
              <a:gd name="connsiteX2777" fmla="*/ 902275 w 3751729"/>
              <a:gd name="connsiteY2777" fmla="*/ 211304 h 1237129"/>
              <a:gd name="connsiteX2778" fmla="*/ 902275 w 3751729"/>
              <a:gd name="connsiteY2778" fmla="*/ 220411 h 1237129"/>
              <a:gd name="connsiteX2779" fmla="*/ 900552 w 3751729"/>
              <a:gd name="connsiteY2779" fmla="*/ 228780 h 1237129"/>
              <a:gd name="connsiteX2780" fmla="*/ 903013 w 3751729"/>
              <a:gd name="connsiteY2780" fmla="*/ 236166 h 1237129"/>
              <a:gd name="connsiteX2781" fmla="*/ 913844 w 3751729"/>
              <a:gd name="connsiteY2781" fmla="*/ 244534 h 1237129"/>
              <a:gd name="connsiteX2782" fmla="*/ 904736 w 3751729"/>
              <a:gd name="connsiteY2782" fmla="*/ 262011 h 1237129"/>
              <a:gd name="connsiteX2783" fmla="*/ 894890 w 3751729"/>
              <a:gd name="connsiteY2783" fmla="*/ 277026 h 1237129"/>
              <a:gd name="connsiteX2784" fmla="*/ 897352 w 3751729"/>
              <a:gd name="connsiteY2784" fmla="*/ 277026 h 1237129"/>
              <a:gd name="connsiteX2785" fmla="*/ 906459 w 3751729"/>
              <a:gd name="connsiteY2785" fmla="*/ 267919 h 1237129"/>
              <a:gd name="connsiteX2786" fmla="*/ 914828 w 3751729"/>
              <a:gd name="connsiteY2786" fmla="*/ 260535 h 1237129"/>
              <a:gd name="connsiteX2787" fmla="*/ 922213 w 3751729"/>
              <a:gd name="connsiteY2787" fmla="*/ 252165 h 1237129"/>
              <a:gd name="connsiteX2788" fmla="*/ 932059 w 3751729"/>
              <a:gd name="connsiteY2788" fmla="*/ 254626 h 1237129"/>
              <a:gd name="connsiteX2789" fmla="*/ 937720 w 3751729"/>
              <a:gd name="connsiteY2789" fmla="*/ 260535 h 1237129"/>
              <a:gd name="connsiteX2790" fmla="*/ 943382 w 3751729"/>
              <a:gd name="connsiteY2790" fmla="*/ 267919 h 1237129"/>
              <a:gd name="connsiteX2791" fmla="*/ 945105 w 3751729"/>
              <a:gd name="connsiteY2791" fmla="*/ 279487 h 1237129"/>
              <a:gd name="connsiteX2792" fmla="*/ 960120 w 3751729"/>
              <a:gd name="connsiteY2792" fmla="*/ 279487 h 1237129"/>
              <a:gd name="connsiteX2793" fmla="*/ 960120 w 3751729"/>
              <a:gd name="connsiteY2793" fmla="*/ 283672 h 1237129"/>
              <a:gd name="connsiteX2794" fmla="*/ 960859 w 3751729"/>
              <a:gd name="connsiteY2794" fmla="*/ 287118 h 1237129"/>
              <a:gd name="connsiteX2795" fmla="*/ 960859 w 3751729"/>
              <a:gd name="connsiteY2795" fmla="*/ 291304 h 1237129"/>
              <a:gd name="connsiteX2796" fmla="*/ 962582 w 3751729"/>
              <a:gd name="connsiteY2796" fmla="*/ 295488 h 1237129"/>
              <a:gd name="connsiteX2797" fmla="*/ 960859 w 3751729"/>
              <a:gd name="connsiteY2797" fmla="*/ 300410 h 1237129"/>
              <a:gd name="connsiteX2798" fmla="*/ 960859 w 3751729"/>
              <a:gd name="connsiteY2798" fmla="*/ 302872 h 1237129"/>
              <a:gd name="connsiteX2799" fmla="*/ 960859 w 3751729"/>
              <a:gd name="connsiteY2799" fmla="*/ 306319 h 1237129"/>
              <a:gd name="connsiteX2800" fmla="*/ 962582 w 3751729"/>
              <a:gd name="connsiteY2800" fmla="*/ 307057 h 1237129"/>
              <a:gd name="connsiteX2801" fmla="*/ 962582 w 3751729"/>
              <a:gd name="connsiteY2801" fmla="*/ 310503 h 1237129"/>
              <a:gd name="connsiteX2802" fmla="*/ 962582 w 3751729"/>
              <a:gd name="connsiteY2802" fmla="*/ 312226 h 1237129"/>
              <a:gd name="connsiteX2803" fmla="*/ 962582 w 3751729"/>
              <a:gd name="connsiteY2803" fmla="*/ 314687 h 1237129"/>
              <a:gd name="connsiteX2804" fmla="*/ 946828 w 3751729"/>
              <a:gd name="connsiteY2804" fmla="*/ 326257 h 1237129"/>
              <a:gd name="connsiteX2805" fmla="*/ 929598 w 3751729"/>
              <a:gd name="connsiteY2805" fmla="*/ 333641 h 1237129"/>
              <a:gd name="connsiteX2806" fmla="*/ 909659 w 3751729"/>
              <a:gd name="connsiteY2806" fmla="*/ 337826 h 1237129"/>
              <a:gd name="connsiteX2807" fmla="*/ 888983 w 3751729"/>
              <a:gd name="connsiteY2807" fmla="*/ 340287 h 1237129"/>
              <a:gd name="connsiteX2808" fmla="*/ 869044 w 3751729"/>
              <a:gd name="connsiteY2808" fmla="*/ 343733 h 1237129"/>
              <a:gd name="connsiteX2809" fmla="*/ 848367 w 3751729"/>
              <a:gd name="connsiteY2809" fmla="*/ 346196 h 1237129"/>
              <a:gd name="connsiteX2810" fmla="*/ 831137 w 3751729"/>
              <a:gd name="connsiteY2810" fmla="*/ 352103 h 1237129"/>
              <a:gd name="connsiteX2811" fmla="*/ 815382 w 3751729"/>
              <a:gd name="connsiteY2811" fmla="*/ 359488 h 1237129"/>
              <a:gd name="connsiteX2812" fmla="*/ 803814 w 3751729"/>
              <a:gd name="connsiteY2812" fmla="*/ 372780 h 1237129"/>
              <a:gd name="connsiteX2813" fmla="*/ 807014 w 3751729"/>
              <a:gd name="connsiteY2813" fmla="*/ 372780 h 1237129"/>
              <a:gd name="connsiteX2814" fmla="*/ 821045 w 3751729"/>
              <a:gd name="connsiteY2814" fmla="*/ 362688 h 1237129"/>
              <a:gd name="connsiteX2815" fmla="*/ 838275 w 3751729"/>
              <a:gd name="connsiteY2815" fmla="*/ 355302 h 1237129"/>
              <a:gd name="connsiteX2816" fmla="*/ 857228 w 3751729"/>
              <a:gd name="connsiteY2816" fmla="*/ 351118 h 1237129"/>
              <a:gd name="connsiteX2817" fmla="*/ 857967 w 3751729"/>
              <a:gd name="connsiteY2817" fmla="*/ 353580 h 1237129"/>
              <a:gd name="connsiteX2818" fmla="*/ 859690 w 3751729"/>
              <a:gd name="connsiteY2818" fmla="*/ 357026 h 1237129"/>
              <a:gd name="connsiteX2819" fmla="*/ 861414 w 3751729"/>
              <a:gd name="connsiteY2819" fmla="*/ 357764 h 1237129"/>
              <a:gd name="connsiteX2820" fmla="*/ 863874 w 3751729"/>
              <a:gd name="connsiteY2820" fmla="*/ 359488 h 1237129"/>
              <a:gd name="connsiteX2821" fmla="*/ 867075 w 3751729"/>
              <a:gd name="connsiteY2821" fmla="*/ 361210 h 1237129"/>
              <a:gd name="connsiteX2822" fmla="*/ 869536 w 3751729"/>
              <a:gd name="connsiteY2822" fmla="*/ 363673 h 1237129"/>
              <a:gd name="connsiteX2823" fmla="*/ 865352 w 3751729"/>
              <a:gd name="connsiteY2823" fmla="*/ 371057 h 1237129"/>
              <a:gd name="connsiteX2824" fmla="*/ 862890 w 3751729"/>
              <a:gd name="connsiteY2824" fmla="*/ 376965 h 1237129"/>
              <a:gd name="connsiteX2825" fmla="*/ 861168 w 3751729"/>
              <a:gd name="connsiteY2825" fmla="*/ 382871 h 1237129"/>
              <a:gd name="connsiteX2826" fmla="*/ 859444 w 3751729"/>
              <a:gd name="connsiteY2826" fmla="*/ 391980 h 1237129"/>
              <a:gd name="connsiteX2827" fmla="*/ 871014 w 3751729"/>
              <a:gd name="connsiteY2827" fmla="*/ 397888 h 1237129"/>
              <a:gd name="connsiteX2828" fmla="*/ 878397 w 3751729"/>
              <a:gd name="connsiteY2828" fmla="*/ 406257 h 1237129"/>
              <a:gd name="connsiteX2829" fmla="*/ 884060 w 3751729"/>
              <a:gd name="connsiteY2829" fmla="*/ 414626 h 1237129"/>
              <a:gd name="connsiteX2830" fmla="*/ 891443 w 3751729"/>
              <a:gd name="connsiteY2830" fmla="*/ 423733 h 1237129"/>
              <a:gd name="connsiteX2831" fmla="*/ 891443 w 3751729"/>
              <a:gd name="connsiteY2831" fmla="*/ 426195 h 1237129"/>
              <a:gd name="connsiteX2832" fmla="*/ 891443 w 3751729"/>
              <a:gd name="connsiteY2832" fmla="*/ 427918 h 1237129"/>
              <a:gd name="connsiteX2833" fmla="*/ 889721 w 3751729"/>
              <a:gd name="connsiteY2833" fmla="*/ 427918 h 1237129"/>
              <a:gd name="connsiteX2834" fmla="*/ 889721 w 3751729"/>
              <a:gd name="connsiteY2834" fmla="*/ 429641 h 1237129"/>
              <a:gd name="connsiteX2835" fmla="*/ 887998 w 3751729"/>
              <a:gd name="connsiteY2835" fmla="*/ 431364 h 1237129"/>
              <a:gd name="connsiteX2836" fmla="*/ 879629 w 3751729"/>
              <a:gd name="connsiteY2836" fmla="*/ 441456 h 1237129"/>
              <a:gd name="connsiteX2837" fmla="*/ 868059 w 3751729"/>
              <a:gd name="connsiteY2837" fmla="*/ 449826 h 1237129"/>
              <a:gd name="connsiteX2838" fmla="*/ 853290 w 3751729"/>
              <a:gd name="connsiteY2838" fmla="*/ 455733 h 1237129"/>
              <a:gd name="connsiteX2839" fmla="*/ 853290 w 3751729"/>
              <a:gd name="connsiteY2839" fmla="*/ 443180 h 1237129"/>
              <a:gd name="connsiteX2840" fmla="*/ 860674 w 3751729"/>
              <a:gd name="connsiteY2840" fmla="*/ 438257 h 1237129"/>
              <a:gd name="connsiteX2841" fmla="*/ 866336 w 3751729"/>
              <a:gd name="connsiteY2841" fmla="*/ 434072 h 1237129"/>
              <a:gd name="connsiteX2842" fmla="*/ 871999 w 3751729"/>
              <a:gd name="connsiteY2842" fmla="*/ 426687 h 1237129"/>
              <a:gd name="connsiteX2843" fmla="*/ 866336 w 3751729"/>
              <a:gd name="connsiteY2843" fmla="*/ 424226 h 1237129"/>
              <a:gd name="connsiteX2844" fmla="*/ 866336 w 3751729"/>
              <a:gd name="connsiteY2844" fmla="*/ 420780 h 1237129"/>
              <a:gd name="connsiteX2845" fmla="*/ 864613 w 3751729"/>
              <a:gd name="connsiteY2845" fmla="*/ 420780 h 1237129"/>
              <a:gd name="connsiteX2846" fmla="*/ 862890 w 3751729"/>
              <a:gd name="connsiteY2846" fmla="*/ 420780 h 1237129"/>
              <a:gd name="connsiteX2847" fmla="*/ 862890 w 3751729"/>
              <a:gd name="connsiteY2847" fmla="*/ 422502 h 1237129"/>
              <a:gd name="connsiteX2848" fmla="*/ 862890 w 3751729"/>
              <a:gd name="connsiteY2848" fmla="*/ 424226 h 1237129"/>
              <a:gd name="connsiteX2849" fmla="*/ 853044 w 3751729"/>
              <a:gd name="connsiteY2849" fmla="*/ 431611 h 1237129"/>
              <a:gd name="connsiteX2850" fmla="*/ 839751 w 3751729"/>
              <a:gd name="connsiteY2850" fmla="*/ 437518 h 1237129"/>
              <a:gd name="connsiteX2851" fmla="*/ 828921 w 3751729"/>
              <a:gd name="connsiteY2851" fmla="*/ 441703 h 1237129"/>
              <a:gd name="connsiteX2852" fmla="*/ 817352 w 3751729"/>
              <a:gd name="connsiteY2852" fmla="*/ 447611 h 1237129"/>
              <a:gd name="connsiteX2853" fmla="*/ 806521 w 3751729"/>
              <a:gd name="connsiteY2853" fmla="*/ 454995 h 1237129"/>
              <a:gd name="connsiteX2854" fmla="*/ 799875 w 3751729"/>
              <a:gd name="connsiteY2854" fmla="*/ 465087 h 1237129"/>
              <a:gd name="connsiteX2855" fmla="*/ 794952 w 3751729"/>
              <a:gd name="connsiteY2855" fmla="*/ 479364 h 1237129"/>
              <a:gd name="connsiteX2856" fmla="*/ 799875 w 3751729"/>
              <a:gd name="connsiteY2856" fmla="*/ 481087 h 1237129"/>
              <a:gd name="connsiteX2857" fmla="*/ 805536 w 3751729"/>
              <a:gd name="connsiteY2857" fmla="*/ 482810 h 1237129"/>
              <a:gd name="connsiteX2858" fmla="*/ 807998 w 3751729"/>
              <a:gd name="connsiteY2858" fmla="*/ 485271 h 1237129"/>
              <a:gd name="connsiteX2859" fmla="*/ 802337 w 3751729"/>
              <a:gd name="connsiteY2859" fmla="*/ 485271 h 1237129"/>
              <a:gd name="connsiteX2860" fmla="*/ 793968 w 3751729"/>
              <a:gd name="connsiteY2860" fmla="*/ 492657 h 1237129"/>
              <a:gd name="connsiteX2861" fmla="*/ 782398 w 3751729"/>
              <a:gd name="connsiteY2861" fmla="*/ 495118 h 1237129"/>
              <a:gd name="connsiteX2862" fmla="*/ 771568 w 3751729"/>
              <a:gd name="connsiteY2862" fmla="*/ 496841 h 1237129"/>
              <a:gd name="connsiteX2863" fmla="*/ 759999 w 3751729"/>
              <a:gd name="connsiteY2863" fmla="*/ 498564 h 1237129"/>
              <a:gd name="connsiteX2864" fmla="*/ 751629 w 3751729"/>
              <a:gd name="connsiteY2864" fmla="*/ 521948 h 1237129"/>
              <a:gd name="connsiteX2865" fmla="*/ 741783 w 3751729"/>
              <a:gd name="connsiteY2865" fmla="*/ 546810 h 1237129"/>
              <a:gd name="connsiteX2866" fmla="*/ 738583 w 3751729"/>
              <a:gd name="connsiteY2866" fmla="*/ 543364 h 1237129"/>
              <a:gd name="connsiteX2867" fmla="*/ 737845 w 3751729"/>
              <a:gd name="connsiteY2867" fmla="*/ 541641 h 1237129"/>
              <a:gd name="connsiteX2868" fmla="*/ 734645 w 3751729"/>
              <a:gd name="connsiteY2868" fmla="*/ 540903 h 1237129"/>
              <a:gd name="connsiteX2869" fmla="*/ 732922 w 3751729"/>
              <a:gd name="connsiteY2869" fmla="*/ 539179 h 1237129"/>
              <a:gd name="connsiteX2870" fmla="*/ 728737 w 3751729"/>
              <a:gd name="connsiteY2870" fmla="*/ 535733 h 1237129"/>
              <a:gd name="connsiteX2871" fmla="*/ 728737 w 3751729"/>
              <a:gd name="connsiteY2871" fmla="*/ 543118 h 1237129"/>
              <a:gd name="connsiteX2872" fmla="*/ 730459 w 3751729"/>
              <a:gd name="connsiteY2872" fmla="*/ 546564 h 1237129"/>
              <a:gd name="connsiteX2873" fmla="*/ 732922 w 3751729"/>
              <a:gd name="connsiteY2873" fmla="*/ 554933 h 1237129"/>
              <a:gd name="connsiteX2874" fmla="*/ 736122 w 3751729"/>
              <a:gd name="connsiteY2874" fmla="*/ 565025 h 1237129"/>
              <a:gd name="connsiteX2875" fmla="*/ 738583 w 3751729"/>
              <a:gd name="connsiteY2875" fmla="*/ 574134 h 1237129"/>
              <a:gd name="connsiteX2876" fmla="*/ 738583 w 3751729"/>
              <a:gd name="connsiteY2876" fmla="*/ 578315 h 1237129"/>
              <a:gd name="connsiteX2877" fmla="*/ 727014 w 3751729"/>
              <a:gd name="connsiteY2877" fmla="*/ 585699 h 1237129"/>
              <a:gd name="connsiteX2878" fmla="*/ 714707 w 3751729"/>
              <a:gd name="connsiteY2878" fmla="*/ 592346 h 1237129"/>
              <a:gd name="connsiteX2879" fmla="*/ 701415 w 3751729"/>
              <a:gd name="connsiteY2879" fmla="*/ 601453 h 1237129"/>
              <a:gd name="connsiteX2880" fmla="*/ 688123 w 3751729"/>
              <a:gd name="connsiteY2880" fmla="*/ 609823 h 1237129"/>
              <a:gd name="connsiteX2881" fmla="*/ 679753 w 3751729"/>
              <a:gd name="connsiteY2881" fmla="*/ 621391 h 1237129"/>
              <a:gd name="connsiteX2882" fmla="*/ 675568 w 3751729"/>
              <a:gd name="connsiteY2882" fmla="*/ 636407 h 1237129"/>
              <a:gd name="connsiteX2883" fmla="*/ 670645 w 3751729"/>
              <a:gd name="connsiteY2883" fmla="*/ 647976 h 1237129"/>
              <a:gd name="connsiteX2884" fmla="*/ 672368 w 3751729"/>
              <a:gd name="connsiteY2884" fmla="*/ 662253 h 1237129"/>
              <a:gd name="connsiteX2885" fmla="*/ 676553 w 3751729"/>
              <a:gd name="connsiteY2885" fmla="*/ 678007 h 1237129"/>
              <a:gd name="connsiteX2886" fmla="*/ 682214 w 3751729"/>
              <a:gd name="connsiteY2886" fmla="*/ 694744 h 1237129"/>
              <a:gd name="connsiteX2887" fmla="*/ 687876 w 3751729"/>
              <a:gd name="connsiteY2887" fmla="*/ 710499 h 1237129"/>
              <a:gd name="connsiteX2888" fmla="*/ 691076 w 3751729"/>
              <a:gd name="connsiteY2888" fmla="*/ 724776 h 1237129"/>
              <a:gd name="connsiteX2889" fmla="*/ 687876 w 3751729"/>
              <a:gd name="connsiteY2889" fmla="*/ 724776 h 1237129"/>
              <a:gd name="connsiteX2890" fmla="*/ 687876 w 3751729"/>
              <a:gd name="connsiteY2890" fmla="*/ 728222 h 1237129"/>
              <a:gd name="connsiteX2891" fmla="*/ 678030 w 3751729"/>
              <a:gd name="connsiteY2891" fmla="*/ 724776 h 1237129"/>
              <a:gd name="connsiteX2892" fmla="*/ 673845 w 3751729"/>
              <a:gd name="connsiteY2892" fmla="*/ 712222 h 1237129"/>
              <a:gd name="connsiteX2893" fmla="*/ 666461 w 3751729"/>
              <a:gd name="connsiteY2893" fmla="*/ 695484 h 1237129"/>
              <a:gd name="connsiteX2894" fmla="*/ 658091 w 3751729"/>
              <a:gd name="connsiteY2894" fmla="*/ 678007 h 1237129"/>
              <a:gd name="connsiteX2895" fmla="*/ 648983 w 3751729"/>
              <a:gd name="connsiteY2895" fmla="*/ 665453 h 1237129"/>
              <a:gd name="connsiteX2896" fmla="*/ 640615 w 3751729"/>
              <a:gd name="connsiteY2896" fmla="*/ 658069 h 1237129"/>
              <a:gd name="connsiteX2897" fmla="*/ 629784 w 3751729"/>
              <a:gd name="connsiteY2897" fmla="*/ 656345 h 1237129"/>
              <a:gd name="connsiteX2898" fmla="*/ 617476 w 3751729"/>
              <a:gd name="connsiteY2898" fmla="*/ 650438 h 1237129"/>
              <a:gd name="connsiteX2899" fmla="*/ 602707 w 3751729"/>
              <a:gd name="connsiteY2899" fmla="*/ 644530 h 1237129"/>
              <a:gd name="connsiteX2900" fmla="*/ 585477 w 3751729"/>
              <a:gd name="connsiteY2900" fmla="*/ 642068 h 1237129"/>
              <a:gd name="connsiteX2901" fmla="*/ 585477 w 3751729"/>
              <a:gd name="connsiteY2901" fmla="*/ 644530 h 1237129"/>
              <a:gd name="connsiteX2902" fmla="*/ 583014 w 3751729"/>
              <a:gd name="connsiteY2902" fmla="*/ 644530 h 1237129"/>
              <a:gd name="connsiteX2903" fmla="*/ 584739 w 3751729"/>
              <a:gd name="connsiteY2903" fmla="*/ 649453 h 1237129"/>
              <a:gd name="connsiteX2904" fmla="*/ 587199 w 3751729"/>
              <a:gd name="connsiteY2904" fmla="*/ 653638 h 1237129"/>
              <a:gd name="connsiteX2905" fmla="*/ 588923 w 3751729"/>
              <a:gd name="connsiteY2905" fmla="*/ 656099 h 1237129"/>
              <a:gd name="connsiteX2906" fmla="*/ 590645 w 3751729"/>
              <a:gd name="connsiteY2906" fmla="*/ 659545 h 1237129"/>
              <a:gd name="connsiteX2907" fmla="*/ 593107 w 3751729"/>
              <a:gd name="connsiteY2907" fmla="*/ 663730 h 1237129"/>
              <a:gd name="connsiteX2908" fmla="*/ 579815 w 3751729"/>
              <a:gd name="connsiteY2908" fmla="*/ 663730 h 1237129"/>
              <a:gd name="connsiteX2909" fmla="*/ 569969 w 3751729"/>
              <a:gd name="connsiteY2909" fmla="*/ 659545 h 1237129"/>
              <a:gd name="connsiteX2910" fmla="*/ 556677 w 3751729"/>
              <a:gd name="connsiteY2910" fmla="*/ 656099 h 1237129"/>
              <a:gd name="connsiteX2911" fmla="*/ 544369 w 3751729"/>
              <a:gd name="connsiteY2911" fmla="*/ 656099 h 1237129"/>
              <a:gd name="connsiteX2912" fmla="*/ 531077 w 3751729"/>
              <a:gd name="connsiteY2912" fmla="*/ 657822 h 1237129"/>
              <a:gd name="connsiteX2913" fmla="*/ 521970 w 3751729"/>
              <a:gd name="connsiteY2913" fmla="*/ 660284 h 1237129"/>
              <a:gd name="connsiteX2914" fmla="*/ 512124 w 3751729"/>
              <a:gd name="connsiteY2914" fmla="*/ 665207 h 1237129"/>
              <a:gd name="connsiteX2915" fmla="*/ 503754 w 3751729"/>
              <a:gd name="connsiteY2915" fmla="*/ 671115 h 1237129"/>
              <a:gd name="connsiteX2916" fmla="*/ 498092 w 3751729"/>
              <a:gd name="connsiteY2916" fmla="*/ 679484 h 1237129"/>
              <a:gd name="connsiteX2917" fmla="*/ 494892 w 3751729"/>
              <a:gd name="connsiteY2917" fmla="*/ 686869 h 1237129"/>
              <a:gd name="connsiteX2918" fmla="*/ 496616 w 3751729"/>
              <a:gd name="connsiteY2918" fmla="*/ 692776 h 1237129"/>
              <a:gd name="connsiteX2919" fmla="*/ 496616 w 3751729"/>
              <a:gd name="connsiteY2919" fmla="*/ 700161 h 1237129"/>
              <a:gd name="connsiteX2920" fmla="*/ 494154 w 3751729"/>
              <a:gd name="connsiteY2920" fmla="*/ 708529 h 1237129"/>
              <a:gd name="connsiteX2921" fmla="*/ 488492 w 3751729"/>
              <a:gd name="connsiteY2921" fmla="*/ 727730 h 1237129"/>
              <a:gd name="connsiteX2922" fmla="*/ 488492 w 3751729"/>
              <a:gd name="connsiteY2922" fmla="*/ 742007 h 1237129"/>
              <a:gd name="connsiteX2923" fmla="*/ 489231 w 3751729"/>
              <a:gd name="connsiteY2923" fmla="*/ 757022 h 1237129"/>
              <a:gd name="connsiteX2924" fmla="*/ 494892 w 3751729"/>
              <a:gd name="connsiteY2924" fmla="*/ 771298 h 1237129"/>
              <a:gd name="connsiteX2925" fmla="*/ 504000 w 3751729"/>
              <a:gd name="connsiteY2925" fmla="*/ 788775 h 1237129"/>
              <a:gd name="connsiteX2926" fmla="*/ 513846 w 3751729"/>
              <a:gd name="connsiteY2926" fmla="*/ 790499 h 1237129"/>
              <a:gd name="connsiteX2927" fmla="*/ 519508 w 3751729"/>
              <a:gd name="connsiteY2927" fmla="*/ 792221 h 1237129"/>
              <a:gd name="connsiteX2928" fmla="*/ 521970 w 3751729"/>
              <a:gd name="connsiteY2928" fmla="*/ 794683 h 1237129"/>
              <a:gd name="connsiteX2929" fmla="*/ 525170 w 3751729"/>
              <a:gd name="connsiteY2929" fmla="*/ 796405 h 1237129"/>
              <a:gd name="connsiteX2930" fmla="*/ 529354 w 3751729"/>
              <a:gd name="connsiteY2930" fmla="*/ 798129 h 1237129"/>
              <a:gd name="connsiteX2931" fmla="*/ 536738 w 3751729"/>
              <a:gd name="connsiteY2931" fmla="*/ 794683 h 1237129"/>
              <a:gd name="connsiteX2932" fmla="*/ 548308 w 3751729"/>
              <a:gd name="connsiteY2932" fmla="*/ 788775 h 1237129"/>
              <a:gd name="connsiteX2933" fmla="*/ 550770 w 3751729"/>
              <a:gd name="connsiteY2933" fmla="*/ 787052 h 1237129"/>
              <a:gd name="connsiteX2934" fmla="*/ 552492 w 3751729"/>
              <a:gd name="connsiteY2934" fmla="*/ 787052 h 1237129"/>
              <a:gd name="connsiteX2935" fmla="*/ 555692 w 3751729"/>
              <a:gd name="connsiteY2935" fmla="*/ 787052 h 1237129"/>
              <a:gd name="connsiteX2936" fmla="*/ 556430 w 3751729"/>
              <a:gd name="connsiteY2936" fmla="*/ 787052 h 1237129"/>
              <a:gd name="connsiteX2937" fmla="*/ 558153 w 3751729"/>
              <a:gd name="connsiteY2937" fmla="*/ 787052 h 1237129"/>
              <a:gd name="connsiteX2938" fmla="*/ 558153 w 3751729"/>
              <a:gd name="connsiteY2938" fmla="*/ 786313 h 1237129"/>
              <a:gd name="connsiteX2939" fmla="*/ 561354 w 3751729"/>
              <a:gd name="connsiteY2939" fmla="*/ 782867 h 1237129"/>
              <a:gd name="connsiteX2940" fmla="*/ 562092 w 3751729"/>
              <a:gd name="connsiteY2940" fmla="*/ 778682 h 1237129"/>
              <a:gd name="connsiteX2941" fmla="*/ 563816 w 3751729"/>
              <a:gd name="connsiteY2941" fmla="*/ 774499 h 1237129"/>
              <a:gd name="connsiteX2942" fmla="*/ 565538 w 3751729"/>
              <a:gd name="connsiteY2942" fmla="*/ 769576 h 1237129"/>
              <a:gd name="connsiteX2943" fmla="*/ 567262 w 3751729"/>
              <a:gd name="connsiteY2943" fmla="*/ 767114 h 1237129"/>
              <a:gd name="connsiteX2944" fmla="*/ 573908 w 3751729"/>
              <a:gd name="connsiteY2944" fmla="*/ 759729 h 1237129"/>
              <a:gd name="connsiteX2945" fmla="*/ 583014 w 3751729"/>
              <a:gd name="connsiteY2945" fmla="*/ 755544 h 1237129"/>
              <a:gd name="connsiteX2946" fmla="*/ 596308 w 3751729"/>
              <a:gd name="connsiteY2946" fmla="*/ 753821 h 1237129"/>
              <a:gd name="connsiteX2947" fmla="*/ 597046 w 3751729"/>
              <a:gd name="connsiteY2947" fmla="*/ 757268 h 1237129"/>
              <a:gd name="connsiteX2948" fmla="*/ 598769 w 3751729"/>
              <a:gd name="connsiteY2948" fmla="*/ 758006 h 1237129"/>
              <a:gd name="connsiteX2949" fmla="*/ 598769 w 3751729"/>
              <a:gd name="connsiteY2949" fmla="*/ 759729 h 1237129"/>
              <a:gd name="connsiteX2950" fmla="*/ 600491 w 3751729"/>
              <a:gd name="connsiteY2950" fmla="*/ 759729 h 1237129"/>
              <a:gd name="connsiteX2951" fmla="*/ 600491 w 3751729"/>
              <a:gd name="connsiteY2951" fmla="*/ 758006 h 1237129"/>
              <a:gd name="connsiteX2952" fmla="*/ 601477 w 3751729"/>
              <a:gd name="connsiteY2952" fmla="*/ 758006 h 1237129"/>
              <a:gd name="connsiteX2953" fmla="*/ 604677 w 3751729"/>
              <a:gd name="connsiteY2953" fmla="*/ 758006 h 1237129"/>
              <a:gd name="connsiteX2954" fmla="*/ 608861 w 3751729"/>
              <a:gd name="connsiteY2954" fmla="*/ 757268 h 1237129"/>
              <a:gd name="connsiteX2955" fmla="*/ 608861 w 3751729"/>
              <a:gd name="connsiteY2955" fmla="*/ 769821 h 1237129"/>
              <a:gd name="connsiteX2956" fmla="*/ 603200 w 3751729"/>
              <a:gd name="connsiteY2956" fmla="*/ 775729 h 1237129"/>
              <a:gd name="connsiteX2957" fmla="*/ 599015 w 3751729"/>
              <a:gd name="connsiteY2957" fmla="*/ 786559 h 1237129"/>
              <a:gd name="connsiteX2958" fmla="*/ 594831 w 3751729"/>
              <a:gd name="connsiteY2958" fmla="*/ 800836 h 1237129"/>
              <a:gd name="connsiteX2959" fmla="*/ 590645 w 3751729"/>
              <a:gd name="connsiteY2959" fmla="*/ 814128 h 1237129"/>
              <a:gd name="connsiteX2960" fmla="*/ 585722 w 3751729"/>
              <a:gd name="connsiteY2960" fmla="*/ 824221 h 1237129"/>
              <a:gd name="connsiteX2961" fmla="*/ 600491 w 3751729"/>
              <a:gd name="connsiteY2961" fmla="*/ 824221 h 1237129"/>
              <a:gd name="connsiteX2962" fmla="*/ 612799 w 3751729"/>
              <a:gd name="connsiteY2962" fmla="*/ 822498 h 1237129"/>
              <a:gd name="connsiteX2963" fmla="*/ 624369 w 3751729"/>
              <a:gd name="connsiteY2963" fmla="*/ 822498 h 1237129"/>
              <a:gd name="connsiteX2964" fmla="*/ 635199 w 3751729"/>
              <a:gd name="connsiteY2964" fmla="*/ 824221 h 1237129"/>
              <a:gd name="connsiteX2965" fmla="*/ 641845 w 3751729"/>
              <a:gd name="connsiteY2965" fmla="*/ 828405 h 1237129"/>
              <a:gd name="connsiteX2966" fmla="*/ 647507 w 3751729"/>
              <a:gd name="connsiteY2966" fmla="*/ 837514 h 1237129"/>
              <a:gd name="connsiteX2967" fmla="*/ 649229 w 3751729"/>
              <a:gd name="connsiteY2967" fmla="*/ 850066 h 1237129"/>
              <a:gd name="connsiteX2968" fmla="*/ 646768 w 3751729"/>
              <a:gd name="connsiteY2968" fmla="*/ 859174 h 1237129"/>
              <a:gd name="connsiteX2969" fmla="*/ 643568 w 3751729"/>
              <a:gd name="connsiteY2969" fmla="*/ 870744 h 1237129"/>
              <a:gd name="connsiteX2970" fmla="*/ 643568 w 3751729"/>
              <a:gd name="connsiteY2970" fmla="*/ 882313 h 1237129"/>
              <a:gd name="connsiteX2971" fmla="*/ 650954 w 3751729"/>
              <a:gd name="connsiteY2971" fmla="*/ 889697 h 1237129"/>
              <a:gd name="connsiteX2972" fmla="*/ 655138 w 3751729"/>
              <a:gd name="connsiteY2972" fmla="*/ 894620 h 1237129"/>
              <a:gd name="connsiteX2973" fmla="*/ 660799 w 3751729"/>
              <a:gd name="connsiteY2973" fmla="*/ 900529 h 1237129"/>
              <a:gd name="connsiteX2974" fmla="*/ 669906 w 3751729"/>
              <a:gd name="connsiteY2974" fmla="*/ 905451 h 1237129"/>
              <a:gd name="connsiteX2975" fmla="*/ 680738 w 3751729"/>
              <a:gd name="connsiteY2975" fmla="*/ 907913 h 1237129"/>
              <a:gd name="connsiteX2976" fmla="*/ 686399 w 3751729"/>
              <a:gd name="connsiteY2976" fmla="*/ 900529 h 1237129"/>
              <a:gd name="connsiteX2977" fmla="*/ 693784 w 3751729"/>
              <a:gd name="connsiteY2977" fmla="*/ 898066 h 1237129"/>
              <a:gd name="connsiteX2978" fmla="*/ 707076 w 3751729"/>
              <a:gd name="connsiteY2978" fmla="*/ 898066 h 1237129"/>
              <a:gd name="connsiteX2979" fmla="*/ 708798 w 3751729"/>
              <a:gd name="connsiteY2979" fmla="*/ 900529 h 1237129"/>
              <a:gd name="connsiteX2980" fmla="*/ 711261 w 3751729"/>
              <a:gd name="connsiteY2980" fmla="*/ 903975 h 1237129"/>
              <a:gd name="connsiteX2981" fmla="*/ 712737 w 3751729"/>
              <a:gd name="connsiteY2981" fmla="*/ 905697 h 1237129"/>
              <a:gd name="connsiteX2982" fmla="*/ 714460 w 3751729"/>
              <a:gd name="connsiteY2982" fmla="*/ 905697 h 1237129"/>
              <a:gd name="connsiteX2983" fmla="*/ 718645 w 3751729"/>
              <a:gd name="connsiteY2983" fmla="*/ 906436 h 1237129"/>
              <a:gd name="connsiteX2984" fmla="*/ 724060 w 3751729"/>
              <a:gd name="connsiteY2984" fmla="*/ 907667 h 1237129"/>
              <a:gd name="connsiteX2985" fmla="*/ 729722 w 3751729"/>
              <a:gd name="connsiteY2985" fmla="*/ 896098 h 1237129"/>
              <a:gd name="connsiteX2986" fmla="*/ 737106 w 3751729"/>
              <a:gd name="connsiteY2986" fmla="*/ 887728 h 1237129"/>
              <a:gd name="connsiteX2987" fmla="*/ 745476 w 3751729"/>
              <a:gd name="connsiteY2987" fmla="*/ 880343 h 1237129"/>
              <a:gd name="connsiteX2988" fmla="*/ 756306 w 3751729"/>
              <a:gd name="connsiteY2988" fmla="*/ 874436 h 1237129"/>
              <a:gd name="connsiteX2989" fmla="*/ 772060 w 3751729"/>
              <a:gd name="connsiteY2989" fmla="*/ 871975 h 1237129"/>
              <a:gd name="connsiteX2990" fmla="*/ 774522 w 3751729"/>
              <a:gd name="connsiteY2990" fmla="*/ 870251 h 1237129"/>
              <a:gd name="connsiteX2991" fmla="*/ 776244 w 3751729"/>
              <a:gd name="connsiteY2991" fmla="*/ 870251 h 1237129"/>
              <a:gd name="connsiteX2992" fmla="*/ 778707 w 3751729"/>
              <a:gd name="connsiteY2992" fmla="*/ 870251 h 1237129"/>
              <a:gd name="connsiteX2993" fmla="*/ 780429 w 3751729"/>
              <a:gd name="connsiteY2993" fmla="*/ 870251 h 1237129"/>
              <a:gd name="connsiteX2994" fmla="*/ 783629 w 3751729"/>
              <a:gd name="connsiteY2994" fmla="*/ 871975 h 1237129"/>
              <a:gd name="connsiteX2995" fmla="*/ 787813 w 3751729"/>
              <a:gd name="connsiteY2995" fmla="*/ 871975 h 1237129"/>
              <a:gd name="connsiteX2996" fmla="*/ 786090 w 3751729"/>
              <a:gd name="connsiteY2996" fmla="*/ 874436 h 1237129"/>
              <a:gd name="connsiteX2997" fmla="*/ 786090 w 3751729"/>
              <a:gd name="connsiteY2997" fmla="*/ 877882 h 1237129"/>
              <a:gd name="connsiteX2998" fmla="*/ 784367 w 3751729"/>
              <a:gd name="connsiteY2998" fmla="*/ 877882 h 1237129"/>
              <a:gd name="connsiteX2999" fmla="*/ 784367 w 3751729"/>
              <a:gd name="connsiteY2999" fmla="*/ 878621 h 1237129"/>
              <a:gd name="connsiteX3000" fmla="*/ 786090 w 3751729"/>
              <a:gd name="connsiteY3000" fmla="*/ 878621 h 1237129"/>
              <a:gd name="connsiteX3001" fmla="*/ 787813 w 3751729"/>
              <a:gd name="connsiteY3001" fmla="*/ 880343 h 1237129"/>
              <a:gd name="connsiteX3002" fmla="*/ 790275 w 3751729"/>
              <a:gd name="connsiteY3002" fmla="*/ 882066 h 1237129"/>
              <a:gd name="connsiteX3003" fmla="*/ 790275 w 3751729"/>
              <a:gd name="connsiteY3003" fmla="*/ 878621 h 1237129"/>
              <a:gd name="connsiteX3004" fmla="*/ 793475 w 3751729"/>
              <a:gd name="connsiteY3004" fmla="*/ 876160 h 1237129"/>
              <a:gd name="connsiteX3005" fmla="*/ 795199 w 3751729"/>
              <a:gd name="connsiteY3005" fmla="*/ 874436 h 1237129"/>
              <a:gd name="connsiteX3006" fmla="*/ 795937 w 3751729"/>
              <a:gd name="connsiteY3006" fmla="*/ 872714 h 1237129"/>
              <a:gd name="connsiteX3007" fmla="*/ 797660 w 3751729"/>
              <a:gd name="connsiteY3007" fmla="*/ 871975 h 1237129"/>
              <a:gd name="connsiteX3008" fmla="*/ 800860 w 3751729"/>
              <a:gd name="connsiteY3008" fmla="*/ 870251 h 1237129"/>
              <a:gd name="connsiteX3009" fmla="*/ 803320 w 3751729"/>
              <a:gd name="connsiteY3009" fmla="*/ 868529 h 1237129"/>
              <a:gd name="connsiteX3010" fmla="*/ 816613 w 3751729"/>
              <a:gd name="connsiteY3010" fmla="*/ 880097 h 1237129"/>
              <a:gd name="connsiteX3011" fmla="*/ 833845 w 3751729"/>
              <a:gd name="connsiteY3011" fmla="*/ 886006 h 1237129"/>
              <a:gd name="connsiteX3012" fmla="*/ 851075 w 3751729"/>
              <a:gd name="connsiteY3012" fmla="*/ 887728 h 1237129"/>
              <a:gd name="connsiteX3013" fmla="*/ 871014 w 3751729"/>
              <a:gd name="connsiteY3013" fmla="*/ 886006 h 1237129"/>
              <a:gd name="connsiteX3014" fmla="*/ 891689 w 3751729"/>
              <a:gd name="connsiteY3014" fmla="*/ 884281 h 1237129"/>
              <a:gd name="connsiteX3015" fmla="*/ 891689 w 3751729"/>
              <a:gd name="connsiteY3015" fmla="*/ 887728 h 1237129"/>
              <a:gd name="connsiteX3016" fmla="*/ 891689 w 3751729"/>
              <a:gd name="connsiteY3016" fmla="*/ 889452 h 1237129"/>
              <a:gd name="connsiteX3017" fmla="*/ 889967 w 3751729"/>
              <a:gd name="connsiteY3017" fmla="*/ 890190 h 1237129"/>
              <a:gd name="connsiteX3018" fmla="*/ 889967 w 3751729"/>
              <a:gd name="connsiteY3018" fmla="*/ 891912 h 1237129"/>
              <a:gd name="connsiteX3019" fmla="*/ 888243 w 3751729"/>
              <a:gd name="connsiteY3019" fmla="*/ 894374 h 1237129"/>
              <a:gd name="connsiteX3020" fmla="*/ 898090 w 3751729"/>
              <a:gd name="connsiteY3020" fmla="*/ 897820 h 1237129"/>
              <a:gd name="connsiteX3021" fmla="*/ 903751 w 3751729"/>
              <a:gd name="connsiteY3021" fmla="*/ 902005 h 1237129"/>
              <a:gd name="connsiteX3022" fmla="*/ 909413 w 3751729"/>
              <a:gd name="connsiteY3022" fmla="*/ 906190 h 1237129"/>
              <a:gd name="connsiteX3023" fmla="*/ 919259 w 3751729"/>
              <a:gd name="connsiteY3023" fmla="*/ 911113 h 1237129"/>
              <a:gd name="connsiteX3024" fmla="*/ 919259 w 3751729"/>
              <a:gd name="connsiteY3024" fmla="*/ 919481 h 1237129"/>
              <a:gd name="connsiteX3025" fmla="*/ 930090 w 3751729"/>
              <a:gd name="connsiteY3025" fmla="*/ 922928 h 1237129"/>
              <a:gd name="connsiteX3026" fmla="*/ 936736 w 3751729"/>
              <a:gd name="connsiteY3026" fmla="*/ 923667 h 1237129"/>
              <a:gd name="connsiteX3027" fmla="*/ 942397 w 3751729"/>
              <a:gd name="connsiteY3027" fmla="*/ 929574 h 1237129"/>
              <a:gd name="connsiteX3028" fmla="*/ 945597 w 3751729"/>
              <a:gd name="connsiteY3028" fmla="*/ 938682 h 1237129"/>
              <a:gd name="connsiteX3029" fmla="*/ 962828 w 3751729"/>
              <a:gd name="connsiteY3029" fmla="*/ 940404 h 1237129"/>
              <a:gd name="connsiteX3030" fmla="*/ 976859 w 3751729"/>
              <a:gd name="connsiteY3030" fmla="*/ 941143 h 1237129"/>
              <a:gd name="connsiteX3031" fmla="*/ 995813 w 3751729"/>
              <a:gd name="connsiteY3031" fmla="*/ 942867 h 1237129"/>
              <a:gd name="connsiteX3032" fmla="*/ 1009104 w 3751729"/>
              <a:gd name="connsiteY3032" fmla="*/ 960343 h 1237129"/>
              <a:gd name="connsiteX3033" fmla="*/ 1024859 w 3751729"/>
              <a:gd name="connsiteY3033" fmla="*/ 976097 h 1237129"/>
              <a:gd name="connsiteX3034" fmla="*/ 1042089 w 3751729"/>
              <a:gd name="connsiteY3034" fmla="*/ 989389 h 1237129"/>
              <a:gd name="connsiteX3035" fmla="*/ 1062028 w 3751729"/>
              <a:gd name="connsiteY3035" fmla="*/ 999481 h 1237129"/>
              <a:gd name="connsiteX3036" fmla="*/ 1061290 w 3751729"/>
              <a:gd name="connsiteY3036" fmla="*/ 1005389 h 1237129"/>
              <a:gd name="connsiteX3037" fmla="*/ 1058089 w 3751729"/>
              <a:gd name="connsiteY3037" fmla="*/ 1008835 h 1237129"/>
              <a:gd name="connsiteX3038" fmla="*/ 1055627 w 3751729"/>
              <a:gd name="connsiteY3038" fmla="*/ 1013020 h 1237129"/>
              <a:gd name="connsiteX3039" fmla="*/ 1052427 w 3751729"/>
              <a:gd name="connsiteY3039" fmla="*/ 1015481 h 1237129"/>
              <a:gd name="connsiteX3040" fmla="*/ 1049966 w 3751729"/>
              <a:gd name="connsiteY3040" fmla="*/ 1020404 h 1237129"/>
              <a:gd name="connsiteX3041" fmla="*/ 1068182 w 3751729"/>
              <a:gd name="connsiteY3041" fmla="*/ 1020404 h 1237129"/>
              <a:gd name="connsiteX3042" fmla="*/ 1085412 w 3751729"/>
              <a:gd name="connsiteY3042" fmla="*/ 1026312 h 1237129"/>
              <a:gd name="connsiteX3043" fmla="*/ 1088612 w 3751729"/>
              <a:gd name="connsiteY3043" fmla="*/ 1036404 h 1237129"/>
              <a:gd name="connsiteX3044" fmla="*/ 1092798 w 3751729"/>
              <a:gd name="connsiteY3044" fmla="*/ 1034681 h 1237129"/>
              <a:gd name="connsiteX3045" fmla="*/ 1095258 w 3751729"/>
              <a:gd name="connsiteY3045" fmla="*/ 1032958 h 1237129"/>
              <a:gd name="connsiteX3046" fmla="*/ 1100181 w 3751729"/>
              <a:gd name="connsiteY3046" fmla="*/ 1034681 h 1237129"/>
              <a:gd name="connsiteX3047" fmla="*/ 1100919 w 3751729"/>
              <a:gd name="connsiteY3047" fmla="*/ 1034681 h 1237129"/>
              <a:gd name="connsiteX3048" fmla="*/ 1104120 w 3751729"/>
              <a:gd name="connsiteY3048" fmla="*/ 1036404 h 1237129"/>
              <a:gd name="connsiteX3049" fmla="*/ 1106582 w 3751729"/>
              <a:gd name="connsiteY3049" fmla="*/ 1038127 h 1237129"/>
              <a:gd name="connsiteX3050" fmla="*/ 1109782 w 3751729"/>
              <a:gd name="connsiteY3050" fmla="*/ 1038865 h 1237129"/>
              <a:gd name="connsiteX3051" fmla="*/ 1154335 w 3751729"/>
              <a:gd name="connsiteY3051" fmla="*/ 1042312 h 1237129"/>
              <a:gd name="connsiteX3052" fmla="*/ 1158519 w 3751729"/>
              <a:gd name="connsiteY3052" fmla="*/ 1046496 h 1237129"/>
              <a:gd name="connsiteX3053" fmla="*/ 1161719 w 3751729"/>
              <a:gd name="connsiteY3053" fmla="*/ 1054866 h 1237129"/>
              <a:gd name="connsiteX3054" fmla="*/ 1162457 w 3751729"/>
              <a:gd name="connsiteY3054" fmla="*/ 1062250 h 1237129"/>
              <a:gd name="connsiteX3055" fmla="*/ 1167381 w 3751729"/>
              <a:gd name="connsiteY3055" fmla="*/ 1068158 h 1237129"/>
              <a:gd name="connsiteX3056" fmla="*/ 1174027 w 3751729"/>
              <a:gd name="connsiteY3056" fmla="*/ 1069881 h 1237129"/>
              <a:gd name="connsiteX3057" fmla="*/ 1181411 w 3751729"/>
              <a:gd name="connsiteY3057" fmla="*/ 1069881 h 1237129"/>
              <a:gd name="connsiteX3058" fmla="*/ 1187072 w 3751729"/>
              <a:gd name="connsiteY3058" fmla="*/ 1068158 h 1237129"/>
              <a:gd name="connsiteX3059" fmla="*/ 1191257 w 3751729"/>
              <a:gd name="connsiteY3059" fmla="*/ 1074065 h 1237129"/>
              <a:gd name="connsiteX3060" fmla="*/ 1196181 w 3751729"/>
              <a:gd name="connsiteY3060" fmla="*/ 1078250 h 1237129"/>
              <a:gd name="connsiteX3061" fmla="*/ 1198642 w 3751729"/>
              <a:gd name="connsiteY3061" fmla="*/ 1083174 h 1237129"/>
              <a:gd name="connsiteX3062" fmla="*/ 1200612 w 3751729"/>
              <a:gd name="connsiteY3062" fmla="*/ 1088835 h 1237129"/>
              <a:gd name="connsiteX3063" fmla="*/ 1202334 w 3751729"/>
              <a:gd name="connsiteY3063" fmla="*/ 1095481 h 1237129"/>
              <a:gd name="connsiteX3064" fmla="*/ 1191503 w 3751729"/>
              <a:gd name="connsiteY3064" fmla="*/ 1108773 h 1237129"/>
              <a:gd name="connsiteX3065" fmla="*/ 1179934 w 3751729"/>
              <a:gd name="connsiteY3065" fmla="*/ 1124527 h 1237129"/>
              <a:gd name="connsiteX3066" fmla="*/ 1168366 w 3751729"/>
              <a:gd name="connsiteY3066" fmla="*/ 1142003 h 1237129"/>
              <a:gd name="connsiteX3067" fmla="*/ 1158519 w 3751729"/>
              <a:gd name="connsiteY3067" fmla="*/ 1159481 h 1237129"/>
              <a:gd name="connsiteX3068" fmla="*/ 1151874 w 3751729"/>
              <a:gd name="connsiteY3068" fmla="*/ 1172772 h 1237129"/>
              <a:gd name="connsiteX3069" fmla="*/ 1151874 w 3751729"/>
              <a:gd name="connsiteY3069" fmla="*/ 1181142 h 1237129"/>
              <a:gd name="connsiteX3070" fmla="*/ 1152611 w 3751729"/>
              <a:gd name="connsiteY3070" fmla="*/ 1192710 h 1237129"/>
              <a:gd name="connsiteX3071" fmla="*/ 1155811 w 3751729"/>
              <a:gd name="connsiteY3071" fmla="*/ 1206003 h 1237129"/>
              <a:gd name="connsiteX3072" fmla="*/ 1154089 w 3751729"/>
              <a:gd name="connsiteY3072" fmla="*/ 1217572 h 1237129"/>
              <a:gd name="connsiteX3073" fmla="*/ 1151627 w 3751729"/>
              <a:gd name="connsiteY3073" fmla="*/ 1224957 h 1237129"/>
              <a:gd name="connsiteX3074" fmla="*/ 1145965 w 3751729"/>
              <a:gd name="connsiteY3074" fmla="*/ 1236526 h 1237129"/>
              <a:gd name="connsiteX3075" fmla="*/ 1145610 w 3751729"/>
              <a:gd name="connsiteY3075" fmla="*/ 1237129 h 1237129"/>
              <a:gd name="connsiteX3076" fmla="*/ 795176 w 3751729"/>
              <a:gd name="connsiteY3076" fmla="*/ 1237129 h 1237129"/>
              <a:gd name="connsiteX3077" fmla="*/ 797415 w 3751729"/>
              <a:gd name="connsiteY3077" fmla="*/ 1220772 h 1237129"/>
              <a:gd name="connsiteX3078" fmla="*/ 768614 w 3751729"/>
              <a:gd name="connsiteY3078" fmla="*/ 1209941 h 1237129"/>
              <a:gd name="connsiteX3079" fmla="*/ 743752 w 3751729"/>
              <a:gd name="connsiteY3079" fmla="*/ 1193203 h 1237129"/>
              <a:gd name="connsiteX3080" fmla="*/ 723814 w 3751729"/>
              <a:gd name="connsiteY3080" fmla="*/ 1171542 h 1237129"/>
              <a:gd name="connsiteX3081" fmla="*/ 707322 w 3751729"/>
              <a:gd name="connsiteY3081" fmla="*/ 1148157 h 1237129"/>
              <a:gd name="connsiteX3082" fmla="*/ 701661 w 3751729"/>
              <a:gd name="connsiteY3082" fmla="*/ 1134865 h 1237129"/>
              <a:gd name="connsiteX3083" fmla="*/ 697476 w 3751729"/>
              <a:gd name="connsiteY3083" fmla="*/ 1122311 h 1237129"/>
              <a:gd name="connsiteX3084" fmla="*/ 693291 w 3751729"/>
              <a:gd name="connsiteY3084" fmla="*/ 1107296 h 1237129"/>
              <a:gd name="connsiteX3085" fmla="*/ 687630 w 3751729"/>
              <a:gd name="connsiteY3085" fmla="*/ 1095727 h 1237129"/>
              <a:gd name="connsiteX3086" fmla="*/ 678522 w 3751729"/>
              <a:gd name="connsiteY3086" fmla="*/ 1087357 h 1237129"/>
              <a:gd name="connsiteX3087" fmla="*/ 676061 w 3751729"/>
              <a:gd name="connsiteY3087" fmla="*/ 1083911 h 1237129"/>
              <a:gd name="connsiteX3088" fmla="*/ 671876 w 3751729"/>
              <a:gd name="connsiteY3088" fmla="*/ 1083911 h 1237129"/>
              <a:gd name="connsiteX3089" fmla="*/ 668677 w 3751729"/>
              <a:gd name="connsiteY3089" fmla="*/ 1083174 h 1237129"/>
              <a:gd name="connsiteX3090" fmla="*/ 666215 w 3751729"/>
              <a:gd name="connsiteY3090" fmla="*/ 1079727 h 1237129"/>
              <a:gd name="connsiteX3091" fmla="*/ 663014 w 3751729"/>
              <a:gd name="connsiteY3091" fmla="*/ 1077265 h 1237129"/>
              <a:gd name="connsiteX3092" fmla="*/ 666215 w 3751729"/>
              <a:gd name="connsiteY3092" fmla="*/ 1071358 h 1237129"/>
              <a:gd name="connsiteX3093" fmla="*/ 666215 w 3751729"/>
              <a:gd name="connsiteY3093" fmla="*/ 1066434 h 1237129"/>
              <a:gd name="connsiteX3094" fmla="*/ 666215 w 3751729"/>
              <a:gd name="connsiteY3094" fmla="*/ 1060527 h 1237129"/>
              <a:gd name="connsiteX3095" fmla="*/ 666215 w 3751729"/>
              <a:gd name="connsiteY3095" fmla="*/ 1054620 h 1237129"/>
              <a:gd name="connsiteX3096" fmla="*/ 673599 w 3751729"/>
              <a:gd name="connsiteY3096" fmla="*/ 1050435 h 1237129"/>
              <a:gd name="connsiteX3097" fmla="*/ 678522 w 3751729"/>
              <a:gd name="connsiteY3097" fmla="*/ 1046250 h 1237129"/>
              <a:gd name="connsiteX3098" fmla="*/ 685907 w 3751729"/>
              <a:gd name="connsiteY3098" fmla="*/ 1042065 h 1237129"/>
              <a:gd name="connsiteX3099" fmla="*/ 685907 w 3751729"/>
              <a:gd name="connsiteY3099" fmla="*/ 1038619 h 1237129"/>
              <a:gd name="connsiteX3100" fmla="*/ 678522 w 3751729"/>
              <a:gd name="connsiteY3100" fmla="*/ 1038619 h 1237129"/>
              <a:gd name="connsiteX3101" fmla="*/ 674337 w 3751729"/>
              <a:gd name="connsiteY3101" fmla="*/ 1037881 h 1237129"/>
              <a:gd name="connsiteX3102" fmla="*/ 670152 w 3751729"/>
              <a:gd name="connsiteY3102" fmla="*/ 1037881 h 1237129"/>
              <a:gd name="connsiteX3103" fmla="*/ 665969 w 3751729"/>
              <a:gd name="connsiteY3103" fmla="*/ 1036158 h 1237129"/>
              <a:gd name="connsiteX3104" fmla="*/ 671630 w 3751729"/>
              <a:gd name="connsiteY3104" fmla="*/ 1022866 h 1237129"/>
              <a:gd name="connsiteX3105" fmla="*/ 675815 w 3751729"/>
              <a:gd name="connsiteY3105" fmla="*/ 1009574 h 1237129"/>
              <a:gd name="connsiteX3106" fmla="*/ 681476 w 3751729"/>
              <a:gd name="connsiteY3106" fmla="*/ 997020 h 1237129"/>
              <a:gd name="connsiteX3107" fmla="*/ 691322 w 3751729"/>
              <a:gd name="connsiteY3107" fmla="*/ 986189 h 1237129"/>
              <a:gd name="connsiteX3108" fmla="*/ 702891 w 3751729"/>
              <a:gd name="connsiteY3108" fmla="*/ 976097 h 1237129"/>
              <a:gd name="connsiteX3109" fmla="*/ 712737 w 3751729"/>
              <a:gd name="connsiteY3109" fmla="*/ 964528 h 1237129"/>
              <a:gd name="connsiteX3110" fmla="*/ 711998 w 3751729"/>
              <a:gd name="connsiteY3110" fmla="*/ 956159 h 1237129"/>
              <a:gd name="connsiteX3111" fmla="*/ 711998 w 3751729"/>
              <a:gd name="connsiteY3111" fmla="*/ 944590 h 1237129"/>
              <a:gd name="connsiteX3112" fmla="*/ 710276 w 3751729"/>
              <a:gd name="connsiteY3112" fmla="*/ 933020 h 1237129"/>
              <a:gd name="connsiteX3113" fmla="*/ 706091 w 3751729"/>
              <a:gd name="connsiteY3113" fmla="*/ 925636 h 1237129"/>
              <a:gd name="connsiteX3114" fmla="*/ 700430 w 3751729"/>
              <a:gd name="connsiteY3114" fmla="*/ 917266 h 1237129"/>
              <a:gd name="connsiteX3115" fmla="*/ 694769 w 3751729"/>
              <a:gd name="connsiteY3115" fmla="*/ 908159 h 1237129"/>
              <a:gd name="connsiteX3116" fmla="*/ 689107 w 3751729"/>
              <a:gd name="connsiteY3116" fmla="*/ 908159 h 1237129"/>
              <a:gd name="connsiteX3117" fmla="*/ 687384 w 3751729"/>
              <a:gd name="connsiteY3117" fmla="*/ 909882 h 1237129"/>
              <a:gd name="connsiteX3118" fmla="*/ 685660 w 3751729"/>
              <a:gd name="connsiteY3118" fmla="*/ 911605 h 1237129"/>
              <a:gd name="connsiteX3119" fmla="*/ 683938 w 3751729"/>
              <a:gd name="connsiteY3119" fmla="*/ 912343 h 1237129"/>
              <a:gd name="connsiteX3120" fmla="*/ 681476 w 3751729"/>
              <a:gd name="connsiteY3120" fmla="*/ 914066 h 1237129"/>
              <a:gd name="connsiteX3121" fmla="*/ 683199 w 3751729"/>
              <a:gd name="connsiteY3121" fmla="*/ 917513 h 1237129"/>
              <a:gd name="connsiteX3122" fmla="*/ 683199 w 3751729"/>
              <a:gd name="connsiteY3122" fmla="*/ 919974 h 1237129"/>
              <a:gd name="connsiteX3123" fmla="*/ 683199 w 3751729"/>
              <a:gd name="connsiteY3123" fmla="*/ 921697 h 1237129"/>
              <a:gd name="connsiteX3124" fmla="*/ 681476 w 3751729"/>
              <a:gd name="connsiteY3124" fmla="*/ 924159 h 1237129"/>
              <a:gd name="connsiteX3125" fmla="*/ 679753 w 3751729"/>
              <a:gd name="connsiteY3125" fmla="*/ 924159 h 1237129"/>
              <a:gd name="connsiteX3126" fmla="*/ 678030 w 3751729"/>
              <a:gd name="connsiteY3126" fmla="*/ 925882 h 1237129"/>
              <a:gd name="connsiteX3127" fmla="*/ 677292 w 3751729"/>
              <a:gd name="connsiteY3127" fmla="*/ 925882 h 1237129"/>
              <a:gd name="connsiteX3128" fmla="*/ 675568 w 3751729"/>
              <a:gd name="connsiteY3128" fmla="*/ 925882 h 1237129"/>
              <a:gd name="connsiteX3129" fmla="*/ 673108 w 3751729"/>
              <a:gd name="connsiteY3129" fmla="*/ 927605 h 1237129"/>
              <a:gd name="connsiteX3130" fmla="*/ 665722 w 3751729"/>
              <a:gd name="connsiteY3130" fmla="*/ 921697 h 1237129"/>
              <a:gd name="connsiteX3131" fmla="*/ 652430 w 3751729"/>
              <a:gd name="connsiteY3131" fmla="*/ 914313 h 1237129"/>
              <a:gd name="connsiteX3132" fmla="*/ 639137 w 3751729"/>
              <a:gd name="connsiteY3132" fmla="*/ 906929 h 1237129"/>
              <a:gd name="connsiteX3133" fmla="*/ 626831 w 3751729"/>
              <a:gd name="connsiteY3133" fmla="*/ 901020 h 1237129"/>
              <a:gd name="connsiteX3134" fmla="*/ 617722 w 3751729"/>
              <a:gd name="connsiteY3134" fmla="*/ 898558 h 1237129"/>
              <a:gd name="connsiteX3135" fmla="*/ 610338 w 3751729"/>
              <a:gd name="connsiteY3135" fmla="*/ 881082 h 1237129"/>
              <a:gd name="connsiteX3136" fmla="*/ 603692 w 3751729"/>
              <a:gd name="connsiteY3136" fmla="*/ 870989 h 1237129"/>
              <a:gd name="connsiteX3137" fmla="*/ 596308 w 3751729"/>
              <a:gd name="connsiteY3137" fmla="*/ 863605 h 1237129"/>
              <a:gd name="connsiteX3138" fmla="*/ 588923 w 3751729"/>
              <a:gd name="connsiteY3138" fmla="*/ 861144 h 1237129"/>
              <a:gd name="connsiteX3139" fmla="*/ 577353 w 3751729"/>
              <a:gd name="connsiteY3139" fmla="*/ 857698 h 1237129"/>
              <a:gd name="connsiteX3140" fmla="*/ 565046 w 3751729"/>
              <a:gd name="connsiteY3140" fmla="*/ 853513 h 1237129"/>
              <a:gd name="connsiteX3141" fmla="*/ 548554 w 3751729"/>
              <a:gd name="connsiteY3141" fmla="*/ 847606 h 1237129"/>
              <a:gd name="connsiteX3142" fmla="*/ 538708 w 3751729"/>
              <a:gd name="connsiteY3142" fmla="*/ 840221 h 1237129"/>
              <a:gd name="connsiteX3143" fmla="*/ 530338 w 3751729"/>
              <a:gd name="connsiteY3143" fmla="*/ 832836 h 1237129"/>
              <a:gd name="connsiteX3144" fmla="*/ 517046 w 3751729"/>
              <a:gd name="connsiteY3144" fmla="*/ 826929 h 1237129"/>
              <a:gd name="connsiteX3145" fmla="*/ 508677 w 3751729"/>
              <a:gd name="connsiteY3145" fmla="*/ 826929 h 1237129"/>
              <a:gd name="connsiteX3146" fmla="*/ 503016 w 3751729"/>
              <a:gd name="connsiteY3146" fmla="*/ 830375 h 1237129"/>
              <a:gd name="connsiteX3147" fmla="*/ 498092 w 3751729"/>
              <a:gd name="connsiteY3147" fmla="*/ 832836 h 1237129"/>
              <a:gd name="connsiteX3148" fmla="*/ 492431 w 3751729"/>
              <a:gd name="connsiteY3148" fmla="*/ 836283 h 1237129"/>
              <a:gd name="connsiteX3149" fmla="*/ 485785 w 3751729"/>
              <a:gd name="connsiteY3149" fmla="*/ 834560 h 1237129"/>
              <a:gd name="connsiteX3150" fmla="*/ 482585 w 3751729"/>
              <a:gd name="connsiteY3150" fmla="*/ 832836 h 1237129"/>
              <a:gd name="connsiteX3151" fmla="*/ 480124 w 3751729"/>
              <a:gd name="connsiteY3151" fmla="*/ 830375 h 1237129"/>
              <a:gd name="connsiteX3152" fmla="*/ 476924 w 3751729"/>
              <a:gd name="connsiteY3152" fmla="*/ 826929 h 1237129"/>
              <a:gd name="connsiteX3153" fmla="*/ 472739 w 3751729"/>
              <a:gd name="connsiteY3153" fmla="*/ 822744 h 1237129"/>
              <a:gd name="connsiteX3154" fmla="*/ 469539 w 3751729"/>
              <a:gd name="connsiteY3154" fmla="*/ 820283 h 1237129"/>
              <a:gd name="connsiteX3155" fmla="*/ 467077 w 3751729"/>
              <a:gd name="connsiteY3155" fmla="*/ 818559 h 1237129"/>
              <a:gd name="connsiteX3156" fmla="*/ 448124 w 3751729"/>
              <a:gd name="connsiteY3156" fmla="*/ 815113 h 1237129"/>
              <a:gd name="connsiteX3157" fmla="*/ 445662 w 3751729"/>
              <a:gd name="connsiteY3157" fmla="*/ 812652 h 1237129"/>
              <a:gd name="connsiteX3158" fmla="*/ 442462 w 3751729"/>
              <a:gd name="connsiteY3158" fmla="*/ 810190 h 1237129"/>
              <a:gd name="connsiteX3159" fmla="*/ 440000 w 3751729"/>
              <a:gd name="connsiteY3159" fmla="*/ 806744 h 1237129"/>
              <a:gd name="connsiteX3160" fmla="*/ 436801 w 3751729"/>
              <a:gd name="connsiteY3160" fmla="*/ 804283 h 1237129"/>
              <a:gd name="connsiteX3161" fmla="*/ 436062 w 3751729"/>
              <a:gd name="connsiteY3161" fmla="*/ 802560 h 1237129"/>
              <a:gd name="connsiteX3162" fmla="*/ 419570 w 3751729"/>
              <a:gd name="connsiteY3162" fmla="*/ 805021 h 1237129"/>
              <a:gd name="connsiteX3163" fmla="*/ 417108 w 3751729"/>
              <a:gd name="connsiteY3163" fmla="*/ 804283 h 1237129"/>
              <a:gd name="connsiteX3164" fmla="*/ 412924 w 3751729"/>
              <a:gd name="connsiteY3164" fmla="*/ 798375 h 1237129"/>
              <a:gd name="connsiteX3165" fmla="*/ 405539 w 3751729"/>
              <a:gd name="connsiteY3165" fmla="*/ 792467 h 1237129"/>
              <a:gd name="connsiteX3166" fmla="*/ 399878 w 3751729"/>
              <a:gd name="connsiteY3166" fmla="*/ 785082 h 1237129"/>
              <a:gd name="connsiteX3167" fmla="*/ 394217 w 3751729"/>
              <a:gd name="connsiteY3167" fmla="*/ 779175 h 1237129"/>
              <a:gd name="connsiteX3168" fmla="*/ 391017 w 3751729"/>
              <a:gd name="connsiteY3168" fmla="*/ 775729 h 1237129"/>
              <a:gd name="connsiteX3169" fmla="*/ 396677 w 3751729"/>
              <a:gd name="connsiteY3169" fmla="*/ 757513 h 1237129"/>
              <a:gd name="connsiteX3170" fmla="*/ 380924 w 3751729"/>
              <a:gd name="connsiteY3170" fmla="*/ 740036 h 1237129"/>
              <a:gd name="connsiteX3171" fmla="*/ 366893 w 3751729"/>
              <a:gd name="connsiteY3171" fmla="*/ 720837 h 1237129"/>
              <a:gd name="connsiteX3172" fmla="*/ 352124 w 3751729"/>
              <a:gd name="connsiteY3172" fmla="*/ 700899 h 1237129"/>
              <a:gd name="connsiteX3173" fmla="*/ 338094 w 3751729"/>
              <a:gd name="connsiteY3173" fmla="*/ 679976 h 1237129"/>
              <a:gd name="connsiteX3174" fmla="*/ 334894 w 3751729"/>
              <a:gd name="connsiteY3174" fmla="*/ 678252 h 1237129"/>
              <a:gd name="connsiteX3175" fmla="*/ 330709 w 3751729"/>
              <a:gd name="connsiteY3175" fmla="*/ 677514 h 1237129"/>
              <a:gd name="connsiteX3176" fmla="*/ 328248 w 3751729"/>
              <a:gd name="connsiteY3176" fmla="*/ 677514 h 1237129"/>
              <a:gd name="connsiteX3177" fmla="*/ 323324 w 3751729"/>
              <a:gd name="connsiteY3177" fmla="*/ 675792 h 1237129"/>
              <a:gd name="connsiteX3178" fmla="*/ 322586 w 3751729"/>
              <a:gd name="connsiteY3178" fmla="*/ 674068 h 1237129"/>
              <a:gd name="connsiteX3179" fmla="*/ 316925 w 3751729"/>
              <a:gd name="connsiteY3179" fmla="*/ 666683 h 1237129"/>
              <a:gd name="connsiteX3180" fmla="*/ 313725 w 3751729"/>
              <a:gd name="connsiteY3180" fmla="*/ 658315 h 1237129"/>
              <a:gd name="connsiteX3181" fmla="*/ 311262 w 3751729"/>
              <a:gd name="connsiteY3181" fmla="*/ 649945 h 1237129"/>
              <a:gd name="connsiteX3182" fmla="*/ 306339 w 3751729"/>
              <a:gd name="connsiteY3182" fmla="*/ 640837 h 1237129"/>
              <a:gd name="connsiteX3183" fmla="*/ 299694 w 3751729"/>
              <a:gd name="connsiteY3183" fmla="*/ 636653 h 1237129"/>
              <a:gd name="connsiteX3184" fmla="*/ 296493 w 3751729"/>
              <a:gd name="connsiteY3184" fmla="*/ 633207 h 1237129"/>
              <a:gd name="connsiteX3185" fmla="*/ 294032 w 3751729"/>
              <a:gd name="connsiteY3185" fmla="*/ 630746 h 1237129"/>
              <a:gd name="connsiteX3186" fmla="*/ 290832 w 3751729"/>
              <a:gd name="connsiteY3186" fmla="*/ 629022 h 1237129"/>
              <a:gd name="connsiteX3187" fmla="*/ 290832 w 3751729"/>
              <a:gd name="connsiteY3187" fmla="*/ 644777 h 1237129"/>
              <a:gd name="connsiteX3188" fmla="*/ 295017 w 3751729"/>
              <a:gd name="connsiteY3188" fmla="*/ 650683 h 1237129"/>
              <a:gd name="connsiteX3189" fmla="*/ 304124 w 3751729"/>
              <a:gd name="connsiteY3189" fmla="*/ 660776 h 1237129"/>
              <a:gd name="connsiteX3190" fmla="*/ 312494 w 3751729"/>
              <a:gd name="connsiteY3190" fmla="*/ 672346 h 1237129"/>
              <a:gd name="connsiteX3191" fmla="*/ 323324 w 3751729"/>
              <a:gd name="connsiteY3191" fmla="*/ 687360 h 1237129"/>
              <a:gd name="connsiteX3192" fmla="*/ 331693 w 3751729"/>
              <a:gd name="connsiteY3192" fmla="*/ 701637 h 1237129"/>
              <a:gd name="connsiteX3193" fmla="*/ 340801 w 3751729"/>
              <a:gd name="connsiteY3193" fmla="*/ 716653 h 1237129"/>
              <a:gd name="connsiteX3194" fmla="*/ 347447 w 3751729"/>
              <a:gd name="connsiteY3194" fmla="*/ 729945 h 1237129"/>
              <a:gd name="connsiteX3195" fmla="*/ 350647 w 3751729"/>
              <a:gd name="connsiteY3195" fmla="*/ 738314 h 1237129"/>
              <a:gd name="connsiteX3196" fmla="*/ 350647 w 3751729"/>
              <a:gd name="connsiteY3196" fmla="*/ 744222 h 1237129"/>
              <a:gd name="connsiteX3197" fmla="*/ 348925 w 3751729"/>
              <a:gd name="connsiteY3197" fmla="*/ 746683 h 1237129"/>
              <a:gd name="connsiteX3198" fmla="*/ 347200 w 3751729"/>
              <a:gd name="connsiteY3198" fmla="*/ 748406 h 1237129"/>
              <a:gd name="connsiteX3199" fmla="*/ 347200 w 3751729"/>
              <a:gd name="connsiteY3199" fmla="*/ 750129 h 1237129"/>
              <a:gd name="connsiteX3200" fmla="*/ 344740 w 3751729"/>
              <a:gd name="connsiteY3200" fmla="*/ 751853 h 1237129"/>
              <a:gd name="connsiteX3201" fmla="*/ 344740 w 3751729"/>
              <a:gd name="connsiteY3201" fmla="*/ 745945 h 1237129"/>
              <a:gd name="connsiteX3202" fmla="*/ 343017 w 3751729"/>
              <a:gd name="connsiteY3202" fmla="*/ 741021 h 1237129"/>
              <a:gd name="connsiteX3203" fmla="*/ 343017 w 3751729"/>
              <a:gd name="connsiteY3203" fmla="*/ 738561 h 1237129"/>
              <a:gd name="connsiteX3204" fmla="*/ 341294 w 3751729"/>
              <a:gd name="connsiteY3204" fmla="*/ 735114 h 1237129"/>
              <a:gd name="connsiteX3205" fmla="*/ 338832 w 3751729"/>
              <a:gd name="connsiteY3205" fmla="*/ 735114 h 1237129"/>
              <a:gd name="connsiteX3206" fmla="*/ 337109 w 3751729"/>
              <a:gd name="connsiteY3206" fmla="*/ 735114 h 1237129"/>
              <a:gd name="connsiteX3207" fmla="*/ 335386 w 3751729"/>
              <a:gd name="connsiteY3207" fmla="*/ 735114 h 1237129"/>
              <a:gd name="connsiteX3208" fmla="*/ 334648 w 3751729"/>
              <a:gd name="connsiteY3208" fmla="*/ 735114 h 1237129"/>
              <a:gd name="connsiteX3209" fmla="*/ 332924 w 3751729"/>
              <a:gd name="connsiteY3209" fmla="*/ 735114 h 1237129"/>
              <a:gd name="connsiteX3210" fmla="*/ 328740 w 3751729"/>
              <a:gd name="connsiteY3210" fmla="*/ 735114 h 1237129"/>
              <a:gd name="connsiteX3211" fmla="*/ 325540 w 3751729"/>
              <a:gd name="connsiteY3211" fmla="*/ 725022 h 1237129"/>
              <a:gd name="connsiteX3212" fmla="*/ 323078 w 3751729"/>
              <a:gd name="connsiteY3212" fmla="*/ 714929 h 1237129"/>
              <a:gd name="connsiteX3213" fmla="*/ 318156 w 3751729"/>
              <a:gd name="connsiteY3213" fmla="*/ 706561 h 1237129"/>
              <a:gd name="connsiteX3214" fmla="*/ 311509 w 3751729"/>
              <a:gd name="connsiteY3214" fmla="*/ 699175 h 1237129"/>
              <a:gd name="connsiteX3215" fmla="*/ 302401 w 3751729"/>
              <a:gd name="connsiteY3215" fmla="*/ 693269 h 1237129"/>
              <a:gd name="connsiteX3216" fmla="*/ 294032 w 3751729"/>
              <a:gd name="connsiteY3216" fmla="*/ 687360 h 1237129"/>
              <a:gd name="connsiteX3217" fmla="*/ 286647 w 3751729"/>
              <a:gd name="connsiteY3217" fmla="*/ 677268 h 1237129"/>
              <a:gd name="connsiteX3218" fmla="*/ 289109 w 3751729"/>
              <a:gd name="connsiteY3218" fmla="*/ 675545 h 1237129"/>
              <a:gd name="connsiteX3219" fmla="*/ 290832 w 3751729"/>
              <a:gd name="connsiteY3219" fmla="*/ 675545 h 1237129"/>
              <a:gd name="connsiteX3220" fmla="*/ 292555 w 3751729"/>
              <a:gd name="connsiteY3220" fmla="*/ 675545 h 1237129"/>
              <a:gd name="connsiteX3221" fmla="*/ 292555 w 3751729"/>
              <a:gd name="connsiteY3221" fmla="*/ 673821 h 1237129"/>
              <a:gd name="connsiteX3222" fmla="*/ 292555 w 3751729"/>
              <a:gd name="connsiteY3222" fmla="*/ 672099 h 1237129"/>
              <a:gd name="connsiteX3223" fmla="*/ 294278 w 3751729"/>
              <a:gd name="connsiteY3223" fmla="*/ 671361 h 1237129"/>
              <a:gd name="connsiteX3224" fmla="*/ 283447 w 3751729"/>
              <a:gd name="connsiteY3224" fmla="*/ 663976 h 1237129"/>
              <a:gd name="connsiteX3225" fmla="*/ 278524 w 3751729"/>
              <a:gd name="connsiteY3225" fmla="*/ 654869 h 1237129"/>
              <a:gd name="connsiteX3226" fmla="*/ 273601 w 3751729"/>
              <a:gd name="connsiteY3226" fmla="*/ 644777 h 1237129"/>
              <a:gd name="connsiteX3227" fmla="*/ 271140 w 3751729"/>
              <a:gd name="connsiteY3227" fmla="*/ 633207 h 1237129"/>
              <a:gd name="connsiteX3228" fmla="*/ 265478 w 3751729"/>
              <a:gd name="connsiteY3228" fmla="*/ 623115 h 1237129"/>
              <a:gd name="connsiteX3229" fmla="*/ 258093 w 3751729"/>
              <a:gd name="connsiteY3229" fmla="*/ 614745 h 1237129"/>
              <a:gd name="connsiteX3230" fmla="*/ 249725 w 3751729"/>
              <a:gd name="connsiteY3230" fmla="*/ 609823 h 1237129"/>
              <a:gd name="connsiteX3231" fmla="*/ 238894 w 3751729"/>
              <a:gd name="connsiteY3231" fmla="*/ 605638 h 1237129"/>
              <a:gd name="connsiteX3232" fmla="*/ 230524 w 3751729"/>
              <a:gd name="connsiteY3232" fmla="*/ 599730 h 1237129"/>
              <a:gd name="connsiteX3233" fmla="*/ 224863 w 3751729"/>
              <a:gd name="connsiteY3233" fmla="*/ 592346 h 1237129"/>
              <a:gd name="connsiteX3234" fmla="*/ 221663 w 3751729"/>
              <a:gd name="connsiteY3234" fmla="*/ 583977 h 1237129"/>
              <a:gd name="connsiteX3235" fmla="*/ 217478 w 3751729"/>
              <a:gd name="connsiteY3235" fmla="*/ 574871 h 1237129"/>
              <a:gd name="connsiteX3236" fmla="*/ 207633 w 3751729"/>
              <a:gd name="connsiteY3236" fmla="*/ 560594 h 1237129"/>
              <a:gd name="connsiteX3237" fmla="*/ 199264 w 3751729"/>
              <a:gd name="connsiteY3237" fmla="*/ 550502 h 1237129"/>
              <a:gd name="connsiteX3238" fmla="*/ 190156 w 3751729"/>
              <a:gd name="connsiteY3238" fmla="*/ 541394 h 1237129"/>
              <a:gd name="connsiteX3239" fmla="*/ 184494 w 3751729"/>
              <a:gd name="connsiteY3239" fmla="*/ 531303 h 1237129"/>
              <a:gd name="connsiteX3240" fmla="*/ 180309 w 3751729"/>
              <a:gd name="connsiteY3240" fmla="*/ 518010 h 1237129"/>
              <a:gd name="connsiteX3241" fmla="*/ 177109 w 3751729"/>
              <a:gd name="connsiteY3241" fmla="*/ 500533 h 1237129"/>
              <a:gd name="connsiteX3242" fmla="*/ 176371 w 3751729"/>
              <a:gd name="connsiteY3242" fmla="*/ 476410 h 1237129"/>
              <a:gd name="connsiteX3243" fmla="*/ 176371 w 3751729"/>
              <a:gd name="connsiteY3243" fmla="*/ 470503 h 1237129"/>
              <a:gd name="connsiteX3244" fmla="*/ 177109 w 3751729"/>
              <a:gd name="connsiteY3244" fmla="*/ 458933 h 1237129"/>
              <a:gd name="connsiteX3245" fmla="*/ 177109 w 3751729"/>
              <a:gd name="connsiteY3245" fmla="*/ 443180 h 1237129"/>
              <a:gd name="connsiteX3246" fmla="*/ 177109 w 3751729"/>
              <a:gd name="connsiteY3246" fmla="*/ 423980 h 1237129"/>
              <a:gd name="connsiteX3247" fmla="*/ 177109 w 3751729"/>
              <a:gd name="connsiteY3247" fmla="*/ 406503 h 1237129"/>
              <a:gd name="connsiteX3248" fmla="*/ 178833 w 3751729"/>
              <a:gd name="connsiteY3248" fmla="*/ 392226 h 1237129"/>
              <a:gd name="connsiteX3249" fmla="*/ 180556 w 3751729"/>
              <a:gd name="connsiteY3249" fmla="*/ 383118 h 1237129"/>
              <a:gd name="connsiteX3250" fmla="*/ 184740 w 3751729"/>
              <a:gd name="connsiteY3250" fmla="*/ 381396 h 1237129"/>
              <a:gd name="connsiteX3251" fmla="*/ 187940 w 3751729"/>
              <a:gd name="connsiteY3251" fmla="*/ 381396 h 1237129"/>
              <a:gd name="connsiteX3252" fmla="*/ 190402 w 3751729"/>
              <a:gd name="connsiteY3252" fmla="*/ 381396 h 1237129"/>
              <a:gd name="connsiteX3253" fmla="*/ 193602 w 3751729"/>
              <a:gd name="connsiteY3253" fmla="*/ 381396 h 1237129"/>
              <a:gd name="connsiteX3254" fmla="*/ 196064 w 3751729"/>
              <a:gd name="connsiteY3254" fmla="*/ 383118 h 1237129"/>
              <a:gd name="connsiteX3255" fmla="*/ 197787 w 3751729"/>
              <a:gd name="connsiteY3255" fmla="*/ 386564 h 1237129"/>
              <a:gd name="connsiteX3256" fmla="*/ 200248 w 3751729"/>
              <a:gd name="connsiteY3256" fmla="*/ 389026 h 1237129"/>
              <a:gd name="connsiteX3257" fmla="*/ 201970 w 3751729"/>
              <a:gd name="connsiteY3257" fmla="*/ 392473 h 1237129"/>
              <a:gd name="connsiteX3258" fmla="*/ 201970 w 3751729"/>
              <a:gd name="connsiteY3258" fmla="*/ 375733 h 1237129"/>
              <a:gd name="connsiteX3259" fmla="*/ 192125 w 3751729"/>
              <a:gd name="connsiteY3259" fmla="*/ 364165 h 1237129"/>
              <a:gd name="connsiteX3260" fmla="*/ 180556 w 3751729"/>
              <a:gd name="connsiteY3260" fmla="*/ 352596 h 1237129"/>
              <a:gd name="connsiteX3261" fmla="*/ 167264 w 3751729"/>
              <a:gd name="connsiteY3261" fmla="*/ 344226 h 1237129"/>
              <a:gd name="connsiteX3262" fmla="*/ 167264 w 3751729"/>
              <a:gd name="connsiteY3262" fmla="*/ 351611 h 1237129"/>
              <a:gd name="connsiteX3263" fmla="*/ 172926 w 3751729"/>
              <a:gd name="connsiteY3263" fmla="*/ 355795 h 1237129"/>
              <a:gd name="connsiteX3264" fmla="*/ 178586 w 3751729"/>
              <a:gd name="connsiteY3264" fmla="*/ 359980 h 1237129"/>
              <a:gd name="connsiteX3265" fmla="*/ 184247 w 3751729"/>
              <a:gd name="connsiteY3265" fmla="*/ 364165 h 1237129"/>
              <a:gd name="connsiteX3266" fmla="*/ 188433 w 3751729"/>
              <a:gd name="connsiteY3266" fmla="*/ 370072 h 1237129"/>
              <a:gd name="connsiteX3267" fmla="*/ 188433 w 3751729"/>
              <a:gd name="connsiteY3267" fmla="*/ 373518 h 1237129"/>
              <a:gd name="connsiteX3268" fmla="*/ 187694 w 3751729"/>
              <a:gd name="connsiteY3268" fmla="*/ 373518 h 1237129"/>
              <a:gd name="connsiteX3269" fmla="*/ 187694 w 3751729"/>
              <a:gd name="connsiteY3269" fmla="*/ 375241 h 1237129"/>
              <a:gd name="connsiteX3270" fmla="*/ 185971 w 3751729"/>
              <a:gd name="connsiteY3270" fmla="*/ 375980 h 1237129"/>
              <a:gd name="connsiteX3271" fmla="*/ 182772 w 3751729"/>
              <a:gd name="connsiteY3271" fmla="*/ 377703 h 1237129"/>
              <a:gd name="connsiteX3272" fmla="*/ 182032 w 3751729"/>
              <a:gd name="connsiteY3272" fmla="*/ 379426 h 1237129"/>
              <a:gd name="connsiteX3273" fmla="*/ 177109 w 3751729"/>
              <a:gd name="connsiteY3273" fmla="*/ 379426 h 1237129"/>
              <a:gd name="connsiteX3274" fmla="*/ 172926 w 3751729"/>
              <a:gd name="connsiteY3274" fmla="*/ 379426 h 1237129"/>
              <a:gd name="connsiteX3275" fmla="*/ 171202 w 3751729"/>
              <a:gd name="connsiteY3275" fmla="*/ 379426 h 1237129"/>
              <a:gd name="connsiteX3276" fmla="*/ 171202 w 3751729"/>
              <a:gd name="connsiteY3276" fmla="*/ 377703 h 1237129"/>
              <a:gd name="connsiteX3277" fmla="*/ 170463 w 3751729"/>
              <a:gd name="connsiteY3277" fmla="*/ 377703 h 1237129"/>
              <a:gd name="connsiteX3278" fmla="*/ 167264 w 3751729"/>
              <a:gd name="connsiteY3278" fmla="*/ 375980 h 1237129"/>
              <a:gd name="connsiteX3279" fmla="*/ 157418 w 3751729"/>
              <a:gd name="connsiteY3279" fmla="*/ 363426 h 1237129"/>
              <a:gd name="connsiteX3280" fmla="*/ 148310 w 3751729"/>
              <a:gd name="connsiteY3280" fmla="*/ 350134 h 1237129"/>
              <a:gd name="connsiteX3281" fmla="*/ 141664 w 3751729"/>
              <a:gd name="connsiteY3281" fmla="*/ 335119 h 1237129"/>
              <a:gd name="connsiteX3282" fmla="*/ 148310 w 3751729"/>
              <a:gd name="connsiteY3282" fmla="*/ 335119 h 1237129"/>
              <a:gd name="connsiteX3283" fmla="*/ 151510 w 3751729"/>
              <a:gd name="connsiteY3283" fmla="*/ 336841 h 1237129"/>
              <a:gd name="connsiteX3284" fmla="*/ 153972 w 3751729"/>
              <a:gd name="connsiteY3284" fmla="*/ 336841 h 1237129"/>
              <a:gd name="connsiteX3285" fmla="*/ 157171 w 3751729"/>
              <a:gd name="connsiteY3285" fmla="*/ 336841 h 1237129"/>
              <a:gd name="connsiteX3286" fmla="*/ 159633 w 3751729"/>
              <a:gd name="connsiteY3286" fmla="*/ 335119 h 1237129"/>
              <a:gd name="connsiteX3287" fmla="*/ 148064 w 3751729"/>
              <a:gd name="connsiteY3287" fmla="*/ 330934 h 1237129"/>
              <a:gd name="connsiteX3288" fmla="*/ 141418 w 3751729"/>
              <a:gd name="connsiteY3288" fmla="*/ 324288 h 1237129"/>
              <a:gd name="connsiteX3289" fmla="*/ 135756 w 3751729"/>
              <a:gd name="connsiteY3289" fmla="*/ 315180 h 1237129"/>
              <a:gd name="connsiteX3290" fmla="*/ 130834 w 3751729"/>
              <a:gd name="connsiteY3290" fmla="*/ 305088 h 1237129"/>
              <a:gd name="connsiteX3291" fmla="*/ 128371 w 3751729"/>
              <a:gd name="connsiteY3291" fmla="*/ 294995 h 1237129"/>
              <a:gd name="connsiteX3292" fmla="*/ 124187 w 3751729"/>
              <a:gd name="connsiteY3292" fmla="*/ 285888 h 1237129"/>
              <a:gd name="connsiteX3293" fmla="*/ 118525 w 3751729"/>
              <a:gd name="connsiteY3293" fmla="*/ 278503 h 1237129"/>
              <a:gd name="connsiteX3294" fmla="*/ 109418 w 3751729"/>
              <a:gd name="connsiteY3294" fmla="*/ 274319 h 1237129"/>
              <a:gd name="connsiteX3295" fmla="*/ 112618 w 3751729"/>
              <a:gd name="connsiteY3295" fmla="*/ 255118 h 1237129"/>
              <a:gd name="connsiteX3296" fmla="*/ 102772 w 3751729"/>
              <a:gd name="connsiteY3296" fmla="*/ 244287 h 1237129"/>
              <a:gd name="connsiteX3297" fmla="*/ 93664 w 3751729"/>
              <a:gd name="connsiteY3297" fmla="*/ 230995 h 1237129"/>
              <a:gd name="connsiteX3298" fmla="*/ 86279 w 3751729"/>
              <a:gd name="connsiteY3298" fmla="*/ 217703 h 1237129"/>
              <a:gd name="connsiteX3299" fmla="*/ 76433 w 3751729"/>
              <a:gd name="connsiteY3299" fmla="*/ 204411 h 1237129"/>
              <a:gd name="connsiteX3300" fmla="*/ 64865 w 3751729"/>
              <a:gd name="connsiteY3300" fmla="*/ 194320 h 1237129"/>
              <a:gd name="connsiteX3301" fmla="*/ 49111 w 3751729"/>
              <a:gd name="connsiteY3301" fmla="*/ 186935 h 1237129"/>
              <a:gd name="connsiteX3302" fmla="*/ 30156 w 3751729"/>
              <a:gd name="connsiteY3302" fmla="*/ 182750 h 1237129"/>
              <a:gd name="connsiteX3303" fmla="*/ 14403 w 3751729"/>
              <a:gd name="connsiteY3303" fmla="*/ 175366 h 1237129"/>
              <a:gd name="connsiteX3304" fmla="*/ 2834 w 3751729"/>
              <a:gd name="connsiteY3304" fmla="*/ 165273 h 1237129"/>
              <a:gd name="connsiteX3305" fmla="*/ 0 w 3751729"/>
              <a:gd name="connsiteY3305" fmla="*/ 162806 h 123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</a:cxnLst>
            <a:rect l="l" t="t" r="r" b="b"/>
            <a:pathLst>
              <a:path w="3751729" h="1237129">
                <a:moveTo>
                  <a:pt x="2921457" y="929082"/>
                </a:moveTo>
                <a:lnTo>
                  <a:pt x="2929580" y="931543"/>
                </a:lnTo>
                <a:lnTo>
                  <a:pt x="2939672" y="937451"/>
                </a:lnTo>
                <a:lnTo>
                  <a:pt x="2948781" y="946559"/>
                </a:lnTo>
                <a:lnTo>
                  <a:pt x="2952719" y="954190"/>
                </a:lnTo>
                <a:lnTo>
                  <a:pt x="2948781" y="956651"/>
                </a:lnTo>
                <a:lnTo>
                  <a:pt x="2944596" y="960835"/>
                </a:lnTo>
                <a:lnTo>
                  <a:pt x="2939672" y="964282"/>
                </a:lnTo>
                <a:lnTo>
                  <a:pt x="2933765" y="966743"/>
                </a:lnTo>
                <a:lnTo>
                  <a:pt x="2938688" y="980035"/>
                </a:lnTo>
                <a:lnTo>
                  <a:pt x="2944596" y="990128"/>
                </a:lnTo>
                <a:lnTo>
                  <a:pt x="2950257" y="1001944"/>
                </a:lnTo>
                <a:lnTo>
                  <a:pt x="2945334" y="1003666"/>
                </a:lnTo>
                <a:lnTo>
                  <a:pt x="2942872" y="1003666"/>
                </a:lnTo>
                <a:lnTo>
                  <a:pt x="2941150" y="1003666"/>
                </a:lnTo>
                <a:lnTo>
                  <a:pt x="2939672" y="1005389"/>
                </a:lnTo>
                <a:lnTo>
                  <a:pt x="2938688" y="1006128"/>
                </a:lnTo>
                <a:lnTo>
                  <a:pt x="2937212" y="1009574"/>
                </a:lnTo>
                <a:lnTo>
                  <a:pt x="2929580" y="1022867"/>
                </a:lnTo>
                <a:lnTo>
                  <a:pt x="2925642" y="1038866"/>
                </a:lnTo>
                <a:lnTo>
                  <a:pt x="2918011" y="1053143"/>
                </a:lnTo>
                <a:lnTo>
                  <a:pt x="2914073" y="1056589"/>
                </a:lnTo>
                <a:lnTo>
                  <a:pt x="2909888" y="1056589"/>
                </a:lnTo>
                <a:lnTo>
                  <a:pt x="2904965" y="1057327"/>
                </a:lnTo>
                <a:lnTo>
                  <a:pt x="2900041" y="1057327"/>
                </a:lnTo>
                <a:lnTo>
                  <a:pt x="2890935" y="1052404"/>
                </a:lnTo>
                <a:lnTo>
                  <a:pt x="2882565" y="1050681"/>
                </a:lnTo>
                <a:lnTo>
                  <a:pt x="2871981" y="1050681"/>
                </a:lnTo>
                <a:lnTo>
                  <a:pt x="2861888" y="1048958"/>
                </a:lnTo>
                <a:lnTo>
                  <a:pt x="2852042" y="1044774"/>
                </a:lnTo>
                <a:lnTo>
                  <a:pt x="2842196" y="1031235"/>
                </a:lnTo>
                <a:lnTo>
                  <a:pt x="2834812" y="1013758"/>
                </a:lnTo>
                <a:lnTo>
                  <a:pt x="2833088" y="993574"/>
                </a:lnTo>
                <a:lnTo>
                  <a:pt x="2840472" y="990128"/>
                </a:lnTo>
                <a:lnTo>
                  <a:pt x="2846380" y="990128"/>
                </a:lnTo>
                <a:lnTo>
                  <a:pt x="2852042" y="991851"/>
                </a:lnTo>
                <a:lnTo>
                  <a:pt x="2857950" y="988651"/>
                </a:lnTo>
                <a:lnTo>
                  <a:pt x="2865334" y="976835"/>
                </a:lnTo>
                <a:lnTo>
                  <a:pt x="2883549" y="974374"/>
                </a:lnTo>
                <a:lnTo>
                  <a:pt x="2886749" y="971666"/>
                </a:lnTo>
                <a:lnTo>
                  <a:pt x="2889211" y="968466"/>
                </a:lnTo>
                <a:lnTo>
                  <a:pt x="2889211" y="966743"/>
                </a:lnTo>
                <a:lnTo>
                  <a:pt x="2890935" y="965758"/>
                </a:lnTo>
                <a:lnTo>
                  <a:pt x="2890935" y="964282"/>
                </a:lnTo>
                <a:lnTo>
                  <a:pt x="2890935" y="962559"/>
                </a:lnTo>
                <a:lnTo>
                  <a:pt x="2892411" y="960835"/>
                </a:lnTo>
                <a:lnTo>
                  <a:pt x="2895119" y="960835"/>
                </a:lnTo>
                <a:lnTo>
                  <a:pt x="2900041" y="960835"/>
                </a:lnTo>
                <a:lnTo>
                  <a:pt x="2904965" y="960835"/>
                </a:lnTo>
                <a:lnTo>
                  <a:pt x="2908165" y="950743"/>
                </a:lnTo>
                <a:lnTo>
                  <a:pt x="2912349" y="943112"/>
                </a:lnTo>
                <a:lnTo>
                  <a:pt x="2916534" y="936466"/>
                </a:lnTo>
                <a:close/>
                <a:moveTo>
                  <a:pt x="2505952" y="909636"/>
                </a:moveTo>
                <a:lnTo>
                  <a:pt x="2514321" y="915544"/>
                </a:lnTo>
                <a:lnTo>
                  <a:pt x="2519244" y="925636"/>
                </a:lnTo>
                <a:lnTo>
                  <a:pt x="2519244" y="940651"/>
                </a:lnTo>
                <a:lnTo>
                  <a:pt x="2519244" y="942374"/>
                </a:lnTo>
                <a:lnTo>
                  <a:pt x="2519983" y="942374"/>
                </a:lnTo>
                <a:lnTo>
                  <a:pt x="2521707" y="943113"/>
                </a:lnTo>
                <a:lnTo>
                  <a:pt x="2521707" y="944836"/>
                </a:lnTo>
                <a:lnTo>
                  <a:pt x="2521707" y="948282"/>
                </a:lnTo>
                <a:lnTo>
                  <a:pt x="2519244" y="948282"/>
                </a:lnTo>
                <a:lnTo>
                  <a:pt x="2515798" y="949021"/>
                </a:lnTo>
                <a:lnTo>
                  <a:pt x="2514321" y="952466"/>
                </a:lnTo>
                <a:lnTo>
                  <a:pt x="2511860" y="954190"/>
                </a:lnTo>
                <a:lnTo>
                  <a:pt x="2510137" y="954190"/>
                </a:lnTo>
                <a:lnTo>
                  <a:pt x="2508413" y="952466"/>
                </a:lnTo>
                <a:lnTo>
                  <a:pt x="2507675" y="952466"/>
                </a:lnTo>
                <a:lnTo>
                  <a:pt x="2505952" y="950743"/>
                </a:lnTo>
                <a:lnTo>
                  <a:pt x="2500290" y="938928"/>
                </a:lnTo>
                <a:lnTo>
                  <a:pt x="2500290" y="921452"/>
                </a:lnTo>
                <a:lnTo>
                  <a:pt x="2501768" y="918990"/>
                </a:lnTo>
                <a:lnTo>
                  <a:pt x="2503490" y="917267"/>
                </a:lnTo>
                <a:lnTo>
                  <a:pt x="2504229" y="913821"/>
                </a:lnTo>
                <a:close/>
                <a:moveTo>
                  <a:pt x="3023856" y="892159"/>
                </a:moveTo>
                <a:lnTo>
                  <a:pt x="3030503" y="899544"/>
                </a:lnTo>
                <a:lnTo>
                  <a:pt x="3035425" y="907913"/>
                </a:lnTo>
                <a:lnTo>
                  <a:pt x="3035425" y="921452"/>
                </a:lnTo>
                <a:lnTo>
                  <a:pt x="3036164" y="924652"/>
                </a:lnTo>
                <a:lnTo>
                  <a:pt x="3037887" y="924652"/>
                </a:lnTo>
                <a:lnTo>
                  <a:pt x="3037887" y="925637"/>
                </a:lnTo>
                <a:lnTo>
                  <a:pt x="3036164" y="925637"/>
                </a:lnTo>
                <a:lnTo>
                  <a:pt x="3035425" y="929083"/>
                </a:lnTo>
                <a:lnTo>
                  <a:pt x="3035425" y="931543"/>
                </a:lnTo>
                <a:lnTo>
                  <a:pt x="3033703" y="931543"/>
                </a:lnTo>
                <a:lnTo>
                  <a:pt x="3033703" y="933267"/>
                </a:lnTo>
                <a:lnTo>
                  <a:pt x="3032225" y="933267"/>
                </a:lnTo>
                <a:lnTo>
                  <a:pt x="3029519" y="934744"/>
                </a:lnTo>
                <a:lnTo>
                  <a:pt x="3028041" y="931543"/>
                </a:lnTo>
                <a:lnTo>
                  <a:pt x="3028041" y="930559"/>
                </a:lnTo>
                <a:lnTo>
                  <a:pt x="3026319" y="930559"/>
                </a:lnTo>
                <a:lnTo>
                  <a:pt x="3024595" y="930559"/>
                </a:lnTo>
                <a:lnTo>
                  <a:pt x="3023856" y="929083"/>
                </a:lnTo>
                <a:lnTo>
                  <a:pt x="3023856" y="931543"/>
                </a:lnTo>
                <a:lnTo>
                  <a:pt x="3024595" y="933267"/>
                </a:lnTo>
                <a:lnTo>
                  <a:pt x="3026319" y="934744"/>
                </a:lnTo>
                <a:lnTo>
                  <a:pt x="3028041" y="936467"/>
                </a:lnTo>
                <a:lnTo>
                  <a:pt x="3026319" y="937452"/>
                </a:lnTo>
                <a:lnTo>
                  <a:pt x="3026319" y="938929"/>
                </a:lnTo>
                <a:lnTo>
                  <a:pt x="3026319" y="940652"/>
                </a:lnTo>
                <a:lnTo>
                  <a:pt x="3026319" y="944836"/>
                </a:lnTo>
                <a:lnTo>
                  <a:pt x="3018933" y="944836"/>
                </a:lnTo>
                <a:lnTo>
                  <a:pt x="3018933" y="940652"/>
                </a:lnTo>
                <a:lnTo>
                  <a:pt x="3014749" y="938929"/>
                </a:lnTo>
                <a:lnTo>
                  <a:pt x="3010564" y="936467"/>
                </a:lnTo>
                <a:lnTo>
                  <a:pt x="3009087" y="933267"/>
                </a:lnTo>
                <a:lnTo>
                  <a:pt x="3007364" y="929083"/>
                </a:lnTo>
                <a:lnTo>
                  <a:pt x="3006626" y="924652"/>
                </a:lnTo>
                <a:lnTo>
                  <a:pt x="3003180" y="918990"/>
                </a:lnTo>
                <a:lnTo>
                  <a:pt x="2998995" y="921452"/>
                </a:lnTo>
                <a:lnTo>
                  <a:pt x="2993334" y="924652"/>
                </a:lnTo>
                <a:lnTo>
                  <a:pt x="2987426" y="925637"/>
                </a:lnTo>
                <a:lnTo>
                  <a:pt x="2981764" y="929083"/>
                </a:lnTo>
                <a:lnTo>
                  <a:pt x="2981764" y="921452"/>
                </a:lnTo>
                <a:lnTo>
                  <a:pt x="2983488" y="919729"/>
                </a:lnTo>
                <a:lnTo>
                  <a:pt x="2983488" y="918990"/>
                </a:lnTo>
                <a:lnTo>
                  <a:pt x="2984226" y="918990"/>
                </a:lnTo>
                <a:lnTo>
                  <a:pt x="2984226" y="915544"/>
                </a:lnTo>
                <a:lnTo>
                  <a:pt x="2995794" y="911360"/>
                </a:lnTo>
                <a:lnTo>
                  <a:pt x="3006626" y="907913"/>
                </a:lnTo>
                <a:lnTo>
                  <a:pt x="3016472" y="902005"/>
                </a:lnTo>
                <a:close/>
                <a:moveTo>
                  <a:pt x="2952719" y="876159"/>
                </a:moveTo>
                <a:lnTo>
                  <a:pt x="2956165" y="879359"/>
                </a:lnTo>
                <a:lnTo>
                  <a:pt x="2956904" y="879359"/>
                </a:lnTo>
                <a:lnTo>
                  <a:pt x="2958626" y="879359"/>
                </a:lnTo>
                <a:lnTo>
                  <a:pt x="2958626" y="880344"/>
                </a:lnTo>
                <a:lnTo>
                  <a:pt x="2958626" y="883543"/>
                </a:lnTo>
                <a:lnTo>
                  <a:pt x="2960350" y="886251"/>
                </a:lnTo>
                <a:lnTo>
                  <a:pt x="2951242" y="893636"/>
                </a:lnTo>
                <a:lnTo>
                  <a:pt x="2945334" y="901267"/>
                </a:lnTo>
                <a:lnTo>
                  <a:pt x="2938687" y="907175"/>
                </a:lnTo>
                <a:lnTo>
                  <a:pt x="2928103" y="913082"/>
                </a:lnTo>
                <a:lnTo>
                  <a:pt x="2928103" y="909636"/>
                </a:lnTo>
                <a:lnTo>
                  <a:pt x="2937212" y="899544"/>
                </a:lnTo>
                <a:lnTo>
                  <a:pt x="2947058" y="889451"/>
                </a:lnTo>
                <a:close/>
                <a:moveTo>
                  <a:pt x="882825" y="798867"/>
                </a:moveTo>
                <a:lnTo>
                  <a:pt x="888734" y="798867"/>
                </a:lnTo>
                <a:lnTo>
                  <a:pt x="894395" y="799852"/>
                </a:lnTo>
                <a:lnTo>
                  <a:pt x="901041" y="803052"/>
                </a:lnTo>
                <a:lnTo>
                  <a:pt x="898579" y="804776"/>
                </a:lnTo>
                <a:lnTo>
                  <a:pt x="896857" y="807236"/>
                </a:lnTo>
                <a:lnTo>
                  <a:pt x="894395" y="808960"/>
                </a:lnTo>
                <a:lnTo>
                  <a:pt x="889472" y="808960"/>
                </a:lnTo>
                <a:lnTo>
                  <a:pt x="885288" y="807236"/>
                </a:lnTo>
                <a:lnTo>
                  <a:pt x="881350" y="807236"/>
                </a:lnTo>
                <a:lnTo>
                  <a:pt x="877164" y="807236"/>
                </a:lnTo>
                <a:lnTo>
                  <a:pt x="872241" y="808960"/>
                </a:lnTo>
                <a:lnTo>
                  <a:pt x="872241" y="799852"/>
                </a:lnTo>
                <a:close/>
                <a:moveTo>
                  <a:pt x="2977580" y="789759"/>
                </a:moveTo>
                <a:lnTo>
                  <a:pt x="2981764" y="789759"/>
                </a:lnTo>
                <a:lnTo>
                  <a:pt x="2987426" y="789759"/>
                </a:lnTo>
                <a:lnTo>
                  <a:pt x="2987426" y="804775"/>
                </a:lnTo>
                <a:lnTo>
                  <a:pt x="2985948" y="814867"/>
                </a:lnTo>
                <a:lnTo>
                  <a:pt x="2983488" y="823237"/>
                </a:lnTo>
                <a:lnTo>
                  <a:pt x="2981764" y="838251"/>
                </a:lnTo>
                <a:lnTo>
                  <a:pt x="2984226" y="838251"/>
                </a:lnTo>
                <a:lnTo>
                  <a:pt x="2984226" y="840960"/>
                </a:lnTo>
                <a:lnTo>
                  <a:pt x="2989888" y="840960"/>
                </a:lnTo>
                <a:lnTo>
                  <a:pt x="2993334" y="840960"/>
                </a:lnTo>
                <a:lnTo>
                  <a:pt x="2995794" y="840960"/>
                </a:lnTo>
                <a:lnTo>
                  <a:pt x="2998995" y="842435"/>
                </a:lnTo>
                <a:lnTo>
                  <a:pt x="3001457" y="844160"/>
                </a:lnTo>
                <a:lnTo>
                  <a:pt x="3007364" y="845144"/>
                </a:lnTo>
                <a:lnTo>
                  <a:pt x="3010564" y="855974"/>
                </a:lnTo>
                <a:lnTo>
                  <a:pt x="3016472" y="862621"/>
                </a:lnTo>
                <a:lnTo>
                  <a:pt x="3023856" y="870251"/>
                </a:lnTo>
                <a:lnTo>
                  <a:pt x="3029519" y="880344"/>
                </a:lnTo>
                <a:lnTo>
                  <a:pt x="3024595" y="882066"/>
                </a:lnTo>
                <a:lnTo>
                  <a:pt x="3022133" y="883544"/>
                </a:lnTo>
                <a:lnTo>
                  <a:pt x="3020656" y="883544"/>
                </a:lnTo>
                <a:lnTo>
                  <a:pt x="3020656" y="885267"/>
                </a:lnTo>
                <a:lnTo>
                  <a:pt x="3020656" y="886252"/>
                </a:lnTo>
                <a:lnTo>
                  <a:pt x="3020656" y="887728"/>
                </a:lnTo>
                <a:lnTo>
                  <a:pt x="3017948" y="887728"/>
                </a:lnTo>
                <a:lnTo>
                  <a:pt x="3013026" y="889452"/>
                </a:lnTo>
                <a:lnTo>
                  <a:pt x="3012287" y="886252"/>
                </a:lnTo>
                <a:lnTo>
                  <a:pt x="3012287" y="885267"/>
                </a:lnTo>
                <a:lnTo>
                  <a:pt x="3010564" y="885267"/>
                </a:lnTo>
                <a:lnTo>
                  <a:pt x="3009087" y="885267"/>
                </a:lnTo>
                <a:lnTo>
                  <a:pt x="3007364" y="883544"/>
                </a:lnTo>
                <a:lnTo>
                  <a:pt x="3004903" y="889452"/>
                </a:lnTo>
                <a:lnTo>
                  <a:pt x="3003180" y="893636"/>
                </a:lnTo>
                <a:lnTo>
                  <a:pt x="3000718" y="897821"/>
                </a:lnTo>
                <a:lnTo>
                  <a:pt x="2995794" y="899544"/>
                </a:lnTo>
                <a:lnTo>
                  <a:pt x="2991611" y="902005"/>
                </a:lnTo>
                <a:lnTo>
                  <a:pt x="2991611" y="899544"/>
                </a:lnTo>
                <a:lnTo>
                  <a:pt x="2989148" y="896343"/>
                </a:lnTo>
                <a:lnTo>
                  <a:pt x="2989148" y="893636"/>
                </a:lnTo>
                <a:lnTo>
                  <a:pt x="2989148" y="892159"/>
                </a:lnTo>
                <a:lnTo>
                  <a:pt x="2989148" y="891175"/>
                </a:lnTo>
                <a:lnTo>
                  <a:pt x="2989148" y="889452"/>
                </a:lnTo>
                <a:lnTo>
                  <a:pt x="2987426" y="887728"/>
                </a:lnTo>
                <a:lnTo>
                  <a:pt x="2985948" y="887728"/>
                </a:lnTo>
                <a:lnTo>
                  <a:pt x="2981764" y="886252"/>
                </a:lnTo>
                <a:lnTo>
                  <a:pt x="2981764" y="882066"/>
                </a:lnTo>
                <a:lnTo>
                  <a:pt x="2981764" y="877882"/>
                </a:lnTo>
                <a:lnTo>
                  <a:pt x="2983488" y="874435"/>
                </a:lnTo>
                <a:lnTo>
                  <a:pt x="2983488" y="873698"/>
                </a:lnTo>
                <a:lnTo>
                  <a:pt x="2984226" y="871975"/>
                </a:lnTo>
                <a:lnTo>
                  <a:pt x="2987426" y="871975"/>
                </a:lnTo>
                <a:lnTo>
                  <a:pt x="2991611" y="870251"/>
                </a:lnTo>
                <a:lnTo>
                  <a:pt x="2997519" y="870251"/>
                </a:lnTo>
                <a:lnTo>
                  <a:pt x="2997519" y="880344"/>
                </a:lnTo>
                <a:lnTo>
                  <a:pt x="3007364" y="880344"/>
                </a:lnTo>
                <a:lnTo>
                  <a:pt x="3007364" y="877882"/>
                </a:lnTo>
                <a:lnTo>
                  <a:pt x="3009087" y="874435"/>
                </a:lnTo>
                <a:lnTo>
                  <a:pt x="3010564" y="873698"/>
                </a:lnTo>
                <a:lnTo>
                  <a:pt x="3010564" y="871975"/>
                </a:lnTo>
                <a:lnTo>
                  <a:pt x="3012287" y="870251"/>
                </a:lnTo>
                <a:lnTo>
                  <a:pt x="3013026" y="867789"/>
                </a:lnTo>
                <a:lnTo>
                  <a:pt x="3010564" y="867789"/>
                </a:lnTo>
                <a:lnTo>
                  <a:pt x="2995794" y="855974"/>
                </a:lnTo>
                <a:lnTo>
                  <a:pt x="2979303" y="848344"/>
                </a:lnTo>
                <a:lnTo>
                  <a:pt x="2979303" y="854252"/>
                </a:lnTo>
                <a:lnTo>
                  <a:pt x="2977580" y="858436"/>
                </a:lnTo>
                <a:lnTo>
                  <a:pt x="2975857" y="862621"/>
                </a:lnTo>
                <a:lnTo>
                  <a:pt x="2975857" y="867789"/>
                </a:lnTo>
                <a:lnTo>
                  <a:pt x="2974380" y="866067"/>
                </a:lnTo>
                <a:lnTo>
                  <a:pt x="2973396" y="864344"/>
                </a:lnTo>
                <a:lnTo>
                  <a:pt x="2973396" y="862621"/>
                </a:lnTo>
                <a:lnTo>
                  <a:pt x="2971918" y="861883"/>
                </a:lnTo>
                <a:lnTo>
                  <a:pt x="2967734" y="850806"/>
                </a:lnTo>
                <a:lnTo>
                  <a:pt x="2962810" y="838251"/>
                </a:lnTo>
                <a:lnTo>
                  <a:pt x="2961826" y="821513"/>
                </a:lnTo>
                <a:lnTo>
                  <a:pt x="2962810" y="807236"/>
                </a:lnTo>
                <a:lnTo>
                  <a:pt x="2968472" y="792959"/>
                </a:lnTo>
                <a:lnTo>
                  <a:pt x="2973396" y="791237"/>
                </a:lnTo>
                <a:close/>
                <a:moveTo>
                  <a:pt x="835074" y="789759"/>
                </a:moveTo>
                <a:lnTo>
                  <a:pt x="840735" y="789759"/>
                </a:lnTo>
                <a:lnTo>
                  <a:pt x="846643" y="791237"/>
                </a:lnTo>
                <a:lnTo>
                  <a:pt x="852305" y="791237"/>
                </a:lnTo>
                <a:lnTo>
                  <a:pt x="856490" y="792959"/>
                </a:lnTo>
                <a:lnTo>
                  <a:pt x="856490" y="799852"/>
                </a:lnTo>
                <a:lnTo>
                  <a:pt x="835074" y="799852"/>
                </a:lnTo>
                <a:close/>
                <a:moveTo>
                  <a:pt x="713473" y="789759"/>
                </a:moveTo>
                <a:lnTo>
                  <a:pt x="721104" y="791237"/>
                </a:lnTo>
                <a:lnTo>
                  <a:pt x="725043" y="793944"/>
                </a:lnTo>
                <a:lnTo>
                  <a:pt x="730950" y="797144"/>
                </a:lnTo>
                <a:lnTo>
                  <a:pt x="735873" y="799852"/>
                </a:lnTo>
                <a:lnTo>
                  <a:pt x="735873" y="803052"/>
                </a:lnTo>
                <a:lnTo>
                  <a:pt x="730212" y="803052"/>
                </a:lnTo>
                <a:lnTo>
                  <a:pt x="725043" y="804776"/>
                </a:lnTo>
                <a:lnTo>
                  <a:pt x="721104" y="805515"/>
                </a:lnTo>
                <a:lnTo>
                  <a:pt x="718642" y="804776"/>
                </a:lnTo>
                <a:lnTo>
                  <a:pt x="712735" y="804776"/>
                </a:lnTo>
                <a:lnTo>
                  <a:pt x="707812" y="803052"/>
                </a:lnTo>
                <a:lnTo>
                  <a:pt x="707812" y="792959"/>
                </a:lnTo>
                <a:lnTo>
                  <a:pt x="709535" y="792959"/>
                </a:lnTo>
                <a:lnTo>
                  <a:pt x="711012" y="791237"/>
                </a:lnTo>
                <a:lnTo>
                  <a:pt x="712735" y="791237"/>
                </a:lnTo>
                <a:close/>
                <a:moveTo>
                  <a:pt x="763934" y="776221"/>
                </a:moveTo>
                <a:lnTo>
                  <a:pt x="781411" y="777945"/>
                </a:lnTo>
                <a:lnTo>
                  <a:pt x="796181" y="781391"/>
                </a:lnTo>
                <a:lnTo>
                  <a:pt x="807751" y="785575"/>
                </a:lnTo>
                <a:lnTo>
                  <a:pt x="821781" y="789760"/>
                </a:lnTo>
                <a:lnTo>
                  <a:pt x="821781" y="797144"/>
                </a:lnTo>
                <a:lnTo>
                  <a:pt x="816120" y="797144"/>
                </a:lnTo>
                <a:lnTo>
                  <a:pt x="813412" y="798867"/>
                </a:lnTo>
                <a:lnTo>
                  <a:pt x="809474" y="799852"/>
                </a:lnTo>
                <a:lnTo>
                  <a:pt x="806028" y="801330"/>
                </a:lnTo>
                <a:lnTo>
                  <a:pt x="803565" y="803052"/>
                </a:lnTo>
                <a:lnTo>
                  <a:pt x="798643" y="803052"/>
                </a:lnTo>
                <a:lnTo>
                  <a:pt x="798643" y="801330"/>
                </a:lnTo>
                <a:lnTo>
                  <a:pt x="798643" y="799852"/>
                </a:lnTo>
                <a:lnTo>
                  <a:pt x="797904" y="798867"/>
                </a:lnTo>
                <a:lnTo>
                  <a:pt x="796181" y="797144"/>
                </a:lnTo>
                <a:lnTo>
                  <a:pt x="794458" y="795667"/>
                </a:lnTo>
                <a:lnTo>
                  <a:pt x="792981" y="797144"/>
                </a:lnTo>
                <a:lnTo>
                  <a:pt x="790519" y="805513"/>
                </a:lnTo>
                <a:lnTo>
                  <a:pt x="786335" y="805513"/>
                </a:lnTo>
                <a:lnTo>
                  <a:pt x="775504" y="804776"/>
                </a:lnTo>
                <a:lnTo>
                  <a:pt x="763934" y="803052"/>
                </a:lnTo>
                <a:lnTo>
                  <a:pt x="755812" y="803052"/>
                </a:lnTo>
                <a:lnTo>
                  <a:pt x="751627" y="792959"/>
                </a:lnTo>
                <a:lnTo>
                  <a:pt x="759011" y="792959"/>
                </a:lnTo>
                <a:lnTo>
                  <a:pt x="763934" y="792959"/>
                </a:lnTo>
                <a:lnTo>
                  <a:pt x="769842" y="791237"/>
                </a:lnTo>
                <a:lnTo>
                  <a:pt x="774765" y="789760"/>
                </a:lnTo>
                <a:lnTo>
                  <a:pt x="771319" y="788037"/>
                </a:lnTo>
                <a:lnTo>
                  <a:pt x="768858" y="785575"/>
                </a:lnTo>
                <a:lnTo>
                  <a:pt x="767381" y="783853"/>
                </a:lnTo>
                <a:lnTo>
                  <a:pt x="765658" y="781391"/>
                </a:lnTo>
                <a:close/>
                <a:moveTo>
                  <a:pt x="663259" y="735114"/>
                </a:moveTo>
                <a:lnTo>
                  <a:pt x="686398" y="740283"/>
                </a:lnTo>
                <a:lnTo>
                  <a:pt x="707074" y="746929"/>
                </a:lnTo>
                <a:lnTo>
                  <a:pt x="722582" y="754314"/>
                </a:lnTo>
                <a:lnTo>
                  <a:pt x="738335" y="761944"/>
                </a:lnTo>
                <a:lnTo>
                  <a:pt x="755813" y="770315"/>
                </a:lnTo>
                <a:lnTo>
                  <a:pt x="755813" y="776221"/>
                </a:lnTo>
                <a:lnTo>
                  <a:pt x="748182" y="776221"/>
                </a:lnTo>
                <a:lnTo>
                  <a:pt x="740059" y="779668"/>
                </a:lnTo>
                <a:lnTo>
                  <a:pt x="730212" y="782130"/>
                </a:lnTo>
                <a:lnTo>
                  <a:pt x="719382" y="783853"/>
                </a:lnTo>
                <a:lnTo>
                  <a:pt x="721105" y="781392"/>
                </a:lnTo>
                <a:lnTo>
                  <a:pt x="721105" y="777945"/>
                </a:lnTo>
                <a:lnTo>
                  <a:pt x="721105" y="776221"/>
                </a:lnTo>
                <a:lnTo>
                  <a:pt x="721105" y="775484"/>
                </a:lnTo>
                <a:lnTo>
                  <a:pt x="721105" y="773761"/>
                </a:lnTo>
                <a:lnTo>
                  <a:pt x="719382" y="770315"/>
                </a:lnTo>
                <a:lnTo>
                  <a:pt x="697966" y="764406"/>
                </a:lnTo>
                <a:lnTo>
                  <a:pt x="678028" y="754314"/>
                </a:lnTo>
                <a:lnTo>
                  <a:pt x="656613" y="744468"/>
                </a:lnTo>
                <a:lnTo>
                  <a:pt x="651689" y="748653"/>
                </a:lnTo>
                <a:lnTo>
                  <a:pt x="649228" y="752837"/>
                </a:lnTo>
                <a:lnTo>
                  <a:pt x="645043" y="757760"/>
                </a:lnTo>
                <a:lnTo>
                  <a:pt x="640120" y="756038"/>
                </a:lnTo>
                <a:lnTo>
                  <a:pt x="634212" y="752837"/>
                </a:lnTo>
                <a:lnTo>
                  <a:pt x="631751" y="751853"/>
                </a:lnTo>
                <a:lnTo>
                  <a:pt x="637659" y="751853"/>
                </a:lnTo>
                <a:lnTo>
                  <a:pt x="641597" y="745945"/>
                </a:lnTo>
                <a:lnTo>
                  <a:pt x="645781" y="742745"/>
                </a:lnTo>
                <a:lnTo>
                  <a:pt x="650704" y="738560"/>
                </a:lnTo>
                <a:lnTo>
                  <a:pt x="654889" y="738560"/>
                </a:lnTo>
                <a:lnTo>
                  <a:pt x="657351" y="736837"/>
                </a:lnTo>
                <a:lnTo>
                  <a:pt x="660797" y="736837"/>
                </a:lnTo>
                <a:close/>
                <a:moveTo>
                  <a:pt x="707812" y="712468"/>
                </a:moveTo>
                <a:lnTo>
                  <a:pt x="712736" y="714929"/>
                </a:lnTo>
                <a:lnTo>
                  <a:pt x="715197" y="718376"/>
                </a:lnTo>
                <a:lnTo>
                  <a:pt x="718643" y="720838"/>
                </a:lnTo>
                <a:lnTo>
                  <a:pt x="719382" y="725023"/>
                </a:lnTo>
                <a:lnTo>
                  <a:pt x="719382" y="732654"/>
                </a:lnTo>
                <a:lnTo>
                  <a:pt x="713473" y="732654"/>
                </a:lnTo>
                <a:lnTo>
                  <a:pt x="712736" y="728469"/>
                </a:lnTo>
                <a:lnTo>
                  <a:pt x="711012" y="726745"/>
                </a:lnTo>
                <a:lnTo>
                  <a:pt x="709535" y="724284"/>
                </a:lnTo>
                <a:lnTo>
                  <a:pt x="707812" y="720838"/>
                </a:lnTo>
                <a:lnTo>
                  <a:pt x="707812" y="718376"/>
                </a:lnTo>
                <a:close/>
                <a:moveTo>
                  <a:pt x="2981766" y="706561"/>
                </a:moveTo>
                <a:lnTo>
                  <a:pt x="2984227" y="709022"/>
                </a:lnTo>
                <a:lnTo>
                  <a:pt x="2985950" y="712468"/>
                </a:lnTo>
                <a:lnTo>
                  <a:pt x="2987428" y="714930"/>
                </a:lnTo>
                <a:lnTo>
                  <a:pt x="2987428" y="719115"/>
                </a:lnTo>
                <a:lnTo>
                  <a:pt x="2987428" y="725022"/>
                </a:lnTo>
                <a:lnTo>
                  <a:pt x="2975858" y="754316"/>
                </a:lnTo>
                <a:lnTo>
                  <a:pt x="2970196" y="746931"/>
                </a:lnTo>
                <a:lnTo>
                  <a:pt x="2967735" y="740284"/>
                </a:lnTo>
                <a:lnTo>
                  <a:pt x="2966011" y="728469"/>
                </a:lnTo>
                <a:close/>
                <a:moveTo>
                  <a:pt x="701166" y="693268"/>
                </a:moveTo>
                <a:lnTo>
                  <a:pt x="719382" y="693268"/>
                </a:lnTo>
                <a:lnTo>
                  <a:pt x="721104" y="695729"/>
                </a:lnTo>
                <a:lnTo>
                  <a:pt x="724304" y="697452"/>
                </a:lnTo>
                <a:lnTo>
                  <a:pt x="724304" y="699176"/>
                </a:lnTo>
                <a:lnTo>
                  <a:pt x="725043" y="700652"/>
                </a:lnTo>
                <a:lnTo>
                  <a:pt x="725043" y="701637"/>
                </a:lnTo>
                <a:lnTo>
                  <a:pt x="724304" y="703361"/>
                </a:lnTo>
                <a:lnTo>
                  <a:pt x="724304" y="706561"/>
                </a:lnTo>
                <a:lnTo>
                  <a:pt x="719382" y="703361"/>
                </a:lnTo>
                <a:lnTo>
                  <a:pt x="715197" y="701637"/>
                </a:lnTo>
                <a:lnTo>
                  <a:pt x="711012" y="701637"/>
                </a:lnTo>
                <a:lnTo>
                  <a:pt x="707812" y="700652"/>
                </a:lnTo>
                <a:lnTo>
                  <a:pt x="705350" y="700652"/>
                </a:lnTo>
                <a:lnTo>
                  <a:pt x="701904" y="699176"/>
                </a:lnTo>
                <a:lnTo>
                  <a:pt x="701166" y="695729"/>
                </a:lnTo>
                <a:close/>
                <a:moveTo>
                  <a:pt x="3074318" y="638622"/>
                </a:moveTo>
                <a:lnTo>
                  <a:pt x="3076780" y="640346"/>
                </a:lnTo>
                <a:lnTo>
                  <a:pt x="3078256" y="640346"/>
                </a:lnTo>
                <a:lnTo>
                  <a:pt x="3078256" y="642068"/>
                </a:lnTo>
                <a:lnTo>
                  <a:pt x="3079980" y="644530"/>
                </a:lnTo>
                <a:lnTo>
                  <a:pt x="3079980" y="647977"/>
                </a:lnTo>
                <a:lnTo>
                  <a:pt x="3078256" y="652161"/>
                </a:lnTo>
                <a:lnTo>
                  <a:pt x="3075056" y="656345"/>
                </a:lnTo>
                <a:lnTo>
                  <a:pt x="3074318" y="660530"/>
                </a:lnTo>
                <a:lnTo>
                  <a:pt x="3066687" y="660530"/>
                </a:lnTo>
                <a:lnTo>
                  <a:pt x="3066687" y="650438"/>
                </a:lnTo>
                <a:lnTo>
                  <a:pt x="3069395" y="649454"/>
                </a:lnTo>
                <a:lnTo>
                  <a:pt x="3070871" y="646253"/>
                </a:lnTo>
                <a:lnTo>
                  <a:pt x="3072596" y="643792"/>
                </a:lnTo>
                <a:close/>
                <a:moveTo>
                  <a:pt x="3035426" y="599238"/>
                </a:moveTo>
                <a:lnTo>
                  <a:pt x="3045272" y="599238"/>
                </a:lnTo>
                <a:lnTo>
                  <a:pt x="3045272" y="609331"/>
                </a:lnTo>
                <a:lnTo>
                  <a:pt x="3032226" y="609331"/>
                </a:lnTo>
                <a:lnTo>
                  <a:pt x="3032226" y="602684"/>
                </a:lnTo>
                <a:lnTo>
                  <a:pt x="3035426" y="602684"/>
                </a:lnTo>
                <a:close/>
                <a:moveTo>
                  <a:pt x="1985586" y="571424"/>
                </a:moveTo>
                <a:lnTo>
                  <a:pt x="1992971" y="571424"/>
                </a:lnTo>
                <a:lnTo>
                  <a:pt x="1989771" y="575609"/>
                </a:lnTo>
                <a:lnTo>
                  <a:pt x="1987309" y="579053"/>
                </a:lnTo>
                <a:lnTo>
                  <a:pt x="1983863" y="581514"/>
                </a:lnTo>
                <a:lnTo>
                  <a:pt x="1981401" y="584961"/>
                </a:lnTo>
                <a:lnTo>
                  <a:pt x="1976479" y="587422"/>
                </a:lnTo>
                <a:lnTo>
                  <a:pt x="1974017" y="587422"/>
                </a:lnTo>
                <a:lnTo>
                  <a:pt x="1974017" y="589145"/>
                </a:lnTo>
                <a:lnTo>
                  <a:pt x="1972294" y="589145"/>
                </a:lnTo>
                <a:lnTo>
                  <a:pt x="1969832" y="589145"/>
                </a:lnTo>
                <a:lnTo>
                  <a:pt x="1966632" y="590868"/>
                </a:lnTo>
                <a:lnTo>
                  <a:pt x="1964171" y="579792"/>
                </a:lnTo>
                <a:lnTo>
                  <a:pt x="1969832" y="579053"/>
                </a:lnTo>
                <a:lnTo>
                  <a:pt x="1975740" y="575609"/>
                </a:lnTo>
                <a:lnTo>
                  <a:pt x="1981401" y="574133"/>
                </a:lnTo>
                <a:close/>
                <a:moveTo>
                  <a:pt x="1865710" y="567240"/>
                </a:moveTo>
                <a:lnTo>
                  <a:pt x="1873341" y="569949"/>
                </a:lnTo>
                <a:lnTo>
                  <a:pt x="1881464" y="573149"/>
                </a:lnTo>
                <a:lnTo>
                  <a:pt x="1891310" y="575609"/>
                </a:lnTo>
                <a:lnTo>
                  <a:pt x="1897218" y="579793"/>
                </a:lnTo>
                <a:lnTo>
                  <a:pt x="1874080" y="579793"/>
                </a:lnTo>
                <a:lnTo>
                  <a:pt x="1871618" y="579053"/>
                </a:lnTo>
                <a:lnTo>
                  <a:pt x="1869895" y="579053"/>
                </a:lnTo>
                <a:lnTo>
                  <a:pt x="1867434" y="577331"/>
                </a:lnTo>
                <a:lnTo>
                  <a:pt x="1861772" y="577331"/>
                </a:lnTo>
                <a:lnTo>
                  <a:pt x="1861772" y="574133"/>
                </a:lnTo>
                <a:lnTo>
                  <a:pt x="1863249" y="573149"/>
                </a:lnTo>
                <a:lnTo>
                  <a:pt x="1864233" y="571425"/>
                </a:lnTo>
                <a:lnTo>
                  <a:pt x="1864233" y="569949"/>
                </a:lnTo>
                <a:close/>
                <a:moveTo>
                  <a:pt x="1608239" y="510379"/>
                </a:moveTo>
                <a:lnTo>
                  <a:pt x="1627932" y="510379"/>
                </a:lnTo>
                <a:lnTo>
                  <a:pt x="1627932" y="512840"/>
                </a:lnTo>
                <a:lnTo>
                  <a:pt x="1623747" y="514564"/>
                </a:lnTo>
                <a:lnTo>
                  <a:pt x="1622269" y="516041"/>
                </a:lnTo>
                <a:lnTo>
                  <a:pt x="1619561" y="517025"/>
                </a:lnTo>
                <a:lnTo>
                  <a:pt x="1616362" y="518748"/>
                </a:lnTo>
                <a:lnTo>
                  <a:pt x="1612177" y="518748"/>
                </a:lnTo>
                <a:close/>
                <a:moveTo>
                  <a:pt x="1913957" y="493394"/>
                </a:moveTo>
                <a:lnTo>
                  <a:pt x="1912234" y="495118"/>
                </a:lnTo>
                <a:lnTo>
                  <a:pt x="1910511" y="496840"/>
                </a:lnTo>
                <a:lnTo>
                  <a:pt x="1908787" y="496840"/>
                </a:lnTo>
                <a:lnTo>
                  <a:pt x="1908787" y="498563"/>
                </a:lnTo>
                <a:lnTo>
                  <a:pt x="1908049" y="499302"/>
                </a:lnTo>
                <a:lnTo>
                  <a:pt x="1906819" y="502749"/>
                </a:lnTo>
                <a:lnTo>
                  <a:pt x="1909280" y="502749"/>
                </a:lnTo>
                <a:lnTo>
                  <a:pt x="1914203" y="501025"/>
                </a:lnTo>
                <a:lnTo>
                  <a:pt x="1916665" y="499302"/>
                </a:lnTo>
                <a:lnTo>
                  <a:pt x="1919864" y="498563"/>
                </a:lnTo>
                <a:lnTo>
                  <a:pt x="1922326" y="496840"/>
                </a:lnTo>
                <a:lnTo>
                  <a:pt x="1925526" y="493394"/>
                </a:lnTo>
                <a:close/>
                <a:moveTo>
                  <a:pt x="1697345" y="493394"/>
                </a:moveTo>
                <a:lnTo>
                  <a:pt x="1701530" y="493394"/>
                </a:lnTo>
                <a:lnTo>
                  <a:pt x="1707192" y="493394"/>
                </a:lnTo>
                <a:lnTo>
                  <a:pt x="1708914" y="506934"/>
                </a:lnTo>
                <a:lnTo>
                  <a:pt x="1710639" y="522933"/>
                </a:lnTo>
                <a:lnTo>
                  <a:pt x="1703008" y="522933"/>
                </a:lnTo>
                <a:lnTo>
                  <a:pt x="1701530" y="524410"/>
                </a:lnTo>
                <a:lnTo>
                  <a:pt x="1699068" y="524410"/>
                </a:lnTo>
                <a:lnTo>
                  <a:pt x="1695621" y="524410"/>
                </a:lnTo>
                <a:lnTo>
                  <a:pt x="1691438" y="526133"/>
                </a:lnTo>
                <a:lnTo>
                  <a:pt x="1689960" y="514564"/>
                </a:lnTo>
                <a:lnTo>
                  <a:pt x="1689960" y="502749"/>
                </a:lnTo>
                <a:lnTo>
                  <a:pt x="1691438" y="496840"/>
                </a:lnTo>
                <a:lnTo>
                  <a:pt x="1693899" y="495118"/>
                </a:lnTo>
                <a:close/>
                <a:moveTo>
                  <a:pt x="1699807" y="464841"/>
                </a:moveTo>
                <a:lnTo>
                  <a:pt x="1707192" y="464841"/>
                </a:lnTo>
                <a:lnTo>
                  <a:pt x="1705468" y="470750"/>
                </a:lnTo>
                <a:lnTo>
                  <a:pt x="1705468" y="474934"/>
                </a:lnTo>
                <a:lnTo>
                  <a:pt x="1705468" y="479119"/>
                </a:lnTo>
                <a:lnTo>
                  <a:pt x="1704729" y="482565"/>
                </a:lnTo>
                <a:lnTo>
                  <a:pt x="1703007" y="486750"/>
                </a:lnTo>
                <a:lnTo>
                  <a:pt x="1697345" y="486750"/>
                </a:lnTo>
                <a:lnTo>
                  <a:pt x="1697345" y="480841"/>
                </a:lnTo>
                <a:lnTo>
                  <a:pt x="1699068" y="474934"/>
                </a:lnTo>
                <a:lnTo>
                  <a:pt x="1699068" y="469272"/>
                </a:lnTo>
                <a:close/>
                <a:moveTo>
                  <a:pt x="757274" y="424736"/>
                </a:moveTo>
                <a:lnTo>
                  <a:pt x="755814" y="426195"/>
                </a:lnTo>
                <a:lnTo>
                  <a:pt x="754104" y="427905"/>
                </a:lnTo>
                <a:lnTo>
                  <a:pt x="755812" y="426441"/>
                </a:lnTo>
                <a:close/>
                <a:moveTo>
                  <a:pt x="3219548" y="424717"/>
                </a:moveTo>
                <a:lnTo>
                  <a:pt x="3226933" y="435548"/>
                </a:lnTo>
                <a:lnTo>
                  <a:pt x="3233579" y="441455"/>
                </a:lnTo>
                <a:lnTo>
                  <a:pt x="3242687" y="443917"/>
                </a:lnTo>
                <a:lnTo>
                  <a:pt x="3248595" y="447363"/>
                </a:lnTo>
                <a:lnTo>
                  <a:pt x="3254257" y="451548"/>
                </a:lnTo>
                <a:lnTo>
                  <a:pt x="3255979" y="454009"/>
                </a:lnTo>
                <a:lnTo>
                  <a:pt x="3256717" y="457455"/>
                </a:lnTo>
                <a:lnTo>
                  <a:pt x="3256717" y="459917"/>
                </a:lnTo>
                <a:lnTo>
                  <a:pt x="3256717" y="464840"/>
                </a:lnTo>
                <a:lnTo>
                  <a:pt x="3246871" y="467548"/>
                </a:lnTo>
                <a:lnTo>
                  <a:pt x="3239487" y="473455"/>
                </a:lnTo>
                <a:lnTo>
                  <a:pt x="3233579" y="479117"/>
                </a:lnTo>
                <a:lnTo>
                  <a:pt x="3225457" y="483301"/>
                </a:lnTo>
                <a:lnTo>
                  <a:pt x="3222010" y="479117"/>
                </a:lnTo>
                <a:lnTo>
                  <a:pt x="3219548" y="477639"/>
                </a:lnTo>
                <a:lnTo>
                  <a:pt x="3217087" y="476655"/>
                </a:lnTo>
                <a:lnTo>
                  <a:pt x="3213887" y="477639"/>
                </a:lnTo>
                <a:lnTo>
                  <a:pt x="3211426" y="479117"/>
                </a:lnTo>
                <a:lnTo>
                  <a:pt x="3209702" y="482563"/>
                </a:lnTo>
                <a:lnTo>
                  <a:pt x="3206502" y="483301"/>
                </a:lnTo>
                <a:lnTo>
                  <a:pt x="3211426" y="501024"/>
                </a:lnTo>
                <a:lnTo>
                  <a:pt x="3212164" y="514563"/>
                </a:lnTo>
                <a:lnTo>
                  <a:pt x="3212164" y="524409"/>
                </a:lnTo>
                <a:lnTo>
                  <a:pt x="3211426" y="534501"/>
                </a:lnTo>
                <a:lnTo>
                  <a:pt x="3207980" y="545578"/>
                </a:lnTo>
                <a:lnTo>
                  <a:pt x="3205518" y="559855"/>
                </a:lnTo>
                <a:lnTo>
                  <a:pt x="3203795" y="577330"/>
                </a:lnTo>
                <a:lnTo>
                  <a:pt x="3184841" y="587423"/>
                </a:lnTo>
                <a:lnTo>
                  <a:pt x="3163425" y="597515"/>
                </a:lnTo>
                <a:lnTo>
                  <a:pt x="3142749" y="606868"/>
                </a:lnTo>
                <a:lnTo>
                  <a:pt x="3138564" y="599238"/>
                </a:lnTo>
                <a:lnTo>
                  <a:pt x="3134625" y="593330"/>
                </a:lnTo>
                <a:lnTo>
                  <a:pt x="3132903" y="599238"/>
                </a:lnTo>
                <a:lnTo>
                  <a:pt x="3132903" y="602684"/>
                </a:lnTo>
                <a:lnTo>
                  <a:pt x="3132165" y="606868"/>
                </a:lnTo>
                <a:lnTo>
                  <a:pt x="3130441" y="609330"/>
                </a:lnTo>
                <a:lnTo>
                  <a:pt x="3126257" y="609330"/>
                </a:lnTo>
                <a:lnTo>
                  <a:pt x="3123056" y="609330"/>
                </a:lnTo>
                <a:lnTo>
                  <a:pt x="3121333" y="611053"/>
                </a:lnTo>
                <a:lnTo>
                  <a:pt x="3120595" y="611053"/>
                </a:lnTo>
                <a:lnTo>
                  <a:pt x="3118873" y="612530"/>
                </a:lnTo>
                <a:lnTo>
                  <a:pt x="3117149" y="614253"/>
                </a:lnTo>
                <a:lnTo>
                  <a:pt x="3112964" y="614253"/>
                </a:lnTo>
                <a:lnTo>
                  <a:pt x="3109026" y="615238"/>
                </a:lnTo>
                <a:lnTo>
                  <a:pt x="3107303" y="612530"/>
                </a:lnTo>
                <a:lnTo>
                  <a:pt x="3107303" y="608346"/>
                </a:lnTo>
                <a:lnTo>
                  <a:pt x="3107303" y="606868"/>
                </a:lnTo>
                <a:lnTo>
                  <a:pt x="3107303" y="603422"/>
                </a:lnTo>
                <a:lnTo>
                  <a:pt x="3107303" y="602684"/>
                </a:lnTo>
                <a:lnTo>
                  <a:pt x="3103856" y="602684"/>
                </a:lnTo>
                <a:lnTo>
                  <a:pt x="3101395" y="600961"/>
                </a:lnTo>
                <a:lnTo>
                  <a:pt x="3095734" y="599238"/>
                </a:lnTo>
                <a:lnTo>
                  <a:pt x="3095734" y="602684"/>
                </a:lnTo>
                <a:lnTo>
                  <a:pt x="3098194" y="606868"/>
                </a:lnTo>
                <a:lnTo>
                  <a:pt x="3101395" y="608346"/>
                </a:lnTo>
                <a:lnTo>
                  <a:pt x="3101395" y="611053"/>
                </a:lnTo>
                <a:lnTo>
                  <a:pt x="3101395" y="615238"/>
                </a:lnTo>
                <a:lnTo>
                  <a:pt x="3103118" y="622623"/>
                </a:lnTo>
                <a:lnTo>
                  <a:pt x="3098194" y="626807"/>
                </a:lnTo>
                <a:lnTo>
                  <a:pt x="3095734" y="632715"/>
                </a:lnTo>
                <a:lnTo>
                  <a:pt x="3092288" y="638621"/>
                </a:lnTo>
                <a:lnTo>
                  <a:pt x="3082442" y="638621"/>
                </a:lnTo>
                <a:lnTo>
                  <a:pt x="3080964" y="626807"/>
                </a:lnTo>
                <a:lnTo>
                  <a:pt x="3079980" y="620899"/>
                </a:lnTo>
                <a:lnTo>
                  <a:pt x="3076779" y="615238"/>
                </a:lnTo>
                <a:lnTo>
                  <a:pt x="3074318" y="606868"/>
                </a:lnTo>
                <a:lnTo>
                  <a:pt x="3082442" y="606868"/>
                </a:lnTo>
                <a:lnTo>
                  <a:pt x="3092288" y="593330"/>
                </a:lnTo>
                <a:lnTo>
                  <a:pt x="3105579" y="581515"/>
                </a:lnTo>
                <a:lnTo>
                  <a:pt x="3121333" y="574132"/>
                </a:lnTo>
                <a:lnTo>
                  <a:pt x="3126994" y="573148"/>
                </a:lnTo>
                <a:lnTo>
                  <a:pt x="3132903" y="573148"/>
                </a:lnTo>
                <a:lnTo>
                  <a:pt x="3137825" y="574132"/>
                </a:lnTo>
                <a:lnTo>
                  <a:pt x="3140288" y="574132"/>
                </a:lnTo>
                <a:lnTo>
                  <a:pt x="3142749" y="574132"/>
                </a:lnTo>
                <a:lnTo>
                  <a:pt x="3146195" y="569947"/>
                </a:lnTo>
                <a:lnTo>
                  <a:pt x="3148656" y="565763"/>
                </a:lnTo>
                <a:lnTo>
                  <a:pt x="3150133" y="561331"/>
                </a:lnTo>
                <a:lnTo>
                  <a:pt x="3151856" y="558132"/>
                </a:lnTo>
                <a:lnTo>
                  <a:pt x="3154318" y="553947"/>
                </a:lnTo>
                <a:lnTo>
                  <a:pt x="3159241" y="551486"/>
                </a:lnTo>
                <a:lnTo>
                  <a:pt x="3160226" y="553947"/>
                </a:lnTo>
                <a:lnTo>
                  <a:pt x="3161703" y="555671"/>
                </a:lnTo>
                <a:lnTo>
                  <a:pt x="3163425" y="555671"/>
                </a:lnTo>
                <a:lnTo>
                  <a:pt x="3165150" y="555671"/>
                </a:lnTo>
                <a:lnTo>
                  <a:pt x="3165887" y="553947"/>
                </a:lnTo>
                <a:lnTo>
                  <a:pt x="3177456" y="543855"/>
                </a:lnTo>
                <a:lnTo>
                  <a:pt x="3184841" y="534501"/>
                </a:lnTo>
                <a:lnTo>
                  <a:pt x="3188288" y="524409"/>
                </a:lnTo>
                <a:lnTo>
                  <a:pt x="3190748" y="512840"/>
                </a:lnTo>
                <a:lnTo>
                  <a:pt x="3194933" y="502747"/>
                </a:lnTo>
                <a:lnTo>
                  <a:pt x="3203795" y="489209"/>
                </a:lnTo>
                <a:lnTo>
                  <a:pt x="3198133" y="489209"/>
                </a:lnTo>
                <a:lnTo>
                  <a:pt x="3193949" y="486747"/>
                </a:lnTo>
                <a:lnTo>
                  <a:pt x="3192472" y="483301"/>
                </a:lnTo>
                <a:lnTo>
                  <a:pt x="3190748" y="480841"/>
                </a:lnTo>
                <a:lnTo>
                  <a:pt x="3190748" y="474932"/>
                </a:lnTo>
                <a:lnTo>
                  <a:pt x="3190748" y="467548"/>
                </a:lnTo>
                <a:lnTo>
                  <a:pt x="3192472" y="465824"/>
                </a:lnTo>
                <a:lnTo>
                  <a:pt x="3193949" y="464840"/>
                </a:lnTo>
                <a:lnTo>
                  <a:pt x="3193949" y="463363"/>
                </a:lnTo>
                <a:lnTo>
                  <a:pt x="3193949" y="461640"/>
                </a:lnTo>
                <a:lnTo>
                  <a:pt x="3199856" y="459917"/>
                </a:lnTo>
                <a:lnTo>
                  <a:pt x="3203795" y="459917"/>
                </a:lnTo>
                <a:lnTo>
                  <a:pt x="3206502" y="459178"/>
                </a:lnTo>
                <a:lnTo>
                  <a:pt x="3209702" y="459178"/>
                </a:lnTo>
                <a:lnTo>
                  <a:pt x="3209702" y="443917"/>
                </a:lnTo>
                <a:lnTo>
                  <a:pt x="3212164" y="432348"/>
                </a:lnTo>
                <a:close/>
                <a:moveTo>
                  <a:pt x="763197" y="422258"/>
                </a:moveTo>
                <a:lnTo>
                  <a:pt x="761474" y="423733"/>
                </a:lnTo>
                <a:lnTo>
                  <a:pt x="759751" y="426442"/>
                </a:lnTo>
                <a:lnTo>
                  <a:pt x="759751" y="427918"/>
                </a:lnTo>
                <a:lnTo>
                  <a:pt x="759071" y="432000"/>
                </a:lnTo>
                <a:lnTo>
                  <a:pt x="759260" y="432103"/>
                </a:lnTo>
                <a:lnTo>
                  <a:pt x="759999" y="427918"/>
                </a:lnTo>
                <a:lnTo>
                  <a:pt x="759999" y="426195"/>
                </a:lnTo>
                <a:lnTo>
                  <a:pt x="761721" y="423733"/>
                </a:lnTo>
                <a:close/>
                <a:moveTo>
                  <a:pt x="1749281" y="422010"/>
                </a:moveTo>
                <a:lnTo>
                  <a:pt x="1748542" y="423733"/>
                </a:lnTo>
                <a:lnTo>
                  <a:pt x="1746819" y="423733"/>
                </a:lnTo>
                <a:lnTo>
                  <a:pt x="1745097" y="423733"/>
                </a:lnTo>
                <a:lnTo>
                  <a:pt x="1745097" y="424472"/>
                </a:lnTo>
                <a:lnTo>
                  <a:pt x="1743373" y="424472"/>
                </a:lnTo>
                <a:lnTo>
                  <a:pt x="1740911" y="427918"/>
                </a:lnTo>
                <a:lnTo>
                  <a:pt x="1737711" y="429640"/>
                </a:lnTo>
                <a:lnTo>
                  <a:pt x="1737711" y="430379"/>
                </a:lnTo>
                <a:lnTo>
                  <a:pt x="1737711" y="433825"/>
                </a:lnTo>
                <a:lnTo>
                  <a:pt x="1737711" y="436286"/>
                </a:lnTo>
                <a:lnTo>
                  <a:pt x="1737711" y="441210"/>
                </a:lnTo>
                <a:lnTo>
                  <a:pt x="1749281" y="453026"/>
                </a:lnTo>
                <a:lnTo>
                  <a:pt x="1760112" y="465578"/>
                </a:lnTo>
                <a:lnTo>
                  <a:pt x="1769958" y="480595"/>
                </a:lnTo>
                <a:lnTo>
                  <a:pt x="1781527" y="480595"/>
                </a:lnTo>
                <a:lnTo>
                  <a:pt x="1781527" y="488964"/>
                </a:lnTo>
                <a:lnTo>
                  <a:pt x="1793096" y="493147"/>
                </a:lnTo>
                <a:lnTo>
                  <a:pt x="1801465" y="499056"/>
                </a:lnTo>
                <a:lnTo>
                  <a:pt x="1810572" y="506687"/>
                </a:lnTo>
                <a:lnTo>
                  <a:pt x="1810572" y="510133"/>
                </a:lnTo>
                <a:lnTo>
                  <a:pt x="1807373" y="510133"/>
                </a:lnTo>
                <a:lnTo>
                  <a:pt x="1804911" y="510133"/>
                </a:lnTo>
                <a:lnTo>
                  <a:pt x="1801711" y="510133"/>
                </a:lnTo>
                <a:lnTo>
                  <a:pt x="1799988" y="510133"/>
                </a:lnTo>
                <a:lnTo>
                  <a:pt x="1797527" y="508409"/>
                </a:lnTo>
                <a:lnTo>
                  <a:pt x="1793342" y="506687"/>
                </a:lnTo>
                <a:lnTo>
                  <a:pt x="1789158" y="506687"/>
                </a:lnTo>
                <a:lnTo>
                  <a:pt x="1789158" y="510871"/>
                </a:lnTo>
                <a:lnTo>
                  <a:pt x="1789896" y="514317"/>
                </a:lnTo>
                <a:lnTo>
                  <a:pt x="1791619" y="516779"/>
                </a:lnTo>
                <a:lnTo>
                  <a:pt x="1791619" y="518501"/>
                </a:lnTo>
                <a:lnTo>
                  <a:pt x="1793342" y="521947"/>
                </a:lnTo>
                <a:lnTo>
                  <a:pt x="1794081" y="526132"/>
                </a:lnTo>
                <a:lnTo>
                  <a:pt x="1789896" y="528594"/>
                </a:lnTo>
                <a:lnTo>
                  <a:pt x="1787435" y="532040"/>
                </a:lnTo>
                <a:lnTo>
                  <a:pt x="1784235" y="536224"/>
                </a:lnTo>
                <a:lnTo>
                  <a:pt x="1781773" y="542133"/>
                </a:lnTo>
                <a:lnTo>
                  <a:pt x="1772666" y="542133"/>
                </a:lnTo>
                <a:lnTo>
                  <a:pt x="1772666" y="561578"/>
                </a:lnTo>
                <a:lnTo>
                  <a:pt x="1766020" y="561578"/>
                </a:lnTo>
                <a:lnTo>
                  <a:pt x="1758634" y="555672"/>
                </a:lnTo>
                <a:lnTo>
                  <a:pt x="1749528" y="552225"/>
                </a:lnTo>
                <a:lnTo>
                  <a:pt x="1742882" y="548040"/>
                </a:lnTo>
                <a:lnTo>
                  <a:pt x="1737958" y="537948"/>
                </a:lnTo>
                <a:lnTo>
                  <a:pt x="1749528" y="539671"/>
                </a:lnTo>
                <a:lnTo>
                  <a:pt x="1761096" y="537948"/>
                </a:lnTo>
                <a:lnTo>
                  <a:pt x="1770204" y="534502"/>
                </a:lnTo>
                <a:lnTo>
                  <a:pt x="1775866" y="528594"/>
                </a:lnTo>
                <a:lnTo>
                  <a:pt x="1777589" y="527856"/>
                </a:lnTo>
                <a:lnTo>
                  <a:pt x="1777589" y="526132"/>
                </a:lnTo>
                <a:lnTo>
                  <a:pt x="1778326" y="524410"/>
                </a:lnTo>
                <a:lnTo>
                  <a:pt x="1778326" y="521947"/>
                </a:lnTo>
                <a:lnTo>
                  <a:pt x="1778326" y="518501"/>
                </a:lnTo>
                <a:lnTo>
                  <a:pt x="1756912" y="502502"/>
                </a:lnTo>
                <a:lnTo>
                  <a:pt x="1733773" y="486501"/>
                </a:lnTo>
                <a:lnTo>
                  <a:pt x="1726389" y="477394"/>
                </a:lnTo>
                <a:lnTo>
                  <a:pt x="1719745" y="469025"/>
                </a:lnTo>
                <a:lnTo>
                  <a:pt x="1714084" y="458932"/>
                </a:lnTo>
                <a:lnTo>
                  <a:pt x="1704976" y="449826"/>
                </a:lnTo>
                <a:lnTo>
                  <a:pt x="1693406" y="445640"/>
                </a:lnTo>
                <a:lnTo>
                  <a:pt x="1683560" y="454009"/>
                </a:lnTo>
                <a:lnTo>
                  <a:pt x="1670268" y="461640"/>
                </a:lnTo>
                <a:lnTo>
                  <a:pt x="1654516" y="465086"/>
                </a:lnTo>
                <a:lnTo>
                  <a:pt x="1652792" y="461640"/>
                </a:lnTo>
                <a:lnTo>
                  <a:pt x="1652053" y="459179"/>
                </a:lnTo>
                <a:lnTo>
                  <a:pt x="1650330" y="457456"/>
                </a:lnTo>
                <a:lnTo>
                  <a:pt x="1647130" y="457456"/>
                </a:lnTo>
                <a:lnTo>
                  <a:pt x="1646392" y="457456"/>
                </a:lnTo>
                <a:lnTo>
                  <a:pt x="1643191" y="459179"/>
                </a:lnTo>
                <a:lnTo>
                  <a:pt x="1635808" y="465086"/>
                </a:lnTo>
                <a:lnTo>
                  <a:pt x="1633346" y="473456"/>
                </a:lnTo>
                <a:lnTo>
                  <a:pt x="1631622" y="482563"/>
                </a:lnTo>
                <a:lnTo>
                  <a:pt x="1627438" y="489210"/>
                </a:lnTo>
                <a:lnTo>
                  <a:pt x="1611685" y="489210"/>
                </a:lnTo>
                <a:lnTo>
                  <a:pt x="1606024" y="496840"/>
                </a:lnTo>
                <a:lnTo>
                  <a:pt x="1601838" y="505209"/>
                </a:lnTo>
                <a:lnTo>
                  <a:pt x="1598638" y="516041"/>
                </a:lnTo>
                <a:lnTo>
                  <a:pt x="1596915" y="516779"/>
                </a:lnTo>
                <a:lnTo>
                  <a:pt x="1596915" y="520225"/>
                </a:lnTo>
                <a:lnTo>
                  <a:pt x="1598638" y="521947"/>
                </a:lnTo>
                <a:lnTo>
                  <a:pt x="1600362" y="522686"/>
                </a:lnTo>
                <a:lnTo>
                  <a:pt x="1602823" y="526132"/>
                </a:lnTo>
                <a:lnTo>
                  <a:pt x="1604546" y="528594"/>
                </a:lnTo>
                <a:lnTo>
                  <a:pt x="1600362" y="528594"/>
                </a:lnTo>
                <a:lnTo>
                  <a:pt x="1598638" y="530318"/>
                </a:lnTo>
                <a:lnTo>
                  <a:pt x="1596915" y="530318"/>
                </a:lnTo>
                <a:lnTo>
                  <a:pt x="1596177" y="532040"/>
                </a:lnTo>
                <a:lnTo>
                  <a:pt x="1594454" y="533763"/>
                </a:lnTo>
                <a:lnTo>
                  <a:pt x="1591254" y="534502"/>
                </a:lnTo>
                <a:lnTo>
                  <a:pt x="1591254" y="537948"/>
                </a:lnTo>
                <a:lnTo>
                  <a:pt x="1591254" y="539671"/>
                </a:lnTo>
                <a:lnTo>
                  <a:pt x="1591254" y="541148"/>
                </a:lnTo>
                <a:lnTo>
                  <a:pt x="1591254" y="546071"/>
                </a:lnTo>
                <a:lnTo>
                  <a:pt x="1581408" y="546809"/>
                </a:lnTo>
                <a:lnTo>
                  <a:pt x="1577224" y="550255"/>
                </a:lnTo>
                <a:lnTo>
                  <a:pt x="1574024" y="552717"/>
                </a:lnTo>
                <a:lnTo>
                  <a:pt x="1571562" y="557640"/>
                </a:lnTo>
                <a:lnTo>
                  <a:pt x="1567377" y="561825"/>
                </a:lnTo>
                <a:lnTo>
                  <a:pt x="1562454" y="563548"/>
                </a:lnTo>
                <a:lnTo>
                  <a:pt x="1559993" y="563548"/>
                </a:lnTo>
                <a:lnTo>
                  <a:pt x="1555808" y="561825"/>
                </a:lnTo>
                <a:lnTo>
                  <a:pt x="1552608" y="560102"/>
                </a:lnTo>
                <a:lnTo>
                  <a:pt x="1550147" y="558378"/>
                </a:lnTo>
                <a:lnTo>
                  <a:pt x="1548424" y="558378"/>
                </a:lnTo>
                <a:lnTo>
                  <a:pt x="1545962" y="560102"/>
                </a:lnTo>
                <a:lnTo>
                  <a:pt x="1542761" y="561825"/>
                </a:lnTo>
                <a:lnTo>
                  <a:pt x="1540300" y="563548"/>
                </a:lnTo>
                <a:lnTo>
                  <a:pt x="1535378" y="564286"/>
                </a:lnTo>
                <a:lnTo>
                  <a:pt x="1535378" y="571917"/>
                </a:lnTo>
                <a:lnTo>
                  <a:pt x="1575746" y="577823"/>
                </a:lnTo>
                <a:lnTo>
                  <a:pt x="1587316" y="571917"/>
                </a:lnTo>
                <a:lnTo>
                  <a:pt x="1598884" y="564286"/>
                </a:lnTo>
                <a:lnTo>
                  <a:pt x="1607993" y="558378"/>
                </a:lnTo>
                <a:lnTo>
                  <a:pt x="1620300" y="555917"/>
                </a:lnTo>
                <a:lnTo>
                  <a:pt x="1639253" y="552471"/>
                </a:lnTo>
                <a:lnTo>
                  <a:pt x="1659191" y="551732"/>
                </a:lnTo>
                <a:lnTo>
                  <a:pt x="1681592" y="551732"/>
                </a:lnTo>
                <a:lnTo>
                  <a:pt x="1699807" y="551732"/>
                </a:lnTo>
                <a:lnTo>
                  <a:pt x="1715560" y="552471"/>
                </a:lnTo>
                <a:lnTo>
                  <a:pt x="1722943" y="554194"/>
                </a:lnTo>
                <a:lnTo>
                  <a:pt x="1726634" y="554194"/>
                </a:lnTo>
                <a:lnTo>
                  <a:pt x="1721712" y="567732"/>
                </a:lnTo>
                <a:lnTo>
                  <a:pt x="1719253" y="582007"/>
                </a:lnTo>
                <a:lnTo>
                  <a:pt x="1716053" y="597022"/>
                </a:lnTo>
                <a:lnTo>
                  <a:pt x="1720975" y="599484"/>
                </a:lnTo>
                <a:lnTo>
                  <a:pt x="1721712" y="602930"/>
                </a:lnTo>
                <a:lnTo>
                  <a:pt x="1724912" y="605392"/>
                </a:lnTo>
                <a:lnTo>
                  <a:pt x="1726634" y="607115"/>
                </a:lnTo>
                <a:lnTo>
                  <a:pt x="1729096" y="609576"/>
                </a:lnTo>
                <a:lnTo>
                  <a:pt x="1738943" y="613022"/>
                </a:lnTo>
                <a:lnTo>
                  <a:pt x="1750512" y="613022"/>
                </a:lnTo>
                <a:lnTo>
                  <a:pt x="1762081" y="614746"/>
                </a:lnTo>
                <a:lnTo>
                  <a:pt x="1773650" y="620653"/>
                </a:lnTo>
                <a:lnTo>
                  <a:pt x="1776850" y="632469"/>
                </a:lnTo>
                <a:lnTo>
                  <a:pt x="1782512" y="634930"/>
                </a:lnTo>
                <a:lnTo>
                  <a:pt x="1790881" y="638376"/>
                </a:lnTo>
                <a:lnTo>
                  <a:pt x="1802451" y="640837"/>
                </a:lnTo>
                <a:lnTo>
                  <a:pt x="1812296" y="644283"/>
                </a:lnTo>
                <a:lnTo>
                  <a:pt x="1817958" y="645022"/>
                </a:lnTo>
                <a:lnTo>
                  <a:pt x="1819681" y="636653"/>
                </a:lnTo>
                <a:lnTo>
                  <a:pt x="1822881" y="629022"/>
                </a:lnTo>
                <a:lnTo>
                  <a:pt x="1825342" y="621392"/>
                </a:lnTo>
                <a:lnTo>
                  <a:pt x="1834450" y="615484"/>
                </a:lnTo>
                <a:lnTo>
                  <a:pt x="1846757" y="613022"/>
                </a:lnTo>
                <a:lnTo>
                  <a:pt x="1858327" y="615484"/>
                </a:lnTo>
                <a:lnTo>
                  <a:pt x="1869895" y="621392"/>
                </a:lnTo>
                <a:lnTo>
                  <a:pt x="1881465" y="626315"/>
                </a:lnTo>
                <a:lnTo>
                  <a:pt x="1887126" y="627053"/>
                </a:lnTo>
                <a:lnTo>
                  <a:pt x="1898695" y="628776"/>
                </a:lnTo>
                <a:lnTo>
                  <a:pt x="1910265" y="632222"/>
                </a:lnTo>
                <a:lnTo>
                  <a:pt x="1921834" y="632961"/>
                </a:lnTo>
                <a:lnTo>
                  <a:pt x="1930941" y="634684"/>
                </a:lnTo>
                <a:lnTo>
                  <a:pt x="1935126" y="636407"/>
                </a:lnTo>
                <a:lnTo>
                  <a:pt x="1937587" y="634684"/>
                </a:lnTo>
                <a:lnTo>
                  <a:pt x="1939311" y="632222"/>
                </a:lnTo>
                <a:lnTo>
                  <a:pt x="1941034" y="630499"/>
                </a:lnTo>
                <a:lnTo>
                  <a:pt x="1943495" y="627053"/>
                </a:lnTo>
                <a:lnTo>
                  <a:pt x="1946695" y="626315"/>
                </a:lnTo>
                <a:lnTo>
                  <a:pt x="1949156" y="626315"/>
                </a:lnTo>
                <a:lnTo>
                  <a:pt x="1953342" y="626315"/>
                </a:lnTo>
                <a:lnTo>
                  <a:pt x="1964172" y="628776"/>
                </a:lnTo>
                <a:lnTo>
                  <a:pt x="1972541" y="632961"/>
                </a:lnTo>
                <a:lnTo>
                  <a:pt x="1982387" y="632222"/>
                </a:lnTo>
                <a:lnTo>
                  <a:pt x="1993217" y="628776"/>
                </a:lnTo>
                <a:lnTo>
                  <a:pt x="1993956" y="616960"/>
                </a:lnTo>
                <a:lnTo>
                  <a:pt x="1999618" y="602684"/>
                </a:lnTo>
                <a:lnTo>
                  <a:pt x="2004541" y="589145"/>
                </a:lnTo>
                <a:lnTo>
                  <a:pt x="2006018" y="577823"/>
                </a:lnTo>
                <a:lnTo>
                  <a:pt x="2003556" y="567732"/>
                </a:lnTo>
                <a:lnTo>
                  <a:pt x="2001834" y="564286"/>
                </a:lnTo>
                <a:lnTo>
                  <a:pt x="2001834" y="561825"/>
                </a:lnTo>
                <a:lnTo>
                  <a:pt x="2000110" y="560102"/>
                </a:lnTo>
                <a:lnTo>
                  <a:pt x="1998388" y="558378"/>
                </a:lnTo>
                <a:lnTo>
                  <a:pt x="1995925" y="558378"/>
                </a:lnTo>
                <a:lnTo>
                  <a:pt x="1992725" y="558378"/>
                </a:lnTo>
                <a:lnTo>
                  <a:pt x="1987064" y="558378"/>
                </a:lnTo>
                <a:lnTo>
                  <a:pt x="1980418" y="564286"/>
                </a:lnTo>
                <a:lnTo>
                  <a:pt x="1974756" y="566009"/>
                </a:lnTo>
                <a:lnTo>
                  <a:pt x="1969094" y="564286"/>
                </a:lnTo>
                <a:lnTo>
                  <a:pt x="1963433" y="561825"/>
                </a:lnTo>
                <a:lnTo>
                  <a:pt x="1956049" y="558378"/>
                </a:lnTo>
                <a:lnTo>
                  <a:pt x="1951864" y="557640"/>
                </a:lnTo>
                <a:lnTo>
                  <a:pt x="1948665" y="558378"/>
                </a:lnTo>
                <a:lnTo>
                  <a:pt x="1944480" y="560102"/>
                </a:lnTo>
                <a:lnTo>
                  <a:pt x="1942757" y="563548"/>
                </a:lnTo>
                <a:lnTo>
                  <a:pt x="1940295" y="566009"/>
                </a:lnTo>
                <a:lnTo>
                  <a:pt x="1937095" y="567732"/>
                </a:lnTo>
                <a:lnTo>
                  <a:pt x="1924788" y="564286"/>
                </a:lnTo>
                <a:lnTo>
                  <a:pt x="1911496" y="555917"/>
                </a:lnTo>
                <a:lnTo>
                  <a:pt x="1901649" y="542379"/>
                </a:lnTo>
                <a:lnTo>
                  <a:pt x="1896726" y="528840"/>
                </a:lnTo>
                <a:lnTo>
                  <a:pt x="1896726" y="526378"/>
                </a:lnTo>
                <a:lnTo>
                  <a:pt x="1896726" y="522932"/>
                </a:lnTo>
                <a:lnTo>
                  <a:pt x="1896726" y="520471"/>
                </a:lnTo>
                <a:lnTo>
                  <a:pt x="1896726" y="517025"/>
                </a:lnTo>
                <a:lnTo>
                  <a:pt x="1896726" y="514563"/>
                </a:lnTo>
                <a:lnTo>
                  <a:pt x="1898449" y="511117"/>
                </a:lnTo>
                <a:lnTo>
                  <a:pt x="1900173" y="506933"/>
                </a:lnTo>
                <a:lnTo>
                  <a:pt x="1896973" y="504471"/>
                </a:lnTo>
                <a:lnTo>
                  <a:pt x="1894510" y="502749"/>
                </a:lnTo>
                <a:lnTo>
                  <a:pt x="1892788" y="501025"/>
                </a:lnTo>
                <a:lnTo>
                  <a:pt x="1891064" y="499302"/>
                </a:lnTo>
                <a:lnTo>
                  <a:pt x="1888603" y="498563"/>
                </a:lnTo>
                <a:lnTo>
                  <a:pt x="1884418" y="496840"/>
                </a:lnTo>
                <a:lnTo>
                  <a:pt x="1882696" y="495118"/>
                </a:lnTo>
                <a:lnTo>
                  <a:pt x="1880972" y="495118"/>
                </a:lnTo>
                <a:lnTo>
                  <a:pt x="1879250" y="493394"/>
                </a:lnTo>
                <a:lnTo>
                  <a:pt x="1876787" y="493394"/>
                </a:lnTo>
                <a:lnTo>
                  <a:pt x="1873588" y="493394"/>
                </a:lnTo>
                <a:lnTo>
                  <a:pt x="1873588" y="496840"/>
                </a:lnTo>
                <a:lnTo>
                  <a:pt x="1871126" y="496840"/>
                </a:lnTo>
                <a:lnTo>
                  <a:pt x="1871126" y="501025"/>
                </a:lnTo>
                <a:lnTo>
                  <a:pt x="1872850" y="504471"/>
                </a:lnTo>
                <a:lnTo>
                  <a:pt x="1872850" y="505209"/>
                </a:lnTo>
                <a:lnTo>
                  <a:pt x="1872850" y="506933"/>
                </a:lnTo>
                <a:lnTo>
                  <a:pt x="1871126" y="508655"/>
                </a:lnTo>
                <a:lnTo>
                  <a:pt x="1869404" y="508655"/>
                </a:lnTo>
                <a:lnTo>
                  <a:pt x="1866942" y="508655"/>
                </a:lnTo>
                <a:lnTo>
                  <a:pt x="1861280" y="510380"/>
                </a:lnTo>
                <a:lnTo>
                  <a:pt x="1859557" y="506933"/>
                </a:lnTo>
                <a:lnTo>
                  <a:pt x="1857834" y="505209"/>
                </a:lnTo>
                <a:lnTo>
                  <a:pt x="1857834" y="504471"/>
                </a:lnTo>
                <a:lnTo>
                  <a:pt x="1855373" y="502749"/>
                </a:lnTo>
                <a:lnTo>
                  <a:pt x="1855373" y="506687"/>
                </a:lnTo>
                <a:lnTo>
                  <a:pt x="1862757" y="515794"/>
                </a:lnTo>
                <a:lnTo>
                  <a:pt x="1868419" y="528347"/>
                </a:lnTo>
                <a:lnTo>
                  <a:pt x="1870880" y="541887"/>
                </a:lnTo>
                <a:lnTo>
                  <a:pt x="1866695" y="545333"/>
                </a:lnTo>
                <a:lnTo>
                  <a:pt x="1863495" y="546071"/>
                </a:lnTo>
                <a:lnTo>
                  <a:pt x="1862757" y="549517"/>
                </a:lnTo>
                <a:lnTo>
                  <a:pt x="1861034" y="551979"/>
                </a:lnTo>
                <a:lnTo>
                  <a:pt x="1861034" y="553701"/>
                </a:lnTo>
                <a:lnTo>
                  <a:pt x="1859311" y="557147"/>
                </a:lnTo>
                <a:lnTo>
                  <a:pt x="1857589" y="557887"/>
                </a:lnTo>
                <a:lnTo>
                  <a:pt x="1853403" y="559610"/>
                </a:lnTo>
                <a:lnTo>
                  <a:pt x="1849218" y="561332"/>
                </a:lnTo>
                <a:lnTo>
                  <a:pt x="1847496" y="559610"/>
                </a:lnTo>
                <a:lnTo>
                  <a:pt x="1845772" y="559610"/>
                </a:lnTo>
                <a:lnTo>
                  <a:pt x="1845034" y="557887"/>
                </a:lnTo>
                <a:lnTo>
                  <a:pt x="1841834" y="557887"/>
                </a:lnTo>
                <a:lnTo>
                  <a:pt x="1828542" y="518501"/>
                </a:lnTo>
                <a:lnTo>
                  <a:pt x="1826081" y="516779"/>
                </a:lnTo>
                <a:lnTo>
                  <a:pt x="1822881" y="514317"/>
                </a:lnTo>
                <a:lnTo>
                  <a:pt x="1818696" y="510871"/>
                </a:lnTo>
                <a:lnTo>
                  <a:pt x="1816235" y="510133"/>
                </a:lnTo>
                <a:lnTo>
                  <a:pt x="1813035" y="506687"/>
                </a:lnTo>
                <a:lnTo>
                  <a:pt x="1811312" y="498318"/>
                </a:lnTo>
                <a:lnTo>
                  <a:pt x="1813035" y="490687"/>
                </a:lnTo>
                <a:lnTo>
                  <a:pt x="1814757" y="484779"/>
                </a:lnTo>
                <a:lnTo>
                  <a:pt x="1814757" y="478871"/>
                </a:lnTo>
                <a:lnTo>
                  <a:pt x="1810572" y="474687"/>
                </a:lnTo>
                <a:lnTo>
                  <a:pt x="1799742" y="467056"/>
                </a:lnTo>
                <a:lnTo>
                  <a:pt x="1791374" y="462871"/>
                </a:lnTo>
                <a:lnTo>
                  <a:pt x="1783988" y="461147"/>
                </a:lnTo>
                <a:lnTo>
                  <a:pt x="1777342" y="456964"/>
                </a:lnTo>
                <a:lnTo>
                  <a:pt x="1771681" y="447855"/>
                </a:lnTo>
                <a:lnTo>
                  <a:pt x="1766020" y="431856"/>
                </a:lnTo>
                <a:lnTo>
                  <a:pt x="1754450" y="435303"/>
                </a:lnTo>
                <a:lnTo>
                  <a:pt x="1752728" y="430379"/>
                </a:lnTo>
                <a:lnTo>
                  <a:pt x="1752728" y="427918"/>
                </a:lnTo>
                <a:lnTo>
                  <a:pt x="1751004" y="424472"/>
                </a:lnTo>
                <a:close/>
                <a:moveTo>
                  <a:pt x="761721" y="418564"/>
                </a:moveTo>
                <a:lnTo>
                  <a:pt x="761599" y="418810"/>
                </a:lnTo>
                <a:lnTo>
                  <a:pt x="763935" y="418810"/>
                </a:lnTo>
                <a:lnTo>
                  <a:pt x="763935" y="418811"/>
                </a:lnTo>
                <a:lnTo>
                  <a:pt x="763936" y="418811"/>
                </a:lnTo>
                <a:lnTo>
                  <a:pt x="763198" y="422257"/>
                </a:lnTo>
                <a:lnTo>
                  <a:pt x="763445" y="422010"/>
                </a:lnTo>
                <a:lnTo>
                  <a:pt x="764184" y="418564"/>
                </a:lnTo>
                <a:close/>
                <a:moveTo>
                  <a:pt x="1948172" y="406502"/>
                </a:moveTo>
                <a:lnTo>
                  <a:pt x="1944972" y="413148"/>
                </a:lnTo>
                <a:lnTo>
                  <a:pt x="1939311" y="423979"/>
                </a:lnTo>
                <a:lnTo>
                  <a:pt x="1931926" y="435794"/>
                </a:lnTo>
                <a:lnTo>
                  <a:pt x="1925280" y="447610"/>
                </a:lnTo>
                <a:lnTo>
                  <a:pt x="1919618" y="457702"/>
                </a:lnTo>
                <a:lnTo>
                  <a:pt x="1916418" y="466071"/>
                </a:lnTo>
                <a:lnTo>
                  <a:pt x="1916418" y="470994"/>
                </a:lnTo>
                <a:lnTo>
                  <a:pt x="1918142" y="476902"/>
                </a:lnTo>
                <a:lnTo>
                  <a:pt x="1918142" y="479363"/>
                </a:lnTo>
                <a:lnTo>
                  <a:pt x="1919864" y="482810"/>
                </a:lnTo>
                <a:lnTo>
                  <a:pt x="1922326" y="483548"/>
                </a:lnTo>
                <a:lnTo>
                  <a:pt x="1925526" y="485271"/>
                </a:lnTo>
                <a:lnTo>
                  <a:pt x="1929710" y="486994"/>
                </a:lnTo>
                <a:lnTo>
                  <a:pt x="1941280" y="491179"/>
                </a:lnTo>
                <a:lnTo>
                  <a:pt x="1952849" y="489456"/>
                </a:lnTo>
                <a:lnTo>
                  <a:pt x="1962695" y="485271"/>
                </a:lnTo>
                <a:lnTo>
                  <a:pt x="1974265" y="479363"/>
                </a:lnTo>
                <a:lnTo>
                  <a:pt x="1985833" y="477640"/>
                </a:lnTo>
                <a:lnTo>
                  <a:pt x="1997403" y="477640"/>
                </a:lnTo>
                <a:lnTo>
                  <a:pt x="2004787" y="482563"/>
                </a:lnTo>
                <a:lnTo>
                  <a:pt x="2010448" y="486748"/>
                </a:lnTo>
                <a:lnTo>
                  <a:pt x="2017094" y="489210"/>
                </a:lnTo>
                <a:lnTo>
                  <a:pt x="2034325" y="492656"/>
                </a:lnTo>
                <a:lnTo>
                  <a:pt x="2051556" y="490932"/>
                </a:lnTo>
                <a:lnTo>
                  <a:pt x="2067309" y="486748"/>
                </a:lnTo>
                <a:lnTo>
                  <a:pt x="2071740" y="477887"/>
                </a:lnTo>
                <a:lnTo>
                  <a:pt x="2066818" y="477887"/>
                </a:lnTo>
                <a:lnTo>
                  <a:pt x="2060171" y="466071"/>
                </a:lnTo>
                <a:lnTo>
                  <a:pt x="2048601" y="455979"/>
                </a:lnTo>
                <a:lnTo>
                  <a:pt x="2032110" y="445887"/>
                </a:lnTo>
                <a:lnTo>
                  <a:pt x="2016356" y="436778"/>
                </a:lnTo>
                <a:lnTo>
                  <a:pt x="2004049" y="432595"/>
                </a:lnTo>
                <a:lnTo>
                  <a:pt x="1996663" y="438502"/>
                </a:lnTo>
                <a:lnTo>
                  <a:pt x="1986818" y="442687"/>
                </a:lnTo>
                <a:lnTo>
                  <a:pt x="1979433" y="441949"/>
                </a:lnTo>
                <a:lnTo>
                  <a:pt x="1975249" y="436041"/>
                </a:lnTo>
                <a:lnTo>
                  <a:pt x="1969587" y="430133"/>
                </a:lnTo>
                <a:lnTo>
                  <a:pt x="1966388" y="422502"/>
                </a:lnTo>
                <a:lnTo>
                  <a:pt x="1976233" y="419056"/>
                </a:lnTo>
                <a:lnTo>
                  <a:pt x="1975495" y="418318"/>
                </a:lnTo>
                <a:lnTo>
                  <a:pt x="1973772" y="418318"/>
                </a:lnTo>
                <a:lnTo>
                  <a:pt x="1972049" y="418318"/>
                </a:lnTo>
                <a:lnTo>
                  <a:pt x="1969587" y="416595"/>
                </a:lnTo>
                <a:lnTo>
                  <a:pt x="1964664" y="412410"/>
                </a:lnTo>
                <a:lnTo>
                  <a:pt x="1960480" y="410687"/>
                </a:lnTo>
                <a:lnTo>
                  <a:pt x="1954818" y="408224"/>
                </a:lnTo>
                <a:close/>
                <a:moveTo>
                  <a:pt x="2179063" y="402318"/>
                </a:moveTo>
                <a:lnTo>
                  <a:pt x="2169955" y="409949"/>
                </a:lnTo>
                <a:lnTo>
                  <a:pt x="2160109" y="414133"/>
                </a:lnTo>
                <a:lnTo>
                  <a:pt x="2150263" y="418318"/>
                </a:lnTo>
                <a:lnTo>
                  <a:pt x="2141155" y="425948"/>
                </a:lnTo>
                <a:lnTo>
                  <a:pt x="2135494" y="435056"/>
                </a:lnTo>
                <a:lnTo>
                  <a:pt x="2133032" y="447610"/>
                </a:lnTo>
                <a:lnTo>
                  <a:pt x="2137217" y="461147"/>
                </a:lnTo>
                <a:lnTo>
                  <a:pt x="2146324" y="474687"/>
                </a:lnTo>
                <a:lnTo>
                  <a:pt x="2154694" y="488225"/>
                </a:lnTo>
                <a:lnTo>
                  <a:pt x="2164540" y="499056"/>
                </a:lnTo>
                <a:lnTo>
                  <a:pt x="2170202" y="509887"/>
                </a:lnTo>
                <a:lnTo>
                  <a:pt x="2160356" y="509887"/>
                </a:lnTo>
                <a:lnTo>
                  <a:pt x="2160356" y="528347"/>
                </a:lnTo>
                <a:lnTo>
                  <a:pt x="2163556" y="541887"/>
                </a:lnTo>
                <a:lnTo>
                  <a:pt x="2171924" y="549517"/>
                </a:lnTo>
                <a:lnTo>
                  <a:pt x="2186694" y="551979"/>
                </a:lnTo>
                <a:lnTo>
                  <a:pt x="2208108" y="551241"/>
                </a:lnTo>
                <a:lnTo>
                  <a:pt x="2206385" y="534502"/>
                </a:lnTo>
                <a:lnTo>
                  <a:pt x="2203185" y="524410"/>
                </a:lnTo>
                <a:lnTo>
                  <a:pt x="2199002" y="516041"/>
                </a:lnTo>
                <a:lnTo>
                  <a:pt x="2197278" y="506933"/>
                </a:lnTo>
                <a:lnTo>
                  <a:pt x="2199002" y="493394"/>
                </a:lnTo>
                <a:lnTo>
                  <a:pt x="2202201" y="495118"/>
                </a:lnTo>
                <a:lnTo>
                  <a:pt x="2204663" y="495118"/>
                </a:lnTo>
                <a:lnTo>
                  <a:pt x="2207863" y="495118"/>
                </a:lnTo>
                <a:lnTo>
                  <a:pt x="2210323" y="495118"/>
                </a:lnTo>
                <a:lnTo>
                  <a:pt x="2214509" y="493147"/>
                </a:lnTo>
                <a:lnTo>
                  <a:pt x="2212047" y="490687"/>
                </a:lnTo>
                <a:lnTo>
                  <a:pt x="2208848" y="488964"/>
                </a:lnTo>
                <a:lnTo>
                  <a:pt x="2208108" y="488225"/>
                </a:lnTo>
                <a:lnTo>
                  <a:pt x="2204909" y="484779"/>
                </a:lnTo>
                <a:lnTo>
                  <a:pt x="2202447" y="483055"/>
                </a:lnTo>
                <a:lnTo>
                  <a:pt x="2200724" y="484779"/>
                </a:lnTo>
                <a:lnTo>
                  <a:pt x="2200724" y="488225"/>
                </a:lnTo>
                <a:lnTo>
                  <a:pt x="2199002" y="490687"/>
                </a:lnTo>
                <a:lnTo>
                  <a:pt x="2199002" y="492410"/>
                </a:lnTo>
                <a:lnTo>
                  <a:pt x="2197278" y="493147"/>
                </a:lnTo>
                <a:lnTo>
                  <a:pt x="2196539" y="492410"/>
                </a:lnTo>
                <a:lnTo>
                  <a:pt x="2194816" y="488964"/>
                </a:lnTo>
                <a:lnTo>
                  <a:pt x="2190632" y="482317"/>
                </a:lnTo>
                <a:lnTo>
                  <a:pt x="2186447" y="474687"/>
                </a:lnTo>
                <a:lnTo>
                  <a:pt x="2187185" y="471241"/>
                </a:lnTo>
                <a:lnTo>
                  <a:pt x="2188909" y="471241"/>
                </a:lnTo>
                <a:lnTo>
                  <a:pt x="2190632" y="470502"/>
                </a:lnTo>
                <a:lnTo>
                  <a:pt x="2191371" y="467056"/>
                </a:lnTo>
                <a:lnTo>
                  <a:pt x="2179063" y="459425"/>
                </a:lnTo>
                <a:lnTo>
                  <a:pt x="2169217" y="447610"/>
                </a:lnTo>
                <a:lnTo>
                  <a:pt x="2163556" y="435056"/>
                </a:lnTo>
                <a:lnTo>
                  <a:pt x="2179309" y="433333"/>
                </a:lnTo>
                <a:lnTo>
                  <a:pt x="2190878" y="429148"/>
                </a:lnTo>
                <a:lnTo>
                  <a:pt x="2196539" y="418318"/>
                </a:lnTo>
                <a:lnTo>
                  <a:pt x="2199002" y="405764"/>
                </a:lnTo>
                <a:lnTo>
                  <a:pt x="2194816" y="404041"/>
                </a:lnTo>
                <a:lnTo>
                  <a:pt x="2190632" y="404041"/>
                </a:lnTo>
                <a:lnTo>
                  <a:pt x="2186447" y="402318"/>
                </a:lnTo>
                <a:close/>
                <a:moveTo>
                  <a:pt x="2024479" y="400349"/>
                </a:moveTo>
                <a:lnTo>
                  <a:pt x="2012911" y="406256"/>
                </a:lnTo>
                <a:lnTo>
                  <a:pt x="1998879" y="410440"/>
                </a:lnTo>
                <a:lnTo>
                  <a:pt x="1998879" y="422256"/>
                </a:lnTo>
                <a:lnTo>
                  <a:pt x="2004541" y="423979"/>
                </a:lnTo>
                <a:lnTo>
                  <a:pt x="2011187" y="424717"/>
                </a:lnTo>
                <a:lnTo>
                  <a:pt x="2020295" y="424717"/>
                </a:lnTo>
                <a:lnTo>
                  <a:pt x="2020295" y="418810"/>
                </a:lnTo>
                <a:lnTo>
                  <a:pt x="2022757" y="414626"/>
                </a:lnTo>
                <a:lnTo>
                  <a:pt x="2024479" y="410440"/>
                </a:lnTo>
                <a:lnTo>
                  <a:pt x="2024479" y="406256"/>
                </a:lnTo>
                <a:lnTo>
                  <a:pt x="2024479" y="402810"/>
                </a:lnTo>
                <a:close/>
                <a:moveTo>
                  <a:pt x="904489" y="392717"/>
                </a:moveTo>
                <a:lnTo>
                  <a:pt x="906951" y="400348"/>
                </a:lnTo>
                <a:lnTo>
                  <a:pt x="908427" y="410440"/>
                </a:lnTo>
                <a:lnTo>
                  <a:pt x="910151" y="418809"/>
                </a:lnTo>
                <a:lnTo>
                  <a:pt x="908427" y="420532"/>
                </a:lnTo>
                <a:lnTo>
                  <a:pt x="906951" y="420532"/>
                </a:lnTo>
                <a:lnTo>
                  <a:pt x="905966" y="420532"/>
                </a:lnTo>
                <a:lnTo>
                  <a:pt x="905966" y="422255"/>
                </a:lnTo>
                <a:lnTo>
                  <a:pt x="904489" y="422255"/>
                </a:lnTo>
                <a:lnTo>
                  <a:pt x="898581" y="422255"/>
                </a:lnTo>
                <a:lnTo>
                  <a:pt x="896858" y="420532"/>
                </a:lnTo>
                <a:lnTo>
                  <a:pt x="896858" y="418809"/>
                </a:lnTo>
                <a:lnTo>
                  <a:pt x="896858" y="418071"/>
                </a:lnTo>
                <a:lnTo>
                  <a:pt x="895381" y="418071"/>
                </a:lnTo>
                <a:lnTo>
                  <a:pt x="894396" y="416348"/>
                </a:lnTo>
                <a:close/>
                <a:moveTo>
                  <a:pt x="583999" y="365149"/>
                </a:moveTo>
                <a:lnTo>
                  <a:pt x="577353" y="375241"/>
                </a:lnTo>
                <a:lnTo>
                  <a:pt x="569969" y="384349"/>
                </a:lnTo>
                <a:lnTo>
                  <a:pt x="565784" y="396903"/>
                </a:lnTo>
                <a:lnTo>
                  <a:pt x="574153" y="396164"/>
                </a:lnTo>
                <a:lnTo>
                  <a:pt x="579815" y="398626"/>
                </a:lnTo>
                <a:lnTo>
                  <a:pt x="583999" y="402810"/>
                </a:lnTo>
                <a:lnTo>
                  <a:pt x="589661" y="410441"/>
                </a:lnTo>
                <a:lnTo>
                  <a:pt x="591385" y="404534"/>
                </a:lnTo>
                <a:lnTo>
                  <a:pt x="591385" y="400349"/>
                </a:lnTo>
                <a:lnTo>
                  <a:pt x="593107" y="396903"/>
                </a:lnTo>
                <a:lnTo>
                  <a:pt x="593107" y="392718"/>
                </a:lnTo>
                <a:lnTo>
                  <a:pt x="600491" y="392718"/>
                </a:lnTo>
                <a:lnTo>
                  <a:pt x="604677" y="402810"/>
                </a:lnTo>
                <a:lnTo>
                  <a:pt x="611323" y="406257"/>
                </a:lnTo>
                <a:lnTo>
                  <a:pt x="616984" y="408718"/>
                </a:lnTo>
                <a:lnTo>
                  <a:pt x="622645" y="412164"/>
                </a:lnTo>
                <a:lnTo>
                  <a:pt x="628306" y="418810"/>
                </a:lnTo>
                <a:lnTo>
                  <a:pt x="622645" y="427918"/>
                </a:lnTo>
                <a:lnTo>
                  <a:pt x="615999" y="438010"/>
                </a:lnTo>
                <a:lnTo>
                  <a:pt x="610338" y="451549"/>
                </a:lnTo>
                <a:lnTo>
                  <a:pt x="605415" y="463364"/>
                </a:lnTo>
                <a:lnTo>
                  <a:pt x="605415" y="470749"/>
                </a:lnTo>
                <a:lnTo>
                  <a:pt x="606400" y="475671"/>
                </a:lnTo>
                <a:lnTo>
                  <a:pt x="606400" y="478134"/>
                </a:lnTo>
                <a:lnTo>
                  <a:pt x="608122" y="479856"/>
                </a:lnTo>
                <a:lnTo>
                  <a:pt x="609846" y="481580"/>
                </a:lnTo>
                <a:lnTo>
                  <a:pt x="610584" y="483302"/>
                </a:lnTo>
                <a:lnTo>
                  <a:pt x="615507" y="484042"/>
                </a:lnTo>
                <a:lnTo>
                  <a:pt x="615507" y="481580"/>
                </a:lnTo>
                <a:lnTo>
                  <a:pt x="617969" y="475671"/>
                </a:lnTo>
                <a:lnTo>
                  <a:pt x="622153" y="466564"/>
                </a:lnTo>
                <a:lnTo>
                  <a:pt x="627076" y="454749"/>
                </a:lnTo>
                <a:lnTo>
                  <a:pt x="631261" y="444656"/>
                </a:lnTo>
                <a:lnTo>
                  <a:pt x="635445" y="436287"/>
                </a:lnTo>
                <a:lnTo>
                  <a:pt x="637169" y="430379"/>
                </a:lnTo>
                <a:lnTo>
                  <a:pt x="647014" y="430379"/>
                </a:lnTo>
                <a:lnTo>
                  <a:pt x="648738" y="446379"/>
                </a:lnTo>
                <a:lnTo>
                  <a:pt x="648738" y="460657"/>
                </a:lnTo>
                <a:lnTo>
                  <a:pt x="648738" y="478379"/>
                </a:lnTo>
                <a:lnTo>
                  <a:pt x="650461" y="497579"/>
                </a:lnTo>
                <a:lnTo>
                  <a:pt x="668677" y="500041"/>
                </a:lnTo>
                <a:lnTo>
                  <a:pt x="676061" y="489210"/>
                </a:lnTo>
                <a:lnTo>
                  <a:pt x="689353" y="481580"/>
                </a:lnTo>
                <a:lnTo>
                  <a:pt x="703383" y="473949"/>
                </a:lnTo>
                <a:lnTo>
                  <a:pt x="718153" y="468041"/>
                </a:lnTo>
                <a:lnTo>
                  <a:pt x="732184" y="462133"/>
                </a:lnTo>
                <a:lnTo>
                  <a:pt x="745476" y="454502"/>
                </a:lnTo>
                <a:lnTo>
                  <a:pt x="751137" y="446133"/>
                </a:lnTo>
                <a:lnTo>
                  <a:pt x="747937" y="446133"/>
                </a:lnTo>
                <a:lnTo>
                  <a:pt x="747198" y="442688"/>
                </a:lnTo>
                <a:lnTo>
                  <a:pt x="747198" y="441949"/>
                </a:lnTo>
                <a:lnTo>
                  <a:pt x="745476" y="440225"/>
                </a:lnTo>
                <a:lnTo>
                  <a:pt x="743752" y="440225"/>
                </a:lnTo>
                <a:lnTo>
                  <a:pt x="742029" y="440225"/>
                </a:lnTo>
                <a:lnTo>
                  <a:pt x="739568" y="438503"/>
                </a:lnTo>
                <a:lnTo>
                  <a:pt x="733906" y="442688"/>
                </a:lnTo>
                <a:lnTo>
                  <a:pt x="724060" y="448595"/>
                </a:lnTo>
                <a:lnTo>
                  <a:pt x="712491" y="457702"/>
                </a:lnTo>
                <a:lnTo>
                  <a:pt x="697722" y="465334"/>
                </a:lnTo>
                <a:lnTo>
                  <a:pt x="684429" y="473703"/>
                </a:lnTo>
                <a:lnTo>
                  <a:pt x="672122" y="479611"/>
                </a:lnTo>
                <a:lnTo>
                  <a:pt x="663014" y="483056"/>
                </a:lnTo>
                <a:lnTo>
                  <a:pt x="660553" y="483795"/>
                </a:lnTo>
                <a:lnTo>
                  <a:pt x="658830" y="483056"/>
                </a:lnTo>
                <a:lnTo>
                  <a:pt x="657107" y="481334"/>
                </a:lnTo>
                <a:lnTo>
                  <a:pt x="657107" y="479611"/>
                </a:lnTo>
                <a:lnTo>
                  <a:pt x="657107" y="477887"/>
                </a:lnTo>
                <a:lnTo>
                  <a:pt x="656368" y="475425"/>
                </a:lnTo>
                <a:lnTo>
                  <a:pt x="660553" y="467794"/>
                </a:lnTo>
                <a:lnTo>
                  <a:pt x="660553" y="461887"/>
                </a:lnTo>
                <a:lnTo>
                  <a:pt x="658830" y="457702"/>
                </a:lnTo>
                <a:lnTo>
                  <a:pt x="657107" y="450071"/>
                </a:lnTo>
                <a:lnTo>
                  <a:pt x="660306" y="441703"/>
                </a:lnTo>
                <a:lnTo>
                  <a:pt x="662031" y="439980"/>
                </a:lnTo>
                <a:lnTo>
                  <a:pt x="662768" y="438257"/>
                </a:lnTo>
                <a:lnTo>
                  <a:pt x="664491" y="436534"/>
                </a:lnTo>
                <a:lnTo>
                  <a:pt x="666215" y="436534"/>
                </a:lnTo>
                <a:lnTo>
                  <a:pt x="667937" y="436534"/>
                </a:lnTo>
                <a:lnTo>
                  <a:pt x="668677" y="435794"/>
                </a:lnTo>
                <a:lnTo>
                  <a:pt x="670399" y="434072"/>
                </a:lnTo>
                <a:lnTo>
                  <a:pt x="670399" y="430626"/>
                </a:lnTo>
                <a:lnTo>
                  <a:pt x="672122" y="426441"/>
                </a:lnTo>
                <a:lnTo>
                  <a:pt x="672122" y="418810"/>
                </a:lnTo>
                <a:lnTo>
                  <a:pt x="664738" y="414626"/>
                </a:lnTo>
                <a:lnTo>
                  <a:pt x="657353" y="412903"/>
                </a:lnTo>
                <a:lnTo>
                  <a:pt x="651692" y="412903"/>
                </a:lnTo>
                <a:lnTo>
                  <a:pt x="645046" y="410441"/>
                </a:lnTo>
                <a:lnTo>
                  <a:pt x="634215" y="402810"/>
                </a:lnTo>
                <a:lnTo>
                  <a:pt x="627569" y="396164"/>
                </a:lnTo>
                <a:lnTo>
                  <a:pt x="622645" y="387057"/>
                </a:lnTo>
                <a:lnTo>
                  <a:pt x="616984" y="378687"/>
                </a:lnTo>
                <a:lnTo>
                  <a:pt x="610338" y="372780"/>
                </a:lnTo>
                <a:lnTo>
                  <a:pt x="598769" y="366872"/>
                </a:lnTo>
                <a:close/>
                <a:moveTo>
                  <a:pt x="873963" y="351856"/>
                </a:moveTo>
                <a:lnTo>
                  <a:pt x="884795" y="352594"/>
                </a:lnTo>
                <a:lnTo>
                  <a:pt x="891195" y="354317"/>
                </a:lnTo>
                <a:lnTo>
                  <a:pt x="900304" y="357764"/>
                </a:lnTo>
                <a:lnTo>
                  <a:pt x="900304" y="364410"/>
                </a:lnTo>
                <a:lnTo>
                  <a:pt x="897102" y="364410"/>
                </a:lnTo>
                <a:lnTo>
                  <a:pt x="894641" y="366134"/>
                </a:lnTo>
                <a:lnTo>
                  <a:pt x="891195" y="366134"/>
                </a:lnTo>
                <a:lnTo>
                  <a:pt x="888733" y="366134"/>
                </a:lnTo>
                <a:lnTo>
                  <a:pt x="884795" y="367611"/>
                </a:lnTo>
                <a:lnTo>
                  <a:pt x="881348" y="363426"/>
                </a:lnTo>
                <a:lnTo>
                  <a:pt x="879625" y="361948"/>
                </a:lnTo>
                <a:lnTo>
                  <a:pt x="878887" y="358503"/>
                </a:lnTo>
                <a:lnTo>
                  <a:pt x="877164" y="356041"/>
                </a:lnTo>
                <a:close/>
                <a:moveTo>
                  <a:pt x="941657" y="335118"/>
                </a:moveTo>
                <a:lnTo>
                  <a:pt x="950765" y="335118"/>
                </a:lnTo>
                <a:lnTo>
                  <a:pt x="950765" y="346932"/>
                </a:lnTo>
                <a:lnTo>
                  <a:pt x="950765" y="357763"/>
                </a:lnTo>
                <a:lnTo>
                  <a:pt x="952488" y="366133"/>
                </a:lnTo>
                <a:lnTo>
                  <a:pt x="953226" y="375979"/>
                </a:lnTo>
                <a:lnTo>
                  <a:pt x="969718" y="375979"/>
                </a:lnTo>
                <a:lnTo>
                  <a:pt x="969718" y="392717"/>
                </a:lnTo>
                <a:lnTo>
                  <a:pt x="976365" y="392717"/>
                </a:lnTo>
                <a:lnTo>
                  <a:pt x="978089" y="393456"/>
                </a:lnTo>
                <a:lnTo>
                  <a:pt x="979811" y="393456"/>
                </a:lnTo>
                <a:lnTo>
                  <a:pt x="981288" y="393456"/>
                </a:lnTo>
                <a:lnTo>
                  <a:pt x="982272" y="393456"/>
                </a:lnTo>
                <a:lnTo>
                  <a:pt x="983750" y="393456"/>
                </a:lnTo>
                <a:lnTo>
                  <a:pt x="985472" y="395179"/>
                </a:lnTo>
                <a:lnTo>
                  <a:pt x="983750" y="404286"/>
                </a:lnTo>
                <a:lnTo>
                  <a:pt x="981288" y="414379"/>
                </a:lnTo>
                <a:lnTo>
                  <a:pt x="979811" y="424225"/>
                </a:lnTo>
                <a:lnTo>
                  <a:pt x="976365" y="424225"/>
                </a:lnTo>
                <a:lnTo>
                  <a:pt x="975626" y="421025"/>
                </a:lnTo>
                <a:lnTo>
                  <a:pt x="975626" y="420041"/>
                </a:lnTo>
                <a:lnTo>
                  <a:pt x="975626" y="418563"/>
                </a:lnTo>
                <a:lnTo>
                  <a:pt x="973904" y="416841"/>
                </a:lnTo>
                <a:lnTo>
                  <a:pt x="973904" y="415117"/>
                </a:lnTo>
                <a:lnTo>
                  <a:pt x="972180" y="418563"/>
                </a:lnTo>
                <a:lnTo>
                  <a:pt x="970703" y="418563"/>
                </a:lnTo>
                <a:lnTo>
                  <a:pt x="970703" y="420041"/>
                </a:lnTo>
                <a:lnTo>
                  <a:pt x="969718" y="420041"/>
                </a:lnTo>
                <a:lnTo>
                  <a:pt x="966519" y="421025"/>
                </a:lnTo>
                <a:lnTo>
                  <a:pt x="966519" y="415117"/>
                </a:lnTo>
                <a:lnTo>
                  <a:pt x="968242" y="414379"/>
                </a:lnTo>
                <a:lnTo>
                  <a:pt x="968242" y="412655"/>
                </a:lnTo>
                <a:lnTo>
                  <a:pt x="969718" y="410932"/>
                </a:lnTo>
                <a:lnTo>
                  <a:pt x="969718" y="408471"/>
                </a:lnTo>
                <a:lnTo>
                  <a:pt x="969718" y="405271"/>
                </a:lnTo>
                <a:lnTo>
                  <a:pt x="966519" y="405271"/>
                </a:lnTo>
                <a:lnTo>
                  <a:pt x="960611" y="410932"/>
                </a:lnTo>
                <a:lnTo>
                  <a:pt x="954950" y="416841"/>
                </a:lnTo>
                <a:lnTo>
                  <a:pt x="947565" y="421025"/>
                </a:lnTo>
                <a:lnTo>
                  <a:pt x="947565" y="416841"/>
                </a:lnTo>
                <a:lnTo>
                  <a:pt x="947565" y="412655"/>
                </a:lnTo>
                <a:lnTo>
                  <a:pt x="947565" y="410932"/>
                </a:lnTo>
                <a:lnTo>
                  <a:pt x="946580" y="410194"/>
                </a:lnTo>
                <a:lnTo>
                  <a:pt x="943380" y="408471"/>
                </a:lnTo>
                <a:lnTo>
                  <a:pt x="939195" y="408471"/>
                </a:lnTo>
                <a:lnTo>
                  <a:pt x="931811" y="408471"/>
                </a:lnTo>
                <a:lnTo>
                  <a:pt x="929349" y="408471"/>
                </a:lnTo>
                <a:lnTo>
                  <a:pt x="925903" y="408471"/>
                </a:lnTo>
                <a:lnTo>
                  <a:pt x="921965" y="406748"/>
                </a:lnTo>
                <a:lnTo>
                  <a:pt x="917780" y="406748"/>
                </a:lnTo>
                <a:lnTo>
                  <a:pt x="913595" y="405271"/>
                </a:lnTo>
                <a:lnTo>
                  <a:pt x="910395" y="402564"/>
                </a:lnTo>
                <a:lnTo>
                  <a:pt x="918519" y="390994"/>
                </a:lnTo>
                <a:lnTo>
                  <a:pt x="927626" y="373518"/>
                </a:lnTo>
                <a:lnTo>
                  <a:pt x="933534" y="354317"/>
                </a:lnTo>
                <a:close/>
                <a:moveTo>
                  <a:pt x="668181" y="284409"/>
                </a:moveTo>
                <a:lnTo>
                  <a:pt x="680489" y="284409"/>
                </a:lnTo>
                <a:lnTo>
                  <a:pt x="680489" y="290318"/>
                </a:lnTo>
                <a:lnTo>
                  <a:pt x="678027" y="290318"/>
                </a:lnTo>
                <a:lnTo>
                  <a:pt x="676551" y="291793"/>
                </a:lnTo>
                <a:lnTo>
                  <a:pt x="675565" y="291793"/>
                </a:lnTo>
                <a:lnTo>
                  <a:pt x="674089" y="291793"/>
                </a:lnTo>
                <a:lnTo>
                  <a:pt x="672366" y="293518"/>
                </a:lnTo>
                <a:lnTo>
                  <a:pt x="668181" y="293518"/>
                </a:lnTo>
                <a:close/>
                <a:moveTo>
                  <a:pt x="3216347" y="266933"/>
                </a:moveTo>
                <a:lnTo>
                  <a:pt x="3218071" y="268656"/>
                </a:lnTo>
                <a:lnTo>
                  <a:pt x="3218071" y="270133"/>
                </a:lnTo>
                <a:lnTo>
                  <a:pt x="3218809" y="270133"/>
                </a:lnTo>
                <a:lnTo>
                  <a:pt x="3218809" y="271856"/>
                </a:lnTo>
                <a:lnTo>
                  <a:pt x="3223732" y="281948"/>
                </a:lnTo>
                <a:lnTo>
                  <a:pt x="3223732" y="295240"/>
                </a:lnTo>
                <a:lnTo>
                  <a:pt x="3223732" y="307795"/>
                </a:lnTo>
                <a:lnTo>
                  <a:pt x="3226193" y="322810"/>
                </a:lnTo>
                <a:lnTo>
                  <a:pt x="3230377" y="336841"/>
                </a:lnTo>
                <a:lnTo>
                  <a:pt x="3237763" y="352595"/>
                </a:lnTo>
                <a:lnTo>
                  <a:pt x="3241947" y="370071"/>
                </a:lnTo>
                <a:lnTo>
                  <a:pt x="3222255" y="367609"/>
                </a:lnTo>
                <a:lnTo>
                  <a:pt x="3222255" y="380902"/>
                </a:lnTo>
                <a:lnTo>
                  <a:pt x="3224717" y="390995"/>
                </a:lnTo>
                <a:lnTo>
                  <a:pt x="3226193" y="401087"/>
                </a:lnTo>
                <a:lnTo>
                  <a:pt x="3229639" y="415117"/>
                </a:lnTo>
                <a:lnTo>
                  <a:pt x="3224717" y="415117"/>
                </a:lnTo>
                <a:lnTo>
                  <a:pt x="3222255" y="415117"/>
                </a:lnTo>
                <a:lnTo>
                  <a:pt x="3218071" y="416840"/>
                </a:lnTo>
                <a:lnTo>
                  <a:pt x="3216347" y="416840"/>
                </a:lnTo>
                <a:lnTo>
                  <a:pt x="3213885" y="418564"/>
                </a:lnTo>
                <a:lnTo>
                  <a:pt x="3210686" y="410194"/>
                </a:lnTo>
                <a:lnTo>
                  <a:pt x="3208962" y="393456"/>
                </a:lnTo>
                <a:lnTo>
                  <a:pt x="3208962" y="375240"/>
                </a:lnTo>
                <a:lnTo>
                  <a:pt x="3208962" y="354317"/>
                </a:lnTo>
                <a:lnTo>
                  <a:pt x="3208962" y="335117"/>
                </a:lnTo>
                <a:lnTo>
                  <a:pt x="3206501" y="322810"/>
                </a:lnTo>
                <a:lnTo>
                  <a:pt x="3206501" y="290318"/>
                </a:lnTo>
                <a:lnTo>
                  <a:pt x="3208962" y="286133"/>
                </a:lnTo>
                <a:lnTo>
                  <a:pt x="3210686" y="283672"/>
                </a:lnTo>
                <a:lnTo>
                  <a:pt x="3212163" y="280226"/>
                </a:lnTo>
                <a:lnTo>
                  <a:pt x="3213885" y="277764"/>
                </a:lnTo>
                <a:lnTo>
                  <a:pt x="3214625" y="272841"/>
                </a:lnTo>
                <a:close/>
                <a:moveTo>
                  <a:pt x="1521837" y="255363"/>
                </a:moveTo>
                <a:lnTo>
                  <a:pt x="1525037" y="272840"/>
                </a:lnTo>
                <a:lnTo>
                  <a:pt x="1523314" y="290318"/>
                </a:lnTo>
                <a:lnTo>
                  <a:pt x="1519375" y="309272"/>
                </a:lnTo>
                <a:lnTo>
                  <a:pt x="1507806" y="315179"/>
                </a:lnTo>
                <a:lnTo>
                  <a:pt x="1496976" y="318626"/>
                </a:lnTo>
                <a:lnTo>
                  <a:pt x="1481221" y="319364"/>
                </a:lnTo>
                <a:lnTo>
                  <a:pt x="1481221" y="312718"/>
                </a:lnTo>
                <a:lnTo>
                  <a:pt x="1485406" y="301887"/>
                </a:lnTo>
                <a:lnTo>
                  <a:pt x="1485406" y="289332"/>
                </a:lnTo>
                <a:lnTo>
                  <a:pt x="1484667" y="274317"/>
                </a:lnTo>
                <a:lnTo>
                  <a:pt x="1492791" y="266933"/>
                </a:lnTo>
                <a:lnTo>
                  <a:pt x="1500175" y="261025"/>
                </a:lnTo>
                <a:lnTo>
                  <a:pt x="1508545" y="256841"/>
                </a:lnTo>
                <a:close/>
                <a:moveTo>
                  <a:pt x="1728358" y="232718"/>
                </a:moveTo>
                <a:lnTo>
                  <a:pt x="1730820" y="235180"/>
                </a:lnTo>
                <a:lnTo>
                  <a:pt x="1732542" y="236903"/>
                </a:lnTo>
                <a:lnTo>
                  <a:pt x="1734019" y="238625"/>
                </a:lnTo>
                <a:lnTo>
                  <a:pt x="1734019" y="241087"/>
                </a:lnTo>
                <a:lnTo>
                  <a:pt x="1734019" y="244533"/>
                </a:lnTo>
                <a:lnTo>
                  <a:pt x="1735004" y="248472"/>
                </a:lnTo>
                <a:lnTo>
                  <a:pt x="1734019" y="251179"/>
                </a:lnTo>
                <a:lnTo>
                  <a:pt x="1732542" y="252656"/>
                </a:lnTo>
                <a:lnTo>
                  <a:pt x="1732542" y="254379"/>
                </a:lnTo>
                <a:lnTo>
                  <a:pt x="1732542" y="255364"/>
                </a:lnTo>
                <a:lnTo>
                  <a:pt x="1732542" y="256841"/>
                </a:lnTo>
                <a:lnTo>
                  <a:pt x="1730820" y="258564"/>
                </a:lnTo>
                <a:lnTo>
                  <a:pt x="1729095" y="260287"/>
                </a:lnTo>
                <a:lnTo>
                  <a:pt x="1728358" y="260287"/>
                </a:lnTo>
                <a:lnTo>
                  <a:pt x="1726634" y="260287"/>
                </a:lnTo>
                <a:lnTo>
                  <a:pt x="1724911" y="261025"/>
                </a:lnTo>
                <a:lnTo>
                  <a:pt x="1722449" y="261025"/>
                </a:lnTo>
                <a:lnTo>
                  <a:pt x="1717527" y="251179"/>
                </a:lnTo>
                <a:lnTo>
                  <a:pt x="1715066" y="246995"/>
                </a:lnTo>
                <a:lnTo>
                  <a:pt x="1715066" y="245271"/>
                </a:lnTo>
                <a:lnTo>
                  <a:pt x="1716788" y="244533"/>
                </a:lnTo>
                <a:lnTo>
                  <a:pt x="1722449" y="241087"/>
                </a:lnTo>
                <a:close/>
                <a:moveTo>
                  <a:pt x="1794327" y="200225"/>
                </a:moveTo>
                <a:lnTo>
                  <a:pt x="1798512" y="201949"/>
                </a:lnTo>
                <a:lnTo>
                  <a:pt x="1800236" y="201949"/>
                </a:lnTo>
                <a:lnTo>
                  <a:pt x="1801712" y="201949"/>
                </a:lnTo>
                <a:lnTo>
                  <a:pt x="1802696" y="203671"/>
                </a:lnTo>
                <a:lnTo>
                  <a:pt x="1804420" y="203671"/>
                </a:lnTo>
                <a:lnTo>
                  <a:pt x="1801712" y="207856"/>
                </a:lnTo>
                <a:lnTo>
                  <a:pt x="1800236" y="212041"/>
                </a:lnTo>
                <a:lnTo>
                  <a:pt x="1798512" y="216226"/>
                </a:lnTo>
                <a:lnTo>
                  <a:pt x="1796050" y="221148"/>
                </a:lnTo>
                <a:lnTo>
                  <a:pt x="1791127" y="223610"/>
                </a:lnTo>
                <a:lnTo>
                  <a:pt x="1791127" y="219426"/>
                </a:lnTo>
                <a:lnTo>
                  <a:pt x="1790143" y="219426"/>
                </a:lnTo>
                <a:lnTo>
                  <a:pt x="1790143" y="217703"/>
                </a:lnTo>
                <a:lnTo>
                  <a:pt x="1790143" y="216226"/>
                </a:lnTo>
                <a:lnTo>
                  <a:pt x="1788665" y="213518"/>
                </a:lnTo>
                <a:lnTo>
                  <a:pt x="1791127" y="210317"/>
                </a:lnTo>
                <a:lnTo>
                  <a:pt x="1792850" y="207856"/>
                </a:lnTo>
                <a:lnTo>
                  <a:pt x="1794327" y="204411"/>
                </a:lnTo>
                <a:close/>
                <a:moveTo>
                  <a:pt x="1846512" y="178564"/>
                </a:moveTo>
                <a:lnTo>
                  <a:pt x="1858082" y="184473"/>
                </a:lnTo>
                <a:lnTo>
                  <a:pt x="1858082" y="188657"/>
                </a:lnTo>
                <a:lnTo>
                  <a:pt x="1854635" y="188657"/>
                </a:lnTo>
                <a:lnTo>
                  <a:pt x="1853897" y="190380"/>
                </a:lnTo>
                <a:lnTo>
                  <a:pt x="1850696" y="191858"/>
                </a:lnTo>
                <a:lnTo>
                  <a:pt x="1848973" y="194565"/>
                </a:lnTo>
                <a:lnTo>
                  <a:pt x="1846512" y="192842"/>
                </a:lnTo>
                <a:lnTo>
                  <a:pt x="1844788" y="192842"/>
                </a:lnTo>
                <a:lnTo>
                  <a:pt x="1843065" y="191858"/>
                </a:lnTo>
                <a:lnTo>
                  <a:pt x="1842326" y="191858"/>
                </a:lnTo>
                <a:lnTo>
                  <a:pt x="1842326" y="188657"/>
                </a:lnTo>
                <a:lnTo>
                  <a:pt x="1842326" y="186196"/>
                </a:lnTo>
                <a:lnTo>
                  <a:pt x="1842326" y="184473"/>
                </a:lnTo>
                <a:lnTo>
                  <a:pt x="1843065" y="181026"/>
                </a:lnTo>
                <a:close/>
                <a:moveTo>
                  <a:pt x="1537343" y="171179"/>
                </a:moveTo>
                <a:lnTo>
                  <a:pt x="1552360" y="172902"/>
                </a:lnTo>
                <a:lnTo>
                  <a:pt x="1563928" y="175364"/>
                </a:lnTo>
                <a:lnTo>
                  <a:pt x="1560482" y="181025"/>
                </a:lnTo>
                <a:lnTo>
                  <a:pt x="1559006" y="186194"/>
                </a:lnTo>
                <a:lnTo>
                  <a:pt x="1556544" y="190379"/>
                </a:lnTo>
                <a:lnTo>
                  <a:pt x="1553098" y="194564"/>
                </a:lnTo>
                <a:lnTo>
                  <a:pt x="1560482" y="194564"/>
                </a:lnTo>
                <a:lnTo>
                  <a:pt x="1563928" y="191856"/>
                </a:lnTo>
                <a:lnTo>
                  <a:pt x="1564667" y="190379"/>
                </a:lnTo>
                <a:lnTo>
                  <a:pt x="1568112" y="188656"/>
                </a:lnTo>
                <a:lnTo>
                  <a:pt x="1572051" y="188656"/>
                </a:lnTo>
                <a:lnTo>
                  <a:pt x="1572051" y="194564"/>
                </a:lnTo>
                <a:lnTo>
                  <a:pt x="1576236" y="204410"/>
                </a:lnTo>
                <a:lnTo>
                  <a:pt x="1573774" y="213517"/>
                </a:lnTo>
                <a:lnTo>
                  <a:pt x="1569590" y="221148"/>
                </a:lnTo>
                <a:lnTo>
                  <a:pt x="1566390" y="227055"/>
                </a:lnTo>
                <a:lnTo>
                  <a:pt x="1573774" y="233702"/>
                </a:lnTo>
                <a:lnTo>
                  <a:pt x="1581159" y="244532"/>
                </a:lnTo>
                <a:lnTo>
                  <a:pt x="1591251" y="255363"/>
                </a:lnTo>
                <a:lnTo>
                  <a:pt x="1599374" y="268655"/>
                </a:lnTo>
                <a:lnTo>
                  <a:pt x="1606758" y="283671"/>
                </a:lnTo>
                <a:lnTo>
                  <a:pt x="1612667" y="295978"/>
                </a:lnTo>
                <a:lnTo>
                  <a:pt x="1614389" y="306810"/>
                </a:lnTo>
                <a:lnTo>
                  <a:pt x="1610943" y="316901"/>
                </a:lnTo>
                <a:lnTo>
                  <a:pt x="1604297" y="322809"/>
                </a:lnTo>
                <a:lnTo>
                  <a:pt x="1595190" y="328471"/>
                </a:lnTo>
                <a:lnTo>
                  <a:pt x="1581159" y="334379"/>
                </a:lnTo>
                <a:lnTo>
                  <a:pt x="1563928" y="338563"/>
                </a:lnTo>
                <a:lnTo>
                  <a:pt x="1548175" y="342747"/>
                </a:lnTo>
                <a:lnTo>
                  <a:pt x="1534883" y="344470"/>
                </a:lnTo>
                <a:lnTo>
                  <a:pt x="1534883" y="341025"/>
                </a:lnTo>
                <a:lnTo>
                  <a:pt x="1543251" y="328471"/>
                </a:lnTo>
                <a:lnTo>
                  <a:pt x="1550635" y="315178"/>
                </a:lnTo>
                <a:lnTo>
                  <a:pt x="1546451" y="315178"/>
                </a:lnTo>
                <a:lnTo>
                  <a:pt x="1543251" y="315178"/>
                </a:lnTo>
                <a:lnTo>
                  <a:pt x="1540790" y="313456"/>
                </a:lnTo>
                <a:lnTo>
                  <a:pt x="1540790" y="312716"/>
                </a:lnTo>
                <a:lnTo>
                  <a:pt x="1539067" y="310994"/>
                </a:lnTo>
                <a:lnTo>
                  <a:pt x="1539067" y="307793"/>
                </a:lnTo>
                <a:lnTo>
                  <a:pt x="1537343" y="303609"/>
                </a:lnTo>
                <a:lnTo>
                  <a:pt x="1548175" y="301147"/>
                </a:lnTo>
                <a:lnTo>
                  <a:pt x="1544974" y="297701"/>
                </a:lnTo>
                <a:lnTo>
                  <a:pt x="1544974" y="295978"/>
                </a:lnTo>
                <a:lnTo>
                  <a:pt x="1543251" y="295240"/>
                </a:lnTo>
                <a:lnTo>
                  <a:pt x="1543251" y="293517"/>
                </a:lnTo>
                <a:lnTo>
                  <a:pt x="1544974" y="290317"/>
                </a:lnTo>
                <a:lnTo>
                  <a:pt x="1546451" y="284409"/>
                </a:lnTo>
                <a:lnTo>
                  <a:pt x="1550635" y="280225"/>
                </a:lnTo>
                <a:lnTo>
                  <a:pt x="1553098" y="277763"/>
                </a:lnTo>
                <a:lnTo>
                  <a:pt x="1559006" y="274317"/>
                </a:lnTo>
                <a:lnTo>
                  <a:pt x="1563928" y="271855"/>
                </a:lnTo>
                <a:lnTo>
                  <a:pt x="1562205" y="268655"/>
                </a:lnTo>
                <a:lnTo>
                  <a:pt x="1562205" y="266932"/>
                </a:lnTo>
                <a:lnTo>
                  <a:pt x="1560482" y="266194"/>
                </a:lnTo>
                <a:lnTo>
                  <a:pt x="1560482" y="264471"/>
                </a:lnTo>
                <a:lnTo>
                  <a:pt x="1559006" y="261025"/>
                </a:lnTo>
                <a:lnTo>
                  <a:pt x="1558021" y="261025"/>
                </a:lnTo>
                <a:lnTo>
                  <a:pt x="1558021" y="260286"/>
                </a:lnTo>
                <a:lnTo>
                  <a:pt x="1556544" y="260286"/>
                </a:lnTo>
                <a:lnTo>
                  <a:pt x="1553098" y="258562"/>
                </a:lnTo>
                <a:lnTo>
                  <a:pt x="1550635" y="256840"/>
                </a:lnTo>
                <a:lnTo>
                  <a:pt x="1548913" y="256840"/>
                </a:lnTo>
                <a:lnTo>
                  <a:pt x="1546451" y="256840"/>
                </a:lnTo>
                <a:lnTo>
                  <a:pt x="1543251" y="255363"/>
                </a:lnTo>
                <a:lnTo>
                  <a:pt x="1540790" y="255363"/>
                </a:lnTo>
                <a:lnTo>
                  <a:pt x="1540790" y="254379"/>
                </a:lnTo>
                <a:lnTo>
                  <a:pt x="1539067" y="252656"/>
                </a:lnTo>
                <a:lnTo>
                  <a:pt x="1539067" y="251178"/>
                </a:lnTo>
                <a:lnTo>
                  <a:pt x="1539067" y="248471"/>
                </a:lnTo>
                <a:lnTo>
                  <a:pt x="1537343" y="245271"/>
                </a:lnTo>
                <a:lnTo>
                  <a:pt x="1539067" y="244532"/>
                </a:lnTo>
                <a:lnTo>
                  <a:pt x="1539067" y="242810"/>
                </a:lnTo>
                <a:lnTo>
                  <a:pt x="1540790" y="241086"/>
                </a:lnTo>
                <a:lnTo>
                  <a:pt x="1540790" y="239364"/>
                </a:lnTo>
                <a:lnTo>
                  <a:pt x="1540790" y="236902"/>
                </a:lnTo>
                <a:lnTo>
                  <a:pt x="1537343" y="236902"/>
                </a:lnTo>
                <a:lnTo>
                  <a:pt x="1536605" y="239364"/>
                </a:lnTo>
                <a:lnTo>
                  <a:pt x="1536605" y="241086"/>
                </a:lnTo>
                <a:lnTo>
                  <a:pt x="1536605" y="242810"/>
                </a:lnTo>
                <a:lnTo>
                  <a:pt x="1534883" y="242810"/>
                </a:lnTo>
                <a:lnTo>
                  <a:pt x="1533405" y="244532"/>
                </a:lnTo>
                <a:lnTo>
                  <a:pt x="1531682" y="245271"/>
                </a:lnTo>
                <a:lnTo>
                  <a:pt x="1529221" y="230994"/>
                </a:lnTo>
                <a:lnTo>
                  <a:pt x="1525774" y="217702"/>
                </a:lnTo>
                <a:lnTo>
                  <a:pt x="1525036" y="207856"/>
                </a:lnTo>
                <a:lnTo>
                  <a:pt x="1527497" y="200225"/>
                </a:lnTo>
                <a:lnTo>
                  <a:pt x="1531682" y="192840"/>
                </a:lnTo>
                <a:lnTo>
                  <a:pt x="1536605" y="184471"/>
                </a:lnTo>
                <a:close/>
                <a:moveTo>
                  <a:pt x="683935" y="95365"/>
                </a:moveTo>
                <a:lnTo>
                  <a:pt x="688119" y="98810"/>
                </a:lnTo>
                <a:lnTo>
                  <a:pt x="692058" y="102749"/>
                </a:lnTo>
                <a:lnTo>
                  <a:pt x="695504" y="108657"/>
                </a:lnTo>
                <a:lnTo>
                  <a:pt x="697227" y="114565"/>
                </a:lnTo>
                <a:lnTo>
                  <a:pt x="693781" y="114565"/>
                </a:lnTo>
                <a:lnTo>
                  <a:pt x="691319" y="116288"/>
                </a:lnTo>
                <a:lnTo>
                  <a:pt x="689596" y="116288"/>
                </a:lnTo>
                <a:lnTo>
                  <a:pt x="685657" y="117765"/>
                </a:lnTo>
                <a:lnTo>
                  <a:pt x="680488" y="117765"/>
                </a:lnTo>
                <a:lnTo>
                  <a:pt x="680488" y="114565"/>
                </a:lnTo>
                <a:lnTo>
                  <a:pt x="679750" y="114565"/>
                </a:lnTo>
                <a:lnTo>
                  <a:pt x="679750" y="112843"/>
                </a:lnTo>
                <a:lnTo>
                  <a:pt x="678027" y="112103"/>
                </a:lnTo>
                <a:lnTo>
                  <a:pt x="679750" y="108657"/>
                </a:lnTo>
                <a:lnTo>
                  <a:pt x="679750" y="106934"/>
                </a:lnTo>
                <a:lnTo>
                  <a:pt x="679750" y="106196"/>
                </a:lnTo>
                <a:lnTo>
                  <a:pt x="680488" y="104473"/>
                </a:lnTo>
                <a:close/>
                <a:moveTo>
                  <a:pt x="659074" y="85274"/>
                </a:moveTo>
                <a:lnTo>
                  <a:pt x="662520" y="88719"/>
                </a:lnTo>
                <a:lnTo>
                  <a:pt x="663997" y="90442"/>
                </a:lnTo>
                <a:lnTo>
                  <a:pt x="663997" y="91181"/>
                </a:lnTo>
                <a:lnTo>
                  <a:pt x="664982" y="94627"/>
                </a:lnTo>
                <a:lnTo>
                  <a:pt x="664982" y="97088"/>
                </a:lnTo>
                <a:lnTo>
                  <a:pt x="664982" y="101273"/>
                </a:lnTo>
                <a:lnTo>
                  <a:pt x="662520" y="101273"/>
                </a:lnTo>
                <a:lnTo>
                  <a:pt x="662520" y="104473"/>
                </a:lnTo>
                <a:lnTo>
                  <a:pt x="656613" y="102751"/>
                </a:lnTo>
                <a:lnTo>
                  <a:pt x="650951" y="101273"/>
                </a:lnTo>
                <a:lnTo>
                  <a:pt x="646766" y="98812"/>
                </a:lnTo>
                <a:lnTo>
                  <a:pt x="643320" y="98812"/>
                </a:lnTo>
                <a:lnTo>
                  <a:pt x="643320" y="95365"/>
                </a:lnTo>
                <a:lnTo>
                  <a:pt x="649228" y="92904"/>
                </a:lnTo>
                <a:lnTo>
                  <a:pt x="654889" y="90442"/>
                </a:lnTo>
                <a:close/>
                <a:moveTo>
                  <a:pt x="722827" y="59426"/>
                </a:moveTo>
                <a:lnTo>
                  <a:pt x="726028" y="61150"/>
                </a:lnTo>
                <a:lnTo>
                  <a:pt x="726766" y="62135"/>
                </a:lnTo>
                <a:lnTo>
                  <a:pt x="728489" y="63611"/>
                </a:lnTo>
                <a:lnTo>
                  <a:pt x="731935" y="63611"/>
                </a:lnTo>
                <a:lnTo>
                  <a:pt x="731935" y="65335"/>
                </a:lnTo>
                <a:lnTo>
                  <a:pt x="731935" y="67057"/>
                </a:lnTo>
                <a:lnTo>
                  <a:pt x="730213" y="67796"/>
                </a:lnTo>
                <a:lnTo>
                  <a:pt x="728489" y="69519"/>
                </a:lnTo>
                <a:lnTo>
                  <a:pt x="726766" y="71242"/>
                </a:lnTo>
                <a:lnTo>
                  <a:pt x="726028" y="71242"/>
                </a:lnTo>
                <a:lnTo>
                  <a:pt x="724304" y="72966"/>
                </a:lnTo>
                <a:lnTo>
                  <a:pt x="722827" y="72966"/>
                </a:lnTo>
                <a:lnTo>
                  <a:pt x="720366" y="72966"/>
                </a:lnTo>
                <a:lnTo>
                  <a:pt x="720366" y="67796"/>
                </a:lnTo>
                <a:lnTo>
                  <a:pt x="720366" y="65335"/>
                </a:lnTo>
                <a:lnTo>
                  <a:pt x="721104" y="63611"/>
                </a:lnTo>
                <a:close/>
                <a:moveTo>
                  <a:pt x="633474" y="8720"/>
                </a:moveTo>
                <a:lnTo>
                  <a:pt x="633474" y="15366"/>
                </a:lnTo>
                <a:lnTo>
                  <a:pt x="635197" y="18812"/>
                </a:lnTo>
                <a:lnTo>
                  <a:pt x="635936" y="21274"/>
                </a:lnTo>
                <a:lnTo>
                  <a:pt x="635936" y="26197"/>
                </a:lnTo>
                <a:lnTo>
                  <a:pt x="635936" y="32104"/>
                </a:lnTo>
                <a:lnTo>
                  <a:pt x="652428" y="32104"/>
                </a:lnTo>
                <a:lnTo>
                  <a:pt x="666459" y="47859"/>
                </a:lnTo>
                <a:lnTo>
                  <a:pt x="680489" y="63611"/>
                </a:lnTo>
                <a:lnTo>
                  <a:pt x="680489" y="65336"/>
                </a:lnTo>
                <a:lnTo>
                  <a:pt x="679752" y="67058"/>
                </a:lnTo>
                <a:lnTo>
                  <a:pt x="679752" y="67796"/>
                </a:lnTo>
                <a:lnTo>
                  <a:pt x="678028" y="69520"/>
                </a:lnTo>
                <a:lnTo>
                  <a:pt x="675566" y="72966"/>
                </a:lnTo>
                <a:lnTo>
                  <a:pt x="674090" y="73704"/>
                </a:lnTo>
                <a:lnTo>
                  <a:pt x="672367" y="75428"/>
                </a:lnTo>
                <a:lnTo>
                  <a:pt x="670643" y="75428"/>
                </a:lnTo>
                <a:lnTo>
                  <a:pt x="666459" y="75428"/>
                </a:lnTo>
                <a:lnTo>
                  <a:pt x="662520" y="77151"/>
                </a:lnTo>
                <a:lnTo>
                  <a:pt x="662520" y="72966"/>
                </a:lnTo>
                <a:lnTo>
                  <a:pt x="662520" y="67796"/>
                </a:lnTo>
                <a:lnTo>
                  <a:pt x="662520" y="65336"/>
                </a:lnTo>
                <a:lnTo>
                  <a:pt x="662520" y="63611"/>
                </a:lnTo>
                <a:lnTo>
                  <a:pt x="659074" y="61151"/>
                </a:lnTo>
                <a:lnTo>
                  <a:pt x="656613" y="59427"/>
                </a:lnTo>
                <a:lnTo>
                  <a:pt x="652428" y="56227"/>
                </a:lnTo>
                <a:lnTo>
                  <a:pt x="647505" y="67796"/>
                </a:lnTo>
                <a:lnTo>
                  <a:pt x="639381" y="75428"/>
                </a:lnTo>
                <a:lnTo>
                  <a:pt x="627813" y="79612"/>
                </a:lnTo>
                <a:lnTo>
                  <a:pt x="627813" y="75428"/>
                </a:lnTo>
                <a:lnTo>
                  <a:pt x="627813" y="72966"/>
                </a:lnTo>
                <a:lnTo>
                  <a:pt x="629290" y="69520"/>
                </a:lnTo>
                <a:lnTo>
                  <a:pt x="627813" y="67058"/>
                </a:lnTo>
                <a:lnTo>
                  <a:pt x="626089" y="63611"/>
                </a:lnTo>
                <a:lnTo>
                  <a:pt x="624367" y="59427"/>
                </a:lnTo>
                <a:lnTo>
                  <a:pt x="620182" y="57950"/>
                </a:lnTo>
                <a:lnTo>
                  <a:pt x="617720" y="56227"/>
                </a:lnTo>
                <a:lnTo>
                  <a:pt x="614520" y="56227"/>
                </a:lnTo>
                <a:lnTo>
                  <a:pt x="612058" y="55490"/>
                </a:lnTo>
                <a:lnTo>
                  <a:pt x="610335" y="55490"/>
                </a:lnTo>
                <a:lnTo>
                  <a:pt x="607135" y="53766"/>
                </a:lnTo>
                <a:lnTo>
                  <a:pt x="604674" y="50319"/>
                </a:lnTo>
                <a:lnTo>
                  <a:pt x="612797" y="40474"/>
                </a:lnTo>
                <a:lnTo>
                  <a:pt x="618704" y="28658"/>
                </a:lnTo>
                <a:lnTo>
                  <a:pt x="624367" y="17089"/>
                </a:lnTo>
                <a:close/>
                <a:moveTo>
                  <a:pt x="3641951" y="0"/>
                </a:moveTo>
                <a:lnTo>
                  <a:pt x="3750040" y="0"/>
                </a:lnTo>
                <a:lnTo>
                  <a:pt x="3751729" y="7982"/>
                </a:lnTo>
                <a:lnTo>
                  <a:pt x="3722929" y="7982"/>
                </a:lnTo>
                <a:lnTo>
                  <a:pt x="3721206" y="10443"/>
                </a:lnTo>
                <a:lnTo>
                  <a:pt x="3718744" y="13888"/>
                </a:lnTo>
                <a:lnTo>
                  <a:pt x="3717022" y="15612"/>
                </a:lnTo>
                <a:lnTo>
                  <a:pt x="3715298" y="19797"/>
                </a:lnTo>
                <a:lnTo>
                  <a:pt x="3713576" y="23981"/>
                </a:lnTo>
                <a:lnTo>
                  <a:pt x="3716775" y="25705"/>
                </a:lnTo>
                <a:lnTo>
                  <a:pt x="3718497" y="27428"/>
                </a:lnTo>
                <a:lnTo>
                  <a:pt x="3719237" y="28166"/>
                </a:lnTo>
                <a:lnTo>
                  <a:pt x="3720959" y="31611"/>
                </a:lnTo>
                <a:lnTo>
                  <a:pt x="3720959" y="33335"/>
                </a:lnTo>
                <a:lnTo>
                  <a:pt x="3719237" y="35797"/>
                </a:lnTo>
                <a:lnTo>
                  <a:pt x="3716775" y="39982"/>
                </a:lnTo>
                <a:lnTo>
                  <a:pt x="3715052" y="41704"/>
                </a:lnTo>
                <a:lnTo>
                  <a:pt x="3712591" y="43428"/>
                </a:lnTo>
                <a:lnTo>
                  <a:pt x="3709391" y="43428"/>
                </a:lnTo>
                <a:lnTo>
                  <a:pt x="3706929" y="43428"/>
                </a:lnTo>
                <a:lnTo>
                  <a:pt x="3701267" y="43428"/>
                </a:lnTo>
                <a:lnTo>
                  <a:pt x="3695606" y="34320"/>
                </a:lnTo>
                <a:lnTo>
                  <a:pt x="3686498" y="30136"/>
                </a:lnTo>
                <a:lnTo>
                  <a:pt x="3674930" y="27674"/>
                </a:lnTo>
                <a:lnTo>
                  <a:pt x="3674930" y="16844"/>
                </a:lnTo>
                <a:lnTo>
                  <a:pt x="3672467" y="16104"/>
                </a:lnTo>
                <a:lnTo>
                  <a:pt x="3669267" y="14381"/>
                </a:lnTo>
                <a:lnTo>
                  <a:pt x="3668529" y="12659"/>
                </a:lnTo>
                <a:lnTo>
                  <a:pt x="3665329" y="10935"/>
                </a:lnTo>
                <a:lnTo>
                  <a:pt x="3659668" y="10935"/>
                </a:lnTo>
                <a:lnTo>
                  <a:pt x="3657944" y="10935"/>
                </a:lnTo>
                <a:lnTo>
                  <a:pt x="3657207" y="12659"/>
                </a:lnTo>
                <a:lnTo>
                  <a:pt x="3655483" y="12659"/>
                </a:lnTo>
                <a:lnTo>
                  <a:pt x="3653760" y="12659"/>
                </a:lnTo>
                <a:lnTo>
                  <a:pt x="3651298" y="14381"/>
                </a:lnTo>
                <a:lnTo>
                  <a:pt x="3648098" y="8474"/>
                </a:lnTo>
                <a:lnTo>
                  <a:pt x="3643914" y="2567"/>
                </a:lnTo>
                <a:close/>
                <a:moveTo>
                  <a:pt x="1870193" y="0"/>
                </a:moveTo>
                <a:lnTo>
                  <a:pt x="1986120" y="0"/>
                </a:lnTo>
                <a:lnTo>
                  <a:pt x="1986571" y="3551"/>
                </a:lnTo>
                <a:lnTo>
                  <a:pt x="1988295" y="17827"/>
                </a:lnTo>
                <a:lnTo>
                  <a:pt x="1990757" y="29643"/>
                </a:lnTo>
                <a:lnTo>
                  <a:pt x="1993956" y="37274"/>
                </a:lnTo>
                <a:lnTo>
                  <a:pt x="1996418" y="41458"/>
                </a:lnTo>
                <a:lnTo>
                  <a:pt x="2000603" y="43181"/>
                </a:lnTo>
                <a:lnTo>
                  <a:pt x="2003802" y="46628"/>
                </a:lnTo>
                <a:lnTo>
                  <a:pt x="2009465" y="47366"/>
                </a:lnTo>
                <a:lnTo>
                  <a:pt x="2007741" y="37274"/>
                </a:lnTo>
                <a:lnTo>
                  <a:pt x="2006018" y="29643"/>
                </a:lnTo>
                <a:lnTo>
                  <a:pt x="2006018" y="21274"/>
                </a:lnTo>
                <a:lnTo>
                  <a:pt x="2011187" y="21274"/>
                </a:lnTo>
                <a:lnTo>
                  <a:pt x="2011187" y="17827"/>
                </a:lnTo>
                <a:lnTo>
                  <a:pt x="2021032" y="23735"/>
                </a:lnTo>
                <a:lnTo>
                  <a:pt x="2030879" y="29643"/>
                </a:lnTo>
                <a:lnTo>
                  <a:pt x="2042448" y="34566"/>
                </a:lnTo>
                <a:lnTo>
                  <a:pt x="2044171" y="31120"/>
                </a:lnTo>
                <a:lnTo>
                  <a:pt x="2045895" y="28658"/>
                </a:lnTo>
                <a:lnTo>
                  <a:pt x="2046633" y="26936"/>
                </a:lnTo>
                <a:lnTo>
                  <a:pt x="2048355" y="22750"/>
                </a:lnTo>
                <a:lnTo>
                  <a:pt x="2048355" y="17827"/>
                </a:lnTo>
                <a:lnTo>
                  <a:pt x="2046633" y="17089"/>
                </a:lnTo>
                <a:lnTo>
                  <a:pt x="2045895" y="15366"/>
                </a:lnTo>
                <a:lnTo>
                  <a:pt x="2044171" y="13643"/>
                </a:lnTo>
                <a:lnTo>
                  <a:pt x="2044171" y="11920"/>
                </a:lnTo>
                <a:lnTo>
                  <a:pt x="2044171" y="9458"/>
                </a:lnTo>
                <a:lnTo>
                  <a:pt x="2042448" y="5274"/>
                </a:lnTo>
                <a:lnTo>
                  <a:pt x="2054314" y="0"/>
                </a:lnTo>
                <a:lnTo>
                  <a:pt x="3640714" y="0"/>
                </a:lnTo>
                <a:lnTo>
                  <a:pt x="3640714" y="8474"/>
                </a:lnTo>
                <a:lnTo>
                  <a:pt x="3638252" y="20290"/>
                </a:lnTo>
                <a:lnTo>
                  <a:pt x="3635053" y="30382"/>
                </a:lnTo>
                <a:lnTo>
                  <a:pt x="3628406" y="36289"/>
                </a:lnTo>
                <a:lnTo>
                  <a:pt x="3625207" y="38012"/>
                </a:lnTo>
                <a:lnTo>
                  <a:pt x="3622745" y="38012"/>
                </a:lnTo>
                <a:lnTo>
                  <a:pt x="3621022" y="38012"/>
                </a:lnTo>
                <a:lnTo>
                  <a:pt x="3619298" y="38012"/>
                </a:lnTo>
                <a:lnTo>
                  <a:pt x="3617576" y="36289"/>
                </a:lnTo>
                <a:lnTo>
                  <a:pt x="3616838" y="36289"/>
                </a:lnTo>
                <a:lnTo>
                  <a:pt x="3615114" y="36289"/>
                </a:lnTo>
                <a:lnTo>
                  <a:pt x="3613391" y="38012"/>
                </a:lnTo>
                <a:lnTo>
                  <a:pt x="3611668" y="39735"/>
                </a:lnTo>
                <a:lnTo>
                  <a:pt x="3609207" y="43920"/>
                </a:lnTo>
                <a:lnTo>
                  <a:pt x="3617576" y="54012"/>
                </a:lnTo>
                <a:lnTo>
                  <a:pt x="3626683" y="71735"/>
                </a:lnTo>
                <a:lnTo>
                  <a:pt x="3630868" y="91920"/>
                </a:lnTo>
                <a:lnTo>
                  <a:pt x="3628406" y="91920"/>
                </a:lnTo>
                <a:lnTo>
                  <a:pt x="3626683" y="93643"/>
                </a:lnTo>
                <a:lnTo>
                  <a:pt x="3623483" y="93643"/>
                </a:lnTo>
                <a:lnTo>
                  <a:pt x="3619298" y="95365"/>
                </a:lnTo>
                <a:lnTo>
                  <a:pt x="3613637" y="91181"/>
                </a:lnTo>
                <a:lnTo>
                  <a:pt x="3609452" y="87734"/>
                </a:lnTo>
                <a:lnTo>
                  <a:pt x="3603791" y="86996"/>
                </a:lnTo>
                <a:lnTo>
                  <a:pt x="3596406" y="85274"/>
                </a:lnTo>
                <a:lnTo>
                  <a:pt x="3592222" y="97089"/>
                </a:lnTo>
                <a:lnTo>
                  <a:pt x="3583854" y="102997"/>
                </a:lnTo>
                <a:lnTo>
                  <a:pt x="3573022" y="107181"/>
                </a:lnTo>
                <a:lnTo>
                  <a:pt x="3561453" y="111366"/>
                </a:lnTo>
                <a:lnTo>
                  <a:pt x="3560715" y="123180"/>
                </a:lnTo>
                <a:lnTo>
                  <a:pt x="3557514" y="132289"/>
                </a:lnTo>
                <a:lnTo>
                  <a:pt x="3551854" y="140657"/>
                </a:lnTo>
                <a:lnTo>
                  <a:pt x="3540284" y="142381"/>
                </a:lnTo>
                <a:lnTo>
                  <a:pt x="3531915" y="144842"/>
                </a:lnTo>
                <a:lnTo>
                  <a:pt x="3526253" y="148288"/>
                </a:lnTo>
                <a:lnTo>
                  <a:pt x="3520592" y="150012"/>
                </a:lnTo>
                <a:lnTo>
                  <a:pt x="3516408" y="146565"/>
                </a:lnTo>
                <a:lnTo>
                  <a:pt x="3511484" y="142381"/>
                </a:lnTo>
                <a:lnTo>
                  <a:pt x="3509022" y="138196"/>
                </a:lnTo>
                <a:lnTo>
                  <a:pt x="3503362" y="138935"/>
                </a:lnTo>
                <a:lnTo>
                  <a:pt x="3495977" y="140657"/>
                </a:lnTo>
                <a:lnTo>
                  <a:pt x="3490315" y="144103"/>
                </a:lnTo>
                <a:lnTo>
                  <a:pt x="3486130" y="146565"/>
                </a:lnTo>
                <a:lnTo>
                  <a:pt x="3486130" y="152473"/>
                </a:lnTo>
                <a:lnTo>
                  <a:pt x="3481946" y="154195"/>
                </a:lnTo>
                <a:lnTo>
                  <a:pt x="3474562" y="154195"/>
                </a:lnTo>
                <a:lnTo>
                  <a:pt x="3464716" y="154195"/>
                </a:lnTo>
                <a:lnTo>
                  <a:pt x="3455608" y="155919"/>
                </a:lnTo>
                <a:lnTo>
                  <a:pt x="3451423" y="156658"/>
                </a:lnTo>
                <a:lnTo>
                  <a:pt x="3444038" y="174381"/>
                </a:lnTo>
                <a:lnTo>
                  <a:pt x="3443300" y="193580"/>
                </a:lnTo>
                <a:lnTo>
                  <a:pt x="3443300" y="215488"/>
                </a:lnTo>
                <a:lnTo>
                  <a:pt x="3445762" y="234687"/>
                </a:lnTo>
                <a:lnTo>
                  <a:pt x="3441577" y="234687"/>
                </a:lnTo>
                <a:lnTo>
                  <a:pt x="3439854" y="234687"/>
                </a:lnTo>
                <a:lnTo>
                  <a:pt x="3438131" y="234687"/>
                </a:lnTo>
                <a:lnTo>
                  <a:pt x="3437392" y="236410"/>
                </a:lnTo>
                <a:lnTo>
                  <a:pt x="3435670" y="237150"/>
                </a:lnTo>
                <a:lnTo>
                  <a:pt x="3433946" y="242072"/>
                </a:lnTo>
                <a:lnTo>
                  <a:pt x="3432223" y="246257"/>
                </a:lnTo>
                <a:lnTo>
                  <a:pt x="3432223" y="252164"/>
                </a:lnTo>
                <a:lnTo>
                  <a:pt x="3432223" y="258810"/>
                </a:lnTo>
                <a:lnTo>
                  <a:pt x="3422377" y="258810"/>
                </a:lnTo>
                <a:lnTo>
                  <a:pt x="3416715" y="267918"/>
                </a:lnTo>
                <a:lnTo>
                  <a:pt x="3412531" y="273825"/>
                </a:lnTo>
                <a:lnTo>
                  <a:pt x="3410808" y="279734"/>
                </a:lnTo>
                <a:lnTo>
                  <a:pt x="3409084" y="291548"/>
                </a:lnTo>
                <a:lnTo>
                  <a:pt x="3406623" y="291548"/>
                </a:lnTo>
                <a:lnTo>
                  <a:pt x="3403423" y="291548"/>
                </a:lnTo>
                <a:lnTo>
                  <a:pt x="3402685" y="291548"/>
                </a:lnTo>
                <a:lnTo>
                  <a:pt x="3400962" y="291548"/>
                </a:lnTo>
                <a:lnTo>
                  <a:pt x="3397762" y="291548"/>
                </a:lnTo>
                <a:lnTo>
                  <a:pt x="3392100" y="303365"/>
                </a:lnTo>
                <a:lnTo>
                  <a:pt x="3387915" y="317641"/>
                </a:lnTo>
                <a:lnTo>
                  <a:pt x="3378069" y="317641"/>
                </a:lnTo>
                <a:lnTo>
                  <a:pt x="3374869" y="333640"/>
                </a:lnTo>
                <a:lnTo>
                  <a:pt x="3369947" y="333640"/>
                </a:lnTo>
                <a:lnTo>
                  <a:pt x="3369947" y="329457"/>
                </a:lnTo>
                <a:lnTo>
                  <a:pt x="3358378" y="313456"/>
                </a:lnTo>
                <a:lnTo>
                  <a:pt x="3350993" y="294256"/>
                </a:lnTo>
                <a:lnTo>
                  <a:pt x="3349270" y="272349"/>
                </a:lnTo>
                <a:lnTo>
                  <a:pt x="3350993" y="246257"/>
                </a:lnTo>
                <a:lnTo>
                  <a:pt x="3355178" y="242811"/>
                </a:lnTo>
                <a:lnTo>
                  <a:pt x="3358378" y="240349"/>
                </a:lnTo>
                <a:lnTo>
                  <a:pt x="3362562" y="236903"/>
                </a:lnTo>
                <a:lnTo>
                  <a:pt x="3364285" y="232719"/>
                </a:lnTo>
                <a:lnTo>
                  <a:pt x="3366747" y="226811"/>
                </a:lnTo>
                <a:lnTo>
                  <a:pt x="3362562" y="219180"/>
                </a:lnTo>
                <a:lnTo>
                  <a:pt x="3360839" y="209088"/>
                </a:lnTo>
                <a:lnTo>
                  <a:pt x="3366501" y="197272"/>
                </a:lnTo>
                <a:lnTo>
                  <a:pt x="3372162" y="193088"/>
                </a:lnTo>
                <a:lnTo>
                  <a:pt x="3379547" y="189642"/>
                </a:lnTo>
                <a:lnTo>
                  <a:pt x="3387915" y="187180"/>
                </a:lnTo>
                <a:lnTo>
                  <a:pt x="3393577" y="181272"/>
                </a:lnTo>
                <a:lnTo>
                  <a:pt x="3405147" y="163550"/>
                </a:lnTo>
                <a:lnTo>
                  <a:pt x="3416715" y="145827"/>
                </a:lnTo>
                <a:lnTo>
                  <a:pt x="3425824" y="138196"/>
                </a:lnTo>
                <a:lnTo>
                  <a:pt x="3435670" y="131550"/>
                </a:lnTo>
                <a:lnTo>
                  <a:pt x="3445515" y="123920"/>
                </a:lnTo>
                <a:lnTo>
                  <a:pt x="3449700" y="113827"/>
                </a:lnTo>
                <a:lnTo>
                  <a:pt x="3452900" y="102011"/>
                </a:lnTo>
                <a:lnTo>
                  <a:pt x="3457085" y="91181"/>
                </a:lnTo>
                <a:lnTo>
                  <a:pt x="3457085" y="90443"/>
                </a:lnTo>
                <a:lnTo>
                  <a:pt x="3455361" y="90443"/>
                </a:lnTo>
                <a:lnTo>
                  <a:pt x="3455361" y="88719"/>
                </a:lnTo>
                <a:lnTo>
                  <a:pt x="3453639" y="86996"/>
                </a:lnTo>
                <a:lnTo>
                  <a:pt x="3451176" y="88719"/>
                </a:lnTo>
                <a:lnTo>
                  <a:pt x="3449454" y="90443"/>
                </a:lnTo>
                <a:lnTo>
                  <a:pt x="3448715" y="91181"/>
                </a:lnTo>
                <a:lnTo>
                  <a:pt x="3441331" y="102011"/>
                </a:lnTo>
                <a:lnTo>
                  <a:pt x="3433946" y="113827"/>
                </a:lnTo>
                <a:lnTo>
                  <a:pt x="3426561" y="123920"/>
                </a:lnTo>
                <a:lnTo>
                  <a:pt x="3416715" y="131550"/>
                </a:lnTo>
                <a:lnTo>
                  <a:pt x="3403423" y="137457"/>
                </a:lnTo>
                <a:lnTo>
                  <a:pt x="3402685" y="132535"/>
                </a:lnTo>
                <a:lnTo>
                  <a:pt x="3402685" y="131796"/>
                </a:lnTo>
                <a:lnTo>
                  <a:pt x="3400962" y="128350"/>
                </a:lnTo>
                <a:lnTo>
                  <a:pt x="3400962" y="124165"/>
                </a:lnTo>
                <a:lnTo>
                  <a:pt x="3402685" y="122442"/>
                </a:lnTo>
                <a:lnTo>
                  <a:pt x="3402685" y="120719"/>
                </a:lnTo>
                <a:lnTo>
                  <a:pt x="3402685" y="119980"/>
                </a:lnTo>
                <a:lnTo>
                  <a:pt x="3403423" y="116534"/>
                </a:lnTo>
                <a:lnTo>
                  <a:pt x="3403423" y="114073"/>
                </a:lnTo>
                <a:lnTo>
                  <a:pt x="3399238" y="110628"/>
                </a:lnTo>
                <a:lnTo>
                  <a:pt x="3395054" y="108903"/>
                </a:lnTo>
                <a:lnTo>
                  <a:pt x="3391854" y="108166"/>
                </a:lnTo>
                <a:lnTo>
                  <a:pt x="3387670" y="106442"/>
                </a:lnTo>
                <a:lnTo>
                  <a:pt x="3385208" y="108166"/>
                </a:lnTo>
                <a:lnTo>
                  <a:pt x="3377824" y="112350"/>
                </a:lnTo>
                <a:lnTo>
                  <a:pt x="3367978" y="120719"/>
                </a:lnTo>
                <a:lnTo>
                  <a:pt x="3358870" y="131550"/>
                </a:lnTo>
                <a:lnTo>
                  <a:pt x="3350500" y="141642"/>
                </a:lnTo>
                <a:lnTo>
                  <a:pt x="3346316" y="149273"/>
                </a:lnTo>
                <a:lnTo>
                  <a:pt x="3346316" y="151734"/>
                </a:lnTo>
                <a:lnTo>
                  <a:pt x="3346316" y="155180"/>
                </a:lnTo>
                <a:lnTo>
                  <a:pt x="3347055" y="157642"/>
                </a:lnTo>
                <a:lnTo>
                  <a:pt x="3348778" y="161826"/>
                </a:lnTo>
                <a:lnTo>
                  <a:pt x="3350500" y="165272"/>
                </a:lnTo>
                <a:lnTo>
                  <a:pt x="3350500" y="167734"/>
                </a:lnTo>
                <a:lnTo>
                  <a:pt x="3341394" y="171918"/>
                </a:lnTo>
                <a:lnTo>
                  <a:pt x="3331548" y="173642"/>
                </a:lnTo>
                <a:lnTo>
                  <a:pt x="3318255" y="175365"/>
                </a:lnTo>
                <a:lnTo>
                  <a:pt x="3305947" y="175365"/>
                </a:lnTo>
                <a:lnTo>
                  <a:pt x="3305947" y="159365"/>
                </a:lnTo>
                <a:lnTo>
                  <a:pt x="3292655" y="161826"/>
                </a:lnTo>
                <a:lnTo>
                  <a:pt x="3281085" y="166750"/>
                </a:lnTo>
                <a:lnTo>
                  <a:pt x="3271240" y="165026"/>
                </a:lnTo>
                <a:lnTo>
                  <a:pt x="3263855" y="155919"/>
                </a:lnTo>
                <a:lnTo>
                  <a:pt x="3235055" y="151734"/>
                </a:lnTo>
                <a:lnTo>
                  <a:pt x="3225209" y="161826"/>
                </a:lnTo>
                <a:lnTo>
                  <a:pt x="3213640" y="169457"/>
                </a:lnTo>
                <a:lnTo>
                  <a:pt x="3203794" y="177827"/>
                </a:lnTo>
                <a:lnTo>
                  <a:pt x="3198133" y="188657"/>
                </a:lnTo>
                <a:lnTo>
                  <a:pt x="3192471" y="198750"/>
                </a:lnTo>
                <a:lnTo>
                  <a:pt x="3186810" y="208841"/>
                </a:lnTo>
                <a:lnTo>
                  <a:pt x="3179425" y="216473"/>
                </a:lnTo>
                <a:lnTo>
                  <a:pt x="3156287" y="224103"/>
                </a:lnTo>
                <a:lnTo>
                  <a:pt x="3150625" y="230011"/>
                </a:lnTo>
                <a:lnTo>
                  <a:pt x="3146441" y="236657"/>
                </a:lnTo>
                <a:lnTo>
                  <a:pt x="3142256" y="242564"/>
                </a:lnTo>
                <a:lnTo>
                  <a:pt x="3132409" y="250195"/>
                </a:lnTo>
                <a:lnTo>
                  <a:pt x="3132409" y="258564"/>
                </a:lnTo>
                <a:lnTo>
                  <a:pt x="3144717" y="258564"/>
                </a:lnTo>
                <a:lnTo>
                  <a:pt x="3146441" y="263487"/>
                </a:lnTo>
                <a:lnTo>
                  <a:pt x="3148164" y="265949"/>
                </a:lnTo>
                <a:lnTo>
                  <a:pt x="3148902" y="269395"/>
                </a:lnTo>
                <a:lnTo>
                  <a:pt x="3152102" y="271857"/>
                </a:lnTo>
                <a:lnTo>
                  <a:pt x="3154563" y="273580"/>
                </a:lnTo>
                <a:lnTo>
                  <a:pt x="3160225" y="275303"/>
                </a:lnTo>
                <a:lnTo>
                  <a:pt x="3163425" y="271857"/>
                </a:lnTo>
                <a:lnTo>
                  <a:pt x="3165887" y="270133"/>
                </a:lnTo>
                <a:lnTo>
                  <a:pt x="3170809" y="269395"/>
                </a:lnTo>
                <a:lnTo>
                  <a:pt x="3174994" y="269395"/>
                </a:lnTo>
                <a:lnTo>
                  <a:pt x="3182379" y="269395"/>
                </a:lnTo>
                <a:lnTo>
                  <a:pt x="3188041" y="276041"/>
                </a:lnTo>
                <a:lnTo>
                  <a:pt x="3192225" y="281949"/>
                </a:lnTo>
                <a:lnTo>
                  <a:pt x="3194687" y="289580"/>
                </a:lnTo>
                <a:lnTo>
                  <a:pt x="3197887" y="301394"/>
                </a:lnTo>
                <a:lnTo>
                  <a:pt x="3199609" y="309026"/>
                </a:lnTo>
                <a:lnTo>
                  <a:pt x="3197887" y="313210"/>
                </a:lnTo>
                <a:lnTo>
                  <a:pt x="3193702" y="317395"/>
                </a:lnTo>
                <a:lnTo>
                  <a:pt x="3191978" y="325026"/>
                </a:lnTo>
                <a:lnTo>
                  <a:pt x="3191978" y="333395"/>
                </a:lnTo>
                <a:lnTo>
                  <a:pt x="3194441" y="341025"/>
                </a:lnTo>
                <a:lnTo>
                  <a:pt x="3197640" y="348656"/>
                </a:lnTo>
                <a:lnTo>
                  <a:pt x="3200102" y="358748"/>
                </a:lnTo>
                <a:lnTo>
                  <a:pt x="3191733" y="367856"/>
                </a:lnTo>
                <a:lnTo>
                  <a:pt x="3186072" y="377949"/>
                </a:lnTo>
                <a:lnTo>
                  <a:pt x="3181886" y="388041"/>
                </a:lnTo>
                <a:lnTo>
                  <a:pt x="3176226" y="401579"/>
                </a:lnTo>
                <a:lnTo>
                  <a:pt x="3173025" y="404041"/>
                </a:lnTo>
                <a:lnTo>
                  <a:pt x="3165640" y="413148"/>
                </a:lnTo>
                <a:lnTo>
                  <a:pt x="3157271" y="423241"/>
                </a:lnTo>
                <a:lnTo>
                  <a:pt x="3148164" y="435056"/>
                </a:lnTo>
                <a:lnTo>
                  <a:pt x="3138318" y="445148"/>
                </a:lnTo>
                <a:lnTo>
                  <a:pt x="3129949" y="455241"/>
                </a:lnTo>
                <a:lnTo>
                  <a:pt x="3124288" y="462871"/>
                </a:lnTo>
                <a:lnTo>
                  <a:pt x="3121088" y="466318"/>
                </a:lnTo>
                <a:lnTo>
                  <a:pt x="3111241" y="468778"/>
                </a:lnTo>
                <a:lnTo>
                  <a:pt x="3101395" y="467056"/>
                </a:lnTo>
                <a:lnTo>
                  <a:pt x="3092288" y="467056"/>
                </a:lnTo>
                <a:lnTo>
                  <a:pt x="3083918" y="468778"/>
                </a:lnTo>
                <a:lnTo>
                  <a:pt x="3076533" y="476409"/>
                </a:lnTo>
                <a:lnTo>
                  <a:pt x="3070872" y="484779"/>
                </a:lnTo>
                <a:lnTo>
                  <a:pt x="3066687" y="493887"/>
                </a:lnTo>
                <a:lnTo>
                  <a:pt x="3061026" y="502256"/>
                </a:lnTo>
                <a:lnTo>
                  <a:pt x="3052657" y="508164"/>
                </a:lnTo>
                <a:lnTo>
                  <a:pt x="3050934" y="508164"/>
                </a:lnTo>
                <a:lnTo>
                  <a:pt x="3049211" y="509887"/>
                </a:lnTo>
                <a:lnTo>
                  <a:pt x="3047487" y="509887"/>
                </a:lnTo>
                <a:lnTo>
                  <a:pt x="3045026" y="509887"/>
                </a:lnTo>
                <a:lnTo>
                  <a:pt x="3041826" y="511610"/>
                </a:lnTo>
                <a:lnTo>
                  <a:pt x="3045026" y="519979"/>
                </a:lnTo>
                <a:lnTo>
                  <a:pt x="3050688" y="529086"/>
                </a:lnTo>
                <a:lnTo>
                  <a:pt x="3054872" y="539179"/>
                </a:lnTo>
                <a:lnTo>
                  <a:pt x="3060534" y="549271"/>
                </a:lnTo>
                <a:lnTo>
                  <a:pt x="3062995" y="558378"/>
                </a:lnTo>
                <a:lnTo>
                  <a:pt x="3064719" y="568471"/>
                </a:lnTo>
                <a:lnTo>
                  <a:pt x="3062256" y="575117"/>
                </a:lnTo>
                <a:lnTo>
                  <a:pt x="3056595" y="581022"/>
                </a:lnTo>
                <a:lnTo>
                  <a:pt x="3045026" y="585945"/>
                </a:lnTo>
                <a:lnTo>
                  <a:pt x="3026073" y="588407"/>
                </a:lnTo>
                <a:lnTo>
                  <a:pt x="3026073" y="580776"/>
                </a:lnTo>
                <a:lnTo>
                  <a:pt x="3024348" y="574133"/>
                </a:lnTo>
                <a:lnTo>
                  <a:pt x="3024348" y="564040"/>
                </a:lnTo>
                <a:lnTo>
                  <a:pt x="3026073" y="552225"/>
                </a:lnTo>
                <a:lnTo>
                  <a:pt x="3026073" y="543117"/>
                </a:lnTo>
                <a:lnTo>
                  <a:pt x="3021888" y="543117"/>
                </a:lnTo>
                <a:lnTo>
                  <a:pt x="3018688" y="543117"/>
                </a:lnTo>
                <a:lnTo>
                  <a:pt x="3016226" y="543117"/>
                </a:lnTo>
                <a:lnTo>
                  <a:pt x="3014503" y="543117"/>
                </a:lnTo>
                <a:lnTo>
                  <a:pt x="3012780" y="541394"/>
                </a:lnTo>
                <a:lnTo>
                  <a:pt x="3010318" y="540655"/>
                </a:lnTo>
                <a:lnTo>
                  <a:pt x="3007118" y="535733"/>
                </a:lnTo>
                <a:lnTo>
                  <a:pt x="3010318" y="531548"/>
                </a:lnTo>
                <a:lnTo>
                  <a:pt x="3012780" y="527363"/>
                </a:lnTo>
                <a:lnTo>
                  <a:pt x="3014503" y="523179"/>
                </a:lnTo>
                <a:lnTo>
                  <a:pt x="3017703" y="517271"/>
                </a:lnTo>
                <a:lnTo>
                  <a:pt x="3010318" y="517271"/>
                </a:lnTo>
                <a:lnTo>
                  <a:pt x="3001211" y="515548"/>
                </a:lnTo>
                <a:lnTo>
                  <a:pt x="2991365" y="518010"/>
                </a:lnTo>
                <a:lnTo>
                  <a:pt x="2979796" y="522932"/>
                </a:lnTo>
                <a:lnTo>
                  <a:pt x="2969950" y="527117"/>
                </a:lnTo>
                <a:lnTo>
                  <a:pt x="2969950" y="523672"/>
                </a:lnTo>
                <a:lnTo>
                  <a:pt x="2971672" y="519486"/>
                </a:lnTo>
                <a:lnTo>
                  <a:pt x="2973396" y="517025"/>
                </a:lnTo>
                <a:lnTo>
                  <a:pt x="2974134" y="512102"/>
                </a:lnTo>
                <a:lnTo>
                  <a:pt x="2975857" y="509640"/>
                </a:lnTo>
                <a:lnTo>
                  <a:pt x="2978318" y="503733"/>
                </a:lnTo>
                <a:lnTo>
                  <a:pt x="2975857" y="503733"/>
                </a:lnTo>
                <a:lnTo>
                  <a:pt x="2973396" y="502009"/>
                </a:lnTo>
                <a:lnTo>
                  <a:pt x="2970196" y="502009"/>
                </a:lnTo>
                <a:lnTo>
                  <a:pt x="2966011" y="500287"/>
                </a:lnTo>
                <a:lnTo>
                  <a:pt x="2956904" y="509395"/>
                </a:lnTo>
                <a:lnTo>
                  <a:pt x="2947058" y="517025"/>
                </a:lnTo>
                <a:lnTo>
                  <a:pt x="2937212" y="525394"/>
                </a:lnTo>
                <a:lnTo>
                  <a:pt x="2931550" y="535487"/>
                </a:lnTo>
                <a:lnTo>
                  <a:pt x="2937212" y="538932"/>
                </a:lnTo>
                <a:lnTo>
                  <a:pt x="2941396" y="541394"/>
                </a:lnTo>
                <a:lnTo>
                  <a:pt x="2944596" y="544840"/>
                </a:lnTo>
                <a:lnTo>
                  <a:pt x="2947058" y="547301"/>
                </a:lnTo>
                <a:lnTo>
                  <a:pt x="2950257" y="552225"/>
                </a:lnTo>
                <a:lnTo>
                  <a:pt x="2958626" y="547301"/>
                </a:lnTo>
                <a:lnTo>
                  <a:pt x="2966011" y="544840"/>
                </a:lnTo>
                <a:lnTo>
                  <a:pt x="2973396" y="544840"/>
                </a:lnTo>
                <a:lnTo>
                  <a:pt x="2981764" y="549025"/>
                </a:lnTo>
                <a:lnTo>
                  <a:pt x="2985949" y="549025"/>
                </a:lnTo>
                <a:lnTo>
                  <a:pt x="2985949" y="559117"/>
                </a:lnTo>
                <a:lnTo>
                  <a:pt x="2970196" y="559117"/>
                </a:lnTo>
                <a:lnTo>
                  <a:pt x="2964534" y="566748"/>
                </a:lnTo>
                <a:lnTo>
                  <a:pt x="2958873" y="572655"/>
                </a:lnTo>
                <a:lnTo>
                  <a:pt x="2954688" y="578561"/>
                </a:lnTo>
                <a:lnTo>
                  <a:pt x="2950503" y="588653"/>
                </a:lnTo>
                <a:lnTo>
                  <a:pt x="2962073" y="596284"/>
                </a:lnTo>
                <a:lnTo>
                  <a:pt x="2968719" y="608099"/>
                </a:lnTo>
                <a:lnTo>
                  <a:pt x="2974380" y="624099"/>
                </a:lnTo>
                <a:lnTo>
                  <a:pt x="2977581" y="640099"/>
                </a:lnTo>
                <a:lnTo>
                  <a:pt x="2978318" y="657822"/>
                </a:lnTo>
                <a:lnTo>
                  <a:pt x="2978318" y="673330"/>
                </a:lnTo>
                <a:lnTo>
                  <a:pt x="2968472" y="679976"/>
                </a:lnTo>
                <a:lnTo>
                  <a:pt x="2962811" y="691791"/>
                </a:lnTo>
                <a:lnTo>
                  <a:pt x="2957149" y="702622"/>
                </a:lnTo>
                <a:lnTo>
                  <a:pt x="2950503" y="714437"/>
                </a:lnTo>
                <a:lnTo>
                  <a:pt x="2935734" y="730437"/>
                </a:lnTo>
                <a:lnTo>
                  <a:pt x="2916781" y="742251"/>
                </a:lnTo>
                <a:lnTo>
                  <a:pt x="2896842" y="750622"/>
                </a:lnTo>
                <a:lnTo>
                  <a:pt x="2873704" y="758252"/>
                </a:lnTo>
                <a:lnTo>
                  <a:pt x="2852289" y="762437"/>
                </a:lnTo>
                <a:lnTo>
                  <a:pt x="2852289" y="768345"/>
                </a:lnTo>
                <a:lnTo>
                  <a:pt x="2852289" y="771791"/>
                </a:lnTo>
                <a:lnTo>
                  <a:pt x="2852289" y="774251"/>
                </a:lnTo>
                <a:lnTo>
                  <a:pt x="2852289" y="775976"/>
                </a:lnTo>
                <a:lnTo>
                  <a:pt x="2854012" y="777698"/>
                </a:lnTo>
                <a:lnTo>
                  <a:pt x="2854012" y="781882"/>
                </a:lnTo>
                <a:lnTo>
                  <a:pt x="2854750" y="786068"/>
                </a:lnTo>
                <a:lnTo>
                  <a:pt x="2852289" y="789513"/>
                </a:lnTo>
                <a:lnTo>
                  <a:pt x="2849089" y="791974"/>
                </a:lnTo>
                <a:lnTo>
                  <a:pt x="2848350" y="793699"/>
                </a:lnTo>
                <a:lnTo>
                  <a:pt x="2845150" y="796159"/>
                </a:lnTo>
                <a:lnTo>
                  <a:pt x="2839489" y="799605"/>
                </a:lnTo>
                <a:lnTo>
                  <a:pt x="2837766" y="799605"/>
                </a:lnTo>
                <a:lnTo>
                  <a:pt x="2837027" y="801329"/>
                </a:lnTo>
                <a:lnTo>
                  <a:pt x="2835304" y="801329"/>
                </a:lnTo>
                <a:lnTo>
                  <a:pt x="2833582" y="801329"/>
                </a:lnTo>
                <a:lnTo>
                  <a:pt x="2831119" y="802067"/>
                </a:lnTo>
                <a:lnTo>
                  <a:pt x="2829396" y="797883"/>
                </a:lnTo>
                <a:lnTo>
                  <a:pt x="2827673" y="793699"/>
                </a:lnTo>
                <a:lnTo>
                  <a:pt x="2827673" y="789513"/>
                </a:lnTo>
                <a:lnTo>
                  <a:pt x="2827673" y="781882"/>
                </a:lnTo>
                <a:lnTo>
                  <a:pt x="2830873" y="780160"/>
                </a:lnTo>
                <a:lnTo>
                  <a:pt x="2833336" y="780160"/>
                </a:lnTo>
                <a:lnTo>
                  <a:pt x="2836535" y="778437"/>
                </a:lnTo>
                <a:lnTo>
                  <a:pt x="2837274" y="775976"/>
                </a:lnTo>
                <a:lnTo>
                  <a:pt x="2838997" y="772529"/>
                </a:lnTo>
                <a:lnTo>
                  <a:pt x="2837274" y="770067"/>
                </a:lnTo>
                <a:lnTo>
                  <a:pt x="2834812" y="765883"/>
                </a:lnTo>
                <a:lnTo>
                  <a:pt x="2833089" y="762437"/>
                </a:lnTo>
                <a:lnTo>
                  <a:pt x="2830627" y="760714"/>
                </a:lnTo>
                <a:lnTo>
                  <a:pt x="2828905" y="760714"/>
                </a:lnTo>
                <a:lnTo>
                  <a:pt x="2824720" y="759975"/>
                </a:lnTo>
                <a:lnTo>
                  <a:pt x="2819797" y="759975"/>
                </a:lnTo>
                <a:lnTo>
                  <a:pt x="2814874" y="766621"/>
                </a:lnTo>
                <a:lnTo>
                  <a:pt x="2809213" y="771545"/>
                </a:lnTo>
                <a:lnTo>
                  <a:pt x="2804289" y="775729"/>
                </a:lnTo>
                <a:lnTo>
                  <a:pt x="2800104" y="783360"/>
                </a:lnTo>
                <a:lnTo>
                  <a:pt x="2798382" y="795174"/>
                </a:lnTo>
                <a:lnTo>
                  <a:pt x="2811674" y="807729"/>
                </a:lnTo>
                <a:lnTo>
                  <a:pt x="2821520" y="821268"/>
                </a:lnTo>
                <a:lnTo>
                  <a:pt x="2830627" y="835544"/>
                </a:lnTo>
                <a:lnTo>
                  <a:pt x="2834812" y="854743"/>
                </a:lnTo>
                <a:lnTo>
                  <a:pt x="2836535" y="878129"/>
                </a:lnTo>
                <a:lnTo>
                  <a:pt x="2788535" y="917512"/>
                </a:lnTo>
                <a:lnTo>
                  <a:pt x="2782874" y="917512"/>
                </a:lnTo>
                <a:lnTo>
                  <a:pt x="2778689" y="901513"/>
                </a:lnTo>
                <a:lnTo>
                  <a:pt x="2769582" y="889697"/>
                </a:lnTo>
                <a:lnTo>
                  <a:pt x="2758012" y="879605"/>
                </a:lnTo>
                <a:lnTo>
                  <a:pt x="2745705" y="869513"/>
                </a:lnTo>
                <a:lnTo>
                  <a:pt x="2732412" y="858682"/>
                </a:lnTo>
                <a:lnTo>
                  <a:pt x="2726752" y="882067"/>
                </a:lnTo>
                <a:lnTo>
                  <a:pt x="2719366" y="901266"/>
                </a:lnTo>
                <a:lnTo>
                  <a:pt x="2726752" y="905451"/>
                </a:lnTo>
                <a:lnTo>
                  <a:pt x="2729951" y="911359"/>
                </a:lnTo>
                <a:lnTo>
                  <a:pt x="2730690" y="918989"/>
                </a:lnTo>
                <a:lnTo>
                  <a:pt x="2735613" y="927359"/>
                </a:lnTo>
                <a:lnTo>
                  <a:pt x="2736351" y="929082"/>
                </a:lnTo>
                <a:lnTo>
                  <a:pt x="2739551" y="929082"/>
                </a:lnTo>
                <a:lnTo>
                  <a:pt x="2742013" y="929082"/>
                </a:lnTo>
                <a:lnTo>
                  <a:pt x="2745213" y="929082"/>
                </a:lnTo>
                <a:lnTo>
                  <a:pt x="2747675" y="930805"/>
                </a:lnTo>
                <a:lnTo>
                  <a:pt x="2759243" y="942619"/>
                </a:lnTo>
                <a:lnTo>
                  <a:pt x="2768351" y="960342"/>
                </a:lnTo>
                <a:lnTo>
                  <a:pt x="2774013" y="980527"/>
                </a:lnTo>
                <a:lnTo>
                  <a:pt x="2774751" y="1001451"/>
                </a:lnTo>
                <a:lnTo>
                  <a:pt x="2766382" y="1001451"/>
                </a:lnTo>
                <a:lnTo>
                  <a:pt x="2757274" y="993820"/>
                </a:lnTo>
                <a:lnTo>
                  <a:pt x="2748905" y="989635"/>
                </a:lnTo>
                <a:lnTo>
                  <a:pt x="2747182" y="987911"/>
                </a:lnTo>
                <a:lnTo>
                  <a:pt x="2739797" y="982005"/>
                </a:lnTo>
                <a:lnTo>
                  <a:pt x="2734874" y="970188"/>
                </a:lnTo>
                <a:lnTo>
                  <a:pt x="2731675" y="956651"/>
                </a:lnTo>
                <a:lnTo>
                  <a:pt x="2727490" y="944835"/>
                </a:lnTo>
                <a:lnTo>
                  <a:pt x="2723305" y="933020"/>
                </a:lnTo>
                <a:lnTo>
                  <a:pt x="2715920" y="922928"/>
                </a:lnTo>
                <a:lnTo>
                  <a:pt x="2715920" y="920467"/>
                </a:lnTo>
                <a:lnTo>
                  <a:pt x="2708536" y="922928"/>
                </a:lnTo>
                <a:lnTo>
                  <a:pt x="2708536" y="920467"/>
                </a:lnTo>
                <a:lnTo>
                  <a:pt x="2706074" y="908651"/>
                </a:lnTo>
                <a:lnTo>
                  <a:pt x="2706074" y="893636"/>
                </a:lnTo>
                <a:lnTo>
                  <a:pt x="2706074" y="877636"/>
                </a:lnTo>
                <a:lnTo>
                  <a:pt x="2706074" y="859913"/>
                </a:lnTo>
                <a:lnTo>
                  <a:pt x="2704351" y="843913"/>
                </a:lnTo>
                <a:lnTo>
                  <a:pt x="2698690" y="830374"/>
                </a:lnTo>
                <a:lnTo>
                  <a:pt x="2689582" y="820283"/>
                </a:lnTo>
                <a:lnTo>
                  <a:pt x="2687121" y="822744"/>
                </a:lnTo>
                <a:lnTo>
                  <a:pt x="2682936" y="826190"/>
                </a:lnTo>
                <a:lnTo>
                  <a:pt x="2679736" y="827913"/>
                </a:lnTo>
                <a:lnTo>
                  <a:pt x="2674074" y="828652"/>
                </a:lnTo>
                <a:lnTo>
                  <a:pt x="2668414" y="828652"/>
                </a:lnTo>
                <a:lnTo>
                  <a:pt x="2666690" y="828652"/>
                </a:lnTo>
                <a:lnTo>
                  <a:pt x="2666690" y="827913"/>
                </a:lnTo>
                <a:lnTo>
                  <a:pt x="2665951" y="827913"/>
                </a:lnTo>
                <a:lnTo>
                  <a:pt x="2664228" y="826190"/>
                </a:lnTo>
                <a:lnTo>
                  <a:pt x="2664228" y="808467"/>
                </a:lnTo>
                <a:lnTo>
                  <a:pt x="2660044" y="794191"/>
                </a:lnTo>
                <a:lnTo>
                  <a:pt x="2654383" y="782375"/>
                </a:lnTo>
                <a:lnTo>
                  <a:pt x="2645275" y="771545"/>
                </a:lnTo>
                <a:lnTo>
                  <a:pt x="2638629" y="759729"/>
                </a:lnTo>
                <a:lnTo>
                  <a:pt x="2629522" y="745452"/>
                </a:lnTo>
                <a:lnTo>
                  <a:pt x="2627059" y="747914"/>
                </a:lnTo>
                <a:lnTo>
                  <a:pt x="2625337" y="749637"/>
                </a:lnTo>
                <a:lnTo>
                  <a:pt x="2623613" y="753083"/>
                </a:lnTo>
                <a:lnTo>
                  <a:pt x="2621891" y="753821"/>
                </a:lnTo>
                <a:lnTo>
                  <a:pt x="2621151" y="755545"/>
                </a:lnTo>
                <a:lnTo>
                  <a:pt x="2607860" y="757268"/>
                </a:lnTo>
                <a:lnTo>
                  <a:pt x="2596290" y="755545"/>
                </a:lnTo>
                <a:lnTo>
                  <a:pt x="2584721" y="755545"/>
                </a:lnTo>
                <a:lnTo>
                  <a:pt x="2581521" y="767360"/>
                </a:lnTo>
                <a:lnTo>
                  <a:pt x="2577337" y="773268"/>
                </a:lnTo>
                <a:lnTo>
                  <a:pt x="2574875" y="774991"/>
                </a:lnTo>
                <a:lnTo>
                  <a:pt x="2569214" y="774991"/>
                </a:lnTo>
                <a:lnTo>
                  <a:pt x="2563553" y="776714"/>
                </a:lnTo>
                <a:lnTo>
                  <a:pt x="2557891" y="780897"/>
                </a:lnTo>
                <a:lnTo>
                  <a:pt x="2548045" y="806991"/>
                </a:lnTo>
                <a:lnTo>
                  <a:pt x="2534753" y="806991"/>
                </a:lnTo>
                <a:lnTo>
                  <a:pt x="2527369" y="812897"/>
                </a:lnTo>
                <a:lnTo>
                  <a:pt x="2519983" y="820528"/>
                </a:lnTo>
                <a:lnTo>
                  <a:pt x="2510137" y="826436"/>
                </a:lnTo>
                <a:lnTo>
                  <a:pt x="2507676" y="855728"/>
                </a:lnTo>
                <a:lnTo>
                  <a:pt x="2500292" y="880836"/>
                </a:lnTo>
                <a:lnTo>
                  <a:pt x="2490445" y="901020"/>
                </a:lnTo>
                <a:lnTo>
                  <a:pt x="2474691" y="920221"/>
                </a:lnTo>
                <a:lnTo>
                  <a:pt x="2472968" y="920221"/>
                </a:lnTo>
                <a:lnTo>
                  <a:pt x="2471245" y="918497"/>
                </a:lnTo>
                <a:lnTo>
                  <a:pt x="2469522" y="918497"/>
                </a:lnTo>
                <a:lnTo>
                  <a:pt x="2468784" y="916775"/>
                </a:lnTo>
                <a:lnTo>
                  <a:pt x="2459676" y="906682"/>
                </a:lnTo>
                <a:lnTo>
                  <a:pt x="2451308" y="890682"/>
                </a:lnTo>
                <a:lnTo>
                  <a:pt x="2446384" y="877144"/>
                </a:lnTo>
                <a:lnTo>
                  <a:pt x="2445645" y="874682"/>
                </a:lnTo>
                <a:lnTo>
                  <a:pt x="2446384" y="871236"/>
                </a:lnTo>
                <a:lnTo>
                  <a:pt x="2448107" y="868774"/>
                </a:lnTo>
                <a:lnTo>
                  <a:pt x="2449830" y="867051"/>
                </a:lnTo>
                <a:lnTo>
                  <a:pt x="2449830" y="865328"/>
                </a:lnTo>
                <a:lnTo>
                  <a:pt x="2435061" y="843421"/>
                </a:lnTo>
                <a:lnTo>
                  <a:pt x="2425215" y="820036"/>
                </a:lnTo>
                <a:lnTo>
                  <a:pt x="2418568" y="794929"/>
                </a:lnTo>
                <a:lnTo>
                  <a:pt x="2415369" y="764652"/>
                </a:lnTo>
                <a:lnTo>
                  <a:pt x="2405523" y="765390"/>
                </a:lnTo>
                <a:lnTo>
                  <a:pt x="2398139" y="765390"/>
                </a:lnTo>
                <a:lnTo>
                  <a:pt x="2389769" y="764652"/>
                </a:lnTo>
                <a:lnTo>
                  <a:pt x="2386568" y="761206"/>
                </a:lnTo>
                <a:lnTo>
                  <a:pt x="2382384" y="758744"/>
                </a:lnTo>
                <a:lnTo>
                  <a:pt x="2379184" y="755298"/>
                </a:lnTo>
                <a:lnTo>
                  <a:pt x="2376723" y="752837"/>
                </a:lnTo>
                <a:lnTo>
                  <a:pt x="2379184" y="742006"/>
                </a:lnTo>
                <a:lnTo>
                  <a:pt x="2373523" y="733637"/>
                </a:lnTo>
                <a:lnTo>
                  <a:pt x="2363677" y="726006"/>
                </a:lnTo>
                <a:lnTo>
                  <a:pt x="2353830" y="719360"/>
                </a:lnTo>
                <a:lnTo>
                  <a:pt x="2344723" y="710252"/>
                </a:lnTo>
                <a:lnTo>
                  <a:pt x="2320847" y="713699"/>
                </a:lnTo>
                <a:lnTo>
                  <a:pt x="2295986" y="713699"/>
                </a:lnTo>
                <a:lnTo>
                  <a:pt x="2271123" y="711976"/>
                </a:lnTo>
                <a:lnTo>
                  <a:pt x="2247247" y="710252"/>
                </a:lnTo>
                <a:lnTo>
                  <a:pt x="2243063" y="701883"/>
                </a:lnTo>
                <a:lnTo>
                  <a:pt x="2237401" y="691053"/>
                </a:lnTo>
                <a:lnTo>
                  <a:pt x="2228293" y="694499"/>
                </a:lnTo>
                <a:lnTo>
                  <a:pt x="2222632" y="696222"/>
                </a:lnTo>
                <a:lnTo>
                  <a:pt x="2215247" y="696960"/>
                </a:lnTo>
                <a:lnTo>
                  <a:pt x="2205401" y="696960"/>
                </a:lnTo>
                <a:lnTo>
                  <a:pt x="2197031" y="691053"/>
                </a:lnTo>
                <a:lnTo>
                  <a:pt x="2187925" y="686868"/>
                </a:lnTo>
                <a:lnTo>
                  <a:pt x="2178078" y="680960"/>
                </a:lnTo>
                <a:lnTo>
                  <a:pt x="2170694" y="675053"/>
                </a:lnTo>
                <a:lnTo>
                  <a:pt x="2168232" y="666683"/>
                </a:lnTo>
                <a:lnTo>
                  <a:pt x="2164047" y="659053"/>
                </a:lnTo>
                <a:lnTo>
                  <a:pt x="2154940" y="651422"/>
                </a:lnTo>
                <a:lnTo>
                  <a:pt x="2153217" y="651422"/>
                </a:lnTo>
                <a:lnTo>
                  <a:pt x="2152479" y="651422"/>
                </a:lnTo>
                <a:lnTo>
                  <a:pt x="2150754" y="651422"/>
                </a:lnTo>
                <a:lnTo>
                  <a:pt x="2147555" y="651422"/>
                </a:lnTo>
                <a:lnTo>
                  <a:pt x="2141893" y="651422"/>
                </a:lnTo>
                <a:lnTo>
                  <a:pt x="2145094" y="663237"/>
                </a:lnTo>
                <a:lnTo>
                  <a:pt x="2149279" y="676776"/>
                </a:lnTo>
                <a:lnTo>
                  <a:pt x="2156663" y="690314"/>
                </a:lnTo>
                <a:lnTo>
                  <a:pt x="2162324" y="702130"/>
                </a:lnTo>
                <a:lnTo>
                  <a:pt x="2167986" y="710498"/>
                </a:lnTo>
                <a:lnTo>
                  <a:pt x="2169709" y="706314"/>
                </a:lnTo>
                <a:lnTo>
                  <a:pt x="2170448" y="704591"/>
                </a:lnTo>
                <a:lnTo>
                  <a:pt x="2170448" y="702868"/>
                </a:lnTo>
                <a:lnTo>
                  <a:pt x="2172170" y="702868"/>
                </a:lnTo>
                <a:lnTo>
                  <a:pt x="2173893" y="702868"/>
                </a:lnTo>
                <a:lnTo>
                  <a:pt x="2178078" y="704591"/>
                </a:lnTo>
                <a:lnTo>
                  <a:pt x="2179801" y="708776"/>
                </a:lnTo>
                <a:lnTo>
                  <a:pt x="2181524" y="713699"/>
                </a:lnTo>
                <a:lnTo>
                  <a:pt x="2181524" y="717883"/>
                </a:lnTo>
                <a:lnTo>
                  <a:pt x="2182262" y="722068"/>
                </a:lnTo>
                <a:lnTo>
                  <a:pt x="2183986" y="726252"/>
                </a:lnTo>
                <a:lnTo>
                  <a:pt x="2189647" y="725514"/>
                </a:lnTo>
                <a:lnTo>
                  <a:pt x="2197031" y="723791"/>
                </a:lnTo>
                <a:lnTo>
                  <a:pt x="2205401" y="723791"/>
                </a:lnTo>
                <a:lnTo>
                  <a:pt x="2218694" y="708776"/>
                </a:lnTo>
                <a:lnTo>
                  <a:pt x="2234447" y="696960"/>
                </a:lnTo>
                <a:lnTo>
                  <a:pt x="2236170" y="711976"/>
                </a:lnTo>
                <a:lnTo>
                  <a:pt x="2237892" y="723791"/>
                </a:lnTo>
                <a:lnTo>
                  <a:pt x="2259308" y="735605"/>
                </a:lnTo>
                <a:lnTo>
                  <a:pt x="2276538" y="749882"/>
                </a:lnTo>
                <a:lnTo>
                  <a:pt x="2270877" y="757513"/>
                </a:lnTo>
                <a:lnTo>
                  <a:pt x="2265954" y="765145"/>
                </a:lnTo>
                <a:lnTo>
                  <a:pt x="2261031" y="771052"/>
                </a:lnTo>
                <a:lnTo>
                  <a:pt x="2250200" y="775236"/>
                </a:lnTo>
                <a:lnTo>
                  <a:pt x="2250200" y="791236"/>
                </a:lnTo>
                <a:lnTo>
                  <a:pt x="2236170" y="800345"/>
                </a:lnTo>
                <a:lnTo>
                  <a:pt x="2221400" y="810436"/>
                </a:lnTo>
                <a:lnTo>
                  <a:pt x="2221400" y="817575"/>
                </a:lnTo>
                <a:lnTo>
                  <a:pt x="2203185" y="817575"/>
                </a:lnTo>
                <a:lnTo>
                  <a:pt x="2192355" y="823483"/>
                </a:lnTo>
                <a:lnTo>
                  <a:pt x="2183986" y="832590"/>
                </a:lnTo>
                <a:lnTo>
                  <a:pt x="2174140" y="840220"/>
                </a:lnTo>
                <a:lnTo>
                  <a:pt x="2160847" y="846129"/>
                </a:lnTo>
                <a:lnTo>
                  <a:pt x="2147555" y="848590"/>
                </a:lnTo>
                <a:lnTo>
                  <a:pt x="2133524" y="852775"/>
                </a:lnTo>
                <a:lnTo>
                  <a:pt x="2121956" y="857698"/>
                </a:lnTo>
                <a:lnTo>
                  <a:pt x="2112109" y="863605"/>
                </a:lnTo>
                <a:lnTo>
                  <a:pt x="2102263" y="866067"/>
                </a:lnTo>
                <a:lnTo>
                  <a:pt x="2094878" y="866067"/>
                </a:lnTo>
                <a:lnTo>
                  <a:pt x="2091678" y="864344"/>
                </a:lnTo>
                <a:lnTo>
                  <a:pt x="2090940" y="864344"/>
                </a:lnTo>
                <a:lnTo>
                  <a:pt x="2089217" y="863605"/>
                </a:lnTo>
                <a:lnTo>
                  <a:pt x="2087494" y="861882"/>
                </a:lnTo>
                <a:lnTo>
                  <a:pt x="2085771" y="858436"/>
                </a:lnTo>
                <a:lnTo>
                  <a:pt x="2081586" y="850067"/>
                </a:lnTo>
                <a:lnTo>
                  <a:pt x="2079864" y="840959"/>
                </a:lnTo>
                <a:lnTo>
                  <a:pt x="2079864" y="832590"/>
                </a:lnTo>
                <a:lnTo>
                  <a:pt x="2079125" y="823483"/>
                </a:lnTo>
                <a:lnTo>
                  <a:pt x="2071740" y="809206"/>
                </a:lnTo>
                <a:lnTo>
                  <a:pt x="2061895" y="795667"/>
                </a:lnTo>
                <a:lnTo>
                  <a:pt x="2051064" y="783853"/>
                </a:lnTo>
                <a:lnTo>
                  <a:pt x="2041218" y="772036"/>
                </a:lnTo>
                <a:lnTo>
                  <a:pt x="2038756" y="763667"/>
                </a:lnTo>
                <a:lnTo>
                  <a:pt x="2037033" y="753575"/>
                </a:lnTo>
                <a:lnTo>
                  <a:pt x="2035309" y="742744"/>
                </a:lnTo>
                <a:lnTo>
                  <a:pt x="2031125" y="734375"/>
                </a:lnTo>
                <a:lnTo>
                  <a:pt x="2015371" y="724284"/>
                </a:lnTo>
                <a:lnTo>
                  <a:pt x="2011187" y="714191"/>
                </a:lnTo>
                <a:lnTo>
                  <a:pt x="2006264" y="703361"/>
                </a:lnTo>
                <a:lnTo>
                  <a:pt x="2002079" y="693268"/>
                </a:lnTo>
                <a:lnTo>
                  <a:pt x="1996418" y="684899"/>
                </a:lnTo>
                <a:lnTo>
                  <a:pt x="1988049" y="678991"/>
                </a:lnTo>
                <a:lnTo>
                  <a:pt x="1983126" y="677268"/>
                </a:lnTo>
                <a:lnTo>
                  <a:pt x="1982387" y="673821"/>
                </a:lnTo>
                <a:lnTo>
                  <a:pt x="1979187" y="673083"/>
                </a:lnTo>
                <a:lnTo>
                  <a:pt x="1976725" y="671361"/>
                </a:lnTo>
                <a:lnTo>
                  <a:pt x="1973525" y="669637"/>
                </a:lnTo>
                <a:lnTo>
                  <a:pt x="1971065" y="667176"/>
                </a:lnTo>
                <a:lnTo>
                  <a:pt x="1967864" y="662253"/>
                </a:lnTo>
                <a:lnTo>
                  <a:pt x="1965403" y="656345"/>
                </a:lnTo>
                <a:lnTo>
                  <a:pt x="1962203" y="656345"/>
                </a:lnTo>
                <a:lnTo>
                  <a:pt x="1962203" y="662253"/>
                </a:lnTo>
                <a:lnTo>
                  <a:pt x="1972049" y="675791"/>
                </a:lnTo>
                <a:lnTo>
                  <a:pt x="1981156" y="690806"/>
                </a:lnTo>
                <a:lnTo>
                  <a:pt x="1986818" y="708529"/>
                </a:lnTo>
                <a:lnTo>
                  <a:pt x="1992479" y="724529"/>
                </a:lnTo>
                <a:lnTo>
                  <a:pt x="1999863" y="740529"/>
                </a:lnTo>
                <a:lnTo>
                  <a:pt x="2002326" y="742991"/>
                </a:lnTo>
                <a:lnTo>
                  <a:pt x="2006509" y="746437"/>
                </a:lnTo>
                <a:lnTo>
                  <a:pt x="2009710" y="748898"/>
                </a:lnTo>
                <a:lnTo>
                  <a:pt x="2013895" y="752344"/>
                </a:lnTo>
                <a:lnTo>
                  <a:pt x="2015618" y="756528"/>
                </a:lnTo>
                <a:lnTo>
                  <a:pt x="2015618" y="785821"/>
                </a:lnTo>
                <a:lnTo>
                  <a:pt x="2018079" y="789268"/>
                </a:lnTo>
                <a:lnTo>
                  <a:pt x="2021279" y="793452"/>
                </a:lnTo>
                <a:lnTo>
                  <a:pt x="2025464" y="795914"/>
                </a:lnTo>
                <a:lnTo>
                  <a:pt x="2029648" y="799360"/>
                </a:lnTo>
                <a:lnTo>
                  <a:pt x="2031371" y="801820"/>
                </a:lnTo>
                <a:lnTo>
                  <a:pt x="2033834" y="810929"/>
                </a:lnTo>
                <a:lnTo>
                  <a:pt x="2035556" y="817575"/>
                </a:lnTo>
                <a:lnTo>
                  <a:pt x="2038756" y="826682"/>
                </a:lnTo>
                <a:lnTo>
                  <a:pt x="2047125" y="836775"/>
                </a:lnTo>
                <a:lnTo>
                  <a:pt x="2060417" y="845882"/>
                </a:lnTo>
                <a:lnTo>
                  <a:pt x="2074448" y="854252"/>
                </a:lnTo>
                <a:lnTo>
                  <a:pt x="2086017" y="863359"/>
                </a:lnTo>
                <a:lnTo>
                  <a:pt x="2089217" y="867544"/>
                </a:lnTo>
                <a:lnTo>
                  <a:pt x="2089217" y="873451"/>
                </a:lnTo>
                <a:lnTo>
                  <a:pt x="2089217" y="877636"/>
                </a:lnTo>
                <a:lnTo>
                  <a:pt x="2090940" y="881821"/>
                </a:lnTo>
                <a:lnTo>
                  <a:pt x="2095125" y="886743"/>
                </a:lnTo>
                <a:lnTo>
                  <a:pt x="2107433" y="887482"/>
                </a:lnTo>
                <a:lnTo>
                  <a:pt x="2122201" y="880836"/>
                </a:lnTo>
                <a:lnTo>
                  <a:pt x="2142140" y="875912"/>
                </a:lnTo>
                <a:lnTo>
                  <a:pt x="2161093" y="871728"/>
                </a:lnTo>
                <a:lnTo>
                  <a:pt x="2178323" y="869267"/>
                </a:lnTo>
                <a:lnTo>
                  <a:pt x="2178323" y="871728"/>
                </a:lnTo>
                <a:lnTo>
                  <a:pt x="2174140" y="879359"/>
                </a:lnTo>
                <a:lnTo>
                  <a:pt x="2174140" y="888221"/>
                </a:lnTo>
                <a:lnTo>
                  <a:pt x="2170940" y="898313"/>
                </a:lnTo>
                <a:lnTo>
                  <a:pt x="2165278" y="913328"/>
                </a:lnTo>
                <a:lnTo>
                  <a:pt x="2156909" y="931051"/>
                </a:lnTo>
                <a:lnTo>
                  <a:pt x="2147063" y="948774"/>
                </a:lnTo>
                <a:lnTo>
                  <a:pt x="2136232" y="963051"/>
                </a:lnTo>
                <a:lnTo>
                  <a:pt x="2120479" y="979050"/>
                </a:lnTo>
                <a:lnTo>
                  <a:pt x="2103248" y="994066"/>
                </a:lnTo>
                <a:lnTo>
                  <a:pt x="2085032" y="1008343"/>
                </a:lnTo>
                <a:lnTo>
                  <a:pt x="2067802" y="1025082"/>
                </a:lnTo>
                <a:lnTo>
                  <a:pt x="2053032" y="1042804"/>
                </a:lnTo>
                <a:lnTo>
                  <a:pt x="2041464" y="1062988"/>
                </a:lnTo>
                <a:lnTo>
                  <a:pt x="2037279" y="1082189"/>
                </a:lnTo>
                <a:lnTo>
                  <a:pt x="2039740" y="1099911"/>
                </a:lnTo>
                <a:lnTo>
                  <a:pt x="2045402" y="1117634"/>
                </a:lnTo>
                <a:lnTo>
                  <a:pt x="2051064" y="1133634"/>
                </a:lnTo>
                <a:lnTo>
                  <a:pt x="2056725" y="1151357"/>
                </a:lnTo>
                <a:lnTo>
                  <a:pt x="2061648" y="1169080"/>
                </a:lnTo>
                <a:lnTo>
                  <a:pt x="2059925" y="1186804"/>
                </a:lnTo>
                <a:lnTo>
                  <a:pt x="2050818" y="1205264"/>
                </a:lnTo>
                <a:lnTo>
                  <a:pt x="2038509" y="1214372"/>
                </a:lnTo>
                <a:lnTo>
                  <a:pt x="2023741" y="1221018"/>
                </a:lnTo>
                <a:lnTo>
                  <a:pt x="2009710" y="1228649"/>
                </a:lnTo>
                <a:lnTo>
                  <a:pt x="1999990" y="1237129"/>
                </a:lnTo>
                <a:lnTo>
                  <a:pt x="1730490" y="1237129"/>
                </a:lnTo>
                <a:lnTo>
                  <a:pt x="1729835" y="1236280"/>
                </a:lnTo>
                <a:lnTo>
                  <a:pt x="1724174" y="1224465"/>
                </a:lnTo>
                <a:lnTo>
                  <a:pt x="1722450" y="1210188"/>
                </a:lnTo>
                <a:lnTo>
                  <a:pt x="1725650" y="1193450"/>
                </a:lnTo>
                <a:lnTo>
                  <a:pt x="1731312" y="1179173"/>
                </a:lnTo>
                <a:lnTo>
                  <a:pt x="1739681" y="1163172"/>
                </a:lnTo>
                <a:lnTo>
                  <a:pt x="1745342" y="1149634"/>
                </a:lnTo>
                <a:lnTo>
                  <a:pt x="1750265" y="1137819"/>
                </a:lnTo>
                <a:lnTo>
                  <a:pt x="1744604" y="1126003"/>
                </a:lnTo>
                <a:lnTo>
                  <a:pt x="1742882" y="1115911"/>
                </a:lnTo>
                <a:lnTo>
                  <a:pt x="1742882" y="1105819"/>
                </a:lnTo>
                <a:lnTo>
                  <a:pt x="1739681" y="1092281"/>
                </a:lnTo>
                <a:lnTo>
                  <a:pt x="1731312" y="1074558"/>
                </a:lnTo>
                <a:lnTo>
                  <a:pt x="1718022" y="1056835"/>
                </a:lnTo>
                <a:lnTo>
                  <a:pt x="1705715" y="1040834"/>
                </a:lnTo>
                <a:lnTo>
                  <a:pt x="1692422" y="1027297"/>
                </a:lnTo>
                <a:lnTo>
                  <a:pt x="1696606" y="1009574"/>
                </a:lnTo>
                <a:lnTo>
                  <a:pt x="1700792" y="993574"/>
                </a:lnTo>
                <a:lnTo>
                  <a:pt x="1705715" y="975851"/>
                </a:lnTo>
                <a:lnTo>
                  <a:pt x="1700792" y="973389"/>
                </a:lnTo>
                <a:lnTo>
                  <a:pt x="1698330" y="971666"/>
                </a:lnTo>
                <a:lnTo>
                  <a:pt x="1695130" y="968220"/>
                </a:lnTo>
                <a:lnTo>
                  <a:pt x="1692669" y="967481"/>
                </a:lnTo>
                <a:lnTo>
                  <a:pt x="1688484" y="967481"/>
                </a:lnTo>
                <a:lnTo>
                  <a:pt x="1682823" y="965758"/>
                </a:lnTo>
                <a:lnTo>
                  <a:pt x="1679622" y="968220"/>
                </a:lnTo>
                <a:lnTo>
                  <a:pt x="1677899" y="969943"/>
                </a:lnTo>
                <a:lnTo>
                  <a:pt x="1673715" y="971666"/>
                </a:lnTo>
                <a:lnTo>
                  <a:pt x="1669530" y="971666"/>
                </a:lnTo>
                <a:lnTo>
                  <a:pt x="1663869" y="971666"/>
                </a:lnTo>
                <a:lnTo>
                  <a:pt x="1648114" y="946558"/>
                </a:lnTo>
                <a:lnTo>
                  <a:pt x="1637284" y="944835"/>
                </a:lnTo>
                <a:lnTo>
                  <a:pt x="1627438" y="944097"/>
                </a:lnTo>
                <a:lnTo>
                  <a:pt x="1615870" y="942374"/>
                </a:lnTo>
                <a:lnTo>
                  <a:pt x="1601838" y="948282"/>
                </a:lnTo>
                <a:lnTo>
                  <a:pt x="1587070" y="954189"/>
                </a:lnTo>
                <a:lnTo>
                  <a:pt x="1575500" y="958374"/>
                </a:lnTo>
                <a:lnTo>
                  <a:pt x="1547439" y="952466"/>
                </a:lnTo>
                <a:lnTo>
                  <a:pt x="1544239" y="962558"/>
                </a:lnTo>
                <a:lnTo>
                  <a:pt x="1534393" y="962558"/>
                </a:lnTo>
                <a:lnTo>
                  <a:pt x="1525285" y="960097"/>
                </a:lnTo>
                <a:lnTo>
                  <a:pt x="1518639" y="958374"/>
                </a:lnTo>
                <a:lnTo>
                  <a:pt x="1515439" y="960097"/>
                </a:lnTo>
                <a:lnTo>
                  <a:pt x="1512978" y="962558"/>
                </a:lnTo>
                <a:lnTo>
                  <a:pt x="1508055" y="964282"/>
                </a:lnTo>
                <a:lnTo>
                  <a:pt x="1502393" y="966005"/>
                </a:lnTo>
                <a:lnTo>
                  <a:pt x="1494024" y="955912"/>
                </a:lnTo>
                <a:lnTo>
                  <a:pt x="1482455" y="950005"/>
                </a:lnTo>
                <a:lnTo>
                  <a:pt x="1470885" y="944097"/>
                </a:lnTo>
                <a:lnTo>
                  <a:pt x="1459316" y="938189"/>
                </a:lnTo>
                <a:lnTo>
                  <a:pt x="1449471" y="930558"/>
                </a:lnTo>
                <a:lnTo>
                  <a:pt x="1442086" y="911359"/>
                </a:lnTo>
                <a:lnTo>
                  <a:pt x="1433717" y="901266"/>
                </a:lnTo>
                <a:lnTo>
                  <a:pt x="1420424" y="891174"/>
                </a:lnTo>
                <a:lnTo>
                  <a:pt x="1408856" y="881082"/>
                </a:lnTo>
                <a:lnTo>
                  <a:pt x="1401471" y="871974"/>
                </a:lnTo>
                <a:lnTo>
                  <a:pt x="1401471" y="852775"/>
                </a:lnTo>
                <a:lnTo>
                  <a:pt x="1399010" y="844405"/>
                </a:lnTo>
                <a:lnTo>
                  <a:pt x="1399748" y="830867"/>
                </a:lnTo>
                <a:lnTo>
                  <a:pt x="1402948" y="819052"/>
                </a:lnTo>
                <a:lnTo>
                  <a:pt x="1405410" y="808959"/>
                </a:lnTo>
                <a:lnTo>
                  <a:pt x="1407132" y="801329"/>
                </a:lnTo>
                <a:lnTo>
                  <a:pt x="1407132" y="789513"/>
                </a:lnTo>
                <a:lnTo>
                  <a:pt x="1404671" y="782867"/>
                </a:lnTo>
                <a:lnTo>
                  <a:pt x="1399748" y="775236"/>
                </a:lnTo>
                <a:lnTo>
                  <a:pt x="1397286" y="769329"/>
                </a:lnTo>
                <a:lnTo>
                  <a:pt x="1397286" y="760221"/>
                </a:lnTo>
                <a:lnTo>
                  <a:pt x="1399748" y="748407"/>
                </a:lnTo>
                <a:lnTo>
                  <a:pt x="1405410" y="735852"/>
                </a:lnTo>
                <a:lnTo>
                  <a:pt x="1411071" y="720837"/>
                </a:lnTo>
                <a:lnTo>
                  <a:pt x="1416733" y="708283"/>
                </a:lnTo>
                <a:lnTo>
                  <a:pt x="1422394" y="697452"/>
                </a:lnTo>
                <a:lnTo>
                  <a:pt x="1425594" y="691545"/>
                </a:lnTo>
                <a:lnTo>
                  <a:pt x="1435439" y="683175"/>
                </a:lnTo>
                <a:lnTo>
                  <a:pt x="1447009" y="675545"/>
                </a:lnTo>
                <a:lnTo>
                  <a:pt x="1458578" y="669637"/>
                </a:lnTo>
                <a:lnTo>
                  <a:pt x="1470147" y="662006"/>
                </a:lnTo>
                <a:lnTo>
                  <a:pt x="1472608" y="655360"/>
                </a:lnTo>
                <a:lnTo>
                  <a:pt x="1472608" y="646253"/>
                </a:lnTo>
                <a:lnTo>
                  <a:pt x="1471871" y="636161"/>
                </a:lnTo>
                <a:lnTo>
                  <a:pt x="1472608" y="627791"/>
                </a:lnTo>
                <a:lnTo>
                  <a:pt x="1479993" y="615976"/>
                </a:lnTo>
                <a:lnTo>
                  <a:pt x="1489839" y="606868"/>
                </a:lnTo>
                <a:lnTo>
                  <a:pt x="1500669" y="598499"/>
                </a:lnTo>
                <a:lnTo>
                  <a:pt x="1510516" y="589392"/>
                </a:lnTo>
                <a:lnTo>
                  <a:pt x="1518885" y="579299"/>
                </a:lnTo>
                <a:lnTo>
                  <a:pt x="1523808" y="565763"/>
                </a:lnTo>
                <a:lnTo>
                  <a:pt x="1523808" y="565024"/>
                </a:lnTo>
                <a:lnTo>
                  <a:pt x="1522085" y="565024"/>
                </a:lnTo>
                <a:lnTo>
                  <a:pt x="1522085" y="563302"/>
                </a:lnTo>
                <a:lnTo>
                  <a:pt x="1522085" y="561578"/>
                </a:lnTo>
                <a:lnTo>
                  <a:pt x="1520363" y="559856"/>
                </a:lnTo>
                <a:lnTo>
                  <a:pt x="1517901" y="559117"/>
                </a:lnTo>
                <a:lnTo>
                  <a:pt x="1514701" y="557394"/>
                </a:lnTo>
                <a:lnTo>
                  <a:pt x="1512239" y="557394"/>
                </a:lnTo>
                <a:lnTo>
                  <a:pt x="1507316" y="555672"/>
                </a:lnTo>
                <a:lnTo>
                  <a:pt x="1504855" y="559117"/>
                </a:lnTo>
                <a:lnTo>
                  <a:pt x="1501655" y="559117"/>
                </a:lnTo>
                <a:lnTo>
                  <a:pt x="1497469" y="559856"/>
                </a:lnTo>
                <a:lnTo>
                  <a:pt x="1491808" y="559856"/>
                </a:lnTo>
                <a:lnTo>
                  <a:pt x="1491808" y="555672"/>
                </a:lnTo>
                <a:lnTo>
                  <a:pt x="1489348" y="555672"/>
                </a:lnTo>
                <a:lnTo>
                  <a:pt x="1489348" y="543855"/>
                </a:lnTo>
                <a:lnTo>
                  <a:pt x="1487624" y="527856"/>
                </a:lnTo>
                <a:lnTo>
                  <a:pt x="1485901" y="508655"/>
                </a:lnTo>
                <a:lnTo>
                  <a:pt x="1485901" y="490194"/>
                </a:lnTo>
                <a:lnTo>
                  <a:pt x="1485901" y="473456"/>
                </a:lnTo>
                <a:lnTo>
                  <a:pt x="1489101" y="463363"/>
                </a:lnTo>
                <a:lnTo>
                  <a:pt x="1489593" y="460410"/>
                </a:lnTo>
                <a:lnTo>
                  <a:pt x="1491316" y="456964"/>
                </a:lnTo>
                <a:lnTo>
                  <a:pt x="1493038" y="456225"/>
                </a:lnTo>
                <a:lnTo>
                  <a:pt x="1494762" y="456225"/>
                </a:lnTo>
                <a:lnTo>
                  <a:pt x="1497224" y="456225"/>
                </a:lnTo>
                <a:lnTo>
                  <a:pt x="1500424" y="454501"/>
                </a:lnTo>
                <a:lnTo>
                  <a:pt x="1504609" y="454501"/>
                </a:lnTo>
                <a:lnTo>
                  <a:pt x="1516177" y="458687"/>
                </a:lnTo>
                <a:lnTo>
                  <a:pt x="1529469" y="462133"/>
                </a:lnTo>
                <a:lnTo>
                  <a:pt x="1543501" y="462133"/>
                </a:lnTo>
                <a:lnTo>
                  <a:pt x="1557531" y="458687"/>
                </a:lnTo>
                <a:lnTo>
                  <a:pt x="1568362" y="454501"/>
                </a:lnTo>
                <a:lnTo>
                  <a:pt x="1569100" y="452779"/>
                </a:lnTo>
                <a:lnTo>
                  <a:pt x="1569100" y="451056"/>
                </a:lnTo>
                <a:lnTo>
                  <a:pt x="1570824" y="451056"/>
                </a:lnTo>
                <a:lnTo>
                  <a:pt x="1570824" y="450318"/>
                </a:lnTo>
                <a:lnTo>
                  <a:pt x="1570824" y="448595"/>
                </a:lnTo>
                <a:lnTo>
                  <a:pt x="1574024" y="436778"/>
                </a:lnTo>
                <a:lnTo>
                  <a:pt x="1574024" y="423241"/>
                </a:lnTo>
                <a:lnTo>
                  <a:pt x="1572300" y="410687"/>
                </a:lnTo>
                <a:lnTo>
                  <a:pt x="1570578" y="395672"/>
                </a:lnTo>
                <a:lnTo>
                  <a:pt x="1560731" y="393210"/>
                </a:lnTo>
                <a:lnTo>
                  <a:pt x="1550885" y="389764"/>
                </a:lnTo>
                <a:lnTo>
                  <a:pt x="1541039" y="383856"/>
                </a:lnTo>
                <a:lnTo>
                  <a:pt x="1533654" y="376225"/>
                </a:lnTo>
                <a:lnTo>
                  <a:pt x="1536115" y="375487"/>
                </a:lnTo>
                <a:lnTo>
                  <a:pt x="1539316" y="373764"/>
                </a:lnTo>
                <a:lnTo>
                  <a:pt x="1541039" y="372041"/>
                </a:lnTo>
                <a:lnTo>
                  <a:pt x="1543501" y="372041"/>
                </a:lnTo>
                <a:lnTo>
                  <a:pt x="1546701" y="370318"/>
                </a:lnTo>
                <a:lnTo>
                  <a:pt x="1551624" y="370318"/>
                </a:lnTo>
                <a:lnTo>
                  <a:pt x="1554823" y="369579"/>
                </a:lnTo>
                <a:lnTo>
                  <a:pt x="1559008" y="367856"/>
                </a:lnTo>
                <a:lnTo>
                  <a:pt x="1563193" y="367856"/>
                </a:lnTo>
                <a:lnTo>
                  <a:pt x="1568115" y="367856"/>
                </a:lnTo>
                <a:lnTo>
                  <a:pt x="1568115" y="351856"/>
                </a:lnTo>
                <a:lnTo>
                  <a:pt x="1572300" y="351856"/>
                </a:lnTo>
                <a:lnTo>
                  <a:pt x="1576484" y="352595"/>
                </a:lnTo>
                <a:lnTo>
                  <a:pt x="1578208" y="354318"/>
                </a:lnTo>
                <a:lnTo>
                  <a:pt x="1580670" y="354318"/>
                </a:lnTo>
                <a:lnTo>
                  <a:pt x="1583870" y="356041"/>
                </a:lnTo>
                <a:lnTo>
                  <a:pt x="1586331" y="357764"/>
                </a:lnTo>
                <a:lnTo>
                  <a:pt x="1589531" y="354318"/>
                </a:lnTo>
                <a:lnTo>
                  <a:pt x="1593716" y="352595"/>
                </a:lnTo>
                <a:lnTo>
                  <a:pt x="1596915" y="351856"/>
                </a:lnTo>
                <a:lnTo>
                  <a:pt x="1601100" y="350133"/>
                </a:lnTo>
                <a:lnTo>
                  <a:pt x="1602823" y="348410"/>
                </a:lnTo>
                <a:lnTo>
                  <a:pt x="1603562" y="345949"/>
                </a:lnTo>
                <a:lnTo>
                  <a:pt x="1603562" y="342502"/>
                </a:lnTo>
                <a:lnTo>
                  <a:pt x="1603562" y="340041"/>
                </a:lnTo>
                <a:lnTo>
                  <a:pt x="1603562" y="336595"/>
                </a:lnTo>
                <a:lnTo>
                  <a:pt x="1605285" y="334133"/>
                </a:lnTo>
                <a:lnTo>
                  <a:pt x="1607008" y="330687"/>
                </a:lnTo>
                <a:lnTo>
                  <a:pt x="1634331" y="322318"/>
                </a:lnTo>
                <a:lnTo>
                  <a:pt x="1639992" y="313210"/>
                </a:lnTo>
                <a:lnTo>
                  <a:pt x="1641715" y="304840"/>
                </a:lnTo>
                <a:lnTo>
                  <a:pt x="1645899" y="295734"/>
                </a:lnTo>
                <a:lnTo>
                  <a:pt x="1654269" y="289826"/>
                </a:lnTo>
                <a:lnTo>
                  <a:pt x="1665100" y="285641"/>
                </a:lnTo>
                <a:lnTo>
                  <a:pt x="1677407" y="281457"/>
                </a:lnTo>
                <a:lnTo>
                  <a:pt x="1688976" y="277271"/>
                </a:lnTo>
                <a:lnTo>
                  <a:pt x="1690699" y="275549"/>
                </a:lnTo>
                <a:lnTo>
                  <a:pt x="1690699" y="273825"/>
                </a:lnTo>
                <a:lnTo>
                  <a:pt x="1690699" y="272103"/>
                </a:lnTo>
                <a:lnTo>
                  <a:pt x="1692422" y="271365"/>
                </a:lnTo>
                <a:lnTo>
                  <a:pt x="1686760" y="256348"/>
                </a:lnTo>
                <a:lnTo>
                  <a:pt x="1683560" y="238625"/>
                </a:lnTo>
                <a:lnTo>
                  <a:pt x="1683560" y="222626"/>
                </a:lnTo>
                <a:lnTo>
                  <a:pt x="1682823" y="209088"/>
                </a:lnTo>
                <a:lnTo>
                  <a:pt x="1695130" y="208349"/>
                </a:lnTo>
                <a:lnTo>
                  <a:pt x="1704238" y="204903"/>
                </a:lnTo>
                <a:lnTo>
                  <a:pt x="1714084" y="202441"/>
                </a:lnTo>
                <a:lnTo>
                  <a:pt x="1714084" y="209088"/>
                </a:lnTo>
                <a:lnTo>
                  <a:pt x="1712361" y="214996"/>
                </a:lnTo>
                <a:lnTo>
                  <a:pt x="1710637" y="225826"/>
                </a:lnTo>
                <a:lnTo>
                  <a:pt x="1709899" y="240103"/>
                </a:lnTo>
                <a:lnTo>
                  <a:pt x="1708176" y="253641"/>
                </a:lnTo>
                <a:lnTo>
                  <a:pt x="1708176" y="263734"/>
                </a:lnTo>
                <a:lnTo>
                  <a:pt x="1712361" y="266194"/>
                </a:lnTo>
                <a:lnTo>
                  <a:pt x="1715560" y="267918"/>
                </a:lnTo>
                <a:lnTo>
                  <a:pt x="1716300" y="269640"/>
                </a:lnTo>
                <a:lnTo>
                  <a:pt x="1719499" y="271365"/>
                </a:lnTo>
                <a:lnTo>
                  <a:pt x="1723681" y="273825"/>
                </a:lnTo>
                <a:lnTo>
                  <a:pt x="1732789" y="269640"/>
                </a:lnTo>
                <a:lnTo>
                  <a:pt x="1739189" y="269640"/>
                </a:lnTo>
                <a:lnTo>
                  <a:pt x="1743373" y="272103"/>
                </a:lnTo>
                <a:lnTo>
                  <a:pt x="1749035" y="277026"/>
                </a:lnTo>
                <a:lnTo>
                  <a:pt x="1756419" y="277026"/>
                </a:lnTo>
                <a:lnTo>
                  <a:pt x="1764788" y="273580"/>
                </a:lnTo>
                <a:lnTo>
                  <a:pt x="1772173" y="269395"/>
                </a:lnTo>
                <a:lnTo>
                  <a:pt x="1776357" y="265210"/>
                </a:lnTo>
                <a:lnTo>
                  <a:pt x="1782019" y="261764"/>
                </a:lnTo>
                <a:lnTo>
                  <a:pt x="1789403" y="259303"/>
                </a:lnTo>
                <a:lnTo>
                  <a:pt x="1800973" y="260041"/>
                </a:lnTo>
                <a:lnTo>
                  <a:pt x="1816727" y="263487"/>
                </a:lnTo>
                <a:lnTo>
                  <a:pt x="1818450" y="259303"/>
                </a:lnTo>
                <a:lnTo>
                  <a:pt x="1819188" y="257580"/>
                </a:lnTo>
                <a:lnTo>
                  <a:pt x="1822388" y="254133"/>
                </a:lnTo>
                <a:lnTo>
                  <a:pt x="1824849" y="253395"/>
                </a:lnTo>
                <a:lnTo>
                  <a:pt x="1828049" y="253395"/>
                </a:lnTo>
                <a:lnTo>
                  <a:pt x="1832235" y="251673"/>
                </a:lnTo>
                <a:lnTo>
                  <a:pt x="1832235" y="226564"/>
                </a:lnTo>
                <a:lnTo>
                  <a:pt x="1835434" y="206380"/>
                </a:lnTo>
                <a:lnTo>
                  <a:pt x="1837895" y="202934"/>
                </a:lnTo>
                <a:lnTo>
                  <a:pt x="1841096" y="202195"/>
                </a:lnTo>
                <a:lnTo>
                  <a:pt x="1843557" y="198750"/>
                </a:lnTo>
                <a:lnTo>
                  <a:pt x="1846757" y="197026"/>
                </a:lnTo>
                <a:lnTo>
                  <a:pt x="1850943" y="196288"/>
                </a:lnTo>
                <a:lnTo>
                  <a:pt x="1850943" y="198750"/>
                </a:lnTo>
                <a:lnTo>
                  <a:pt x="1853403" y="202195"/>
                </a:lnTo>
                <a:lnTo>
                  <a:pt x="1855127" y="204657"/>
                </a:lnTo>
                <a:lnTo>
                  <a:pt x="1856849" y="208103"/>
                </a:lnTo>
                <a:lnTo>
                  <a:pt x="1858573" y="208841"/>
                </a:lnTo>
                <a:lnTo>
                  <a:pt x="1862757" y="210564"/>
                </a:lnTo>
                <a:lnTo>
                  <a:pt x="1866942" y="212288"/>
                </a:lnTo>
                <a:lnTo>
                  <a:pt x="1865219" y="198750"/>
                </a:lnTo>
                <a:lnTo>
                  <a:pt x="1864480" y="190380"/>
                </a:lnTo>
                <a:lnTo>
                  <a:pt x="1861280" y="184473"/>
                </a:lnTo>
                <a:lnTo>
                  <a:pt x="1859557" y="176842"/>
                </a:lnTo>
                <a:lnTo>
                  <a:pt x="1857096" y="163304"/>
                </a:lnTo>
                <a:lnTo>
                  <a:pt x="1864480" y="162565"/>
                </a:lnTo>
                <a:lnTo>
                  <a:pt x="1869404" y="159119"/>
                </a:lnTo>
                <a:lnTo>
                  <a:pt x="1874326" y="156658"/>
                </a:lnTo>
                <a:lnTo>
                  <a:pt x="1879988" y="153212"/>
                </a:lnTo>
                <a:lnTo>
                  <a:pt x="1889834" y="153212"/>
                </a:lnTo>
                <a:lnTo>
                  <a:pt x="1899680" y="154934"/>
                </a:lnTo>
                <a:lnTo>
                  <a:pt x="1907065" y="156658"/>
                </a:lnTo>
                <a:lnTo>
                  <a:pt x="1914449" y="153212"/>
                </a:lnTo>
                <a:lnTo>
                  <a:pt x="1920111" y="144842"/>
                </a:lnTo>
                <a:lnTo>
                  <a:pt x="1915187" y="143119"/>
                </a:lnTo>
                <a:lnTo>
                  <a:pt x="1911003" y="141396"/>
                </a:lnTo>
                <a:lnTo>
                  <a:pt x="1908541" y="139673"/>
                </a:lnTo>
                <a:lnTo>
                  <a:pt x="1903619" y="138935"/>
                </a:lnTo>
                <a:lnTo>
                  <a:pt x="1897957" y="138935"/>
                </a:lnTo>
                <a:lnTo>
                  <a:pt x="1883926" y="145581"/>
                </a:lnTo>
                <a:lnTo>
                  <a:pt x="1868173" y="150503"/>
                </a:lnTo>
                <a:lnTo>
                  <a:pt x="1850943" y="152965"/>
                </a:lnTo>
                <a:lnTo>
                  <a:pt x="1847742" y="145334"/>
                </a:lnTo>
                <a:lnTo>
                  <a:pt x="1843557" y="139427"/>
                </a:lnTo>
                <a:lnTo>
                  <a:pt x="1839373" y="133519"/>
                </a:lnTo>
                <a:lnTo>
                  <a:pt x="1836173" y="126873"/>
                </a:lnTo>
                <a:lnTo>
                  <a:pt x="1835434" y="115058"/>
                </a:lnTo>
                <a:lnTo>
                  <a:pt x="1836173" y="105950"/>
                </a:lnTo>
                <a:lnTo>
                  <a:pt x="1835434" y="95858"/>
                </a:lnTo>
                <a:lnTo>
                  <a:pt x="1833711" y="84042"/>
                </a:lnTo>
                <a:lnTo>
                  <a:pt x="1835434" y="73950"/>
                </a:lnTo>
                <a:lnTo>
                  <a:pt x="1842081" y="58935"/>
                </a:lnTo>
                <a:lnTo>
                  <a:pt x="1853649" y="48843"/>
                </a:lnTo>
                <a:lnTo>
                  <a:pt x="1865219" y="37027"/>
                </a:lnTo>
                <a:lnTo>
                  <a:pt x="1875065" y="25212"/>
                </a:lnTo>
                <a:lnTo>
                  <a:pt x="1882450" y="11673"/>
                </a:lnTo>
                <a:lnTo>
                  <a:pt x="1878265" y="7489"/>
                </a:lnTo>
                <a:lnTo>
                  <a:pt x="1874081" y="3304"/>
                </a:lnTo>
                <a:close/>
                <a:moveTo>
                  <a:pt x="1731537" y="0"/>
                </a:moveTo>
                <a:lnTo>
                  <a:pt x="1863626" y="0"/>
                </a:lnTo>
                <a:lnTo>
                  <a:pt x="1858327" y="843"/>
                </a:lnTo>
                <a:lnTo>
                  <a:pt x="1845034" y="1582"/>
                </a:lnTo>
                <a:lnTo>
                  <a:pt x="1840850" y="22505"/>
                </a:lnTo>
                <a:lnTo>
                  <a:pt x="1833465" y="38504"/>
                </a:lnTo>
                <a:lnTo>
                  <a:pt x="1823619" y="52043"/>
                </a:lnTo>
                <a:lnTo>
                  <a:pt x="1812050" y="64596"/>
                </a:lnTo>
                <a:lnTo>
                  <a:pt x="1801219" y="79612"/>
                </a:lnTo>
                <a:lnTo>
                  <a:pt x="1794573" y="97335"/>
                </a:lnTo>
                <a:lnTo>
                  <a:pt x="1789649" y="117519"/>
                </a:lnTo>
                <a:lnTo>
                  <a:pt x="1798758" y="125150"/>
                </a:lnTo>
                <a:lnTo>
                  <a:pt x="1807126" y="133519"/>
                </a:lnTo>
                <a:lnTo>
                  <a:pt x="1812788" y="144350"/>
                </a:lnTo>
                <a:lnTo>
                  <a:pt x="1815988" y="156904"/>
                </a:lnTo>
                <a:lnTo>
                  <a:pt x="1811804" y="158626"/>
                </a:lnTo>
                <a:lnTo>
                  <a:pt x="1810081" y="160350"/>
                </a:lnTo>
                <a:lnTo>
                  <a:pt x="1808357" y="162073"/>
                </a:lnTo>
                <a:lnTo>
                  <a:pt x="1808357" y="162811"/>
                </a:lnTo>
                <a:lnTo>
                  <a:pt x="1806634" y="164535"/>
                </a:lnTo>
                <a:lnTo>
                  <a:pt x="1806634" y="167981"/>
                </a:lnTo>
                <a:lnTo>
                  <a:pt x="1805896" y="168719"/>
                </a:lnTo>
                <a:lnTo>
                  <a:pt x="1786943" y="176349"/>
                </a:lnTo>
                <a:lnTo>
                  <a:pt x="1784481" y="194073"/>
                </a:lnTo>
                <a:lnTo>
                  <a:pt x="1778819" y="207611"/>
                </a:lnTo>
                <a:lnTo>
                  <a:pt x="1773158" y="217703"/>
                </a:lnTo>
                <a:lnTo>
                  <a:pt x="1764050" y="226073"/>
                </a:lnTo>
                <a:lnTo>
                  <a:pt x="1756666" y="235180"/>
                </a:lnTo>
                <a:lnTo>
                  <a:pt x="1750019" y="246995"/>
                </a:lnTo>
                <a:lnTo>
                  <a:pt x="1745097" y="246995"/>
                </a:lnTo>
                <a:lnTo>
                  <a:pt x="1745097" y="243549"/>
                </a:lnTo>
                <a:lnTo>
                  <a:pt x="1733527" y="227549"/>
                </a:lnTo>
                <a:lnTo>
                  <a:pt x="1726881" y="209826"/>
                </a:lnTo>
                <a:lnTo>
                  <a:pt x="1721958" y="190626"/>
                </a:lnTo>
                <a:lnTo>
                  <a:pt x="1713592" y="168719"/>
                </a:lnTo>
                <a:lnTo>
                  <a:pt x="1702022" y="174627"/>
                </a:lnTo>
                <a:lnTo>
                  <a:pt x="1694637" y="182257"/>
                </a:lnTo>
                <a:lnTo>
                  <a:pt x="1686269" y="188165"/>
                </a:lnTo>
                <a:lnTo>
                  <a:pt x="1677161" y="192349"/>
                </a:lnTo>
                <a:lnTo>
                  <a:pt x="1663130" y="195795"/>
                </a:lnTo>
                <a:lnTo>
                  <a:pt x="1661407" y="194073"/>
                </a:lnTo>
                <a:lnTo>
                  <a:pt x="1659684" y="194073"/>
                </a:lnTo>
                <a:lnTo>
                  <a:pt x="1658946" y="194073"/>
                </a:lnTo>
                <a:lnTo>
                  <a:pt x="1657223" y="192349"/>
                </a:lnTo>
                <a:lnTo>
                  <a:pt x="1654023" y="192349"/>
                </a:lnTo>
                <a:lnTo>
                  <a:pt x="1653285" y="174627"/>
                </a:lnTo>
                <a:lnTo>
                  <a:pt x="1651560" y="160350"/>
                </a:lnTo>
                <a:lnTo>
                  <a:pt x="1648361" y="148534"/>
                </a:lnTo>
                <a:lnTo>
                  <a:pt x="1645899" y="134996"/>
                </a:lnTo>
                <a:lnTo>
                  <a:pt x="1644176" y="117273"/>
                </a:lnTo>
                <a:lnTo>
                  <a:pt x="1651560" y="109642"/>
                </a:lnTo>
                <a:lnTo>
                  <a:pt x="1654023" y="102997"/>
                </a:lnTo>
                <a:lnTo>
                  <a:pt x="1655746" y="93889"/>
                </a:lnTo>
                <a:lnTo>
                  <a:pt x="1659931" y="82074"/>
                </a:lnTo>
                <a:lnTo>
                  <a:pt x="1663130" y="79612"/>
                </a:lnTo>
                <a:lnTo>
                  <a:pt x="1667315" y="75428"/>
                </a:lnTo>
                <a:lnTo>
                  <a:pt x="1671499" y="70504"/>
                </a:lnTo>
                <a:lnTo>
                  <a:pt x="1676422" y="66319"/>
                </a:lnTo>
                <a:lnTo>
                  <a:pt x="1678884" y="68042"/>
                </a:lnTo>
                <a:lnTo>
                  <a:pt x="1680607" y="69765"/>
                </a:lnTo>
                <a:lnTo>
                  <a:pt x="1682329" y="70504"/>
                </a:lnTo>
                <a:lnTo>
                  <a:pt x="1683068" y="72227"/>
                </a:lnTo>
                <a:lnTo>
                  <a:pt x="1686269" y="69765"/>
                </a:lnTo>
                <a:lnTo>
                  <a:pt x="1687991" y="66319"/>
                </a:lnTo>
                <a:lnTo>
                  <a:pt x="1688731" y="63858"/>
                </a:lnTo>
                <a:lnTo>
                  <a:pt x="1690453" y="58935"/>
                </a:lnTo>
                <a:lnTo>
                  <a:pt x="1692176" y="56473"/>
                </a:lnTo>
                <a:lnTo>
                  <a:pt x="1702022" y="50566"/>
                </a:lnTo>
                <a:lnTo>
                  <a:pt x="1710391" y="47119"/>
                </a:lnTo>
                <a:lnTo>
                  <a:pt x="1717775" y="40473"/>
                </a:lnTo>
                <a:lnTo>
                  <a:pt x="1715314" y="38750"/>
                </a:lnTo>
                <a:lnTo>
                  <a:pt x="1713592" y="38750"/>
                </a:lnTo>
                <a:lnTo>
                  <a:pt x="1711869" y="38750"/>
                </a:lnTo>
                <a:lnTo>
                  <a:pt x="1711869" y="37027"/>
                </a:lnTo>
                <a:lnTo>
                  <a:pt x="1711869" y="34566"/>
                </a:lnTo>
                <a:lnTo>
                  <a:pt x="1710146" y="31120"/>
                </a:lnTo>
                <a:lnTo>
                  <a:pt x="1720975" y="17581"/>
                </a:lnTo>
                <a:lnTo>
                  <a:pt x="1730820" y="1582"/>
                </a:lnTo>
                <a:close/>
                <a:moveTo>
                  <a:pt x="1335283" y="0"/>
                </a:moveTo>
                <a:lnTo>
                  <a:pt x="1355141" y="0"/>
                </a:lnTo>
                <a:lnTo>
                  <a:pt x="1357409" y="4536"/>
                </a:lnTo>
                <a:lnTo>
                  <a:pt x="1360609" y="6998"/>
                </a:lnTo>
                <a:lnTo>
                  <a:pt x="1363070" y="12905"/>
                </a:lnTo>
                <a:lnTo>
                  <a:pt x="1372178" y="5521"/>
                </a:lnTo>
                <a:lnTo>
                  <a:pt x="1380000" y="0"/>
                </a:lnTo>
                <a:lnTo>
                  <a:pt x="1394146" y="0"/>
                </a:lnTo>
                <a:lnTo>
                  <a:pt x="1396054" y="1337"/>
                </a:lnTo>
                <a:lnTo>
                  <a:pt x="1396054" y="2812"/>
                </a:lnTo>
                <a:lnTo>
                  <a:pt x="1397778" y="2812"/>
                </a:lnTo>
                <a:lnTo>
                  <a:pt x="1399501" y="2812"/>
                </a:lnTo>
                <a:lnTo>
                  <a:pt x="1401962" y="2812"/>
                </a:lnTo>
                <a:lnTo>
                  <a:pt x="1407235" y="0"/>
                </a:lnTo>
                <a:lnTo>
                  <a:pt x="1442331" y="0"/>
                </a:lnTo>
                <a:lnTo>
                  <a:pt x="1442331" y="2812"/>
                </a:lnTo>
                <a:lnTo>
                  <a:pt x="1442331" y="6998"/>
                </a:lnTo>
                <a:lnTo>
                  <a:pt x="1444054" y="18813"/>
                </a:lnTo>
                <a:lnTo>
                  <a:pt x="1445777" y="32105"/>
                </a:lnTo>
                <a:lnTo>
                  <a:pt x="1445777" y="43674"/>
                </a:lnTo>
                <a:lnTo>
                  <a:pt x="1429285" y="52043"/>
                </a:lnTo>
                <a:lnTo>
                  <a:pt x="1411070" y="59428"/>
                </a:lnTo>
                <a:lnTo>
                  <a:pt x="1393594" y="67796"/>
                </a:lnTo>
                <a:lnTo>
                  <a:pt x="1378824" y="79612"/>
                </a:lnTo>
                <a:lnTo>
                  <a:pt x="1374640" y="77151"/>
                </a:lnTo>
                <a:lnTo>
                  <a:pt x="1367255" y="73705"/>
                </a:lnTo>
                <a:lnTo>
                  <a:pt x="1357409" y="67796"/>
                </a:lnTo>
                <a:lnTo>
                  <a:pt x="1349040" y="63612"/>
                </a:lnTo>
                <a:lnTo>
                  <a:pt x="1341655" y="59428"/>
                </a:lnTo>
                <a:lnTo>
                  <a:pt x="1338209" y="56228"/>
                </a:lnTo>
                <a:lnTo>
                  <a:pt x="1339932" y="55490"/>
                </a:lnTo>
                <a:lnTo>
                  <a:pt x="1341655" y="53766"/>
                </a:lnTo>
                <a:lnTo>
                  <a:pt x="1343378" y="52043"/>
                </a:lnTo>
                <a:lnTo>
                  <a:pt x="1343378" y="50320"/>
                </a:lnTo>
                <a:lnTo>
                  <a:pt x="1344116" y="47859"/>
                </a:lnTo>
                <a:lnTo>
                  <a:pt x="1339932" y="44658"/>
                </a:lnTo>
                <a:lnTo>
                  <a:pt x="1334271" y="43674"/>
                </a:lnTo>
                <a:lnTo>
                  <a:pt x="1330086" y="40474"/>
                </a:lnTo>
                <a:lnTo>
                  <a:pt x="1325901" y="38012"/>
                </a:lnTo>
                <a:lnTo>
                  <a:pt x="1328363" y="38012"/>
                </a:lnTo>
                <a:lnTo>
                  <a:pt x="1331809" y="34567"/>
                </a:lnTo>
                <a:lnTo>
                  <a:pt x="1332547" y="32844"/>
                </a:lnTo>
                <a:lnTo>
                  <a:pt x="1334271" y="32844"/>
                </a:lnTo>
                <a:lnTo>
                  <a:pt x="1335747" y="32105"/>
                </a:lnTo>
                <a:lnTo>
                  <a:pt x="1339932" y="32105"/>
                </a:lnTo>
                <a:lnTo>
                  <a:pt x="1344116" y="32105"/>
                </a:lnTo>
                <a:lnTo>
                  <a:pt x="1344116" y="21275"/>
                </a:lnTo>
                <a:lnTo>
                  <a:pt x="1322701" y="21275"/>
                </a:lnTo>
                <a:lnTo>
                  <a:pt x="1318517" y="12905"/>
                </a:lnTo>
                <a:lnTo>
                  <a:pt x="1325901" y="6998"/>
                </a:lnTo>
                <a:lnTo>
                  <a:pt x="1331809" y="1337"/>
                </a:lnTo>
                <a:close/>
                <a:moveTo>
                  <a:pt x="994515" y="0"/>
                </a:moveTo>
                <a:lnTo>
                  <a:pt x="1240498" y="0"/>
                </a:lnTo>
                <a:lnTo>
                  <a:pt x="1238272" y="6013"/>
                </a:lnTo>
                <a:lnTo>
                  <a:pt x="1230887" y="13644"/>
                </a:lnTo>
                <a:lnTo>
                  <a:pt x="1218579" y="22012"/>
                </a:lnTo>
                <a:lnTo>
                  <a:pt x="1202088" y="29643"/>
                </a:lnTo>
                <a:lnTo>
                  <a:pt x="1188057" y="35551"/>
                </a:lnTo>
                <a:lnTo>
                  <a:pt x="1174765" y="38997"/>
                </a:lnTo>
                <a:lnTo>
                  <a:pt x="1174765" y="35551"/>
                </a:lnTo>
                <a:lnTo>
                  <a:pt x="1174765" y="33089"/>
                </a:lnTo>
                <a:lnTo>
                  <a:pt x="1173042" y="33089"/>
                </a:lnTo>
                <a:lnTo>
                  <a:pt x="1173042" y="31367"/>
                </a:lnTo>
                <a:lnTo>
                  <a:pt x="1172304" y="29643"/>
                </a:lnTo>
                <a:lnTo>
                  <a:pt x="1170580" y="41458"/>
                </a:lnTo>
                <a:lnTo>
                  <a:pt x="1166396" y="51551"/>
                </a:lnTo>
                <a:lnTo>
                  <a:pt x="1163196" y="60658"/>
                </a:lnTo>
                <a:lnTo>
                  <a:pt x="1159011" y="69027"/>
                </a:lnTo>
                <a:lnTo>
                  <a:pt x="1155811" y="80844"/>
                </a:lnTo>
                <a:lnTo>
                  <a:pt x="1159011" y="82566"/>
                </a:lnTo>
                <a:lnTo>
                  <a:pt x="1159011" y="84289"/>
                </a:lnTo>
                <a:lnTo>
                  <a:pt x="1160735" y="84289"/>
                </a:lnTo>
                <a:lnTo>
                  <a:pt x="1160735" y="86012"/>
                </a:lnTo>
                <a:lnTo>
                  <a:pt x="1159011" y="86750"/>
                </a:lnTo>
                <a:lnTo>
                  <a:pt x="1155811" y="90197"/>
                </a:lnTo>
                <a:lnTo>
                  <a:pt x="1153350" y="91920"/>
                </a:lnTo>
                <a:lnTo>
                  <a:pt x="1150889" y="94381"/>
                </a:lnTo>
                <a:lnTo>
                  <a:pt x="1147689" y="96104"/>
                </a:lnTo>
                <a:lnTo>
                  <a:pt x="1145965" y="98566"/>
                </a:lnTo>
                <a:lnTo>
                  <a:pt x="1143504" y="102750"/>
                </a:lnTo>
                <a:lnTo>
                  <a:pt x="1137597" y="119489"/>
                </a:lnTo>
                <a:lnTo>
                  <a:pt x="1133412" y="136966"/>
                </a:lnTo>
                <a:lnTo>
                  <a:pt x="1131688" y="157150"/>
                </a:lnTo>
                <a:lnTo>
                  <a:pt x="1128489" y="176350"/>
                </a:lnTo>
                <a:lnTo>
                  <a:pt x="1124305" y="193826"/>
                </a:lnTo>
                <a:lnTo>
                  <a:pt x="1121842" y="192104"/>
                </a:lnTo>
                <a:lnTo>
                  <a:pt x="1120119" y="192104"/>
                </a:lnTo>
                <a:lnTo>
                  <a:pt x="1120119" y="190380"/>
                </a:lnTo>
                <a:lnTo>
                  <a:pt x="1118396" y="190380"/>
                </a:lnTo>
                <a:lnTo>
                  <a:pt x="1114212" y="187919"/>
                </a:lnTo>
                <a:lnTo>
                  <a:pt x="1106828" y="182012"/>
                </a:lnTo>
                <a:lnTo>
                  <a:pt x="1095258" y="172903"/>
                </a:lnTo>
                <a:lnTo>
                  <a:pt x="1081966" y="165273"/>
                </a:lnTo>
                <a:lnTo>
                  <a:pt x="1069658" y="156904"/>
                </a:lnTo>
                <a:lnTo>
                  <a:pt x="1059813" y="149273"/>
                </a:lnTo>
                <a:lnTo>
                  <a:pt x="1050706" y="145088"/>
                </a:lnTo>
                <a:lnTo>
                  <a:pt x="1048243" y="143366"/>
                </a:lnTo>
                <a:lnTo>
                  <a:pt x="1045043" y="111612"/>
                </a:lnTo>
                <a:lnTo>
                  <a:pt x="1043320" y="108166"/>
                </a:lnTo>
                <a:lnTo>
                  <a:pt x="1039136" y="105705"/>
                </a:lnTo>
                <a:lnTo>
                  <a:pt x="1036674" y="103982"/>
                </a:lnTo>
                <a:lnTo>
                  <a:pt x="1031751" y="100535"/>
                </a:lnTo>
                <a:lnTo>
                  <a:pt x="1029290" y="98074"/>
                </a:lnTo>
                <a:lnTo>
                  <a:pt x="1031751" y="96351"/>
                </a:lnTo>
                <a:lnTo>
                  <a:pt x="1031751" y="94628"/>
                </a:lnTo>
                <a:lnTo>
                  <a:pt x="1033474" y="93889"/>
                </a:lnTo>
                <a:lnTo>
                  <a:pt x="1035197" y="90443"/>
                </a:lnTo>
                <a:lnTo>
                  <a:pt x="1036919" y="87982"/>
                </a:lnTo>
                <a:lnTo>
                  <a:pt x="1029536" y="87982"/>
                </a:lnTo>
                <a:lnTo>
                  <a:pt x="1025351" y="87982"/>
                </a:lnTo>
                <a:lnTo>
                  <a:pt x="1022152" y="87982"/>
                </a:lnTo>
                <a:lnTo>
                  <a:pt x="1020428" y="86258"/>
                </a:lnTo>
                <a:lnTo>
                  <a:pt x="1019689" y="83797"/>
                </a:lnTo>
                <a:lnTo>
                  <a:pt x="1016489" y="78873"/>
                </a:lnTo>
                <a:lnTo>
                  <a:pt x="1014766" y="76413"/>
                </a:lnTo>
                <a:lnTo>
                  <a:pt x="1014766" y="72966"/>
                </a:lnTo>
                <a:lnTo>
                  <a:pt x="1014766" y="72227"/>
                </a:lnTo>
                <a:lnTo>
                  <a:pt x="1014766" y="68782"/>
                </a:lnTo>
                <a:lnTo>
                  <a:pt x="1016489" y="66320"/>
                </a:lnTo>
                <a:lnTo>
                  <a:pt x="1016489" y="62874"/>
                </a:lnTo>
                <a:lnTo>
                  <a:pt x="1008119" y="62874"/>
                </a:lnTo>
                <a:lnTo>
                  <a:pt x="1008119" y="58690"/>
                </a:lnTo>
                <a:lnTo>
                  <a:pt x="1008859" y="54505"/>
                </a:lnTo>
                <a:lnTo>
                  <a:pt x="1010582" y="52782"/>
                </a:lnTo>
                <a:lnTo>
                  <a:pt x="1010582" y="49828"/>
                </a:lnTo>
                <a:lnTo>
                  <a:pt x="1012305" y="47366"/>
                </a:lnTo>
                <a:lnTo>
                  <a:pt x="1014028" y="43181"/>
                </a:lnTo>
                <a:lnTo>
                  <a:pt x="1009104" y="43181"/>
                </a:lnTo>
                <a:lnTo>
                  <a:pt x="1004182" y="43181"/>
                </a:lnTo>
                <a:lnTo>
                  <a:pt x="1001720" y="41458"/>
                </a:lnTo>
                <a:lnTo>
                  <a:pt x="996797" y="39735"/>
                </a:lnTo>
                <a:lnTo>
                  <a:pt x="996059" y="18075"/>
                </a:lnTo>
                <a:close/>
                <a:moveTo>
                  <a:pt x="864598" y="0"/>
                </a:moveTo>
                <a:lnTo>
                  <a:pt x="901871" y="0"/>
                </a:lnTo>
                <a:lnTo>
                  <a:pt x="899566" y="15368"/>
                </a:lnTo>
                <a:lnTo>
                  <a:pt x="895383" y="17090"/>
                </a:lnTo>
                <a:lnTo>
                  <a:pt x="890459" y="17090"/>
                </a:lnTo>
                <a:lnTo>
                  <a:pt x="886521" y="17829"/>
                </a:lnTo>
                <a:lnTo>
                  <a:pt x="880613" y="17829"/>
                </a:lnTo>
                <a:lnTo>
                  <a:pt x="874951" y="11183"/>
                </a:lnTo>
                <a:lnTo>
                  <a:pt x="867321" y="3552"/>
                </a:lnTo>
                <a:close/>
                <a:moveTo>
                  <a:pt x="769123" y="0"/>
                </a:moveTo>
                <a:lnTo>
                  <a:pt x="842019" y="0"/>
                </a:lnTo>
                <a:lnTo>
                  <a:pt x="845906" y="11921"/>
                </a:lnTo>
                <a:lnTo>
                  <a:pt x="851813" y="37275"/>
                </a:lnTo>
                <a:lnTo>
                  <a:pt x="861659" y="37275"/>
                </a:lnTo>
                <a:lnTo>
                  <a:pt x="867321" y="48845"/>
                </a:lnTo>
                <a:lnTo>
                  <a:pt x="872244" y="60660"/>
                </a:lnTo>
                <a:lnTo>
                  <a:pt x="873228" y="76660"/>
                </a:lnTo>
                <a:lnTo>
                  <a:pt x="872244" y="78383"/>
                </a:lnTo>
                <a:lnTo>
                  <a:pt x="870767" y="79859"/>
                </a:lnTo>
                <a:lnTo>
                  <a:pt x="870767" y="81582"/>
                </a:lnTo>
                <a:lnTo>
                  <a:pt x="869044" y="82567"/>
                </a:lnTo>
                <a:lnTo>
                  <a:pt x="867321" y="84290"/>
                </a:lnTo>
                <a:lnTo>
                  <a:pt x="864858" y="85767"/>
                </a:lnTo>
                <a:lnTo>
                  <a:pt x="859198" y="82567"/>
                </a:lnTo>
                <a:lnTo>
                  <a:pt x="851813" y="78383"/>
                </a:lnTo>
                <a:lnTo>
                  <a:pt x="844182" y="74198"/>
                </a:lnTo>
                <a:lnTo>
                  <a:pt x="838521" y="70752"/>
                </a:lnTo>
                <a:lnTo>
                  <a:pt x="836060" y="70013"/>
                </a:lnTo>
                <a:lnTo>
                  <a:pt x="833598" y="70013"/>
                </a:lnTo>
                <a:lnTo>
                  <a:pt x="841721" y="81582"/>
                </a:lnTo>
                <a:lnTo>
                  <a:pt x="849352" y="91675"/>
                </a:lnTo>
                <a:lnTo>
                  <a:pt x="855013" y="104229"/>
                </a:lnTo>
                <a:lnTo>
                  <a:pt x="851813" y="104229"/>
                </a:lnTo>
                <a:lnTo>
                  <a:pt x="841721" y="100044"/>
                </a:lnTo>
                <a:lnTo>
                  <a:pt x="828674" y="97582"/>
                </a:lnTo>
                <a:lnTo>
                  <a:pt x="814644" y="94136"/>
                </a:lnTo>
                <a:lnTo>
                  <a:pt x="804551" y="88475"/>
                </a:lnTo>
                <a:lnTo>
                  <a:pt x="795689" y="79859"/>
                </a:lnTo>
                <a:lnTo>
                  <a:pt x="789782" y="66567"/>
                </a:lnTo>
                <a:lnTo>
                  <a:pt x="784121" y="54752"/>
                </a:lnTo>
                <a:lnTo>
                  <a:pt x="775751" y="43183"/>
                </a:lnTo>
                <a:lnTo>
                  <a:pt x="766644" y="34568"/>
                </a:lnTo>
                <a:lnTo>
                  <a:pt x="754336" y="41460"/>
                </a:lnTo>
                <a:lnTo>
                  <a:pt x="739321" y="46383"/>
                </a:lnTo>
                <a:lnTo>
                  <a:pt x="722090" y="47368"/>
                </a:lnTo>
                <a:lnTo>
                  <a:pt x="720368" y="43183"/>
                </a:lnTo>
                <a:lnTo>
                  <a:pt x="719628" y="38998"/>
                </a:lnTo>
                <a:lnTo>
                  <a:pt x="719628" y="34568"/>
                </a:lnTo>
                <a:lnTo>
                  <a:pt x="719628" y="28906"/>
                </a:lnTo>
                <a:lnTo>
                  <a:pt x="731937" y="23737"/>
                </a:lnTo>
                <a:lnTo>
                  <a:pt x="748428" y="19552"/>
                </a:lnTo>
                <a:lnTo>
                  <a:pt x="762460" y="15368"/>
                </a:lnTo>
                <a:lnTo>
                  <a:pt x="766644" y="6998"/>
                </a:lnTo>
                <a:close/>
                <a:moveTo>
                  <a:pt x="0" y="0"/>
                </a:moveTo>
                <a:lnTo>
                  <a:pt x="611304" y="0"/>
                </a:lnTo>
                <a:lnTo>
                  <a:pt x="611815" y="1336"/>
                </a:lnTo>
                <a:lnTo>
                  <a:pt x="610093" y="10444"/>
                </a:lnTo>
                <a:lnTo>
                  <a:pt x="608368" y="24721"/>
                </a:lnTo>
                <a:lnTo>
                  <a:pt x="600984" y="24721"/>
                </a:lnTo>
                <a:lnTo>
                  <a:pt x="591138" y="18813"/>
                </a:lnTo>
                <a:lnTo>
                  <a:pt x="577108" y="15367"/>
                </a:lnTo>
                <a:lnTo>
                  <a:pt x="577108" y="18567"/>
                </a:lnTo>
                <a:lnTo>
                  <a:pt x="579569" y="18567"/>
                </a:lnTo>
                <a:lnTo>
                  <a:pt x="582769" y="21028"/>
                </a:lnTo>
                <a:lnTo>
                  <a:pt x="584492" y="22751"/>
                </a:lnTo>
                <a:lnTo>
                  <a:pt x="585230" y="24474"/>
                </a:lnTo>
                <a:lnTo>
                  <a:pt x="586954" y="26197"/>
                </a:lnTo>
                <a:lnTo>
                  <a:pt x="588677" y="30382"/>
                </a:lnTo>
                <a:lnTo>
                  <a:pt x="588677" y="34567"/>
                </a:lnTo>
                <a:lnTo>
                  <a:pt x="586954" y="38012"/>
                </a:lnTo>
                <a:lnTo>
                  <a:pt x="584492" y="40474"/>
                </a:lnTo>
                <a:lnTo>
                  <a:pt x="582769" y="43921"/>
                </a:lnTo>
                <a:lnTo>
                  <a:pt x="575384" y="49828"/>
                </a:lnTo>
                <a:lnTo>
                  <a:pt x="569722" y="55735"/>
                </a:lnTo>
                <a:lnTo>
                  <a:pt x="567262" y="62381"/>
                </a:lnTo>
                <a:lnTo>
                  <a:pt x="564061" y="73213"/>
                </a:lnTo>
                <a:lnTo>
                  <a:pt x="558400" y="73213"/>
                </a:lnTo>
                <a:lnTo>
                  <a:pt x="554215" y="71489"/>
                </a:lnTo>
                <a:lnTo>
                  <a:pt x="550031" y="69766"/>
                </a:lnTo>
                <a:lnTo>
                  <a:pt x="546830" y="68043"/>
                </a:lnTo>
                <a:lnTo>
                  <a:pt x="541169" y="67305"/>
                </a:lnTo>
                <a:lnTo>
                  <a:pt x="541169" y="69766"/>
                </a:lnTo>
                <a:lnTo>
                  <a:pt x="548554" y="69766"/>
                </a:lnTo>
                <a:lnTo>
                  <a:pt x="550277" y="73213"/>
                </a:lnTo>
                <a:lnTo>
                  <a:pt x="551015" y="75673"/>
                </a:lnTo>
                <a:lnTo>
                  <a:pt x="552739" y="77397"/>
                </a:lnTo>
                <a:lnTo>
                  <a:pt x="552739" y="79858"/>
                </a:lnTo>
                <a:lnTo>
                  <a:pt x="554461" y="84782"/>
                </a:lnTo>
                <a:lnTo>
                  <a:pt x="554461" y="88966"/>
                </a:lnTo>
                <a:lnTo>
                  <a:pt x="541169" y="93151"/>
                </a:lnTo>
                <a:lnTo>
                  <a:pt x="529601" y="100535"/>
                </a:lnTo>
                <a:lnTo>
                  <a:pt x="522216" y="108904"/>
                </a:lnTo>
                <a:lnTo>
                  <a:pt x="517292" y="122196"/>
                </a:lnTo>
                <a:lnTo>
                  <a:pt x="517292" y="141397"/>
                </a:lnTo>
                <a:lnTo>
                  <a:pt x="522216" y="152966"/>
                </a:lnTo>
                <a:lnTo>
                  <a:pt x="525416" y="168719"/>
                </a:lnTo>
                <a:lnTo>
                  <a:pt x="525416" y="184473"/>
                </a:lnTo>
                <a:lnTo>
                  <a:pt x="541169" y="184473"/>
                </a:lnTo>
                <a:lnTo>
                  <a:pt x="541169" y="191857"/>
                </a:lnTo>
                <a:lnTo>
                  <a:pt x="544369" y="194320"/>
                </a:lnTo>
                <a:lnTo>
                  <a:pt x="544369" y="197765"/>
                </a:lnTo>
                <a:lnTo>
                  <a:pt x="544369" y="200227"/>
                </a:lnTo>
                <a:lnTo>
                  <a:pt x="544369" y="201950"/>
                </a:lnTo>
                <a:lnTo>
                  <a:pt x="544369" y="203673"/>
                </a:lnTo>
                <a:lnTo>
                  <a:pt x="544369" y="204411"/>
                </a:lnTo>
                <a:lnTo>
                  <a:pt x="545108" y="206134"/>
                </a:lnTo>
                <a:lnTo>
                  <a:pt x="550031" y="206134"/>
                </a:lnTo>
                <a:lnTo>
                  <a:pt x="554215" y="207857"/>
                </a:lnTo>
                <a:lnTo>
                  <a:pt x="564061" y="206134"/>
                </a:lnTo>
                <a:lnTo>
                  <a:pt x="573908" y="210319"/>
                </a:lnTo>
                <a:lnTo>
                  <a:pt x="584739" y="217703"/>
                </a:lnTo>
                <a:lnTo>
                  <a:pt x="594584" y="227795"/>
                </a:lnTo>
                <a:lnTo>
                  <a:pt x="602954" y="236903"/>
                </a:lnTo>
                <a:lnTo>
                  <a:pt x="613292" y="242072"/>
                </a:lnTo>
                <a:lnTo>
                  <a:pt x="617476" y="243795"/>
                </a:lnTo>
                <a:lnTo>
                  <a:pt x="619938" y="244534"/>
                </a:lnTo>
                <a:lnTo>
                  <a:pt x="623138" y="243795"/>
                </a:lnTo>
                <a:lnTo>
                  <a:pt x="625600" y="243795"/>
                </a:lnTo>
                <a:lnTo>
                  <a:pt x="627323" y="242072"/>
                </a:lnTo>
                <a:lnTo>
                  <a:pt x="630523" y="240349"/>
                </a:lnTo>
                <a:lnTo>
                  <a:pt x="631261" y="238626"/>
                </a:lnTo>
                <a:lnTo>
                  <a:pt x="634462" y="238626"/>
                </a:lnTo>
                <a:lnTo>
                  <a:pt x="657600" y="244534"/>
                </a:lnTo>
                <a:lnTo>
                  <a:pt x="660060" y="260288"/>
                </a:lnTo>
                <a:lnTo>
                  <a:pt x="663261" y="271857"/>
                </a:lnTo>
                <a:lnTo>
                  <a:pt x="664984" y="280965"/>
                </a:lnTo>
                <a:lnTo>
                  <a:pt x="665722" y="289334"/>
                </a:lnTo>
                <a:lnTo>
                  <a:pt x="668922" y="298441"/>
                </a:lnTo>
                <a:lnTo>
                  <a:pt x="676307" y="308534"/>
                </a:lnTo>
                <a:lnTo>
                  <a:pt x="684676" y="321827"/>
                </a:lnTo>
                <a:lnTo>
                  <a:pt x="687138" y="320103"/>
                </a:lnTo>
                <a:lnTo>
                  <a:pt x="688860" y="320103"/>
                </a:lnTo>
                <a:lnTo>
                  <a:pt x="690584" y="318380"/>
                </a:lnTo>
                <a:lnTo>
                  <a:pt x="692306" y="318380"/>
                </a:lnTo>
                <a:lnTo>
                  <a:pt x="694769" y="317642"/>
                </a:lnTo>
                <a:lnTo>
                  <a:pt x="696491" y="317642"/>
                </a:lnTo>
                <a:lnTo>
                  <a:pt x="696491" y="315918"/>
                </a:lnTo>
                <a:lnTo>
                  <a:pt x="696491" y="314196"/>
                </a:lnTo>
                <a:lnTo>
                  <a:pt x="698215" y="311734"/>
                </a:lnTo>
                <a:lnTo>
                  <a:pt x="698215" y="302626"/>
                </a:lnTo>
                <a:lnTo>
                  <a:pt x="696491" y="291057"/>
                </a:lnTo>
                <a:lnTo>
                  <a:pt x="693291" y="276780"/>
                </a:lnTo>
                <a:lnTo>
                  <a:pt x="689107" y="263488"/>
                </a:lnTo>
                <a:lnTo>
                  <a:pt x="700676" y="257580"/>
                </a:lnTo>
                <a:lnTo>
                  <a:pt x="712246" y="249211"/>
                </a:lnTo>
                <a:lnTo>
                  <a:pt x="719629" y="237641"/>
                </a:lnTo>
                <a:lnTo>
                  <a:pt x="723814" y="222627"/>
                </a:lnTo>
                <a:lnTo>
                  <a:pt x="725538" y="214258"/>
                </a:lnTo>
                <a:lnTo>
                  <a:pt x="723814" y="200966"/>
                </a:lnTo>
                <a:lnTo>
                  <a:pt x="723814" y="187674"/>
                </a:lnTo>
                <a:lnTo>
                  <a:pt x="718153" y="185211"/>
                </a:lnTo>
                <a:lnTo>
                  <a:pt x="715692" y="183488"/>
                </a:lnTo>
                <a:lnTo>
                  <a:pt x="712491" y="181765"/>
                </a:lnTo>
                <a:lnTo>
                  <a:pt x="710030" y="179304"/>
                </a:lnTo>
                <a:lnTo>
                  <a:pt x="708307" y="174381"/>
                </a:lnTo>
                <a:lnTo>
                  <a:pt x="713968" y="164288"/>
                </a:lnTo>
                <a:lnTo>
                  <a:pt x="716429" y="152719"/>
                </a:lnTo>
                <a:lnTo>
                  <a:pt x="713968" y="140166"/>
                </a:lnTo>
                <a:lnTo>
                  <a:pt x="710768" y="126874"/>
                </a:lnTo>
                <a:lnTo>
                  <a:pt x="706583" y="111858"/>
                </a:lnTo>
                <a:lnTo>
                  <a:pt x="704861" y="97581"/>
                </a:lnTo>
                <a:lnTo>
                  <a:pt x="708061" y="97581"/>
                </a:lnTo>
                <a:lnTo>
                  <a:pt x="708061" y="94135"/>
                </a:lnTo>
                <a:lnTo>
                  <a:pt x="727999" y="97581"/>
                </a:lnTo>
                <a:lnTo>
                  <a:pt x="745229" y="97581"/>
                </a:lnTo>
                <a:lnTo>
                  <a:pt x="764184" y="94135"/>
                </a:lnTo>
                <a:lnTo>
                  <a:pt x="768368" y="101520"/>
                </a:lnTo>
                <a:lnTo>
                  <a:pt x="772552" y="111612"/>
                </a:lnTo>
                <a:lnTo>
                  <a:pt x="777476" y="118996"/>
                </a:lnTo>
                <a:lnTo>
                  <a:pt x="781660" y="122443"/>
                </a:lnTo>
                <a:lnTo>
                  <a:pt x="784122" y="123181"/>
                </a:lnTo>
                <a:lnTo>
                  <a:pt x="789044" y="123181"/>
                </a:lnTo>
                <a:lnTo>
                  <a:pt x="793229" y="124904"/>
                </a:lnTo>
                <a:lnTo>
                  <a:pt x="797415" y="126627"/>
                </a:lnTo>
                <a:lnTo>
                  <a:pt x="800615" y="129089"/>
                </a:lnTo>
                <a:lnTo>
                  <a:pt x="801352" y="136473"/>
                </a:lnTo>
                <a:lnTo>
                  <a:pt x="804552" y="149765"/>
                </a:lnTo>
                <a:lnTo>
                  <a:pt x="806276" y="161335"/>
                </a:lnTo>
                <a:lnTo>
                  <a:pt x="808736" y="169704"/>
                </a:lnTo>
                <a:lnTo>
                  <a:pt x="810460" y="171426"/>
                </a:lnTo>
                <a:lnTo>
                  <a:pt x="812922" y="173888"/>
                </a:lnTo>
                <a:lnTo>
                  <a:pt x="816122" y="175612"/>
                </a:lnTo>
                <a:lnTo>
                  <a:pt x="818583" y="179057"/>
                </a:lnTo>
                <a:lnTo>
                  <a:pt x="823506" y="179797"/>
                </a:lnTo>
                <a:lnTo>
                  <a:pt x="824244" y="183243"/>
                </a:lnTo>
                <a:lnTo>
                  <a:pt x="835814" y="174134"/>
                </a:lnTo>
                <a:lnTo>
                  <a:pt x="844922" y="163305"/>
                </a:lnTo>
                <a:lnTo>
                  <a:pt x="851568" y="151735"/>
                </a:lnTo>
                <a:lnTo>
                  <a:pt x="863137" y="142627"/>
                </a:lnTo>
                <a:lnTo>
                  <a:pt x="864860" y="152719"/>
                </a:lnTo>
                <a:lnTo>
                  <a:pt x="869044" y="158627"/>
                </a:lnTo>
                <a:lnTo>
                  <a:pt x="874705" y="164535"/>
                </a:lnTo>
                <a:lnTo>
                  <a:pt x="880367" y="170442"/>
                </a:lnTo>
                <a:lnTo>
                  <a:pt x="885290" y="177827"/>
                </a:lnTo>
                <a:lnTo>
                  <a:pt x="885290" y="180288"/>
                </a:lnTo>
                <a:lnTo>
                  <a:pt x="885290" y="183735"/>
                </a:lnTo>
                <a:lnTo>
                  <a:pt x="883567" y="185458"/>
                </a:lnTo>
                <a:lnTo>
                  <a:pt x="883567" y="187918"/>
                </a:lnTo>
                <a:lnTo>
                  <a:pt x="881845" y="191365"/>
                </a:lnTo>
                <a:lnTo>
                  <a:pt x="883567" y="193827"/>
                </a:lnTo>
                <a:lnTo>
                  <a:pt x="885290" y="197273"/>
                </a:lnTo>
                <a:lnTo>
                  <a:pt x="886028" y="198012"/>
                </a:lnTo>
                <a:lnTo>
                  <a:pt x="889228" y="198012"/>
                </a:lnTo>
                <a:lnTo>
                  <a:pt x="891689" y="198012"/>
                </a:lnTo>
                <a:lnTo>
                  <a:pt x="893414" y="198012"/>
                </a:lnTo>
                <a:lnTo>
                  <a:pt x="896613" y="198012"/>
                </a:lnTo>
                <a:lnTo>
                  <a:pt x="897352" y="199735"/>
                </a:lnTo>
                <a:lnTo>
                  <a:pt x="902275" y="211304"/>
                </a:lnTo>
                <a:lnTo>
                  <a:pt x="902275" y="220411"/>
                </a:lnTo>
                <a:lnTo>
                  <a:pt x="900552" y="228780"/>
                </a:lnTo>
                <a:lnTo>
                  <a:pt x="903013" y="236166"/>
                </a:lnTo>
                <a:lnTo>
                  <a:pt x="913844" y="244534"/>
                </a:lnTo>
                <a:lnTo>
                  <a:pt x="904736" y="262011"/>
                </a:lnTo>
                <a:lnTo>
                  <a:pt x="894890" y="277026"/>
                </a:lnTo>
                <a:lnTo>
                  <a:pt x="897352" y="277026"/>
                </a:lnTo>
                <a:lnTo>
                  <a:pt x="906459" y="267919"/>
                </a:lnTo>
                <a:lnTo>
                  <a:pt x="914828" y="260535"/>
                </a:lnTo>
                <a:lnTo>
                  <a:pt x="922213" y="252165"/>
                </a:lnTo>
                <a:lnTo>
                  <a:pt x="932059" y="254626"/>
                </a:lnTo>
                <a:lnTo>
                  <a:pt x="937720" y="260535"/>
                </a:lnTo>
                <a:lnTo>
                  <a:pt x="943382" y="267919"/>
                </a:lnTo>
                <a:lnTo>
                  <a:pt x="945105" y="279487"/>
                </a:lnTo>
                <a:lnTo>
                  <a:pt x="960120" y="279487"/>
                </a:lnTo>
                <a:lnTo>
                  <a:pt x="960120" y="283672"/>
                </a:lnTo>
                <a:lnTo>
                  <a:pt x="960859" y="287118"/>
                </a:lnTo>
                <a:lnTo>
                  <a:pt x="960859" y="291304"/>
                </a:lnTo>
                <a:lnTo>
                  <a:pt x="962582" y="295488"/>
                </a:lnTo>
                <a:lnTo>
                  <a:pt x="960859" y="300410"/>
                </a:lnTo>
                <a:lnTo>
                  <a:pt x="960859" y="302872"/>
                </a:lnTo>
                <a:lnTo>
                  <a:pt x="960859" y="306319"/>
                </a:lnTo>
                <a:lnTo>
                  <a:pt x="962582" y="307057"/>
                </a:lnTo>
                <a:lnTo>
                  <a:pt x="962582" y="310503"/>
                </a:lnTo>
                <a:lnTo>
                  <a:pt x="962582" y="312226"/>
                </a:lnTo>
                <a:lnTo>
                  <a:pt x="962582" y="314687"/>
                </a:lnTo>
                <a:lnTo>
                  <a:pt x="946828" y="326257"/>
                </a:lnTo>
                <a:lnTo>
                  <a:pt x="929598" y="333641"/>
                </a:lnTo>
                <a:lnTo>
                  <a:pt x="909659" y="337826"/>
                </a:lnTo>
                <a:lnTo>
                  <a:pt x="888983" y="340287"/>
                </a:lnTo>
                <a:lnTo>
                  <a:pt x="869044" y="343733"/>
                </a:lnTo>
                <a:lnTo>
                  <a:pt x="848367" y="346196"/>
                </a:lnTo>
                <a:lnTo>
                  <a:pt x="831137" y="352103"/>
                </a:lnTo>
                <a:lnTo>
                  <a:pt x="815382" y="359488"/>
                </a:lnTo>
                <a:lnTo>
                  <a:pt x="803814" y="372780"/>
                </a:lnTo>
                <a:lnTo>
                  <a:pt x="807014" y="372780"/>
                </a:lnTo>
                <a:lnTo>
                  <a:pt x="821045" y="362688"/>
                </a:lnTo>
                <a:lnTo>
                  <a:pt x="838275" y="355302"/>
                </a:lnTo>
                <a:lnTo>
                  <a:pt x="857228" y="351118"/>
                </a:lnTo>
                <a:lnTo>
                  <a:pt x="857967" y="353580"/>
                </a:lnTo>
                <a:lnTo>
                  <a:pt x="859690" y="357026"/>
                </a:lnTo>
                <a:lnTo>
                  <a:pt x="861414" y="357764"/>
                </a:lnTo>
                <a:lnTo>
                  <a:pt x="863874" y="359488"/>
                </a:lnTo>
                <a:lnTo>
                  <a:pt x="867075" y="361210"/>
                </a:lnTo>
                <a:lnTo>
                  <a:pt x="869536" y="363673"/>
                </a:lnTo>
                <a:lnTo>
                  <a:pt x="865352" y="371057"/>
                </a:lnTo>
                <a:lnTo>
                  <a:pt x="862890" y="376965"/>
                </a:lnTo>
                <a:lnTo>
                  <a:pt x="861168" y="382871"/>
                </a:lnTo>
                <a:lnTo>
                  <a:pt x="859444" y="391980"/>
                </a:lnTo>
                <a:lnTo>
                  <a:pt x="871014" y="397888"/>
                </a:lnTo>
                <a:lnTo>
                  <a:pt x="878397" y="406257"/>
                </a:lnTo>
                <a:lnTo>
                  <a:pt x="884060" y="414626"/>
                </a:lnTo>
                <a:lnTo>
                  <a:pt x="891443" y="423733"/>
                </a:lnTo>
                <a:lnTo>
                  <a:pt x="891443" y="426195"/>
                </a:lnTo>
                <a:lnTo>
                  <a:pt x="891443" y="427918"/>
                </a:lnTo>
                <a:lnTo>
                  <a:pt x="889721" y="427918"/>
                </a:lnTo>
                <a:lnTo>
                  <a:pt x="889721" y="429641"/>
                </a:lnTo>
                <a:lnTo>
                  <a:pt x="887998" y="431364"/>
                </a:lnTo>
                <a:lnTo>
                  <a:pt x="879629" y="441456"/>
                </a:lnTo>
                <a:lnTo>
                  <a:pt x="868059" y="449826"/>
                </a:lnTo>
                <a:lnTo>
                  <a:pt x="853290" y="455733"/>
                </a:lnTo>
                <a:lnTo>
                  <a:pt x="853290" y="443180"/>
                </a:lnTo>
                <a:lnTo>
                  <a:pt x="860674" y="438257"/>
                </a:lnTo>
                <a:lnTo>
                  <a:pt x="866336" y="434072"/>
                </a:lnTo>
                <a:lnTo>
                  <a:pt x="871999" y="426687"/>
                </a:lnTo>
                <a:lnTo>
                  <a:pt x="866336" y="424226"/>
                </a:lnTo>
                <a:lnTo>
                  <a:pt x="866336" y="420780"/>
                </a:lnTo>
                <a:lnTo>
                  <a:pt x="864613" y="420780"/>
                </a:lnTo>
                <a:lnTo>
                  <a:pt x="862890" y="420780"/>
                </a:lnTo>
                <a:lnTo>
                  <a:pt x="862890" y="422502"/>
                </a:lnTo>
                <a:lnTo>
                  <a:pt x="862890" y="424226"/>
                </a:lnTo>
                <a:lnTo>
                  <a:pt x="853044" y="431611"/>
                </a:lnTo>
                <a:lnTo>
                  <a:pt x="839751" y="437518"/>
                </a:lnTo>
                <a:lnTo>
                  <a:pt x="828921" y="441703"/>
                </a:lnTo>
                <a:lnTo>
                  <a:pt x="817352" y="447611"/>
                </a:lnTo>
                <a:lnTo>
                  <a:pt x="806521" y="454995"/>
                </a:lnTo>
                <a:lnTo>
                  <a:pt x="799875" y="465087"/>
                </a:lnTo>
                <a:lnTo>
                  <a:pt x="794952" y="479364"/>
                </a:lnTo>
                <a:lnTo>
                  <a:pt x="799875" y="481087"/>
                </a:lnTo>
                <a:lnTo>
                  <a:pt x="805536" y="482810"/>
                </a:lnTo>
                <a:lnTo>
                  <a:pt x="807998" y="485271"/>
                </a:lnTo>
                <a:lnTo>
                  <a:pt x="802337" y="485271"/>
                </a:lnTo>
                <a:lnTo>
                  <a:pt x="793968" y="492657"/>
                </a:lnTo>
                <a:lnTo>
                  <a:pt x="782398" y="495118"/>
                </a:lnTo>
                <a:lnTo>
                  <a:pt x="771568" y="496841"/>
                </a:lnTo>
                <a:lnTo>
                  <a:pt x="759999" y="498564"/>
                </a:lnTo>
                <a:lnTo>
                  <a:pt x="751629" y="521948"/>
                </a:lnTo>
                <a:lnTo>
                  <a:pt x="741783" y="546810"/>
                </a:lnTo>
                <a:lnTo>
                  <a:pt x="738583" y="543364"/>
                </a:lnTo>
                <a:lnTo>
                  <a:pt x="737845" y="541641"/>
                </a:lnTo>
                <a:lnTo>
                  <a:pt x="734645" y="540903"/>
                </a:lnTo>
                <a:lnTo>
                  <a:pt x="732922" y="539179"/>
                </a:lnTo>
                <a:lnTo>
                  <a:pt x="728737" y="535733"/>
                </a:lnTo>
                <a:lnTo>
                  <a:pt x="728737" y="543118"/>
                </a:lnTo>
                <a:lnTo>
                  <a:pt x="730459" y="546564"/>
                </a:lnTo>
                <a:lnTo>
                  <a:pt x="732922" y="554933"/>
                </a:lnTo>
                <a:lnTo>
                  <a:pt x="736122" y="565025"/>
                </a:lnTo>
                <a:lnTo>
                  <a:pt x="738583" y="574134"/>
                </a:lnTo>
                <a:lnTo>
                  <a:pt x="738583" y="578315"/>
                </a:lnTo>
                <a:lnTo>
                  <a:pt x="727014" y="585699"/>
                </a:lnTo>
                <a:lnTo>
                  <a:pt x="714707" y="592346"/>
                </a:lnTo>
                <a:lnTo>
                  <a:pt x="701415" y="601453"/>
                </a:lnTo>
                <a:lnTo>
                  <a:pt x="688123" y="609823"/>
                </a:lnTo>
                <a:lnTo>
                  <a:pt x="679753" y="621391"/>
                </a:lnTo>
                <a:lnTo>
                  <a:pt x="675568" y="636407"/>
                </a:lnTo>
                <a:lnTo>
                  <a:pt x="670645" y="647976"/>
                </a:lnTo>
                <a:lnTo>
                  <a:pt x="672368" y="662253"/>
                </a:lnTo>
                <a:lnTo>
                  <a:pt x="676553" y="678007"/>
                </a:lnTo>
                <a:lnTo>
                  <a:pt x="682214" y="694744"/>
                </a:lnTo>
                <a:lnTo>
                  <a:pt x="687876" y="710499"/>
                </a:lnTo>
                <a:lnTo>
                  <a:pt x="691076" y="724776"/>
                </a:lnTo>
                <a:lnTo>
                  <a:pt x="687876" y="724776"/>
                </a:lnTo>
                <a:lnTo>
                  <a:pt x="687876" y="728222"/>
                </a:lnTo>
                <a:lnTo>
                  <a:pt x="678030" y="724776"/>
                </a:lnTo>
                <a:lnTo>
                  <a:pt x="673845" y="712222"/>
                </a:lnTo>
                <a:lnTo>
                  <a:pt x="666461" y="695484"/>
                </a:lnTo>
                <a:lnTo>
                  <a:pt x="658091" y="678007"/>
                </a:lnTo>
                <a:lnTo>
                  <a:pt x="648983" y="665453"/>
                </a:lnTo>
                <a:lnTo>
                  <a:pt x="640615" y="658069"/>
                </a:lnTo>
                <a:lnTo>
                  <a:pt x="629784" y="656345"/>
                </a:lnTo>
                <a:lnTo>
                  <a:pt x="617476" y="650438"/>
                </a:lnTo>
                <a:lnTo>
                  <a:pt x="602707" y="644530"/>
                </a:lnTo>
                <a:lnTo>
                  <a:pt x="585477" y="642068"/>
                </a:lnTo>
                <a:lnTo>
                  <a:pt x="585477" y="644530"/>
                </a:lnTo>
                <a:lnTo>
                  <a:pt x="583014" y="644530"/>
                </a:lnTo>
                <a:lnTo>
                  <a:pt x="584739" y="649453"/>
                </a:lnTo>
                <a:lnTo>
                  <a:pt x="587199" y="653638"/>
                </a:lnTo>
                <a:lnTo>
                  <a:pt x="588923" y="656099"/>
                </a:lnTo>
                <a:lnTo>
                  <a:pt x="590645" y="659545"/>
                </a:lnTo>
                <a:lnTo>
                  <a:pt x="593107" y="663730"/>
                </a:lnTo>
                <a:lnTo>
                  <a:pt x="579815" y="663730"/>
                </a:lnTo>
                <a:lnTo>
                  <a:pt x="569969" y="659545"/>
                </a:lnTo>
                <a:lnTo>
                  <a:pt x="556677" y="656099"/>
                </a:lnTo>
                <a:lnTo>
                  <a:pt x="544369" y="656099"/>
                </a:lnTo>
                <a:lnTo>
                  <a:pt x="531077" y="657822"/>
                </a:lnTo>
                <a:lnTo>
                  <a:pt x="521970" y="660284"/>
                </a:lnTo>
                <a:lnTo>
                  <a:pt x="512124" y="665207"/>
                </a:lnTo>
                <a:lnTo>
                  <a:pt x="503754" y="671115"/>
                </a:lnTo>
                <a:lnTo>
                  <a:pt x="498092" y="679484"/>
                </a:lnTo>
                <a:lnTo>
                  <a:pt x="494892" y="686869"/>
                </a:lnTo>
                <a:lnTo>
                  <a:pt x="496616" y="692776"/>
                </a:lnTo>
                <a:lnTo>
                  <a:pt x="496616" y="700161"/>
                </a:lnTo>
                <a:lnTo>
                  <a:pt x="494154" y="708529"/>
                </a:lnTo>
                <a:lnTo>
                  <a:pt x="488492" y="727730"/>
                </a:lnTo>
                <a:lnTo>
                  <a:pt x="488492" y="742007"/>
                </a:lnTo>
                <a:lnTo>
                  <a:pt x="489231" y="757022"/>
                </a:lnTo>
                <a:lnTo>
                  <a:pt x="494892" y="771298"/>
                </a:lnTo>
                <a:lnTo>
                  <a:pt x="504000" y="788775"/>
                </a:lnTo>
                <a:lnTo>
                  <a:pt x="513846" y="790499"/>
                </a:lnTo>
                <a:lnTo>
                  <a:pt x="519508" y="792221"/>
                </a:lnTo>
                <a:lnTo>
                  <a:pt x="521970" y="794683"/>
                </a:lnTo>
                <a:lnTo>
                  <a:pt x="525170" y="796405"/>
                </a:lnTo>
                <a:lnTo>
                  <a:pt x="529354" y="798129"/>
                </a:lnTo>
                <a:lnTo>
                  <a:pt x="536738" y="794683"/>
                </a:lnTo>
                <a:lnTo>
                  <a:pt x="548308" y="788775"/>
                </a:lnTo>
                <a:lnTo>
                  <a:pt x="550770" y="787052"/>
                </a:lnTo>
                <a:lnTo>
                  <a:pt x="552492" y="787052"/>
                </a:lnTo>
                <a:lnTo>
                  <a:pt x="555692" y="787052"/>
                </a:lnTo>
                <a:lnTo>
                  <a:pt x="556430" y="787052"/>
                </a:lnTo>
                <a:lnTo>
                  <a:pt x="558153" y="787052"/>
                </a:lnTo>
                <a:lnTo>
                  <a:pt x="558153" y="786313"/>
                </a:lnTo>
                <a:lnTo>
                  <a:pt x="561354" y="782867"/>
                </a:lnTo>
                <a:lnTo>
                  <a:pt x="562092" y="778682"/>
                </a:lnTo>
                <a:lnTo>
                  <a:pt x="563816" y="774499"/>
                </a:lnTo>
                <a:lnTo>
                  <a:pt x="565538" y="769576"/>
                </a:lnTo>
                <a:lnTo>
                  <a:pt x="567262" y="767114"/>
                </a:lnTo>
                <a:lnTo>
                  <a:pt x="573908" y="759729"/>
                </a:lnTo>
                <a:lnTo>
                  <a:pt x="583014" y="755544"/>
                </a:lnTo>
                <a:lnTo>
                  <a:pt x="596308" y="753821"/>
                </a:lnTo>
                <a:lnTo>
                  <a:pt x="597046" y="757268"/>
                </a:lnTo>
                <a:lnTo>
                  <a:pt x="598769" y="758006"/>
                </a:lnTo>
                <a:lnTo>
                  <a:pt x="598769" y="759729"/>
                </a:lnTo>
                <a:lnTo>
                  <a:pt x="600491" y="759729"/>
                </a:lnTo>
                <a:lnTo>
                  <a:pt x="600491" y="758006"/>
                </a:lnTo>
                <a:lnTo>
                  <a:pt x="601477" y="758006"/>
                </a:lnTo>
                <a:lnTo>
                  <a:pt x="604677" y="758006"/>
                </a:lnTo>
                <a:lnTo>
                  <a:pt x="608861" y="757268"/>
                </a:lnTo>
                <a:lnTo>
                  <a:pt x="608861" y="769821"/>
                </a:lnTo>
                <a:lnTo>
                  <a:pt x="603200" y="775729"/>
                </a:lnTo>
                <a:lnTo>
                  <a:pt x="599015" y="786559"/>
                </a:lnTo>
                <a:lnTo>
                  <a:pt x="594831" y="800836"/>
                </a:lnTo>
                <a:lnTo>
                  <a:pt x="590645" y="814128"/>
                </a:lnTo>
                <a:lnTo>
                  <a:pt x="585722" y="824221"/>
                </a:lnTo>
                <a:lnTo>
                  <a:pt x="600491" y="824221"/>
                </a:lnTo>
                <a:lnTo>
                  <a:pt x="612799" y="822498"/>
                </a:lnTo>
                <a:lnTo>
                  <a:pt x="624369" y="822498"/>
                </a:lnTo>
                <a:lnTo>
                  <a:pt x="635199" y="824221"/>
                </a:lnTo>
                <a:lnTo>
                  <a:pt x="641845" y="828405"/>
                </a:lnTo>
                <a:lnTo>
                  <a:pt x="647507" y="837514"/>
                </a:lnTo>
                <a:lnTo>
                  <a:pt x="649229" y="850066"/>
                </a:lnTo>
                <a:lnTo>
                  <a:pt x="646768" y="859174"/>
                </a:lnTo>
                <a:lnTo>
                  <a:pt x="643568" y="870744"/>
                </a:lnTo>
                <a:lnTo>
                  <a:pt x="643568" y="882313"/>
                </a:lnTo>
                <a:lnTo>
                  <a:pt x="650954" y="889697"/>
                </a:lnTo>
                <a:lnTo>
                  <a:pt x="655138" y="894620"/>
                </a:lnTo>
                <a:lnTo>
                  <a:pt x="660799" y="900529"/>
                </a:lnTo>
                <a:lnTo>
                  <a:pt x="669906" y="905451"/>
                </a:lnTo>
                <a:lnTo>
                  <a:pt x="680738" y="907913"/>
                </a:lnTo>
                <a:lnTo>
                  <a:pt x="686399" y="900529"/>
                </a:lnTo>
                <a:lnTo>
                  <a:pt x="693784" y="898066"/>
                </a:lnTo>
                <a:lnTo>
                  <a:pt x="707076" y="898066"/>
                </a:lnTo>
                <a:lnTo>
                  <a:pt x="708798" y="900529"/>
                </a:lnTo>
                <a:lnTo>
                  <a:pt x="711261" y="903975"/>
                </a:lnTo>
                <a:lnTo>
                  <a:pt x="712737" y="905697"/>
                </a:lnTo>
                <a:lnTo>
                  <a:pt x="714460" y="905697"/>
                </a:lnTo>
                <a:lnTo>
                  <a:pt x="718645" y="906436"/>
                </a:lnTo>
                <a:lnTo>
                  <a:pt x="724060" y="907667"/>
                </a:lnTo>
                <a:lnTo>
                  <a:pt x="729722" y="896098"/>
                </a:lnTo>
                <a:lnTo>
                  <a:pt x="737106" y="887728"/>
                </a:lnTo>
                <a:lnTo>
                  <a:pt x="745476" y="880343"/>
                </a:lnTo>
                <a:lnTo>
                  <a:pt x="756306" y="874436"/>
                </a:lnTo>
                <a:lnTo>
                  <a:pt x="772060" y="871975"/>
                </a:lnTo>
                <a:lnTo>
                  <a:pt x="774522" y="870251"/>
                </a:lnTo>
                <a:lnTo>
                  <a:pt x="776244" y="870251"/>
                </a:lnTo>
                <a:lnTo>
                  <a:pt x="778707" y="870251"/>
                </a:lnTo>
                <a:lnTo>
                  <a:pt x="780429" y="870251"/>
                </a:lnTo>
                <a:lnTo>
                  <a:pt x="783629" y="871975"/>
                </a:lnTo>
                <a:lnTo>
                  <a:pt x="787813" y="871975"/>
                </a:lnTo>
                <a:lnTo>
                  <a:pt x="786090" y="874436"/>
                </a:lnTo>
                <a:lnTo>
                  <a:pt x="786090" y="877882"/>
                </a:lnTo>
                <a:lnTo>
                  <a:pt x="784367" y="877882"/>
                </a:lnTo>
                <a:lnTo>
                  <a:pt x="784367" y="878621"/>
                </a:lnTo>
                <a:lnTo>
                  <a:pt x="786090" y="878621"/>
                </a:lnTo>
                <a:lnTo>
                  <a:pt x="787813" y="880343"/>
                </a:lnTo>
                <a:lnTo>
                  <a:pt x="790275" y="882066"/>
                </a:lnTo>
                <a:lnTo>
                  <a:pt x="790275" y="878621"/>
                </a:lnTo>
                <a:lnTo>
                  <a:pt x="793475" y="876160"/>
                </a:lnTo>
                <a:lnTo>
                  <a:pt x="795199" y="874436"/>
                </a:lnTo>
                <a:lnTo>
                  <a:pt x="795937" y="872714"/>
                </a:lnTo>
                <a:lnTo>
                  <a:pt x="797660" y="871975"/>
                </a:lnTo>
                <a:lnTo>
                  <a:pt x="800860" y="870251"/>
                </a:lnTo>
                <a:lnTo>
                  <a:pt x="803320" y="868529"/>
                </a:lnTo>
                <a:lnTo>
                  <a:pt x="816613" y="880097"/>
                </a:lnTo>
                <a:lnTo>
                  <a:pt x="833845" y="886006"/>
                </a:lnTo>
                <a:lnTo>
                  <a:pt x="851075" y="887728"/>
                </a:lnTo>
                <a:lnTo>
                  <a:pt x="871014" y="886006"/>
                </a:lnTo>
                <a:lnTo>
                  <a:pt x="891689" y="884281"/>
                </a:lnTo>
                <a:lnTo>
                  <a:pt x="891689" y="887728"/>
                </a:lnTo>
                <a:lnTo>
                  <a:pt x="891689" y="889452"/>
                </a:lnTo>
                <a:lnTo>
                  <a:pt x="889967" y="890190"/>
                </a:lnTo>
                <a:lnTo>
                  <a:pt x="889967" y="891912"/>
                </a:lnTo>
                <a:lnTo>
                  <a:pt x="888243" y="894374"/>
                </a:lnTo>
                <a:lnTo>
                  <a:pt x="898090" y="897820"/>
                </a:lnTo>
                <a:lnTo>
                  <a:pt x="903751" y="902005"/>
                </a:lnTo>
                <a:lnTo>
                  <a:pt x="909413" y="906190"/>
                </a:lnTo>
                <a:lnTo>
                  <a:pt x="919259" y="911113"/>
                </a:lnTo>
                <a:lnTo>
                  <a:pt x="919259" y="919481"/>
                </a:lnTo>
                <a:lnTo>
                  <a:pt x="930090" y="922928"/>
                </a:lnTo>
                <a:lnTo>
                  <a:pt x="936736" y="923667"/>
                </a:lnTo>
                <a:lnTo>
                  <a:pt x="942397" y="929574"/>
                </a:lnTo>
                <a:lnTo>
                  <a:pt x="945597" y="938682"/>
                </a:lnTo>
                <a:lnTo>
                  <a:pt x="962828" y="940404"/>
                </a:lnTo>
                <a:lnTo>
                  <a:pt x="976859" y="941143"/>
                </a:lnTo>
                <a:lnTo>
                  <a:pt x="995813" y="942867"/>
                </a:lnTo>
                <a:lnTo>
                  <a:pt x="1009104" y="960343"/>
                </a:lnTo>
                <a:lnTo>
                  <a:pt x="1024859" y="976097"/>
                </a:lnTo>
                <a:lnTo>
                  <a:pt x="1042089" y="989389"/>
                </a:lnTo>
                <a:lnTo>
                  <a:pt x="1062028" y="999481"/>
                </a:lnTo>
                <a:lnTo>
                  <a:pt x="1061290" y="1005389"/>
                </a:lnTo>
                <a:lnTo>
                  <a:pt x="1058089" y="1008835"/>
                </a:lnTo>
                <a:lnTo>
                  <a:pt x="1055627" y="1013020"/>
                </a:lnTo>
                <a:lnTo>
                  <a:pt x="1052427" y="1015481"/>
                </a:lnTo>
                <a:lnTo>
                  <a:pt x="1049966" y="1020404"/>
                </a:lnTo>
                <a:lnTo>
                  <a:pt x="1068182" y="1020404"/>
                </a:lnTo>
                <a:lnTo>
                  <a:pt x="1085412" y="1026312"/>
                </a:lnTo>
                <a:lnTo>
                  <a:pt x="1088612" y="1036404"/>
                </a:lnTo>
                <a:lnTo>
                  <a:pt x="1092798" y="1034681"/>
                </a:lnTo>
                <a:lnTo>
                  <a:pt x="1095258" y="1032958"/>
                </a:lnTo>
                <a:lnTo>
                  <a:pt x="1100181" y="1034681"/>
                </a:lnTo>
                <a:lnTo>
                  <a:pt x="1100919" y="1034681"/>
                </a:lnTo>
                <a:lnTo>
                  <a:pt x="1104120" y="1036404"/>
                </a:lnTo>
                <a:lnTo>
                  <a:pt x="1106582" y="1038127"/>
                </a:lnTo>
                <a:lnTo>
                  <a:pt x="1109782" y="1038865"/>
                </a:lnTo>
                <a:lnTo>
                  <a:pt x="1154335" y="1042312"/>
                </a:lnTo>
                <a:lnTo>
                  <a:pt x="1158519" y="1046496"/>
                </a:lnTo>
                <a:lnTo>
                  <a:pt x="1161719" y="1054866"/>
                </a:lnTo>
                <a:lnTo>
                  <a:pt x="1162457" y="1062250"/>
                </a:lnTo>
                <a:lnTo>
                  <a:pt x="1167381" y="1068158"/>
                </a:lnTo>
                <a:lnTo>
                  <a:pt x="1174027" y="1069881"/>
                </a:lnTo>
                <a:lnTo>
                  <a:pt x="1181411" y="1069881"/>
                </a:lnTo>
                <a:lnTo>
                  <a:pt x="1187072" y="1068158"/>
                </a:lnTo>
                <a:lnTo>
                  <a:pt x="1191257" y="1074065"/>
                </a:lnTo>
                <a:lnTo>
                  <a:pt x="1196181" y="1078250"/>
                </a:lnTo>
                <a:lnTo>
                  <a:pt x="1198642" y="1083174"/>
                </a:lnTo>
                <a:lnTo>
                  <a:pt x="1200612" y="1088835"/>
                </a:lnTo>
                <a:lnTo>
                  <a:pt x="1202334" y="1095481"/>
                </a:lnTo>
                <a:lnTo>
                  <a:pt x="1191503" y="1108773"/>
                </a:lnTo>
                <a:lnTo>
                  <a:pt x="1179934" y="1124527"/>
                </a:lnTo>
                <a:lnTo>
                  <a:pt x="1168366" y="1142003"/>
                </a:lnTo>
                <a:lnTo>
                  <a:pt x="1158519" y="1159481"/>
                </a:lnTo>
                <a:lnTo>
                  <a:pt x="1151874" y="1172772"/>
                </a:lnTo>
                <a:lnTo>
                  <a:pt x="1151874" y="1181142"/>
                </a:lnTo>
                <a:lnTo>
                  <a:pt x="1152611" y="1192710"/>
                </a:lnTo>
                <a:lnTo>
                  <a:pt x="1155811" y="1206003"/>
                </a:lnTo>
                <a:lnTo>
                  <a:pt x="1154089" y="1217572"/>
                </a:lnTo>
                <a:lnTo>
                  <a:pt x="1151627" y="1224957"/>
                </a:lnTo>
                <a:lnTo>
                  <a:pt x="1145965" y="1236526"/>
                </a:lnTo>
                <a:lnTo>
                  <a:pt x="1145610" y="1237129"/>
                </a:lnTo>
                <a:lnTo>
                  <a:pt x="795176" y="1237129"/>
                </a:lnTo>
                <a:lnTo>
                  <a:pt x="797415" y="1220772"/>
                </a:lnTo>
                <a:lnTo>
                  <a:pt x="768614" y="1209941"/>
                </a:lnTo>
                <a:lnTo>
                  <a:pt x="743752" y="1193203"/>
                </a:lnTo>
                <a:lnTo>
                  <a:pt x="723814" y="1171542"/>
                </a:lnTo>
                <a:lnTo>
                  <a:pt x="707322" y="1148157"/>
                </a:lnTo>
                <a:lnTo>
                  <a:pt x="701661" y="1134865"/>
                </a:lnTo>
                <a:lnTo>
                  <a:pt x="697476" y="1122311"/>
                </a:lnTo>
                <a:lnTo>
                  <a:pt x="693291" y="1107296"/>
                </a:lnTo>
                <a:lnTo>
                  <a:pt x="687630" y="1095727"/>
                </a:lnTo>
                <a:lnTo>
                  <a:pt x="678522" y="1087357"/>
                </a:lnTo>
                <a:lnTo>
                  <a:pt x="676061" y="1083911"/>
                </a:lnTo>
                <a:lnTo>
                  <a:pt x="671876" y="1083911"/>
                </a:lnTo>
                <a:lnTo>
                  <a:pt x="668677" y="1083174"/>
                </a:lnTo>
                <a:lnTo>
                  <a:pt x="666215" y="1079727"/>
                </a:lnTo>
                <a:lnTo>
                  <a:pt x="663014" y="1077265"/>
                </a:lnTo>
                <a:lnTo>
                  <a:pt x="666215" y="1071358"/>
                </a:lnTo>
                <a:lnTo>
                  <a:pt x="666215" y="1066434"/>
                </a:lnTo>
                <a:lnTo>
                  <a:pt x="666215" y="1060527"/>
                </a:lnTo>
                <a:lnTo>
                  <a:pt x="666215" y="1054620"/>
                </a:lnTo>
                <a:lnTo>
                  <a:pt x="673599" y="1050435"/>
                </a:lnTo>
                <a:lnTo>
                  <a:pt x="678522" y="1046250"/>
                </a:lnTo>
                <a:lnTo>
                  <a:pt x="685907" y="1042065"/>
                </a:lnTo>
                <a:lnTo>
                  <a:pt x="685907" y="1038619"/>
                </a:lnTo>
                <a:lnTo>
                  <a:pt x="678522" y="1038619"/>
                </a:lnTo>
                <a:lnTo>
                  <a:pt x="674337" y="1037881"/>
                </a:lnTo>
                <a:lnTo>
                  <a:pt x="670152" y="1037881"/>
                </a:lnTo>
                <a:lnTo>
                  <a:pt x="665969" y="1036158"/>
                </a:lnTo>
                <a:lnTo>
                  <a:pt x="671630" y="1022866"/>
                </a:lnTo>
                <a:lnTo>
                  <a:pt x="675815" y="1009574"/>
                </a:lnTo>
                <a:lnTo>
                  <a:pt x="681476" y="997020"/>
                </a:lnTo>
                <a:lnTo>
                  <a:pt x="691322" y="986189"/>
                </a:lnTo>
                <a:lnTo>
                  <a:pt x="702891" y="976097"/>
                </a:lnTo>
                <a:lnTo>
                  <a:pt x="712737" y="964528"/>
                </a:lnTo>
                <a:lnTo>
                  <a:pt x="711998" y="956159"/>
                </a:lnTo>
                <a:lnTo>
                  <a:pt x="711998" y="944590"/>
                </a:lnTo>
                <a:lnTo>
                  <a:pt x="710276" y="933020"/>
                </a:lnTo>
                <a:lnTo>
                  <a:pt x="706091" y="925636"/>
                </a:lnTo>
                <a:lnTo>
                  <a:pt x="700430" y="917266"/>
                </a:lnTo>
                <a:lnTo>
                  <a:pt x="694769" y="908159"/>
                </a:lnTo>
                <a:lnTo>
                  <a:pt x="689107" y="908159"/>
                </a:lnTo>
                <a:lnTo>
                  <a:pt x="687384" y="909882"/>
                </a:lnTo>
                <a:lnTo>
                  <a:pt x="685660" y="911605"/>
                </a:lnTo>
                <a:lnTo>
                  <a:pt x="683938" y="912343"/>
                </a:lnTo>
                <a:lnTo>
                  <a:pt x="681476" y="914066"/>
                </a:lnTo>
                <a:lnTo>
                  <a:pt x="683199" y="917513"/>
                </a:lnTo>
                <a:lnTo>
                  <a:pt x="683199" y="919974"/>
                </a:lnTo>
                <a:lnTo>
                  <a:pt x="683199" y="921697"/>
                </a:lnTo>
                <a:lnTo>
                  <a:pt x="681476" y="924159"/>
                </a:lnTo>
                <a:lnTo>
                  <a:pt x="679753" y="924159"/>
                </a:lnTo>
                <a:lnTo>
                  <a:pt x="678030" y="925882"/>
                </a:lnTo>
                <a:lnTo>
                  <a:pt x="677292" y="925882"/>
                </a:lnTo>
                <a:lnTo>
                  <a:pt x="675568" y="925882"/>
                </a:lnTo>
                <a:lnTo>
                  <a:pt x="673108" y="927605"/>
                </a:lnTo>
                <a:lnTo>
                  <a:pt x="665722" y="921697"/>
                </a:lnTo>
                <a:lnTo>
                  <a:pt x="652430" y="914313"/>
                </a:lnTo>
                <a:lnTo>
                  <a:pt x="639137" y="906929"/>
                </a:lnTo>
                <a:lnTo>
                  <a:pt x="626831" y="901020"/>
                </a:lnTo>
                <a:lnTo>
                  <a:pt x="617722" y="898558"/>
                </a:lnTo>
                <a:lnTo>
                  <a:pt x="610338" y="881082"/>
                </a:lnTo>
                <a:lnTo>
                  <a:pt x="603692" y="870989"/>
                </a:lnTo>
                <a:lnTo>
                  <a:pt x="596308" y="863605"/>
                </a:lnTo>
                <a:lnTo>
                  <a:pt x="588923" y="861144"/>
                </a:lnTo>
                <a:lnTo>
                  <a:pt x="577353" y="857698"/>
                </a:lnTo>
                <a:lnTo>
                  <a:pt x="565046" y="853513"/>
                </a:lnTo>
                <a:lnTo>
                  <a:pt x="548554" y="847606"/>
                </a:lnTo>
                <a:lnTo>
                  <a:pt x="538708" y="840221"/>
                </a:lnTo>
                <a:lnTo>
                  <a:pt x="530338" y="832836"/>
                </a:lnTo>
                <a:lnTo>
                  <a:pt x="517046" y="826929"/>
                </a:lnTo>
                <a:lnTo>
                  <a:pt x="508677" y="826929"/>
                </a:lnTo>
                <a:lnTo>
                  <a:pt x="503016" y="830375"/>
                </a:lnTo>
                <a:lnTo>
                  <a:pt x="498092" y="832836"/>
                </a:lnTo>
                <a:lnTo>
                  <a:pt x="492431" y="836283"/>
                </a:lnTo>
                <a:lnTo>
                  <a:pt x="485785" y="834560"/>
                </a:lnTo>
                <a:lnTo>
                  <a:pt x="482585" y="832836"/>
                </a:lnTo>
                <a:lnTo>
                  <a:pt x="480124" y="830375"/>
                </a:lnTo>
                <a:lnTo>
                  <a:pt x="476924" y="826929"/>
                </a:lnTo>
                <a:lnTo>
                  <a:pt x="472739" y="822744"/>
                </a:lnTo>
                <a:lnTo>
                  <a:pt x="469539" y="820283"/>
                </a:lnTo>
                <a:lnTo>
                  <a:pt x="467077" y="818559"/>
                </a:lnTo>
                <a:lnTo>
                  <a:pt x="448124" y="815113"/>
                </a:lnTo>
                <a:lnTo>
                  <a:pt x="445662" y="812652"/>
                </a:lnTo>
                <a:lnTo>
                  <a:pt x="442462" y="810190"/>
                </a:lnTo>
                <a:lnTo>
                  <a:pt x="440000" y="806744"/>
                </a:lnTo>
                <a:lnTo>
                  <a:pt x="436801" y="804283"/>
                </a:lnTo>
                <a:lnTo>
                  <a:pt x="436062" y="802560"/>
                </a:lnTo>
                <a:lnTo>
                  <a:pt x="419570" y="805021"/>
                </a:lnTo>
                <a:lnTo>
                  <a:pt x="417108" y="804283"/>
                </a:lnTo>
                <a:lnTo>
                  <a:pt x="412924" y="798375"/>
                </a:lnTo>
                <a:lnTo>
                  <a:pt x="405539" y="792467"/>
                </a:lnTo>
                <a:lnTo>
                  <a:pt x="399878" y="785082"/>
                </a:lnTo>
                <a:lnTo>
                  <a:pt x="394217" y="779175"/>
                </a:lnTo>
                <a:lnTo>
                  <a:pt x="391017" y="775729"/>
                </a:lnTo>
                <a:lnTo>
                  <a:pt x="396677" y="757513"/>
                </a:lnTo>
                <a:lnTo>
                  <a:pt x="380924" y="740036"/>
                </a:lnTo>
                <a:lnTo>
                  <a:pt x="366893" y="720837"/>
                </a:lnTo>
                <a:lnTo>
                  <a:pt x="352124" y="700899"/>
                </a:lnTo>
                <a:lnTo>
                  <a:pt x="338094" y="679976"/>
                </a:lnTo>
                <a:lnTo>
                  <a:pt x="334894" y="678252"/>
                </a:lnTo>
                <a:lnTo>
                  <a:pt x="330709" y="677514"/>
                </a:lnTo>
                <a:lnTo>
                  <a:pt x="328248" y="677514"/>
                </a:lnTo>
                <a:lnTo>
                  <a:pt x="323324" y="675792"/>
                </a:lnTo>
                <a:lnTo>
                  <a:pt x="322586" y="674068"/>
                </a:lnTo>
                <a:lnTo>
                  <a:pt x="316925" y="666683"/>
                </a:lnTo>
                <a:lnTo>
                  <a:pt x="313725" y="658315"/>
                </a:lnTo>
                <a:lnTo>
                  <a:pt x="311262" y="649945"/>
                </a:lnTo>
                <a:lnTo>
                  <a:pt x="306339" y="640837"/>
                </a:lnTo>
                <a:lnTo>
                  <a:pt x="299694" y="636653"/>
                </a:lnTo>
                <a:lnTo>
                  <a:pt x="296493" y="633207"/>
                </a:lnTo>
                <a:lnTo>
                  <a:pt x="294032" y="630746"/>
                </a:lnTo>
                <a:lnTo>
                  <a:pt x="290832" y="629022"/>
                </a:lnTo>
                <a:lnTo>
                  <a:pt x="290832" y="644777"/>
                </a:lnTo>
                <a:lnTo>
                  <a:pt x="295017" y="650683"/>
                </a:lnTo>
                <a:lnTo>
                  <a:pt x="304124" y="660776"/>
                </a:lnTo>
                <a:lnTo>
                  <a:pt x="312494" y="672346"/>
                </a:lnTo>
                <a:lnTo>
                  <a:pt x="323324" y="687360"/>
                </a:lnTo>
                <a:lnTo>
                  <a:pt x="331693" y="701637"/>
                </a:lnTo>
                <a:lnTo>
                  <a:pt x="340801" y="716653"/>
                </a:lnTo>
                <a:lnTo>
                  <a:pt x="347447" y="729945"/>
                </a:lnTo>
                <a:lnTo>
                  <a:pt x="350647" y="738314"/>
                </a:lnTo>
                <a:lnTo>
                  <a:pt x="350647" y="744222"/>
                </a:lnTo>
                <a:lnTo>
                  <a:pt x="348925" y="746683"/>
                </a:lnTo>
                <a:lnTo>
                  <a:pt x="347200" y="748406"/>
                </a:lnTo>
                <a:lnTo>
                  <a:pt x="347200" y="750129"/>
                </a:lnTo>
                <a:lnTo>
                  <a:pt x="344740" y="751853"/>
                </a:lnTo>
                <a:lnTo>
                  <a:pt x="344740" y="745945"/>
                </a:lnTo>
                <a:lnTo>
                  <a:pt x="343017" y="741021"/>
                </a:lnTo>
                <a:lnTo>
                  <a:pt x="343017" y="738561"/>
                </a:lnTo>
                <a:lnTo>
                  <a:pt x="341294" y="735114"/>
                </a:lnTo>
                <a:lnTo>
                  <a:pt x="338832" y="735114"/>
                </a:lnTo>
                <a:lnTo>
                  <a:pt x="337109" y="735114"/>
                </a:lnTo>
                <a:lnTo>
                  <a:pt x="335386" y="735114"/>
                </a:lnTo>
                <a:lnTo>
                  <a:pt x="334648" y="735114"/>
                </a:lnTo>
                <a:lnTo>
                  <a:pt x="332924" y="735114"/>
                </a:lnTo>
                <a:lnTo>
                  <a:pt x="328740" y="735114"/>
                </a:lnTo>
                <a:lnTo>
                  <a:pt x="325540" y="725022"/>
                </a:lnTo>
                <a:lnTo>
                  <a:pt x="323078" y="714929"/>
                </a:lnTo>
                <a:lnTo>
                  <a:pt x="318156" y="706561"/>
                </a:lnTo>
                <a:lnTo>
                  <a:pt x="311509" y="699175"/>
                </a:lnTo>
                <a:lnTo>
                  <a:pt x="302401" y="693269"/>
                </a:lnTo>
                <a:lnTo>
                  <a:pt x="294032" y="687360"/>
                </a:lnTo>
                <a:lnTo>
                  <a:pt x="286647" y="677268"/>
                </a:lnTo>
                <a:lnTo>
                  <a:pt x="289109" y="675545"/>
                </a:lnTo>
                <a:lnTo>
                  <a:pt x="290832" y="675545"/>
                </a:lnTo>
                <a:lnTo>
                  <a:pt x="292555" y="675545"/>
                </a:lnTo>
                <a:lnTo>
                  <a:pt x="292555" y="673821"/>
                </a:lnTo>
                <a:lnTo>
                  <a:pt x="292555" y="672099"/>
                </a:lnTo>
                <a:lnTo>
                  <a:pt x="294278" y="671361"/>
                </a:lnTo>
                <a:lnTo>
                  <a:pt x="283447" y="663976"/>
                </a:lnTo>
                <a:lnTo>
                  <a:pt x="278524" y="654869"/>
                </a:lnTo>
                <a:lnTo>
                  <a:pt x="273601" y="644777"/>
                </a:lnTo>
                <a:lnTo>
                  <a:pt x="271140" y="633207"/>
                </a:lnTo>
                <a:lnTo>
                  <a:pt x="265478" y="623115"/>
                </a:lnTo>
                <a:lnTo>
                  <a:pt x="258093" y="614745"/>
                </a:lnTo>
                <a:lnTo>
                  <a:pt x="249725" y="609823"/>
                </a:lnTo>
                <a:lnTo>
                  <a:pt x="238894" y="605638"/>
                </a:lnTo>
                <a:lnTo>
                  <a:pt x="230524" y="599730"/>
                </a:lnTo>
                <a:lnTo>
                  <a:pt x="224863" y="592346"/>
                </a:lnTo>
                <a:lnTo>
                  <a:pt x="221663" y="583977"/>
                </a:lnTo>
                <a:lnTo>
                  <a:pt x="217478" y="574871"/>
                </a:lnTo>
                <a:lnTo>
                  <a:pt x="207633" y="560594"/>
                </a:lnTo>
                <a:lnTo>
                  <a:pt x="199264" y="550502"/>
                </a:lnTo>
                <a:lnTo>
                  <a:pt x="190156" y="541394"/>
                </a:lnTo>
                <a:lnTo>
                  <a:pt x="184494" y="531303"/>
                </a:lnTo>
                <a:lnTo>
                  <a:pt x="180309" y="518010"/>
                </a:lnTo>
                <a:lnTo>
                  <a:pt x="177109" y="500533"/>
                </a:lnTo>
                <a:lnTo>
                  <a:pt x="176371" y="476410"/>
                </a:lnTo>
                <a:lnTo>
                  <a:pt x="176371" y="470503"/>
                </a:lnTo>
                <a:lnTo>
                  <a:pt x="177109" y="458933"/>
                </a:lnTo>
                <a:lnTo>
                  <a:pt x="177109" y="443180"/>
                </a:lnTo>
                <a:lnTo>
                  <a:pt x="177109" y="423980"/>
                </a:lnTo>
                <a:lnTo>
                  <a:pt x="177109" y="406503"/>
                </a:lnTo>
                <a:lnTo>
                  <a:pt x="178833" y="392226"/>
                </a:lnTo>
                <a:lnTo>
                  <a:pt x="180556" y="383118"/>
                </a:lnTo>
                <a:lnTo>
                  <a:pt x="184740" y="381396"/>
                </a:lnTo>
                <a:lnTo>
                  <a:pt x="187940" y="381396"/>
                </a:lnTo>
                <a:lnTo>
                  <a:pt x="190402" y="381396"/>
                </a:lnTo>
                <a:lnTo>
                  <a:pt x="193602" y="381396"/>
                </a:lnTo>
                <a:lnTo>
                  <a:pt x="196064" y="383118"/>
                </a:lnTo>
                <a:lnTo>
                  <a:pt x="197787" y="386564"/>
                </a:lnTo>
                <a:lnTo>
                  <a:pt x="200248" y="389026"/>
                </a:lnTo>
                <a:lnTo>
                  <a:pt x="201970" y="392473"/>
                </a:lnTo>
                <a:lnTo>
                  <a:pt x="201970" y="375733"/>
                </a:lnTo>
                <a:lnTo>
                  <a:pt x="192125" y="364165"/>
                </a:lnTo>
                <a:lnTo>
                  <a:pt x="180556" y="352596"/>
                </a:lnTo>
                <a:lnTo>
                  <a:pt x="167264" y="344226"/>
                </a:lnTo>
                <a:lnTo>
                  <a:pt x="167264" y="351611"/>
                </a:lnTo>
                <a:lnTo>
                  <a:pt x="172926" y="355795"/>
                </a:lnTo>
                <a:lnTo>
                  <a:pt x="178586" y="359980"/>
                </a:lnTo>
                <a:lnTo>
                  <a:pt x="184247" y="364165"/>
                </a:lnTo>
                <a:lnTo>
                  <a:pt x="188433" y="370072"/>
                </a:lnTo>
                <a:lnTo>
                  <a:pt x="188433" y="373518"/>
                </a:lnTo>
                <a:lnTo>
                  <a:pt x="187694" y="373518"/>
                </a:lnTo>
                <a:lnTo>
                  <a:pt x="187694" y="375241"/>
                </a:lnTo>
                <a:lnTo>
                  <a:pt x="185971" y="375980"/>
                </a:lnTo>
                <a:lnTo>
                  <a:pt x="182772" y="377703"/>
                </a:lnTo>
                <a:lnTo>
                  <a:pt x="182032" y="379426"/>
                </a:lnTo>
                <a:lnTo>
                  <a:pt x="177109" y="379426"/>
                </a:lnTo>
                <a:lnTo>
                  <a:pt x="172926" y="379426"/>
                </a:lnTo>
                <a:lnTo>
                  <a:pt x="171202" y="379426"/>
                </a:lnTo>
                <a:lnTo>
                  <a:pt x="171202" y="377703"/>
                </a:lnTo>
                <a:lnTo>
                  <a:pt x="170463" y="377703"/>
                </a:lnTo>
                <a:lnTo>
                  <a:pt x="167264" y="375980"/>
                </a:lnTo>
                <a:lnTo>
                  <a:pt x="157418" y="363426"/>
                </a:lnTo>
                <a:lnTo>
                  <a:pt x="148310" y="350134"/>
                </a:lnTo>
                <a:lnTo>
                  <a:pt x="141664" y="335119"/>
                </a:lnTo>
                <a:lnTo>
                  <a:pt x="148310" y="335119"/>
                </a:lnTo>
                <a:lnTo>
                  <a:pt x="151510" y="336841"/>
                </a:lnTo>
                <a:lnTo>
                  <a:pt x="153972" y="336841"/>
                </a:lnTo>
                <a:lnTo>
                  <a:pt x="157171" y="336841"/>
                </a:lnTo>
                <a:lnTo>
                  <a:pt x="159633" y="335119"/>
                </a:lnTo>
                <a:lnTo>
                  <a:pt x="148064" y="330934"/>
                </a:lnTo>
                <a:lnTo>
                  <a:pt x="141418" y="324288"/>
                </a:lnTo>
                <a:lnTo>
                  <a:pt x="135756" y="315180"/>
                </a:lnTo>
                <a:lnTo>
                  <a:pt x="130834" y="305088"/>
                </a:lnTo>
                <a:lnTo>
                  <a:pt x="128371" y="294995"/>
                </a:lnTo>
                <a:lnTo>
                  <a:pt x="124187" y="285888"/>
                </a:lnTo>
                <a:lnTo>
                  <a:pt x="118525" y="278503"/>
                </a:lnTo>
                <a:lnTo>
                  <a:pt x="109418" y="274319"/>
                </a:lnTo>
                <a:lnTo>
                  <a:pt x="112618" y="255118"/>
                </a:lnTo>
                <a:lnTo>
                  <a:pt x="102772" y="244287"/>
                </a:lnTo>
                <a:lnTo>
                  <a:pt x="93664" y="230995"/>
                </a:lnTo>
                <a:lnTo>
                  <a:pt x="86279" y="217703"/>
                </a:lnTo>
                <a:lnTo>
                  <a:pt x="76433" y="204411"/>
                </a:lnTo>
                <a:lnTo>
                  <a:pt x="64865" y="194320"/>
                </a:lnTo>
                <a:lnTo>
                  <a:pt x="49111" y="186935"/>
                </a:lnTo>
                <a:lnTo>
                  <a:pt x="30156" y="182750"/>
                </a:lnTo>
                <a:lnTo>
                  <a:pt x="14403" y="175366"/>
                </a:lnTo>
                <a:lnTo>
                  <a:pt x="2834" y="165273"/>
                </a:lnTo>
                <a:lnTo>
                  <a:pt x="0" y="162806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310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21211699-FA0D-4F4D-AE41-43D98EA13D02}"/>
              </a:ext>
            </a:extLst>
          </p:cNvPr>
          <p:cNvGrpSpPr/>
          <p:nvPr userDrawn="1"/>
        </p:nvGrpSpPr>
        <p:grpSpPr>
          <a:xfrm>
            <a:off x="10415614" y="1995380"/>
            <a:ext cx="1344926" cy="246023"/>
            <a:chOff x="6916230" y="365408"/>
            <a:chExt cx="3673340" cy="671952"/>
          </a:xfrm>
          <a:solidFill>
            <a:schemeClr val="bg1">
              <a:alpha val="94000"/>
            </a:schemeClr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A3517EDD-BC26-4280-96E8-1130BB6B2552}"/>
                </a:ext>
              </a:extLst>
            </p:cNvPr>
            <p:cNvSpPr/>
            <p:nvPr/>
          </p:nvSpPr>
          <p:spPr>
            <a:xfrm rot="1020000">
              <a:off x="8384147" y="408886"/>
              <a:ext cx="403282" cy="600493"/>
            </a:xfrm>
            <a:custGeom>
              <a:avLst/>
              <a:gdLst>
                <a:gd name="connsiteX0" fmla="*/ 370630 w 403282"/>
                <a:gd name="connsiteY0" fmla="*/ 493654 h 600493"/>
                <a:gd name="connsiteX1" fmla="*/ 383308 w 403282"/>
                <a:gd name="connsiteY1" fmla="*/ 495095 h 600493"/>
                <a:gd name="connsiteX2" fmla="*/ 402037 w 403282"/>
                <a:gd name="connsiteY2" fmla="*/ 508637 h 600493"/>
                <a:gd name="connsiteX3" fmla="*/ 395698 w 403282"/>
                <a:gd name="connsiteY3" fmla="*/ 532265 h 600493"/>
                <a:gd name="connsiteX4" fmla="*/ 377833 w 403282"/>
                <a:gd name="connsiteY4" fmla="*/ 541197 h 600493"/>
                <a:gd name="connsiteX5" fmla="*/ 306951 w 403282"/>
                <a:gd name="connsiteY5" fmla="*/ 562519 h 600493"/>
                <a:gd name="connsiteX6" fmla="*/ 261137 w 403282"/>
                <a:gd name="connsiteY6" fmla="*/ 575774 h 600493"/>
                <a:gd name="connsiteX7" fmla="*/ 186510 w 403282"/>
                <a:gd name="connsiteY7" fmla="*/ 597384 h 600493"/>
                <a:gd name="connsiteX8" fmla="*/ 165476 w 403282"/>
                <a:gd name="connsiteY8" fmla="*/ 600265 h 600493"/>
                <a:gd name="connsiteX9" fmla="*/ 146747 w 403282"/>
                <a:gd name="connsiteY9" fmla="*/ 584706 h 600493"/>
                <a:gd name="connsiteX10" fmla="*/ 153950 w 403282"/>
                <a:gd name="connsiteY10" fmla="*/ 562519 h 600493"/>
                <a:gd name="connsiteX11" fmla="*/ 162594 w 403282"/>
                <a:gd name="connsiteY11" fmla="*/ 556180 h 600493"/>
                <a:gd name="connsiteX12" fmla="*/ 172391 w 403282"/>
                <a:gd name="connsiteY12" fmla="*/ 524773 h 600493"/>
                <a:gd name="connsiteX13" fmla="*/ 164323 w 403282"/>
                <a:gd name="connsiteY13" fmla="*/ 507197 h 600493"/>
                <a:gd name="connsiteX14" fmla="*/ 151645 w 403282"/>
                <a:gd name="connsiteY14" fmla="*/ 463400 h 600493"/>
                <a:gd name="connsiteX15" fmla="*/ 87679 w 403282"/>
                <a:gd name="connsiteY15" fmla="*/ 246432 h 600493"/>
                <a:gd name="connsiteX16" fmla="*/ 54543 w 403282"/>
                <a:gd name="connsiteY16" fmla="*/ 132330 h 600493"/>
                <a:gd name="connsiteX17" fmla="*/ 32356 w 403282"/>
                <a:gd name="connsiteY17" fmla="*/ 112737 h 600493"/>
                <a:gd name="connsiteX18" fmla="*/ 20543 w 403282"/>
                <a:gd name="connsiteY18" fmla="*/ 110720 h 600493"/>
                <a:gd name="connsiteX19" fmla="*/ 373 w 403282"/>
                <a:gd name="connsiteY19" fmla="*/ 91991 h 600493"/>
                <a:gd name="connsiteX20" fmla="*/ 12475 w 403282"/>
                <a:gd name="connsiteY20" fmla="*/ 65482 h 600493"/>
                <a:gd name="connsiteX21" fmla="*/ 33509 w 403282"/>
                <a:gd name="connsiteY21" fmla="*/ 57414 h 600493"/>
                <a:gd name="connsiteX22" fmla="*/ 219357 w 403282"/>
                <a:gd name="connsiteY22" fmla="*/ 2956 h 600493"/>
                <a:gd name="connsiteX23" fmla="*/ 233188 w 403282"/>
                <a:gd name="connsiteY23" fmla="*/ 75 h 600493"/>
                <a:gd name="connsiteX24" fmla="*/ 242697 w 403282"/>
                <a:gd name="connsiteY24" fmla="*/ 1227 h 600493"/>
                <a:gd name="connsiteX25" fmla="*/ 261426 w 403282"/>
                <a:gd name="connsiteY25" fmla="*/ 19092 h 600493"/>
                <a:gd name="connsiteX26" fmla="*/ 253070 w 403282"/>
                <a:gd name="connsiteY26" fmla="*/ 43296 h 600493"/>
                <a:gd name="connsiteX27" fmla="*/ 239527 w 403282"/>
                <a:gd name="connsiteY27" fmla="*/ 92279 h 600493"/>
                <a:gd name="connsiteX28" fmla="*/ 295714 w 403282"/>
                <a:gd name="connsiteY28" fmla="*/ 283314 h 600493"/>
                <a:gd name="connsiteX29" fmla="*/ 298019 w 403282"/>
                <a:gd name="connsiteY29" fmla="*/ 300890 h 600493"/>
                <a:gd name="connsiteX30" fmla="*/ 333748 w 403282"/>
                <a:gd name="connsiteY30" fmla="*/ 422484 h 600493"/>
                <a:gd name="connsiteX31" fmla="*/ 347867 w 403282"/>
                <a:gd name="connsiteY31" fmla="*/ 461383 h 600493"/>
                <a:gd name="connsiteX32" fmla="*/ 370630 w 403282"/>
                <a:gd name="connsiteY32" fmla="*/ 493654 h 60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03282" h="600493">
                  <a:moveTo>
                    <a:pt x="370630" y="493654"/>
                  </a:moveTo>
                  <a:cubicBezTo>
                    <a:pt x="374952" y="494230"/>
                    <a:pt x="378986" y="494807"/>
                    <a:pt x="383308" y="495095"/>
                  </a:cubicBezTo>
                  <a:cubicBezTo>
                    <a:pt x="392528" y="495671"/>
                    <a:pt x="399443" y="499705"/>
                    <a:pt x="402037" y="508637"/>
                  </a:cubicBezTo>
                  <a:cubicBezTo>
                    <a:pt x="404630" y="517281"/>
                    <a:pt x="403477" y="525638"/>
                    <a:pt x="395698" y="532265"/>
                  </a:cubicBezTo>
                  <a:cubicBezTo>
                    <a:pt x="390511" y="536587"/>
                    <a:pt x="384460" y="539180"/>
                    <a:pt x="377833" y="541197"/>
                  </a:cubicBezTo>
                  <a:cubicBezTo>
                    <a:pt x="354206" y="548112"/>
                    <a:pt x="330579" y="555316"/>
                    <a:pt x="306951" y="562519"/>
                  </a:cubicBezTo>
                  <a:cubicBezTo>
                    <a:pt x="292832" y="571163"/>
                    <a:pt x="277561" y="575197"/>
                    <a:pt x="261137" y="575774"/>
                  </a:cubicBezTo>
                  <a:cubicBezTo>
                    <a:pt x="236358" y="582977"/>
                    <a:pt x="211290" y="590180"/>
                    <a:pt x="186510" y="597384"/>
                  </a:cubicBezTo>
                  <a:cubicBezTo>
                    <a:pt x="179594" y="599401"/>
                    <a:pt x="172967" y="601130"/>
                    <a:pt x="165476" y="600265"/>
                  </a:cubicBezTo>
                  <a:cubicBezTo>
                    <a:pt x="155967" y="599113"/>
                    <a:pt x="149628" y="594214"/>
                    <a:pt x="146747" y="584706"/>
                  </a:cubicBezTo>
                  <a:cubicBezTo>
                    <a:pt x="143577" y="575485"/>
                    <a:pt x="147323" y="568570"/>
                    <a:pt x="153950" y="562519"/>
                  </a:cubicBezTo>
                  <a:cubicBezTo>
                    <a:pt x="156543" y="560214"/>
                    <a:pt x="159713" y="558485"/>
                    <a:pt x="162594" y="556180"/>
                  </a:cubicBezTo>
                  <a:cubicBezTo>
                    <a:pt x="175849" y="546383"/>
                    <a:pt x="177001" y="541773"/>
                    <a:pt x="172391" y="524773"/>
                  </a:cubicBezTo>
                  <a:cubicBezTo>
                    <a:pt x="166628" y="520163"/>
                    <a:pt x="166340" y="513248"/>
                    <a:pt x="164323" y="507197"/>
                  </a:cubicBezTo>
                  <a:cubicBezTo>
                    <a:pt x="160001" y="492502"/>
                    <a:pt x="155103" y="478383"/>
                    <a:pt x="151645" y="463400"/>
                  </a:cubicBezTo>
                  <a:cubicBezTo>
                    <a:pt x="130035" y="391077"/>
                    <a:pt x="109289" y="318755"/>
                    <a:pt x="87679" y="246432"/>
                  </a:cubicBezTo>
                  <a:cubicBezTo>
                    <a:pt x="77018" y="208398"/>
                    <a:pt x="65492" y="170364"/>
                    <a:pt x="54543" y="132330"/>
                  </a:cubicBezTo>
                  <a:cubicBezTo>
                    <a:pt x="51085" y="120805"/>
                    <a:pt x="44746" y="113601"/>
                    <a:pt x="32356" y="112737"/>
                  </a:cubicBezTo>
                  <a:cubicBezTo>
                    <a:pt x="28322" y="112449"/>
                    <a:pt x="24577" y="111584"/>
                    <a:pt x="20543" y="110720"/>
                  </a:cubicBezTo>
                  <a:cubicBezTo>
                    <a:pt x="8729" y="108415"/>
                    <a:pt x="2102" y="102076"/>
                    <a:pt x="373" y="91991"/>
                  </a:cubicBezTo>
                  <a:cubicBezTo>
                    <a:pt x="-1356" y="81330"/>
                    <a:pt x="2966" y="71533"/>
                    <a:pt x="12475" y="65482"/>
                  </a:cubicBezTo>
                  <a:cubicBezTo>
                    <a:pt x="18814" y="61448"/>
                    <a:pt x="26305" y="59431"/>
                    <a:pt x="33509" y="57414"/>
                  </a:cubicBezTo>
                  <a:cubicBezTo>
                    <a:pt x="95458" y="38974"/>
                    <a:pt x="157408" y="21397"/>
                    <a:pt x="219357" y="2956"/>
                  </a:cubicBezTo>
                  <a:cubicBezTo>
                    <a:pt x="223968" y="1516"/>
                    <a:pt x="228578" y="363"/>
                    <a:pt x="233188" y="75"/>
                  </a:cubicBezTo>
                  <a:cubicBezTo>
                    <a:pt x="236358" y="-213"/>
                    <a:pt x="239527" y="363"/>
                    <a:pt x="242697" y="1227"/>
                  </a:cubicBezTo>
                  <a:cubicBezTo>
                    <a:pt x="252205" y="3533"/>
                    <a:pt x="258832" y="9295"/>
                    <a:pt x="261426" y="19092"/>
                  </a:cubicBezTo>
                  <a:cubicBezTo>
                    <a:pt x="264307" y="29177"/>
                    <a:pt x="261426" y="38397"/>
                    <a:pt x="253070" y="43296"/>
                  </a:cubicBezTo>
                  <a:cubicBezTo>
                    <a:pt x="232036" y="55685"/>
                    <a:pt x="233476" y="72109"/>
                    <a:pt x="239527" y="92279"/>
                  </a:cubicBezTo>
                  <a:cubicBezTo>
                    <a:pt x="258832" y="155669"/>
                    <a:pt x="276985" y="219636"/>
                    <a:pt x="295714" y="283314"/>
                  </a:cubicBezTo>
                  <a:cubicBezTo>
                    <a:pt x="297443" y="289077"/>
                    <a:pt x="298595" y="294839"/>
                    <a:pt x="298019" y="300890"/>
                  </a:cubicBezTo>
                  <a:cubicBezTo>
                    <a:pt x="309833" y="341518"/>
                    <a:pt x="321646" y="381857"/>
                    <a:pt x="333748" y="422484"/>
                  </a:cubicBezTo>
                  <a:cubicBezTo>
                    <a:pt x="340951" y="434586"/>
                    <a:pt x="344409" y="448129"/>
                    <a:pt x="347867" y="461383"/>
                  </a:cubicBezTo>
                  <a:cubicBezTo>
                    <a:pt x="351324" y="474925"/>
                    <a:pt x="356223" y="487315"/>
                    <a:pt x="370630" y="49365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C0528C0E-261E-4AA7-94CE-271A5504982D}"/>
                </a:ext>
              </a:extLst>
            </p:cNvPr>
            <p:cNvSpPr/>
            <p:nvPr userDrawn="1"/>
          </p:nvSpPr>
          <p:spPr>
            <a:xfrm rot="1020000">
              <a:off x="9705320" y="428745"/>
              <a:ext cx="391436" cy="584760"/>
            </a:xfrm>
            <a:custGeom>
              <a:avLst/>
              <a:gdLst>
                <a:gd name="connsiteX0" fmla="*/ 167549 w 391436"/>
                <a:gd name="connsiteY0" fmla="*/ 584760 h 584760"/>
                <a:gd name="connsiteX1" fmla="*/ 143634 w 391436"/>
                <a:gd name="connsiteY1" fmla="*/ 569201 h 584760"/>
                <a:gd name="connsiteX2" fmla="*/ 154871 w 391436"/>
                <a:gd name="connsiteY2" fmla="*/ 544709 h 584760"/>
                <a:gd name="connsiteX3" fmla="*/ 158905 w 391436"/>
                <a:gd name="connsiteY3" fmla="*/ 542404 h 584760"/>
                <a:gd name="connsiteX4" fmla="*/ 175329 w 391436"/>
                <a:gd name="connsiteY4" fmla="*/ 500048 h 584760"/>
                <a:gd name="connsiteX5" fmla="*/ 69006 w 391436"/>
                <a:gd name="connsiteY5" fmla="*/ 137859 h 584760"/>
                <a:gd name="connsiteX6" fmla="*/ 65837 w 391436"/>
                <a:gd name="connsiteY6" fmla="*/ 127774 h 584760"/>
                <a:gd name="connsiteX7" fmla="*/ 27515 w 391436"/>
                <a:gd name="connsiteY7" fmla="*/ 102706 h 584760"/>
                <a:gd name="connsiteX8" fmla="*/ 718 w 391436"/>
                <a:gd name="connsiteY8" fmla="*/ 88011 h 584760"/>
                <a:gd name="connsiteX9" fmla="*/ 18582 w 391436"/>
                <a:gd name="connsiteY9" fmla="*/ 59774 h 584760"/>
                <a:gd name="connsiteX10" fmla="*/ 123176 w 391436"/>
                <a:gd name="connsiteY10" fmla="*/ 22316 h 584760"/>
                <a:gd name="connsiteX11" fmla="*/ 182244 w 391436"/>
                <a:gd name="connsiteY11" fmla="*/ 1570 h 584760"/>
                <a:gd name="connsiteX12" fmla="*/ 194922 w 391436"/>
                <a:gd name="connsiteY12" fmla="*/ 7621 h 584760"/>
                <a:gd name="connsiteX13" fmla="*/ 277906 w 391436"/>
                <a:gd name="connsiteY13" fmla="*/ 291724 h 584760"/>
                <a:gd name="connsiteX14" fmla="*/ 327754 w 391436"/>
                <a:gd name="connsiteY14" fmla="*/ 460861 h 584760"/>
                <a:gd name="connsiteX15" fmla="*/ 357143 w 391436"/>
                <a:gd name="connsiteY15" fmla="*/ 483048 h 584760"/>
                <a:gd name="connsiteX16" fmla="*/ 371262 w 391436"/>
                <a:gd name="connsiteY16" fmla="*/ 482760 h 584760"/>
                <a:gd name="connsiteX17" fmla="*/ 389127 w 391436"/>
                <a:gd name="connsiteY17" fmla="*/ 494285 h 584760"/>
                <a:gd name="connsiteX18" fmla="*/ 385669 w 391436"/>
                <a:gd name="connsiteY18" fmla="*/ 517336 h 584760"/>
                <a:gd name="connsiteX19" fmla="*/ 368381 w 391436"/>
                <a:gd name="connsiteY19" fmla="*/ 527421 h 584760"/>
                <a:gd name="connsiteX20" fmla="*/ 178787 w 391436"/>
                <a:gd name="connsiteY20" fmla="*/ 583031 h 584760"/>
                <a:gd name="connsiteX21" fmla="*/ 167549 w 391436"/>
                <a:gd name="connsiteY21" fmla="*/ 584760 h 58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91436" h="584760">
                  <a:moveTo>
                    <a:pt x="167549" y="584760"/>
                  </a:moveTo>
                  <a:cubicBezTo>
                    <a:pt x="155447" y="584472"/>
                    <a:pt x="146803" y="580438"/>
                    <a:pt x="143634" y="569201"/>
                  </a:cubicBezTo>
                  <a:cubicBezTo>
                    <a:pt x="140464" y="557963"/>
                    <a:pt x="144786" y="549896"/>
                    <a:pt x="154871" y="544709"/>
                  </a:cubicBezTo>
                  <a:cubicBezTo>
                    <a:pt x="156312" y="544133"/>
                    <a:pt x="157753" y="543268"/>
                    <a:pt x="158905" y="542404"/>
                  </a:cubicBezTo>
                  <a:cubicBezTo>
                    <a:pt x="181380" y="528573"/>
                    <a:pt x="182820" y="525116"/>
                    <a:pt x="175329" y="500048"/>
                  </a:cubicBezTo>
                  <a:cubicBezTo>
                    <a:pt x="139888" y="379318"/>
                    <a:pt x="104447" y="258589"/>
                    <a:pt x="69006" y="137859"/>
                  </a:cubicBezTo>
                  <a:cubicBezTo>
                    <a:pt x="68142" y="134402"/>
                    <a:pt x="66989" y="130944"/>
                    <a:pt x="65837" y="127774"/>
                  </a:cubicBezTo>
                  <a:cubicBezTo>
                    <a:pt x="56904" y="102418"/>
                    <a:pt x="54311" y="100689"/>
                    <a:pt x="27515" y="102706"/>
                  </a:cubicBezTo>
                  <a:cubicBezTo>
                    <a:pt x="10226" y="103859"/>
                    <a:pt x="3887" y="100401"/>
                    <a:pt x="718" y="88011"/>
                  </a:cubicBezTo>
                  <a:cubicBezTo>
                    <a:pt x="-2164" y="76198"/>
                    <a:pt x="3599" y="65537"/>
                    <a:pt x="18582" y="59774"/>
                  </a:cubicBezTo>
                  <a:cubicBezTo>
                    <a:pt x="53159" y="46808"/>
                    <a:pt x="88312" y="34706"/>
                    <a:pt x="123176" y="22316"/>
                  </a:cubicBezTo>
                  <a:cubicBezTo>
                    <a:pt x="142770" y="15401"/>
                    <a:pt x="162939" y="8774"/>
                    <a:pt x="182244" y="1570"/>
                  </a:cubicBezTo>
                  <a:cubicBezTo>
                    <a:pt x="189736" y="-1311"/>
                    <a:pt x="192617" y="-735"/>
                    <a:pt x="194922" y="7621"/>
                  </a:cubicBezTo>
                  <a:cubicBezTo>
                    <a:pt x="222295" y="102418"/>
                    <a:pt x="250245" y="196927"/>
                    <a:pt x="277906" y="291724"/>
                  </a:cubicBezTo>
                  <a:cubicBezTo>
                    <a:pt x="294330" y="348199"/>
                    <a:pt x="311042" y="404386"/>
                    <a:pt x="327754" y="460861"/>
                  </a:cubicBezTo>
                  <a:cubicBezTo>
                    <a:pt x="333228" y="479590"/>
                    <a:pt x="337262" y="482760"/>
                    <a:pt x="357143" y="483048"/>
                  </a:cubicBezTo>
                  <a:cubicBezTo>
                    <a:pt x="361754" y="483048"/>
                    <a:pt x="366652" y="482760"/>
                    <a:pt x="371262" y="482760"/>
                  </a:cubicBezTo>
                  <a:cubicBezTo>
                    <a:pt x="379906" y="482471"/>
                    <a:pt x="385669" y="486505"/>
                    <a:pt x="389127" y="494285"/>
                  </a:cubicBezTo>
                  <a:cubicBezTo>
                    <a:pt x="392873" y="502641"/>
                    <a:pt x="392296" y="510421"/>
                    <a:pt x="385669" y="517336"/>
                  </a:cubicBezTo>
                  <a:cubicBezTo>
                    <a:pt x="380771" y="522234"/>
                    <a:pt x="374720" y="525404"/>
                    <a:pt x="368381" y="527421"/>
                  </a:cubicBezTo>
                  <a:cubicBezTo>
                    <a:pt x="305279" y="546150"/>
                    <a:pt x="241889" y="564591"/>
                    <a:pt x="178787" y="583031"/>
                  </a:cubicBezTo>
                  <a:cubicBezTo>
                    <a:pt x="175041" y="583896"/>
                    <a:pt x="170719" y="584184"/>
                    <a:pt x="167549" y="5847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9949530E-E7BF-40F8-9FAE-1A1060591BB3}"/>
                </a:ext>
              </a:extLst>
            </p:cNvPr>
            <p:cNvSpPr/>
            <p:nvPr/>
          </p:nvSpPr>
          <p:spPr>
            <a:xfrm rot="1020000">
              <a:off x="8699841" y="425712"/>
              <a:ext cx="573136" cy="611648"/>
            </a:xfrm>
            <a:custGeom>
              <a:avLst/>
              <a:gdLst>
                <a:gd name="connsiteX0" fmla="*/ 255772 w 573136"/>
                <a:gd name="connsiteY0" fmla="*/ 7712 h 611648"/>
                <a:gd name="connsiteX1" fmla="*/ 475333 w 573136"/>
                <a:gd name="connsiteY1" fmla="*/ 71679 h 611648"/>
                <a:gd name="connsiteX2" fmla="*/ 572723 w 573136"/>
                <a:gd name="connsiteY2" fmla="*/ 301612 h 611648"/>
                <a:gd name="connsiteX3" fmla="*/ 423756 w 573136"/>
                <a:gd name="connsiteY3" fmla="*/ 538173 h 611648"/>
                <a:gd name="connsiteX4" fmla="*/ 416553 w 573136"/>
                <a:gd name="connsiteY4" fmla="*/ 541919 h 611648"/>
                <a:gd name="connsiteX5" fmla="*/ 396095 w 573136"/>
                <a:gd name="connsiteY5" fmla="*/ 536732 h 611648"/>
                <a:gd name="connsiteX6" fmla="*/ 392061 w 573136"/>
                <a:gd name="connsiteY6" fmla="*/ 524343 h 611648"/>
                <a:gd name="connsiteX7" fmla="*/ 402722 w 573136"/>
                <a:gd name="connsiteY7" fmla="*/ 492359 h 611648"/>
                <a:gd name="connsiteX8" fmla="*/ 417129 w 573136"/>
                <a:gd name="connsiteY8" fmla="*/ 446834 h 611648"/>
                <a:gd name="connsiteX9" fmla="*/ 394366 w 573136"/>
                <a:gd name="connsiteY9" fmla="*/ 362121 h 611648"/>
                <a:gd name="connsiteX10" fmla="*/ 318010 w 573136"/>
                <a:gd name="connsiteY10" fmla="*/ 103662 h 611648"/>
                <a:gd name="connsiteX11" fmla="*/ 296399 w 573136"/>
                <a:gd name="connsiteY11" fmla="*/ 66204 h 611648"/>
                <a:gd name="connsiteX12" fmla="*/ 270755 w 573136"/>
                <a:gd name="connsiteY12" fmla="*/ 55831 h 611648"/>
                <a:gd name="connsiteX13" fmla="*/ 254619 w 573136"/>
                <a:gd name="connsiteY13" fmla="*/ 45746 h 611648"/>
                <a:gd name="connsiteX14" fmla="*/ 247992 w 573136"/>
                <a:gd name="connsiteY14" fmla="*/ 21831 h 611648"/>
                <a:gd name="connsiteX15" fmla="*/ 255772 w 573136"/>
                <a:gd name="connsiteY15" fmla="*/ 7712 h 611648"/>
                <a:gd name="connsiteX16" fmla="*/ 50907 w 573136"/>
                <a:gd name="connsiteY16" fmla="*/ 64474 h 611648"/>
                <a:gd name="connsiteX17" fmla="*/ 150026 w 573136"/>
                <a:gd name="connsiteY17" fmla="*/ 35662 h 611648"/>
                <a:gd name="connsiteX18" fmla="*/ 188925 w 573136"/>
                <a:gd name="connsiteY18" fmla="*/ 27306 h 611648"/>
                <a:gd name="connsiteX19" fmla="*/ 200162 w 573136"/>
                <a:gd name="connsiteY19" fmla="*/ 24136 h 611648"/>
                <a:gd name="connsiteX20" fmla="*/ 217451 w 573136"/>
                <a:gd name="connsiteY20" fmla="*/ 33356 h 611648"/>
                <a:gd name="connsiteX21" fmla="*/ 227824 w 573136"/>
                <a:gd name="connsiteY21" fmla="*/ 58135 h 611648"/>
                <a:gd name="connsiteX22" fmla="*/ 245688 w 573136"/>
                <a:gd name="connsiteY22" fmla="*/ 118357 h 611648"/>
                <a:gd name="connsiteX23" fmla="*/ 256061 w 573136"/>
                <a:gd name="connsiteY23" fmla="*/ 153798 h 611648"/>
                <a:gd name="connsiteX24" fmla="*/ 270468 w 573136"/>
                <a:gd name="connsiteY24" fmla="*/ 203934 h 611648"/>
                <a:gd name="connsiteX25" fmla="*/ 343654 w 573136"/>
                <a:gd name="connsiteY25" fmla="*/ 453749 h 611648"/>
                <a:gd name="connsiteX26" fmla="*/ 369299 w 573136"/>
                <a:gd name="connsiteY26" fmla="*/ 541343 h 611648"/>
                <a:gd name="connsiteX27" fmla="*/ 358638 w 573136"/>
                <a:gd name="connsiteY27" fmla="*/ 562377 h 611648"/>
                <a:gd name="connsiteX28" fmla="*/ 287179 w 573136"/>
                <a:gd name="connsiteY28" fmla="*/ 583699 h 611648"/>
                <a:gd name="connsiteX29" fmla="*/ 273061 w 573136"/>
                <a:gd name="connsiteY29" fmla="*/ 584274 h 611648"/>
                <a:gd name="connsiteX30" fmla="*/ 191230 w 573136"/>
                <a:gd name="connsiteY30" fmla="*/ 607614 h 611648"/>
                <a:gd name="connsiteX31" fmla="*/ 167891 w 573136"/>
                <a:gd name="connsiteY31" fmla="*/ 611648 h 611648"/>
                <a:gd name="connsiteX32" fmla="*/ 148874 w 573136"/>
                <a:gd name="connsiteY32" fmla="*/ 598394 h 611648"/>
                <a:gd name="connsiteX33" fmla="*/ 153484 w 573136"/>
                <a:gd name="connsiteY33" fmla="*/ 575343 h 611648"/>
                <a:gd name="connsiteX34" fmla="*/ 155213 w 573136"/>
                <a:gd name="connsiteY34" fmla="*/ 573902 h 611648"/>
                <a:gd name="connsiteX35" fmla="*/ 169908 w 573136"/>
                <a:gd name="connsiteY35" fmla="*/ 522326 h 611648"/>
                <a:gd name="connsiteX36" fmla="*/ 152332 w 573136"/>
                <a:gd name="connsiteY36" fmla="*/ 466139 h 611648"/>
                <a:gd name="connsiteX37" fmla="*/ 132738 w 573136"/>
                <a:gd name="connsiteY37" fmla="*/ 408223 h 611648"/>
                <a:gd name="connsiteX38" fmla="*/ 111992 w 573136"/>
                <a:gd name="connsiteY38" fmla="*/ 337917 h 611648"/>
                <a:gd name="connsiteX39" fmla="*/ 83467 w 573136"/>
                <a:gd name="connsiteY39" fmla="*/ 240238 h 611648"/>
                <a:gd name="connsiteX40" fmla="*/ 55517 w 573136"/>
                <a:gd name="connsiteY40" fmla="*/ 144577 h 611648"/>
                <a:gd name="connsiteX41" fmla="*/ 29297 w 573136"/>
                <a:gd name="connsiteY41" fmla="*/ 124119 h 611648"/>
                <a:gd name="connsiteX42" fmla="*/ 23534 w 573136"/>
                <a:gd name="connsiteY42" fmla="*/ 123543 h 611648"/>
                <a:gd name="connsiteX43" fmla="*/ 195 w 573136"/>
                <a:gd name="connsiteY43" fmla="*/ 101645 h 611648"/>
                <a:gd name="connsiteX44" fmla="*/ 17195 w 573136"/>
                <a:gd name="connsiteY44" fmla="*/ 75713 h 611648"/>
                <a:gd name="connsiteX45" fmla="*/ 50907 w 573136"/>
                <a:gd name="connsiteY45" fmla="*/ 64474 h 6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3136" h="611648">
                  <a:moveTo>
                    <a:pt x="255772" y="7712"/>
                  </a:moveTo>
                  <a:cubicBezTo>
                    <a:pt x="341349" y="-12746"/>
                    <a:pt x="415688" y="7136"/>
                    <a:pt x="475333" y="71679"/>
                  </a:cubicBezTo>
                  <a:cubicBezTo>
                    <a:pt x="534977" y="136221"/>
                    <a:pt x="567537" y="214019"/>
                    <a:pt x="572723" y="301612"/>
                  </a:cubicBezTo>
                  <a:cubicBezTo>
                    <a:pt x="578774" y="403613"/>
                    <a:pt x="517977" y="498698"/>
                    <a:pt x="423756" y="538173"/>
                  </a:cubicBezTo>
                  <a:cubicBezTo>
                    <a:pt x="421163" y="539326"/>
                    <a:pt x="418858" y="540766"/>
                    <a:pt x="416553" y="541919"/>
                  </a:cubicBezTo>
                  <a:cubicBezTo>
                    <a:pt x="406468" y="549410"/>
                    <a:pt x="400705" y="547970"/>
                    <a:pt x="396095" y="536732"/>
                  </a:cubicBezTo>
                  <a:cubicBezTo>
                    <a:pt x="394366" y="532698"/>
                    <a:pt x="393214" y="528665"/>
                    <a:pt x="392061" y="524343"/>
                  </a:cubicBezTo>
                  <a:cubicBezTo>
                    <a:pt x="386587" y="504461"/>
                    <a:pt x="386587" y="504461"/>
                    <a:pt x="402722" y="492359"/>
                  </a:cubicBezTo>
                  <a:cubicBezTo>
                    <a:pt x="415976" y="479969"/>
                    <a:pt x="419722" y="464122"/>
                    <a:pt x="417129" y="446834"/>
                  </a:cubicBezTo>
                  <a:cubicBezTo>
                    <a:pt x="412807" y="417732"/>
                    <a:pt x="402722" y="390070"/>
                    <a:pt x="394366" y="362121"/>
                  </a:cubicBezTo>
                  <a:cubicBezTo>
                    <a:pt x="369010" y="275968"/>
                    <a:pt x="344518" y="189527"/>
                    <a:pt x="318010" y="103662"/>
                  </a:cubicBezTo>
                  <a:cubicBezTo>
                    <a:pt x="313688" y="89543"/>
                    <a:pt x="307925" y="76289"/>
                    <a:pt x="296399" y="66204"/>
                  </a:cubicBezTo>
                  <a:cubicBezTo>
                    <a:pt x="288908" y="59577"/>
                    <a:pt x="280840" y="55543"/>
                    <a:pt x="270755" y="55831"/>
                  </a:cubicBezTo>
                  <a:cubicBezTo>
                    <a:pt x="263840" y="54967"/>
                    <a:pt x="254908" y="57272"/>
                    <a:pt x="254619" y="45746"/>
                  </a:cubicBezTo>
                  <a:cubicBezTo>
                    <a:pt x="252603" y="37678"/>
                    <a:pt x="251162" y="29611"/>
                    <a:pt x="247992" y="21831"/>
                  </a:cubicBezTo>
                  <a:cubicBezTo>
                    <a:pt x="244535" y="12899"/>
                    <a:pt x="246840" y="9729"/>
                    <a:pt x="255772" y="7712"/>
                  </a:cubicBezTo>
                  <a:close/>
                  <a:moveTo>
                    <a:pt x="50907" y="64474"/>
                  </a:moveTo>
                  <a:cubicBezTo>
                    <a:pt x="84043" y="54966"/>
                    <a:pt x="116891" y="45169"/>
                    <a:pt x="150026" y="35662"/>
                  </a:cubicBezTo>
                  <a:cubicBezTo>
                    <a:pt x="162993" y="32492"/>
                    <a:pt x="175094" y="25865"/>
                    <a:pt x="188925" y="27306"/>
                  </a:cubicBezTo>
                  <a:cubicBezTo>
                    <a:pt x="192671" y="26152"/>
                    <a:pt x="196705" y="25576"/>
                    <a:pt x="200162" y="24136"/>
                  </a:cubicBezTo>
                  <a:cubicBezTo>
                    <a:pt x="210247" y="19526"/>
                    <a:pt x="216298" y="21831"/>
                    <a:pt x="217451" y="33356"/>
                  </a:cubicBezTo>
                  <a:cubicBezTo>
                    <a:pt x="224366" y="39984"/>
                    <a:pt x="225230" y="49492"/>
                    <a:pt x="227824" y="58135"/>
                  </a:cubicBezTo>
                  <a:cubicBezTo>
                    <a:pt x="233586" y="78305"/>
                    <a:pt x="239925" y="98187"/>
                    <a:pt x="245688" y="118357"/>
                  </a:cubicBezTo>
                  <a:cubicBezTo>
                    <a:pt x="248570" y="130459"/>
                    <a:pt x="252892" y="141695"/>
                    <a:pt x="256061" y="153798"/>
                  </a:cubicBezTo>
                  <a:cubicBezTo>
                    <a:pt x="260383" y="170510"/>
                    <a:pt x="266146" y="187222"/>
                    <a:pt x="270468" y="203934"/>
                  </a:cubicBezTo>
                  <a:cubicBezTo>
                    <a:pt x="295248" y="287206"/>
                    <a:pt x="319450" y="370477"/>
                    <a:pt x="343654" y="453749"/>
                  </a:cubicBezTo>
                  <a:cubicBezTo>
                    <a:pt x="352587" y="482850"/>
                    <a:pt x="360654" y="511953"/>
                    <a:pt x="369299" y="541343"/>
                  </a:cubicBezTo>
                  <a:cubicBezTo>
                    <a:pt x="373333" y="555461"/>
                    <a:pt x="371892" y="558343"/>
                    <a:pt x="358638" y="562377"/>
                  </a:cubicBezTo>
                  <a:cubicBezTo>
                    <a:pt x="335011" y="569868"/>
                    <a:pt x="310807" y="576496"/>
                    <a:pt x="287179" y="583699"/>
                  </a:cubicBezTo>
                  <a:cubicBezTo>
                    <a:pt x="282570" y="584563"/>
                    <a:pt x="277960" y="585715"/>
                    <a:pt x="273061" y="584274"/>
                  </a:cubicBezTo>
                  <a:cubicBezTo>
                    <a:pt x="245688" y="592055"/>
                    <a:pt x="218603" y="599835"/>
                    <a:pt x="191230" y="607614"/>
                  </a:cubicBezTo>
                  <a:cubicBezTo>
                    <a:pt x="183739" y="609919"/>
                    <a:pt x="175959" y="611647"/>
                    <a:pt x="167891" y="611648"/>
                  </a:cubicBezTo>
                  <a:cubicBezTo>
                    <a:pt x="158383" y="611647"/>
                    <a:pt x="152042" y="607326"/>
                    <a:pt x="148874" y="598394"/>
                  </a:cubicBezTo>
                  <a:cubicBezTo>
                    <a:pt x="145704" y="590038"/>
                    <a:pt x="146857" y="581970"/>
                    <a:pt x="153484" y="575343"/>
                  </a:cubicBezTo>
                  <a:cubicBezTo>
                    <a:pt x="154060" y="574766"/>
                    <a:pt x="154637" y="574190"/>
                    <a:pt x="155213" y="573902"/>
                  </a:cubicBezTo>
                  <a:cubicBezTo>
                    <a:pt x="179705" y="562088"/>
                    <a:pt x="178264" y="543936"/>
                    <a:pt x="169908" y="522326"/>
                  </a:cubicBezTo>
                  <a:cubicBezTo>
                    <a:pt x="162993" y="503885"/>
                    <a:pt x="158094" y="484868"/>
                    <a:pt x="152332" y="466139"/>
                  </a:cubicBezTo>
                  <a:cubicBezTo>
                    <a:pt x="141382" y="448273"/>
                    <a:pt x="139077" y="427527"/>
                    <a:pt x="132738" y="408223"/>
                  </a:cubicBezTo>
                  <a:cubicBezTo>
                    <a:pt x="125247" y="384884"/>
                    <a:pt x="118908" y="361257"/>
                    <a:pt x="111992" y="337917"/>
                  </a:cubicBezTo>
                  <a:cubicBezTo>
                    <a:pt x="102772" y="305358"/>
                    <a:pt x="93263" y="272799"/>
                    <a:pt x="83467" y="240238"/>
                  </a:cubicBezTo>
                  <a:cubicBezTo>
                    <a:pt x="74534" y="208256"/>
                    <a:pt x="64738" y="176560"/>
                    <a:pt x="55517" y="144577"/>
                  </a:cubicBezTo>
                  <a:cubicBezTo>
                    <a:pt x="51772" y="131322"/>
                    <a:pt x="43992" y="123255"/>
                    <a:pt x="29297" y="124119"/>
                  </a:cubicBezTo>
                  <a:cubicBezTo>
                    <a:pt x="27280" y="124119"/>
                    <a:pt x="25263" y="123832"/>
                    <a:pt x="23534" y="123543"/>
                  </a:cubicBezTo>
                  <a:cubicBezTo>
                    <a:pt x="10280" y="120950"/>
                    <a:pt x="1924" y="113170"/>
                    <a:pt x="195" y="101645"/>
                  </a:cubicBezTo>
                  <a:cubicBezTo>
                    <a:pt x="-1246" y="91559"/>
                    <a:pt x="5381" y="81187"/>
                    <a:pt x="17195" y="75713"/>
                  </a:cubicBezTo>
                  <a:cubicBezTo>
                    <a:pt x="27856" y="70526"/>
                    <a:pt x="39670" y="67645"/>
                    <a:pt x="50907" y="6447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F0284A17-5081-4C6E-8DC2-6EFBA6EFCBC6}"/>
                </a:ext>
              </a:extLst>
            </p:cNvPr>
            <p:cNvSpPr/>
            <p:nvPr/>
          </p:nvSpPr>
          <p:spPr>
            <a:xfrm rot="1020000">
              <a:off x="9339897" y="633711"/>
              <a:ext cx="279964" cy="180525"/>
            </a:xfrm>
            <a:custGeom>
              <a:avLst/>
              <a:gdLst>
                <a:gd name="connsiteX0" fmla="*/ 34527 w 279964"/>
                <a:gd name="connsiteY0" fmla="*/ 180221 h 180525"/>
                <a:gd name="connsiteX1" fmla="*/ 29341 w 279964"/>
                <a:gd name="connsiteY1" fmla="*/ 175611 h 180525"/>
                <a:gd name="connsiteX2" fmla="*/ 527 w 279964"/>
                <a:gd name="connsiteY2" fmla="*/ 78220 h 180525"/>
                <a:gd name="connsiteX3" fmla="*/ 8019 w 279964"/>
                <a:gd name="connsiteY3" fmla="*/ 69576 h 180525"/>
                <a:gd name="connsiteX4" fmla="*/ 203087 w 279964"/>
                <a:gd name="connsiteY4" fmla="*/ 12237 h 180525"/>
                <a:gd name="connsiteX5" fmla="*/ 240545 w 279964"/>
                <a:gd name="connsiteY5" fmla="*/ 999 h 180525"/>
                <a:gd name="connsiteX6" fmla="*/ 252071 w 279964"/>
                <a:gd name="connsiteY6" fmla="*/ 7050 h 180525"/>
                <a:gd name="connsiteX7" fmla="*/ 278868 w 279964"/>
                <a:gd name="connsiteY7" fmla="*/ 98966 h 180525"/>
                <a:gd name="connsiteX8" fmla="*/ 273681 w 279964"/>
                <a:gd name="connsiteY8" fmla="*/ 109915 h 180525"/>
                <a:gd name="connsiteX9" fmla="*/ 37697 w 279964"/>
                <a:gd name="connsiteY9" fmla="*/ 178780 h 180525"/>
                <a:gd name="connsiteX10" fmla="*/ 34527 w 279964"/>
                <a:gd name="connsiteY10" fmla="*/ 180221 h 18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9964" h="180525">
                  <a:moveTo>
                    <a:pt x="34527" y="180221"/>
                  </a:moveTo>
                  <a:cubicBezTo>
                    <a:pt x="29917" y="181662"/>
                    <a:pt x="30205" y="177628"/>
                    <a:pt x="29341" y="175611"/>
                  </a:cubicBezTo>
                  <a:cubicBezTo>
                    <a:pt x="19544" y="143051"/>
                    <a:pt x="10323" y="110492"/>
                    <a:pt x="527" y="78220"/>
                  </a:cubicBezTo>
                  <a:cubicBezTo>
                    <a:pt x="-1778" y="70152"/>
                    <a:pt x="3985" y="70729"/>
                    <a:pt x="8019" y="69576"/>
                  </a:cubicBezTo>
                  <a:cubicBezTo>
                    <a:pt x="73138" y="50271"/>
                    <a:pt x="137968" y="31542"/>
                    <a:pt x="203087" y="12237"/>
                  </a:cubicBezTo>
                  <a:cubicBezTo>
                    <a:pt x="215478" y="8491"/>
                    <a:pt x="228156" y="5033"/>
                    <a:pt x="240545" y="999"/>
                  </a:cubicBezTo>
                  <a:cubicBezTo>
                    <a:pt x="246885" y="-1018"/>
                    <a:pt x="250054" y="-441"/>
                    <a:pt x="252071" y="7050"/>
                  </a:cubicBezTo>
                  <a:cubicBezTo>
                    <a:pt x="260427" y="37881"/>
                    <a:pt x="269647" y="68424"/>
                    <a:pt x="278868" y="98966"/>
                  </a:cubicBezTo>
                  <a:cubicBezTo>
                    <a:pt x="280596" y="104729"/>
                    <a:pt x="281173" y="107898"/>
                    <a:pt x="273681" y="109915"/>
                  </a:cubicBezTo>
                  <a:cubicBezTo>
                    <a:pt x="195020" y="132678"/>
                    <a:pt x="116358" y="155729"/>
                    <a:pt x="37697" y="178780"/>
                  </a:cubicBezTo>
                  <a:cubicBezTo>
                    <a:pt x="36544" y="179068"/>
                    <a:pt x="35392" y="179645"/>
                    <a:pt x="34527" y="180221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7A5A8AFA-272C-4A8F-8FCB-4495E5F6689B}"/>
                </a:ext>
              </a:extLst>
            </p:cNvPr>
            <p:cNvSpPr/>
            <p:nvPr/>
          </p:nvSpPr>
          <p:spPr>
            <a:xfrm rot="1020000">
              <a:off x="10118028" y="422365"/>
              <a:ext cx="471542" cy="578663"/>
            </a:xfrm>
            <a:custGeom>
              <a:avLst/>
              <a:gdLst>
                <a:gd name="connsiteX0" fmla="*/ 175480 w 471542"/>
                <a:gd name="connsiteY0" fmla="*/ 400270 h 578663"/>
                <a:gd name="connsiteX1" fmla="*/ 245930 w 471542"/>
                <a:gd name="connsiteY1" fmla="*/ 416442 h 578663"/>
                <a:gd name="connsiteX2" fmla="*/ 262642 w 471542"/>
                <a:gd name="connsiteY2" fmla="*/ 482713 h 578663"/>
                <a:gd name="connsiteX3" fmla="*/ 256879 w 471542"/>
                <a:gd name="connsiteY3" fmla="*/ 496832 h 578663"/>
                <a:gd name="connsiteX4" fmla="*/ 281947 w 471542"/>
                <a:gd name="connsiteY4" fmla="*/ 530256 h 578663"/>
                <a:gd name="connsiteX5" fmla="*/ 296642 w 471542"/>
                <a:gd name="connsiteY5" fmla="*/ 540629 h 578663"/>
                <a:gd name="connsiteX6" fmla="*/ 300100 w 471542"/>
                <a:gd name="connsiteY6" fmla="*/ 553307 h 578663"/>
                <a:gd name="connsiteX7" fmla="*/ 286557 w 471542"/>
                <a:gd name="connsiteY7" fmla="*/ 575494 h 578663"/>
                <a:gd name="connsiteX8" fmla="*/ 255727 w 471542"/>
                <a:gd name="connsiteY8" fmla="*/ 578663 h 578663"/>
                <a:gd name="connsiteX9" fmla="*/ 159489 w 471542"/>
                <a:gd name="connsiteY9" fmla="*/ 552443 h 578663"/>
                <a:gd name="connsiteX10" fmla="*/ 120590 w 471542"/>
                <a:gd name="connsiteY10" fmla="*/ 450442 h 578663"/>
                <a:gd name="connsiteX11" fmla="*/ 175480 w 471542"/>
                <a:gd name="connsiteY11" fmla="*/ 400270 h 578663"/>
                <a:gd name="connsiteX12" fmla="*/ 183980 w 471542"/>
                <a:gd name="connsiteY12" fmla="*/ 2964 h 578663"/>
                <a:gd name="connsiteX13" fmla="*/ 305286 w 471542"/>
                <a:gd name="connsiteY13" fmla="*/ 23422 h 578663"/>
                <a:gd name="connsiteX14" fmla="*/ 427457 w 471542"/>
                <a:gd name="connsiteY14" fmla="*/ 155389 h 578663"/>
                <a:gd name="connsiteX15" fmla="*/ 471542 w 471542"/>
                <a:gd name="connsiteY15" fmla="*/ 341525 h 578663"/>
                <a:gd name="connsiteX16" fmla="*/ 420254 w 471542"/>
                <a:gd name="connsiteY16" fmla="*/ 502594 h 578663"/>
                <a:gd name="connsiteX17" fmla="*/ 345626 w 471542"/>
                <a:gd name="connsiteY17" fmla="*/ 559357 h 578663"/>
                <a:gd name="connsiteX18" fmla="*/ 334389 w 471542"/>
                <a:gd name="connsiteY18" fmla="*/ 553883 h 578663"/>
                <a:gd name="connsiteX19" fmla="*/ 331507 w 471542"/>
                <a:gd name="connsiteY19" fmla="*/ 543510 h 578663"/>
                <a:gd name="connsiteX20" fmla="*/ 338998 w 471542"/>
                <a:gd name="connsiteY20" fmla="*/ 508069 h 578663"/>
                <a:gd name="connsiteX21" fmla="*/ 349948 w 471542"/>
                <a:gd name="connsiteY21" fmla="*/ 462255 h 578663"/>
                <a:gd name="connsiteX22" fmla="*/ 308455 w 471542"/>
                <a:gd name="connsiteY22" fmla="*/ 316746 h 578663"/>
                <a:gd name="connsiteX23" fmla="*/ 244489 w 471542"/>
                <a:gd name="connsiteY23" fmla="*/ 98626 h 578663"/>
                <a:gd name="connsiteX24" fmla="*/ 234117 w 471542"/>
                <a:gd name="connsiteY24" fmla="*/ 72405 h 578663"/>
                <a:gd name="connsiteX25" fmla="*/ 192913 w 471542"/>
                <a:gd name="connsiteY25" fmla="*/ 47049 h 578663"/>
                <a:gd name="connsiteX26" fmla="*/ 184269 w 471542"/>
                <a:gd name="connsiteY26" fmla="*/ 40422 h 578663"/>
                <a:gd name="connsiteX27" fmla="*/ 176778 w 471542"/>
                <a:gd name="connsiteY27" fmla="*/ 15354 h 578663"/>
                <a:gd name="connsiteX28" fmla="*/ 183980 w 471542"/>
                <a:gd name="connsiteY28" fmla="*/ 2964 h 578663"/>
                <a:gd name="connsiteX29" fmla="*/ 131826 w 471542"/>
                <a:gd name="connsiteY29" fmla="*/ 17660 h 578663"/>
                <a:gd name="connsiteX30" fmla="*/ 145082 w 471542"/>
                <a:gd name="connsiteY30" fmla="*/ 25152 h 578663"/>
                <a:gd name="connsiteX31" fmla="*/ 148827 w 471542"/>
                <a:gd name="connsiteY31" fmla="*/ 37542 h 578663"/>
                <a:gd name="connsiteX32" fmla="*/ 142199 w 471542"/>
                <a:gd name="connsiteY32" fmla="*/ 67220 h 578663"/>
                <a:gd name="connsiteX33" fmla="*/ 135573 w 471542"/>
                <a:gd name="connsiteY33" fmla="*/ 92000 h 578663"/>
                <a:gd name="connsiteX34" fmla="*/ 183404 w 471542"/>
                <a:gd name="connsiteY34" fmla="*/ 254221 h 578663"/>
                <a:gd name="connsiteX35" fmla="*/ 237861 w 471542"/>
                <a:gd name="connsiteY35" fmla="*/ 268628 h 578663"/>
                <a:gd name="connsiteX36" fmla="*/ 246505 w 471542"/>
                <a:gd name="connsiteY36" fmla="*/ 258543 h 578663"/>
                <a:gd name="connsiteX37" fmla="*/ 258319 w 471542"/>
                <a:gd name="connsiteY37" fmla="*/ 297154 h 578663"/>
                <a:gd name="connsiteX38" fmla="*/ 256014 w 471542"/>
                <a:gd name="connsiteY38" fmla="*/ 305798 h 578663"/>
                <a:gd name="connsiteX39" fmla="*/ 35013 w 471542"/>
                <a:gd name="connsiteY39" fmla="*/ 302916 h 578663"/>
                <a:gd name="connsiteX40" fmla="*/ 147 w 471542"/>
                <a:gd name="connsiteY40" fmla="*/ 186221 h 578663"/>
                <a:gd name="connsiteX41" fmla="*/ 131826 w 471542"/>
                <a:gd name="connsiteY41" fmla="*/ 17660 h 57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542" h="578663">
                  <a:moveTo>
                    <a:pt x="175480" y="400270"/>
                  </a:moveTo>
                  <a:cubicBezTo>
                    <a:pt x="199756" y="393679"/>
                    <a:pt x="226625" y="398145"/>
                    <a:pt x="245930" y="416442"/>
                  </a:cubicBezTo>
                  <a:cubicBezTo>
                    <a:pt x="265235" y="434883"/>
                    <a:pt x="270421" y="457357"/>
                    <a:pt x="262642" y="482713"/>
                  </a:cubicBezTo>
                  <a:cubicBezTo>
                    <a:pt x="261201" y="487612"/>
                    <a:pt x="258608" y="492222"/>
                    <a:pt x="256879" y="496832"/>
                  </a:cubicBezTo>
                  <a:cubicBezTo>
                    <a:pt x="248811" y="518154"/>
                    <a:pt x="258608" y="532561"/>
                    <a:pt x="281947" y="530256"/>
                  </a:cubicBezTo>
                  <a:cubicBezTo>
                    <a:pt x="291744" y="529104"/>
                    <a:pt x="295201" y="531985"/>
                    <a:pt x="296642" y="540629"/>
                  </a:cubicBezTo>
                  <a:cubicBezTo>
                    <a:pt x="297506" y="544951"/>
                    <a:pt x="298659" y="548985"/>
                    <a:pt x="300100" y="553307"/>
                  </a:cubicBezTo>
                  <a:cubicBezTo>
                    <a:pt x="305863" y="572612"/>
                    <a:pt x="305863" y="572900"/>
                    <a:pt x="286557" y="575494"/>
                  </a:cubicBezTo>
                  <a:cubicBezTo>
                    <a:pt x="275032" y="577222"/>
                    <a:pt x="264083" y="577799"/>
                    <a:pt x="255727" y="578663"/>
                  </a:cubicBezTo>
                  <a:cubicBezTo>
                    <a:pt x="219709" y="577222"/>
                    <a:pt x="187726" y="571460"/>
                    <a:pt x="159489" y="552443"/>
                  </a:cubicBezTo>
                  <a:cubicBezTo>
                    <a:pt x="123759" y="528527"/>
                    <a:pt x="107912" y="487035"/>
                    <a:pt x="120590" y="450442"/>
                  </a:cubicBezTo>
                  <a:cubicBezTo>
                    <a:pt x="129523" y="424509"/>
                    <a:pt x="151204" y="406861"/>
                    <a:pt x="175480" y="400270"/>
                  </a:cubicBezTo>
                  <a:close/>
                  <a:moveTo>
                    <a:pt x="183980" y="2964"/>
                  </a:moveTo>
                  <a:cubicBezTo>
                    <a:pt x="226914" y="-4816"/>
                    <a:pt x="267253" y="2964"/>
                    <a:pt x="305286" y="23422"/>
                  </a:cubicBezTo>
                  <a:cubicBezTo>
                    <a:pt x="361185" y="53388"/>
                    <a:pt x="398931" y="100066"/>
                    <a:pt x="427457" y="155389"/>
                  </a:cubicBezTo>
                  <a:cubicBezTo>
                    <a:pt x="456847" y="212152"/>
                    <a:pt x="470678" y="272372"/>
                    <a:pt x="471542" y="341525"/>
                  </a:cubicBezTo>
                  <a:cubicBezTo>
                    <a:pt x="470678" y="396272"/>
                    <a:pt x="458000" y="453323"/>
                    <a:pt x="420254" y="502594"/>
                  </a:cubicBezTo>
                  <a:cubicBezTo>
                    <a:pt x="400660" y="528239"/>
                    <a:pt x="375880" y="547256"/>
                    <a:pt x="345626" y="559357"/>
                  </a:cubicBezTo>
                  <a:cubicBezTo>
                    <a:pt x="339287" y="561951"/>
                    <a:pt x="335540" y="561662"/>
                    <a:pt x="334389" y="553883"/>
                  </a:cubicBezTo>
                  <a:cubicBezTo>
                    <a:pt x="334100" y="550425"/>
                    <a:pt x="332660" y="546967"/>
                    <a:pt x="331507" y="543510"/>
                  </a:cubicBezTo>
                  <a:cubicBezTo>
                    <a:pt x="326321" y="529967"/>
                    <a:pt x="323440" y="519018"/>
                    <a:pt x="338998" y="508069"/>
                  </a:cubicBezTo>
                  <a:cubicBezTo>
                    <a:pt x="353694" y="497696"/>
                    <a:pt x="354270" y="478679"/>
                    <a:pt x="349948" y="462255"/>
                  </a:cubicBezTo>
                  <a:cubicBezTo>
                    <a:pt x="336694" y="413560"/>
                    <a:pt x="322575" y="365153"/>
                    <a:pt x="308455" y="316746"/>
                  </a:cubicBezTo>
                  <a:cubicBezTo>
                    <a:pt x="287422" y="244135"/>
                    <a:pt x="265811" y="171524"/>
                    <a:pt x="244489" y="98626"/>
                  </a:cubicBezTo>
                  <a:cubicBezTo>
                    <a:pt x="241897" y="89405"/>
                    <a:pt x="238727" y="80473"/>
                    <a:pt x="234117" y="72405"/>
                  </a:cubicBezTo>
                  <a:cubicBezTo>
                    <a:pt x="225185" y="56269"/>
                    <a:pt x="211641" y="47049"/>
                    <a:pt x="192913" y="47049"/>
                  </a:cubicBezTo>
                  <a:cubicBezTo>
                    <a:pt x="187438" y="47049"/>
                    <a:pt x="185421" y="45608"/>
                    <a:pt x="184269" y="40422"/>
                  </a:cubicBezTo>
                  <a:cubicBezTo>
                    <a:pt x="182251" y="32066"/>
                    <a:pt x="180235" y="23422"/>
                    <a:pt x="176778" y="15354"/>
                  </a:cubicBezTo>
                  <a:cubicBezTo>
                    <a:pt x="173320" y="6998"/>
                    <a:pt x="175912" y="4405"/>
                    <a:pt x="183980" y="2964"/>
                  </a:cubicBezTo>
                  <a:close/>
                  <a:moveTo>
                    <a:pt x="131826" y="17660"/>
                  </a:moveTo>
                  <a:cubicBezTo>
                    <a:pt x="139606" y="15355"/>
                    <a:pt x="144217" y="15643"/>
                    <a:pt x="145082" y="25152"/>
                  </a:cubicBezTo>
                  <a:cubicBezTo>
                    <a:pt x="145658" y="29474"/>
                    <a:pt x="147387" y="33508"/>
                    <a:pt x="148827" y="37542"/>
                  </a:cubicBezTo>
                  <a:cubicBezTo>
                    <a:pt x="153149" y="48779"/>
                    <a:pt x="156031" y="58864"/>
                    <a:pt x="142199" y="67220"/>
                  </a:cubicBezTo>
                  <a:cubicBezTo>
                    <a:pt x="134131" y="72118"/>
                    <a:pt x="132979" y="82491"/>
                    <a:pt x="135573" y="92000"/>
                  </a:cubicBezTo>
                  <a:cubicBezTo>
                    <a:pt x="151420" y="146170"/>
                    <a:pt x="166979" y="200339"/>
                    <a:pt x="183404" y="254221"/>
                  </a:cubicBezTo>
                  <a:cubicBezTo>
                    <a:pt x="192048" y="283035"/>
                    <a:pt x="215386" y="288798"/>
                    <a:pt x="237861" y="268628"/>
                  </a:cubicBezTo>
                  <a:cubicBezTo>
                    <a:pt x="240455" y="266323"/>
                    <a:pt x="242471" y="263153"/>
                    <a:pt x="246505" y="258543"/>
                  </a:cubicBezTo>
                  <a:cubicBezTo>
                    <a:pt x="250828" y="273238"/>
                    <a:pt x="254574" y="285340"/>
                    <a:pt x="258319" y="297154"/>
                  </a:cubicBezTo>
                  <a:cubicBezTo>
                    <a:pt x="259184" y="300323"/>
                    <a:pt x="258607" y="303204"/>
                    <a:pt x="256014" y="305798"/>
                  </a:cubicBezTo>
                  <a:cubicBezTo>
                    <a:pt x="189454" y="374086"/>
                    <a:pt x="90335" y="372069"/>
                    <a:pt x="35013" y="302916"/>
                  </a:cubicBezTo>
                  <a:cubicBezTo>
                    <a:pt x="7639" y="268916"/>
                    <a:pt x="-1292" y="228577"/>
                    <a:pt x="147" y="186221"/>
                  </a:cubicBezTo>
                  <a:cubicBezTo>
                    <a:pt x="3030" y="105542"/>
                    <a:pt x="54317" y="40711"/>
                    <a:pt x="131826" y="176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2310C909-0DE1-4807-8F9A-F312673372C1}"/>
                </a:ext>
              </a:extLst>
            </p:cNvPr>
            <p:cNvSpPr/>
            <p:nvPr/>
          </p:nvSpPr>
          <p:spPr>
            <a:xfrm rot="1020000">
              <a:off x="7393031" y="417861"/>
              <a:ext cx="516389" cy="582638"/>
            </a:xfrm>
            <a:custGeom>
              <a:avLst/>
              <a:gdLst>
                <a:gd name="connsiteX0" fmla="*/ 202598 w 516389"/>
                <a:gd name="connsiteY0" fmla="*/ 4066 h 582638"/>
                <a:gd name="connsiteX1" fmla="*/ 273480 w 516389"/>
                <a:gd name="connsiteY1" fmla="*/ 1761 h 582638"/>
                <a:gd name="connsiteX2" fmla="*/ 467108 w 516389"/>
                <a:gd name="connsiteY2" fmla="*/ 142084 h 582638"/>
                <a:gd name="connsiteX3" fmla="*/ 499380 w 516389"/>
                <a:gd name="connsiteY3" fmla="*/ 221034 h 582638"/>
                <a:gd name="connsiteX4" fmla="*/ 516380 w 516389"/>
                <a:gd name="connsiteY4" fmla="*/ 331967 h 582638"/>
                <a:gd name="connsiteX5" fmla="*/ 504278 w 516389"/>
                <a:gd name="connsiteY5" fmla="*/ 412645 h 582638"/>
                <a:gd name="connsiteX6" fmla="*/ 469702 w 516389"/>
                <a:gd name="connsiteY6" fmla="*/ 482662 h 582638"/>
                <a:gd name="connsiteX7" fmla="*/ 459040 w 516389"/>
                <a:gd name="connsiteY7" fmla="*/ 494188 h 582638"/>
                <a:gd name="connsiteX8" fmla="*/ 364531 w 516389"/>
                <a:gd name="connsiteY8" fmla="*/ 562189 h 582638"/>
                <a:gd name="connsiteX9" fmla="*/ 353582 w 516389"/>
                <a:gd name="connsiteY9" fmla="*/ 557002 h 582638"/>
                <a:gd name="connsiteX10" fmla="*/ 351277 w 516389"/>
                <a:gd name="connsiteY10" fmla="*/ 548934 h 582638"/>
                <a:gd name="connsiteX11" fmla="*/ 358192 w 516389"/>
                <a:gd name="connsiteY11" fmla="*/ 508883 h 582638"/>
                <a:gd name="connsiteX12" fmla="*/ 367413 w 516389"/>
                <a:gd name="connsiteY12" fmla="*/ 471425 h 582638"/>
                <a:gd name="connsiteX13" fmla="*/ 354735 w 516389"/>
                <a:gd name="connsiteY13" fmla="*/ 429645 h 582638"/>
                <a:gd name="connsiteX14" fmla="*/ 342633 w 516389"/>
                <a:gd name="connsiteY14" fmla="*/ 397374 h 582638"/>
                <a:gd name="connsiteX15" fmla="*/ 278667 w 516389"/>
                <a:gd name="connsiteY15" fmla="*/ 179830 h 582638"/>
                <a:gd name="connsiteX16" fmla="*/ 251582 w 516389"/>
                <a:gd name="connsiteY16" fmla="*/ 87626 h 582638"/>
                <a:gd name="connsiteX17" fmla="*/ 217581 w 516389"/>
                <a:gd name="connsiteY17" fmla="*/ 56219 h 582638"/>
                <a:gd name="connsiteX18" fmla="*/ 197412 w 516389"/>
                <a:gd name="connsiteY18" fmla="*/ 36338 h 582638"/>
                <a:gd name="connsiteX19" fmla="*/ 192513 w 516389"/>
                <a:gd name="connsiteY19" fmla="*/ 20490 h 582638"/>
                <a:gd name="connsiteX20" fmla="*/ 202598 w 516389"/>
                <a:gd name="connsiteY20" fmla="*/ 4066 h 582638"/>
                <a:gd name="connsiteX21" fmla="*/ 150733 w 516389"/>
                <a:gd name="connsiteY21" fmla="*/ 19050 h 582638"/>
                <a:gd name="connsiteX22" fmla="*/ 166869 w 516389"/>
                <a:gd name="connsiteY22" fmla="*/ 26541 h 582638"/>
                <a:gd name="connsiteX23" fmla="*/ 170327 w 516389"/>
                <a:gd name="connsiteY23" fmla="*/ 37779 h 582638"/>
                <a:gd name="connsiteX24" fmla="*/ 164276 w 516389"/>
                <a:gd name="connsiteY24" fmla="*/ 72643 h 582638"/>
                <a:gd name="connsiteX25" fmla="*/ 157649 w 516389"/>
                <a:gd name="connsiteY25" fmla="*/ 129983 h 582638"/>
                <a:gd name="connsiteX26" fmla="*/ 228819 w 516389"/>
                <a:gd name="connsiteY26" fmla="*/ 371442 h 582638"/>
                <a:gd name="connsiteX27" fmla="*/ 246395 w 516389"/>
                <a:gd name="connsiteY27" fmla="*/ 431951 h 582638"/>
                <a:gd name="connsiteX28" fmla="*/ 250429 w 516389"/>
                <a:gd name="connsiteY28" fmla="*/ 445781 h 582638"/>
                <a:gd name="connsiteX29" fmla="*/ 263107 w 516389"/>
                <a:gd name="connsiteY29" fmla="*/ 488714 h 582638"/>
                <a:gd name="connsiteX30" fmla="*/ 300565 w 516389"/>
                <a:gd name="connsiteY30" fmla="*/ 528188 h 582638"/>
                <a:gd name="connsiteX31" fmla="*/ 305175 w 516389"/>
                <a:gd name="connsiteY31" fmla="*/ 531358 h 582638"/>
                <a:gd name="connsiteX32" fmla="*/ 314395 w 516389"/>
                <a:gd name="connsiteY32" fmla="*/ 540290 h 582638"/>
                <a:gd name="connsiteX33" fmla="*/ 321887 w 516389"/>
                <a:gd name="connsiteY33" fmla="*/ 566223 h 582638"/>
                <a:gd name="connsiteX34" fmla="*/ 315260 w 516389"/>
                <a:gd name="connsiteY34" fmla="*/ 576307 h 582638"/>
                <a:gd name="connsiteX35" fmla="*/ 267141 w 516389"/>
                <a:gd name="connsiteY35" fmla="*/ 580918 h 582638"/>
                <a:gd name="connsiteX36" fmla="*/ 221615 w 516389"/>
                <a:gd name="connsiteY36" fmla="*/ 576019 h 582638"/>
                <a:gd name="connsiteX37" fmla="*/ 164852 w 516389"/>
                <a:gd name="connsiteY37" fmla="*/ 555850 h 582638"/>
                <a:gd name="connsiteX38" fmla="*/ 128547 w 516389"/>
                <a:gd name="connsiteY38" fmla="*/ 532799 h 582638"/>
                <a:gd name="connsiteX39" fmla="*/ 43834 w 516389"/>
                <a:gd name="connsiteY39" fmla="*/ 425035 h 582638"/>
                <a:gd name="connsiteX40" fmla="*/ 33461 w 516389"/>
                <a:gd name="connsiteY40" fmla="*/ 408035 h 582638"/>
                <a:gd name="connsiteX41" fmla="*/ 4936 w 516389"/>
                <a:gd name="connsiteY41" fmla="*/ 309492 h 582638"/>
                <a:gd name="connsiteX42" fmla="*/ 38 w 516389"/>
                <a:gd name="connsiteY42" fmla="*/ 266272 h 582638"/>
                <a:gd name="connsiteX43" fmla="*/ 51902 w 516389"/>
                <a:gd name="connsiteY43" fmla="*/ 92813 h 582638"/>
                <a:gd name="connsiteX44" fmla="*/ 72072 w 516389"/>
                <a:gd name="connsiteY44" fmla="*/ 71203 h 582638"/>
                <a:gd name="connsiteX45" fmla="*/ 150733 w 516389"/>
                <a:gd name="connsiteY45" fmla="*/ 19050 h 58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16389" h="582638">
                  <a:moveTo>
                    <a:pt x="202598" y="4066"/>
                  </a:moveTo>
                  <a:cubicBezTo>
                    <a:pt x="226226" y="-544"/>
                    <a:pt x="249853" y="-1120"/>
                    <a:pt x="273480" y="1761"/>
                  </a:cubicBezTo>
                  <a:cubicBezTo>
                    <a:pt x="363667" y="12999"/>
                    <a:pt x="425040" y="64863"/>
                    <a:pt x="467108" y="142084"/>
                  </a:cubicBezTo>
                  <a:cubicBezTo>
                    <a:pt x="480651" y="167152"/>
                    <a:pt x="491600" y="193661"/>
                    <a:pt x="499380" y="221034"/>
                  </a:cubicBezTo>
                  <a:cubicBezTo>
                    <a:pt x="510329" y="257339"/>
                    <a:pt x="516668" y="294221"/>
                    <a:pt x="516380" y="331967"/>
                  </a:cubicBezTo>
                  <a:cubicBezTo>
                    <a:pt x="516092" y="359340"/>
                    <a:pt x="512634" y="386425"/>
                    <a:pt x="504278" y="412645"/>
                  </a:cubicBezTo>
                  <a:cubicBezTo>
                    <a:pt x="495634" y="437425"/>
                    <a:pt x="485549" y="461340"/>
                    <a:pt x="469702" y="482662"/>
                  </a:cubicBezTo>
                  <a:cubicBezTo>
                    <a:pt x="467685" y="487561"/>
                    <a:pt x="465091" y="492747"/>
                    <a:pt x="459040" y="494188"/>
                  </a:cubicBezTo>
                  <a:cubicBezTo>
                    <a:pt x="432820" y="524154"/>
                    <a:pt x="401125" y="546341"/>
                    <a:pt x="364531" y="562189"/>
                  </a:cubicBezTo>
                  <a:cubicBezTo>
                    <a:pt x="358192" y="565070"/>
                    <a:pt x="354447" y="565070"/>
                    <a:pt x="353582" y="557002"/>
                  </a:cubicBezTo>
                  <a:cubicBezTo>
                    <a:pt x="353294" y="554409"/>
                    <a:pt x="352430" y="551527"/>
                    <a:pt x="351277" y="548934"/>
                  </a:cubicBezTo>
                  <a:cubicBezTo>
                    <a:pt x="344938" y="533951"/>
                    <a:pt x="342921" y="521273"/>
                    <a:pt x="358192" y="508883"/>
                  </a:cubicBezTo>
                  <a:cubicBezTo>
                    <a:pt x="368854" y="500239"/>
                    <a:pt x="371159" y="485832"/>
                    <a:pt x="367413" y="471425"/>
                  </a:cubicBezTo>
                  <a:cubicBezTo>
                    <a:pt x="363955" y="457306"/>
                    <a:pt x="360786" y="443188"/>
                    <a:pt x="354735" y="429645"/>
                  </a:cubicBezTo>
                  <a:cubicBezTo>
                    <a:pt x="346955" y="420137"/>
                    <a:pt x="347531" y="407747"/>
                    <a:pt x="342633" y="397374"/>
                  </a:cubicBezTo>
                  <a:cubicBezTo>
                    <a:pt x="321599" y="324763"/>
                    <a:pt x="299989" y="252153"/>
                    <a:pt x="278667" y="179830"/>
                  </a:cubicBezTo>
                  <a:cubicBezTo>
                    <a:pt x="270310" y="148711"/>
                    <a:pt x="261090" y="118169"/>
                    <a:pt x="251582" y="87626"/>
                  </a:cubicBezTo>
                  <a:cubicBezTo>
                    <a:pt x="246395" y="70914"/>
                    <a:pt x="234870" y="59389"/>
                    <a:pt x="217581" y="56219"/>
                  </a:cubicBezTo>
                  <a:cubicBezTo>
                    <a:pt x="205480" y="54202"/>
                    <a:pt x="199429" y="47863"/>
                    <a:pt x="197412" y="36338"/>
                  </a:cubicBezTo>
                  <a:cubicBezTo>
                    <a:pt x="196547" y="30863"/>
                    <a:pt x="193954" y="25965"/>
                    <a:pt x="192513" y="20490"/>
                  </a:cubicBezTo>
                  <a:cubicBezTo>
                    <a:pt x="189632" y="8965"/>
                    <a:pt x="191361" y="6083"/>
                    <a:pt x="202598" y="4066"/>
                  </a:cubicBezTo>
                  <a:close/>
                  <a:moveTo>
                    <a:pt x="150733" y="19050"/>
                  </a:moveTo>
                  <a:cubicBezTo>
                    <a:pt x="161106" y="14439"/>
                    <a:pt x="163411" y="15592"/>
                    <a:pt x="166869" y="26541"/>
                  </a:cubicBezTo>
                  <a:cubicBezTo>
                    <a:pt x="168022" y="30287"/>
                    <a:pt x="168598" y="34321"/>
                    <a:pt x="170327" y="37779"/>
                  </a:cubicBezTo>
                  <a:cubicBezTo>
                    <a:pt x="175801" y="50745"/>
                    <a:pt x="176666" y="61118"/>
                    <a:pt x="164276" y="72643"/>
                  </a:cubicBezTo>
                  <a:cubicBezTo>
                    <a:pt x="146700" y="88779"/>
                    <a:pt x="149869" y="109813"/>
                    <a:pt x="157649" y="129983"/>
                  </a:cubicBezTo>
                  <a:cubicBezTo>
                    <a:pt x="181564" y="210373"/>
                    <a:pt x="204903" y="291051"/>
                    <a:pt x="228819" y="371442"/>
                  </a:cubicBezTo>
                  <a:cubicBezTo>
                    <a:pt x="234293" y="391611"/>
                    <a:pt x="240920" y="411493"/>
                    <a:pt x="246395" y="431951"/>
                  </a:cubicBezTo>
                  <a:cubicBezTo>
                    <a:pt x="247836" y="436561"/>
                    <a:pt x="248700" y="441171"/>
                    <a:pt x="250429" y="445781"/>
                  </a:cubicBezTo>
                  <a:cubicBezTo>
                    <a:pt x="255039" y="459900"/>
                    <a:pt x="259073" y="474307"/>
                    <a:pt x="263107" y="488714"/>
                  </a:cubicBezTo>
                  <a:cubicBezTo>
                    <a:pt x="268293" y="508883"/>
                    <a:pt x="279243" y="523290"/>
                    <a:pt x="300565" y="528188"/>
                  </a:cubicBezTo>
                  <a:cubicBezTo>
                    <a:pt x="302294" y="529053"/>
                    <a:pt x="303734" y="529917"/>
                    <a:pt x="305175" y="531358"/>
                  </a:cubicBezTo>
                  <a:cubicBezTo>
                    <a:pt x="310362" y="532222"/>
                    <a:pt x="313243" y="535104"/>
                    <a:pt x="314395" y="540290"/>
                  </a:cubicBezTo>
                  <a:cubicBezTo>
                    <a:pt x="316412" y="548934"/>
                    <a:pt x="318429" y="557867"/>
                    <a:pt x="321887" y="566223"/>
                  </a:cubicBezTo>
                  <a:cubicBezTo>
                    <a:pt x="325057" y="574002"/>
                    <a:pt x="321599" y="575731"/>
                    <a:pt x="315260" y="576307"/>
                  </a:cubicBezTo>
                  <a:cubicBezTo>
                    <a:pt x="299124" y="577748"/>
                    <a:pt x="283277" y="579477"/>
                    <a:pt x="267141" y="580918"/>
                  </a:cubicBezTo>
                  <a:cubicBezTo>
                    <a:pt x="251581" y="583511"/>
                    <a:pt x="236310" y="584087"/>
                    <a:pt x="221615" y="576019"/>
                  </a:cubicBezTo>
                  <a:cubicBezTo>
                    <a:pt x="202310" y="570545"/>
                    <a:pt x="183005" y="564782"/>
                    <a:pt x="164852" y="555850"/>
                  </a:cubicBezTo>
                  <a:cubicBezTo>
                    <a:pt x="149869" y="552680"/>
                    <a:pt x="137479" y="545189"/>
                    <a:pt x="128547" y="532799"/>
                  </a:cubicBezTo>
                  <a:cubicBezTo>
                    <a:pt x="91953" y="503409"/>
                    <a:pt x="65157" y="466239"/>
                    <a:pt x="43834" y="425035"/>
                  </a:cubicBezTo>
                  <a:cubicBezTo>
                    <a:pt x="37784" y="421001"/>
                    <a:pt x="36343" y="414086"/>
                    <a:pt x="33461" y="408035"/>
                  </a:cubicBezTo>
                  <a:cubicBezTo>
                    <a:pt x="19343" y="376628"/>
                    <a:pt x="11275" y="343204"/>
                    <a:pt x="4936" y="309492"/>
                  </a:cubicBezTo>
                  <a:cubicBezTo>
                    <a:pt x="2343" y="295085"/>
                    <a:pt x="2343" y="280678"/>
                    <a:pt x="38" y="266272"/>
                  </a:cubicBezTo>
                  <a:cubicBezTo>
                    <a:pt x="-827" y="203169"/>
                    <a:pt x="12716" y="144101"/>
                    <a:pt x="51902" y="92813"/>
                  </a:cubicBezTo>
                  <a:cubicBezTo>
                    <a:pt x="57953" y="85033"/>
                    <a:pt x="65157" y="78406"/>
                    <a:pt x="72072" y="71203"/>
                  </a:cubicBezTo>
                  <a:cubicBezTo>
                    <a:pt x="94547" y="48152"/>
                    <a:pt x="121632" y="32304"/>
                    <a:pt x="150733" y="1905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2184DA59-633E-4A29-A30D-7764544CADA1}"/>
                </a:ext>
              </a:extLst>
            </p:cNvPr>
            <p:cNvSpPr/>
            <p:nvPr/>
          </p:nvSpPr>
          <p:spPr>
            <a:xfrm rot="1020000">
              <a:off x="6916230" y="374174"/>
              <a:ext cx="483867" cy="617945"/>
            </a:xfrm>
            <a:custGeom>
              <a:avLst/>
              <a:gdLst>
                <a:gd name="connsiteX0" fmla="*/ 444716 w 483867"/>
                <a:gd name="connsiteY0" fmla="*/ 394271 h 617945"/>
                <a:gd name="connsiteX1" fmla="*/ 468667 w 483867"/>
                <a:gd name="connsiteY1" fmla="*/ 392002 h 617945"/>
                <a:gd name="connsiteX2" fmla="*/ 481345 w 483867"/>
                <a:gd name="connsiteY2" fmla="*/ 448765 h 617945"/>
                <a:gd name="connsiteX3" fmla="*/ 413345 w 483867"/>
                <a:gd name="connsiteY3" fmla="*/ 568630 h 617945"/>
                <a:gd name="connsiteX4" fmla="*/ 409311 w 483867"/>
                <a:gd name="connsiteY4" fmla="*/ 572664 h 617945"/>
                <a:gd name="connsiteX5" fmla="*/ 368972 w 483867"/>
                <a:gd name="connsiteY5" fmla="*/ 598596 h 617945"/>
                <a:gd name="connsiteX6" fmla="*/ 354565 w 483867"/>
                <a:gd name="connsiteY6" fmla="*/ 591393 h 617945"/>
                <a:gd name="connsiteX7" fmla="*/ 346497 w 483867"/>
                <a:gd name="connsiteY7" fmla="*/ 564020 h 617945"/>
                <a:gd name="connsiteX8" fmla="*/ 362057 w 483867"/>
                <a:gd name="connsiteY8" fmla="*/ 546732 h 617945"/>
                <a:gd name="connsiteX9" fmla="*/ 434955 w 483867"/>
                <a:gd name="connsiteY9" fmla="*/ 425714 h 617945"/>
                <a:gd name="connsiteX10" fmla="*/ 435243 w 483867"/>
                <a:gd name="connsiteY10" fmla="*/ 416205 h 617945"/>
                <a:gd name="connsiteX11" fmla="*/ 444716 w 483867"/>
                <a:gd name="connsiteY11" fmla="*/ 394271 h 617945"/>
                <a:gd name="connsiteX12" fmla="*/ 201564 w 483867"/>
                <a:gd name="connsiteY12" fmla="*/ 41050 h 617945"/>
                <a:gd name="connsiteX13" fmla="*/ 212225 w 483867"/>
                <a:gd name="connsiteY13" fmla="*/ 39897 h 617945"/>
                <a:gd name="connsiteX14" fmla="*/ 253141 w 483867"/>
                <a:gd name="connsiteY14" fmla="*/ 37592 h 617945"/>
                <a:gd name="connsiteX15" fmla="*/ 314226 w 483867"/>
                <a:gd name="connsiteY15" fmla="*/ 35863 h 617945"/>
                <a:gd name="connsiteX16" fmla="*/ 320853 w 483867"/>
                <a:gd name="connsiteY16" fmla="*/ 20016 h 617945"/>
                <a:gd name="connsiteX17" fmla="*/ 341023 w 483867"/>
                <a:gd name="connsiteY17" fmla="*/ 134 h 617945"/>
                <a:gd name="connsiteX18" fmla="*/ 364362 w 483867"/>
                <a:gd name="connsiteY18" fmla="*/ 16270 h 617945"/>
                <a:gd name="connsiteX19" fmla="*/ 385108 w 483867"/>
                <a:gd name="connsiteY19" fmla="*/ 85423 h 617945"/>
                <a:gd name="connsiteX20" fmla="*/ 392599 w 483867"/>
                <a:gd name="connsiteY20" fmla="*/ 109050 h 617945"/>
                <a:gd name="connsiteX21" fmla="*/ 401820 w 483867"/>
                <a:gd name="connsiteY21" fmla="*/ 130661 h 617945"/>
                <a:gd name="connsiteX22" fmla="*/ 418243 w 483867"/>
                <a:gd name="connsiteY22" fmla="*/ 188864 h 617945"/>
                <a:gd name="connsiteX23" fmla="*/ 394040 w 483867"/>
                <a:gd name="connsiteY23" fmla="*/ 223153 h 617945"/>
                <a:gd name="connsiteX24" fmla="*/ 366091 w 483867"/>
                <a:gd name="connsiteY24" fmla="*/ 208169 h 617945"/>
                <a:gd name="connsiteX25" fmla="*/ 346209 w 483867"/>
                <a:gd name="connsiteY25" fmla="*/ 175898 h 617945"/>
                <a:gd name="connsiteX26" fmla="*/ 284548 w 483867"/>
                <a:gd name="connsiteY26" fmla="*/ 111067 h 617945"/>
                <a:gd name="connsiteX27" fmla="*/ 272734 w 483867"/>
                <a:gd name="connsiteY27" fmla="*/ 103864 h 617945"/>
                <a:gd name="connsiteX28" fmla="*/ 228073 w 483867"/>
                <a:gd name="connsiteY28" fmla="*/ 88592 h 617945"/>
                <a:gd name="connsiteX29" fmla="*/ 199547 w 483867"/>
                <a:gd name="connsiteY29" fmla="*/ 51711 h 617945"/>
                <a:gd name="connsiteX30" fmla="*/ 201564 w 483867"/>
                <a:gd name="connsiteY30" fmla="*/ 41050 h 617945"/>
                <a:gd name="connsiteX31" fmla="*/ 153732 w 483867"/>
                <a:gd name="connsiteY31" fmla="*/ 55458 h 617945"/>
                <a:gd name="connsiteX32" fmla="*/ 168428 w 483867"/>
                <a:gd name="connsiteY32" fmla="*/ 63238 h 617945"/>
                <a:gd name="connsiteX33" fmla="*/ 173039 w 483867"/>
                <a:gd name="connsiteY33" fmla="*/ 77645 h 617945"/>
                <a:gd name="connsiteX34" fmla="*/ 172462 w 483867"/>
                <a:gd name="connsiteY34" fmla="*/ 99831 h 617945"/>
                <a:gd name="connsiteX35" fmla="*/ 152869 w 483867"/>
                <a:gd name="connsiteY35" fmla="*/ 167832 h 617945"/>
                <a:gd name="connsiteX36" fmla="*/ 215682 w 483867"/>
                <a:gd name="connsiteY36" fmla="*/ 383358 h 617945"/>
                <a:gd name="connsiteX37" fmla="*/ 254581 w 483867"/>
                <a:gd name="connsiteY37" fmla="*/ 514461 h 617945"/>
                <a:gd name="connsiteX38" fmla="*/ 267259 w 483867"/>
                <a:gd name="connsiteY38" fmla="*/ 539817 h 617945"/>
                <a:gd name="connsiteX39" fmla="*/ 273886 w 483867"/>
                <a:gd name="connsiteY39" fmla="*/ 548173 h 617945"/>
                <a:gd name="connsiteX40" fmla="*/ 309327 w 483867"/>
                <a:gd name="connsiteY40" fmla="*/ 562868 h 617945"/>
                <a:gd name="connsiteX41" fmla="*/ 318835 w 483867"/>
                <a:gd name="connsiteY41" fmla="*/ 568631 h 617945"/>
                <a:gd name="connsiteX42" fmla="*/ 328057 w 483867"/>
                <a:gd name="connsiteY42" fmla="*/ 605512 h 617945"/>
                <a:gd name="connsiteX43" fmla="*/ 272158 w 483867"/>
                <a:gd name="connsiteY43" fmla="*/ 617326 h 617945"/>
                <a:gd name="connsiteX44" fmla="*/ 75936 w 483867"/>
                <a:gd name="connsiteY44" fmla="*/ 525986 h 617945"/>
                <a:gd name="connsiteX45" fmla="*/ 12258 w 483867"/>
                <a:gd name="connsiteY45" fmla="*/ 211917 h 617945"/>
                <a:gd name="connsiteX46" fmla="*/ 153732 w 483867"/>
                <a:gd name="connsiteY46" fmla="*/ 55458 h 61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867" h="617945">
                  <a:moveTo>
                    <a:pt x="444716" y="394271"/>
                  </a:moveTo>
                  <a:cubicBezTo>
                    <a:pt x="450371" y="390201"/>
                    <a:pt x="458438" y="389409"/>
                    <a:pt x="468667" y="392002"/>
                  </a:cubicBezTo>
                  <a:cubicBezTo>
                    <a:pt x="487684" y="407561"/>
                    <a:pt x="484803" y="428884"/>
                    <a:pt x="481345" y="448765"/>
                  </a:cubicBezTo>
                  <a:cubicBezTo>
                    <a:pt x="472989" y="496596"/>
                    <a:pt x="448786" y="536071"/>
                    <a:pt x="413345" y="568630"/>
                  </a:cubicBezTo>
                  <a:cubicBezTo>
                    <a:pt x="411904" y="570071"/>
                    <a:pt x="410752" y="571512"/>
                    <a:pt x="409311" y="572664"/>
                  </a:cubicBezTo>
                  <a:cubicBezTo>
                    <a:pt x="398938" y="585918"/>
                    <a:pt x="383955" y="592546"/>
                    <a:pt x="368972" y="598596"/>
                  </a:cubicBezTo>
                  <a:cubicBezTo>
                    <a:pt x="361480" y="601766"/>
                    <a:pt x="357158" y="598885"/>
                    <a:pt x="354565" y="591393"/>
                  </a:cubicBezTo>
                  <a:cubicBezTo>
                    <a:pt x="351684" y="582461"/>
                    <a:pt x="349090" y="573240"/>
                    <a:pt x="346497" y="564020"/>
                  </a:cubicBezTo>
                  <a:cubicBezTo>
                    <a:pt x="343904" y="555088"/>
                    <a:pt x="346497" y="552494"/>
                    <a:pt x="362057" y="546732"/>
                  </a:cubicBezTo>
                  <a:cubicBezTo>
                    <a:pt x="405853" y="517918"/>
                    <a:pt x="430633" y="478155"/>
                    <a:pt x="434955" y="425714"/>
                  </a:cubicBezTo>
                  <a:cubicBezTo>
                    <a:pt x="435243" y="422545"/>
                    <a:pt x="434955" y="419375"/>
                    <a:pt x="435243" y="416205"/>
                  </a:cubicBezTo>
                  <a:cubicBezTo>
                    <a:pt x="435820" y="405688"/>
                    <a:pt x="439061" y="398340"/>
                    <a:pt x="444716" y="394271"/>
                  </a:cubicBezTo>
                  <a:close/>
                  <a:moveTo>
                    <a:pt x="201564" y="41050"/>
                  </a:moveTo>
                  <a:cubicBezTo>
                    <a:pt x="204661" y="40114"/>
                    <a:pt x="209200" y="40762"/>
                    <a:pt x="212225" y="39897"/>
                  </a:cubicBezTo>
                  <a:cubicBezTo>
                    <a:pt x="225479" y="34135"/>
                    <a:pt x="239598" y="36151"/>
                    <a:pt x="253141" y="37592"/>
                  </a:cubicBezTo>
                  <a:cubicBezTo>
                    <a:pt x="273310" y="39321"/>
                    <a:pt x="293768" y="40185"/>
                    <a:pt x="314226" y="35863"/>
                  </a:cubicBezTo>
                  <a:cubicBezTo>
                    <a:pt x="319700" y="32118"/>
                    <a:pt x="320277" y="25779"/>
                    <a:pt x="320853" y="20016"/>
                  </a:cubicBezTo>
                  <a:cubicBezTo>
                    <a:pt x="322582" y="7914"/>
                    <a:pt x="329497" y="1575"/>
                    <a:pt x="341023" y="134"/>
                  </a:cubicBezTo>
                  <a:cubicBezTo>
                    <a:pt x="353124" y="-1018"/>
                    <a:pt x="360904" y="5321"/>
                    <a:pt x="364362" y="16270"/>
                  </a:cubicBezTo>
                  <a:cubicBezTo>
                    <a:pt x="371853" y="39033"/>
                    <a:pt x="378192" y="62372"/>
                    <a:pt x="385108" y="85423"/>
                  </a:cubicBezTo>
                  <a:cubicBezTo>
                    <a:pt x="387413" y="93203"/>
                    <a:pt x="390006" y="101271"/>
                    <a:pt x="392599" y="109050"/>
                  </a:cubicBezTo>
                  <a:cubicBezTo>
                    <a:pt x="397497" y="115389"/>
                    <a:pt x="398938" y="123457"/>
                    <a:pt x="401820" y="130661"/>
                  </a:cubicBezTo>
                  <a:cubicBezTo>
                    <a:pt x="407006" y="149966"/>
                    <a:pt x="414209" y="168983"/>
                    <a:pt x="418243" y="188864"/>
                  </a:cubicBezTo>
                  <a:cubicBezTo>
                    <a:pt x="422277" y="208458"/>
                    <a:pt x="412481" y="222000"/>
                    <a:pt x="394040" y="223153"/>
                  </a:cubicBezTo>
                  <a:cubicBezTo>
                    <a:pt x="382226" y="223729"/>
                    <a:pt x="372718" y="217966"/>
                    <a:pt x="366091" y="208169"/>
                  </a:cubicBezTo>
                  <a:cubicBezTo>
                    <a:pt x="358887" y="197797"/>
                    <a:pt x="353413" y="186271"/>
                    <a:pt x="346209" y="175898"/>
                  </a:cubicBezTo>
                  <a:cubicBezTo>
                    <a:pt x="329785" y="150254"/>
                    <a:pt x="309904" y="128067"/>
                    <a:pt x="284548" y="111067"/>
                  </a:cubicBezTo>
                  <a:cubicBezTo>
                    <a:pt x="280802" y="108474"/>
                    <a:pt x="277056" y="105881"/>
                    <a:pt x="272734" y="103864"/>
                  </a:cubicBezTo>
                  <a:cubicBezTo>
                    <a:pt x="258615" y="96372"/>
                    <a:pt x="243920" y="90898"/>
                    <a:pt x="228073" y="88592"/>
                  </a:cubicBezTo>
                  <a:cubicBezTo>
                    <a:pt x="205598" y="85423"/>
                    <a:pt x="197530" y="75050"/>
                    <a:pt x="199547" y="51711"/>
                  </a:cubicBezTo>
                  <a:cubicBezTo>
                    <a:pt x="196810" y="44508"/>
                    <a:pt x="198467" y="41986"/>
                    <a:pt x="201564" y="41050"/>
                  </a:cubicBezTo>
                  <a:close/>
                  <a:moveTo>
                    <a:pt x="153732" y="55458"/>
                  </a:moveTo>
                  <a:cubicBezTo>
                    <a:pt x="163530" y="51712"/>
                    <a:pt x="166700" y="54306"/>
                    <a:pt x="168428" y="63238"/>
                  </a:cubicBezTo>
                  <a:cubicBezTo>
                    <a:pt x="169292" y="68136"/>
                    <a:pt x="171309" y="73035"/>
                    <a:pt x="173039" y="77645"/>
                  </a:cubicBezTo>
                  <a:cubicBezTo>
                    <a:pt x="180241" y="87729"/>
                    <a:pt x="180817" y="93492"/>
                    <a:pt x="172462" y="99831"/>
                  </a:cubicBezTo>
                  <a:cubicBezTo>
                    <a:pt x="148834" y="117696"/>
                    <a:pt x="147683" y="141611"/>
                    <a:pt x="152869" y="167832"/>
                  </a:cubicBezTo>
                  <a:cubicBezTo>
                    <a:pt x="173039" y="239866"/>
                    <a:pt x="194648" y="311612"/>
                    <a:pt x="215682" y="383358"/>
                  </a:cubicBezTo>
                  <a:cubicBezTo>
                    <a:pt x="228360" y="427155"/>
                    <a:pt x="240750" y="470952"/>
                    <a:pt x="254581" y="514461"/>
                  </a:cubicBezTo>
                  <a:cubicBezTo>
                    <a:pt x="257462" y="523681"/>
                    <a:pt x="261496" y="532037"/>
                    <a:pt x="267259" y="539817"/>
                  </a:cubicBezTo>
                  <a:cubicBezTo>
                    <a:pt x="269277" y="542698"/>
                    <a:pt x="271005" y="545868"/>
                    <a:pt x="273886" y="548173"/>
                  </a:cubicBezTo>
                  <a:cubicBezTo>
                    <a:pt x="284260" y="556529"/>
                    <a:pt x="295497" y="562292"/>
                    <a:pt x="309327" y="562868"/>
                  </a:cubicBezTo>
                  <a:cubicBezTo>
                    <a:pt x="313361" y="563156"/>
                    <a:pt x="317396" y="564309"/>
                    <a:pt x="318835" y="568631"/>
                  </a:cubicBezTo>
                  <a:cubicBezTo>
                    <a:pt x="322869" y="580444"/>
                    <a:pt x="328633" y="592258"/>
                    <a:pt x="328057" y="605512"/>
                  </a:cubicBezTo>
                  <a:cubicBezTo>
                    <a:pt x="310767" y="615021"/>
                    <a:pt x="291174" y="616174"/>
                    <a:pt x="272158" y="617326"/>
                  </a:cubicBezTo>
                  <a:cubicBezTo>
                    <a:pt x="190326" y="622801"/>
                    <a:pt x="123478" y="591970"/>
                    <a:pt x="75936" y="525986"/>
                  </a:cubicBezTo>
                  <a:cubicBezTo>
                    <a:pt x="7935" y="431477"/>
                    <a:pt x="-17420" y="326019"/>
                    <a:pt x="12258" y="211917"/>
                  </a:cubicBezTo>
                  <a:cubicBezTo>
                    <a:pt x="31851" y="136425"/>
                    <a:pt x="80835" y="84560"/>
                    <a:pt x="153732" y="55458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F00DE9D1-C3AF-4C0E-B19C-4FB1DE3998AF}"/>
                </a:ext>
              </a:extLst>
            </p:cNvPr>
            <p:cNvSpPr/>
            <p:nvPr/>
          </p:nvSpPr>
          <p:spPr>
            <a:xfrm rot="1020000">
              <a:off x="7873009" y="365408"/>
              <a:ext cx="472408" cy="616235"/>
            </a:xfrm>
            <a:custGeom>
              <a:avLst/>
              <a:gdLst>
                <a:gd name="connsiteX0" fmla="*/ 340279 w 472408"/>
                <a:gd name="connsiteY0" fmla="*/ 30674 h 616235"/>
                <a:gd name="connsiteX1" fmla="*/ 435653 w 472408"/>
                <a:gd name="connsiteY1" fmla="*/ 2725 h 616235"/>
                <a:gd name="connsiteX2" fmla="*/ 440263 w 472408"/>
                <a:gd name="connsiteY2" fmla="*/ 1284 h 616235"/>
                <a:gd name="connsiteX3" fmla="*/ 469364 w 472408"/>
                <a:gd name="connsiteY3" fmla="*/ 10217 h 616235"/>
                <a:gd name="connsiteX4" fmla="*/ 459856 w 472408"/>
                <a:gd name="connsiteY4" fmla="*/ 40759 h 616235"/>
                <a:gd name="connsiteX5" fmla="*/ 422974 w 472408"/>
                <a:gd name="connsiteY5" fmla="*/ 122302 h 616235"/>
                <a:gd name="connsiteX6" fmla="*/ 426432 w 472408"/>
                <a:gd name="connsiteY6" fmla="*/ 297778 h 616235"/>
                <a:gd name="connsiteX7" fmla="*/ 426432 w 472408"/>
                <a:gd name="connsiteY7" fmla="*/ 378168 h 616235"/>
                <a:gd name="connsiteX8" fmla="*/ 388974 w 472408"/>
                <a:gd name="connsiteY8" fmla="*/ 318812 h 616235"/>
                <a:gd name="connsiteX9" fmla="*/ 383788 w 472408"/>
                <a:gd name="connsiteY9" fmla="*/ 297490 h 616235"/>
                <a:gd name="connsiteX10" fmla="*/ 380618 w 472408"/>
                <a:gd name="connsiteY10" fmla="*/ 132675 h 616235"/>
                <a:gd name="connsiteX11" fmla="*/ 369957 w 472408"/>
                <a:gd name="connsiteY11" fmla="*/ 95793 h 616235"/>
                <a:gd name="connsiteX12" fmla="*/ 333364 w 472408"/>
                <a:gd name="connsiteY12" fmla="*/ 79946 h 616235"/>
                <a:gd name="connsiteX13" fmla="*/ 314059 w 472408"/>
                <a:gd name="connsiteY13" fmla="*/ 72166 h 616235"/>
                <a:gd name="connsiteX14" fmla="*/ 316940 w 472408"/>
                <a:gd name="connsiteY14" fmla="*/ 41624 h 616235"/>
                <a:gd name="connsiteX15" fmla="*/ 340279 w 472408"/>
                <a:gd name="connsiteY15" fmla="*/ 30674 h 616235"/>
                <a:gd name="connsiteX16" fmla="*/ 101162 w 472408"/>
                <a:gd name="connsiteY16" fmla="*/ 97126 h 616235"/>
                <a:gd name="connsiteX17" fmla="*/ 114091 w 472408"/>
                <a:gd name="connsiteY17" fmla="*/ 93777 h 616235"/>
                <a:gd name="connsiteX18" fmla="*/ 150974 w 472408"/>
                <a:gd name="connsiteY18" fmla="*/ 82828 h 616235"/>
                <a:gd name="connsiteX19" fmla="*/ 227330 w 472408"/>
                <a:gd name="connsiteY19" fmla="*/ 61217 h 616235"/>
                <a:gd name="connsiteX20" fmla="*/ 256720 w 472408"/>
                <a:gd name="connsiteY20" fmla="*/ 71014 h 616235"/>
                <a:gd name="connsiteX21" fmla="*/ 253550 w 472408"/>
                <a:gd name="connsiteY21" fmla="*/ 104150 h 616235"/>
                <a:gd name="connsiteX22" fmla="*/ 251246 w 472408"/>
                <a:gd name="connsiteY22" fmla="*/ 150252 h 616235"/>
                <a:gd name="connsiteX23" fmla="*/ 358145 w 472408"/>
                <a:gd name="connsiteY23" fmla="*/ 319677 h 616235"/>
                <a:gd name="connsiteX24" fmla="*/ 364196 w 472408"/>
                <a:gd name="connsiteY24" fmla="*/ 333507 h 616235"/>
                <a:gd name="connsiteX25" fmla="*/ 423264 w 472408"/>
                <a:gd name="connsiteY25" fmla="*/ 427728 h 616235"/>
                <a:gd name="connsiteX26" fmla="*/ 429026 w 472408"/>
                <a:gd name="connsiteY26" fmla="*/ 446457 h 616235"/>
                <a:gd name="connsiteX27" fmla="*/ 431043 w 472408"/>
                <a:gd name="connsiteY27" fmla="*/ 518780 h 616235"/>
                <a:gd name="connsiteX28" fmla="*/ 431620 w 472408"/>
                <a:gd name="connsiteY28" fmla="*/ 574390 h 616235"/>
                <a:gd name="connsiteX29" fmla="*/ 421246 w 472408"/>
                <a:gd name="connsiteY29" fmla="*/ 587644 h 616235"/>
                <a:gd name="connsiteX30" fmla="*/ 401077 w 472408"/>
                <a:gd name="connsiteY30" fmla="*/ 593695 h 616235"/>
                <a:gd name="connsiteX31" fmla="*/ 399060 w 472408"/>
                <a:gd name="connsiteY31" fmla="*/ 596577 h 616235"/>
                <a:gd name="connsiteX32" fmla="*/ 334229 w 472408"/>
                <a:gd name="connsiteY32" fmla="*/ 615882 h 616235"/>
                <a:gd name="connsiteX33" fmla="*/ 320111 w 472408"/>
                <a:gd name="connsiteY33" fmla="*/ 607526 h 616235"/>
                <a:gd name="connsiteX34" fmla="*/ 294466 w 472408"/>
                <a:gd name="connsiteY34" fmla="*/ 566322 h 616235"/>
                <a:gd name="connsiteX35" fmla="*/ 184974 w 472408"/>
                <a:gd name="connsiteY35" fmla="*/ 398914 h 616235"/>
                <a:gd name="connsiteX36" fmla="*/ 181516 w 472408"/>
                <a:gd name="connsiteY36" fmla="*/ 390558 h 616235"/>
                <a:gd name="connsiteX37" fmla="*/ 89313 w 472408"/>
                <a:gd name="connsiteY37" fmla="*/ 247066 h 616235"/>
                <a:gd name="connsiteX38" fmla="*/ 56177 w 472408"/>
                <a:gd name="connsiteY38" fmla="*/ 195201 h 616235"/>
                <a:gd name="connsiteX39" fmla="*/ 19583 w 472408"/>
                <a:gd name="connsiteY39" fmla="*/ 170133 h 616235"/>
                <a:gd name="connsiteX40" fmla="*/ 1431 w 472408"/>
                <a:gd name="connsiteY40" fmla="*/ 155438 h 616235"/>
                <a:gd name="connsiteX41" fmla="*/ 7769 w 472408"/>
                <a:gd name="connsiteY41" fmla="*/ 133828 h 616235"/>
                <a:gd name="connsiteX42" fmla="*/ 68278 w 472408"/>
                <a:gd name="connsiteY42" fmla="*/ 110201 h 616235"/>
                <a:gd name="connsiteX43" fmla="*/ 89313 w 472408"/>
                <a:gd name="connsiteY43" fmla="*/ 103285 h 616235"/>
                <a:gd name="connsiteX44" fmla="*/ 101162 w 472408"/>
                <a:gd name="connsiteY44" fmla="*/ 97126 h 61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72408" h="616235">
                  <a:moveTo>
                    <a:pt x="340279" y="30674"/>
                  </a:moveTo>
                  <a:cubicBezTo>
                    <a:pt x="371974" y="21454"/>
                    <a:pt x="403669" y="11945"/>
                    <a:pt x="435653" y="2725"/>
                  </a:cubicBezTo>
                  <a:cubicBezTo>
                    <a:pt x="437093" y="2149"/>
                    <a:pt x="438534" y="1573"/>
                    <a:pt x="440263" y="1284"/>
                  </a:cubicBezTo>
                  <a:cubicBezTo>
                    <a:pt x="455534" y="-1885"/>
                    <a:pt x="464466" y="708"/>
                    <a:pt x="469364" y="10217"/>
                  </a:cubicBezTo>
                  <a:cubicBezTo>
                    <a:pt x="475127" y="21454"/>
                    <a:pt x="473110" y="31251"/>
                    <a:pt x="459856" y="40759"/>
                  </a:cubicBezTo>
                  <a:cubicBezTo>
                    <a:pt x="431330" y="60929"/>
                    <a:pt x="422398" y="89743"/>
                    <a:pt x="422974" y="122302"/>
                  </a:cubicBezTo>
                  <a:cubicBezTo>
                    <a:pt x="423839" y="180794"/>
                    <a:pt x="425279" y="239286"/>
                    <a:pt x="426432" y="297778"/>
                  </a:cubicBezTo>
                  <a:cubicBezTo>
                    <a:pt x="426432" y="323998"/>
                    <a:pt x="426432" y="350219"/>
                    <a:pt x="426432" y="378168"/>
                  </a:cubicBezTo>
                  <a:cubicBezTo>
                    <a:pt x="413754" y="357998"/>
                    <a:pt x="401364" y="338405"/>
                    <a:pt x="388974" y="318812"/>
                  </a:cubicBezTo>
                  <a:cubicBezTo>
                    <a:pt x="384652" y="312185"/>
                    <a:pt x="384076" y="304981"/>
                    <a:pt x="383788" y="297490"/>
                  </a:cubicBezTo>
                  <a:cubicBezTo>
                    <a:pt x="382923" y="242455"/>
                    <a:pt x="381771" y="187709"/>
                    <a:pt x="380618" y="132675"/>
                  </a:cubicBezTo>
                  <a:cubicBezTo>
                    <a:pt x="380330" y="119421"/>
                    <a:pt x="377449" y="106743"/>
                    <a:pt x="369957" y="95793"/>
                  </a:cubicBezTo>
                  <a:cubicBezTo>
                    <a:pt x="361313" y="82827"/>
                    <a:pt x="347482" y="80810"/>
                    <a:pt x="333364" y="79946"/>
                  </a:cubicBezTo>
                  <a:cubicBezTo>
                    <a:pt x="326160" y="79370"/>
                    <a:pt x="319245" y="78217"/>
                    <a:pt x="314059" y="72166"/>
                  </a:cubicBezTo>
                  <a:cubicBezTo>
                    <a:pt x="306279" y="62946"/>
                    <a:pt x="307431" y="49403"/>
                    <a:pt x="316940" y="41624"/>
                  </a:cubicBezTo>
                  <a:cubicBezTo>
                    <a:pt x="323855" y="35861"/>
                    <a:pt x="331923" y="33268"/>
                    <a:pt x="340279" y="30674"/>
                  </a:cubicBezTo>
                  <a:close/>
                  <a:moveTo>
                    <a:pt x="101162" y="97126"/>
                  </a:moveTo>
                  <a:cubicBezTo>
                    <a:pt x="105447" y="95938"/>
                    <a:pt x="109914" y="95218"/>
                    <a:pt x="114091" y="93777"/>
                  </a:cubicBezTo>
                  <a:cubicBezTo>
                    <a:pt x="126194" y="89743"/>
                    <a:pt x="138583" y="85997"/>
                    <a:pt x="150974" y="82828"/>
                  </a:cubicBezTo>
                  <a:cubicBezTo>
                    <a:pt x="176329" y="75624"/>
                    <a:pt x="201397" y="66692"/>
                    <a:pt x="227330" y="61217"/>
                  </a:cubicBezTo>
                  <a:cubicBezTo>
                    <a:pt x="239143" y="58624"/>
                    <a:pt x="249517" y="60641"/>
                    <a:pt x="256720" y="71014"/>
                  </a:cubicBezTo>
                  <a:cubicBezTo>
                    <a:pt x="263059" y="79946"/>
                    <a:pt x="261331" y="93777"/>
                    <a:pt x="253550" y="104150"/>
                  </a:cubicBezTo>
                  <a:cubicBezTo>
                    <a:pt x="237991" y="124608"/>
                    <a:pt x="237415" y="128353"/>
                    <a:pt x="251246" y="150252"/>
                  </a:cubicBezTo>
                  <a:cubicBezTo>
                    <a:pt x="286686" y="206727"/>
                    <a:pt x="322416" y="263202"/>
                    <a:pt x="358145" y="319677"/>
                  </a:cubicBezTo>
                  <a:cubicBezTo>
                    <a:pt x="361026" y="323999"/>
                    <a:pt x="363907" y="328321"/>
                    <a:pt x="364196" y="333507"/>
                  </a:cubicBezTo>
                  <a:cubicBezTo>
                    <a:pt x="383789" y="364914"/>
                    <a:pt x="403382" y="396609"/>
                    <a:pt x="423264" y="427728"/>
                  </a:cubicBezTo>
                  <a:cubicBezTo>
                    <a:pt x="427010" y="433491"/>
                    <a:pt x="428738" y="439254"/>
                    <a:pt x="429026" y="446457"/>
                  </a:cubicBezTo>
                  <a:cubicBezTo>
                    <a:pt x="429314" y="470661"/>
                    <a:pt x="428162" y="494576"/>
                    <a:pt x="431043" y="518780"/>
                  </a:cubicBezTo>
                  <a:cubicBezTo>
                    <a:pt x="431042" y="537220"/>
                    <a:pt x="430466" y="555949"/>
                    <a:pt x="431620" y="574390"/>
                  </a:cubicBezTo>
                  <a:cubicBezTo>
                    <a:pt x="432196" y="583322"/>
                    <a:pt x="428737" y="585916"/>
                    <a:pt x="421246" y="587644"/>
                  </a:cubicBezTo>
                  <a:cubicBezTo>
                    <a:pt x="414332" y="589085"/>
                    <a:pt x="407704" y="591678"/>
                    <a:pt x="401077" y="593695"/>
                  </a:cubicBezTo>
                  <a:cubicBezTo>
                    <a:pt x="400789" y="594848"/>
                    <a:pt x="400213" y="596000"/>
                    <a:pt x="399060" y="596577"/>
                  </a:cubicBezTo>
                  <a:cubicBezTo>
                    <a:pt x="377738" y="604068"/>
                    <a:pt x="356127" y="610119"/>
                    <a:pt x="334229" y="615882"/>
                  </a:cubicBezTo>
                  <a:cubicBezTo>
                    <a:pt x="327313" y="617611"/>
                    <a:pt x="323279" y="612712"/>
                    <a:pt x="320111" y="607526"/>
                  </a:cubicBezTo>
                  <a:cubicBezTo>
                    <a:pt x="311466" y="593695"/>
                    <a:pt x="301958" y="580729"/>
                    <a:pt x="294466" y="566322"/>
                  </a:cubicBezTo>
                  <a:cubicBezTo>
                    <a:pt x="256719" y="511288"/>
                    <a:pt x="222144" y="454525"/>
                    <a:pt x="184974" y="398914"/>
                  </a:cubicBezTo>
                  <a:cubicBezTo>
                    <a:pt x="182381" y="396609"/>
                    <a:pt x="180652" y="394016"/>
                    <a:pt x="181516" y="390558"/>
                  </a:cubicBezTo>
                  <a:cubicBezTo>
                    <a:pt x="150686" y="342728"/>
                    <a:pt x="120143" y="294897"/>
                    <a:pt x="89313" y="247066"/>
                  </a:cubicBezTo>
                  <a:cubicBezTo>
                    <a:pt x="78074" y="229778"/>
                    <a:pt x="65973" y="213066"/>
                    <a:pt x="56177" y="195201"/>
                  </a:cubicBezTo>
                  <a:cubicBezTo>
                    <a:pt x="47820" y="179930"/>
                    <a:pt x="37448" y="170133"/>
                    <a:pt x="19583" y="170133"/>
                  </a:cubicBezTo>
                  <a:cubicBezTo>
                    <a:pt x="8922" y="170710"/>
                    <a:pt x="4024" y="164082"/>
                    <a:pt x="1431" y="155438"/>
                  </a:cubicBezTo>
                  <a:cubicBezTo>
                    <a:pt x="-1163" y="147082"/>
                    <a:pt x="-875" y="139014"/>
                    <a:pt x="7769" y="133828"/>
                  </a:cubicBezTo>
                  <a:cubicBezTo>
                    <a:pt x="25633" y="119709"/>
                    <a:pt x="47821" y="117404"/>
                    <a:pt x="68278" y="110201"/>
                  </a:cubicBezTo>
                  <a:cubicBezTo>
                    <a:pt x="75194" y="107896"/>
                    <a:pt x="82108" y="105591"/>
                    <a:pt x="89313" y="103285"/>
                  </a:cubicBezTo>
                  <a:cubicBezTo>
                    <a:pt x="92770" y="99972"/>
                    <a:pt x="96876" y="98315"/>
                    <a:pt x="101162" y="97126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65641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xmlns="" id="{67BABC97-97B7-40EB-B6B6-C07E0F6C2DF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237AB6E-35AE-4784-9CD2-5C629674D4B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096239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9952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자유형: 도형 5">
            <a:extLst>
              <a:ext uri="{FF2B5EF4-FFF2-40B4-BE49-F238E27FC236}">
                <a16:creationId xmlns:a16="http://schemas.microsoft.com/office/drawing/2014/main" xmlns="" id="{BC0FA2A0-2070-4162-B90B-85498321A141}"/>
              </a:ext>
            </a:extLst>
          </p:cNvPr>
          <p:cNvSpPr/>
          <p:nvPr userDrawn="1"/>
        </p:nvSpPr>
        <p:spPr>
          <a:xfrm>
            <a:off x="5895975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" name="자유형: 도형 4">
            <a:extLst>
              <a:ext uri="{FF2B5EF4-FFF2-40B4-BE49-F238E27FC236}">
                <a16:creationId xmlns:a16="http://schemas.microsoft.com/office/drawing/2014/main" xmlns="" id="{B5410258-795E-46FD-86D0-616F7BF2BB04}"/>
              </a:ext>
            </a:extLst>
          </p:cNvPr>
          <p:cNvSpPr/>
          <p:nvPr userDrawn="1"/>
        </p:nvSpPr>
        <p:spPr>
          <a:xfrm>
            <a:off x="6054384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0" name="그림 개체 틀 9">
            <a:extLst>
              <a:ext uri="{FF2B5EF4-FFF2-40B4-BE49-F238E27FC236}">
                <a16:creationId xmlns:a16="http://schemas.microsoft.com/office/drawing/2014/main" xmlns="" id="{8D51066F-07ED-45ED-AA6F-CCB56128CE23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6212793" y="0"/>
            <a:ext cx="5979207" cy="6858000"/>
          </a:xfrm>
          <a:custGeom>
            <a:avLst/>
            <a:gdLst>
              <a:gd name="connsiteX0" fmla="*/ 94573 w 5536832"/>
              <a:gd name="connsiteY0" fmla="*/ 0 h 6858000"/>
              <a:gd name="connsiteX1" fmla="*/ 2378552 w 5536832"/>
              <a:gd name="connsiteY1" fmla="*/ 0 h 6858000"/>
              <a:gd name="connsiteX2" fmla="*/ 3175343 w 5536832"/>
              <a:gd name="connsiteY2" fmla="*/ 1911463 h 6858000"/>
              <a:gd name="connsiteX3" fmla="*/ 4104540 w 5536832"/>
              <a:gd name="connsiteY3" fmla="*/ 0 h 6858000"/>
              <a:gd name="connsiteX4" fmla="*/ 5536832 w 5536832"/>
              <a:gd name="connsiteY4" fmla="*/ 0 h 6858000"/>
              <a:gd name="connsiteX5" fmla="*/ 5536832 w 5536832"/>
              <a:gd name="connsiteY5" fmla="*/ 1317813 h 6858000"/>
              <a:gd name="connsiteX6" fmla="*/ 4514612 w 5536832"/>
              <a:gd name="connsiteY6" fmla="*/ 3267558 h 6858000"/>
              <a:gd name="connsiteX7" fmla="*/ 5536832 w 5536832"/>
              <a:gd name="connsiteY7" fmla="*/ 5266500 h 6858000"/>
              <a:gd name="connsiteX8" fmla="*/ 5536832 w 5536832"/>
              <a:gd name="connsiteY8" fmla="*/ 6858000 h 6858000"/>
              <a:gd name="connsiteX9" fmla="*/ 4104540 w 5536832"/>
              <a:gd name="connsiteY9" fmla="*/ 6858000 h 6858000"/>
              <a:gd name="connsiteX10" fmla="*/ 3175343 w 5536832"/>
              <a:gd name="connsiteY10" fmla="*/ 4649491 h 6858000"/>
              <a:gd name="connsiteX11" fmla="*/ 2085374 w 5536832"/>
              <a:gd name="connsiteY11" fmla="*/ 6858000 h 6858000"/>
              <a:gd name="connsiteX12" fmla="*/ 0 w 5536832"/>
              <a:gd name="connsiteY12" fmla="*/ 6858000 h 6858000"/>
              <a:gd name="connsiteX13" fmla="*/ 1823961 w 5536832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36832" h="6858000">
                <a:moveTo>
                  <a:pt x="94573" y="0"/>
                </a:moveTo>
                <a:lnTo>
                  <a:pt x="2378552" y="0"/>
                </a:lnTo>
                <a:lnTo>
                  <a:pt x="3175343" y="1911463"/>
                </a:lnTo>
                <a:lnTo>
                  <a:pt x="4104540" y="0"/>
                </a:lnTo>
                <a:lnTo>
                  <a:pt x="5536832" y="0"/>
                </a:lnTo>
                <a:lnTo>
                  <a:pt x="5536832" y="1317813"/>
                </a:lnTo>
                <a:lnTo>
                  <a:pt x="4514612" y="3267558"/>
                </a:lnTo>
                <a:lnTo>
                  <a:pt x="5536832" y="5266500"/>
                </a:lnTo>
                <a:lnTo>
                  <a:pt x="5536832" y="6858000"/>
                </a:lnTo>
                <a:lnTo>
                  <a:pt x="4104540" y="6858000"/>
                </a:lnTo>
                <a:lnTo>
                  <a:pt x="3175343" y="4649491"/>
                </a:lnTo>
                <a:lnTo>
                  <a:pt x="2085374" y="6858000"/>
                </a:lnTo>
                <a:lnTo>
                  <a:pt x="0" y="6858000"/>
                </a:lnTo>
                <a:lnTo>
                  <a:pt x="1823961" y="32675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ea typeface="08서울남산체 B" panose="02020603020101020101" pitchFamily="18" charset="-127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284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3590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1263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7893592F-B858-4F5A-87CA-4EFF78535447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1183602"/>
            <a:ext cx="3512321" cy="5470055"/>
          </a:xfrm>
          <a:custGeom>
            <a:avLst/>
            <a:gdLst>
              <a:gd name="connsiteX0" fmla="*/ 0 w 2828662"/>
              <a:gd name="connsiteY0" fmla="*/ 0 h 4405331"/>
              <a:gd name="connsiteX1" fmla="*/ 2828662 w 2828662"/>
              <a:gd name="connsiteY1" fmla="*/ 2202666 h 4405331"/>
              <a:gd name="connsiteX2" fmla="*/ 0 w 2828662"/>
              <a:gd name="connsiteY2" fmla="*/ 4405331 h 440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28662" h="4405331">
                <a:moveTo>
                  <a:pt x="0" y="0"/>
                </a:moveTo>
                <a:lnTo>
                  <a:pt x="2828662" y="2202666"/>
                </a:lnTo>
                <a:lnTo>
                  <a:pt x="0" y="44053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F2B7F1F1-7576-43C8-8B02-8D9D6595C6B6}"/>
              </a:ext>
            </a:extLst>
          </p:cNvPr>
          <p:cNvSpPr/>
          <p:nvPr userDrawn="1"/>
        </p:nvSpPr>
        <p:spPr>
          <a:xfrm rot="2283856">
            <a:off x="-1145000" y="3273775"/>
            <a:ext cx="9041918" cy="507660"/>
          </a:xfrm>
          <a:custGeom>
            <a:avLst/>
            <a:gdLst>
              <a:gd name="connsiteX0" fmla="*/ 0 w 8508719"/>
              <a:gd name="connsiteY0" fmla="*/ 0 h 507660"/>
              <a:gd name="connsiteX1" fmla="*/ 8508719 w 8508719"/>
              <a:gd name="connsiteY1" fmla="*/ 0 h 507660"/>
              <a:gd name="connsiteX2" fmla="*/ 8382750 w 8508719"/>
              <a:gd name="connsiteY2" fmla="*/ 507660 h 507660"/>
              <a:gd name="connsiteX3" fmla="*/ 397545 w 8508719"/>
              <a:gd name="connsiteY3" fmla="*/ 507660 h 507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8719" h="507660">
                <a:moveTo>
                  <a:pt x="0" y="0"/>
                </a:moveTo>
                <a:lnTo>
                  <a:pt x="8508719" y="0"/>
                </a:lnTo>
                <a:lnTo>
                  <a:pt x="8382750" y="507660"/>
                </a:lnTo>
                <a:lnTo>
                  <a:pt x="397545" y="50766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0D8039C2-E1B0-4E55-85AC-2B71B79D8AE6}"/>
              </a:ext>
            </a:extLst>
          </p:cNvPr>
          <p:cNvSpPr/>
          <p:nvPr userDrawn="1"/>
        </p:nvSpPr>
        <p:spPr>
          <a:xfrm rot="19320000">
            <a:off x="6359981" y="2723208"/>
            <a:ext cx="7218431" cy="2018306"/>
          </a:xfrm>
          <a:custGeom>
            <a:avLst/>
            <a:gdLst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0 w 7218431"/>
              <a:gd name="connsiteY2" fmla="*/ 2018306 h 2018306"/>
              <a:gd name="connsiteX3" fmla="*/ 0 w 7218431"/>
              <a:gd name="connsiteY3" fmla="*/ 0 h 2018306"/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133423 w 7218431"/>
              <a:gd name="connsiteY2" fmla="*/ 2014099 h 2018306"/>
              <a:gd name="connsiteX3" fmla="*/ 0 w 7218431"/>
              <a:gd name="connsiteY3" fmla="*/ 0 h 2018306"/>
              <a:gd name="connsiteX4" fmla="*/ 7218431 w 7218431"/>
              <a:gd name="connsiteY4" fmla="*/ 0 h 2018306"/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131951 w 7218431"/>
              <a:gd name="connsiteY2" fmla="*/ 2002104 h 2018306"/>
              <a:gd name="connsiteX3" fmla="*/ 0 w 7218431"/>
              <a:gd name="connsiteY3" fmla="*/ 0 h 2018306"/>
              <a:gd name="connsiteX4" fmla="*/ 7218431 w 7218431"/>
              <a:gd name="connsiteY4" fmla="*/ 0 h 2018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8431" h="2018306">
                <a:moveTo>
                  <a:pt x="7218431" y="0"/>
                </a:moveTo>
                <a:lnTo>
                  <a:pt x="5641558" y="2018306"/>
                </a:lnTo>
                <a:lnTo>
                  <a:pt x="131951" y="2002104"/>
                </a:lnTo>
                <a:lnTo>
                  <a:pt x="0" y="0"/>
                </a:lnTo>
                <a:lnTo>
                  <a:pt x="7218431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ACC73BDD-47B2-4716-B34E-A2A208CF0460}"/>
              </a:ext>
            </a:extLst>
          </p:cNvPr>
          <p:cNvSpPr/>
          <p:nvPr userDrawn="1"/>
        </p:nvSpPr>
        <p:spPr>
          <a:xfrm rot="2283856">
            <a:off x="-1281243" y="3125602"/>
            <a:ext cx="10430561" cy="457200"/>
          </a:xfrm>
          <a:custGeom>
            <a:avLst/>
            <a:gdLst>
              <a:gd name="connsiteX0" fmla="*/ 0 w 9464629"/>
              <a:gd name="connsiteY0" fmla="*/ 0 h 457200"/>
              <a:gd name="connsiteX1" fmla="*/ 9464629 w 9464629"/>
              <a:gd name="connsiteY1" fmla="*/ 0 h 457200"/>
              <a:gd name="connsiteX2" fmla="*/ 9464629 w 9464629"/>
              <a:gd name="connsiteY2" fmla="*/ 19238 h 457200"/>
              <a:gd name="connsiteX3" fmla="*/ 9355955 w 9464629"/>
              <a:gd name="connsiteY3" fmla="*/ 457200 h 457200"/>
              <a:gd name="connsiteX4" fmla="*/ 358030 w 9464629"/>
              <a:gd name="connsiteY4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4629" h="457200">
                <a:moveTo>
                  <a:pt x="0" y="0"/>
                </a:moveTo>
                <a:lnTo>
                  <a:pt x="9464629" y="0"/>
                </a:lnTo>
                <a:lnTo>
                  <a:pt x="9464629" y="19238"/>
                </a:lnTo>
                <a:lnTo>
                  <a:pt x="9355955" y="457200"/>
                </a:lnTo>
                <a:lnTo>
                  <a:pt x="358030" y="4572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-1" y="0"/>
            <a:ext cx="12209257" cy="5122817"/>
          </a:xfrm>
          <a:custGeom>
            <a:avLst/>
            <a:gdLst>
              <a:gd name="connsiteX0" fmla="*/ 0 w 13115109"/>
              <a:gd name="connsiteY0" fmla="*/ 5122817 h 10245634"/>
              <a:gd name="connsiteX1" fmla="*/ 6557555 w 13115109"/>
              <a:gd name="connsiteY1" fmla="*/ 0 h 10245634"/>
              <a:gd name="connsiteX2" fmla="*/ 13115109 w 13115109"/>
              <a:gd name="connsiteY2" fmla="*/ 5122817 h 10245634"/>
              <a:gd name="connsiteX3" fmla="*/ 6557555 w 13115109"/>
              <a:gd name="connsiteY3" fmla="*/ 10245634 h 10245634"/>
              <a:gd name="connsiteX4" fmla="*/ 0 w 13115109"/>
              <a:gd name="connsiteY4" fmla="*/ 5122817 h 10245634"/>
              <a:gd name="connsiteX0" fmla="*/ 0 w 13115109"/>
              <a:gd name="connsiteY0" fmla="*/ 5122817 h 10245634"/>
              <a:gd name="connsiteX1" fmla="*/ 6557555 w 13115109"/>
              <a:gd name="connsiteY1" fmla="*/ 0 h 10245634"/>
              <a:gd name="connsiteX2" fmla="*/ 13115109 w 13115109"/>
              <a:gd name="connsiteY2" fmla="*/ 5122817 h 10245634"/>
              <a:gd name="connsiteX3" fmla="*/ 12187881 w 13115109"/>
              <a:gd name="connsiteY3" fmla="*/ 5839509 h 10245634"/>
              <a:gd name="connsiteX4" fmla="*/ 6557555 w 13115109"/>
              <a:gd name="connsiteY4" fmla="*/ 10245634 h 10245634"/>
              <a:gd name="connsiteX5" fmla="*/ 0 w 13115109"/>
              <a:gd name="connsiteY5" fmla="*/ 5122817 h 10245634"/>
              <a:gd name="connsiteX0" fmla="*/ 0 w 13115109"/>
              <a:gd name="connsiteY0" fmla="*/ 5196957 h 10319774"/>
              <a:gd name="connsiteX1" fmla="*/ 6483415 w 13115109"/>
              <a:gd name="connsiteY1" fmla="*/ 0 h 10319774"/>
              <a:gd name="connsiteX2" fmla="*/ 13115109 w 13115109"/>
              <a:gd name="connsiteY2" fmla="*/ 5196957 h 10319774"/>
              <a:gd name="connsiteX3" fmla="*/ 12187881 w 13115109"/>
              <a:gd name="connsiteY3" fmla="*/ 5913649 h 10319774"/>
              <a:gd name="connsiteX4" fmla="*/ 6557555 w 13115109"/>
              <a:gd name="connsiteY4" fmla="*/ 10319774 h 10319774"/>
              <a:gd name="connsiteX5" fmla="*/ 0 w 13115109"/>
              <a:gd name="connsiteY5" fmla="*/ 5196957 h 10319774"/>
              <a:gd name="connsiteX0" fmla="*/ 0 w 13115109"/>
              <a:gd name="connsiteY0" fmla="*/ 0 h 5122817"/>
              <a:gd name="connsiteX1" fmla="*/ 13115109 w 13115109"/>
              <a:gd name="connsiteY1" fmla="*/ 0 h 5122817"/>
              <a:gd name="connsiteX2" fmla="*/ 12187881 w 13115109"/>
              <a:gd name="connsiteY2" fmla="*/ 716692 h 5122817"/>
              <a:gd name="connsiteX3" fmla="*/ 6557555 w 13115109"/>
              <a:gd name="connsiteY3" fmla="*/ 5122817 h 5122817"/>
              <a:gd name="connsiteX4" fmla="*/ 0 w 13115109"/>
              <a:gd name="connsiteY4" fmla="*/ 0 h 5122817"/>
              <a:gd name="connsiteX0" fmla="*/ 0 w 12200709"/>
              <a:gd name="connsiteY0" fmla="*/ 0 h 5122817"/>
              <a:gd name="connsiteX1" fmla="*/ 12200709 w 12200709"/>
              <a:gd name="connsiteY1" fmla="*/ 42729 h 5122817"/>
              <a:gd name="connsiteX2" fmla="*/ 12187881 w 12200709"/>
              <a:gd name="connsiteY2" fmla="*/ 716692 h 5122817"/>
              <a:gd name="connsiteX3" fmla="*/ 6557555 w 12200709"/>
              <a:gd name="connsiteY3" fmla="*/ 5122817 h 5122817"/>
              <a:gd name="connsiteX4" fmla="*/ 0 w 12200709"/>
              <a:gd name="connsiteY4" fmla="*/ 0 h 5122817"/>
              <a:gd name="connsiteX0" fmla="*/ 0 w 12192164"/>
              <a:gd name="connsiteY0" fmla="*/ 17092 h 5139909"/>
              <a:gd name="connsiteX1" fmla="*/ 12192164 w 12192164"/>
              <a:gd name="connsiteY1" fmla="*/ 0 h 5139909"/>
              <a:gd name="connsiteX2" fmla="*/ 12187881 w 12192164"/>
              <a:gd name="connsiteY2" fmla="*/ 733784 h 5139909"/>
              <a:gd name="connsiteX3" fmla="*/ 6557555 w 12192164"/>
              <a:gd name="connsiteY3" fmla="*/ 5139909 h 5139909"/>
              <a:gd name="connsiteX4" fmla="*/ 0 w 12192164"/>
              <a:gd name="connsiteY4" fmla="*/ 17092 h 5139909"/>
              <a:gd name="connsiteX0" fmla="*/ 0 w 12188071"/>
              <a:gd name="connsiteY0" fmla="*/ 0 h 5122817"/>
              <a:gd name="connsiteX1" fmla="*/ 12183619 w 12188071"/>
              <a:gd name="connsiteY1" fmla="*/ 0 h 5122817"/>
              <a:gd name="connsiteX2" fmla="*/ 12187881 w 12188071"/>
              <a:gd name="connsiteY2" fmla="*/ 716692 h 5122817"/>
              <a:gd name="connsiteX3" fmla="*/ 6557555 w 12188071"/>
              <a:gd name="connsiteY3" fmla="*/ 5122817 h 5122817"/>
              <a:gd name="connsiteX4" fmla="*/ 0 w 12188071"/>
              <a:gd name="connsiteY4" fmla="*/ 0 h 5122817"/>
              <a:gd name="connsiteX0" fmla="*/ 0 w 12209257"/>
              <a:gd name="connsiteY0" fmla="*/ 0 h 5122817"/>
              <a:gd name="connsiteX1" fmla="*/ 12209257 w 12209257"/>
              <a:gd name="connsiteY1" fmla="*/ 0 h 5122817"/>
              <a:gd name="connsiteX2" fmla="*/ 12187881 w 12209257"/>
              <a:gd name="connsiteY2" fmla="*/ 716692 h 5122817"/>
              <a:gd name="connsiteX3" fmla="*/ 6557555 w 12209257"/>
              <a:gd name="connsiteY3" fmla="*/ 5122817 h 5122817"/>
              <a:gd name="connsiteX4" fmla="*/ 0 w 12209257"/>
              <a:gd name="connsiteY4" fmla="*/ 0 h 5122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9257" h="5122817">
                <a:moveTo>
                  <a:pt x="0" y="0"/>
                </a:moveTo>
                <a:lnTo>
                  <a:pt x="12209257" y="0"/>
                </a:lnTo>
                <a:cubicBezTo>
                  <a:pt x="12207829" y="244595"/>
                  <a:pt x="12189309" y="472097"/>
                  <a:pt x="12187881" y="716692"/>
                </a:cubicBezTo>
                <a:lnTo>
                  <a:pt x="6557555" y="512281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418620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55410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xmlns="" id="{863E6879-3D3D-4B8D-8E17-54B27ABBC78D}"/>
              </a:ext>
            </a:extLst>
          </p:cNvPr>
          <p:cNvSpPr/>
          <p:nvPr userDrawn="1"/>
        </p:nvSpPr>
        <p:spPr>
          <a:xfrm>
            <a:off x="1414" y="5639911"/>
            <a:ext cx="12190587" cy="208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xmlns="" id="{D6D1EC85-C34A-41EA-8A1B-CBFA1A421221}"/>
              </a:ext>
            </a:extLst>
          </p:cNvPr>
          <p:cNvSpPr/>
          <p:nvPr userDrawn="1"/>
        </p:nvSpPr>
        <p:spPr>
          <a:xfrm>
            <a:off x="1414" y="5972561"/>
            <a:ext cx="12190587" cy="2088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xmlns="" id="{7487CDAD-F245-4334-BA62-CA52A34B6750}"/>
              </a:ext>
            </a:extLst>
          </p:cNvPr>
          <p:cNvSpPr/>
          <p:nvPr userDrawn="1"/>
        </p:nvSpPr>
        <p:spPr>
          <a:xfrm>
            <a:off x="1414" y="5307261"/>
            <a:ext cx="12190587" cy="208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" name="Rectangle 12">
            <a:extLst>
              <a:ext uri="{FF2B5EF4-FFF2-40B4-BE49-F238E27FC236}">
                <a16:creationId xmlns:a16="http://schemas.microsoft.com/office/drawing/2014/main" xmlns="" id="{5237C9FC-4BDE-48E4-A6B7-10D72EA31132}"/>
              </a:ext>
            </a:extLst>
          </p:cNvPr>
          <p:cNvSpPr/>
          <p:nvPr userDrawn="1"/>
        </p:nvSpPr>
        <p:spPr>
          <a:xfrm>
            <a:off x="1414" y="4974611"/>
            <a:ext cx="12190587" cy="2088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55C89665-D9AB-4330-A9F8-08880DA2BA4D}"/>
              </a:ext>
            </a:extLst>
          </p:cNvPr>
          <p:cNvGrpSpPr/>
          <p:nvPr userDrawn="1"/>
        </p:nvGrpSpPr>
        <p:grpSpPr>
          <a:xfrm>
            <a:off x="6913023" y="1746256"/>
            <a:ext cx="4595423" cy="4836542"/>
            <a:chOff x="6913023" y="1746256"/>
            <a:chExt cx="4595423" cy="483654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05CAD33D-DF83-4256-88BF-BFBF8DE429F4}"/>
                </a:ext>
              </a:extLst>
            </p:cNvPr>
            <p:cNvSpPr/>
            <p:nvPr userDrawn="1"/>
          </p:nvSpPr>
          <p:spPr>
            <a:xfrm>
              <a:off x="7290394" y="6116990"/>
              <a:ext cx="4218052" cy="46580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softEdge rad="203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C0256DA6-5F47-4344-9C49-C5EC06F00A1B}"/>
                </a:ext>
              </a:extLst>
            </p:cNvPr>
            <p:cNvGrpSpPr/>
            <p:nvPr userDrawn="1"/>
          </p:nvGrpSpPr>
          <p:grpSpPr>
            <a:xfrm>
              <a:off x="6913023" y="1746256"/>
              <a:ext cx="4495597" cy="4687678"/>
              <a:chOff x="6446339" y="1280897"/>
              <a:chExt cx="4320717" cy="5285178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xmlns="" id="{195B1646-B88A-4FF4-A6BF-BF6D3A4E2670}"/>
                  </a:ext>
                </a:extLst>
              </p:cNvPr>
              <p:cNvSpPr/>
              <p:nvPr/>
            </p:nvSpPr>
            <p:spPr>
              <a:xfrm>
                <a:off x="7360122" y="5629227"/>
                <a:ext cx="2033648" cy="936848"/>
              </a:xfrm>
              <a:custGeom>
                <a:avLst/>
                <a:gdLst>
                  <a:gd name="connsiteX0" fmla="*/ 448273 w 847725"/>
                  <a:gd name="connsiteY0" fmla="*/ 7144 h 390525"/>
                  <a:gd name="connsiteX1" fmla="*/ 464466 w 847725"/>
                  <a:gd name="connsiteY1" fmla="*/ 184309 h 390525"/>
                  <a:gd name="connsiteX2" fmla="*/ 452083 w 847725"/>
                  <a:gd name="connsiteY2" fmla="*/ 224314 h 390525"/>
                  <a:gd name="connsiteX3" fmla="*/ 352071 w 847725"/>
                  <a:gd name="connsiteY3" fmla="*/ 269081 h 390525"/>
                  <a:gd name="connsiteX4" fmla="*/ 30126 w 847725"/>
                  <a:gd name="connsiteY4" fmla="*/ 283369 h 390525"/>
                  <a:gd name="connsiteX5" fmla="*/ 7266 w 847725"/>
                  <a:gd name="connsiteY5" fmla="*/ 285274 h 390525"/>
                  <a:gd name="connsiteX6" fmla="*/ 12981 w 847725"/>
                  <a:gd name="connsiteY6" fmla="*/ 292894 h 390525"/>
                  <a:gd name="connsiteX7" fmla="*/ 439701 w 847725"/>
                  <a:gd name="connsiteY7" fmla="*/ 384334 h 390525"/>
                  <a:gd name="connsiteX8" fmla="*/ 455893 w 847725"/>
                  <a:gd name="connsiteY8" fmla="*/ 385286 h 390525"/>
                  <a:gd name="connsiteX9" fmla="*/ 829273 w 847725"/>
                  <a:gd name="connsiteY9" fmla="*/ 321469 h 390525"/>
                  <a:gd name="connsiteX10" fmla="*/ 797841 w 847725"/>
                  <a:gd name="connsiteY10" fmla="*/ 52864 h 390525"/>
                  <a:gd name="connsiteX11" fmla="*/ 448273 w 847725"/>
                  <a:gd name="connsiteY11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5" h="390525">
                    <a:moveTo>
                      <a:pt x="448273" y="7144"/>
                    </a:moveTo>
                    <a:cubicBezTo>
                      <a:pt x="460656" y="89059"/>
                      <a:pt x="469228" y="136684"/>
                      <a:pt x="464466" y="184309"/>
                    </a:cubicBezTo>
                    <a:cubicBezTo>
                      <a:pt x="463513" y="196691"/>
                      <a:pt x="460656" y="208121"/>
                      <a:pt x="452083" y="224314"/>
                    </a:cubicBezTo>
                    <a:cubicBezTo>
                      <a:pt x="433033" y="261461"/>
                      <a:pt x="379693" y="268129"/>
                      <a:pt x="352071" y="269081"/>
                    </a:cubicBezTo>
                    <a:cubicBezTo>
                      <a:pt x="256821" y="270986"/>
                      <a:pt x="63463" y="282416"/>
                      <a:pt x="30126" y="283369"/>
                    </a:cubicBezTo>
                    <a:cubicBezTo>
                      <a:pt x="26316" y="283369"/>
                      <a:pt x="5361" y="283369"/>
                      <a:pt x="7266" y="285274"/>
                    </a:cubicBezTo>
                    <a:cubicBezTo>
                      <a:pt x="8218" y="286226"/>
                      <a:pt x="12981" y="292894"/>
                      <a:pt x="12981" y="292894"/>
                    </a:cubicBezTo>
                    <a:cubicBezTo>
                      <a:pt x="24411" y="308134"/>
                      <a:pt x="381598" y="373856"/>
                      <a:pt x="439701" y="384334"/>
                    </a:cubicBezTo>
                    <a:cubicBezTo>
                      <a:pt x="445416" y="385286"/>
                      <a:pt x="450178" y="385286"/>
                      <a:pt x="455893" y="385286"/>
                    </a:cubicBezTo>
                    <a:cubicBezTo>
                      <a:pt x="508281" y="381476"/>
                      <a:pt x="794983" y="355759"/>
                      <a:pt x="829273" y="321469"/>
                    </a:cubicBezTo>
                    <a:cubicBezTo>
                      <a:pt x="870231" y="279559"/>
                      <a:pt x="827368" y="142399"/>
                      <a:pt x="797841" y="52864"/>
                    </a:cubicBezTo>
                    <a:cubicBezTo>
                      <a:pt x="810223" y="42386"/>
                      <a:pt x="634963" y="21431"/>
                      <a:pt x="448273" y="7144"/>
                    </a:cubicBezTo>
                    <a:close/>
                  </a:path>
                </a:pathLst>
              </a:custGeom>
              <a:solidFill>
                <a:srgbClr val="B3B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xmlns="" id="{247EF8D4-721A-4155-8A86-A79CC8729956}"/>
                  </a:ext>
                </a:extLst>
              </p:cNvPr>
              <p:cNvSpPr/>
              <p:nvPr/>
            </p:nvSpPr>
            <p:spPr>
              <a:xfrm>
                <a:off x="7358820" y="5629227"/>
                <a:ext cx="1987948" cy="913998"/>
              </a:xfrm>
              <a:custGeom>
                <a:avLst/>
                <a:gdLst>
                  <a:gd name="connsiteX0" fmla="*/ 436434 w 828675"/>
                  <a:gd name="connsiteY0" fmla="*/ 7144 h 381000"/>
                  <a:gd name="connsiteX1" fmla="*/ 452626 w 828675"/>
                  <a:gd name="connsiteY1" fmla="*/ 178594 h 381000"/>
                  <a:gd name="connsiteX2" fmla="*/ 440244 w 828675"/>
                  <a:gd name="connsiteY2" fmla="*/ 217646 h 381000"/>
                  <a:gd name="connsiteX3" fmla="*/ 342136 w 828675"/>
                  <a:gd name="connsiteY3" fmla="*/ 260509 h 381000"/>
                  <a:gd name="connsiteX4" fmla="*/ 11619 w 828675"/>
                  <a:gd name="connsiteY4" fmla="*/ 281464 h 381000"/>
                  <a:gd name="connsiteX5" fmla="*/ 428814 w 828675"/>
                  <a:gd name="connsiteY5" fmla="*/ 372904 h 381000"/>
                  <a:gd name="connsiteX6" fmla="*/ 444054 w 828675"/>
                  <a:gd name="connsiteY6" fmla="*/ 373856 h 381000"/>
                  <a:gd name="connsiteX7" fmla="*/ 813624 w 828675"/>
                  <a:gd name="connsiteY7" fmla="*/ 311944 h 381000"/>
                  <a:gd name="connsiteX8" fmla="*/ 782191 w 828675"/>
                  <a:gd name="connsiteY8" fmla="*/ 52864 h 381000"/>
                  <a:gd name="connsiteX9" fmla="*/ 436434 w 828675"/>
                  <a:gd name="connsiteY9" fmla="*/ 7144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8675" h="381000">
                    <a:moveTo>
                      <a:pt x="436434" y="7144"/>
                    </a:moveTo>
                    <a:cubicBezTo>
                      <a:pt x="448816" y="86201"/>
                      <a:pt x="457389" y="131921"/>
                      <a:pt x="452626" y="178594"/>
                    </a:cubicBezTo>
                    <a:cubicBezTo>
                      <a:pt x="451674" y="190976"/>
                      <a:pt x="448816" y="201454"/>
                      <a:pt x="440244" y="217646"/>
                    </a:cubicBezTo>
                    <a:cubicBezTo>
                      <a:pt x="421194" y="252889"/>
                      <a:pt x="367854" y="260509"/>
                      <a:pt x="342136" y="260509"/>
                    </a:cubicBezTo>
                    <a:cubicBezTo>
                      <a:pt x="269746" y="262414"/>
                      <a:pt x="43051" y="274796"/>
                      <a:pt x="11619" y="281464"/>
                    </a:cubicBezTo>
                    <a:cubicBezTo>
                      <a:pt x="-39816" y="292894"/>
                      <a:pt x="367854" y="362426"/>
                      <a:pt x="428814" y="372904"/>
                    </a:cubicBezTo>
                    <a:cubicBezTo>
                      <a:pt x="433576" y="373856"/>
                      <a:pt x="439291" y="373856"/>
                      <a:pt x="444054" y="373856"/>
                    </a:cubicBezTo>
                    <a:cubicBezTo>
                      <a:pt x="494536" y="370046"/>
                      <a:pt x="779334" y="346234"/>
                      <a:pt x="813624" y="311944"/>
                    </a:cubicBezTo>
                    <a:cubicBezTo>
                      <a:pt x="853629" y="271939"/>
                      <a:pt x="811719" y="139541"/>
                      <a:pt x="782191" y="52864"/>
                    </a:cubicBezTo>
                    <a:cubicBezTo>
                      <a:pt x="793621" y="41434"/>
                      <a:pt x="620266" y="20479"/>
                      <a:pt x="436434" y="7144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xmlns="" id="{94B13E32-F740-42E2-9A70-BBCCCB2337B8}"/>
                  </a:ext>
                </a:extLst>
              </p:cNvPr>
              <p:cNvSpPr/>
              <p:nvPr/>
            </p:nvSpPr>
            <p:spPr>
              <a:xfrm>
                <a:off x="6448412" y="1280897"/>
                <a:ext cx="4318644" cy="4592842"/>
              </a:xfrm>
              <a:custGeom>
                <a:avLst/>
                <a:gdLst>
                  <a:gd name="connsiteX0" fmla="*/ 1610322 w 1800225"/>
                  <a:gd name="connsiteY0" fmla="*/ 1912136 h 1914525"/>
                  <a:gd name="connsiteX1" fmla="*/ 53937 w 1800225"/>
                  <a:gd name="connsiteY1" fmla="*/ 1736876 h 1914525"/>
                  <a:gd name="connsiteX2" fmla="*/ 7264 w 1800225"/>
                  <a:gd name="connsiteY2" fmla="*/ 1681631 h 1914525"/>
                  <a:gd name="connsiteX3" fmla="*/ 66319 w 1800225"/>
                  <a:gd name="connsiteY3" fmla="*/ 529106 h 1914525"/>
                  <a:gd name="connsiteX4" fmla="*/ 107277 w 1800225"/>
                  <a:gd name="connsiteY4" fmla="*/ 432903 h 1914525"/>
                  <a:gd name="connsiteX5" fmla="*/ 1729384 w 1800225"/>
                  <a:gd name="connsiteY5" fmla="*/ 9041 h 1914525"/>
                  <a:gd name="connsiteX6" fmla="*/ 1797012 w 1800225"/>
                  <a:gd name="connsiteY6" fmla="*/ 63333 h 1914525"/>
                  <a:gd name="connsiteX7" fmla="*/ 1691284 w 1800225"/>
                  <a:gd name="connsiteY7" fmla="*/ 1844508 h 1914525"/>
                  <a:gd name="connsiteX8" fmla="*/ 1610322 w 1800225"/>
                  <a:gd name="connsiteY8" fmla="*/ 1912136 h 191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0225" h="1914525">
                    <a:moveTo>
                      <a:pt x="1610322" y="1912136"/>
                    </a:moveTo>
                    <a:lnTo>
                      <a:pt x="53937" y="1736876"/>
                    </a:lnTo>
                    <a:cubicBezTo>
                      <a:pt x="26314" y="1734018"/>
                      <a:pt x="5359" y="1709253"/>
                      <a:pt x="7264" y="1681631"/>
                    </a:cubicBezTo>
                    <a:lnTo>
                      <a:pt x="66319" y="529106"/>
                    </a:lnTo>
                    <a:cubicBezTo>
                      <a:pt x="68224" y="458621"/>
                      <a:pt x="84417" y="438618"/>
                      <a:pt x="107277" y="432903"/>
                    </a:cubicBezTo>
                    <a:lnTo>
                      <a:pt x="1729384" y="9041"/>
                    </a:lnTo>
                    <a:cubicBezTo>
                      <a:pt x="1764627" y="-484"/>
                      <a:pt x="1798917" y="27138"/>
                      <a:pt x="1797012" y="63333"/>
                    </a:cubicBezTo>
                    <a:lnTo>
                      <a:pt x="1691284" y="1844508"/>
                    </a:lnTo>
                    <a:cubicBezTo>
                      <a:pt x="1687474" y="1885466"/>
                      <a:pt x="1651279" y="1915946"/>
                      <a:pt x="1610322" y="1912136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xmlns="" id="{51594EE1-A094-412B-9C8D-09609002532A}"/>
                  </a:ext>
                </a:extLst>
              </p:cNvPr>
              <p:cNvSpPr/>
              <p:nvPr/>
            </p:nvSpPr>
            <p:spPr>
              <a:xfrm>
                <a:off x="6464696" y="1280897"/>
                <a:ext cx="4250094" cy="3998744"/>
              </a:xfrm>
              <a:custGeom>
                <a:avLst/>
                <a:gdLst>
                  <a:gd name="connsiteX0" fmla="*/ 1678781 w 1771650"/>
                  <a:gd name="connsiteY0" fmla="*/ 1664486 h 1666875"/>
                  <a:gd name="connsiteX1" fmla="*/ 7144 w 1771650"/>
                  <a:gd name="connsiteY1" fmla="*/ 1552091 h 1666875"/>
                  <a:gd name="connsiteX2" fmla="*/ 58579 w 1771650"/>
                  <a:gd name="connsiteY2" fmla="*/ 482433 h 1666875"/>
                  <a:gd name="connsiteX3" fmla="*/ 98584 w 1771650"/>
                  <a:gd name="connsiteY3" fmla="*/ 432903 h 1666875"/>
                  <a:gd name="connsiteX4" fmla="*/ 1705451 w 1771650"/>
                  <a:gd name="connsiteY4" fmla="*/ 9041 h 1666875"/>
                  <a:gd name="connsiteX5" fmla="*/ 1772126 w 1771650"/>
                  <a:gd name="connsiteY5" fmla="*/ 63333 h 1666875"/>
                  <a:gd name="connsiteX6" fmla="*/ 1678781 w 1771650"/>
                  <a:gd name="connsiteY6" fmla="*/ 1664486 h 1666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71650" h="1666875">
                    <a:moveTo>
                      <a:pt x="1678781" y="1664486"/>
                    </a:moveTo>
                    <a:lnTo>
                      <a:pt x="7144" y="1552091"/>
                    </a:lnTo>
                    <a:lnTo>
                      <a:pt x="58579" y="482433"/>
                    </a:lnTo>
                    <a:cubicBezTo>
                      <a:pt x="59531" y="459573"/>
                      <a:pt x="75724" y="439571"/>
                      <a:pt x="98584" y="432903"/>
                    </a:cubicBezTo>
                    <a:lnTo>
                      <a:pt x="1705451" y="9041"/>
                    </a:lnTo>
                    <a:cubicBezTo>
                      <a:pt x="1740694" y="-484"/>
                      <a:pt x="1774984" y="27138"/>
                      <a:pt x="1772126" y="63333"/>
                    </a:cubicBezTo>
                    <a:lnTo>
                      <a:pt x="1678781" y="1664486"/>
                    </a:lnTo>
                    <a:close/>
                  </a:path>
                </a:pathLst>
              </a:custGeom>
              <a:solidFill>
                <a:srgbClr val="1A1A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xmlns="" id="{E34864C7-7210-4707-B490-5D1340DA7C14}"/>
                  </a:ext>
                </a:extLst>
              </p:cNvPr>
              <p:cNvSpPr/>
              <p:nvPr/>
            </p:nvSpPr>
            <p:spPr>
              <a:xfrm>
                <a:off x="6572092" y="1577928"/>
                <a:ext cx="3907345" cy="3404644"/>
              </a:xfrm>
              <a:custGeom>
                <a:avLst/>
                <a:gdLst>
                  <a:gd name="connsiteX0" fmla="*/ 1539716 w 1628775"/>
                  <a:gd name="connsiteY0" fmla="*/ 1416844 h 1419225"/>
                  <a:gd name="connsiteX1" fmla="*/ 7144 w 1628775"/>
                  <a:gd name="connsiteY1" fmla="*/ 1357789 h 1419225"/>
                  <a:gd name="connsiteX2" fmla="*/ 57626 w 1628775"/>
                  <a:gd name="connsiteY2" fmla="*/ 363379 h 1419225"/>
                  <a:gd name="connsiteX3" fmla="*/ 1628299 w 1628775"/>
                  <a:gd name="connsiteY3" fmla="*/ 7144 h 141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75" h="1419225">
                    <a:moveTo>
                      <a:pt x="1539716" y="1416844"/>
                    </a:moveTo>
                    <a:lnTo>
                      <a:pt x="7144" y="1357789"/>
                    </a:lnTo>
                    <a:lnTo>
                      <a:pt x="57626" y="363379"/>
                    </a:lnTo>
                    <a:lnTo>
                      <a:pt x="1628299" y="7144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xmlns="" id="{AC870821-1E5F-40DA-AB75-DEB54C0CADDC}"/>
                  </a:ext>
                </a:extLst>
              </p:cNvPr>
              <p:cNvSpPr/>
              <p:nvPr/>
            </p:nvSpPr>
            <p:spPr>
              <a:xfrm>
                <a:off x="6446339" y="4996281"/>
                <a:ext cx="4044444" cy="868298"/>
              </a:xfrm>
              <a:custGeom>
                <a:avLst/>
                <a:gdLst>
                  <a:gd name="connsiteX0" fmla="*/ 13844 w 1685925"/>
                  <a:gd name="connsiteY0" fmla="*/ 7144 h 361950"/>
                  <a:gd name="connsiteX1" fmla="*/ 7176 w 1685925"/>
                  <a:gd name="connsiteY1" fmla="*/ 133826 h 361950"/>
                  <a:gd name="connsiteX2" fmla="*/ 53849 w 1685925"/>
                  <a:gd name="connsiteY2" fmla="*/ 189071 h 361950"/>
                  <a:gd name="connsiteX3" fmla="*/ 1597851 w 1685925"/>
                  <a:gd name="connsiteY3" fmla="*/ 363379 h 361950"/>
                  <a:gd name="connsiteX4" fmla="*/ 1675956 w 1685925"/>
                  <a:gd name="connsiteY4" fmla="*/ 296704 h 361950"/>
                  <a:gd name="connsiteX5" fmla="*/ 1686434 w 1685925"/>
                  <a:gd name="connsiteY5" fmla="*/ 111919 h 361950"/>
                  <a:gd name="connsiteX6" fmla="*/ 13844 w 1685925"/>
                  <a:gd name="connsiteY6" fmla="*/ 7144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925" h="361950">
                    <a:moveTo>
                      <a:pt x="13844" y="7144"/>
                    </a:moveTo>
                    <a:lnTo>
                      <a:pt x="7176" y="133826"/>
                    </a:lnTo>
                    <a:cubicBezTo>
                      <a:pt x="6224" y="161449"/>
                      <a:pt x="26226" y="186214"/>
                      <a:pt x="53849" y="189071"/>
                    </a:cubicBezTo>
                    <a:lnTo>
                      <a:pt x="1597851" y="363379"/>
                    </a:lnTo>
                    <a:cubicBezTo>
                      <a:pt x="1637856" y="368141"/>
                      <a:pt x="1674051" y="337661"/>
                      <a:pt x="1675956" y="296704"/>
                    </a:cubicBezTo>
                    <a:lnTo>
                      <a:pt x="1686434" y="111919"/>
                    </a:lnTo>
                    <a:lnTo>
                      <a:pt x="13844" y="7144"/>
                    </a:lnTo>
                    <a:close/>
                  </a:path>
                </a:pathLst>
              </a:custGeom>
              <a:solidFill>
                <a:srgbClr val="B3B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xmlns="" id="{BF4B58FF-E90D-4714-A9BD-1B1FFDB78E46}"/>
                  </a:ext>
                </a:extLst>
              </p:cNvPr>
              <p:cNvSpPr/>
              <p:nvPr/>
            </p:nvSpPr>
            <p:spPr>
              <a:xfrm>
                <a:off x="7715310" y="1593115"/>
                <a:ext cx="2775473" cy="3394037"/>
              </a:xfrm>
              <a:custGeom>
                <a:avLst/>
                <a:gdLst>
                  <a:gd name="connsiteX0" fmla="*/ 1425389 w 2775473"/>
                  <a:gd name="connsiteY0" fmla="*/ 306593 h 3394037"/>
                  <a:gd name="connsiteX1" fmla="*/ 2775473 w 2775473"/>
                  <a:gd name="connsiteY1" fmla="*/ 0 h 3394037"/>
                  <a:gd name="connsiteX2" fmla="*/ 2565699 w 2775473"/>
                  <a:gd name="connsiteY2" fmla="*/ 3394037 h 3394037"/>
                  <a:gd name="connsiteX3" fmla="*/ 0 w 2775473"/>
                  <a:gd name="connsiteY3" fmla="*/ 3281082 h 3394037"/>
                  <a:gd name="connsiteX4" fmla="*/ 1425389 w 2775473"/>
                  <a:gd name="connsiteY4" fmla="*/ 306593 h 339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5473" h="3394037">
                    <a:moveTo>
                      <a:pt x="1425389" y="306593"/>
                    </a:moveTo>
                    <a:lnTo>
                      <a:pt x="2775473" y="0"/>
                    </a:lnTo>
                    <a:lnTo>
                      <a:pt x="2565699" y="3394037"/>
                    </a:lnTo>
                    <a:lnTo>
                      <a:pt x="0" y="3281082"/>
                    </a:lnTo>
                    <a:lnTo>
                      <a:pt x="1425389" y="306593"/>
                    </a:lnTo>
                    <a:close/>
                  </a:path>
                </a:pathLst>
              </a:custGeom>
              <a:solidFill>
                <a:srgbClr val="999999">
                  <a:alpha val="1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</p:grpSp>
      <p:sp>
        <p:nvSpPr>
          <p:cNvPr id="8" name="그림 개체 틀 2">
            <a:extLst>
              <a:ext uri="{FF2B5EF4-FFF2-40B4-BE49-F238E27FC236}">
                <a16:creationId xmlns:a16="http://schemas.microsoft.com/office/drawing/2014/main" xmlns="" id="{157702FD-7907-484A-9E52-2C12EFFD1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20282" y="1989441"/>
            <a:ext cx="4180713" cy="3065247"/>
          </a:xfrm>
          <a:custGeom>
            <a:avLst/>
            <a:gdLst>
              <a:gd name="connsiteX0" fmla="*/ 0 w 4495800"/>
              <a:gd name="connsiteY0" fmla="*/ 0 h 2593057"/>
              <a:gd name="connsiteX1" fmla="*/ 4495800 w 4495800"/>
              <a:gd name="connsiteY1" fmla="*/ 0 h 2593057"/>
              <a:gd name="connsiteX2" fmla="*/ 4495800 w 4495800"/>
              <a:gd name="connsiteY2" fmla="*/ 2593057 h 2593057"/>
              <a:gd name="connsiteX3" fmla="*/ 0 w 4495800"/>
              <a:gd name="connsiteY3" fmla="*/ 2593057 h 2593057"/>
              <a:gd name="connsiteX4" fmla="*/ 0 w 4495800"/>
              <a:gd name="connsiteY4" fmla="*/ 0 h 2593057"/>
              <a:gd name="connsiteX0" fmla="*/ 0 w 4495800"/>
              <a:gd name="connsiteY0" fmla="*/ 656948 h 3250005"/>
              <a:gd name="connsiteX1" fmla="*/ 2951085 w 4495800"/>
              <a:gd name="connsiteY1" fmla="*/ 0 h 3250005"/>
              <a:gd name="connsiteX2" fmla="*/ 4495800 w 4495800"/>
              <a:gd name="connsiteY2" fmla="*/ 3250005 h 3250005"/>
              <a:gd name="connsiteX3" fmla="*/ 0 w 4495800"/>
              <a:gd name="connsiteY3" fmla="*/ 3250005 h 3250005"/>
              <a:gd name="connsiteX4" fmla="*/ 0 w 4495800"/>
              <a:gd name="connsiteY4" fmla="*/ 656948 h 3250005"/>
              <a:gd name="connsiteX0" fmla="*/ 106532 w 4602332"/>
              <a:gd name="connsiteY0" fmla="*/ 656948 h 3250005"/>
              <a:gd name="connsiteX1" fmla="*/ 3057617 w 4602332"/>
              <a:gd name="connsiteY1" fmla="*/ 0 h 3250005"/>
              <a:gd name="connsiteX2" fmla="*/ 4602332 w 4602332"/>
              <a:gd name="connsiteY2" fmla="*/ 3250005 h 3250005"/>
              <a:gd name="connsiteX3" fmla="*/ 0 w 4602332"/>
              <a:gd name="connsiteY3" fmla="*/ 2584180 h 3250005"/>
              <a:gd name="connsiteX4" fmla="*/ 106532 w 4602332"/>
              <a:gd name="connsiteY4" fmla="*/ 656948 h 3250005"/>
              <a:gd name="connsiteX0" fmla="*/ 106532 w 3057617"/>
              <a:gd name="connsiteY0" fmla="*/ 656948 h 2584180"/>
              <a:gd name="connsiteX1" fmla="*/ 3057617 w 3057617"/>
              <a:gd name="connsiteY1" fmla="*/ 0 h 2584180"/>
              <a:gd name="connsiteX2" fmla="*/ 2196483 w 3057617"/>
              <a:gd name="connsiteY2" fmla="*/ 2122541 h 2584180"/>
              <a:gd name="connsiteX3" fmla="*/ 0 w 3057617"/>
              <a:gd name="connsiteY3" fmla="*/ 2584180 h 2584180"/>
              <a:gd name="connsiteX4" fmla="*/ 106532 w 3057617"/>
              <a:gd name="connsiteY4" fmla="*/ 656948 h 2584180"/>
              <a:gd name="connsiteX0" fmla="*/ 106532 w 3057617"/>
              <a:gd name="connsiteY0" fmla="*/ 656948 h 2681834"/>
              <a:gd name="connsiteX1" fmla="*/ 3057617 w 3057617"/>
              <a:gd name="connsiteY1" fmla="*/ 0 h 2681834"/>
              <a:gd name="connsiteX2" fmla="*/ 2897819 w 3057617"/>
              <a:gd name="connsiteY2" fmla="*/ 2681834 h 2681834"/>
              <a:gd name="connsiteX3" fmla="*/ 0 w 3057617"/>
              <a:gd name="connsiteY3" fmla="*/ 2584180 h 2681834"/>
              <a:gd name="connsiteX4" fmla="*/ 106532 w 3057617"/>
              <a:gd name="connsiteY4" fmla="*/ 656948 h 2681834"/>
              <a:gd name="connsiteX0" fmla="*/ 0 w 2951085"/>
              <a:gd name="connsiteY0" fmla="*/ 656948 h 2681834"/>
              <a:gd name="connsiteX1" fmla="*/ 2951085 w 2951085"/>
              <a:gd name="connsiteY1" fmla="*/ 0 h 2681834"/>
              <a:gd name="connsiteX2" fmla="*/ 2791287 w 2951085"/>
              <a:gd name="connsiteY2" fmla="*/ 2681834 h 2681834"/>
              <a:gd name="connsiteX3" fmla="*/ 594804 w 2951085"/>
              <a:gd name="connsiteY3" fmla="*/ 2335605 h 2681834"/>
              <a:gd name="connsiteX4" fmla="*/ 0 w 2951085"/>
              <a:gd name="connsiteY4" fmla="*/ 656948 h 2681834"/>
              <a:gd name="connsiteX0" fmla="*/ 115409 w 3066494"/>
              <a:gd name="connsiteY0" fmla="*/ 656948 h 2681834"/>
              <a:gd name="connsiteX1" fmla="*/ 3066494 w 3066494"/>
              <a:gd name="connsiteY1" fmla="*/ 0 h 2681834"/>
              <a:gd name="connsiteX2" fmla="*/ 2906696 w 3066494"/>
              <a:gd name="connsiteY2" fmla="*/ 2681834 h 2681834"/>
              <a:gd name="connsiteX3" fmla="*/ 0 w 3066494"/>
              <a:gd name="connsiteY3" fmla="*/ 2557547 h 2681834"/>
              <a:gd name="connsiteX4" fmla="*/ 115409 w 3066494"/>
              <a:gd name="connsiteY4" fmla="*/ 656948 h 2681834"/>
              <a:gd name="connsiteX0" fmla="*/ 115409 w 2906696"/>
              <a:gd name="connsiteY0" fmla="*/ 292964 h 2317850"/>
              <a:gd name="connsiteX1" fmla="*/ 2853430 w 2906696"/>
              <a:gd name="connsiteY1" fmla="*/ 0 h 2317850"/>
              <a:gd name="connsiteX2" fmla="*/ 2906696 w 2906696"/>
              <a:gd name="connsiteY2" fmla="*/ 2317850 h 2317850"/>
              <a:gd name="connsiteX3" fmla="*/ 0 w 2906696"/>
              <a:gd name="connsiteY3" fmla="*/ 2193563 h 2317850"/>
              <a:gd name="connsiteX4" fmla="*/ 115409 w 2906696"/>
              <a:gd name="connsiteY4" fmla="*/ 292964 h 2317850"/>
              <a:gd name="connsiteX0" fmla="*/ 115409 w 3057617"/>
              <a:gd name="connsiteY0" fmla="*/ 648071 h 2672957"/>
              <a:gd name="connsiteX1" fmla="*/ 3057617 w 3057617"/>
              <a:gd name="connsiteY1" fmla="*/ 0 h 2672957"/>
              <a:gd name="connsiteX2" fmla="*/ 2906696 w 3057617"/>
              <a:gd name="connsiteY2" fmla="*/ 2672957 h 2672957"/>
              <a:gd name="connsiteX3" fmla="*/ 0 w 3057617"/>
              <a:gd name="connsiteY3" fmla="*/ 2548670 h 2672957"/>
              <a:gd name="connsiteX4" fmla="*/ 115409 w 3057617"/>
              <a:gd name="connsiteY4" fmla="*/ 648071 h 2672957"/>
              <a:gd name="connsiteX0" fmla="*/ 115409 w 2971257"/>
              <a:gd name="connsiteY0" fmla="*/ 510911 h 2535797"/>
              <a:gd name="connsiteX1" fmla="*/ 2971257 w 2971257"/>
              <a:gd name="connsiteY1" fmla="*/ 0 h 2535797"/>
              <a:gd name="connsiteX2" fmla="*/ 2906696 w 2971257"/>
              <a:gd name="connsiteY2" fmla="*/ 2535797 h 2535797"/>
              <a:gd name="connsiteX3" fmla="*/ 0 w 2971257"/>
              <a:gd name="connsiteY3" fmla="*/ 2411510 h 2535797"/>
              <a:gd name="connsiteX4" fmla="*/ 115409 w 2971257"/>
              <a:gd name="connsiteY4" fmla="*/ 510911 h 2535797"/>
              <a:gd name="connsiteX0" fmla="*/ 115409 w 3077937"/>
              <a:gd name="connsiteY0" fmla="*/ 668391 h 2693277"/>
              <a:gd name="connsiteX1" fmla="*/ 3077937 w 3077937"/>
              <a:gd name="connsiteY1" fmla="*/ 0 h 2693277"/>
              <a:gd name="connsiteX2" fmla="*/ 2906696 w 3077937"/>
              <a:gd name="connsiteY2" fmla="*/ 2693277 h 2693277"/>
              <a:gd name="connsiteX3" fmla="*/ 0 w 3077937"/>
              <a:gd name="connsiteY3" fmla="*/ 2568990 h 2693277"/>
              <a:gd name="connsiteX4" fmla="*/ 115409 w 3077937"/>
              <a:gd name="connsiteY4" fmla="*/ 668391 h 2693277"/>
              <a:gd name="connsiteX0" fmla="*/ 115409 w 3077937"/>
              <a:gd name="connsiteY0" fmla="*/ 668391 h 2568990"/>
              <a:gd name="connsiteX1" fmla="*/ 3077937 w 3077937"/>
              <a:gd name="connsiteY1" fmla="*/ 0 h 2568990"/>
              <a:gd name="connsiteX2" fmla="*/ 2769536 w 3077937"/>
              <a:gd name="connsiteY2" fmla="*/ 2535797 h 2568990"/>
              <a:gd name="connsiteX3" fmla="*/ 0 w 3077937"/>
              <a:gd name="connsiteY3" fmla="*/ 2568990 h 2568990"/>
              <a:gd name="connsiteX4" fmla="*/ 115409 w 3077937"/>
              <a:gd name="connsiteY4" fmla="*/ 668391 h 2568990"/>
              <a:gd name="connsiteX0" fmla="*/ 115409 w 3077937"/>
              <a:gd name="connsiteY0" fmla="*/ 668391 h 2693277"/>
              <a:gd name="connsiteX1" fmla="*/ 3077937 w 3077937"/>
              <a:gd name="connsiteY1" fmla="*/ 0 h 2693277"/>
              <a:gd name="connsiteX2" fmla="*/ 2916856 w 3077937"/>
              <a:gd name="connsiteY2" fmla="*/ 2693277 h 2693277"/>
              <a:gd name="connsiteX3" fmla="*/ 0 w 3077937"/>
              <a:gd name="connsiteY3" fmla="*/ 2568990 h 2693277"/>
              <a:gd name="connsiteX4" fmla="*/ 115409 w 3077937"/>
              <a:gd name="connsiteY4" fmla="*/ 668391 h 2693277"/>
              <a:gd name="connsiteX0" fmla="*/ 0 w 2962528"/>
              <a:gd name="connsiteY0" fmla="*/ 668391 h 2693277"/>
              <a:gd name="connsiteX1" fmla="*/ 2962528 w 2962528"/>
              <a:gd name="connsiteY1" fmla="*/ 0 h 2693277"/>
              <a:gd name="connsiteX2" fmla="*/ 2801447 w 2962528"/>
              <a:gd name="connsiteY2" fmla="*/ 2693277 h 2693277"/>
              <a:gd name="connsiteX3" fmla="*/ 331631 w 2962528"/>
              <a:gd name="connsiteY3" fmla="*/ 2289590 h 2693277"/>
              <a:gd name="connsiteX4" fmla="*/ 0 w 2962528"/>
              <a:gd name="connsiteY4" fmla="*/ 668391 h 2693277"/>
              <a:gd name="connsiteX0" fmla="*/ 120489 w 3083017"/>
              <a:gd name="connsiteY0" fmla="*/ 668391 h 2693277"/>
              <a:gd name="connsiteX1" fmla="*/ 3083017 w 3083017"/>
              <a:gd name="connsiteY1" fmla="*/ 0 h 2693277"/>
              <a:gd name="connsiteX2" fmla="*/ 2921936 w 3083017"/>
              <a:gd name="connsiteY2" fmla="*/ 2693277 h 2693277"/>
              <a:gd name="connsiteX3" fmla="*/ 0 w 3083017"/>
              <a:gd name="connsiteY3" fmla="*/ 2574070 h 2693277"/>
              <a:gd name="connsiteX4" fmla="*/ 120489 w 3083017"/>
              <a:gd name="connsiteY4" fmla="*/ 668391 h 2693277"/>
              <a:gd name="connsiteX0" fmla="*/ 262729 w 3083017"/>
              <a:gd name="connsiteY0" fmla="*/ 841111 h 2693277"/>
              <a:gd name="connsiteX1" fmla="*/ 3083017 w 3083017"/>
              <a:gd name="connsiteY1" fmla="*/ 0 h 2693277"/>
              <a:gd name="connsiteX2" fmla="*/ 2921936 w 3083017"/>
              <a:gd name="connsiteY2" fmla="*/ 2693277 h 2693277"/>
              <a:gd name="connsiteX3" fmla="*/ 0 w 3083017"/>
              <a:gd name="connsiteY3" fmla="*/ 2574070 h 2693277"/>
              <a:gd name="connsiteX4" fmla="*/ 262729 w 3083017"/>
              <a:gd name="connsiteY4" fmla="*/ 841111 h 2693277"/>
              <a:gd name="connsiteX0" fmla="*/ 105249 w 3083017"/>
              <a:gd name="connsiteY0" fmla="*/ 709031 h 2693277"/>
              <a:gd name="connsiteX1" fmla="*/ 3083017 w 3083017"/>
              <a:gd name="connsiteY1" fmla="*/ 0 h 2693277"/>
              <a:gd name="connsiteX2" fmla="*/ 2921936 w 3083017"/>
              <a:gd name="connsiteY2" fmla="*/ 2693277 h 2693277"/>
              <a:gd name="connsiteX3" fmla="*/ 0 w 3083017"/>
              <a:gd name="connsiteY3" fmla="*/ 2574070 h 2693277"/>
              <a:gd name="connsiteX4" fmla="*/ 105249 w 3083017"/>
              <a:gd name="connsiteY4" fmla="*/ 709031 h 2693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3017" h="2693277">
                <a:moveTo>
                  <a:pt x="105249" y="709031"/>
                </a:moveTo>
                <a:lnTo>
                  <a:pt x="3083017" y="0"/>
                </a:lnTo>
                <a:lnTo>
                  <a:pt x="2921936" y="2693277"/>
                </a:lnTo>
                <a:lnTo>
                  <a:pt x="0" y="2574070"/>
                </a:lnTo>
                <a:lnTo>
                  <a:pt x="105249" y="7090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CB86775-83F3-4195-80F1-8A2759152282}"/>
              </a:ext>
            </a:extLst>
          </p:cNvPr>
          <p:cNvSpPr/>
          <p:nvPr userDrawn="1"/>
        </p:nvSpPr>
        <p:spPr>
          <a:xfrm>
            <a:off x="0" y="0"/>
            <a:ext cx="12192000" cy="1162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9794EC73-4B3C-4A64-A77B-50EE9B8F77E3}"/>
              </a:ext>
            </a:extLst>
          </p:cNvPr>
          <p:cNvSpPr/>
          <p:nvPr userDrawn="1"/>
        </p:nvSpPr>
        <p:spPr>
          <a:xfrm>
            <a:off x="1" y="0"/>
            <a:ext cx="4020670" cy="1325812"/>
          </a:xfrm>
          <a:custGeom>
            <a:avLst/>
            <a:gdLst>
              <a:gd name="connsiteX0" fmla="*/ 2921457 w 3751729"/>
              <a:gd name="connsiteY0" fmla="*/ 929082 h 1237129"/>
              <a:gd name="connsiteX1" fmla="*/ 2929580 w 3751729"/>
              <a:gd name="connsiteY1" fmla="*/ 931543 h 1237129"/>
              <a:gd name="connsiteX2" fmla="*/ 2939672 w 3751729"/>
              <a:gd name="connsiteY2" fmla="*/ 937451 h 1237129"/>
              <a:gd name="connsiteX3" fmla="*/ 2948781 w 3751729"/>
              <a:gd name="connsiteY3" fmla="*/ 946559 h 1237129"/>
              <a:gd name="connsiteX4" fmla="*/ 2952719 w 3751729"/>
              <a:gd name="connsiteY4" fmla="*/ 954190 h 1237129"/>
              <a:gd name="connsiteX5" fmla="*/ 2948781 w 3751729"/>
              <a:gd name="connsiteY5" fmla="*/ 956651 h 1237129"/>
              <a:gd name="connsiteX6" fmla="*/ 2944596 w 3751729"/>
              <a:gd name="connsiteY6" fmla="*/ 960835 h 1237129"/>
              <a:gd name="connsiteX7" fmla="*/ 2939672 w 3751729"/>
              <a:gd name="connsiteY7" fmla="*/ 964282 h 1237129"/>
              <a:gd name="connsiteX8" fmla="*/ 2933765 w 3751729"/>
              <a:gd name="connsiteY8" fmla="*/ 966743 h 1237129"/>
              <a:gd name="connsiteX9" fmla="*/ 2938688 w 3751729"/>
              <a:gd name="connsiteY9" fmla="*/ 980035 h 1237129"/>
              <a:gd name="connsiteX10" fmla="*/ 2944596 w 3751729"/>
              <a:gd name="connsiteY10" fmla="*/ 990128 h 1237129"/>
              <a:gd name="connsiteX11" fmla="*/ 2950257 w 3751729"/>
              <a:gd name="connsiteY11" fmla="*/ 1001944 h 1237129"/>
              <a:gd name="connsiteX12" fmla="*/ 2945334 w 3751729"/>
              <a:gd name="connsiteY12" fmla="*/ 1003666 h 1237129"/>
              <a:gd name="connsiteX13" fmla="*/ 2942872 w 3751729"/>
              <a:gd name="connsiteY13" fmla="*/ 1003666 h 1237129"/>
              <a:gd name="connsiteX14" fmla="*/ 2941150 w 3751729"/>
              <a:gd name="connsiteY14" fmla="*/ 1003666 h 1237129"/>
              <a:gd name="connsiteX15" fmla="*/ 2939672 w 3751729"/>
              <a:gd name="connsiteY15" fmla="*/ 1005389 h 1237129"/>
              <a:gd name="connsiteX16" fmla="*/ 2938688 w 3751729"/>
              <a:gd name="connsiteY16" fmla="*/ 1006128 h 1237129"/>
              <a:gd name="connsiteX17" fmla="*/ 2937212 w 3751729"/>
              <a:gd name="connsiteY17" fmla="*/ 1009574 h 1237129"/>
              <a:gd name="connsiteX18" fmla="*/ 2929580 w 3751729"/>
              <a:gd name="connsiteY18" fmla="*/ 1022867 h 1237129"/>
              <a:gd name="connsiteX19" fmla="*/ 2925642 w 3751729"/>
              <a:gd name="connsiteY19" fmla="*/ 1038866 h 1237129"/>
              <a:gd name="connsiteX20" fmla="*/ 2918011 w 3751729"/>
              <a:gd name="connsiteY20" fmla="*/ 1053143 h 1237129"/>
              <a:gd name="connsiteX21" fmla="*/ 2914073 w 3751729"/>
              <a:gd name="connsiteY21" fmla="*/ 1056589 h 1237129"/>
              <a:gd name="connsiteX22" fmla="*/ 2909888 w 3751729"/>
              <a:gd name="connsiteY22" fmla="*/ 1056589 h 1237129"/>
              <a:gd name="connsiteX23" fmla="*/ 2904965 w 3751729"/>
              <a:gd name="connsiteY23" fmla="*/ 1057327 h 1237129"/>
              <a:gd name="connsiteX24" fmla="*/ 2900041 w 3751729"/>
              <a:gd name="connsiteY24" fmla="*/ 1057327 h 1237129"/>
              <a:gd name="connsiteX25" fmla="*/ 2890935 w 3751729"/>
              <a:gd name="connsiteY25" fmla="*/ 1052404 h 1237129"/>
              <a:gd name="connsiteX26" fmla="*/ 2882565 w 3751729"/>
              <a:gd name="connsiteY26" fmla="*/ 1050681 h 1237129"/>
              <a:gd name="connsiteX27" fmla="*/ 2871981 w 3751729"/>
              <a:gd name="connsiteY27" fmla="*/ 1050681 h 1237129"/>
              <a:gd name="connsiteX28" fmla="*/ 2861888 w 3751729"/>
              <a:gd name="connsiteY28" fmla="*/ 1048958 h 1237129"/>
              <a:gd name="connsiteX29" fmla="*/ 2852042 w 3751729"/>
              <a:gd name="connsiteY29" fmla="*/ 1044774 h 1237129"/>
              <a:gd name="connsiteX30" fmla="*/ 2842196 w 3751729"/>
              <a:gd name="connsiteY30" fmla="*/ 1031235 h 1237129"/>
              <a:gd name="connsiteX31" fmla="*/ 2834812 w 3751729"/>
              <a:gd name="connsiteY31" fmla="*/ 1013758 h 1237129"/>
              <a:gd name="connsiteX32" fmla="*/ 2833088 w 3751729"/>
              <a:gd name="connsiteY32" fmla="*/ 993574 h 1237129"/>
              <a:gd name="connsiteX33" fmla="*/ 2840472 w 3751729"/>
              <a:gd name="connsiteY33" fmla="*/ 990128 h 1237129"/>
              <a:gd name="connsiteX34" fmla="*/ 2846380 w 3751729"/>
              <a:gd name="connsiteY34" fmla="*/ 990128 h 1237129"/>
              <a:gd name="connsiteX35" fmla="*/ 2852042 w 3751729"/>
              <a:gd name="connsiteY35" fmla="*/ 991851 h 1237129"/>
              <a:gd name="connsiteX36" fmla="*/ 2857950 w 3751729"/>
              <a:gd name="connsiteY36" fmla="*/ 988651 h 1237129"/>
              <a:gd name="connsiteX37" fmla="*/ 2865334 w 3751729"/>
              <a:gd name="connsiteY37" fmla="*/ 976835 h 1237129"/>
              <a:gd name="connsiteX38" fmla="*/ 2883549 w 3751729"/>
              <a:gd name="connsiteY38" fmla="*/ 974374 h 1237129"/>
              <a:gd name="connsiteX39" fmla="*/ 2886749 w 3751729"/>
              <a:gd name="connsiteY39" fmla="*/ 971666 h 1237129"/>
              <a:gd name="connsiteX40" fmla="*/ 2889211 w 3751729"/>
              <a:gd name="connsiteY40" fmla="*/ 968466 h 1237129"/>
              <a:gd name="connsiteX41" fmla="*/ 2889211 w 3751729"/>
              <a:gd name="connsiteY41" fmla="*/ 966743 h 1237129"/>
              <a:gd name="connsiteX42" fmla="*/ 2890935 w 3751729"/>
              <a:gd name="connsiteY42" fmla="*/ 965758 h 1237129"/>
              <a:gd name="connsiteX43" fmla="*/ 2890935 w 3751729"/>
              <a:gd name="connsiteY43" fmla="*/ 964282 h 1237129"/>
              <a:gd name="connsiteX44" fmla="*/ 2890935 w 3751729"/>
              <a:gd name="connsiteY44" fmla="*/ 962559 h 1237129"/>
              <a:gd name="connsiteX45" fmla="*/ 2892411 w 3751729"/>
              <a:gd name="connsiteY45" fmla="*/ 960835 h 1237129"/>
              <a:gd name="connsiteX46" fmla="*/ 2895119 w 3751729"/>
              <a:gd name="connsiteY46" fmla="*/ 960835 h 1237129"/>
              <a:gd name="connsiteX47" fmla="*/ 2900041 w 3751729"/>
              <a:gd name="connsiteY47" fmla="*/ 960835 h 1237129"/>
              <a:gd name="connsiteX48" fmla="*/ 2904965 w 3751729"/>
              <a:gd name="connsiteY48" fmla="*/ 960835 h 1237129"/>
              <a:gd name="connsiteX49" fmla="*/ 2908165 w 3751729"/>
              <a:gd name="connsiteY49" fmla="*/ 950743 h 1237129"/>
              <a:gd name="connsiteX50" fmla="*/ 2912349 w 3751729"/>
              <a:gd name="connsiteY50" fmla="*/ 943112 h 1237129"/>
              <a:gd name="connsiteX51" fmla="*/ 2916534 w 3751729"/>
              <a:gd name="connsiteY51" fmla="*/ 936466 h 1237129"/>
              <a:gd name="connsiteX52" fmla="*/ 2505952 w 3751729"/>
              <a:gd name="connsiteY52" fmla="*/ 909636 h 1237129"/>
              <a:gd name="connsiteX53" fmla="*/ 2514321 w 3751729"/>
              <a:gd name="connsiteY53" fmla="*/ 915544 h 1237129"/>
              <a:gd name="connsiteX54" fmla="*/ 2519244 w 3751729"/>
              <a:gd name="connsiteY54" fmla="*/ 925636 h 1237129"/>
              <a:gd name="connsiteX55" fmla="*/ 2519244 w 3751729"/>
              <a:gd name="connsiteY55" fmla="*/ 940651 h 1237129"/>
              <a:gd name="connsiteX56" fmla="*/ 2519244 w 3751729"/>
              <a:gd name="connsiteY56" fmla="*/ 942374 h 1237129"/>
              <a:gd name="connsiteX57" fmla="*/ 2519983 w 3751729"/>
              <a:gd name="connsiteY57" fmla="*/ 942374 h 1237129"/>
              <a:gd name="connsiteX58" fmla="*/ 2521707 w 3751729"/>
              <a:gd name="connsiteY58" fmla="*/ 943113 h 1237129"/>
              <a:gd name="connsiteX59" fmla="*/ 2521707 w 3751729"/>
              <a:gd name="connsiteY59" fmla="*/ 944836 h 1237129"/>
              <a:gd name="connsiteX60" fmla="*/ 2521707 w 3751729"/>
              <a:gd name="connsiteY60" fmla="*/ 948282 h 1237129"/>
              <a:gd name="connsiteX61" fmla="*/ 2519244 w 3751729"/>
              <a:gd name="connsiteY61" fmla="*/ 948282 h 1237129"/>
              <a:gd name="connsiteX62" fmla="*/ 2515798 w 3751729"/>
              <a:gd name="connsiteY62" fmla="*/ 949021 h 1237129"/>
              <a:gd name="connsiteX63" fmla="*/ 2514321 w 3751729"/>
              <a:gd name="connsiteY63" fmla="*/ 952466 h 1237129"/>
              <a:gd name="connsiteX64" fmla="*/ 2511860 w 3751729"/>
              <a:gd name="connsiteY64" fmla="*/ 954190 h 1237129"/>
              <a:gd name="connsiteX65" fmla="*/ 2510137 w 3751729"/>
              <a:gd name="connsiteY65" fmla="*/ 954190 h 1237129"/>
              <a:gd name="connsiteX66" fmla="*/ 2508413 w 3751729"/>
              <a:gd name="connsiteY66" fmla="*/ 952466 h 1237129"/>
              <a:gd name="connsiteX67" fmla="*/ 2507675 w 3751729"/>
              <a:gd name="connsiteY67" fmla="*/ 952466 h 1237129"/>
              <a:gd name="connsiteX68" fmla="*/ 2505952 w 3751729"/>
              <a:gd name="connsiteY68" fmla="*/ 950743 h 1237129"/>
              <a:gd name="connsiteX69" fmla="*/ 2500290 w 3751729"/>
              <a:gd name="connsiteY69" fmla="*/ 938928 h 1237129"/>
              <a:gd name="connsiteX70" fmla="*/ 2500290 w 3751729"/>
              <a:gd name="connsiteY70" fmla="*/ 921452 h 1237129"/>
              <a:gd name="connsiteX71" fmla="*/ 2501768 w 3751729"/>
              <a:gd name="connsiteY71" fmla="*/ 918990 h 1237129"/>
              <a:gd name="connsiteX72" fmla="*/ 2503490 w 3751729"/>
              <a:gd name="connsiteY72" fmla="*/ 917267 h 1237129"/>
              <a:gd name="connsiteX73" fmla="*/ 2504229 w 3751729"/>
              <a:gd name="connsiteY73" fmla="*/ 913821 h 1237129"/>
              <a:gd name="connsiteX74" fmla="*/ 3023856 w 3751729"/>
              <a:gd name="connsiteY74" fmla="*/ 892159 h 1237129"/>
              <a:gd name="connsiteX75" fmla="*/ 3030503 w 3751729"/>
              <a:gd name="connsiteY75" fmla="*/ 899544 h 1237129"/>
              <a:gd name="connsiteX76" fmla="*/ 3035425 w 3751729"/>
              <a:gd name="connsiteY76" fmla="*/ 907913 h 1237129"/>
              <a:gd name="connsiteX77" fmla="*/ 3035425 w 3751729"/>
              <a:gd name="connsiteY77" fmla="*/ 921452 h 1237129"/>
              <a:gd name="connsiteX78" fmla="*/ 3036164 w 3751729"/>
              <a:gd name="connsiteY78" fmla="*/ 924652 h 1237129"/>
              <a:gd name="connsiteX79" fmla="*/ 3037887 w 3751729"/>
              <a:gd name="connsiteY79" fmla="*/ 924652 h 1237129"/>
              <a:gd name="connsiteX80" fmla="*/ 3037887 w 3751729"/>
              <a:gd name="connsiteY80" fmla="*/ 925637 h 1237129"/>
              <a:gd name="connsiteX81" fmla="*/ 3036164 w 3751729"/>
              <a:gd name="connsiteY81" fmla="*/ 925637 h 1237129"/>
              <a:gd name="connsiteX82" fmla="*/ 3035425 w 3751729"/>
              <a:gd name="connsiteY82" fmla="*/ 929083 h 1237129"/>
              <a:gd name="connsiteX83" fmla="*/ 3035425 w 3751729"/>
              <a:gd name="connsiteY83" fmla="*/ 931543 h 1237129"/>
              <a:gd name="connsiteX84" fmla="*/ 3033703 w 3751729"/>
              <a:gd name="connsiteY84" fmla="*/ 931543 h 1237129"/>
              <a:gd name="connsiteX85" fmla="*/ 3033703 w 3751729"/>
              <a:gd name="connsiteY85" fmla="*/ 933267 h 1237129"/>
              <a:gd name="connsiteX86" fmla="*/ 3032225 w 3751729"/>
              <a:gd name="connsiteY86" fmla="*/ 933267 h 1237129"/>
              <a:gd name="connsiteX87" fmla="*/ 3029519 w 3751729"/>
              <a:gd name="connsiteY87" fmla="*/ 934744 h 1237129"/>
              <a:gd name="connsiteX88" fmla="*/ 3028041 w 3751729"/>
              <a:gd name="connsiteY88" fmla="*/ 931543 h 1237129"/>
              <a:gd name="connsiteX89" fmla="*/ 3028041 w 3751729"/>
              <a:gd name="connsiteY89" fmla="*/ 930559 h 1237129"/>
              <a:gd name="connsiteX90" fmla="*/ 3026319 w 3751729"/>
              <a:gd name="connsiteY90" fmla="*/ 930559 h 1237129"/>
              <a:gd name="connsiteX91" fmla="*/ 3024595 w 3751729"/>
              <a:gd name="connsiteY91" fmla="*/ 930559 h 1237129"/>
              <a:gd name="connsiteX92" fmla="*/ 3023856 w 3751729"/>
              <a:gd name="connsiteY92" fmla="*/ 929083 h 1237129"/>
              <a:gd name="connsiteX93" fmla="*/ 3023856 w 3751729"/>
              <a:gd name="connsiteY93" fmla="*/ 931543 h 1237129"/>
              <a:gd name="connsiteX94" fmla="*/ 3024595 w 3751729"/>
              <a:gd name="connsiteY94" fmla="*/ 933267 h 1237129"/>
              <a:gd name="connsiteX95" fmla="*/ 3026319 w 3751729"/>
              <a:gd name="connsiteY95" fmla="*/ 934744 h 1237129"/>
              <a:gd name="connsiteX96" fmla="*/ 3028041 w 3751729"/>
              <a:gd name="connsiteY96" fmla="*/ 936467 h 1237129"/>
              <a:gd name="connsiteX97" fmla="*/ 3026319 w 3751729"/>
              <a:gd name="connsiteY97" fmla="*/ 937452 h 1237129"/>
              <a:gd name="connsiteX98" fmla="*/ 3026319 w 3751729"/>
              <a:gd name="connsiteY98" fmla="*/ 938929 h 1237129"/>
              <a:gd name="connsiteX99" fmla="*/ 3026319 w 3751729"/>
              <a:gd name="connsiteY99" fmla="*/ 940652 h 1237129"/>
              <a:gd name="connsiteX100" fmla="*/ 3026319 w 3751729"/>
              <a:gd name="connsiteY100" fmla="*/ 944836 h 1237129"/>
              <a:gd name="connsiteX101" fmla="*/ 3018933 w 3751729"/>
              <a:gd name="connsiteY101" fmla="*/ 944836 h 1237129"/>
              <a:gd name="connsiteX102" fmla="*/ 3018933 w 3751729"/>
              <a:gd name="connsiteY102" fmla="*/ 940652 h 1237129"/>
              <a:gd name="connsiteX103" fmla="*/ 3014749 w 3751729"/>
              <a:gd name="connsiteY103" fmla="*/ 938929 h 1237129"/>
              <a:gd name="connsiteX104" fmla="*/ 3010564 w 3751729"/>
              <a:gd name="connsiteY104" fmla="*/ 936467 h 1237129"/>
              <a:gd name="connsiteX105" fmla="*/ 3009087 w 3751729"/>
              <a:gd name="connsiteY105" fmla="*/ 933267 h 1237129"/>
              <a:gd name="connsiteX106" fmla="*/ 3007364 w 3751729"/>
              <a:gd name="connsiteY106" fmla="*/ 929083 h 1237129"/>
              <a:gd name="connsiteX107" fmla="*/ 3006626 w 3751729"/>
              <a:gd name="connsiteY107" fmla="*/ 924652 h 1237129"/>
              <a:gd name="connsiteX108" fmla="*/ 3003180 w 3751729"/>
              <a:gd name="connsiteY108" fmla="*/ 918990 h 1237129"/>
              <a:gd name="connsiteX109" fmla="*/ 2998995 w 3751729"/>
              <a:gd name="connsiteY109" fmla="*/ 921452 h 1237129"/>
              <a:gd name="connsiteX110" fmla="*/ 2993334 w 3751729"/>
              <a:gd name="connsiteY110" fmla="*/ 924652 h 1237129"/>
              <a:gd name="connsiteX111" fmla="*/ 2987426 w 3751729"/>
              <a:gd name="connsiteY111" fmla="*/ 925637 h 1237129"/>
              <a:gd name="connsiteX112" fmla="*/ 2981764 w 3751729"/>
              <a:gd name="connsiteY112" fmla="*/ 929083 h 1237129"/>
              <a:gd name="connsiteX113" fmla="*/ 2981764 w 3751729"/>
              <a:gd name="connsiteY113" fmla="*/ 921452 h 1237129"/>
              <a:gd name="connsiteX114" fmla="*/ 2983488 w 3751729"/>
              <a:gd name="connsiteY114" fmla="*/ 919729 h 1237129"/>
              <a:gd name="connsiteX115" fmla="*/ 2983488 w 3751729"/>
              <a:gd name="connsiteY115" fmla="*/ 918990 h 1237129"/>
              <a:gd name="connsiteX116" fmla="*/ 2984226 w 3751729"/>
              <a:gd name="connsiteY116" fmla="*/ 918990 h 1237129"/>
              <a:gd name="connsiteX117" fmla="*/ 2984226 w 3751729"/>
              <a:gd name="connsiteY117" fmla="*/ 915544 h 1237129"/>
              <a:gd name="connsiteX118" fmla="*/ 2995794 w 3751729"/>
              <a:gd name="connsiteY118" fmla="*/ 911360 h 1237129"/>
              <a:gd name="connsiteX119" fmla="*/ 3006626 w 3751729"/>
              <a:gd name="connsiteY119" fmla="*/ 907913 h 1237129"/>
              <a:gd name="connsiteX120" fmla="*/ 3016472 w 3751729"/>
              <a:gd name="connsiteY120" fmla="*/ 902005 h 1237129"/>
              <a:gd name="connsiteX121" fmla="*/ 2952719 w 3751729"/>
              <a:gd name="connsiteY121" fmla="*/ 876159 h 1237129"/>
              <a:gd name="connsiteX122" fmla="*/ 2956165 w 3751729"/>
              <a:gd name="connsiteY122" fmla="*/ 879359 h 1237129"/>
              <a:gd name="connsiteX123" fmla="*/ 2956904 w 3751729"/>
              <a:gd name="connsiteY123" fmla="*/ 879359 h 1237129"/>
              <a:gd name="connsiteX124" fmla="*/ 2958626 w 3751729"/>
              <a:gd name="connsiteY124" fmla="*/ 879359 h 1237129"/>
              <a:gd name="connsiteX125" fmla="*/ 2958626 w 3751729"/>
              <a:gd name="connsiteY125" fmla="*/ 880344 h 1237129"/>
              <a:gd name="connsiteX126" fmla="*/ 2958626 w 3751729"/>
              <a:gd name="connsiteY126" fmla="*/ 883543 h 1237129"/>
              <a:gd name="connsiteX127" fmla="*/ 2960350 w 3751729"/>
              <a:gd name="connsiteY127" fmla="*/ 886251 h 1237129"/>
              <a:gd name="connsiteX128" fmla="*/ 2951242 w 3751729"/>
              <a:gd name="connsiteY128" fmla="*/ 893636 h 1237129"/>
              <a:gd name="connsiteX129" fmla="*/ 2945334 w 3751729"/>
              <a:gd name="connsiteY129" fmla="*/ 901267 h 1237129"/>
              <a:gd name="connsiteX130" fmla="*/ 2938687 w 3751729"/>
              <a:gd name="connsiteY130" fmla="*/ 907175 h 1237129"/>
              <a:gd name="connsiteX131" fmla="*/ 2928103 w 3751729"/>
              <a:gd name="connsiteY131" fmla="*/ 913082 h 1237129"/>
              <a:gd name="connsiteX132" fmla="*/ 2928103 w 3751729"/>
              <a:gd name="connsiteY132" fmla="*/ 909636 h 1237129"/>
              <a:gd name="connsiteX133" fmla="*/ 2937212 w 3751729"/>
              <a:gd name="connsiteY133" fmla="*/ 899544 h 1237129"/>
              <a:gd name="connsiteX134" fmla="*/ 2947058 w 3751729"/>
              <a:gd name="connsiteY134" fmla="*/ 889451 h 1237129"/>
              <a:gd name="connsiteX135" fmla="*/ 882825 w 3751729"/>
              <a:gd name="connsiteY135" fmla="*/ 798867 h 1237129"/>
              <a:gd name="connsiteX136" fmla="*/ 888734 w 3751729"/>
              <a:gd name="connsiteY136" fmla="*/ 798867 h 1237129"/>
              <a:gd name="connsiteX137" fmla="*/ 894395 w 3751729"/>
              <a:gd name="connsiteY137" fmla="*/ 799852 h 1237129"/>
              <a:gd name="connsiteX138" fmla="*/ 901041 w 3751729"/>
              <a:gd name="connsiteY138" fmla="*/ 803052 h 1237129"/>
              <a:gd name="connsiteX139" fmla="*/ 898579 w 3751729"/>
              <a:gd name="connsiteY139" fmla="*/ 804776 h 1237129"/>
              <a:gd name="connsiteX140" fmla="*/ 896857 w 3751729"/>
              <a:gd name="connsiteY140" fmla="*/ 807236 h 1237129"/>
              <a:gd name="connsiteX141" fmla="*/ 894395 w 3751729"/>
              <a:gd name="connsiteY141" fmla="*/ 808960 h 1237129"/>
              <a:gd name="connsiteX142" fmla="*/ 889472 w 3751729"/>
              <a:gd name="connsiteY142" fmla="*/ 808960 h 1237129"/>
              <a:gd name="connsiteX143" fmla="*/ 885288 w 3751729"/>
              <a:gd name="connsiteY143" fmla="*/ 807236 h 1237129"/>
              <a:gd name="connsiteX144" fmla="*/ 881350 w 3751729"/>
              <a:gd name="connsiteY144" fmla="*/ 807236 h 1237129"/>
              <a:gd name="connsiteX145" fmla="*/ 877164 w 3751729"/>
              <a:gd name="connsiteY145" fmla="*/ 807236 h 1237129"/>
              <a:gd name="connsiteX146" fmla="*/ 872241 w 3751729"/>
              <a:gd name="connsiteY146" fmla="*/ 808960 h 1237129"/>
              <a:gd name="connsiteX147" fmla="*/ 872241 w 3751729"/>
              <a:gd name="connsiteY147" fmla="*/ 799852 h 1237129"/>
              <a:gd name="connsiteX148" fmla="*/ 2977580 w 3751729"/>
              <a:gd name="connsiteY148" fmla="*/ 789759 h 1237129"/>
              <a:gd name="connsiteX149" fmla="*/ 2981764 w 3751729"/>
              <a:gd name="connsiteY149" fmla="*/ 789759 h 1237129"/>
              <a:gd name="connsiteX150" fmla="*/ 2987426 w 3751729"/>
              <a:gd name="connsiteY150" fmla="*/ 789759 h 1237129"/>
              <a:gd name="connsiteX151" fmla="*/ 2987426 w 3751729"/>
              <a:gd name="connsiteY151" fmla="*/ 804775 h 1237129"/>
              <a:gd name="connsiteX152" fmla="*/ 2985948 w 3751729"/>
              <a:gd name="connsiteY152" fmla="*/ 814867 h 1237129"/>
              <a:gd name="connsiteX153" fmla="*/ 2983488 w 3751729"/>
              <a:gd name="connsiteY153" fmla="*/ 823237 h 1237129"/>
              <a:gd name="connsiteX154" fmla="*/ 2981764 w 3751729"/>
              <a:gd name="connsiteY154" fmla="*/ 838251 h 1237129"/>
              <a:gd name="connsiteX155" fmla="*/ 2984226 w 3751729"/>
              <a:gd name="connsiteY155" fmla="*/ 838251 h 1237129"/>
              <a:gd name="connsiteX156" fmla="*/ 2984226 w 3751729"/>
              <a:gd name="connsiteY156" fmla="*/ 840960 h 1237129"/>
              <a:gd name="connsiteX157" fmla="*/ 2989888 w 3751729"/>
              <a:gd name="connsiteY157" fmla="*/ 840960 h 1237129"/>
              <a:gd name="connsiteX158" fmla="*/ 2993334 w 3751729"/>
              <a:gd name="connsiteY158" fmla="*/ 840960 h 1237129"/>
              <a:gd name="connsiteX159" fmla="*/ 2995794 w 3751729"/>
              <a:gd name="connsiteY159" fmla="*/ 840960 h 1237129"/>
              <a:gd name="connsiteX160" fmla="*/ 2998995 w 3751729"/>
              <a:gd name="connsiteY160" fmla="*/ 842435 h 1237129"/>
              <a:gd name="connsiteX161" fmla="*/ 3001457 w 3751729"/>
              <a:gd name="connsiteY161" fmla="*/ 844160 h 1237129"/>
              <a:gd name="connsiteX162" fmla="*/ 3007364 w 3751729"/>
              <a:gd name="connsiteY162" fmla="*/ 845144 h 1237129"/>
              <a:gd name="connsiteX163" fmla="*/ 3010564 w 3751729"/>
              <a:gd name="connsiteY163" fmla="*/ 855974 h 1237129"/>
              <a:gd name="connsiteX164" fmla="*/ 3016472 w 3751729"/>
              <a:gd name="connsiteY164" fmla="*/ 862621 h 1237129"/>
              <a:gd name="connsiteX165" fmla="*/ 3023856 w 3751729"/>
              <a:gd name="connsiteY165" fmla="*/ 870251 h 1237129"/>
              <a:gd name="connsiteX166" fmla="*/ 3029519 w 3751729"/>
              <a:gd name="connsiteY166" fmla="*/ 880344 h 1237129"/>
              <a:gd name="connsiteX167" fmla="*/ 3024595 w 3751729"/>
              <a:gd name="connsiteY167" fmla="*/ 882066 h 1237129"/>
              <a:gd name="connsiteX168" fmla="*/ 3022133 w 3751729"/>
              <a:gd name="connsiteY168" fmla="*/ 883544 h 1237129"/>
              <a:gd name="connsiteX169" fmla="*/ 3020656 w 3751729"/>
              <a:gd name="connsiteY169" fmla="*/ 883544 h 1237129"/>
              <a:gd name="connsiteX170" fmla="*/ 3020656 w 3751729"/>
              <a:gd name="connsiteY170" fmla="*/ 885267 h 1237129"/>
              <a:gd name="connsiteX171" fmla="*/ 3020656 w 3751729"/>
              <a:gd name="connsiteY171" fmla="*/ 886252 h 1237129"/>
              <a:gd name="connsiteX172" fmla="*/ 3020656 w 3751729"/>
              <a:gd name="connsiteY172" fmla="*/ 887728 h 1237129"/>
              <a:gd name="connsiteX173" fmla="*/ 3017948 w 3751729"/>
              <a:gd name="connsiteY173" fmla="*/ 887728 h 1237129"/>
              <a:gd name="connsiteX174" fmla="*/ 3013026 w 3751729"/>
              <a:gd name="connsiteY174" fmla="*/ 889452 h 1237129"/>
              <a:gd name="connsiteX175" fmla="*/ 3012287 w 3751729"/>
              <a:gd name="connsiteY175" fmla="*/ 886252 h 1237129"/>
              <a:gd name="connsiteX176" fmla="*/ 3012287 w 3751729"/>
              <a:gd name="connsiteY176" fmla="*/ 885267 h 1237129"/>
              <a:gd name="connsiteX177" fmla="*/ 3010564 w 3751729"/>
              <a:gd name="connsiteY177" fmla="*/ 885267 h 1237129"/>
              <a:gd name="connsiteX178" fmla="*/ 3009087 w 3751729"/>
              <a:gd name="connsiteY178" fmla="*/ 885267 h 1237129"/>
              <a:gd name="connsiteX179" fmla="*/ 3007364 w 3751729"/>
              <a:gd name="connsiteY179" fmla="*/ 883544 h 1237129"/>
              <a:gd name="connsiteX180" fmla="*/ 3004903 w 3751729"/>
              <a:gd name="connsiteY180" fmla="*/ 889452 h 1237129"/>
              <a:gd name="connsiteX181" fmla="*/ 3003180 w 3751729"/>
              <a:gd name="connsiteY181" fmla="*/ 893636 h 1237129"/>
              <a:gd name="connsiteX182" fmla="*/ 3000718 w 3751729"/>
              <a:gd name="connsiteY182" fmla="*/ 897821 h 1237129"/>
              <a:gd name="connsiteX183" fmla="*/ 2995794 w 3751729"/>
              <a:gd name="connsiteY183" fmla="*/ 899544 h 1237129"/>
              <a:gd name="connsiteX184" fmla="*/ 2991611 w 3751729"/>
              <a:gd name="connsiteY184" fmla="*/ 902005 h 1237129"/>
              <a:gd name="connsiteX185" fmla="*/ 2991611 w 3751729"/>
              <a:gd name="connsiteY185" fmla="*/ 899544 h 1237129"/>
              <a:gd name="connsiteX186" fmla="*/ 2989148 w 3751729"/>
              <a:gd name="connsiteY186" fmla="*/ 896343 h 1237129"/>
              <a:gd name="connsiteX187" fmla="*/ 2989148 w 3751729"/>
              <a:gd name="connsiteY187" fmla="*/ 893636 h 1237129"/>
              <a:gd name="connsiteX188" fmla="*/ 2989148 w 3751729"/>
              <a:gd name="connsiteY188" fmla="*/ 892159 h 1237129"/>
              <a:gd name="connsiteX189" fmla="*/ 2989148 w 3751729"/>
              <a:gd name="connsiteY189" fmla="*/ 891175 h 1237129"/>
              <a:gd name="connsiteX190" fmla="*/ 2989148 w 3751729"/>
              <a:gd name="connsiteY190" fmla="*/ 889452 h 1237129"/>
              <a:gd name="connsiteX191" fmla="*/ 2987426 w 3751729"/>
              <a:gd name="connsiteY191" fmla="*/ 887728 h 1237129"/>
              <a:gd name="connsiteX192" fmla="*/ 2985948 w 3751729"/>
              <a:gd name="connsiteY192" fmla="*/ 887728 h 1237129"/>
              <a:gd name="connsiteX193" fmla="*/ 2981764 w 3751729"/>
              <a:gd name="connsiteY193" fmla="*/ 886252 h 1237129"/>
              <a:gd name="connsiteX194" fmla="*/ 2981764 w 3751729"/>
              <a:gd name="connsiteY194" fmla="*/ 882066 h 1237129"/>
              <a:gd name="connsiteX195" fmla="*/ 2981764 w 3751729"/>
              <a:gd name="connsiteY195" fmla="*/ 877882 h 1237129"/>
              <a:gd name="connsiteX196" fmla="*/ 2983488 w 3751729"/>
              <a:gd name="connsiteY196" fmla="*/ 874435 h 1237129"/>
              <a:gd name="connsiteX197" fmla="*/ 2983488 w 3751729"/>
              <a:gd name="connsiteY197" fmla="*/ 873698 h 1237129"/>
              <a:gd name="connsiteX198" fmla="*/ 2984226 w 3751729"/>
              <a:gd name="connsiteY198" fmla="*/ 871975 h 1237129"/>
              <a:gd name="connsiteX199" fmla="*/ 2987426 w 3751729"/>
              <a:gd name="connsiteY199" fmla="*/ 871975 h 1237129"/>
              <a:gd name="connsiteX200" fmla="*/ 2991611 w 3751729"/>
              <a:gd name="connsiteY200" fmla="*/ 870251 h 1237129"/>
              <a:gd name="connsiteX201" fmla="*/ 2997519 w 3751729"/>
              <a:gd name="connsiteY201" fmla="*/ 870251 h 1237129"/>
              <a:gd name="connsiteX202" fmla="*/ 2997519 w 3751729"/>
              <a:gd name="connsiteY202" fmla="*/ 880344 h 1237129"/>
              <a:gd name="connsiteX203" fmla="*/ 3007364 w 3751729"/>
              <a:gd name="connsiteY203" fmla="*/ 880344 h 1237129"/>
              <a:gd name="connsiteX204" fmla="*/ 3007364 w 3751729"/>
              <a:gd name="connsiteY204" fmla="*/ 877882 h 1237129"/>
              <a:gd name="connsiteX205" fmla="*/ 3009087 w 3751729"/>
              <a:gd name="connsiteY205" fmla="*/ 874435 h 1237129"/>
              <a:gd name="connsiteX206" fmla="*/ 3010564 w 3751729"/>
              <a:gd name="connsiteY206" fmla="*/ 873698 h 1237129"/>
              <a:gd name="connsiteX207" fmla="*/ 3010564 w 3751729"/>
              <a:gd name="connsiteY207" fmla="*/ 871975 h 1237129"/>
              <a:gd name="connsiteX208" fmla="*/ 3012287 w 3751729"/>
              <a:gd name="connsiteY208" fmla="*/ 870251 h 1237129"/>
              <a:gd name="connsiteX209" fmla="*/ 3013026 w 3751729"/>
              <a:gd name="connsiteY209" fmla="*/ 867789 h 1237129"/>
              <a:gd name="connsiteX210" fmla="*/ 3010564 w 3751729"/>
              <a:gd name="connsiteY210" fmla="*/ 867789 h 1237129"/>
              <a:gd name="connsiteX211" fmla="*/ 2995794 w 3751729"/>
              <a:gd name="connsiteY211" fmla="*/ 855974 h 1237129"/>
              <a:gd name="connsiteX212" fmla="*/ 2979303 w 3751729"/>
              <a:gd name="connsiteY212" fmla="*/ 848344 h 1237129"/>
              <a:gd name="connsiteX213" fmla="*/ 2979303 w 3751729"/>
              <a:gd name="connsiteY213" fmla="*/ 854252 h 1237129"/>
              <a:gd name="connsiteX214" fmla="*/ 2977580 w 3751729"/>
              <a:gd name="connsiteY214" fmla="*/ 858436 h 1237129"/>
              <a:gd name="connsiteX215" fmla="*/ 2975857 w 3751729"/>
              <a:gd name="connsiteY215" fmla="*/ 862621 h 1237129"/>
              <a:gd name="connsiteX216" fmla="*/ 2975857 w 3751729"/>
              <a:gd name="connsiteY216" fmla="*/ 867789 h 1237129"/>
              <a:gd name="connsiteX217" fmla="*/ 2974380 w 3751729"/>
              <a:gd name="connsiteY217" fmla="*/ 866067 h 1237129"/>
              <a:gd name="connsiteX218" fmla="*/ 2973396 w 3751729"/>
              <a:gd name="connsiteY218" fmla="*/ 864344 h 1237129"/>
              <a:gd name="connsiteX219" fmla="*/ 2973396 w 3751729"/>
              <a:gd name="connsiteY219" fmla="*/ 862621 h 1237129"/>
              <a:gd name="connsiteX220" fmla="*/ 2971918 w 3751729"/>
              <a:gd name="connsiteY220" fmla="*/ 861883 h 1237129"/>
              <a:gd name="connsiteX221" fmla="*/ 2967734 w 3751729"/>
              <a:gd name="connsiteY221" fmla="*/ 850806 h 1237129"/>
              <a:gd name="connsiteX222" fmla="*/ 2962810 w 3751729"/>
              <a:gd name="connsiteY222" fmla="*/ 838251 h 1237129"/>
              <a:gd name="connsiteX223" fmla="*/ 2961826 w 3751729"/>
              <a:gd name="connsiteY223" fmla="*/ 821513 h 1237129"/>
              <a:gd name="connsiteX224" fmla="*/ 2962810 w 3751729"/>
              <a:gd name="connsiteY224" fmla="*/ 807236 h 1237129"/>
              <a:gd name="connsiteX225" fmla="*/ 2968472 w 3751729"/>
              <a:gd name="connsiteY225" fmla="*/ 792959 h 1237129"/>
              <a:gd name="connsiteX226" fmla="*/ 2973396 w 3751729"/>
              <a:gd name="connsiteY226" fmla="*/ 791237 h 1237129"/>
              <a:gd name="connsiteX227" fmla="*/ 835074 w 3751729"/>
              <a:gd name="connsiteY227" fmla="*/ 789759 h 1237129"/>
              <a:gd name="connsiteX228" fmla="*/ 840735 w 3751729"/>
              <a:gd name="connsiteY228" fmla="*/ 789759 h 1237129"/>
              <a:gd name="connsiteX229" fmla="*/ 846643 w 3751729"/>
              <a:gd name="connsiteY229" fmla="*/ 791237 h 1237129"/>
              <a:gd name="connsiteX230" fmla="*/ 852305 w 3751729"/>
              <a:gd name="connsiteY230" fmla="*/ 791237 h 1237129"/>
              <a:gd name="connsiteX231" fmla="*/ 856490 w 3751729"/>
              <a:gd name="connsiteY231" fmla="*/ 792959 h 1237129"/>
              <a:gd name="connsiteX232" fmla="*/ 856490 w 3751729"/>
              <a:gd name="connsiteY232" fmla="*/ 799852 h 1237129"/>
              <a:gd name="connsiteX233" fmla="*/ 835074 w 3751729"/>
              <a:gd name="connsiteY233" fmla="*/ 799852 h 1237129"/>
              <a:gd name="connsiteX234" fmla="*/ 713473 w 3751729"/>
              <a:gd name="connsiteY234" fmla="*/ 789759 h 1237129"/>
              <a:gd name="connsiteX235" fmla="*/ 721104 w 3751729"/>
              <a:gd name="connsiteY235" fmla="*/ 791237 h 1237129"/>
              <a:gd name="connsiteX236" fmla="*/ 725043 w 3751729"/>
              <a:gd name="connsiteY236" fmla="*/ 793944 h 1237129"/>
              <a:gd name="connsiteX237" fmla="*/ 730950 w 3751729"/>
              <a:gd name="connsiteY237" fmla="*/ 797144 h 1237129"/>
              <a:gd name="connsiteX238" fmla="*/ 735873 w 3751729"/>
              <a:gd name="connsiteY238" fmla="*/ 799852 h 1237129"/>
              <a:gd name="connsiteX239" fmla="*/ 735873 w 3751729"/>
              <a:gd name="connsiteY239" fmla="*/ 803052 h 1237129"/>
              <a:gd name="connsiteX240" fmla="*/ 730212 w 3751729"/>
              <a:gd name="connsiteY240" fmla="*/ 803052 h 1237129"/>
              <a:gd name="connsiteX241" fmla="*/ 725043 w 3751729"/>
              <a:gd name="connsiteY241" fmla="*/ 804776 h 1237129"/>
              <a:gd name="connsiteX242" fmla="*/ 721104 w 3751729"/>
              <a:gd name="connsiteY242" fmla="*/ 805515 h 1237129"/>
              <a:gd name="connsiteX243" fmla="*/ 718642 w 3751729"/>
              <a:gd name="connsiteY243" fmla="*/ 804776 h 1237129"/>
              <a:gd name="connsiteX244" fmla="*/ 712735 w 3751729"/>
              <a:gd name="connsiteY244" fmla="*/ 804776 h 1237129"/>
              <a:gd name="connsiteX245" fmla="*/ 707812 w 3751729"/>
              <a:gd name="connsiteY245" fmla="*/ 803052 h 1237129"/>
              <a:gd name="connsiteX246" fmla="*/ 707812 w 3751729"/>
              <a:gd name="connsiteY246" fmla="*/ 792959 h 1237129"/>
              <a:gd name="connsiteX247" fmla="*/ 709535 w 3751729"/>
              <a:gd name="connsiteY247" fmla="*/ 792959 h 1237129"/>
              <a:gd name="connsiteX248" fmla="*/ 711012 w 3751729"/>
              <a:gd name="connsiteY248" fmla="*/ 791237 h 1237129"/>
              <a:gd name="connsiteX249" fmla="*/ 712735 w 3751729"/>
              <a:gd name="connsiteY249" fmla="*/ 791237 h 1237129"/>
              <a:gd name="connsiteX250" fmla="*/ 763934 w 3751729"/>
              <a:gd name="connsiteY250" fmla="*/ 776221 h 1237129"/>
              <a:gd name="connsiteX251" fmla="*/ 781411 w 3751729"/>
              <a:gd name="connsiteY251" fmla="*/ 777945 h 1237129"/>
              <a:gd name="connsiteX252" fmla="*/ 796181 w 3751729"/>
              <a:gd name="connsiteY252" fmla="*/ 781391 h 1237129"/>
              <a:gd name="connsiteX253" fmla="*/ 807751 w 3751729"/>
              <a:gd name="connsiteY253" fmla="*/ 785575 h 1237129"/>
              <a:gd name="connsiteX254" fmla="*/ 821781 w 3751729"/>
              <a:gd name="connsiteY254" fmla="*/ 789760 h 1237129"/>
              <a:gd name="connsiteX255" fmla="*/ 821781 w 3751729"/>
              <a:gd name="connsiteY255" fmla="*/ 797144 h 1237129"/>
              <a:gd name="connsiteX256" fmla="*/ 816120 w 3751729"/>
              <a:gd name="connsiteY256" fmla="*/ 797144 h 1237129"/>
              <a:gd name="connsiteX257" fmla="*/ 813412 w 3751729"/>
              <a:gd name="connsiteY257" fmla="*/ 798867 h 1237129"/>
              <a:gd name="connsiteX258" fmla="*/ 809474 w 3751729"/>
              <a:gd name="connsiteY258" fmla="*/ 799852 h 1237129"/>
              <a:gd name="connsiteX259" fmla="*/ 806028 w 3751729"/>
              <a:gd name="connsiteY259" fmla="*/ 801330 h 1237129"/>
              <a:gd name="connsiteX260" fmla="*/ 803565 w 3751729"/>
              <a:gd name="connsiteY260" fmla="*/ 803052 h 1237129"/>
              <a:gd name="connsiteX261" fmla="*/ 798643 w 3751729"/>
              <a:gd name="connsiteY261" fmla="*/ 803052 h 1237129"/>
              <a:gd name="connsiteX262" fmla="*/ 798643 w 3751729"/>
              <a:gd name="connsiteY262" fmla="*/ 801330 h 1237129"/>
              <a:gd name="connsiteX263" fmla="*/ 798643 w 3751729"/>
              <a:gd name="connsiteY263" fmla="*/ 799852 h 1237129"/>
              <a:gd name="connsiteX264" fmla="*/ 797904 w 3751729"/>
              <a:gd name="connsiteY264" fmla="*/ 798867 h 1237129"/>
              <a:gd name="connsiteX265" fmla="*/ 796181 w 3751729"/>
              <a:gd name="connsiteY265" fmla="*/ 797144 h 1237129"/>
              <a:gd name="connsiteX266" fmla="*/ 794458 w 3751729"/>
              <a:gd name="connsiteY266" fmla="*/ 795667 h 1237129"/>
              <a:gd name="connsiteX267" fmla="*/ 792981 w 3751729"/>
              <a:gd name="connsiteY267" fmla="*/ 797144 h 1237129"/>
              <a:gd name="connsiteX268" fmla="*/ 790519 w 3751729"/>
              <a:gd name="connsiteY268" fmla="*/ 805513 h 1237129"/>
              <a:gd name="connsiteX269" fmla="*/ 786335 w 3751729"/>
              <a:gd name="connsiteY269" fmla="*/ 805513 h 1237129"/>
              <a:gd name="connsiteX270" fmla="*/ 775504 w 3751729"/>
              <a:gd name="connsiteY270" fmla="*/ 804776 h 1237129"/>
              <a:gd name="connsiteX271" fmla="*/ 763934 w 3751729"/>
              <a:gd name="connsiteY271" fmla="*/ 803052 h 1237129"/>
              <a:gd name="connsiteX272" fmla="*/ 755812 w 3751729"/>
              <a:gd name="connsiteY272" fmla="*/ 803052 h 1237129"/>
              <a:gd name="connsiteX273" fmla="*/ 751627 w 3751729"/>
              <a:gd name="connsiteY273" fmla="*/ 792959 h 1237129"/>
              <a:gd name="connsiteX274" fmla="*/ 759011 w 3751729"/>
              <a:gd name="connsiteY274" fmla="*/ 792959 h 1237129"/>
              <a:gd name="connsiteX275" fmla="*/ 763934 w 3751729"/>
              <a:gd name="connsiteY275" fmla="*/ 792959 h 1237129"/>
              <a:gd name="connsiteX276" fmla="*/ 769842 w 3751729"/>
              <a:gd name="connsiteY276" fmla="*/ 791237 h 1237129"/>
              <a:gd name="connsiteX277" fmla="*/ 774765 w 3751729"/>
              <a:gd name="connsiteY277" fmla="*/ 789760 h 1237129"/>
              <a:gd name="connsiteX278" fmla="*/ 771319 w 3751729"/>
              <a:gd name="connsiteY278" fmla="*/ 788037 h 1237129"/>
              <a:gd name="connsiteX279" fmla="*/ 768858 w 3751729"/>
              <a:gd name="connsiteY279" fmla="*/ 785575 h 1237129"/>
              <a:gd name="connsiteX280" fmla="*/ 767381 w 3751729"/>
              <a:gd name="connsiteY280" fmla="*/ 783853 h 1237129"/>
              <a:gd name="connsiteX281" fmla="*/ 765658 w 3751729"/>
              <a:gd name="connsiteY281" fmla="*/ 781391 h 1237129"/>
              <a:gd name="connsiteX282" fmla="*/ 663259 w 3751729"/>
              <a:gd name="connsiteY282" fmla="*/ 735114 h 1237129"/>
              <a:gd name="connsiteX283" fmla="*/ 686398 w 3751729"/>
              <a:gd name="connsiteY283" fmla="*/ 740283 h 1237129"/>
              <a:gd name="connsiteX284" fmla="*/ 707074 w 3751729"/>
              <a:gd name="connsiteY284" fmla="*/ 746929 h 1237129"/>
              <a:gd name="connsiteX285" fmla="*/ 722582 w 3751729"/>
              <a:gd name="connsiteY285" fmla="*/ 754314 h 1237129"/>
              <a:gd name="connsiteX286" fmla="*/ 738335 w 3751729"/>
              <a:gd name="connsiteY286" fmla="*/ 761944 h 1237129"/>
              <a:gd name="connsiteX287" fmla="*/ 755813 w 3751729"/>
              <a:gd name="connsiteY287" fmla="*/ 770315 h 1237129"/>
              <a:gd name="connsiteX288" fmla="*/ 755813 w 3751729"/>
              <a:gd name="connsiteY288" fmla="*/ 776221 h 1237129"/>
              <a:gd name="connsiteX289" fmla="*/ 748182 w 3751729"/>
              <a:gd name="connsiteY289" fmla="*/ 776221 h 1237129"/>
              <a:gd name="connsiteX290" fmla="*/ 740059 w 3751729"/>
              <a:gd name="connsiteY290" fmla="*/ 779668 h 1237129"/>
              <a:gd name="connsiteX291" fmla="*/ 730212 w 3751729"/>
              <a:gd name="connsiteY291" fmla="*/ 782130 h 1237129"/>
              <a:gd name="connsiteX292" fmla="*/ 719382 w 3751729"/>
              <a:gd name="connsiteY292" fmla="*/ 783853 h 1237129"/>
              <a:gd name="connsiteX293" fmla="*/ 721105 w 3751729"/>
              <a:gd name="connsiteY293" fmla="*/ 781392 h 1237129"/>
              <a:gd name="connsiteX294" fmla="*/ 721105 w 3751729"/>
              <a:gd name="connsiteY294" fmla="*/ 777945 h 1237129"/>
              <a:gd name="connsiteX295" fmla="*/ 721105 w 3751729"/>
              <a:gd name="connsiteY295" fmla="*/ 776221 h 1237129"/>
              <a:gd name="connsiteX296" fmla="*/ 721105 w 3751729"/>
              <a:gd name="connsiteY296" fmla="*/ 775484 h 1237129"/>
              <a:gd name="connsiteX297" fmla="*/ 721105 w 3751729"/>
              <a:gd name="connsiteY297" fmla="*/ 773761 h 1237129"/>
              <a:gd name="connsiteX298" fmla="*/ 719382 w 3751729"/>
              <a:gd name="connsiteY298" fmla="*/ 770315 h 1237129"/>
              <a:gd name="connsiteX299" fmla="*/ 697966 w 3751729"/>
              <a:gd name="connsiteY299" fmla="*/ 764406 h 1237129"/>
              <a:gd name="connsiteX300" fmla="*/ 678028 w 3751729"/>
              <a:gd name="connsiteY300" fmla="*/ 754314 h 1237129"/>
              <a:gd name="connsiteX301" fmla="*/ 656613 w 3751729"/>
              <a:gd name="connsiteY301" fmla="*/ 744468 h 1237129"/>
              <a:gd name="connsiteX302" fmla="*/ 651689 w 3751729"/>
              <a:gd name="connsiteY302" fmla="*/ 748653 h 1237129"/>
              <a:gd name="connsiteX303" fmla="*/ 649228 w 3751729"/>
              <a:gd name="connsiteY303" fmla="*/ 752837 h 1237129"/>
              <a:gd name="connsiteX304" fmla="*/ 645043 w 3751729"/>
              <a:gd name="connsiteY304" fmla="*/ 757760 h 1237129"/>
              <a:gd name="connsiteX305" fmla="*/ 640120 w 3751729"/>
              <a:gd name="connsiteY305" fmla="*/ 756038 h 1237129"/>
              <a:gd name="connsiteX306" fmla="*/ 634212 w 3751729"/>
              <a:gd name="connsiteY306" fmla="*/ 752837 h 1237129"/>
              <a:gd name="connsiteX307" fmla="*/ 631751 w 3751729"/>
              <a:gd name="connsiteY307" fmla="*/ 751853 h 1237129"/>
              <a:gd name="connsiteX308" fmla="*/ 637659 w 3751729"/>
              <a:gd name="connsiteY308" fmla="*/ 751853 h 1237129"/>
              <a:gd name="connsiteX309" fmla="*/ 641597 w 3751729"/>
              <a:gd name="connsiteY309" fmla="*/ 745945 h 1237129"/>
              <a:gd name="connsiteX310" fmla="*/ 645781 w 3751729"/>
              <a:gd name="connsiteY310" fmla="*/ 742745 h 1237129"/>
              <a:gd name="connsiteX311" fmla="*/ 650704 w 3751729"/>
              <a:gd name="connsiteY311" fmla="*/ 738560 h 1237129"/>
              <a:gd name="connsiteX312" fmla="*/ 654889 w 3751729"/>
              <a:gd name="connsiteY312" fmla="*/ 738560 h 1237129"/>
              <a:gd name="connsiteX313" fmla="*/ 657351 w 3751729"/>
              <a:gd name="connsiteY313" fmla="*/ 736837 h 1237129"/>
              <a:gd name="connsiteX314" fmla="*/ 660797 w 3751729"/>
              <a:gd name="connsiteY314" fmla="*/ 736837 h 1237129"/>
              <a:gd name="connsiteX315" fmla="*/ 707812 w 3751729"/>
              <a:gd name="connsiteY315" fmla="*/ 712468 h 1237129"/>
              <a:gd name="connsiteX316" fmla="*/ 712736 w 3751729"/>
              <a:gd name="connsiteY316" fmla="*/ 714929 h 1237129"/>
              <a:gd name="connsiteX317" fmla="*/ 715197 w 3751729"/>
              <a:gd name="connsiteY317" fmla="*/ 718376 h 1237129"/>
              <a:gd name="connsiteX318" fmla="*/ 718643 w 3751729"/>
              <a:gd name="connsiteY318" fmla="*/ 720838 h 1237129"/>
              <a:gd name="connsiteX319" fmla="*/ 719382 w 3751729"/>
              <a:gd name="connsiteY319" fmla="*/ 725023 h 1237129"/>
              <a:gd name="connsiteX320" fmla="*/ 719382 w 3751729"/>
              <a:gd name="connsiteY320" fmla="*/ 732654 h 1237129"/>
              <a:gd name="connsiteX321" fmla="*/ 713473 w 3751729"/>
              <a:gd name="connsiteY321" fmla="*/ 732654 h 1237129"/>
              <a:gd name="connsiteX322" fmla="*/ 712736 w 3751729"/>
              <a:gd name="connsiteY322" fmla="*/ 728469 h 1237129"/>
              <a:gd name="connsiteX323" fmla="*/ 711012 w 3751729"/>
              <a:gd name="connsiteY323" fmla="*/ 726745 h 1237129"/>
              <a:gd name="connsiteX324" fmla="*/ 709535 w 3751729"/>
              <a:gd name="connsiteY324" fmla="*/ 724284 h 1237129"/>
              <a:gd name="connsiteX325" fmla="*/ 707812 w 3751729"/>
              <a:gd name="connsiteY325" fmla="*/ 720838 h 1237129"/>
              <a:gd name="connsiteX326" fmla="*/ 707812 w 3751729"/>
              <a:gd name="connsiteY326" fmla="*/ 718376 h 1237129"/>
              <a:gd name="connsiteX327" fmla="*/ 2981766 w 3751729"/>
              <a:gd name="connsiteY327" fmla="*/ 706561 h 1237129"/>
              <a:gd name="connsiteX328" fmla="*/ 2984227 w 3751729"/>
              <a:gd name="connsiteY328" fmla="*/ 709022 h 1237129"/>
              <a:gd name="connsiteX329" fmla="*/ 2985950 w 3751729"/>
              <a:gd name="connsiteY329" fmla="*/ 712468 h 1237129"/>
              <a:gd name="connsiteX330" fmla="*/ 2987428 w 3751729"/>
              <a:gd name="connsiteY330" fmla="*/ 714930 h 1237129"/>
              <a:gd name="connsiteX331" fmla="*/ 2987428 w 3751729"/>
              <a:gd name="connsiteY331" fmla="*/ 719115 h 1237129"/>
              <a:gd name="connsiteX332" fmla="*/ 2987428 w 3751729"/>
              <a:gd name="connsiteY332" fmla="*/ 725022 h 1237129"/>
              <a:gd name="connsiteX333" fmla="*/ 2975858 w 3751729"/>
              <a:gd name="connsiteY333" fmla="*/ 754316 h 1237129"/>
              <a:gd name="connsiteX334" fmla="*/ 2970196 w 3751729"/>
              <a:gd name="connsiteY334" fmla="*/ 746931 h 1237129"/>
              <a:gd name="connsiteX335" fmla="*/ 2967735 w 3751729"/>
              <a:gd name="connsiteY335" fmla="*/ 740284 h 1237129"/>
              <a:gd name="connsiteX336" fmla="*/ 2966011 w 3751729"/>
              <a:gd name="connsiteY336" fmla="*/ 728469 h 1237129"/>
              <a:gd name="connsiteX337" fmla="*/ 701166 w 3751729"/>
              <a:gd name="connsiteY337" fmla="*/ 693268 h 1237129"/>
              <a:gd name="connsiteX338" fmla="*/ 719382 w 3751729"/>
              <a:gd name="connsiteY338" fmla="*/ 693268 h 1237129"/>
              <a:gd name="connsiteX339" fmla="*/ 721104 w 3751729"/>
              <a:gd name="connsiteY339" fmla="*/ 695729 h 1237129"/>
              <a:gd name="connsiteX340" fmla="*/ 724304 w 3751729"/>
              <a:gd name="connsiteY340" fmla="*/ 697452 h 1237129"/>
              <a:gd name="connsiteX341" fmla="*/ 724304 w 3751729"/>
              <a:gd name="connsiteY341" fmla="*/ 699176 h 1237129"/>
              <a:gd name="connsiteX342" fmla="*/ 725043 w 3751729"/>
              <a:gd name="connsiteY342" fmla="*/ 700652 h 1237129"/>
              <a:gd name="connsiteX343" fmla="*/ 725043 w 3751729"/>
              <a:gd name="connsiteY343" fmla="*/ 701637 h 1237129"/>
              <a:gd name="connsiteX344" fmla="*/ 724304 w 3751729"/>
              <a:gd name="connsiteY344" fmla="*/ 703361 h 1237129"/>
              <a:gd name="connsiteX345" fmla="*/ 724304 w 3751729"/>
              <a:gd name="connsiteY345" fmla="*/ 706561 h 1237129"/>
              <a:gd name="connsiteX346" fmla="*/ 719382 w 3751729"/>
              <a:gd name="connsiteY346" fmla="*/ 703361 h 1237129"/>
              <a:gd name="connsiteX347" fmla="*/ 715197 w 3751729"/>
              <a:gd name="connsiteY347" fmla="*/ 701637 h 1237129"/>
              <a:gd name="connsiteX348" fmla="*/ 711012 w 3751729"/>
              <a:gd name="connsiteY348" fmla="*/ 701637 h 1237129"/>
              <a:gd name="connsiteX349" fmla="*/ 707812 w 3751729"/>
              <a:gd name="connsiteY349" fmla="*/ 700652 h 1237129"/>
              <a:gd name="connsiteX350" fmla="*/ 705350 w 3751729"/>
              <a:gd name="connsiteY350" fmla="*/ 700652 h 1237129"/>
              <a:gd name="connsiteX351" fmla="*/ 701904 w 3751729"/>
              <a:gd name="connsiteY351" fmla="*/ 699176 h 1237129"/>
              <a:gd name="connsiteX352" fmla="*/ 701166 w 3751729"/>
              <a:gd name="connsiteY352" fmla="*/ 695729 h 1237129"/>
              <a:gd name="connsiteX353" fmla="*/ 3074318 w 3751729"/>
              <a:gd name="connsiteY353" fmla="*/ 638622 h 1237129"/>
              <a:gd name="connsiteX354" fmla="*/ 3076780 w 3751729"/>
              <a:gd name="connsiteY354" fmla="*/ 640346 h 1237129"/>
              <a:gd name="connsiteX355" fmla="*/ 3078256 w 3751729"/>
              <a:gd name="connsiteY355" fmla="*/ 640346 h 1237129"/>
              <a:gd name="connsiteX356" fmla="*/ 3078256 w 3751729"/>
              <a:gd name="connsiteY356" fmla="*/ 642068 h 1237129"/>
              <a:gd name="connsiteX357" fmla="*/ 3079980 w 3751729"/>
              <a:gd name="connsiteY357" fmla="*/ 644530 h 1237129"/>
              <a:gd name="connsiteX358" fmla="*/ 3079980 w 3751729"/>
              <a:gd name="connsiteY358" fmla="*/ 647977 h 1237129"/>
              <a:gd name="connsiteX359" fmla="*/ 3078256 w 3751729"/>
              <a:gd name="connsiteY359" fmla="*/ 652161 h 1237129"/>
              <a:gd name="connsiteX360" fmla="*/ 3075056 w 3751729"/>
              <a:gd name="connsiteY360" fmla="*/ 656345 h 1237129"/>
              <a:gd name="connsiteX361" fmla="*/ 3074318 w 3751729"/>
              <a:gd name="connsiteY361" fmla="*/ 660530 h 1237129"/>
              <a:gd name="connsiteX362" fmla="*/ 3066687 w 3751729"/>
              <a:gd name="connsiteY362" fmla="*/ 660530 h 1237129"/>
              <a:gd name="connsiteX363" fmla="*/ 3066687 w 3751729"/>
              <a:gd name="connsiteY363" fmla="*/ 650438 h 1237129"/>
              <a:gd name="connsiteX364" fmla="*/ 3069395 w 3751729"/>
              <a:gd name="connsiteY364" fmla="*/ 649454 h 1237129"/>
              <a:gd name="connsiteX365" fmla="*/ 3070871 w 3751729"/>
              <a:gd name="connsiteY365" fmla="*/ 646253 h 1237129"/>
              <a:gd name="connsiteX366" fmla="*/ 3072596 w 3751729"/>
              <a:gd name="connsiteY366" fmla="*/ 643792 h 1237129"/>
              <a:gd name="connsiteX367" fmla="*/ 3035426 w 3751729"/>
              <a:gd name="connsiteY367" fmla="*/ 599238 h 1237129"/>
              <a:gd name="connsiteX368" fmla="*/ 3045272 w 3751729"/>
              <a:gd name="connsiteY368" fmla="*/ 599238 h 1237129"/>
              <a:gd name="connsiteX369" fmla="*/ 3045272 w 3751729"/>
              <a:gd name="connsiteY369" fmla="*/ 609331 h 1237129"/>
              <a:gd name="connsiteX370" fmla="*/ 3032226 w 3751729"/>
              <a:gd name="connsiteY370" fmla="*/ 609331 h 1237129"/>
              <a:gd name="connsiteX371" fmla="*/ 3032226 w 3751729"/>
              <a:gd name="connsiteY371" fmla="*/ 602684 h 1237129"/>
              <a:gd name="connsiteX372" fmla="*/ 3035426 w 3751729"/>
              <a:gd name="connsiteY372" fmla="*/ 602684 h 1237129"/>
              <a:gd name="connsiteX373" fmla="*/ 1985586 w 3751729"/>
              <a:gd name="connsiteY373" fmla="*/ 571424 h 1237129"/>
              <a:gd name="connsiteX374" fmla="*/ 1992971 w 3751729"/>
              <a:gd name="connsiteY374" fmla="*/ 571424 h 1237129"/>
              <a:gd name="connsiteX375" fmla="*/ 1989771 w 3751729"/>
              <a:gd name="connsiteY375" fmla="*/ 575609 h 1237129"/>
              <a:gd name="connsiteX376" fmla="*/ 1987309 w 3751729"/>
              <a:gd name="connsiteY376" fmla="*/ 579053 h 1237129"/>
              <a:gd name="connsiteX377" fmla="*/ 1983863 w 3751729"/>
              <a:gd name="connsiteY377" fmla="*/ 581514 h 1237129"/>
              <a:gd name="connsiteX378" fmla="*/ 1981401 w 3751729"/>
              <a:gd name="connsiteY378" fmla="*/ 584961 h 1237129"/>
              <a:gd name="connsiteX379" fmla="*/ 1976479 w 3751729"/>
              <a:gd name="connsiteY379" fmla="*/ 587422 h 1237129"/>
              <a:gd name="connsiteX380" fmla="*/ 1974017 w 3751729"/>
              <a:gd name="connsiteY380" fmla="*/ 587422 h 1237129"/>
              <a:gd name="connsiteX381" fmla="*/ 1974017 w 3751729"/>
              <a:gd name="connsiteY381" fmla="*/ 589145 h 1237129"/>
              <a:gd name="connsiteX382" fmla="*/ 1972294 w 3751729"/>
              <a:gd name="connsiteY382" fmla="*/ 589145 h 1237129"/>
              <a:gd name="connsiteX383" fmla="*/ 1969832 w 3751729"/>
              <a:gd name="connsiteY383" fmla="*/ 589145 h 1237129"/>
              <a:gd name="connsiteX384" fmla="*/ 1966632 w 3751729"/>
              <a:gd name="connsiteY384" fmla="*/ 590868 h 1237129"/>
              <a:gd name="connsiteX385" fmla="*/ 1964171 w 3751729"/>
              <a:gd name="connsiteY385" fmla="*/ 579792 h 1237129"/>
              <a:gd name="connsiteX386" fmla="*/ 1969832 w 3751729"/>
              <a:gd name="connsiteY386" fmla="*/ 579053 h 1237129"/>
              <a:gd name="connsiteX387" fmla="*/ 1975740 w 3751729"/>
              <a:gd name="connsiteY387" fmla="*/ 575609 h 1237129"/>
              <a:gd name="connsiteX388" fmla="*/ 1981401 w 3751729"/>
              <a:gd name="connsiteY388" fmla="*/ 574133 h 1237129"/>
              <a:gd name="connsiteX389" fmla="*/ 1865710 w 3751729"/>
              <a:gd name="connsiteY389" fmla="*/ 567240 h 1237129"/>
              <a:gd name="connsiteX390" fmla="*/ 1873341 w 3751729"/>
              <a:gd name="connsiteY390" fmla="*/ 569949 h 1237129"/>
              <a:gd name="connsiteX391" fmla="*/ 1881464 w 3751729"/>
              <a:gd name="connsiteY391" fmla="*/ 573149 h 1237129"/>
              <a:gd name="connsiteX392" fmla="*/ 1891310 w 3751729"/>
              <a:gd name="connsiteY392" fmla="*/ 575609 h 1237129"/>
              <a:gd name="connsiteX393" fmla="*/ 1897218 w 3751729"/>
              <a:gd name="connsiteY393" fmla="*/ 579793 h 1237129"/>
              <a:gd name="connsiteX394" fmla="*/ 1874080 w 3751729"/>
              <a:gd name="connsiteY394" fmla="*/ 579793 h 1237129"/>
              <a:gd name="connsiteX395" fmla="*/ 1871618 w 3751729"/>
              <a:gd name="connsiteY395" fmla="*/ 579053 h 1237129"/>
              <a:gd name="connsiteX396" fmla="*/ 1869895 w 3751729"/>
              <a:gd name="connsiteY396" fmla="*/ 579053 h 1237129"/>
              <a:gd name="connsiteX397" fmla="*/ 1867434 w 3751729"/>
              <a:gd name="connsiteY397" fmla="*/ 577331 h 1237129"/>
              <a:gd name="connsiteX398" fmla="*/ 1861772 w 3751729"/>
              <a:gd name="connsiteY398" fmla="*/ 577331 h 1237129"/>
              <a:gd name="connsiteX399" fmla="*/ 1861772 w 3751729"/>
              <a:gd name="connsiteY399" fmla="*/ 574133 h 1237129"/>
              <a:gd name="connsiteX400" fmla="*/ 1863249 w 3751729"/>
              <a:gd name="connsiteY400" fmla="*/ 573149 h 1237129"/>
              <a:gd name="connsiteX401" fmla="*/ 1864233 w 3751729"/>
              <a:gd name="connsiteY401" fmla="*/ 571425 h 1237129"/>
              <a:gd name="connsiteX402" fmla="*/ 1864233 w 3751729"/>
              <a:gd name="connsiteY402" fmla="*/ 569949 h 1237129"/>
              <a:gd name="connsiteX403" fmla="*/ 1608239 w 3751729"/>
              <a:gd name="connsiteY403" fmla="*/ 510379 h 1237129"/>
              <a:gd name="connsiteX404" fmla="*/ 1627932 w 3751729"/>
              <a:gd name="connsiteY404" fmla="*/ 510379 h 1237129"/>
              <a:gd name="connsiteX405" fmla="*/ 1627932 w 3751729"/>
              <a:gd name="connsiteY405" fmla="*/ 512840 h 1237129"/>
              <a:gd name="connsiteX406" fmla="*/ 1623747 w 3751729"/>
              <a:gd name="connsiteY406" fmla="*/ 514564 h 1237129"/>
              <a:gd name="connsiteX407" fmla="*/ 1622269 w 3751729"/>
              <a:gd name="connsiteY407" fmla="*/ 516041 h 1237129"/>
              <a:gd name="connsiteX408" fmla="*/ 1619561 w 3751729"/>
              <a:gd name="connsiteY408" fmla="*/ 517025 h 1237129"/>
              <a:gd name="connsiteX409" fmla="*/ 1616362 w 3751729"/>
              <a:gd name="connsiteY409" fmla="*/ 518748 h 1237129"/>
              <a:gd name="connsiteX410" fmla="*/ 1612177 w 3751729"/>
              <a:gd name="connsiteY410" fmla="*/ 518748 h 1237129"/>
              <a:gd name="connsiteX411" fmla="*/ 1913957 w 3751729"/>
              <a:gd name="connsiteY411" fmla="*/ 493394 h 1237129"/>
              <a:gd name="connsiteX412" fmla="*/ 1912234 w 3751729"/>
              <a:gd name="connsiteY412" fmla="*/ 495118 h 1237129"/>
              <a:gd name="connsiteX413" fmla="*/ 1910511 w 3751729"/>
              <a:gd name="connsiteY413" fmla="*/ 496840 h 1237129"/>
              <a:gd name="connsiteX414" fmla="*/ 1908787 w 3751729"/>
              <a:gd name="connsiteY414" fmla="*/ 496840 h 1237129"/>
              <a:gd name="connsiteX415" fmla="*/ 1908787 w 3751729"/>
              <a:gd name="connsiteY415" fmla="*/ 498563 h 1237129"/>
              <a:gd name="connsiteX416" fmla="*/ 1908049 w 3751729"/>
              <a:gd name="connsiteY416" fmla="*/ 499302 h 1237129"/>
              <a:gd name="connsiteX417" fmla="*/ 1906819 w 3751729"/>
              <a:gd name="connsiteY417" fmla="*/ 502749 h 1237129"/>
              <a:gd name="connsiteX418" fmla="*/ 1909280 w 3751729"/>
              <a:gd name="connsiteY418" fmla="*/ 502749 h 1237129"/>
              <a:gd name="connsiteX419" fmla="*/ 1914203 w 3751729"/>
              <a:gd name="connsiteY419" fmla="*/ 501025 h 1237129"/>
              <a:gd name="connsiteX420" fmla="*/ 1916665 w 3751729"/>
              <a:gd name="connsiteY420" fmla="*/ 499302 h 1237129"/>
              <a:gd name="connsiteX421" fmla="*/ 1919864 w 3751729"/>
              <a:gd name="connsiteY421" fmla="*/ 498563 h 1237129"/>
              <a:gd name="connsiteX422" fmla="*/ 1922326 w 3751729"/>
              <a:gd name="connsiteY422" fmla="*/ 496840 h 1237129"/>
              <a:gd name="connsiteX423" fmla="*/ 1925526 w 3751729"/>
              <a:gd name="connsiteY423" fmla="*/ 493394 h 1237129"/>
              <a:gd name="connsiteX424" fmla="*/ 1697345 w 3751729"/>
              <a:gd name="connsiteY424" fmla="*/ 493394 h 1237129"/>
              <a:gd name="connsiteX425" fmla="*/ 1701530 w 3751729"/>
              <a:gd name="connsiteY425" fmla="*/ 493394 h 1237129"/>
              <a:gd name="connsiteX426" fmla="*/ 1707192 w 3751729"/>
              <a:gd name="connsiteY426" fmla="*/ 493394 h 1237129"/>
              <a:gd name="connsiteX427" fmla="*/ 1708914 w 3751729"/>
              <a:gd name="connsiteY427" fmla="*/ 506934 h 1237129"/>
              <a:gd name="connsiteX428" fmla="*/ 1710639 w 3751729"/>
              <a:gd name="connsiteY428" fmla="*/ 522933 h 1237129"/>
              <a:gd name="connsiteX429" fmla="*/ 1703008 w 3751729"/>
              <a:gd name="connsiteY429" fmla="*/ 522933 h 1237129"/>
              <a:gd name="connsiteX430" fmla="*/ 1701530 w 3751729"/>
              <a:gd name="connsiteY430" fmla="*/ 524410 h 1237129"/>
              <a:gd name="connsiteX431" fmla="*/ 1699068 w 3751729"/>
              <a:gd name="connsiteY431" fmla="*/ 524410 h 1237129"/>
              <a:gd name="connsiteX432" fmla="*/ 1695621 w 3751729"/>
              <a:gd name="connsiteY432" fmla="*/ 524410 h 1237129"/>
              <a:gd name="connsiteX433" fmla="*/ 1691438 w 3751729"/>
              <a:gd name="connsiteY433" fmla="*/ 526133 h 1237129"/>
              <a:gd name="connsiteX434" fmla="*/ 1689960 w 3751729"/>
              <a:gd name="connsiteY434" fmla="*/ 514564 h 1237129"/>
              <a:gd name="connsiteX435" fmla="*/ 1689960 w 3751729"/>
              <a:gd name="connsiteY435" fmla="*/ 502749 h 1237129"/>
              <a:gd name="connsiteX436" fmla="*/ 1691438 w 3751729"/>
              <a:gd name="connsiteY436" fmla="*/ 496840 h 1237129"/>
              <a:gd name="connsiteX437" fmla="*/ 1693899 w 3751729"/>
              <a:gd name="connsiteY437" fmla="*/ 495118 h 1237129"/>
              <a:gd name="connsiteX438" fmla="*/ 1699807 w 3751729"/>
              <a:gd name="connsiteY438" fmla="*/ 464841 h 1237129"/>
              <a:gd name="connsiteX439" fmla="*/ 1707192 w 3751729"/>
              <a:gd name="connsiteY439" fmla="*/ 464841 h 1237129"/>
              <a:gd name="connsiteX440" fmla="*/ 1705468 w 3751729"/>
              <a:gd name="connsiteY440" fmla="*/ 470750 h 1237129"/>
              <a:gd name="connsiteX441" fmla="*/ 1705468 w 3751729"/>
              <a:gd name="connsiteY441" fmla="*/ 474934 h 1237129"/>
              <a:gd name="connsiteX442" fmla="*/ 1705468 w 3751729"/>
              <a:gd name="connsiteY442" fmla="*/ 479119 h 1237129"/>
              <a:gd name="connsiteX443" fmla="*/ 1704729 w 3751729"/>
              <a:gd name="connsiteY443" fmla="*/ 482565 h 1237129"/>
              <a:gd name="connsiteX444" fmla="*/ 1703007 w 3751729"/>
              <a:gd name="connsiteY444" fmla="*/ 486750 h 1237129"/>
              <a:gd name="connsiteX445" fmla="*/ 1697345 w 3751729"/>
              <a:gd name="connsiteY445" fmla="*/ 486750 h 1237129"/>
              <a:gd name="connsiteX446" fmla="*/ 1697345 w 3751729"/>
              <a:gd name="connsiteY446" fmla="*/ 480841 h 1237129"/>
              <a:gd name="connsiteX447" fmla="*/ 1699068 w 3751729"/>
              <a:gd name="connsiteY447" fmla="*/ 474934 h 1237129"/>
              <a:gd name="connsiteX448" fmla="*/ 1699068 w 3751729"/>
              <a:gd name="connsiteY448" fmla="*/ 469272 h 1237129"/>
              <a:gd name="connsiteX449" fmla="*/ 757274 w 3751729"/>
              <a:gd name="connsiteY449" fmla="*/ 424736 h 1237129"/>
              <a:gd name="connsiteX450" fmla="*/ 755814 w 3751729"/>
              <a:gd name="connsiteY450" fmla="*/ 426195 h 1237129"/>
              <a:gd name="connsiteX451" fmla="*/ 754104 w 3751729"/>
              <a:gd name="connsiteY451" fmla="*/ 427905 h 1237129"/>
              <a:gd name="connsiteX452" fmla="*/ 755812 w 3751729"/>
              <a:gd name="connsiteY452" fmla="*/ 426441 h 1237129"/>
              <a:gd name="connsiteX453" fmla="*/ 3219548 w 3751729"/>
              <a:gd name="connsiteY453" fmla="*/ 424717 h 1237129"/>
              <a:gd name="connsiteX454" fmla="*/ 3226933 w 3751729"/>
              <a:gd name="connsiteY454" fmla="*/ 435548 h 1237129"/>
              <a:gd name="connsiteX455" fmla="*/ 3233579 w 3751729"/>
              <a:gd name="connsiteY455" fmla="*/ 441455 h 1237129"/>
              <a:gd name="connsiteX456" fmla="*/ 3242687 w 3751729"/>
              <a:gd name="connsiteY456" fmla="*/ 443917 h 1237129"/>
              <a:gd name="connsiteX457" fmla="*/ 3248595 w 3751729"/>
              <a:gd name="connsiteY457" fmla="*/ 447363 h 1237129"/>
              <a:gd name="connsiteX458" fmla="*/ 3254257 w 3751729"/>
              <a:gd name="connsiteY458" fmla="*/ 451548 h 1237129"/>
              <a:gd name="connsiteX459" fmla="*/ 3255979 w 3751729"/>
              <a:gd name="connsiteY459" fmla="*/ 454009 h 1237129"/>
              <a:gd name="connsiteX460" fmla="*/ 3256717 w 3751729"/>
              <a:gd name="connsiteY460" fmla="*/ 457455 h 1237129"/>
              <a:gd name="connsiteX461" fmla="*/ 3256717 w 3751729"/>
              <a:gd name="connsiteY461" fmla="*/ 459917 h 1237129"/>
              <a:gd name="connsiteX462" fmla="*/ 3256717 w 3751729"/>
              <a:gd name="connsiteY462" fmla="*/ 464840 h 1237129"/>
              <a:gd name="connsiteX463" fmla="*/ 3246871 w 3751729"/>
              <a:gd name="connsiteY463" fmla="*/ 467548 h 1237129"/>
              <a:gd name="connsiteX464" fmla="*/ 3239487 w 3751729"/>
              <a:gd name="connsiteY464" fmla="*/ 473455 h 1237129"/>
              <a:gd name="connsiteX465" fmla="*/ 3233579 w 3751729"/>
              <a:gd name="connsiteY465" fmla="*/ 479117 h 1237129"/>
              <a:gd name="connsiteX466" fmla="*/ 3225457 w 3751729"/>
              <a:gd name="connsiteY466" fmla="*/ 483301 h 1237129"/>
              <a:gd name="connsiteX467" fmla="*/ 3222010 w 3751729"/>
              <a:gd name="connsiteY467" fmla="*/ 479117 h 1237129"/>
              <a:gd name="connsiteX468" fmla="*/ 3219548 w 3751729"/>
              <a:gd name="connsiteY468" fmla="*/ 477639 h 1237129"/>
              <a:gd name="connsiteX469" fmla="*/ 3217087 w 3751729"/>
              <a:gd name="connsiteY469" fmla="*/ 476655 h 1237129"/>
              <a:gd name="connsiteX470" fmla="*/ 3213887 w 3751729"/>
              <a:gd name="connsiteY470" fmla="*/ 477639 h 1237129"/>
              <a:gd name="connsiteX471" fmla="*/ 3211426 w 3751729"/>
              <a:gd name="connsiteY471" fmla="*/ 479117 h 1237129"/>
              <a:gd name="connsiteX472" fmla="*/ 3209702 w 3751729"/>
              <a:gd name="connsiteY472" fmla="*/ 482563 h 1237129"/>
              <a:gd name="connsiteX473" fmla="*/ 3206502 w 3751729"/>
              <a:gd name="connsiteY473" fmla="*/ 483301 h 1237129"/>
              <a:gd name="connsiteX474" fmla="*/ 3211426 w 3751729"/>
              <a:gd name="connsiteY474" fmla="*/ 501024 h 1237129"/>
              <a:gd name="connsiteX475" fmla="*/ 3212164 w 3751729"/>
              <a:gd name="connsiteY475" fmla="*/ 514563 h 1237129"/>
              <a:gd name="connsiteX476" fmla="*/ 3212164 w 3751729"/>
              <a:gd name="connsiteY476" fmla="*/ 524409 h 1237129"/>
              <a:gd name="connsiteX477" fmla="*/ 3211426 w 3751729"/>
              <a:gd name="connsiteY477" fmla="*/ 534501 h 1237129"/>
              <a:gd name="connsiteX478" fmla="*/ 3207980 w 3751729"/>
              <a:gd name="connsiteY478" fmla="*/ 545578 h 1237129"/>
              <a:gd name="connsiteX479" fmla="*/ 3205518 w 3751729"/>
              <a:gd name="connsiteY479" fmla="*/ 559855 h 1237129"/>
              <a:gd name="connsiteX480" fmla="*/ 3203795 w 3751729"/>
              <a:gd name="connsiteY480" fmla="*/ 577330 h 1237129"/>
              <a:gd name="connsiteX481" fmla="*/ 3184841 w 3751729"/>
              <a:gd name="connsiteY481" fmla="*/ 587423 h 1237129"/>
              <a:gd name="connsiteX482" fmla="*/ 3163425 w 3751729"/>
              <a:gd name="connsiteY482" fmla="*/ 597515 h 1237129"/>
              <a:gd name="connsiteX483" fmla="*/ 3142749 w 3751729"/>
              <a:gd name="connsiteY483" fmla="*/ 606868 h 1237129"/>
              <a:gd name="connsiteX484" fmla="*/ 3138564 w 3751729"/>
              <a:gd name="connsiteY484" fmla="*/ 599238 h 1237129"/>
              <a:gd name="connsiteX485" fmla="*/ 3134625 w 3751729"/>
              <a:gd name="connsiteY485" fmla="*/ 593330 h 1237129"/>
              <a:gd name="connsiteX486" fmla="*/ 3132903 w 3751729"/>
              <a:gd name="connsiteY486" fmla="*/ 599238 h 1237129"/>
              <a:gd name="connsiteX487" fmla="*/ 3132903 w 3751729"/>
              <a:gd name="connsiteY487" fmla="*/ 602684 h 1237129"/>
              <a:gd name="connsiteX488" fmla="*/ 3132165 w 3751729"/>
              <a:gd name="connsiteY488" fmla="*/ 606868 h 1237129"/>
              <a:gd name="connsiteX489" fmla="*/ 3130441 w 3751729"/>
              <a:gd name="connsiteY489" fmla="*/ 609330 h 1237129"/>
              <a:gd name="connsiteX490" fmla="*/ 3126257 w 3751729"/>
              <a:gd name="connsiteY490" fmla="*/ 609330 h 1237129"/>
              <a:gd name="connsiteX491" fmla="*/ 3123056 w 3751729"/>
              <a:gd name="connsiteY491" fmla="*/ 609330 h 1237129"/>
              <a:gd name="connsiteX492" fmla="*/ 3121333 w 3751729"/>
              <a:gd name="connsiteY492" fmla="*/ 611053 h 1237129"/>
              <a:gd name="connsiteX493" fmla="*/ 3120595 w 3751729"/>
              <a:gd name="connsiteY493" fmla="*/ 611053 h 1237129"/>
              <a:gd name="connsiteX494" fmla="*/ 3118873 w 3751729"/>
              <a:gd name="connsiteY494" fmla="*/ 612530 h 1237129"/>
              <a:gd name="connsiteX495" fmla="*/ 3117149 w 3751729"/>
              <a:gd name="connsiteY495" fmla="*/ 614253 h 1237129"/>
              <a:gd name="connsiteX496" fmla="*/ 3112964 w 3751729"/>
              <a:gd name="connsiteY496" fmla="*/ 614253 h 1237129"/>
              <a:gd name="connsiteX497" fmla="*/ 3109026 w 3751729"/>
              <a:gd name="connsiteY497" fmla="*/ 615238 h 1237129"/>
              <a:gd name="connsiteX498" fmla="*/ 3107303 w 3751729"/>
              <a:gd name="connsiteY498" fmla="*/ 612530 h 1237129"/>
              <a:gd name="connsiteX499" fmla="*/ 3107303 w 3751729"/>
              <a:gd name="connsiteY499" fmla="*/ 608346 h 1237129"/>
              <a:gd name="connsiteX500" fmla="*/ 3107303 w 3751729"/>
              <a:gd name="connsiteY500" fmla="*/ 606868 h 1237129"/>
              <a:gd name="connsiteX501" fmla="*/ 3107303 w 3751729"/>
              <a:gd name="connsiteY501" fmla="*/ 603422 h 1237129"/>
              <a:gd name="connsiteX502" fmla="*/ 3107303 w 3751729"/>
              <a:gd name="connsiteY502" fmla="*/ 602684 h 1237129"/>
              <a:gd name="connsiteX503" fmla="*/ 3103856 w 3751729"/>
              <a:gd name="connsiteY503" fmla="*/ 602684 h 1237129"/>
              <a:gd name="connsiteX504" fmla="*/ 3101395 w 3751729"/>
              <a:gd name="connsiteY504" fmla="*/ 600961 h 1237129"/>
              <a:gd name="connsiteX505" fmla="*/ 3095734 w 3751729"/>
              <a:gd name="connsiteY505" fmla="*/ 599238 h 1237129"/>
              <a:gd name="connsiteX506" fmla="*/ 3095734 w 3751729"/>
              <a:gd name="connsiteY506" fmla="*/ 602684 h 1237129"/>
              <a:gd name="connsiteX507" fmla="*/ 3098194 w 3751729"/>
              <a:gd name="connsiteY507" fmla="*/ 606868 h 1237129"/>
              <a:gd name="connsiteX508" fmla="*/ 3101395 w 3751729"/>
              <a:gd name="connsiteY508" fmla="*/ 608346 h 1237129"/>
              <a:gd name="connsiteX509" fmla="*/ 3101395 w 3751729"/>
              <a:gd name="connsiteY509" fmla="*/ 611053 h 1237129"/>
              <a:gd name="connsiteX510" fmla="*/ 3101395 w 3751729"/>
              <a:gd name="connsiteY510" fmla="*/ 615238 h 1237129"/>
              <a:gd name="connsiteX511" fmla="*/ 3103118 w 3751729"/>
              <a:gd name="connsiteY511" fmla="*/ 622623 h 1237129"/>
              <a:gd name="connsiteX512" fmla="*/ 3098194 w 3751729"/>
              <a:gd name="connsiteY512" fmla="*/ 626807 h 1237129"/>
              <a:gd name="connsiteX513" fmla="*/ 3095734 w 3751729"/>
              <a:gd name="connsiteY513" fmla="*/ 632715 h 1237129"/>
              <a:gd name="connsiteX514" fmla="*/ 3092288 w 3751729"/>
              <a:gd name="connsiteY514" fmla="*/ 638621 h 1237129"/>
              <a:gd name="connsiteX515" fmla="*/ 3082442 w 3751729"/>
              <a:gd name="connsiteY515" fmla="*/ 638621 h 1237129"/>
              <a:gd name="connsiteX516" fmla="*/ 3080964 w 3751729"/>
              <a:gd name="connsiteY516" fmla="*/ 626807 h 1237129"/>
              <a:gd name="connsiteX517" fmla="*/ 3079980 w 3751729"/>
              <a:gd name="connsiteY517" fmla="*/ 620899 h 1237129"/>
              <a:gd name="connsiteX518" fmla="*/ 3076779 w 3751729"/>
              <a:gd name="connsiteY518" fmla="*/ 615238 h 1237129"/>
              <a:gd name="connsiteX519" fmla="*/ 3074318 w 3751729"/>
              <a:gd name="connsiteY519" fmla="*/ 606868 h 1237129"/>
              <a:gd name="connsiteX520" fmla="*/ 3082442 w 3751729"/>
              <a:gd name="connsiteY520" fmla="*/ 606868 h 1237129"/>
              <a:gd name="connsiteX521" fmla="*/ 3092288 w 3751729"/>
              <a:gd name="connsiteY521" fmla="*/ 593330 h 1237129"/>
              <a:gd name="connsiteX522" fmla="*/ 3105579 w 3751729"/>
              <a:gd name="connsiteY522" fmla="*/ 581515 h 1237129"/>
              <a:gd name="connsiteX523" fmla="*/ 3121333 w 3751729"/>
              <a:gd name="connsiteY523" fmla="*/ 574132 h 1237129"/>
              <a:gd name="connsiteX524" fmla="*/ 3126994 w 3751729"/>
              <a:gd name="connsiteY524" fmla="*/ 573148 h 1237129"/>
              <a:gd name="connsiteX525" fmla="*/ 3132903 w 3751729"/>
              <a:gd name="connsiteY525" fmla="*/ 573148 h 1237129"/>
              <a:gd name="connsiteX526" fmla="*/ 3137825 w 3751729"/>
              <a:gd name="connsiteY526" fmla="*/ 574132 h 1237129"/>
              <a:gd name="connsiteX527" fmla="*/ 3140288 w 3751729"/>
              <a:gd name="connsiteY527" fmla="*/ 574132 h 1237129"/>
              <a:gd name="connsiteX528" fmla="*/ 3142749 w 3751729"/>
              <a:gd name="connsiteY528" fmla="*/ 574132 h 1237129"/>
              <a:gd name="connsiteX529" fmla="*/ 3146195 w 3751729"/>
              <a:gd name="connsiteY529" fmla="*/ 569947 h 1237129"/>
              <a:gd name="connsiteX530" fmla="*/ 3148656 w 3751729"/>
              <a:gd name="connsiteY530" fmla="*/ 565763 h 1237129"/>
              <a:gd name="connsiteX531" fmla="*/ 3150133 w 3751729"/>
              <a:gd name="connsiteY531" fmla="*/ 561331 h 1237129"/>
              <a:gd name="connsiteX532" fmla="*/ 3151856 w 3751729"/>
              <a:gd name="connsiteY532" fmla="*/ 558132 h 1237129"/>
              <a:gd name="connsiteX533" fmla="*/ 3154318 w 3751729"/>
              <a:gd name="connsiteY533" fmla="*/ 553947 h 1237129"/>
              <a:gd name="connsiteX534" fmla="*/ 3159241 w 3751729"/>
              <a:gd name="connsiteY534" fmla="*/ 551486 h 1237129"/>
              <a:gd name="connsiteX535" fmla="*/ 3160226 w 3751729"/>
              <a:gd name="connsiteY535" fmla="*/ 553947 h 1237129"/>
              <a:gd name="connsiteX536" fmla="*/ 3161703 w 3751729"/>
              <a:gd name="connsiteY536" fmla="*/ 555671 h 1237129"/>
              <a:gd name="connsiteX537" fmla="*/ 3163425 w 3751729"/>
              <a:gd name="connsiteY537" fmla="*/ 555671 h 1237129"/>
              <a:gd name="connsiteX538" fmla="*/ 3165150 w 3751729"/>
              <a:gd name="connsiteY538" fmla="*/ 555671 h 1237129"/>
              <a:gd name="connsiteX539" fmla="*/ 3165887 w 3751729"/>
              <a:gd name="connsiteY539" fmla="*/ 553947 h 1237129"/>
              <a:gd name="connsiteX540" fmla="*/ 3177456 w 3751729"/>
              <a:gd name="connsiteY540" fmla="*/ 543855 h 1237129"/>
              <a:gd name="connsiteX541" fmla="*/ 3184841 w 3751729"/>
              <a:gd name="connsiteY541" fmla="*/ 534501 h 1237129"/>
              <a:gd name="connsiteX542" fmla="*/ 3188288 w 3751729"/>
              <a:gd name="connsiteY542" fmla="*/ 524409 h 1237129"/>
              <a:gd name="connsiteX543" fmla="*/ 3190748 w 3751729"/>
              <a:gd name="connsiteY543" fmla="*/ 512840 h 1237129"/>
              <a:gd name="connsiteX544" fmla="*/ 3194933 w 3751729"/>
              <a:gd name="connsiteY544" fmla="*/ 502747 h 1237129"/>
              <a:gd name="connsiteX545" fmla="*/ 3203795 w 3751729"/>
              <a:gd name="connsiteY545" fmla="*/ 489209 h 1237129"/>
              <a:gd name="connsiteX546" fmla="*/ 3198133 w 3751729"/>
              <a:gd name="connsiteY546" fmla="*/ 489209 h 1237129"/>
              <a:gd name="connsiteX547" fmla="*/ 3193949 w 3751729"/>
              <a:gd name="connsiteY547" fmla="*/ 486747 h 1237129"/>
              <a:gd name="connsiteX548" fmla="*/ 3192472 w 3751729"/>
              <a:gd name="connsiteY548" fmla="*/ 483301 h 1237129"/>
              <a:gd name="connsiteX549" fmla="*/ 3190748 w 3751729"/>
              <a:gd name="connsiteY549" fmla="*/ 480841 h 1237129"/>
              <a:gd name="connsiteX550" fmla="*/ 3190748 w 3751729"/>
              <a:gd name="connsiteY550" fmla="*/ 474932 h 1237129"/>
              <a:gd name="connsiteX551" fmla="*/ 3190748 w 3751729"/>
              <a:gd name="connsiteY551" fmla="*/ 467548 h 1237129"/>
              <a:gd name="connsiteX552" fmla="*/ 3192472 w 3751729"/>
              <a:gd name="connsiteY552" fmla="*/ 465824 h 1237129"/>
              <a:gd name="connsiteX553" fmla="*/ 3193949 w 3751729"/>
              <a:gd name="connsiteY553" fmla="*/ 464840 h 1237129"/>
              <a:gd name="connsiteX554" fmla="*/ 3193949 w 3751729"/>
              <a:gd name="connsiteY554" fmla="*/ 463363 h 1237129"/>
              <a:gd name="connsiteX555" fmla="*/ 3193949 w 3751729"/>
              <a:gd name="connsiteY555" fmla="*/ 461640 h 1237129"/>
              <a:gd name="connsiteX556" fmla="*/ 3199856 w 3751729"/>
              <a:gd name="connsiteY556" fmla="*/ 459917 h 1237129"/>
              <a:gd name="connsiteX557" fmla="*/ 3203795 w 3751729"/>
              <a:gd name="connsiteY557" fmla="*/ 459917 h 1237129"/>
              <a:gd name="connsiteX558" fmla="*/ 3206502 w 3751729"/>
              <a:gd name="connsiteY558" fmla="*/ 459178 h 1237129"/>
              <a:gd name="connsiteX559" fmla="*/ 3209702 w 3751729"/>
              <a:gd name="connsiteY559" fmla="*/ 459178 h 1237129"/>
              <a:gd name="connsiteX560" fmla="*/ 3209702 w 3751729"/>
              <a:gd name="connsiteY560" fmla="*/ 443917 h 1237129"/>
              <a:gd name="connsiteX561" fmla="*/ 3212164 w 3751729"/>
              <a:gd name="connsiteY561" fmla="*/ 432348 h 1237129"/>
              <a:gd name="connsiteX562" fmla="*/ 763197 w 3751729"/>
              <a:gd name="connsiteY562" fmla="*/ 422258 h 1237129"/>
              <a:gd name="connsiteX563" fmla="*/ 761474 w 3751729"/>
              <a:gd name="connsiteY563" fmla="*/ 423733 h 1237129"/>
              <a:gd name="connsiteX564" fmla="*/ 759751 w 3751729"/>
              <a:gd name="connsiteY564" fmla="*/ 426442 h 1237129"/>
              <a:gd name="connsiteX565" fmla="*/ 759751 w 3751729"/>
              <a:gd name="connsiteY565" fmla="*/ 427918 h 1237129"/>
              <a:gd name="connsiteX566" fmla="*/ 759071 w 3751729"/>
              <a:gd name="connsiteY566" fmla="*/ 432000 h 1237129"/>
              <a:gd name="connsiteX567" fmla="*/ 759260 w 3751729"/>
              <a:gd name="connsiteY567" fmla="*/ 432103 h 1237129"/>
              <a:gd name="connsiteX568" fmla="*/ 759999 w 3751729"/>
              <a:gd name="connsiteY568" fmla="*/ 427918 h 1237129"/>
              <a:gd name="connsiteX569" fmla="*/ 759999 w 3751729"/>
              <a:gd name="connsiteY569" fmla="*/ 426195 h 1237129"/>
              <a:gd name="connsiteX570" fmla="*/ 761721 w 3751729"/>
              <a:gd name="connsiteY570" fmla="*/ 423733 h 1237129"/>
              <a:gd name="connsiteX571" fmla="*/ 1749281 w 3751729"/>
              <a:gd name="connsiteY571" fmla="*/ 422010 h 1237129"/>
              <a:gd name="connsiteX572" fmla="*/ 1748542 w 3751729"/>
              <a:gd name="connsiteY572" fmla="*/ 423733 h 1237129"/>
              <a:gd name="connsiteX573" fmla="*/ 1746819 w 3751729"/>
              <a:gd name="connsiteY573" fmla="*/ 423733 h 1237129"/>
              <a:gd name="connsiteX574" fmla="*/ 1745097 w 3751729"/>
              <a:gd name="connsiteY574" fmla="*/ 423733 h 1237129"/>
              <a:gd name="connsiteX575" fmla="*/ 1745097 w 3751729"/>
              <a:gd name="connsiteY575" fmla="*/ 424472 h 1237129"/>
              <a:gd name="connsiteX576" fmla="*/ 1743373 w 3751729"/>
              <a:gd name="connsiteY576" fmla="*/ 424472 h 1237129"/>
              <a:gd name="connsiteX577" fmla="*/ 1740911 w 3751729"/>
              <a:gd name="connsiteY577" fmla="*/ 427918 h 1237129"/>
              <a:gd name="connsiteX578" fmla="*/ 1737711 w 3751729"/>
              <a:gd name="connsiteY578" fmla="*/ 429640 h 1237129"/>
              <a:gd name="connsiteX579" fmla="*/ 1737711 w 3751729"/>
              <a:gd name="connsiteY579" fmla="*/ 430379 h 1237129"/>
              <a:gd name="connsiteX580" fmla="*/ 1737711 w 3751729"/>
              <a:gd name="connsiteY580" fmla="*/ 433825 h 1237129"/>
              <a:gd name="connsiteX581" fmla="*/ 1737711 w 3751729"/>
              <a:gd name="connsiteY581" fmla="*/ 436286 h 1237129"/>
              <a:gd name="connsiteX582" fmla="*/ 1737711 w 3751729"/>
              <a:gd name="connsiteY582" fmla="*/ 441210 h 1237129"/>
              <a:gd name="connsiteX583" fmla="*/ 1749281 w 3751729"/>
              <a:gd name="connsiteY583" fmla="*/ 453026 h 1237129"/>
              <a:gd name="connsiteX584" fmla="*/ 1760112 w 3751729"/>
              <a:gd name="connsiteY584" fmla="*/ 465578 h 1237129"/>
              <a:gd name="connsiteX585" fmla="*/ 1769958 w 3751729"/>
              <a:gd name="connsiteY585" fmla="*/ 480595 h 1237129"/>
              <a:gd name="connsiteX586" fmla="*/ 1781527 w 3751729"/>
              <a:gd name="connsiteY586" fmla="*/ 480595 h 1237129"/>
              <a:gd name="connsiteX587" fmla="*/ 1781527 w 3751729"/>
              <a:gd name="connsiteY587" fmla="*/ 488964 h 1237129"/>
              <a:gd name="connsiteX588" fmla="*/ 1793096 w 3751729"/>
              <a:gd name="connsiteY588" fmla="*/ 493147 h 1237129"/>
              <a:gd name="connsiteX589" fmla="*/ 1801465 w 3751729"/>
              <a:gd name="connsiteY589" fmla="*/ 499056 h 1237129"/>
              <a:gd name="connsiteX590" fmla="*/ 1810572 w 3751729"/>
              <a:gd name="connsiteY590" fmla="*/ 506687 h 1237129"/>
              <a:gd name="connsiteX591" fmla="*/ 1810572 w 3751729"/>
              <a:gd name="connsiteY591" fmla="*/ 510133 h 1237129"/>
              <a:gd name="connsiteX592" fmla="*/ 1807373 w 3751729"/>
              <a:gd name="connsiteY592" fmla="*/ 510133 h 1237129"/>
              <a:gd name="connsiteX593" fmla="*/ 1804911 w 3751729"/>
              <a:gd name="connsiteY593" fmla="*/ 510133 h 1237129"/>
              <a:gd name="connsiteX594" fmla="*/ 1801711 w 3751729"/>
              <a:gd name="connsiteY594" fmla="*/ 510133 h 1237129"/>
              <a:gd name="connsiteX595" fmla="*/ 1799988 w 3751729"/>
              <a:gd name="connsiteY595" fmla="*/ 510133 h 1237129"/>
              <a:gd name="connsiteX596" fmla="*/ 1797527 w 3751729"/>
              <a:gd name="connsiteY596" fmla="*/ 508409 h 1237129"/>
              <a:gd name="connsiteX597" fmla="*/ 1793342 w 3751729"/>
              <a:gd name="connsiteY597" fmla="*/ 506687 h 1237129"/>
              <a:gd name="connsiteX598" fmla="*/ 1789158 w 3751729"/>
              <a:gd name="connsiteY598" fmla="*/ 506687 h 1237129"/>
              <a:gd name="connsiteX599" fmla="*/ 1789158 w 3751729"/>
              <a:gd name="connsiteY599" fmla="*/ 510871 h 1237129"/>
              <a:gd name="connsiteX600" fmla="*/ 1789896 w 3751729"/>
              <a:gd name="connsiteY600" fmla="*/ 514317 h 1237129"/>
              <a:gd name="connsiteX601" fmla="*/ 1791619 w 3751729"/>
              <a:gd name="connsiteY601" fmla="*/ 516779 h 1237129"/>
              <a:gd name="connsiteX602" fmla="*/ 1791619 w 3751729"/>
              <a:gd name="connsiteY602" fmla="*/ 518501 h 1237129"/>
              <a:gd name="connsiteX603" fmla="*/ 1793342 w 3751729"/>
              <a:gd name="connsiteY603" fmla="*/ 521947 h 1237129"/>
              <a:gd name="connsiteX604" fmla="*/ 1794081 w 3751729"/>
              <a:gd name="connsiteY604" fmla="*/ 526132 h 1237129"/>
              <a:gd name="connsiteX605" fmla="*/ 1789896 w 3751729"/>
              <a:gd name="connsiteY605" fmla="*/ 528594 h 1237129"/>
              <a:gd name="connsiteX606" fmla="*/ 1787435 w 3751729"/>
              <a:gd name="connsiteY606" fmla="*/ 532040 h 1237129"/>
              <a:gd name="connsiteX607" fmla="*/ 1784235 w 3751729"/>
              <a:gd name="connsiteY607" fmla="*/ 536224 h 1237129"/>
              <a:gd name="connsiteX608" fmla="*/ 1781773 w 3751729"/>
              <a:gd name="connsiteY608" fmla="*/ 542133 h 1237129"/>
              <a:gd name="connsiteX609" fmla="*/ 1772666 w 3751729"/>
              <a:gd name="connsiteY609" fmla="*/ 542133 h 1237129"/>
              <a:gd name="connsiteX610" fmla="*/ 1772666 w 3751729"/>
              <a:gd name="connsiteY610" fmla="*/ 561578 h 1237129"/>
              <a:gd name="connsiteX611" fmla="*/ 1766020 w 3751729"/>
              <a:gd name="connsiteY611" fmla="*/ 561578 h 1237129"/>
              <a:gd name="connsiteX612" fmla="*/ 1758634 w 3751729"/>
              <a:gd name="connsiteY612" fmla="*/ 555672 h 1237129"/>
              <a:gd name="connsiteX613" fmla="*/ 1749528 w 3751729"/>
              <a:gd name="connsiteY613" fmla="*/ 552225 h 1237129"/>
              <a:gd name="connsiteX614" fmla="*/ 1742882 w 3751729"/>
              <a:gd name="connsiteY614" fmla="*/ 548040 h 1237129"/>
              <a:gd name="connsiteX615" fmla="*/ 1737958 w 3751729"/>
              <a:gd name="connsiteY615" fmla="*/ 537948 h 1237129"/>
              <a:gd name="connsiteX616" fmla="*/ 1749528 w 3751729"/>
              <a:gd name="connsiteY616" fmla="*/ 539671 h 1237129"/>
              <a:gd name="connsiteX617" fmla="*/ 1761096 w 3751729"/>
              <a:gd name="connsiteY617" fmla="*/ 537948 h 1237129"/>
              <a:gd name="connsiteX618" fmla="*/ 1770204 w 3751729"/>
              <a:gd name="connsiteY618" fmla="*/ 534502 h 1237129"/>
              <a:gd name="connsiteX619" fmla="*/ 1775866 w 3751729"/>
              <a:gd name="connsiteY619" fmla="*/ 528594 h 1237129"/>
              <a:gd name="connsiteX620" fmla="*/ 1777589 w 3751729"/>
              <a:gd name="connsiteY620" fmla="*/ 527856 h 1237129"/>
              <a:gd name="connsiteX621" fmla="*/ 1777589 w 3751729"/>
              <a:gd name="connsiteY621" fmla="*/ 526132 h 1237129"/>
              <a:gd name="connsiteX622" fmla="*/ 1778326 w 3751729"/>
              <a:gd name="connsiteY622" fmla="*/ 524410 h 1237129"/>
              <a:gd name="connsiteX623" fmla="*/ 1778326 w 3751729"/>
              <a:gd name="connsiteY623" fmla="*/ 521947 h 1237129"/>
              <a:gd name="connsiteX624" fmla="*/ 1778326 w 3751729"/>
              <a:gd name="connsiteY624" fmla="*/ 518501 h 1237129"/>
              <a:gd name="connsiteX625" fmla="*/ 1756912 w 3751729"/>
              <a:gd name="connsiteY625" fmla="*/ 502502 h 1237129"/>
              <a:gd name="connsiteX626" fmla="*/ 1733773 w 3751729"/>
              <a:gd name="connsiteY626" fmla="*/ 486501 h 1237129"/>
              <a:gd name="connsiteX627" fmla="*/ 1726389 w 3751729"/>
              <a:gd name="connsiteY627" fmla="*/ 477394 h 1237129"/>
              <a:gd name="connsiteX628" fmla="*/ 1719745 w 3751729"/>
              <a:gd name="connsiteY628" fmla="*/ 469025 h 1237129"/>
              <a:gd name="connsiteX629" fmla="*/ 1714084 w 3751729"/>
              <a:gd name="connsiteY629" fmla="*/ 458932 h 1237129"/>
              <a:gd name="connsiteX630" fmla="*/ 1704976 w 3751729"/>
              <a:gd name="connsiteY630" fmla="*/ 449826 h 1237129"/>
              <a:gd name="connsiteX631" fmla="*/ 1693406 w 3751729"/>
              <a:gd name="connsiteY631" fmla="*/ 445640 h 1237129"/>
              <a:gd name="connsiteX632" fmla="*/ 1683560 w 3751729"/>
              <a:gd name="connsiteY632" fmla="*/ 454009 h 1237129"/>
              <a:gd name="connsiteX633" fmla="*/ 1670268 w 3751729"/>
              <a:gd name="connsiteY633" fmla="*/ 461640 h 1237129"/>
              <a:gd name="connsiteX634" fmla="*/ 1654516 w 3751729"/>
              <a:gd name="connsiteY634" fmla="*/ 465086 h 1237129"/>
              <a:gd name="connsiteX635" fmla="*/ 1652792 w 3751729"/>
              <a:gd name="connsiteY635" fmla="*/ 461640 h 1237129"/>
              <a:gd name="connsiteX636" fmla="*/ 1652053 w 3751729"/>
              <a:gd name="connsiteY636" fmla="*/ 459179 h 1237129"/>
              <a:gd name="connsiteX637" fmla="*/ 1650330 w 3751729"/>
              <a:gd name="connsiteY637" fmla="*/ 457456 h 1237129"/>
              <a:gd name="connsiteX638" fmla="*/ 1647130 w 3751729"/>
              <a:gd name="connsiteY638" fmla="*/ 457456 h 1237129"/>
              <a:gd name="connsiteX639" fmla="*/ 1646392 w 3751729"/>
              <a:gd name="connsiteY639" fmla="*/ 457456 h 1237129"/>
              <a:gd name="connsiteX640" fmla="*/ 1643191 w 3751729"/>
              <a:gd name="connsiteY640" fmla="*/ 459179 h 1237129"/>
              <a:gd name="connsiteX641" fmla="*/ 1635808 w 3751729"/>
              <a:gd name="connsiteY641" fmla="*/ 465086 h 1237129"/>
              <a:gd name="connsiteX642" fmla="*/ 1633346 w 3751729"/>
              <a:gd name="connsiteY642" fmla="*/ 473456 h 1237129"/>
              <a:gd name="connsiteX643" fmla="*/ 1631622 w 3751729"/>
              <a:gd name="connsiteY643" fmla="*/ 482563 h 1237129"/>
              <a:gd name="connsiteX644" fmla="*/ 1627438 w 3751729"/>
              <a:gd name="connsiteY644" fmla="*/ 489210 h 1237129"/>
              <a:gd name="connsiteX645" fmla="*/ 1611685 w 3751729"/>
              <a:gd name="connsiteY645" fmla="*/ 489210 h 1237129"/>
              <a:gd name="connsiteX646" fmla="*/ 1606024 w 3751729"/>
              <a:gd name="connsiteY646" fmla="*/ 496840 h 1237129"/>
              <a:gd name="connsiteX647" fmla="*/ 1601838 w 3751729"/>
              <a:gd name="connsiteY647" fmla="*/ 505209 h 1237129"/>
              <a:gd name="connsiteX648" fmla="*/ 1598638 w 3751729"/>
              <a:gd name="connsiteY648" fmla="*/ 516041 h 1237129"/>
              <a:gd name="connsiteX649" fmla="*/ 1596915 w 3751729"/>
              <a:gd name="connsiteY649" fmla="*/ 516779 h 1237129"/>
              <a:gd name="connsiteX650" fmla="*/ 1596915 w 3751729"/>
              <a:gd name="connsiteY650" fmla="*/ 520225 h 1237129"/>
              <a:gd name="connsiteX651" fmla="*/ 1598638 w 3751729"/>
              <a:gd name="connsiteY651" fmla="*/ 521947 h 1237129"/>
              <a:gd name="connsiteX652" fmla="*/ 1600362 w 3751729"/>
              <a:gd name="connsiteY652" fmla="*/ 522686 h 1237129"/>
              <a:gd name="connsiteX653" fmla="*/ 1602823 w 3751729"/>
              <a:gd name="connsiteY653" fmla="*/ 526132 h 1237129"/>
              <a:gd name="connsiteX654" fmla="*/ 1604546 w 3751729"/>
              <a:gd name="connsiteY654" fmla="*/ 528594 h 1237129"/>
              <a:gd name="connsiteX655" fmla="*/ 1600362 w 3751729"/>
              <a:gd name="connsiteY655" fmla="*/ 528594 h 1237129"/>
              <a:gd name="connsiteX656" fmla="*/ 1598638 w 3751729"/>
              <a:gd name="connsiteY656" fmla="*/ 530318 h 1237129"/>
              <a:gd name="connsiteX657" fmla="*/ 1596915 w 3751729"/>
              <a:gd name="connsiteY657" fmla="*/ 530318 h 1237129"/>
              <a:gd name="connsiteX658" fmla="*/ 1596177 w 3751729"/>
              <a:gd name="connsiteY658" fmla="*/ 532040 h 1237129"/>
              <a:gd name="connsiteX659" fmla="*/ 1594454 w 3751729"/>
              <a:gd name="connsiteY659" fmla="*/ 533763 h 1237129"/>
              <a:gd name="connsiteX660" fmla="*/ 1591254 w 3751729"/>
              <a:gd name="connsiteY660" fmla="*/ 534502 h 1237129"/>
              <a:gd name="connsiteX661" fmla="*/ 1591254 w 3751729"/>
              <a:gd name="connsiteY661" fmla="*/ 537948 h 1237129"/>
              <a:gd name="connsiteX662" fmla="*/ 1591254 w 3751729"/>
              <a:gd name="connsiteY662" fmla="*/ 539671 h 1237129"/>
              <a:gd name="connsiteX663" fmla="*/ 1591254 w 3751729"/>
              <a:gd name="connsiteY663" fmla="*/ 541148 h 1237129"/>
              <a:gd name="connsiteX664" fmla="*/ 1591254 w 3751729"/>
              <a:gd name="connsiteY664" fmla="*/ 546071 h 1237129"/>
              <a:gd name="connsiteX665" fmla="*/ 1581408 w 3751729"/>
              <a:gd name="connsiteY665" fmla="*/ 546809 h 1237129"/>
              <a:gd name="connsiteX666" fmla="*/ 1577224 w 3751729"/>
              <a:gd name="connsiteY666" fmla="*/ 550255 h 1237129"/>
              <a:gd name="connsiteX667" fmla="*/ 1574024 w 3751729"/>
              <a:gd name="connsiteY667" fmla="*/ 552717 h 1237129"/>
              <a:gd name="connsiteX668" fmla="*/ 1571562 w 3751729"/>
              <a:gd name="connsiteY668" fmla="*/ 557640 h 1237129"/>
              <a:gd name="connsiteX669" fmla="*/ 1567377 w 3751729"/>
              <a:gd name="connsiteY669" fmla="*/ 561825 h 1237129"/>
              <a:gd name="connsiteX670" fmla="*/ 1562454 w 3751729"/>
              <a:gd name="connsiteY670" fmla="*/ 563548 h 1237129"/>
              <a:gd name="connsiteX671" fmla="*/ 1559993 w 3751729"/>
              <a:gd name="connsiteY671" fmla="*/ 563548 h 1237129"/>
              <a:gd name="connsiteX672" fmla="*/ 1555808 w 3751729"/>
              <a:gd name="connsiteY672" fmla="*/ 561825 h 1237129"/>
              <a:gd name="connsiteX673" fmla="*/ 1552608 w 3751729"/>
              <a:gd name="connsiteY673" fmla="*/ 560102 h 1237129"/>
              <a:gd name="connsiteX674" fmla="*/ 1550147 w 3751729"/>
              <a:gd name="connsiteY674" fmla="*/ 558378 h 1237129"/>
              <a:gd name="connsiteX675" fmla="*/ 1548424 w 3751729"/>
              <a:gd name="connsiteY675" fmla="*/ 558378 h 1237129"/>
              <a:gd name="connsiteX676" fmla="*/ 1545962 w 3751729"/>
              <a:gd name="connsiteY676" fmla="*/ 560102 h 1237129"/>
              <a:gd name="connsiteX677" fmla="*/ 1542761 w 3751729"/>
              <a:gd name="connsiteY677" fmla="*/ 561825 h 1237129"/>
              <a:gd name="connsiteX678" fmla="*/ 1540300 w 3751729"/>
              <a:gd name="connsiteY678" fmla="*/ 563548 h 1237129"/>
              <a:gd name="connsiteX679" fmla="*/ 1535378 w 3751729"/>
              <a:gd name="connsiteY679" fmla="*/ 564286 h 1237129"/>
              <a:gd name="connsiteX680" fmla="*/ 1535378 w 3751729"/>
              <a:gd name="connsiteY680" fmla="*/ 571917 h 1237129"/>
              <a:gd name="connsiteX681" fmla="*/ 1575746 w 3751729"/>
              <a:gd name="connsiteY681" fmla="*/ 577823 h 1237129"/>
              <a:gd name="connsiteX682" fmla="*/ 1587316 w 3751729"/>
              <a:gd name="connsiteY682" fmla="*/ 571917 h 1237129"/>
              <a:gd name="connsiteX683" fmla="*/ 1598884 w 3751729"/>
              <a:gd name="connsiteY683" fmla="*/ 564286 h 1237129"/>
              <a:gd name="connsiteX684" fmla="*/ 1607993 w 3751729"/>
              <a:gd name="connsiteY684" fmla="*/ 558378 h 1237129"/>
              <a:gd name="connsiteX685" fmla="*/ 1620300 w 3751729"/>
              <a:gd name="connsiteY685" fmla="*/ 555917 h 1237129"/>
              <a:gd name="connsiteX686" fmla="*/ 1639253 w 3751729"/>
              <a:gd name="connsiteY686" fmla="*/ 552471 h 1237129"/>
              <a:gd name="connsiteX687" fmla="*/ 1659191 w 3751729"/>
              <a:gd name="connsiteY687" fmla="*/ 551732 h 1237129"/>
              <a:gd name="connsiteX688" fmla="*/ 1681592 w 3751729"/>
              <a:gd name="connsiteY688" fmla="*/ 551732 h 1237129"/>
              <a:gd name="connsiteX689" fmla="*/ 1699807 w 3751729"/>
              <a:gd name="connsiteY689" fmla="*/ 551732 h 1237129"/>
              <a:gd name="connsiteX690" fmla="*/ 1715560 w 3751729"/>
              <a:gd name="connsiteY690" fmla="*/ 552471 h 1237129"/>
              <a:gd name="connsiteX691" fmla="*/ 1722943 w 3751729"/>
              <a:gd name="connsiteY691" fmla="*/ 554194 h 1237129"/>
              <a:gd name="connsiteX692" fmla="*/ 1726634 w 3751729"/>
              <a:gd name="connsiteY692" fmla="*/ 554194 h 1237129"/>
              <a:gd name="connsiteX693" fmla="*/ 1721712 w 3751729"/>
              <a:gd name="connsiteY693" fmla="*/ 567732 h 1237129"/>
              <a:gd name="connsiteX694" fmla="*/ 1719253 w 3751729"/>
              <a:gd name="connsiteY694" fmla="*/ 582007 h 1237129"/>
              <a:gd name="connsiteX695" fmla="*/ 1716053 w 3751729"/>
              <a:gd name="connsiteY695" fmla="*/ 597022 h 1237129"/>
              <a:gd name="connsiteX696" fmla="*/ 1720975 w 3751729"/>
              <a:gd name="connsiteY696" fmla="*/ 599484 h 1237129"/>
              <a:gd name="connsiteX697" fmla="*/ 1721712 w 3751729"/>
              <a:gd name="connsiteY697" fmla="*/ 602930 h 1237129"/>
              <a:gd name="connsiteX698" fmla="*/ 1724912 w 3751729"/>
              <a:gd name="connsiteY698" fmla="*/ 605392 h 1237129"/>
              <a:gd name="connsiteX699" fmla="*/ 1726634 w 3751729"/>
              <a:gd name="connsiteY699" fmla="*/ 607115 h 1237129"/>
              <a:gd name="connsiteX700" fmla="*/ 1729096 w 3751729"/>
              <a:gd name="connsiteY700" fmla="*/ 609576 h 1237129"/>
              <a:gd name="connsiteX701" fmla="*/ 1738943 w 3751729"/>
              <a:gd name="connsiteY701" fmla="*/ 613022 h 1237129"/>
              <a:gd name="connsiteX702" fmla="*/ 1750512 w 3751729"/>
              <a:gd name="connsiteY702" fmla="*/ 613022 h 1237129"/>
              <a:gd name="connsiteX703" fmla="*/ 1762081 w 3751729"/>
              <a:gd name="connsiteY703" fmla="*/ 614746 h 1237129"/>
              <a:gd name="connsiteX704" fmla="*/ 1773650 w 3751729"/>
              <a:gd name="connsiteY704" fmla="*/ 620653 h 1237129"/>
              <a:gd name="connsiteX705" fmla="*/ 1776850 w 3751729"/>
              <a:gd name="connsiteY705" fmla="*/ 632469 h 1237129"/>
              <a:gd name="connsiteX706" fmla="*/ 1782512 w 3751729"/>
              <a:gd name="connsiteY706" fmla="*/ 634930 h 1237129"/>
              <a:gd name="connsiteX707" fmla="*/ 1790881 w 3751729"/>
              <a:gd name="connsiteY707" fmla="*/ 638376 h 1237129"/>
              <a:gd name="connsiteX708" fmla="*/ 1802451 w 3751729"/>
              <a:gd name="connsiteY708" fmla="*/ 640837 h 1237129"/>
              <a:gd name="connsiteX709" fmla="*/ 1812296 w 3751729"/>
              <a:gd name="connsiteY709" fmla="*/ 644283 h 1237129"/>
              <a:gd name="connsiteX710" fmla="*/ 1817958 w 3751729"/>
              <a:gd name="connsiteY710" fmla="*/ 645022 h 1237129"/>
              <a:gd name="connsiteX711" fmla="*/ 1819681 w 3751729"/>
              <a:gd name="connsiteY711" fmla="*/ 636653 h 1237129"/>
              <a:gd name="connsiteX712" fmla="*/ 1822881 w 3751729"/>
              <a:gd name="connsiteY712" fmla="*/ 629022 h 1237129"/>
              <a:gd name="connsiteX713" fmla="*/ 1825342 w 3751729"/>
              <a:gd name="connsiteY713" fmla="*/ 621392 h 1237129"/>
              <a:gd name="connsiteX714" fmla="*/ 1834450 w 3751729"/>
              <a:gd name="connsiteY714" fmla="*/ 615484 h 1237129"/>
              <a:gd name="connsiteX715" fmla="*/ 1846757 w 3751729"/>
              <a:gd name="connsiteY715" fmla="*/ 613022 h 1237129"/>
              <a:gd name="connsiteX716" fmla="*/ 1858327 w 3751729"/>
              <a:gd name="connsiteY716" fmla="*/ 615484 h 1237129"/>
              <a:gd name="connsiteX717" fmla="*/ 1869895 w 3751729"/>
              <a:gd name="connsiteY717" fmla="*/ 621392 h 1237129"/>
              <a:gd name="connsiteX718" fmla="*/ 1881465 w 3751729"/>
              <a:gd name="connsiteY718" fmla="*/ 626315 h 1237129"/>
              <a:gd name="connsiteX719" fmla="*/ 1887126 w 3751729"/>
              <a:gd name="connsiteY719" fmla="*/ 627053 h 1237129"/>
              <a:gd name="connsiteX720" fmla="*/ 1898695 w 3751729"/>
              <a:gd name="connsiteY720" fmla="*/ 628776 h 1237129"/>
              <a:gd name="connsiteX721" fmla="*/ 1910265 w 3751729"/>
              <a:gd name="connsiteY721" fmla="*/ 632222 h 1237129"/>
              <a:gd name="connsiteX722" fmla="*/ 1921834 w 3751729"/>
              <a:gd name="connsiteY722" fmla="*/ 632961 h 1237129"/>
              <a:gd name="connsiteX723" fmla="*/ 1930941 w 3751729"/>
              <a:gd name="connsiteY723" fmla="*/ 634684 h 1237129"/>
              <a:gd name="connsiteX724" fmla="*/ 1935126 w 3751729"/>
              <a:gd name="connsiteY724" fmla="*/ 636407 h 1237129"/>
              <a:gd name="connsiteX725" fmla="*/ 1937587 w 3751729"/>
              <a:gd name="connsiteY725" fmla="*/ 634684 h 1237129"/>
              <a:gd name="connsiteX726" fmla="*/ 1939311 w 3751729"/>
              <a:gd name="connsiteY726" fmla="*/ 632222 h 1237129"/>
              <a:gd name="connsiteX727" fmla="*/ 1941034 w 3751729"/>
              <a:gd name="connsiteY727" fmla="*/ 630499 h 1237129"/>
              <a:gd name="connsiteX728" fmla="*/ 1943495 w 3751729"/>
              <a:gd name="connsiteY728" fmla="*/ 627053 h 1237129"/>
              <a:gd name="connsiteX729" fmla="*/ 1946695 w 3751729"/>
              <a:gd name="connsiteY729" fmla="*/ 626315 h 1237129"/>
              <a:gd name="connsiteX730" fmla="*/ 1949156 w 3751729"/>
              <a:gd name="connsiteY730" fmla="*/ 626315 h 1237129"/>
              <a:gd name="connsiteX731" fmla="*/ 1953342 w 3751729"/>
              <a:gd name="connsiteY731" fmla="*/ 626315 h 1237129"/>
              <a:gd name="connsiteX732" fmla="*/ 1964172 w 3751729"/>
              <a:gd name="connsiteY732" fmla="*/ 628776 h 1237129"/>
              <a:gd name="connsiteX733" fmla="*/ 1972541 w 3751729"/>
              <a:gd name="connsiteY733" fmla="*/ 632961 h 1237129"/>
              <a:gd name="connsiteX734" fmla="*/ 1982387 w 3751729"/>
              <a:gd name="connsiteY734" fmla="*/ 632222 h 1237129"/>
              <a:gd name="connsiteX735" fmla="*/ 1993217 w 3751729"/>
              <a:gd name="connsiteY735" fmla="*/ 628776 h 1237129"/>
              <a:gd name="connsiteX736" fmla="*/ 1993956 w 3751729"/>
              <a:gd name="connsiteY736" fmla="*/ 616960 h 1237129"/>
              <a:gd name="connsiteX737" fmla="*/ 1999618 w 3751729"/>
              <a:gd name="connsiteY737" fmla="*/ 602684 h 1237129"/>
              <a:gd name="connsiteX738" fmla="*/ 2004541 w 3751729"/>
              <a:gd name="connsiteY738" fmla="*/ 589145 h 1237129"/>
              <a:gd name="connsiteX739" fmla="*/ 2006018 w 3751729"/>
              <a:gd name="connsiteY739" fmla="*/ 577823 h 1237129"/>
              <a:gd name="connsiteX740" fmla="*/ 2003556 w 3751729"/>
              <a:gd name="connsiteY740" fmla="*/ 567732 h 1237129"/>
              <a:gd name="connsiteX741" fmla="*/ 2001834 w 3751729"/>
              <a:gd name="connsiteY741" fmla="*/ 564286 h 1237129"/>
              <a:gd name="connsiteX742" fmla="*/ 2001834 w 3751729"/>
              <a:gd name="connsiteY742" fmla="*/ 561825 h 1237129"/>
              <a:gd name="connsiteX743" fmla="*/ 2000110 w 3751729"/>
              <a:gd name="connsiteY743" fmla="*/ 560102 h 1237129"/>
              <a:gd name="connsiteX744" fmla="*/ 1998388 w 3751729"/>
              <a:gd name="connsiteY744" fmla="*/ 558378 h 1237129"/>
              <a:gd name="connsiteX745" fmla="*/ 1995925 w 3751729"/>
              <a:gd name="connsiteY745" fmla="*/ 558378 h 1237129"/>
              <a:gd name="connsiteX746" fmla="*/ 1992725 w 3751729"/>
              <a:gd name="connsiteY746" fmla="*/ 558378 h 1237129"/>
              <a:gd name="connsiteX747" fmla="*/ 1987064 w 3751729"/>
              <a:gd name="connsiteY747" fmla="*/ 558378 h 1237129"/>
              <a:gd name="connsiteX748" fmla="*/ 1980418 w 3751729"/>
              <a:gd name="connsiteY748" fmla="*/ 564286 h 1237129"/>
              <a:gd name="connsiteX749" fmla="*/ 1974756 w 3751729"/>
              <a:gd name="connsiteY749" fmla="*/ 566009 h 1237129"/>
              <a:gd name="connsiteX750" fmla="*/ 1969094 w 3751729"/>
              <a:gd name="connsiteY750" fmla="*/ 564286 h 1237129"/>
              <a:gd name="connsiteX751" fmla="*/ 1963433 w 3751729"/>
              <a:gd name="connsiteY751" fmla="*/ 561825 h 1237129"/>
              <a:gd name="connsiteX752" fmla="*/ 1956049 w 3751729"/>
              <a:gd name="connsiteY752" fmla="*/ 558378 h 1237129"/>
              <a:gd name="connsiteX753" fmla="*/ 1951864 w 3751729"/>
              <a:gd name="connsiteY753" fmla="*/ 557640 h 1237129"/>
              <a:gd name="connsiteX754" fmla="*/ 1948665 w 3751729"/>
              <a:gd name="connsiteY754" fmla="*/ 558378 h 1237129"/>
              <a:gd name="connsiteX755" fmla="*/ 1944480 w 3751729"/>
              <a:gd name="connsiteY755" fmla="*/ 560102 h 1237129"/>
              <a:gd name="connsiteX756" fmla="*/ 1942757 w 3751729"/>
              <a:gd name="connsiteY756" fmla="*/ 563548 h 1237129"/>
              <a:gd name="connsiteX757" fmla="*/ 1940295 w 3751729"/>
              <a:gd name="connsiteY757" fmla="*/ 566009 h 1237129"/>
              <a:gd name="connsiteX758" fmla="*/ 1937095 w 3751729"/>
              <a:gd name="connsiteY758" fmla="*/ 567732 h 1237129"/>
              <a:gd name="connsiteX759" fmla="*/ 1924788 w 3751729"/>
              <a:gd name="connsiteY759" fmla="*/ 564286 h 1237129"/>
              <a:gd name="connsiteX760" fmla="*/ 1911496 w 3751729"/>
              <a:gd name="connsiteY760" fmla="*/ 555917 h 1237129"/>
              <a:gd name="connsiteX761" fmla="*/ 1901649 w 3751729"/>
              <a:gd name="connsiteY761" fmla="*/ 542379 h 1237129"/>
              <a:gd name="connsiteX762" fmla="*/ 1896726 w 3751729"/>
              <a:gd name="connsiteY762" fmla="*/ 528840 h 1237129"/>
              <a:gd name="connsiteX763" fmla="*/ 1896726 w 3751729"/>
              <a:gd name="connsiteY763" fmla="*/ 526378 h 1237129"/>
              <a:gd name="connsiteX764" fmla="*/ 1896726 w 3751729"/>
              <a:gd name="connsiteY764" fmla="*/ 522932 h 1237129"/>
              <a:gd name="connsiteX765" fmla="*/ 1896726 w 3751729"/>
              <a:gd name="connsiteY765" fmla="*/ 520471 h 1237129"/>
              <a:gd name="connsiteX766" fmla="*/ 1896726 w 3751729"/>
              <a:gd name="connsiteY766" fmla="*/ 517025 h 1237129"/>
              <a:gd name="connsiteX767" fmla="*/ 1896726 w 3751729"/>
              <a:gd name="connsiteY767" fmla="*/ 514563 h 1237129"/>
              <a:gd name="connsiteX768" fmla="*/ 1898449 w 3751729"/>
              <a:gd name="connsiteY768" fmla="*/ 511117 h 1237129"/>
              <a:gd name="connsiteX769" fmla="*/ 1900173 w 3751729"/>
              <a:gd name="connsiteY769" fmla="*/ 506933 h 1237129"/>
              <a:gd name="connsiteX770" fmla="*/ 1896973 w 3751729"/>
              <a:gd name="connsiteY770" fmla="*/ 504471 h 1237129"/>
              <a:gd name="connsiteX771" fmla="*/ 1894510 w 3751729"/>
              <a:gd name="connsiteY771" fmla="*/ 502749 h 1237129"/>
              <a:gd name="connsiteX772" fmla="*/ 1892788 w 3751729"/>
              <a:gd name="connsiteY772" fmla="*/ 501025 h 1237129"/>
              <a:gd name="connsiteX773" fmla="*/ 1891064 w 3751729"/>
              <a:gd name="connsiteY773" fmla="*/ 499302 h 1237129"/>
              <a:gd name="connsiteX774" fmla="*/ 1888603 w 3751729"/>
              <a:gd name="connsiteY774" fmla="*/ 498563 h 1237129"/>
              <a:gd name="connsiteX775" fmla="*/ 1884418 w 3751729"/>
              <a:gd name="connsiteY775" fmla="*/ 496840 h 1237129"/>
              <a:gd name="connsiteX776" fmla="*/ 1882696 w 3751729"/>
              <a:gd name="connsiteY776" fmla="*/ 495118 h 1237129"/>
              <a:gd name="connsiteX777" fmla="*/ 1880972 w 3751729"/>
              <a:gd name="connsiteY777" fmla="*/ 495118 h 1237129"/>
              <a:gd name="connsiteX778" fmla="*/ 1879250 w 3751729"/>
              <a:gd name="connsiteY778" fmla="*/ 493394 h 1237129"/>
              <a:gd name="connsiteX779" fmla="*/ 1876787 w 3751729"/>
              <a:gd name="connsiteY779" fmla="*/ 493394 h 1237129"/>
              <a:gd name="connsiteX780" fmla="*/ 1873588 w 3751729"/>
              <a:gd name="connsiteY780" fmla="*/ 493394 h 1237129"/>
              <a:gd name="connsiteX781" fmla="*/ 1873588 w 3751729"/>
              <a:gd name="connsiteY781" fmla="*/ 496840 h 1237129"/>
              <a:gd name="connsiteX782" fmla="*/ 1871126 w 3751729"/>
              <a:gd name="connsiteY782" fmla="*/ 496840 h 1237129"/>
              <a:gd name="connsiteX783" fmla="*/ 1871126 w 3751729"/>
              <a:gd name="connsiteY783" fmla="*/ 501025 h 1237129"/>
              <a:gd name="connsiteX784" fmla="*/ 1872850 w 3751729"/>
              <a:gd name="connsiteY784" fmla="*/ 504471 h 1237129"/>
              <a:gd name="connsiteX785" fmla="*/ 1872850 w 3751729"/>
              <a:gd name="connsiteY785" fmla="*/ 505209 h 1237129"/>
              <a:gd name="connsiteX786" fmla="*/ 1872850 w 3751729"/>
              <a:gd name="connsiteY786" fmla="*/ 506933 h 1237129"/>
              <a:gd name="connsiteX787" fmla="*/ 1871126 w 3751729"/>
              <a:gd name="connsiteY787" fmla="*/ 508655 h 1237129"/>
              <a:gd name="connsiteX788" fmla="*/ 1869404 w 3751729"/>
              <a:gd name="connsiteY788" fmla="*/ 508655 h 1237129"/>
              <a:gd name="connsiteX789" fmla="*/ 1866942 w 3751729"/>
              <a:gd name="connsiteY789" fmla="*/ 508655 h 1237129"/>
              <a:gd name="connsiteX790" fmla="*/ 1861280 w 3751729"/>
              <a:gd name="connsiteY790" fmla="*/ 510380 h 1237129"/>
              <a:gd name="connsiteX791" fmla="*/ 1859557 w 3751729"/>
              <a:gd name="connsiteY791" fmla="*/ 506933 h 1237129"/>
              <a:gd name="connsiteX792" fmla="*/ 1857834 w 3751729"/>
              <a:gd name="connsiteY792" fmla="*/ 505209 h 1237129"/>
              <a:gd name="connsiteX793" fmla="*/ 1857834 w 3751729"/>
              <a:gd name="connsiteY793" fmla="*/ 504471 h 1237129"/>
              <a:gd name="connsiteX794" fmla="*/ 1855373 w 3751729"/>
              <a:gd name="connsiteY794" fmla="*/ 502749 h 1237129"/>
              <a:gd name="connsiteX795" fmla="*/ 1855373 w 3751729"/>
              <a:gd name="connsiteY795" fmla="*/ 506687 h 1237129"/>
              <a:gd name="connsiteX796" fmla="*/ 1862757 w 3751729"/>
              <a:gd name="connsiteY796" fmla="*/ 515794 h 1237129"/>
              <a:gd name="connsiteX797" fmla="*/ 1868419 w 3751729"/>
              <a:gd name="connsiteY797" fmla="*/ 528347 h 1237129"/>
              <a:gd name="connsiteX798" fmla="*/ 1870880 w 3751729"/>
              <a:gd name="connsiteY798" fmla="*/ 541887 h 1237129"/>
              <a:gd name="connsiteX799" fmla="*/ 1866695 w 3751729"/>
              <a:gd name="connsiteY799" fmla="*/ 545333 h 1237129"/>
              <a:gd name="connsiteX800" fmla="*/ 1863495 w 3751729"/>
              <a:gd name="connsiteY800" fmla="*/ 546071 h 1237129"/>
              <a:gd name="connsiteX801" fmla="*/ 1862757 w 3751729"/>
              <a:gd name="connsiteY801" fmla="*/ 549517 h 1237129"/>
              <a:gd name="connsiteX802" fmla="*/ 1861034 w 3751729"/>
              <a:gd name="connsiteY802" fmla="*/ 551979 h 1237129"/>
              <a:gd name="connsiteX803" fmla="*/ 1861034 w 3751729"/>
              <a:gd name="connsiteY803" fmla="*/ 553701 h 1237129"/>
              <a:gd name="connsiteX804" fmla="*/ 1859311 w 3751729"/>
              <a:gd name="connsiteY804" fmla="*/ 557147 h 1237129"/>
              <a:gd name="connsiteX805" fmla="*/ 1857589 w 3751729"/>
              <a:gd name="connsiteY805" fmla="*/ 557887 h 1237129"/>
              <a:gd name="connsiteX806" fmla="*/ 1853403 w 3751729"/>
              <a:gd name="connsiteY806" fmla="*/ 559610 h 1237129"/>
              <a:gd name="connsiteX807" fmla="*/ 1849218 w 3751729"/>
              <a:gd name="connsiteY807" fmla="*/ 561332 h 1237129"/>
              <a:gd name="connsiteX808" fmla="*/ 1847496 w 3751729"/>
              <a:gd name="connsiteY808" fmla="*/ 559610 h 1237129"/>
              <a:gd name="connsiteX809" fmla="*/ 1845772 w 3751729"/>
              <a:gd name="connsiteY809" fmla="*/ 559610 h 1237129"/>
              <a:gd name="connsiteX810" fmla="*/ 1845034 w 3751729"/>
              <a:gd name="connsiteY810" fmla="*/ 557887 h 1237129"/>
              <a:gd name="connsiteX811" fmla="*/ 1841834 w 3751729"/>
              <a:gd name="connsiteY811" fmla="*/ 557887 h 1237129"/>
              <a:gd name="connsiteX812" fmla="*/ 1828542 w 3751729"/>
              <a:gd name="connsiteY812" fmla="*/ 518501 h 1237129"/>
              <a:gd name="connsiteX813" fmla="*/ 1826081 w 3751729"/>
              <a:gd name="connsiteY813" fmla="*/ 516779 h 1237129"/>
              <a:gd name="connsiteX814" fmla="*/ 1822881 w 3751729"/>
              <a:gd name="connsiteY814" fmla="*/ 514317 h 1237129"/>
              <a:gd name="connsiteX815" fmla="*/ 1818696 w 3751729"/>
              <a:gd name="connsiteY815" fmla="*/ 510871 h 1237129"/>
              <a:gd name="connsiteX816" fmla="*/ 1816235 w 3751729"/>
              <a:gd name="connsiteY816" fmla="*/ 510133 h 1237129"/>
              <a:gd name="connsiteX817" fmla="*/ 1813035 w 3751729"/>
              <a:gd name="connsiteY817" fmla="*/ 506687 h 1237129"/>
              <a:gd name="connsiteX818" fmla="*/ 1811312 w 3751729"/>
              <a:gd name="connsiteY818" fmla="*/ 498318 h 1237129"/>
              <a:gd name="connsiteX819" fmla="*/ 1813035 w 3751729"/>
              <a:gd name="connsiteY819" fmla="*/ 490687 h 1237129"/>
              <a:gd name="connsiteX820" fmla="*/ 1814757 w 3751729"/>
              <a:gd name="connsiteY820" fmla="*/ 484779 h 1237129"/>
              <a:gd name="connsiteX821" fmla="*/ 1814757 w 3751729"/>
              <a:gd name="connsiteY821" fmla="*/ 478871 h 1237129"/>
              <a:gd name="connsiteX822" fmla="*/ 1810572 w 3751729"/>
              <a:gd name="connsiteY822" fmla="*/ 474687 h 1237129"/>
              <a:gd name="connsiteX823" fmla="*/ 1799742 w 3751729"/>
              <a:gd name="connsiteY823" fmla="*/ 467056 h 1237129"/>
              <a:gd name="connsiteX824" fmla="*/ 1791374 w 3751729"/>
              <a:gd name="connsiteY824" fmla="*/ 462871 h 1237129"/>
              <a:gd name="connsiteX825" fmla="*/ 1783988 w 3751729"/>
              <a:gd name="connsiteY825" fmla="*/ 461147 h 1237129"/>
              <a:gd name="connsiteX826" fmla="*/ 1777342 w 3751729"/>
              <a:gd name="connsiteY826" fmla="*/ 456964 h 1237129"/>
              <a:gd name="connsiteX827" fmla="*/ 1771681 w 3751729"/>
              <a:gd name="connsiteY827" fmla="*/ 447855 h 1237129"/>
              <a:gd name="connsiteX828" fmla="*/ 1766020 w 3751729"/>
              <a:gd name="connsiteY828" fmla="*/ 431856 h 1237129"/>
              <a:gd name="connsiteX829" fmla="*/ 1754450 w 3751729"/>
              <a:gd name="connsiteY829" fmla="*/ 435303 h 1237129"/>
              <a:gd name="connsiteX830" fmla="*/ 1752728 w 3751729"/>
              <a:gd name="connsiteY830" fmla="*/ 430379 h 1237129"/>
              <a:gd name="connsiteX831" fmla="*/ 1752728 w 3751729"/>
              <a:gd name="connsiteY831" fmla="*/ 427918 h 1237129"/>
              <a:gd name="connsiteX832" fmla="*/ 1751004 w 3751729"/>
              <a:gd name="connsiteY832" fmla="*/ 424472 h 1237129"/>
              <a:gd name="connsiteX833" fmla="*/ 761721 w 3751729"/>
              <a:gd name="connsiteY833" fmla="*/ 418564 h 1237129"/>
              <a:gd name="connsiteX834" fmla="*/ 761599 w 3751729"/>
              <a:gd name="connsiteY834" fmla="*/ 418810 h 1237129"/>
              <a:gd name="connsiteX835" fmla="*/ 763935 w 3751729"/>
              <a:gd name="connsiteY835" fmla="*/ 418810 h 1237129"/>
              <a:gd name="connsiteX836" fmla="*/ 763935 w 3751729"/>
              <a:gd name="connsiteY836" fmla="*/ 418811 h 1237129"/>
              <a:gd name="connsiteX837" fmla="*/ 763936 w 3751729"/>
              <a:gd name="connsiteY837" fmla="*/ 418811 h 1237129"/>
              <a:gd name="connsiteX838" fmla="*/ 763198 w 3751729"/>
              <a:gd name="connsiteY838" fmla="*/ 422257 h 1237129"/>
              <a:gd name="connsiteX839" fmla="*/ 763445 w 3751729"/>
              <a:gd name="connsiteY839" fmla="*/ 422010 h 1237129"/>
              <a:gd name="connsiteX840" fmla="*/ 764184 w 3751729"/>
              <a:gd name="connsiteY840" fmla="*/ 418564 h 1237129"/>
              <a:gd name="connsiteX841" fmla="*/ 1948172 w 3751729"/>
              <a:gd name="connsiteY841" fmla="*/ 406502 h 1237129"/>
              <a:gd name="connsiteX842" fmla="*/ 1944972 w 3751729"/>
              <a:gd name="connsiteY842" fmla="*/ 413148 h 1237129"/>
              <a:gd name="connsiteX843" fmla="*/ 1939311 w 3751729"/>
              <a:gd name="connsiteY843" fmla="*/ 423979 h 1237129"/>
              <a:gd name="connsiteX844" fmla="*/ 1931926 w 3751729"/>
              <a:gd name="connsiteY844" fmla="*/ 435794 h 1237129"/>
              <a:gd name="connsiteX845" fmla="*/ 1925280 w 3751729"/>
              <a:gd name="connsiteY845" fmla="*/ 447610 h 1237129"/>
              <a:gd name="connsiteX846" fmla="*/ 1919618 w 3751729"/>
              <a:gd name="connsiteY846" fmla="*/ 457702 h 1237129"/>
              <a:gd name="connsiteX847" fmla="*/ 1916418 w 3751729"/>
              <a:gd name="connsiteY847" fmla="*/ 466071 h 1237129"/>
              <a:gd name="connsiteX848" fmla="*/ 1916418 w 3751729"/>
              <a:gd name="connsiteY848" fmla="*/ 470994 h 1237129"/>
              <a:gd name="connsiteX849" fmla="*/ 1918142 w 3751729"/>
              <a:gd name="connsiteY849" fmla="*/ 476902 h 1237129"/>
              <a:gd name="connsiteX850" fmla="*/ 1918142 w 3751729"/>
              <a:gd name="connsiteY850" fmla="*/ 479363 h 1237129"/>
              <a:gd name="connsiteX851" fmla="*/ 1919864 w 3751729"/>
              <a:gd name="connsiteY851" fmla="*/ 482810 h 1237129"/>
              <a:gd name="connsiteX852" fmla="*/ 1922326 w 3751729"/>
              <a:gd name="connsiteY852" fmla="*/ 483548 h 1237129"/>
              <a:gd name="connsiteX853" fmla="*/ 1925526 w 3751729"/>
              <a:gd name="connsiteY853" fmla="*/ 485271 h 1237129"/>
              <a:gd name="connsiteX854" fmla="*/ 1929710 w 3751729"/>
              <a:gd name="connsiteY854" fmla="*/ 486994 h 1237129"/>
              <a:gd name="connsiteX855" fmla="*/ 1941280 w 3751729"/>
              <a:gd name="connsiteY855" fmla="*/ 491179 h 1237129"/>
              <a:gd name="connsiteX856" fmla="*/ 1952849 w 3751729"/>
              <a:gd name="connsiteY856" fmla="*/ 489456 h 1237129"/>
              <a:gd name="connsiteX857" fmla="*/ 1962695 w 3751729"/>
              <a:gd name="connsiteY857" fmla="*/ 485271 h 1237129"/>
              <a:gd name="connsiteX858" fmla="*/ 1974265 w 3751729"/>
              <a:gd name="connsiteY858" fmla="*/ 479363 h 1237129"/>
              <a:gd name="connsiteX859" fmla="*/ 1985833 w 3751729"/>
              <a:gd name="connsiteY859" fmla="*/ 477640 h 1237129"/>
              <a:gd name="connsiteX860" fmla="*/ 1997403 w 3751729"/>
              <a:gd name="connsiteY860" fmla="*/ 477640 h 1237129"/>
              <a:gd name="connsiteX861" fmla="*/ 2004787 w 3751729"/>
              <a:gd name="connsiteY861" fmla="*/ 482563 h 1237129"/>
              <a:gd name="connsiteX862" fmla="*/ 2010448 w 3751729"/>
              <a:gd name="connsiteY862" fmla="*/ 486748 h 1237129"/>
              <a:gd name="connsiteX863" fmla="*/ 2017094 w 3751729"/>
              <a:gd name="connsiteY863" fmla="*/ 489210 h 1237129"/>
              <a:gd name="connsiteX864" fmla="*/ 2034325 w 3751729"/>
              <a:gd name="connsiteY864" fmla="*/ 492656 h 1237129"/>
              <a:gd name="connsiteX865" fmla="*/ 2051556 w 3751729"/>
              <a:gd name="connsiteY865" fmla="*/ 490932 h 1237129"/>
              <a:gd name="connsiteX866" fmla="*/ 2067309 w 3751729"/>
              <a:gd name="connsiteY866" fmla="*/ 486748 h 1237129"/>
              <a:gd name="connsiteX867" fmla="*/ 2071740 w 3751729"/>
              <a:gd name="connsiteY867" fmla="*/ 477887 h 1237129"/>
              <a:gd name="connsiteX868" fmla="*/ 2066818 w 3751729"/>
              <a:gd name="connsiteY868" fmla="*/ 477887 h 1237129"/>
              <a:gd name="connsiteX869" fmla="*/ 2060171 w 3751729"/>
              <a:gd name="connsiteY869" fmla="*/ 466071 h 1237129"/>
              <a:gd name="connsiteX870" fmla="*/ 2048601 w 3751729"/>
              <a:gd name="connsiteY870" fmla="*/ 455979 h 1237129"/>
              <a:gd name="connsiteX871" fmla="*/ 2032110 w 3751729"/>
              <a:gd name="connsiteY871" fmla="*/ 445887 h 1237129"/>
              <a:gd name="connsiteX872" fmla="*/ 2016356 w 3751729"/>
              <a:gd name="connsiteY872" fmla="*/ 436778 h 1237129"/>
              <a:gd name="connsiteX873" fmla="*/ 2004049 w 3751729"/>
              <a:gd name="connsiteY873" fmla="*/ 432595 h 1237129"/>
              <a:gd name="connsiteX874" fmla="*/ 1996663 w 3751729"/>
              <a:gd name="connsiteY874" fmla="*/ 438502 h 1237129"/>
              <a:gd name="connsiteX875" fmla="*/ 1986818 w 3751729"/>
              <a:gd name="connsiteY875" fmla="*/ 442687 h 1237129"/>
              <a:gd name="connsiteX876" fmla="*/ 1979433 w 3751729"/>
              <a:gd name="connsiteY876" fmla="*/ 441949 h 1237129"/>
              <a:gd name="connsiteX877" fmla="*/ 1975249 w 3751729"/>
              <a:gd name="connsiteY877" fmla="*/ 436041 h 1237129"/>
              <a:gd name="connsiteX878" fmla="*/ 1969587 w 3751729"/>
              <a:gd name="connsiteY878" fmla="*/ 430133 h 1237129"/>
              <a:gd name="connsiteX879" fmla="*/ 1966388 w 3751729"/>
              <a:gd name="connsiteY879" fmla="*/ 422502 h 1237129"/>
              <a:gd name="connsiteX880" fmla="*/ 1976233 w 3751729"/>
              <a:gd name="connsiteY880" fmla="*/ 419056 h 1237129"/>
              <a:gd name="connsiteX881" fmla="*/ 1975495 w 3751729"/>
              <a:gd name="connsiteY881" fmla="*/ 418318 h 1237129"/>
              <a:gd name="connsiteX882" fmla="*/ 1973772 w 3751729"/>
              <a:gd name="connsiteY882" fmla="*/ 418318 h 1237129"/>
              <a:gd name="connsiteX883" fmla="*/ 1972049 w 3751729"/>
              <a:gd name="connsiteY883" fmla="*/ 418318 h 1237129"/>
              <a:gd name="connsiteX884" fmla="*/ 1969587 w 3751729"/>
              <a:gd name="connsiteY884" fmla="*/ 416595 h 1237129"/>
              <a:gd name="connsiteX885" fmla="*/ 1964664 w 3751729"/>
              <a:gd name="connsiteY885" fmla="*/ 412410 h 1237129"/>
              <a:gd name="connsiteX886" fmla="*/ 1960480 w 3751729"/>
              <a:gd name="connsiteY886" fmla="*/ 410687 h 1237129"/>
              <a:gd name="connsiteX887" fmla="*/ 1954818 w 3751729"/>
              <a:gd name="connsiteY887" fmla="*/ 408224 h 1237129"/>
              <a:gd name="connsiteX888" fmla="*/ 2179063 w 3751729"/>
              <a:gd name="connsiteY888" fmla="*/ 402318 h 1237129"/>
              <a:gd name="connsiteX889" fmla="*/ 2169955 w 3751729"/>
              <a:gd name="connsiteY889" fmla="*/ 409949 h 1237129"/>
              <a:gd name="connsiteX890" fmla="*/ 2160109 w 3751729"/>
              <a:gd name="connsiteY890" fmla="*/ 414133 h 1237129"/>
              <a:gd name="connsiteX891" fmla="*/ 2150263 w 3751729"/>
              <a:gd name="connsiteY891" fmla="*/ 418318 h 1237129"/>
              <a:gd name="connsiteX892" fmla="*/ 2141155 w 3751729"/>
              <a:gd name="connsiteY892" fmla="*/ 425948 h 1237129"/>
              <a:gd name="connsiteX893" fmla="*/ 2135494 w 3751729"/>
              <a:gd name="connsiteY893" fmla="*/ 435056 h 1237129"/>
              <a:gd name="connsiteX894" fmla="*/ 2133032 w 3751729"/>
              <a:gd name="connsiteY894" fmla="*/ 447610 h 1237129"/>
              <a:gd name="connsiteX895" fmla="*/ 2137217 w 3751729"/>
              <a:gd name="connsiteY895" fmla="*/ 461147 h 1237129"/>
              <a:gd name="connsiteX896" fmla="*/ 2146324 w 3751729"/>
              <a:gd name="connsiteY896" fmla="*/ 474687 h 1237129"/>
              <a:gd name="connsiteX897" fmla="*/ 2154694 w 3751729"/>
              <a:gd name="connsiteY897" fmla="*/ 488225 h 1237129"/>
              <a:gd name="connsiteX898" fmla="*/ 2164540 w 3751729"/>
              <a:gd name="connsiteY898" fmla="*/ 499056 h 1237129"/>
              <a:gd name="connsiteX899" fmla="*/ 2170202 w 3751729"/>
              <a:gd name="connsiteY899" fmla="*/ 509887 h 1237129"/>
              <a:gd name="connsiteX900" fmla="*/ 2160356 w 3751729"/>
              <a:gd name="connsiteY900" fmla="*/ 509887 h 1237129"/>
              <a:gd name="connsiteX901" fmla="*/ 2160356 w 3751729"/>
              <a:gd name="connsiteY901" fmla="*/ 528347 h 1237129"/>
              <a:gd name="connsiteX902" fmla="*/ 2163556 w 3751729"/>
              <a:gd name="connsiteY902" fmla="*/ 541887 h 1237129"/>
              <a:gd name="connsiteX903" fmla="*/ 2171924 w 3751729"/>
              <a:gd name="connsiteY903" fmla="*/ 549517 h 1237129"/>
              <a:gd name="connsiteX904" fmla="*/ 2186694 w 3751729"/>
              <a:gd name="connsiteY904" fmla="*/ 551979 h 1237129"/>
              <a:gd name="connsiteX905" fmla="*/ 2208108 w 3751729"/>
              <a:gd name="connsiteY905" fmla="*/ 551241 h 1237129"/>
              <a:gd name="connsiteX906" fmla="*/ 2206385 w 3751729"/>
              <a:gd name="connsiteY906" fmla="*/ 534502 h 1237129"/>
              <a:gd name="connsiteX907" fmla="*/ 2203185 w 3751729"/>
              <a:gd name="connsiteY907" fmla="*/ 524410 h 1237129"/>
              <a:gd name="connsiteX908" fmla="*/ 2199002 w 3751729"/>
              <a:gd name="connsiteY908" fmla="*/ 516041 h 1237129"/>
              <a:gd name="connsiteX909" fmla="*/ 2197278 w 3751729"/>
              <a:gd name="connsiteY909" fmla="*/ 506933 h 1237129"/>
              <a:gd name="connsiteX910" fmla="*/ 2199002 w 3751729"/>
              <a:gd name="connsiteY910" fmla="*/ 493394 h 1237129"/>
              <a:gd name="connsiteX911" fmla="*/ 2202201 w 3751729"/>
              <a:gd name="connsiteY911" fmla="*/ 495118 h 1237129"/>
              <a:gd name="connsiteX912" fmla="*/ 2204663 w 3751729"/>
              <a:gd name="connsiteY912" fmla="*/ 495118 h 1237129"/>
              <a:gd name="connsiteX913" fmla="*/ 2207863 w 3751729"/>
              <a:gd name="connsiteY913" fmla="*/ 495118 h 1237129"/>
              <a:gd name="connsiteX914" fmla="*/ 2210323 w 3751729"/>
              <a:gd name="connsiteY914" fmla="*/ 495118 h 1237129"/>
              <a:gd name="connsiteX915" fmla="*/ 2214509 w 3751729"/>
              <a:gd name="connsiteY915" fmla="*/ 493147 h 1237129"/>
              <a:gd name="connsiteX916" fmla="*/ 2212047 w 3751729"/>
              <a:gd name="connsiteY916" fmla="*/ 490687 h 1237129"/>
              <a:gd name="connsiteX917" fmla="*/ 2208848 w 3751729"/>
              <a:gd name="connsiteY917" fmla="*/ 488964 h 1237129"/>
              <a:gd name="connsiteX918" fmla="*/ 2208108 w 3751729"/>
              <a:gd name="connsiteY918" fmla="*/ 488225 h 1237129"/>
              <a:gd name="connsiteX919" fmla="*/ 2204909 w 3751729"/>
              <a:gd name="connsiteY919" fmla="*/ 484779 h 1237129"/>
              <a:gd name="connsiteX920" fmla="*/ 2202447 w 3751729"/>
              <a:gd name="connsiteY920" fmla="*/ 483055 h 1237129"/>
              <a:gd name="connsiteX921" fmla="*/ 2200724 w 3751729"/>
              <a:gd name="connsiteY921" fmla="*/ 484779 h 1237129"/>
              <a:gd name="connsiteX922" fmla="*/ 2200724 w 3751729"/>
              <a:gd name="connsiteY922" fmla="*/ 488225 h 1237129"/>
              <a:gd name="connsiteX923" fmla="*/ 2199002 w 3751729"/>
              <a:gd name="connsiteY923" fmla="*/ 490687 h 1237129"/>
              <a:gd name="connsiteX924" fmla="*/ 2199002 w 3751729"/>
              <a:gd name="connsiteY924" fmla="*/ 492410 h 1237129"/>
              <a:gd name="connsiteX925" fmla="*/ 2197278 w 3751729"/>
              <a:gd name="connsiteY925" fmla="*/ 493147 h 1237129"/>
              <a:gd name="connsiteX926" fmla="*/ 2196539 w 3751729"/>
              <a:gd name="connsiteY926" fmla="*/ 492410 h 1237129"/>
              <a:gd name="connsiteX927" fmla="*/ 2194816 w 3751729"/>
              <a:gd name="connsiteY927" fmla="*/ 488964 h 1237129"/>
              <a:gd name="connsiteX928" fmla="*/ 2190632 w 3751729"/>
              <a:gd name="connsiteY928" fmla="*/ 482317 h 1237129"/>
              <a:gd name="connsiteX929" fmla="*/ 2186447 w 3751729"/>
              <a:gd name="connsiteY929" fmla="*/ 474687 h 1237129"/>
              <a:gd name="connsiteX930" fmla="*/ 2187185 w 3751729"/>
              <a:gd name="connsiteY930" fmla="*/ 471241 h 1237129"/>
              <a:gd name="connsiteX931" fmla="*/ 2188909 w 3751729"/>
              <a:gd name="connsiteY931" fmla="*/ 471241 h 1237129"/>
              <a:gd name="connsiteX932" fmla="*/ 2190632 w 3751729"/>
              <a:gd name="connsiteY932" fmla="*/ 470502 h 1237129"/>
              <a:gd name="connsiteX933" fmla="*/ 2191371 w 3751729"/>
              <a:gd name="connsiteY933" fmla="*/ 467056 h 1237129"/>
              <a:gd name="connsiteX934" fmla="*/ 2179063 w 3751729"/>
              <a:gd name="connsiteY934" fmla="*/ 459425 h 1237129"/>
              <a:gd name="connsiteX935" fmla="*/ 2169217 w 3751729"/>
              <a:gd name="connsiteY935" fmla="*/ 447610 h 1237129"/>
              <a:gd name="connsiteX936" fmla="*/ 2163556 w 3751729"/>
              <a:gd name="connsiteY936" fmla="*/ 435056 h 1237129"/>
              <a:gd name="connsiteX937" fmla="*/ 2179309 w 3751729"/>
              <a:gd name="connsiteY937" fmla="*/ 433333 h 1237129"/>
              <a:gd name="connsiteX938" fmla="*/ 2190878 w 3751729"/>
              <a:gd name="connsiteY938" fmla="*/ 429148 h 1237129"/>
              <a:gd name="connsiteX939" fmla="*/ 2196539 w 3751729"/>
              <a:gd name="connsiteY939" fmla="*/ 418318 h 1237129"/>
              <a:gd name="connsiteX940" fmla="*/ 2199002 w 3751729"/>
              <a:gd name="connsiteY940" fmla="*/ 405764 h 1237129"/>
              <a:gd name="connsiteX941" fmla="*/ 2194816 w 3751729"/>
              <a:gd name="connsiteY941" fmla="*/ 404041 h 1237129"/>
              <a:gd name="connsiteX942" fmla="*/ 2190632 w 3751729"/>
              <a:gd name="connsiteY942" fmla="*/ 404041 h 1237129"/>
              <a:gd name="connsiteX943" fmla="*/ 2186447 w 3751729"/>
              <a:gd name="connsiteY943" fmla="*/ 402318 h 1237129"/>
              <a:gd name="connsiteX944" fmla="*/ 2024479 w 3751729"/>
              <a:gd name="connsiteY944" fmla="*/ 400349 h 1237129"/>
              <a:gd name="connsiteX945" fmla="*/ 2012911 w 3751729"/>
              <a:gd name="connsiteY945" fmla="*/ 406256 h 1237129"/>
              <a:gd name="connsiteX946" fmla="*/ 1998879 w 3751729"/>
              <a:gd name="connsiteY946" fmla="*/ 410440 h 1237129"/>
              <a:gd name="connsiteX947" fmla="*/ 1998879 w 3751729"/>
              <a:gd name="connsiteY947" fmla="*/ 422256 h 1237129"/>
              <a:gd name="connsiteX948" fmla="*/ 2004541 w 3751729"/>
              <a:gd name="connsiteY948" fmla="*/ 423979 h 1237129"/>
              <a:gd name="connsiteX949" fmla="*/ 2011187 w 3751729"/>
              <a:gd name="connsiteY949" fmla="*/ 424717 h 1237129"/>
              <a:gd name="connsiteX950" fmla="*/ 2020295 w 3751729"/>
              <a:gd name="connsiteY950" fmla="*/ 424717 h 1237129"/>
              <a:gd name="connsiteX951" fmla="*/ 2020295 w 3751729"/>
              <a:gd name="connsiteY951" fmla="*/ 418810 h 1237129"/>
              <a:gd name="connsiteX952" fmla="*/ 2022757 w 3751729"/>
              <a:gd name="connsiteY952" fmla="*/ 414626 h 1237129"/>
              <a:gd name="connsiteX953" fmla="*/ 2024479 w 3751729"/>
              <a:gd name="connsiteY953" fmla="*/ 410440 h 1237129"/>
              <a:gd name="connsiteX954" fmla="*/ 2024479 w 3751729"/>
              <a:gd name="connsiteY954" fmla="*/ 406256 h 1237129"/>
              <a:gd name="connsiteX955" fmla="*/ 2024479 w 3751729"/>
              <a:gd name="connsiteY955" fmla="*/ 402810 h 1237129"/>
              <a:gd name="connsiteX956" fmla="*/ 904489 w 3751729"/>
              <a:gd name="connsiteY956" fmla="*/ 392717 h 1237129"/>
              <a:gd name="connsiteX957" fmla="*/ 906951 w 3751729"/>
              <a:gd name="connsiteY957" fmla="*/ 400348 h 1237129"/>
              <a:gd name="connsiteX958" fmla="*/ 908427 w 3751729"/>
              <a:gd name="connsiteY958" fmla="*/ 410440 h 1237129"/>
              <a:gd name="connsiteX959" fmla="*/ 910151 w 3751729"/>
              <a:gd name="connsiteY959" fmla="*/ 418809 h 1237129"/>
              <a:gd name="connsiteX960" fmla="*/ 908427 w 3751729"/>
              <a:gd name="connsiteY960" fmla="*/ 420532 h 1237129"/>
              <a:gd name="connsiteX961" fmla="*/ 906951 w 3751729"/>
              <a:gd name="connsiteY961" fmla="*/ 420532 h 1237129"/>
              <a:gd name="connsiteX962" fmla="*/ 905966 w 3751729"/>
              <a:gd name="connsiteY962" fmla="*/ 420532 h 1237129"/>
              <a:gd name="connsiteX963" fmla="*/ 905966 w 3751729"/>
              <a:gd name="connsiteY963" fmla="*/ 422255 h 1237129"/>
              <a:gd name="connsiteX964" fmla="*/ 904489 w 3751729"/>
              <a:gd name="connsiteY964" fmla="*/ 422255 h 1237129"/>
              <a:gd name="connsiteX965" fmla="*/ 898581 w 3751729"/>
              <a:gd name="connsiteY965" fmla="*/ 422255 h 1237129"/>
              <a:gd name="connsiteX966" fmla="*/ 896858 w 3751729"/>
              <a:gd name="connsiteY966" fmla="*/ 420532 h 1237129"/>
              <a:gd name="connsiteX967" fmla="*/ 896858 w 3751729"/>
              <a:gd name="connsiteY967" fmla="*/ 418809 h 1237129"/>
              <a:gd name="connsiteX968" fmla="*/ 896858 w 3751729"/>
              <a:gd name="connsiteY968" fmla="*/ 418071 h 1237129"/>
              <a:gd name="connsiteX969" fmla="*/ 895381 w 3751729"/>
              <a:gd name="connsiteY969" fmla="*/ 418071 h 1237129"/>
              <a:gd name="connsiteX970" fmla="*/ 894396 w 3751729"/>
              <a:gd name="connsiteY970" fmla="*/ 416348 h 1237129"/>
              <a:gd name="connsiteX971" fmla="*/ 583999 w 3751729"/>
              <a:gd name="connsiteY971" fmla="*/ 365149 h 1237129"/>
              <a:gd name="connsiteX972" fmla="*/ 577353 w 3751729"/>
              <a:gd name="connsiteY972" fmla="*/ 375241 h 1237129"/>
              <a:gd name="connsiteX973" fmla="*/ 569969 w 3751729"/>
              <a:gd name="connsiteY973" fmla="*/ 384349 h 1237129"/>
              <a:gd name="connsiteX974" fmla="*/ 565784 w 3751729"/>
              <a:gd name="connsiteY974" fmla="*/ 396903 h 1237129"/>
              <a:gd name="connsiteX975" fmla="*/ 574153 w 3751729"/>
              <a:gd name="connsiteY975" fmla="*/ 396164 h 1237129"/>
              <a:gd name="connsiteX976" fmla="*/ 579815 w 3751729"/>
              <a:gd name="connsiteY976" fmla="*/ 398626 h 1237129"/>
              <a:gd name="connsiteX977" fmla="*/ 583999 w 3751729"/>
              <a:gd name="connsiteY977" fmla="*/ 402810 h 1237129"/>
              <a:gd name="connsiteX978" fmla="*/ 589661 w 3751729"/>
              <a:gd name="connsiteY978" fmla="*/ 410441 h 1237129"/>
              <a:gd name="connsiteX979" fmla="*/ 591385 w 3751729"/>
              <a:gd name="connsiteY979" fmla="*/ 404534 h 1237129"/>
              <a:gd name="connsiteX980" fmla="*/ 591385 w 3751729"/>
              <a:gd name="connsiteY980" fmla="*/ 400349 h 1237129"/>
              <a:gd name="connsiteX981" fmla="*/ 593107 w 3751729"/>
              <a:gd name="connsiteY981" fmla="*/ 396903 h 1237129"/>
              <a:gd name="connsiteX982" fmla="*/ 593107 w 3751729"/>
              <a:gd name="connsiteY982" fmla="*/ 392718 h 1237129"/>
              <a:gd name="connsiteX983" fmla="*/ 600491 w 3751729"/>
              <a:gd name="connsiteY983" fmla="*/ 392718 h 1237129"/>
              <a:gd name="connsiteX984" fmla="*/ 604677 w 3751729"/>
              <a:gd name="connsiteY984" fmla="*/ 402810 h 1237129"/>
              <a:gd name="connsiteX985" fmla="*/ 611323 w 3751729"/>
              <a:gd name="connsiteY985" fmla="*/ 406257 h 1237129"/>
              <a:gd name="connsiteX986" fmla="*/ 616984 w 3751729"/>
              <a:gd name="connsiteY986" fmla="*/ 408718 h 1237129"/>
              <a:gd name="connsiteX987" fmla="*/ 622645 w 3751729"/>
              <a:gd name="connsiteY987" fmla="*/ 412164 h 1237129"/>
              <a:gd name="connsiteX988" fmla="*/ 628306 w 3751729"/>
              <a:gd name="connsiteY988" fmla="*/ 418810 h 1237129"/>
              <a:gd name="connsiteX989" fmla="*/ 622645 w 3751729"/>
              <a:gd name="connsiteY989" fmla="*/ 427918 h 1237129"/>
              <a:gd name="connsiteX990" fmla="*/ 615999 w 3751729"/>
              <a:gd name="connsiteY990" fmla="*/ 438010 h 1237129"/>
              <a:gd name="connsiteX991" fmla="*/ 610338 w 3751729"/>
              <a:gd name="connsiteY991" fmla="*/ 451549 h 1237129"/>
              <a:gd name="connsiteX992" fmla="*/ 605415 w 3751729"/>
              <a:gd name="connsiteY992" fmla="*/ 463364 h 1237129"/>
              <a:gd name="connsiteX993" fmla="*/ 605415 w 3751729"/>
              <a:gd name="connsiteY993" fmla="*/ 470749 h 1237129"/>
              <a:gd name="connsiteX994" fmla="*/ 606400 w 3751729"/>
              <a:gd name="connsiteY994" fmla="*/ 475671 h 1237129"/>
              <a:gd name="connsiteX995" fmla="*/ 606400 w 3751729"/>
              <a:gd name="connsiteY995" fmla="*/ 478134 h 1237129"/>
              <a:gd name="connsiteX996" fmla="*/ 608122 w 3751729"/>
              <a:gd name="connsiteY996" fmla="*/ 479856 h 1237129"/>
              <a:gd name="connsiteX997" fmla="*/ 609846 w 3751729"/>
              <a:gd name="connsiteY997" fmla="*/ 481580 h 1237129"/>
              <a:gd name="connsiteX998" fmla="*/ 610584 w 3751729"/>
              <a:gd name="connsiteY998" fmla="*/ 483302 h 1237129"/>
              <a:gd name="connsiteX999" fmla="*/ 615507 w 3751729"/>
              <a:gd name="connsiteY999" fmla="*/ 484042 h 1237129"/>
              <a:gd name="connsiteX1000" fmla="*/ 615507 w 3751729"/>
              <a:gd name="connsiteY1000" fmla="*/ 481580 h 1237129"/>
              <a:gd name="connsiteX1001" fmla="*/ 617969 w 3751729"/>
              <a:gd name="connsiteY1001" fmla="*/ 475671 h 1237129"/>
              <a:gd name="connsiteX1002" fmla="*/ 622153 w 3751729"/>
              <a:gd name="connsiteY1002" fmla="*/ 466564 h 1237129"/>
              <a:gd name="connsiteX1003" fmla="*/ 627076 w 3751729"/>
              <a:gd name="connsiteY1003" fmla="*/ 454749 h 1237129"/>
              <a:gd name="connsiteX1004" fmla="*/ 631261 w 3751729"/>
              <a:gd name="connsiteY1004" fmla="*/ 444656 h 1237129"/>
              <a:gd name="connsiteX1005" fmla="*/ 635445 w 3751729"/>
              <a:gd name="connsiteY1005" fmla="*/ 436287 h 1237129"/>
              <a:gd name="connsiteX1006" fmla="*/ 637169 w 3751729"/>
              <a:gd name="connsiteY1006" fmla="*/ 430379 h 1237129"/>
              <a:gd name="connsiteX1007" fmla="*/ 647014 w 3751729"/>
              <a:gd name="connsiteY1007" fmla="*/ 430379 h 1237129"/>
              <a:gd name="connsiteX1008" fmla="*/ 648738 w 3751729"/>
              <a:gd name="connsiteY1008" fmla="*/ 446379 h 1237129"/>
              <a:gd name="connsiteX1009" fmla="*/ 648738 w 3751729"/>
              <a:gd name="connsiteY1009" fmla="*/ 460657 h 1237129"/>
              <a:gd name="connsiteX1010" fmla="*/ 648738 w 3751729"/>
              <a:gd name="connsiteY1010" fmla="*/ 478379 h 1237129"/>
              <a:gd name="connsiteX1011" fmla="*/ 650461 w 3751729"/>
              <a:gd name="connsiteY1011" fmla="*/ 497579 h 1237129"/>
              <a:gd name="connsiteX1012" fmla="*/ 668677 w 3751729"/>
              <a:gd name="connsiteY1012" fmla="*/ 500041 h 1237129"/>
              <a:gd name="connsiteX1013" fmla="*/ 676061 w 3751729"/>
              <a:gd name="connsiteY1013" fmla="*/ 489210 h 1237129"/>
              <a:gd name="connsiteX1014" fmla="*/ 689353 w 3751729"/>
              <a:gd name="connsiteY1014" fmla="*/ 481580 h 1237129"/>
              <a:gd name="connsiteX1015" fmla="*/ 703383 w 3751729"/>
              <a:gd name="connsiteY1015" fmla="*/ 473949 h 1237129"/>
              <a:gd name="connsiteX1016" fmla="*/ 718153 w 3751729"/>
              <a:gd name="connsiteY1016" fmla="*/ 468041 h 1237129"/>
              <a:gd name="connsiteX1017" fmla="*/ 732184 w 3751729"/>
              <a:gd name="connsiteY1017" fmla="*/ 462133 h 1237129"/>
              <a:gd name="connsiteX1018" fmla="*/ 745476 w 3751729"/>
              <a:gd name="connsiteY1018" fmla="*/ 454502 h 1237129"/>
              <a:gd name="connsiteX1019" fmla="*/ 751137 w 3751729"/>
              <a:gd name="connsiteY1019" fmla="*/ 446133 h 1237129"/>
              <a:gd name="connsiteX1020" fmla="*/ 747937 w 3751729"/>
              <a:gd name="connsiteY1020" fmla="*/ 446133 h 1237129"/>
              <a:gd name="connsiteX1021" fmla="*/ 747198 w 3751729"/>
              <a:gd name="connsiteY1021" fmla="*/ 442688 h 1237129"/>
              <a:gd name="connsiteX1022" fmla="*/ 747198 w 3751729"/>
              <a:gd name="connsiteY1022" fmla="*/ 441949 h 1237129"/>
              <a:gd name="connsiteX1023" fmla="*/ 745476 w 3751729"/>
              <a:gd name="connsiteY1023" fmla="*/ 440225 h 1237129"/>
              <a:gd name="connsiteX1024" fmla="*/ 743752 w 3751729"/>
              <a:gd name="connsiteY1024" fmla="*/ 440225 h 1237129"/>
              <a:gd name="connsiteX1025" fmla="*/ 742029 w 3751729"/>
              <a:gd name="connsiteY1025" fmla="*/ 440225 h 1237129"/>
              <a:gd name="connsiteX1026" fmla="*/ 739568 w 3751729"/>
              <a:gd name="connsiteY1026" fmla="*/ 438503 h 1237129"/>
              <a:gd name="connsiteX1027" fmla="*/ 733906 w 3751729"/>
              <a:gd name="connsiteY1027" fmla="*/ 442688 h 1237129"/>
              <a:gd name="connsiteX1028" fmla="*/ 724060 w 3751729"/>
              <a:gd name="connsiteY1028" fmla="*/ 448595 h 1237129"/>
              <a:gd name="connsiteX1029" fmla="*/ 712491 w 3751729"/>
              <a:gd name="connsiteY1029" fmla="*/ 457702 h 1237129"/>
              <a:gd name="connsiteX1030" fmla="*/ 697722 w 3751729"/>
              <a:gd name="connsiteY1030" fmla="*/ 465334 h 1237129"/>
              <a:gd name="connsiteX1031" fmla="*/ 684429 w 3751729"/>
              <a:gd name="connsiteY1031" fmla="*/ 473703 h 1237129"/>
              <a:gd name="connsiteX1032" fmla="*/ 672122 w 3751729"/>
              <a:gd name="connsiteY1032" fmla="*/ 479611 h 1237129"/>
              <a:gd name="connsiteX1033" fmla="*/ 663014 w 3751729"/>
              <a:gd name="connsiteY1033" fmla="*/ 483056 h 1237129"/>
              <a:gd name="connsiteX1034" fmla="*/ 660553 w 3751729"/>
              <a:gd name="connsiteY1034" fmla="*/ 483795 h 1237129"/>
              <a:gd name="connsiteX1035" fmla="*/ 658830 w 3751729"/>
              <a:gd name="connsiteY1035" fmla="*/ 483056 h 1237129"/>
              <a:gd name="connsiteX1036" fmla="*/ 657107 w 3751729"/>
              <a:gd name="connsiteY1036" fmla="*/ 481334 h 1237129"/>
              <a:gd name="connsiteX1037" fmla="*/ 657107 w 3751729"/>
              <a:gd name="connsiteY1037" fmla="*/ 479611 h 1237129"/>
              <a:gd name="connsiteX1038" fmla="*/ 657107 w 3751729"/>
              <a:gd name="connsiteY1038" fmla="*/ 477887 h 1237129"/>
              <a:gd name="connsiteX1039" fmla="*/ 656368 w 3751729"/>
              <a:gd name="connsiteY1039" fmla="*/ 475425 h 1237129"/>
              <a:gd name="connsiteX1040" fmla="*/ 660553 w 3751729"/>
              <a:gd name="connsiteY1040" fmla="*/ 467794 h 1237129"/>
              <a:gd name="connsiteX1041" fmla="*/ 660553 w 3751729"/>
              <a:gd name="connsiteY1041" fmla="*/ 461887 h 1237129"/>
              <a:gd name="connsiteX1042" fmla="*/ 658830 w 3751729"/>
              <a:gd name="connsiteY1042" fmla="*/ 457702 h 1237129"/>
              <a:gd name="connsiteX1043" fmla="*/ 657107 w 3751729"/>
              <a:gd name="connsiteY1043" fmla="*/ 450071 h 1237129"/>
              <a:gd name="connsiteX1044" fmla="*/ 660306 w 3751729"/>
              <a:gd name="connsiteY1044" fmla="*/ 441703 h 1237129"/>
              <a:gd name="connsiteX1045" fmla="*/ 662031 w 3751729"/>
              <a:gd name="connsiteY1045" fmla="*/ 439980 h 1237129"/>
              <a:gd name="connsiteX1046" fmla="*/ 662768 w 3751729"/>
              <a:gd name="connsiteY1046" fmla="*/ 438257 h 1237129"/>
              <a:gd name="connsiteX1047" fmla="*/ 664491 w 3751729"/>
              <a:gd name="connsiteY1047" fmla="*/ 436534 h 1237129"/>
              <a:gd name="connsiteX1048" fmla="*/ 666215 w 3751729"/>
              <a:gd name="connsiteY1048" fmla="*/ 436534 h 1237129"/>
              <a:gd name="connsiteX1049" fmla="*/ 667937 w 3751729"/>
              <a:gd name="connsiteY1049" fmla="*/ 436534 h 1237129"/>
              <a:gd name="connsiteX1050" fmla="*/ 668677 w 3751729"/>
              <a:gd name="connsiteY1050" fmla="*/ 435794 h 1237129"/>
              <a:gd name="connsiteX1051" fmla="*/ 670399 w 3751729"/>
              <a:gd name="connsiteY1051" fmla="*/ 434072 h 1237129"/>
              <a:gd name="connsiteX1052" fmla="*/ 670399 w 3751729"/>
              <a:gd name="connsiteY1052" fmla="*/ 430626 h 1237129"/>
              <a:gd name="connsiteX1053" fmla="*/ 672122 w 3751729"/>
              <a:gd name="connsiteY1053" fmla="*/ 426441 h 1237129"/>
              <a:gd name="connsiteX1054" fmla="*/ 672122 w 3751729"/>
              <a:gd name="connsiteY1054" fmla="*/ 418810 h 1237129"/>
              <a:gd name="connsiteX1055" fmla="*/ 664738 w 3751729"/>
              <a:gd name="connsiteY1055" fmla="*/ 414626 h 1237129"/>
              <a:gd name="connsiteX1056" fmla="*/ 657353 w 3751729"/>
              <a:gd name="connsiteY1056" fmla="*/ 412903 h 1237129"/>
              <a:gd name="connsiteX1057" fmla="*/ 651692 w 3751729"/>
              <a:gd name="connsiteY1057" fmla="*/ 412903 h 1237129"/>
              <a:gd name="connsiteX1058" fmla="*/ 645046 w 3751729"/>
              <a:gd name="connsiteY1058" fmla="*/ 410441 h 1237129"/>
              <a:gd name="connsiteX1059" fmla="*/ 634215 w 3751729"/>
              <a:gd name="connsiteY1059" fmla="*/ 402810 h 1237129"/>
              <a:gd name="connsiteX1060" fmla="*/ 627569 w 3751729"/>
              <a:gd name="connsiteY1060" fmla="*/ 396164 h 1237129"/>
              <a:gd name="connsiteX1061" fmla="*/ 622645 w 3751729"/>
              <a:gd name="connsiteY1061" fmla="*/ 387057 h 1237129"/>
              <a:gd name="connsiteX1062" fmla="*/ 616984 w 3751729"/>
              <a:gd name="connsiteY1062" fmla="*/ 378687 h 1237129"/>
              <a:gd name="connsiteX1063" fmla="*/ 610338 w 3751729"/>
              <a:gd name="connsiteY1063" fmla="*/ 372780 h 1237129"/>
              <a:gd name="connsiteX1064" fmla="*/ 598769 w 3751729"/>
              <a:gd name="connsiteY1064" fmla="*/ 366872 h 1237129"/>
              <a:gd name="connsiteX1065" fmla="*/ 873963 w 3751729"/>
              <a:gd name="connsiteY1065" fmla="*/ 351856 h 1237129"/>
              <a:gd name="connsiteX1066" fmla="*/ 884795 w 3751729"/>
              <a:gd name="connsiteY1066" fmla="*/ 352594 h 1237129"/>
              <a:gd name="connsiteX1067" fmla="*/ 891195 w 3751729"/>
              <a:gd name="connsiteY1067" fmla="*/ 354317 h 1237129"/>
              <a:gd name="connsiteX1068" fmla="*/ 900304 w 3751729"/>
              <a:gd name="connsiteY1068" fmla="*/ 357764 h 1237129"/>
              <a:gd name="connsiteX1069" fmla="*/ 900304 w 3751729"/>
              <a:gd name="connsiteY1069" fmla="*/ 364410 h 1237129"/>
              <a:gd name="connsiteX1070" fmla="*/ 897102 w 3751729"/>
              <a:gd name="connsiteY1070" fmla="*/ 364410 h 1237129"/>
              <a:gd name="connsiteX1071" fmla="*/ 894641 w 3751729"/>
              <a:gd name="connsiteY1071" fmla="*/ 366134 h 1237129"/>
              <a:gd name="connsiteX1072" fmla="*/ 891195 w 3751729"/>
              <a:gd name="connsiteY1072" fmla="*/ 366134 h 1237129"/>
              <a:gd name="connsiteX1073" fmla="*/ 888733 w 3751729"/>
              <a:gd name="connsiteY1073" fmla="*/ 366134 h 1237129"/>
              <a:gd name="connsiteX1074" fmla="*/ 884795 w 3751729"/>
              <a:gd name="connsiteY1074" fmla="*/ 367611 h 1237129"/>
              <a:gd name="connsiteX1075" fmla="*/ 881348 w 3751729"/>
              <a:gd name="connsiteY1075" fmla="*/ 363426 h 1237129"/>
              <a:gd name="connsiteX1076" fmla="*/ 879625 w 3751729"/>
              <a:gd name="connsiteY1076" fmla="*/ 361948 h 1237129"/>
              <a:gd name="connsiteX1077" fmla="*/ 878887 w 3751729"/>
              <a:gd name="connsiteY1077" fmla="*/ 358503 h 1237129"/>
              <a:gd name="connsiteX1078" fmla="*/ 877164 w 3751729"/>
              <a:gd name="connsiteY1078" fmla="*/ 356041 h 1237129"/>
              <a:gd name="connsiteX1079" fmla="*/ 941657 w 3751729"/>
              <a:gd name="connsiteY1079" fmla="*/ 335118 h 1237129"/>
              <a:gd name="connsiteX1080" fmla="*/ 950765 w 3751729"/>
              <a:gd name="connsiteY1080" fmla="*/ 335118 h 1237129"/>
              <a:gd name="connsiteX1081" fmla="*/ 950765 w 3751729"/>
              <a:gd name="connsiteY1081" fmla="*/ 346932 h 1237129"/>
              <a:gd name="connsiteX1082" fmla="*/ 950765 w 3751729"/>
              <a:gd name="connsiteY1082" fmla="*/ 357763 h 1237129"/>
              <a:gd name="connsiteX1083" fmla="*/ 952488 w 3751729"/>
              <a:gd name="connsiteY1083" fmla="*/ 366133 h 1237129"/>
              <a:gd name="connsiteX1084" fmla="*/ 953226 w 3751729"/>
              <a:gd name="connsiteY1084" fmla="*/ 375979 h 1237129"/>
              <a:gd name="connsiteX1085" fmla="*/ 969718 w 3751729"/>
              <a:gd name="connsiteY1085" fmla="*/ 375979 h 1237129"/>
              <a:gd name="connsiteX1086" fmla="*/ 969718 w 3751729"/>
              <a:gd name="connsiteY1086" fmla="*/ 392717 h 1237129"/>
              <a:gd name="connsiteX1087" fmla="*/ 976365 w 3751729"/>
              <a:gd name="connsiteY1087" fmla="*/ 392717 h 1237129"/>
              <a:gd name="connsiteX1088" fmla="*/ 978089 w 3751729"/>
              <a:gd name="connsiteY1088" fmla="*/ 393456 h 1237129"/>
              <a:gd name="connsiteX1089" fmla="*/ 979811 w 3751729"/>
              <a:gd name="connsiteY1089" fmla="*/ 393456 h 1237129"/>
              <a:gd name="connsiteX1090" fmla="*/ 981288 w 3751729"/>
              <a:gd name="connsiteY1090" fmla="*/ 393456 h 1237129"/>
              <a:gd name="connsiteX1091" fmla="*/ 982272 w 3751729"/>
              <a:gd name="connsiteY1091" fmla="*/ 393456 h 1237129"/>
              <a:gd name="connsiteX1092" fmla="*/ 983750 w 3751729"/>
              <a:gd name="connsiteY1092" fmla="*/ 393456 h 1237129"/>
              <a:gd name="connsiteX1093" fmla="*/ 985472 w 3751729"/>
              <a:gd name="connsiteY1093" fmla="*/ 395179 h 1237129"/>
              <a:gd name="connsiteX1094" fmla="*/ 983750 w 3751729"/>
              <a:gd name="connsiteY1094" fmla="*/ 404286 h 1237129"/>
              <a:gd name="connsiteX1095" fmla="*/ 981288 w 3751729"/>
              <a:gd name="connsiteY1095" fmla="*/ 414379 h 1237129"/>
              <a:gd name="connsiteX1096" fmla="*/ 979811 w 3751729"/>
              <a:gd name="connsiteY1096" fmla="*/ 424225 h 1237129"/>
              <a:gd name="connsiteX1097" fmla="*/ 976365 w 3751729"/>
              <a:gd name="connsiteY1097" fmla="*/ 424225 h 1237129"/>
              <a:gd name="connsiteX1098" fmla="*/ 975626 w 3751729"/>
              <a:gd name="connsiteY1098" fmla="*/ 421025 h 1237129"/>
              <a:gd name="connsiteX1099" fmla="*/ 975626 w 3751729"/>
              <a:gd name="connsiteY1099" fmla="*/ 420041 h 1237129"/>
              <a:gd name="connsiteX1100" fmla="*/ 975626 w 3751729"/>
              <a:gd name="connsiteY1100" fmla="*/ 418563 h 1237129"/>
              <a:gd name="connsiteX1101" fmla="*/ 973904 w 3751729"/>
              <a:gd name="connsiteY1101" fmla="*/ 416841 h 1237129"/>
              <a:gd name="connsiteX1102" fmla="*/ 973904 w 3751729"/>
              <a:gd name="connsiteY1102" fmla="*/ 415117 h 1237129"/>
              <a:gd name="connsiteX1103" fmla="*/ 972180 w 3751729"/>
              <a:gd name="connsiteY1103" fmla="*/ 418563 h 1237129"/>
              <a:gd name="connsiteX1104" fmla="*/ 970703 w 3751729"/>
              <a:gd name="connsiteY1104" fmla="*/ 418563 h 1237129"/>
              <a:gd name="connsiteX1105" fmla="*/ 970703 w 3751729"/>
              <a:gd name="connsiteY1105" fmla="*/ 420041 h 1237129"/>
              <a:gd name="connsiteX1106" fmla="*/ 969718 w 3751729"/>
              <a:gd name="connsiteY1106" fmla="*/ 420041 h 1237129"/>
              <a:gd name="connsiteX1107" fmla="*/ 966519 w 3751729"/>
              <a:gd name="connsiteY1107" fmla="*/ 421025 h 1237129"/>
              <a:gd name="connsiteX1108" fmla="*/ 966519 w 3751729"/>
              <a:gd name="connsiteY1108" fmla="*/ 415117 h 1237129"/>
              <a:gd name="connsiteX1109" fmla="*/ 968242 w 3751729"/>
              <a:gd name="connsiteY1109" fmla="*/ 414379 h 1237129"/>
              <a:gd name="connsiteX1110" fmla="*/ 968242 w 3751729"/>
              <a:gd name="connsiteY1110" fmla="*/ 412655 h 1237129"/>
              <a:gd name="connsiteX1111" fmla="*/ 969718 w 3751729"/>
              <a:gd name="connsiteY1111" fmla="*/ 410932 h 1237129"/>
              <a:gd name="connsiteX1112" fmla="*/ 969718 w 3751729"/>
              <a:gd name="connsiteY1112" fmla="*/ 408471 h 1237129"/>
              <a:gd name="connsiteX1113" fmla="*/ 969718 w 3751729"/>
              <a:gd name="connsiteY1113" fmla="*/ 405271 h 1237129"/>
              <a:gd name="connsiteX1114" fmla="*/ 966519 w 3751729"/>
              <a:gd name="connsiteY1114" fmla="*/ 405271 h 1237129"/>
              <a:gd name="connsiteX1115" fmla="*/ 960611 w 3751729"/>
              <a:gd name="connsiteY1115" fmla="*/ 410932 h 1237129"/>
              <a:gd name="connsiteX1116" fmla="*/ 954950 w 3751729"/>
              <a:gd name="connsiteY1116" fmla="*/ 416841 h 1237129"/>
              <a:gd name="connsiteX1117" fmla="*/ 947565 w 3751729"/>
              <a:gd name="connsiteY1117" fmla="*/ 421025 h 1237129"/>
              <a:gd name="connsiteX1118" fmla="*/ 947565 w 3751729"/>
              <a:gd name="connsiteY1118" fmla="*/ 416841 h 1237129"/>
              <a:gd name="connsiteX1119" fmla="*/ 947565 w 3751729"/>
              <a:gd name="connsiteY1119" fmla="*/ 412655 h 1237129"/>
              <a:gd name="connsiteX1120" fmla="*/ 947565 w 3751729"/>
              <a:gd name="connsiteY1120" fmla="*/ 410932 h 1237129"/>
              <a:gd name="connsiteX1121" fmla="*/ 946580 w 3751729"/>
              <a:gd name="connsiteY1121" fmla="*/ 410194 h 1237129"/>
              <a:gd name="connsiteX1122" fmla="*/ 943380 w 3751729"/>
              <a:gd name="connsiteY1122" fmla="*/ 408471 h 1237129"/>
              <a:gd name="connsiteX1123" fmla="*/ 939195 w 3751729"/>
              <a:gd name="connsiteY1123" fmla="*/ 408471 h 1237129"/>
              <a:gd name="connsiteX1124" fmla="*/ 931811 w 3751729"/>
              <a:gd name="connsiteY1124" fmla="*/ 408471 h 1237129"/>
              <a:gd name="connsiteX1125" fmla="*/ 929349 w 3751729"/>
              <a:gd name="connsiteY1125" fmla="*/ 408471 h 1237129"/>
              <a:gd name="connsiteX1126" fmla="*/ 925903 w 3751729"/>
              <a:gd name="connsiteY1126" fmla="*/ 408471 h 1237129"/>
              <a:gd name="connsiteX1127" fmla="*/ 921965 w 3751729"/>
              <a:gd name="connsiteY1127" fmla="*/ 406748 h 1237129"/>
              <a:gd name="connsiteX1128" fmla="*/ 917780 w 3751729"/>
              <a:gd name="connsiteY1128" fmla="*/ 406748 h 1237129"/>
              <a:gd name="connsiteX1129" fmla="*/ 913595 w 3751729"/>
              <a:gd name="connsiteY1129" fmla="*/ 405271 h 1237129"/>
              <a:gd name="connsiteX1130" fmla="*/ 910395 w 3751729"/>
              <a:gd name="connsiteY1130" fmla="*/ 402564 h 1237129"/>
              <a:gd name="connsiteX1131" fmla="*/ 918519 w 3751729"/>
              <a:gd name="connsiteY1131" fmla="*/ 390994 h 1237129"/>
              <a:gd name="connsiteX1132" fmla="*/ 927626 w 3751729"/>
              <a:gd name="connsiteY1132" fmla="*/ 373518 h 1237129"/>
              <a:gd name="connsiteX1133" fmla="*/ 933534 w 3751729"/>
              <a:gd name="connsiteY1133" fmla="*/ 354317 h 1237129"/>
              <a:gd name="connsiteX1134" fmla="*/ 668181 w 3751729"/>
              <a:gd name="connsiteY1134" fmla="*/ 284409 h 1237129"/>
              <a:gd name="connsiteX1135" fmla="*/ 680489 w 3751729"/>
              <a:gd name="connsiteY1135" fmla="*/ 284409 h 1237129"/>
              <a:gd name="connsiteX1136" fmla="*/ 680489 w 3751729"/>
              <a:gd name="connsiteY1136" fmla="*/ 290318 h 1237129"/>
              <a:gd name="connsiteX1137" fmla="*/ 678027 w 3751729"/>
              <a:gd name="connsiteY1137" fmla="*/ 290318 h 1237129"/>
              <a:gd name="connsiteX1138" fmla="*/ 676551 w 3751729"/>
              <a:gd name="connsiteY1138" fmla="*/ 291793 h 1237129"/>
              <a:gd name="connsiteX1139" fmla="*/ 675565 w 3751729"/>
              <a:gd name="connsiteY1139" fmla="*/ 291793 h 1237129"/>
              <a:gd name="connsiteX1140" fmla="*/ 674089 w 3751729"/>
              <a:gd name="connsiteY1140" fmla="*/ 291793 h 1237129"/>
              <a:gd name="connsiteX1141" fmla="*/ 672366 w 3751729"/>
              <a:gd name="connsiteY1141" fmla="*/ 293518 h 1237129"/>
              <a:gd name="connsiteX1142" fmla="*/ 668181 w 3751729"/>
              <a:gd name="connsiteY1142" fmla="*/ 293518 h 1237129"/>
              <a:gd name="connsiteX1143" fmla="*/ 3216347 w 3751729"/>
              <a:gd name="connsiteY1143" fmla="*/ 266933 h 1237129"/>
              <a:gd name="connsiteX1144" fmla="*/ 3218071 w 3751729"/>
              <a:gd name="connsiteY1144" fmla="*/ 268656 h 1237129"/>
              <a:gd name="connsiteX1145" fmla="*/ 3218071 w 3751729"/>
              <a:gd name="connsiteY1145" fmla="*/ 270133 h 1237129"/>
              <a:gd name="connsiteX1146" fmla="*/ 3218809 w 3751729"/>
              <a:gd name="connsiteY1146" fmla="*/ 270133 h 1237129"/>
              <a:gd name="connsiteX1147" fmla="*/ 3218809 w 3751729"/>
              <a:gd name="connsiteY1147" fmla="*/ 271856 h 1237129"/>
              <a:gd name="connsiteX1148" fmla="*/ 3223732 w 3751729"/>
              <a:gd name="connsiteY1148" fmla="*/ 281948 h 1237129"/>
              <a:gd name="connsiteX1149" fmla="*/ 3223732 w 3751729"/>
              <a:gd name="connsiteY1149" fmla="*/ 295240 h 1237129"/>
              <a:gd name="connsiteX1150" fmla="*/ 3223732 w 3751729"/>
              <a:gd name="connsiteY1150" fmla="*/ 307795 h 1237129"/>
              <a:gd name="connsiteX1151" fmla="*/ 3226193 w 3751729"/>
              <a:gd name="connsiteY1151" fmla="*/ 322810 h 1237129"/>
              <a:gd name="connsiteX1152" fmla="*/ 3230377 w 3751729"/>
              <a:gd name="connsiteY1152" fmla="*/ 336841 h 1237129"/>
              <a:gd name="connsiteX1153" fmla="*/ 3237763 w 3751729"/>
              <a:gd name="connsiteY1153" fmla="*/ 352595 h 1237129"/>
              <a:gd name="connsiteX1154" fmla="*/ 3241947 w 3751729"/>
              <a:gd name="connsiteY1154" fmla="*/ 370071 h 1237129"/>
              <a:gd name="connsiteX1155" fmla="*/ 3222255 w 3751729"/>
              <a:gd name="connsiteY1155" fmla="*/ 367609 h 1237129"/>
              <a:gd name="connsiteX1156" fmla="*/ 3222255 w 3751729"/>
              <a:gd name="connsiteY1156" fmla="*/ 380902 h 1237129"/>
              <a:gd name="connsiteX1157" fmla="*/ 3224717 w 3751729"/>
              <a:gd name="connsiteY1157" fmla="*/ 390995 h 1237129"/>
              <a:gd name="connsiteX1158" fmla="*/ 3226193 w 3751729"/>
              <a:gd name="connsiteY1158" fmla="*/ 401087 h 1237129"/>
              <a:gd name="connsiteX1159" fmla="*/ 3229639 w 3751729"/>
              <a:gd name="connsiteY1159" fmla="*/ 415117 h 1237129"/>
              <a:gd name="connsiteX1160" fmla="*/ 3224717 w 3751729"/>
              <a:gd name="connsiteY1160" fmla="*/ 415117 h 1237129"/>
              <a:gd name="connsiteX1161" fmla="*/ 3222255 w 3751729"/>
              <a:gd name="connsiteY1161" fmla="*/ 415117 h 1237129"/>
              <a:gd name="connsiteX1162" fmla="*/ 3218071 w 3751729"/>
              <a:gd name="connsiteY1162" fmla="*/ 416840 h 1237129"/>
              <a:gd name="connsiteX1163" fmla="*/ 3216347 w 3751729"/>
              <a:gd name="connsiteY1163" fmla="*/ 416840 h 1237129"/>
              <a:gd name="connsiteX1164" fmla="*/ 3213885 w 3751729"/>
              <a:gd name="connsiteY1164" fmla="*/ 418564 h 1237129"/>
              <a:gd name="connsiteX1165" fmla="*/ 3210686 w 3751729"/>
              <a:gd name="connsiteY1165" fmla="*/ 410194 h 1237129"/>
              <a:gd name="connsiteX1166" fmla="*/ 3208962 w 3751729"/>
              <a:gd name="connsiteY1166" fmla="*/ 393456 h 1237129"/>
              <a:gd name="connsiteX1167" fmla="*/ 3208962 w 3751729"/>
              <a:gd name="connsiteY1167" fmla="*/ 375240 h 1237129"/>
              <a:gd name="connsiteX1168" fmla="*/ 3208962 w 3751729"/>
              <a:gd name="connsiteY1168" fmla="*/ 354317 h 1237129"/>
              <a:gd name="connsiteX1169" fmla="*/ 3208962 w 3751729"/>
              <a:gd name="connsiteY1169" fmla="*/ 335117 h 1237129"/>
              <a:gd name="connsiteX1170" fmla="*/ 3206501 w 3751729"/>
              <a:gd name="connsiteY1170" fmla="*/ 322810 h 1237129"/>
              <a:gd name="connsiteX1171" fmla="*/ 3206501 w 3751729"/>
              <a:gd name="connsiteY1171" fmla="*/ 290318 h 1237129"/>
              <a:gd name="connsiteX1172" fmla="*/ 3208962 w 3751729"/>
              <a:gd name="connsiteY1172" fmla="*/ 286133 h 1237129"/>
              <a:gd name="connsiteX1173" fmla="*/ 3210686 w 3751729"/>
              <a:gd name="connsiteY1173" fmla="*/ 283672 h 1237129"/>
              <a:gd name="connsiteX1174" fmla="*/ 3212163 w 3751729"/>
              <a:gd name="connsiteY1174" fmla="*/ 280226 h 1237129"/>
              <a:gd name="connsiteX1175" fmla="*/ 3213885 w 3751729"/>
              <a:gd name="connsiteY1175" fmla="*/ 277764 h 1237129"/>
              <a:gd name="connsiteX1176" fmla="*/ 3214625 w 3751729"/>
              <a:gd name="connsiteY1176" fmla="*/ 272841 h 1237129"/>
              <a:gd name="connsiteX1177" fmla="*/ 1521837 w 3751729"/>
              <a:gd name="connsiteY1177" fmla="*/ 255363 h 1237129"/>
              <a:gd name="connsiteX1178" fmla="*/ 1525037 w 3751729"/>
              <a:gd name="connsiteY1178" fmla="*/ 272840 h 1237129"/>
              <a:gd name="connsiteX1179" fmla="*/ 1523314 w 3751729"/>
              <a:gd name="connsiteY1179" fmla="*/ 290318 h 1237129"/>
              <a:gd name="connsiteX1180" fmla="*/ 1519375 w 3751729"/>
              <a:gd name="connsiteY1180" fmla="*/ 309272 h 1237129"/>
              <a:gd name="connsiteX1181" fmla="*/ 1507806 w 3751729"/>
              <a:gd name="connsiteY1181" fmla="*/ 315179 h 1237129"/>
              <a:gd name="connsiteX1182" fmla="*/ 1496976 w 3751729"/>
              <a:gd name="connsiteY1182" fmla="*/ 318626 h 1237129"/>
              <a:gd name="connsiteX1183" fmla="*/ 1481221 w 3751729"/>
              <a:gd name="connsiteY1183" fmla="*/ 319364 h 1237129"/>
              <a:gd name="connsiteX1184" fmla="*/ 1481221 w 3751729"/>
              <a:gd name="connsiteY1184" fmla="*/ 312718 h 1237129"/>
              <a:gd name="connsiteX1185" fmla="*/ 1485406 w 3751729"/>
              <a:gd name="connsiteY1185" fmla="*/ 301887 h 1237129"/>
              <a:gd name="connsiteX1186" fmla="*/ 1485406 w 3751729"/>
              <a:gd name="connsiteY1186" fmla="*/ 289332 h 1237129"/>
              <a:gd name="connsiteX1187" fmla="*/ 1484667 w 3751729"/>
              <a:gd name="connsiteY1187" fmla="*/ 274317 h 1237129"/>
              <a:gd name="connsiteX1188" fmla="*/ 1492791 w 3751729"/>
              <a:gd name="connsiteY1188" fmla="*/ 266933 h 1237129"/>
              <a:gd name="connsiteX1189" fmla="*/ 1500175 w 3751729"/>
              <a:gd name="connsiteY1189" fmla="*/ 261025 h 1237129"/>
              <a:gd name="connsiteX1190" fmla="*/ 1508545 w 3751729"/>
              <a:gd name="connsiteY1190" fmla="*/ 256841 h 1237129"/>
              <a:gd name="connsiteX1191" fmla="*/ 1728358 w 3751729"/>
              <a:gd name="connsiteY1191" fmla="*/ 232718 h 1237129"/>
              <a:gd name="connsiteX1192" fmla="*/ 1730820 w 3751729"/>
              <a:gd name="connsiteY1192" fmla="*/ 235180 h 1237129"/>
              <a:gd name="connsiteX1193" fmla="*/ 1732542 w 3751729"/>
              <a:gd name="connsiteY1193" fmla="*/ 236903 h 1237129"/>
              <a:gd name="connsiteX1194" fmla="*/ 1734019 w 3751729"/>
              <a:gd name="connsiteY1194" fmla="*/ 238625 h 1237129"/>
              <a:gd name="connsiteX1195" fmla="*/ 1734019 w 3751729"/>
              <a:gd name="connsiteY1195" fmla="*/ 241087 h 1237129"/>
              <a:gd name="connsiteX1196" fmla="*/ 1734019 w 3751729"/>
              <a:gd name="connsiteY1196" fmla="*/ 244533 h 1237129"/>
              <a:gd name="connsiteX1197" fmla="*/ 1735004 w 3751729"/>
              <a:gd name="connsiteY1197" fmla="*/ 248472 h 1237129"/>
              <a:gd name="connsiteX1198" fmla="*/ 1734019 w 3751729"/>
              <a:gd name="connsiteY1198" fmla="*/ 251179 h 1237129"/>
              <a:gd name="connsiteX1199" fmla="*/ 1732542 w 3751729"/>
              <a:gd name="connsiteY1199" fmla="*/ 252656 h 1237129"/>
              <a:gd name="connsiteX1200" fmla="*/ 1732542 w 3751729"/>
              <a:gd name="connsiteY1200" fmla="*/ 254379 h 1237129"/>
              <a:gd name="connsiteX1201" fmla="*/ 1732542 w 3751729"/>
              <a:gd name="connsiteY1201" fmla="*/ 255364 h 1237129"/>
              <a:gd name="connsiteX1202" fmla="*/ 1732542 w 3751729"/>
              <a:gd name="connsiteY1202" fmla="*/ 256841 h 1237129"/>
              <a:gd name="connsiteX1203" fmla="*/ 1730820 w 3751729"/>
              <a:gd name="connsiteY1203" fmla="*/ 258564 h 1237129"/>
              <a:gd name="connsiteX1204" fmla="*/ 1729095 w 3751729"/>
              <a:gd name="connsiteY1204" fmla="*/ 260287 h 1237129"/>
              <a:gd name="connsiteX1205" fmla="*/ 1728358 w 3751729"/>
              <a:gd name="connsiteY1205" fmla="*/ 260287 h 1237129"/>
              <a:gd name="connsiteX1206" fmla="*/ 1726634 w 3751729"/>
              <a:gd name="connsiteY1206" fmla="*/ 260287 h 1237129"/>
              <a:gd name="connsiteX1207" fmla="*/ 1724911 w 3751729"/>
              <a:gd name="connsiteY1207" fmla="*/ 261025 h 1237129"/>
              <a:gd name="connsiteX1208" fmla="*/ 1722449 w 3751729"/>
              <a:gd name="connsiteY1208" fmla="*/ 261025 h 1237129"/>
              <a:gd name="connsiteX1209" fmla="*/ 1717527 w 3751729"/>
              <a:gd name="connsiteY1209" fmla="*/ 251179 h 1237129"/>
              <a:gd name="connsiteX1210" fmla="*/ 1715066 w 3751729"/>
              <a:gd name="connsiteY1210" fmla="*/ 246995 h 1237129"/>
              <a:gd name="connsiteX1211" fmla="*/ 1715066 w 3751729"/>
              <a:gd name="connsiteY1211" fmla="*/ 245271 h 1237129"/>
              <a:gd name="connsiteX1212" fmla="*/ 1716788 w 3751729"/>
              <a:gd name="connsiteY1212" fmla="*/ 244533 h 1237129"/>
              <a:gd name="connsiteX1213" fmla="*/ 1722449 w 3751729"/>
              <a:gd name="connsiteY1213" fmla="*/ 241087 h 1237129"/>
              <a:gd name="connsiteX1214" fmla="*/ 1794327 w 3751729"/>
              <a:gd name="connsiteY1214" fmla="*/ 200225 h 1237129"/>
              <a:gd name="connsiteX1215" fmla="*/ 1798512 w 3751729"/>
              <a:gd name="connsiteY1215" fmla="*/ 201949 h 1237129"/>
              <a:gd name="connsiteX1216" fmla="*/ 1800236 w 3751729"/>
              <a:gd name="connsiteY1216" fmla="*/ 201949 h 1237129"/>
              <a:gd name="connsiteX1217" fmla="*/ 1801712 w 3751729"/>
              <a:gd name="connsiteY1217" fmla="*/ 201949 h 1237129"/>
              <a:gd name="connsiteX1218" fmla="*/ 1802696 w 3751729"/>
              <a:gd name="connsiteY1218" fmla="*/ 203671 h 1237129"/>
              <a:gd name="connsiteX1219" fmla="*/ 1804420 w 3751729"/>
              <a:gd name="connsiteY1219" fmla="*/ 203671 h 1237129"/>
              <a:gd name="connsiteX1220" fmla="*/ 1801712 w 3751729"/>
              <a:gd name="connsiteY1220" fmla="*/ 207856 h 1237129"/>
              <a:gd name="connsiteX1221" fmla="*/ 1800236 w 3751729"/>
              <a:gd name="connsiteY1221" fmla="*/ 212041 h 1237129"/>
              <a:gd name="connsiteX1222" fmla="*/ 1798512 w 3751729"/>
              <a:gd name="connsiteY1222" fmla="*/ 216226 h 1237129"/>
              <a:gd name="connsiteX1223" fmla="*/ 1796050 w 3751729"/>
              <a:gd name="connsiteY1223" fmla="*/ 221148 h 1237129"/>
              <a:gd name="connsiteX1224" fmla="*/ 1791127 w 3751729"/>
              <a:gd name="connsiteY1224" fmla="*/ 223610 h 1237129"/>
              <a:gd name="connsiteX1225" fmla="*/ 1791127 w 3751729"/>
              <a:gd name="connsiteY1225" fmla="*/ 219426 h 1237129"/>
              <a:gd name="connsiteX1226" fmla="*/ 1790143 w 3751729"/>
              <a:gd name="connsiteY1226" fmla="*/ 219426 h 1237129"/>
              <a:gd name="connsiteX1227" fmla="*/ 1790143 w 3751729"/>
              <a:gd name="connsiteY1227" fmla="*/ 217703 h 1237129"/>
              <a:gd name="connsiteX1228" fmla="*/ 1790143 w 3751729"/>
              <a:gd name="connsiteY1228" fmla="*/ 216226 h 1237129"/>
              <a:gd name="connsiteX1229" fmla="*/ 1788665 w 3751729"/>
              <a:gd name="connsiteY1229" fmla="*/ 213518 h 1237129"/>
              <a:gd name="connsiteX1230" fmla="*/ 1791127 w 3751729"/>
              <a:gd name="connsiteY1230" fmla="*/ 210317 h 1237129"/>
              <a:gd name="connsiteX1231" fmla="*/ 1792850 w 3751729"/>
              <a:gd name="connsiteY1231" fmla="*/ 207856 h 1237129"/>
              <a:gd name="connsiteX1232" fmla="*/ 1794327 w 3751729"/>
              <a:gd name="connsiteY1232" fmla="*/ 204411 h 1237129"/>
              <a:gd name="connsiteX1233" fmla="*/ 1846512 w 3751729"/>
              <a:gd name="connsiteY1233" fmla="*/ 178564 h 1237129"/>
              <a:gd name="connsiteX1234" fmla="*/ 1858082 w 3751729"/>
              <a:gd name="connsiteY1234" fmla="*/ 184473 h 1237129"/>
              <a:gd name="connsiteX1235" fmla="*/ 1858082 w 3751729"/>
              <a:gd name="connsiteY1235" fmla="*/ 188657 h 1237129"/>
              <a:gd name="connsiteX1236" fmla="*/ 1854635 w 3751729"/>
              <a:gd name="connsiteY1236" fmla="*/ 188657 h 1237129"/>
              <a:gd name="connsiteX1237" fmla="*/ 1853897 w 3751729"/>
              <a:gd name="connsiteY1237" fmla="*/ 190380 h 1237129"/>
              <a:gd name="connsiteX1238" fmla="*/ 1850696 w 3751729"/>
              <a:gd name="connsiteY1238" fmla="*/ 191858 h 1237129"/>
              <a:gd name="connsiteX1239" fmla="*/ 1848973 w 3751729"/>
              <a:gd name="connsiteY1239" fmla="*/ 194565 h 1237129"/>
              <a:gd name="connsiteX1240" fmla="*/ 1846512 w 3751729"/>
              <a:gd name="connsiteY1240" fmla="*/ 192842 h 1237129"/>
              <a:gd name="connsiteX1241" fmla="*/ 1844788 w 3751729"/>
              <a:gd name="connsiteY1241" fmla="*/ 192842 h 1237129"/>
              <a:gd name="connsiteX1242" fmla="*/ 1843065 w 3751729"/>
              <a:gd name="connsiteY1242" fmla="*/ 191858 h 1237129"/>
              <a:gd name="connsiteX1243" fmla="*/ 1842326 w 3751729"/>
              <a:gd name="connsiteY1243" fmla="*/ 191858 h 1237129"/>
              <a:gd name="connsiteX1244" fmla="*/ 1842326 w 3751729"/>
              <a:gd name="connsiteY1244" fmla="*/ 188657 h 1237129"/>
              <a:gd name="connsiteX1245" fmla="*/ 1842326 w 3751729"/>
              <a:gd name="connsiteY1245" fmla="*/ 186196 h 1237129"/>
              <a:gd name="connsiteX1246" fmla="*/ 1842326 w 3751729"/>
              <a:gd name="connsiteY1246" fmla="*/ 184473 h 1237129"/>
              <a:gd name="connsiteX1247" fmla="*/ 1843065 w 3751729"/>
              <a:gd name="connsiteY1247" fmla="*/ 181026 h 1237129"/>
              <a:gd name="connsiteX1248" fmla="*/ 1537343 w 3751729"/>
              <a:gd name="connsiteY1248" fmla="*/ 171179 h 1237129"/>
              <a:gd name="connsiteX1249" fmla="*/ 1552360 w 3751729"/>
              <a:gd name="connsiteY1249" fmla="*/ 172902 h 1237129"/>
              <a:gd name="connsiteX1250" fmla="*/ 1563928 w 3751729"/>
              <a:gd name="connsiteY1250" fmla="*/ 175364 h 1237129"/>
              <a:gd name="connsiteX1251" fmla="*/ 1560482 w 3751729"/>
              <a:gd name="connsiteY1251" fmla="*/ 181025 h 1237129"/>
              <a:gd name="connsiteX1252" fmla="*/ 1559006 w 3751729"/>
              <a:gd name="connsiteY1252" fmla="*/ 186194 h 1237129"/>
              <a:gd name="connsiteX1253" fmla="*/ 1556544 w 3751729"/>
              <a:gd name="connsiteY1253" fmla="*/ 190379 h 1237129"/>
              <a:gd name="connsiteX1254" fmla="*/ 1553098 w 3751729"/>
              <a:gd name="connsiteY1254" fmla="*/ 194564 h 1237129"/>
              <a:gd name="connsiteX1255" fmla="*/ 1560482 w 3751729"/>
              <a:gd name="connsiteY1255" fmla="*/ 194564 h 1237129"/>
              <a:gd name="connsiteX1256" fmla="*/ 1563928 w 3751729"/>
              <a:gd name="connsiteY1256" fmla="*/ 191856 h 1237129"/>
              <a:gd name="connsiteX1257" fmla="*/ 1564667 w 3751729"/>
              <a:gd name="connsiteY1257" fmla="*/ 190379 h 1237129"/>
              <a:gd name="connsiteX1258" fmla="*/ 1568112 w 3751729"/>
              <a:gd name="connsiteY1258" fmla="*/ 188656 h 1237129"/>
              <a:gd name="connsiteX1259" fmla="*/ 1572051 w 3751729"/>
              <a:gd name="connsiteY1259" fmla="*/ 188656 h 1237129"/>
              <a:gd name="connsiteX1260" fmla="*/ 1572051 w 3751729"/>
              <a:gd name="connsiteY1260" fmla="*/ 194564 h 1237129"/>
              <a:gd name="connsiteX1261" fmla="*/ 1576236 w 3751729"/>
              <a:gd name="connsiteY1261" fmla="*/ 204410 h 1237129"/>
              <a:gd name="connsiteX1262" fmla="*/ 1573774 w 3751729"/>
              <a:gd name="connsiteY1262" fmla="*/ 213517 h 1237129"/>
              <a:gd name="connsiteX1263" fmla="*/ 1569590 w 3751729"/>
              <a:gd name="connsiteY1263" fmla="*/ 221148 h 1237129"/>
              <a:gd name="connsiteX1264" fmla="*/ 1566390 w 3751729"/>
              <a:gd name="connsiteY1264" fmla="*/ 227055 h 1237129"/>
              <a:gd name="connsiteX1265" fmla="*/ 1573774 w 3751729"/>
              <a:gd name="connsiteY1265" fmla="*/ 233702 h 1237129"/>
              <a:gd name="connsiteX1266" fmla="*/ 1581159 w 3751729"/>
              <a:gd name="connsiteY1266" fmla="*/ 244532 h 1237129"/>
              <a:gd name="connsiteX1267" fmla="*/ 1591251 w 3751729"/>
              <a:gd name="connsiteY1267" fmla="*/ 255363 h 1237129"/>
              <a:gd name="connsiteX1268" fmla="*/ 1599374 w 3751729"/>
              <a:gd name="connsiteY1268" fmla="*/ 268655 h 1237129"/>
              <a:gd name="connsiteX1269" fmla="*/ 1606758 w 3751729"/>
              <a:gd name="connsiteY1269" fmla="*/ 283671 h 1237129"/>
              <a:gd name="connsiteX1270" fmla="*/ 1612667 w 3751729"/>
              <a:gd name="connsiteY1270" fmla="*/ 295978 h 1237129"/>
              <a:gd name="connsiteX1271" fmla="*/ 1614389 w 3751729"/>
              <a:gd name="connsiteY1271" fmla="*/ 306810 h 1237129"/>
              <a:gd name="connsiteX1272" fmla="*/ 1610943 w 3751729"/>
              <a:gd name="connsiteY1272" fmla="*/ 316901 h 1237129"/>
              <a:gd name="connsiteX1273" fmla="*/ 1604297 w 3751729"/>
              <a:gd name="connsiteY1273" fmla="*/ 322809 h 1237129"/>
              <a:gd name="connsiteX1274" fmla="*/ 1595190 w 3751729"/>
              <a:gd name="connsiteY1274" fmla="*/ 328471 h 1237129"/>
              <a:gd name="connsiteX1275" fmla="*/ 1581159 w 3751729"/>
              <a:gd name="connsiteY1275" fmla="*/ 334379 h 1237129"/>
              <a:gd name="connsiteX1276" fmla="*/ 1563928 w 3751729"/>
              <a:gd name="connsiteY1276" fmla="*/ 338563 h 1237129"/>
              <a:gd name="connsiteX1277" fmla="*/ 1548175 w 3751729"/>
              <a:gd name="connsiteY1277" fmla="*/ 342747 h 1237129"/>
              <a:gd name="connsiteX1278" fmla="*/ 1534883 w 3751729"/>
              <a:gd name="connsiteY1278" fmla="*/ 344470 h 1237129"/>
              <a:gd name="connsiteX1279" fmla="*/ 1534883 w 3751729"/>
              <a:gd name="connsiteY1279" fmla="*/ 341025 h 1237129"/>
              <a:gd name="connsiteX1280" fmla="*/ 1543251 w 3751729"/>
              <a:gd name="connsiteY1280" fmla="*/ 328471 h 1237129"/>
              <a:gd name="connsiteX1281" fmla="*/ 1550635 w 3751729"/>
              <a:gd name="connsiteY1281" fmla="*/ 315178 h 1237129"/>
              <a:gd name="connsiteX1282" fmla="*/ 1546451 w 3751729"/>
              <a:gd name="connsiteY1282" fmla="*/ 315178 h 1237129"/>
              <a:gd name="connsiteX1283" fmla="*/ 1543251 w 3751729"/>
              <a:gd name="connsiteY1283" fmla="*/ 315178 h 1237129"/>
              <a:gd name="connsiteX1284" fmla="*/ 1540790 w 3751729"/>
              <a:gd name="connsiteY1284" fmla="*/ 313456 h 1237129"/>
              <a:gd name="connsiteX1285" fmla="*/ 1540790 w 3751729"/>
              <a:gd name="connsiteY1285" fmla="*/ 312716 h 1237129"/>
              <a:gd name="connsiteX1286" fmla="*/ 1539067 w 3751729"/>
              <a:gd name="connsiteY1286" fmla="*/ 310994 h 1237129"/>
              <a:gd name="connsiteX1287" fmla="*/ 1539067 w 3751729"/>
              <a:gd name="connsiteY1287" fmla="*/ 307793 h 1237129"/>
              <a:gd name="connsiteX1288" fmla="*/ 1537343 w 3751729"/>
              <a:gd name="connsiteY1288" fmla="*/ 303609 h 1237129"/>
              <a:gd name="connsiteX1289" fmla="*/ 1548175 w 3751729"/>
              <a:gd name="connsiteY1289" fmla="*/ 301147 h 1237129"/>
              <a:gd name="connsiteX1290" fmla="*/ 1544974 w 3751729"/>
              <a:gd name="connsiteY1290" fmla="*/ 297701 h 1237129"/>
              <a:gd name="connsiteX1291" fmla="*/ 1544974 w 3751729"/>
              <a:gd name="connsiteY1291" fmla="*/ 295978 h 1237129"/>
              <a:gd name="connsiteX1292" fmla="*/ 1543251 w 3751729"/>
              <a:gd name="connsiteY1292" fmla="*/ 295240 h 1237129"/>
              <a:gd name="connsiteX1293" fmla="*/ 1543251 w 3751729"/>
              <a:gd name="connsiteY1293" fmla="*/ 293517 h 1237129"/>
              <a:gd name="connsiteX1294" fmla="*/ 1544974 w 3751729"/>
              <a:gd name="connsiteY1294" fmla="*/ 290317 h 1237129"/>
              <a:gd name="connsiteX1295" fmla="*/ 1546451 w 3751729"/>
              <a:gd name="connsiteY1295" fmla="*/ 284409 h 1237129"/>
              <a:gd name="connsiteX1296" fmla="*/ 1550635 w 3751729"/>
              <a:gd name="connsiteY1296" fmla="*/ 280225 h 1237129"/>
              <a:gd name="connsiteX1297" fmla="*/ 1553098 w 3751729"/>
              <a:gd name="connsiteY1297" fmla="*/ 277763 h 1237129"/>
              <a:gd name="connsiteX1298" fmla="*/ 1559006 w 3751729"/>
              <a:gd name="connsiteY1298" fmla="*/ 274317 h 1237129"/>
              <a:gd name="connsiteX1299" fmla="*/ 1563928 w 3751729"/>
              <a:gd name="connsiteY1299" fmla="*/ 271855 h 1237129"/>
              <a:gd name="connsiteX1300" fmla="*/ 1562205 w 3751729"/>
              <a:gd name="connsiteY1300" fmla="*/ 268655 h 1237129"/>
              <a:gd name="connsiteX1301" fmla="*/ 1562205 w 3751729"/>
              <a:gd name="connsiteY1301" fmla="*/ 266932 h 1237129"/>
              <a:gd name="connsiteX1302" fmla="*/ 1560482 w 3751729"/>
              <a:gd name="connsiteY1302" fmla="*/ 266194 h 1237129"/>
              <a:gd name="connsiteX1303" fmla="*/ 1560482 w 3751729"/>
              <a:gd name="connsiteY1303" fmla="*/ 264471 h 1237129"/>
              <a:gd name="connsiteX1304" fmla="*/ 1559006 w 3751729"/>
              <a:gd name="connsiteY1304" fmla="*/ 261025 h 1237129"/>
              <a:gd name="connsiteX1305" fmla="*/ 1558021 w 3751729"/>
              <a:gd name="connsiteY1305" fmla="*/ 261025 h 1237129"/>
              <a:gd name="connsiteX1306" fmla="*/ 1558021 w 3751729"/>
              <a:gd name="connsiteY1306" fmla="*/ 260286 h 1237129"/>
              <a:gd name="connsiteX1307" fmla="*/ 1556544 w 3751729"/>
              <a:gd name="connsiteY1307" fmla="*/ 260286 h 1237129"/>
              <a:gd name="connsiteX1308" fmla="*/ 1553098 w 3751729"/>
              <a:gd name="connsiteY1308" fmla="*/ 258562 h 1237129"/>
              <a:gd name="connsiteX1309" fmla="*/ 1550635 w 3751729"/>
              <a:gd name="connsiteY1309" fmla="*/ 256840 h 1237129"/>
              <a:gd name="connsiteX1310" fmla="*/ 1548913 w 3751729"/>
              <a:gd name="connsiteY1310" fmla="*/ 256840 h 1237129"/>
              <a:gd name="connsiteX1311" fmla="*/ 1546451 w 3751729"/>
              <a:gd name="connsiteY1311" fmla="*/ 256840 h 1237129"/>
              <a:gd name="connsiteX1312" fmla="*/ 1543251 w 3751729"/>
              <a:gd name="connsiteY1312" fmla="*/ 255363 h 1237129"/>
              <a:gd name="connsiteX1313" fmla="*/ 1540790 w 3751729"/>
              <a:gd name="connsiteY1313" fmla="*/ 255363 h 1237129"/>
              <a:gd name="connsiteX1314" fmla="*/ 1540790 w 3751729"/>
              <a:gd name="connsiteY1314" fmla="*/ 254379 h 1237129"/>
              <a:gd name="connsiteX1315" fmla="*/ 1539067 w 3751729"/>
              <a:gd name="connsiteY1315" fmla="*/ 252656 h 1237129"/>
              <a:gd name="connsiteX1316" fmla="*/ 1539067 w 3751729"/>
              <a:gd name="connsiteY1316" fmla="*/ 251178 h 1237129"/>
              <a:gd name="connsiteX1317" fmla="*/ 1539067 w 3751729"/>
              <a:gd name="connsiteY1317" fmla="*/ 248471 h 1237129"/>
              <a:gd name="connsiteX1318" fmla="*/ 1537343 w 3751729"/>
              <a:gd name="connsiteY1318" fmla="*/ 245271 h 1237129"/>
              <a:gd name="connsiteX1319" fmla="*/ 1539067 w 3751729"/>
              <a:gd name="connsiteY1319" fmla="*/ 244532 h 1237129"/>
              <a:gd name="connsiteX1320" fmla="*/ 1539067 w 3751729"/>
              <a:gd name="connsiteY1320" fmla="*/ 242810 h 1237129"/>
              <a:gd name="connsiteX1321" fmla="*/ 1540790 w 3751729"/>
              <a:gd name="connsiteY1321" fmla="*/ 241086 h 1237129"/>
              <a:gd name="connsiteX1322" fmla="*/ 1540790 w 3751729"/>
              <a:gd name="connsiteY1322" fmla="*/ 239364 h 1237129"/>
              <a:gd name="connsiteX1323" fmla="*/ 1540790 w 3751729"/>
              <a:gd name="connsiteY1323" fmla="*/ 236902 h 1237129"/>
              <a:gd name="connsiteX1324" fmla="*/ 1537343 w 3751729"/>
              <a:gd name="connsiteY1324" fmla="*/ 236902 h 1237129"/>
              <a:gd name="connsiteX1325" fmla="*/ 1536605 w 3751729"/>
              <a:gd name="connsiteY1325" fmla="*/ 239364 h 1237129"/>
              <a:gd name="connsiteX1326" fmla="*/ 1536605 w 3751729"/>
              <a:gd name="connsiteY1326" fmla="*/ 241086 h 1237129"/>
              <a:gd name="connsiteX1327" fmla="*/ 1536605 w 3751729"/>
              <a:gd name="connsiteY1327" fmla="*/ 242810 h 1237129"/>
              <a:gd name="connsiteX1328" fmla="*/ 1534883 w 3751729"/>
              <a:gd name="connsiteY1328" fmla="*/ 242810 h 1237129"/>
              <a:gd name="connsiteX1329" fmla="*/ 1533405 w 3751729"/>
              <a:gd name="connsiteY1329" fmla="*/ 244532 h 1237129"/>
              <a:gd name="connsiteX1330" fmla="*/ 1531682 w 3751729"/>
              <a:gd name="connsiteY1330" fmla="*/ 245271 h 1237129"/>
              <a:gd name="connsiteX1331" fmla="*/ 1529221 w 3751729"/>
              <a:gd name="connsiteY1331" fmla="*/ 230994 h 1237129"/>
              <a:gd name="connsiteX1332" fmla="*/ 1525774 w 3751729"/>
              <a:gd name="connsiteY1332" fmla="*/ 217702 h 1237129"/>
              <a:gd name="connsiteX1333" fmla="*/ 1525036 w 3751729"/>
              <a:gd name="connsiteY1333" fmla="*/ 207856 h 1237129"/>
              <a:gd name="connsiteX1334" fmla="*/ 1527497 w 3751729"/>
              <a:gd name="connsiteY1334" fmla="*/ 200225 h 1237129"/>
              <a:gd name="connsiteX1335" fmla="*/ 1531682 w 3751729"/>
              <a:gd name="connsiteY1335" fmla="*/ 192840 h 1237129"/>
              <a:gd name="connsiteX1336" fmla="*/ 1536605 w 3751729"/>
              <a:gd name="connsiteY1336" fmla="*/ 184471 h 1237129"/>
              <a:gd name="connsiteX1337" fmla="*/ 683935 w 3751729"/>
              <a:gd name="connsiteY1337" fmla="*/ 95365 h 1237129"/>
              <a:gd name="connsiteX1338" fmla="*/ 688119 w 3751729"/>
              <a:gd name="connsiteY1338" fmla="*/ 98810 h 1237129"/>
              <a:gd name="connsiteX1339" fmla="*/ 692058 w 3751729"/>
              <a:gd name="connsiteY1339" fmla="*/ 102749 h 1237129"/>
              <a:gd name="connsiteX1340" fmla="*/ 695504 w 3751729"/>
              <a:gd name="connsiteY1340" fmla="*/ 108657 h 1237129"/>
              <a:gd name="connsiteX1341" fmla="*/ 697227 w 3751729"/>
              <a:gd name="connsiteY1341" fmla="*/ 114565 h 1237129"/>
              <a:gd name="connsiteX1342" fmla="*/ 693781 w 3751729"/>
              <a:gd name="connsiteY1342" fmla="*/ 114565 h 1237129"/>
              <a:gd name="connsiteX1343" fmla="*/ 691319 w 3751729"/>
              <a:gd name="connsiteY1343" fmla="*/ 116288 h 1237129"/>
              <a:gd name="connsiteX1344" fmla="*/ 689596 w 3751729"/>
              <a:gd name="connsiteY1344" fmla="*/ 116288 h 1237129"/>
              <a:gd name="connsiteX1345" fmla="*/ 685657 w 3751729"/>
              <a:gd name="connsiteY1345" fmla="*/ 117765 h 1237129"/>
              <a:gd name="connsiteX1346" fmla="*/ 680488 w 3751729"/>
              <a:gd name="connsiteY1346" fmla="*/ 117765 h 1237129"/>
              <a:gd name="connsiteX1347" fmla="*/ 680488 w 3751729"/>
              <a:gd name="connsiteY1347" fmla="*/ 114565 h 1237129"/>
              <a:gd name="connsiteX1348" fmla="*/ 679750 w 3751729"/>
              <a:gd name="connsiteY1348" fmla="*/ 114565 h 1237129"/>
              <a:gd name="connsiteX1349" fmla="*/ 679750 w 3751729"/>
              <a:gd name="connsiteY1349" fmla="*/ 112843 h 1237129"/>
              <a:gd name="connsiteX1350" fmla="*/ 678027 w 3751729"/>
              <a:gd name="connsiteY1350" fmla="*/ 112103 h 1237129"/>
              <a:gd name="connsiteX1351" fmla="*/ 679750 w 3751729"/>
              <a:gd name="connsiteY1351" fmla="*/ 108657 h 1237129"/>
              <a:gd name="connsiteX1352" fmla="*/ 679750 w 3751729"/>
              <a:gd name="connsiteY1352" fmla="*/ 106934 h 1237129"/>
              <a:gd name="connsiteX1353" fmla="*/ 679750 w 3751729"/>
              <a:gd name="connsiteY1353" fmla="*/ 106196 h 1237129"/>
              <a:gd name="connsiteX1354" fmla="*/ 680488 w 3751729"/>
              <a:gd name="connsiteY1354" fmla="*/ 104473 h 1237129"/>
              <a:gd name="connsiteX1355" fmla="*/ 659074 w 3751729"/>
              <a:gd name="connsiteY1355" fmla="*/ 85274 h 1237129"/>
              <a:gd name="connsiteX1356" fmla="*/ 662520 w 3751729"/>
              <a:gd name="connsiteY1356" fmla="*/ 88719 h 1237129"/>
              <a:gd name="connsiteX1357" fmla="*/ 663997 w 3751729"/>
              <a:gd name="connsiteY1357" fmla="*/ 90442 h 1237129"/>
              <a:gd name="connsiteX1358" fmla="*/ 663997 w 3751729"/>
              <a:gd name="connsiteY1358" fmla="*/ 91181 h 1237129"/>
              <a:gd name="connsiteX1359" fmla="*/ 664982 w 3751729"/>
              <a:gd name="connsiteY1359" fmla="*/ 94627 h 1237129"/>
              <a:gd name="connsiteX1360" fmla="*/ 664982 w 3751729"/>
              <a:gd name="connsiteY1360" fmla="*/ 97088 h 1237129"/>
              <a:gd name="connsiteX1361" fmla="*/ 664982 w 3751729"/>
              <a:gd name="connsiteY1361" fmla="*/ 101273 h 1237129"/>
              <a:gd name="connsiteX1362" fmla="*/ 662520 w 3751729"/>
              <a:gd name="connsiteY1362" fmla="*/ 101273 h 1237129"/>
              <a:gd name="connsiteX1363" fmla="*/ 662520 w 3751729"/>
              <a:gd name="connsiteY1363" fmla="*/ 104473 h 1237129"/>
              <a:gd name="connsiteX1364" fmla="*/ 656613 w 3751729"/>
              <a:gd name="connsiteY1364" fmla="*/ 102751 h 1237129"/>
              <a:gd name="connsiteX1365" fmla="*/ 650951 w 3751729"/>
              <a:gd name="connsiteY1365" fmla="*/ 101273 h 1237129"/>
              <a:gd name="connsiteX1366" fmla="*/ 646766 w 3751729"/>
              <a:gd name="connsiteY1366" fmla="*/ 98812 h 1237129"/>
              <a:gd name="connsiteX1367" fmla="*/ 643320 w 3751729"/>
              <a:gd name="connsiteY1367" fmla="*/ 98812 h 1237129"/>
              <a:gd name="connsiteX1368" fmla="*/ 643320 w 3751729"/>
              <a:gd name="connsiteY1368" fmla="*/ 95365 h 1237129"/>
              <a:gd name="connsiteX1369" fmla="*/ 649228 w 3751729"/>
              <a:gd name="connsiteY1369" fmla="*/ 92904 h 1237129"/>
              <a:gd name="connsiteX1370" fmla="*/ 654889 w 3751729"/>
              <a:gd name="connsiteY1370" fmla="*/ 90442 h 1237129"/>
              <a:gd name="connsiteX1371" fmla="*/ 722827 w 3751729"/>
              <a:gd name="connsiteY1371" fmla="*/ 59426 h 1237129"/>
              <a:gd name="connsiteX1372" fmla="*/ 726028 w 3751729"/>
              <a:gd name="connsiteY1372" fmla="*/ 61150 h 1237129"/>
              <a:gd name="connsiteX1373" fmla="*/ 726766 w 3751729"/>
              <a:gd name="connsiteY1373" fmla="*/ 62135 h 1237129"/>
              <a:gd name="connsiteX1374" fmla="*/ 728489 w 3751729"/>
              <a:gd name="connsiteY1374" fmla="*/ 63611 h 1237129"/>
              <a:gd name="connsiteX1375" fmla="*/ 731935 w 3751729"/>
              <a:gd name="connsiteY1375" fmla="*/ 63611 h 1237129"/>
              <a:gd name="connsiteX1376" fmla="*/ 731935 w 3751729"/>
              <a:gd name="connsiteY1376" fmla="*/ 65335 h 1237129"/>
              <a:gd name="connsiteX1377" fmla="*/ 731935 w 3751729"/>
              <a:gd name="connsiteY1377" fmla="*/ 67057 h 1237129"/>
              <a:gd name="connsiteX1378" fmla="*/ 730213 w 3751729"/>
              <a:gd name="connsiteY1378" fmla="*/ 67796 h 1237129"/>
              <a:gd name="connsiteX1379" fmla="*/ 728489 w 3751729"/>
              <a:gd name="connsiteY1379" fmla="*/ 69519 h 1237129"/>
              <a:gd name="connsiteX1380" fmla="*/ 726766 w 3751729"/>
              <a:gd name="connsiteY1380" fmla="*/ 71242 h 1237129"/>
              <a:gd name="connsiteX1381" fmla="*/ 726028 w 3751729"/>
              <a:gd name="connsiteY1381" fmla="*/ 71242 h 1237129"/>
              <a:gd name="connsiteX1382" fmla="*/ 724304 w 3751729"/>
              <a:gd name="connsiteY1382" fmla="*/ 72966 h 1237129"/>
              <a:gd name="connsiteX1383" fmla="*/ 722827 w 3751729"/>
              <a:gd name="connsiteY1383" fmla="*/ 72966 h 1237129"/>
              <a:gd name="connsiteX1384" fmla="*/ 720366 w 3751729"/>
              <a:gd name="connsiteY1384" fmla="*/ 72966 h 1237129"/>
              <a:gd name="connsiteX1385" fmla="*/ 720366 w 3751729"/>
              <a:gd name="connsiteY1385" fmla="*/ 67796 h 1237129"/>
              <a:gd name="connsiteX1386" fmla="*/ 720366 w 3751729"/>
              <a:gd name="connsiteY1386" fmla="*/ 65335 h 1237129"/>
              <a:gd name="connsiteX1387" fmla="*/ 721104 w 3751729"/>
              <a:gd name="connsiteY1387" fmla="*/ 63611 h 1237129"/>
              <a:gd name="connsiteX1388" fmla="*/ 633474 w 3751729"/>
              <a:gd name="connsiteY1388" fmla="*/ 8720 h 1237129"/>
              <a:gd name="connsiteX1389" fmla="*/ 633474 w 3751729"/>
              <a:gd name="connsiteY1389" fmla="*/ 15366 h 1237129"/>
              <a:gd name="connsiteX1390" fmla="*/ 635197 w 3751729"/>
              <a:gd name="connsiteY1390" fmla="*/ 18812 h 1237129"/>
              <a:gd name="connsiteX1391" fmla="*/ 635936 w 3751729"/>
              <a:gd name="connsiteY1391" fmla="*/ 21274 h 1237129"/>
              <a:gd name="connsiteX1392" fmla="*/ 635936 w 3751729"/>
              <a:gd name="connsiteY1392" fmla="*/ 26197 h 1237129"/>
              <a:gd name="connsiteX1393" fmla="*/ 635936 w 3751729"/>
              <a:gd name="connsiteY1393" fmla="*/ 32104 h 1237129"/>
              <a:gd name="connsiteX1394" fmla="*/ 652428 w 3751729"/>
              <a:gd name="connsiteY1394" fmla="*/ 32104 h 1237129"/>
              <a:gd name="connsiteX1395" fmla="*/ 666459 w 3751729"/>
              <a:gd name="connsiteY1395" fmla="*/ 47859 h 1237129"/>
              <a:gd name="connsiteX1396" fmla="*/ 680489 w 3751729"/>
              <a:gd name="connsiteY1396" fmla="*/ 63611 h 1237129"/>
              <a:gd name="connsiteX1397" fmla="*/ 680489 w 3751729"/>
              <a:gd name="connsiteY1397" fmla="*/ 65336 h 1237129"/>
              <a:gd name="connsiteX1398" fmla="*/ 679752 w 3751729"/>
              <a:gd name="connsiteY1398" fmla="*/ 67058 h 1237129"/>
              <a:gd name="connsiteX1399" fmla="*/ 679752 w 3751729"/>
              <a:gd name="connsiteY1399" fmla="*/ 67796 h 1237129"/>
              <a:gd name="connsiteX1400" fmla="*/ 678028 w 3751729"/>
              <a:gd name="connsiteY1400" fmla="*/ 69520 h 1237129"/>
              <a:gd name="connsiteX1401" fmla="*/ 675566 w 3751729"/>
              <a:gd name="connsiteY1401" fmla="*/ 72966 h 1237129"/>
              <a:gd name="connsiteX1402" fmla="*/ 674090 w 3751729"/>
              <a:gd name="connsiteY1402" fmla="*/ 73704 h 1237129"/>
              <a:gd name="connsiteX1403" fmla="*/ 672367 w 3751729"/>
              <a:gd name="connsiteY1403" fmla="*/ 75428 h 1237129"/>
              <a:gd name="connsiteX1404" fmla="*/ 670643 w 3751729"/>
              <a:gd name="connsiteY1404" fmla="*/ 75428 h 1237129"/>
              <a:gd name="connsiteX1405" fmla="*/ 666459 w 3751729"/>
              <a:gd name="connsiteY1405" fmla="*/ 75428 h 1237129"/>
              <a:gd name="connsiteX1406" fmla="*/ 662520 w 3751729"/>
              <a:gd name="connsiteY1406" fmla="*/ 77151 h 1237129"/>
              <a:gd name="connsiteX1407" fmla="*/ 662520 w 3751729"/>
              <a:gd name="connsiteY1407" fmla="*/ 72966 h 1237129"/>
              <a:gd name="connsiteX1408" fmla="*/ 662520 w 3751729"/>
              <a:gd name="connsiteY1408" fmla="*/ 67796 h 1237129"/>
              <a:gd name="connsiteX1409" fmla="*/ 662520 w 3751729"/>
              <a:gd name="connsiteY1409" fmla="*/ 65336 h 1237129"/>
              <a:gd name="connsiteX1410" fmla="*/ 662520 w 3751729"/>
              <a:gd name="connsiteY1410" fmla="*/ 63611 h 1237129"/>
              <a:gd name="connsiteX1411" fmla="*/ 659074 w 3751729"/>
              <a:gd name="connsiteY1411" fmla="*/ 61151 h 1237129"/>
              <a:gd name="connsiteX1412" fmla="*/ 656613 w 3751729"/>
              <a:gd name="connsiteY1412" fmla="*/ 59427 h 1237129"/>
              <a:gd name="connsiteX1413" fmla="*/ 652428 w 3751729"/>
              <a:gd name="connsiteY1413" fmla="*/ 56227 h 1237129"/>
              <a:gd name="connsiteX1414" fmla="*/ 647505 w 3751729"/>
              <a:gd name="connsiteY1414" fmla="*/ 67796 h 1237129"/>
              <a:gd name="connsiteX1415" fmla="*/ 639381 w 3751729"/>
              <a:gd name="connsiteY1415" fmla="*/ 75428 h 1237129"/>
              <a:gd name="connsiteX1416" fmla="*/ 627813 w 3751729"/>
              <a:gd name="connsiteY1416" fmla="*/ 79612 h 1237129"/>
              <a:gd name="connsiteX1417" fmla="*/ 627813 w 3751729"/>
              <a:gd name="connsiteY1417" fmla="*/ 75428 h 1237129"/>
              <a:gd name="connsiteX1418" fmla="*/ 627813 w 3751729"/>
              <a:gd name="connsiteY1418" fmla="*/ 72966 h 1237129"/>
              <a:gd name="connsiteX1419" fmla="*/ 629290 w 3751729"/>
              <a:gd name="connsiteY1419" fmla="*/ 69520 h 1237129"/>
              <a:gd name="connsiteX1420" fmla="*/ 627813 w 3751729"/>
              <a:gd name="connsiteY1420" fmla="*/ 67058 h 1237129"/>
              <a:gd name="connsiteX1421" fmla="*/ 626089 w 3751729"/>
              <a:gd name="connsiteY1421" fmla="*/ 63611 h 1237129"/>
              <a:gd name="connsiteX1422" fmla="*/ 624367 w 3751729"/>
              <a:gd name="connsiteY1422" fmla="*/ 59427 h 1237129"/>
              <a:gd name="connsiteX1423" fmla="*/ 620182 w 3751729"/>
              <a:gd name="connsiteY1423" fmla="*/ 57950 h 1237129"/>
              <a:gd name="connsiteX1424" fmla="*/ 617720 w 3751729"/>
              <a:gd name="connsiteY1424" fmla="*/ 56227 h 1237129"/>
              <a:gd name="connsiteX1425" fmla="*/ 614520 w 3751729"/>
              <a:gd name="connsiteY1425" fmla="*/ 56227 h 1237129"/>
              <a:gd name="connsiteX1426" fmla="*/ 612058 w 3751729"/>
              <a:gd name="connsiteY1426" fmla="*/ 55490 h 1237129"/>
              <a:gd name="connsiteX1427" fmla="*/ 610335 w 3751729"/>
              <a:gd name="connsiteY1427" fmla="*/ 55490 h 1237129"/>
              <a:gd name="connsiteX1428" fmla="*/ 607135 w 3751729"/>
              <a:gd name="connsiteY1428" fmla="*/ 53766 h 1237129"/>
              <a:gd name="connsiteX1429" fmla="*/ 604674 w 3751729"/>
              <a:gd name="connsiteY1429" fmla="*/ 50319 h 1237129"/>
              <a:gd name="connsiteX1430" fmla="*/ 612797 w 3751729"/>
              <a:gd name="connsiteY1430" fmla="*/ 40474 h 1237129"/>
              <a:gd name="connsiteX1431" fmla="*/ 618704 w 3751729"/>
              <a:gd name="connsiteY1431" fmla="*/ 28658 h 1237129"/>
              <a:gd name="connsiteX1432" fmla="*/ 624367 w 3751729"/>
              <a:gd name="connsiteY1432" fmla="*/ 17089 h 1237129"/>
              <a:gd name="connsiteX1433" fmla="*/ 3641951 w 3751729"/>
              <a:gd name="connsiteY1433" fmla="*/ 0 h 1237129"/>
              <a:gd name="connsiteX1434" fmla="*/ 3750040 w 3751729"/>
              <a:gd name="connsiteY1434" fmla="*/ 0 h 1237129"/>
              <a:gd name="connsiteX1435" fmla="*/ 3751729 w 3751729"/>
              <a:gd name="connsiteY1435" fmla="*/ 7982 h 1237129"/>
              <a:gd name="connsiteX1436" fmla="*/ 3722929 w 3751729"/>
              <a:gd name="connsiteY1436" fmla="*/ 7982 h 1237129"/>
              <a:gd name="connsiteX1437" fmla="*/ 3721206 w 3751729"/>
              <a:gd name="connsiteY1437" fmla="*/ 10443 h 1237129"/>
              <a:gd name="connsiteX1438" fmla="*/ 3718744 w 3751729"/>
              <a:gd name="connsiteY1438" fmla="*/ 13888 h 1237129"/>
              <a:gd name="connsiteX1439" fmla="*/ 3717022 w 3751729"/>
              <a:gd name="connsiteY1439" fmla="*/ 15612 h 1237129"/>
              <a:gd name="connsiteX1440" fmla="*/ 3715298 w 3751729"/>
              <a:gd name="connsiteY1440" fmla="*/ 19797 h 1237129"/>
              <a:gd name="connsiteX1441" fmla="*/ 3713576 w 3751729"/>
              <a:gd name="connsiteY1441" fmla="*/ 23981 h 1237129"/>
              <a:gd name="connsiteX1442" fmla="*/ 3716775 w 3751729"/>
              <a:gd name="connsiteY1442" fmla="*/ 25705 h 1237129"/>
              <a:gd name="connsiteX1443" fmla="*/ 3718497 w 3751729"/>
              <a:gd name="connsiteY1443" fmla="*/ 27428 h 1237129"/>
              <a:gd name="connsiteX1444" fmla="*/ 3719237 w 3751729"/>
              <a:gd name="connsiteY1444" fmla="*/ 28166 h 1237129"/>
              <a:gd name="connsiteX1445" fmla="*/ 3720959 w 3751729"/>
              <a:gd name="connsiteY1445" fmla="*/ 31611 h 1237129"/>
              <a:gd name="connsiteX1446" fmla="*/ 3720959 w 3751729"/>
              <a:gd name="connsiteY1446" fmla="*/ 33335 h 1237129"/>
              <a:gd name="connsiteX1447" fmla="*/ 3719237 w 3751729"/>
              <a:gd name="connsiteY1447" fmla="*/ 35797 h 1237129"/>
              <a:gd name="connsiteX1448" fmla="*/ 3716775 w 3751729"/>
              <a:gd name="connsiteY1448" fmla="*/ 39982 h 1237129"/>
              <a:gd name="connsiteX1449" fmla="*/ 3715052 w 3751729"/>
              <a:gd name="connsiteY1449" fmla="*/ 41704 h 1237129"/>
              <a:gd name="connsiteX1450" fmla="*/ 3712591 w 3751729"/>
              <a:gd name="connsiteY1450" fmla="*/ 43428 h 1237129"/>
              <a:gd name="connsiteX1451" fmla="*/ 3709391 w 3751729"/>
              <a:gd name="connsiteY1451" fmla="*/ 43428 h 1237129"/>
              <a:gd name="connsiteX1452" fmla="*/ 3706929 w 3751729"/>
              <a:gd name="connsiteY1452" fmla="*/ 43428 h 1237129"/>
              <a:gd name="connsiteX1453" fmla="*/ 3701267 w 3751729"/>
              <a:gd name="connsiteY1453" fmla="*/ 43428 h 1237129"/>
              <a:gd name="connsiteX1454" fmla="*/ 3695606 w 3751729"/>
              <a:gd name="connsiteY1454" fmla="*/ 34320 h 1237129"/>
              <a:gd name="connsiteX1455" fmla="*/ 3686498 w 3751729"/>
              <a:gd name="connsiteY1455" fmla="*/ 30136 h 1237129"/>
              <a:gd name="connsiteX1456" fmla="*/ 3674930 w 3751729"/>
              <a:gd name="connsiteY1456" fmla="*/ 27674 h 1237129"/>
              <a:gd name="connsiteX1457" fmla="*/ 3674930 w 3751729"/>
              <a:gd name="connsiteY1457" fmla="*/ 16844 h 1237129"/>
              <a:gd name="connsiteX1458" fmla="*/ 3672467 w 3751729"/>
              <a:gd name="connsiteY1458" fmla="*/ 16104 h 1237129"/>
              <a:gd name="connsiteX1459" fmla="*/ 3669267 w 3751729"/>
              <a:gd name="connsiteY1459" fmla="*/ 14381 h 1237129"/>
              <a:gd name="connsiteX1460" fmla="*/ 3668529 w 3751729"/>
              <a:gd name="connsiteY1460" fmla="*/ 12659 h 1237129"/>
              <a:gd name="connsiteX1461" fmla="*/ 3665329 w 3751729"/>
              <a:gd name="connsiteY1461" fmla="*/ 10935 h 1237129"/>
              <a:gd name="connsiteX1462" fmla="*/ 3659668 w 3751729"/>
              <a:gd name="connsiteY1462" fmla="*/ 10935 h 1237129"/>
              <a:gd name="connsiteX1463" fmla="*/ 3657944 w 3751729"/>
              <a:gd name="connsiteY1463" fmla="*/ 10935 h 1237129"/>
              <a:gd name="connsiteX1464" fmla="*/ 3657207 w 3751729"/>
              <a:gd name="connsiteY1464" fmla="*/ 12659 h 1237129"/>
              <a:gd name="connsiteX1465" fmla="*/ 3655483 w 3751729"/>
              <a:gd name="connsiteY1465" fmla="*/ 12659 h 1237129"/>
              <a:gd name="connsiteX1466" fmla="*/ 3653760 w 3751729"/>
              <a:gd name="connsiteY1466" fmla="*/ 12659 h 1237129"/>
              <a:gd name="connsiteX1467" fmla="*/ 3651298 w 3751729"/>
              <a:gd name="connsiteY1467" fmla="*/ 14381 h 1237129"/>
              <a:gd name="connsiteX1468" fmla="*/ 3648098 w 3751729"/>
              <a:gd name="connsiteY1468" fmla="*/ 8474 h 1237129"/>
              <a:gd name="connsiteX1469" fmla="*/ 3643914 w 3751729"/>
              <a:gd name="connsiteY1469" fmla="*/ 2567 h 1237129"/>
              <a:gd name="connsiteX1470" fmla="*/ 1870193 w 3751729"/>
              <a:gd name="connsiteY1470" fmla="*/ 0 h 1237129"/>
              <a:gd name="connsiteX1471" fmla="*/ 1986120 w 3751729"/>
              <a:gd name="connsiteY1471" fmla="*/ 0 h 1237129"/>
              <a:gd name="connsiteX1472" fmla="*/ 1986571 w 3751729"/>
              <a:gd name="connsiteY1472" fmla="*/ 3551 h 1237129"/>
              <a:gd name="connsiteX1473" fmla="*/ 1988295 w 3751729"/>
              <a:gd name="connsiteY1473" fmla="*/ 17827 h 1237129"/>
              <a:gd name="connsiteX1474" fmla="*/ 1990757 w 3751729"/>
              <a:gd name="connsiteY1474" fmla="*/ 29643 h 1237129"/>
              <a:gd name="connsiteX1475" fmla="*/ 1993956 w 3751729"/>
              <a:gd name="connsiteY1475" fmla="*/ 37274 h 1237129"/>
              <a:gd name="connsiteX1476" fmla="*/ 1996418 w 3751729"/>
              <a:gd name="connsiteY1476" fmla="*/ 41458 h 1237129"/>
              <a:gd name="connsiteX1477" fmla="*/ 2000603 w 3751729"/>
              <a:gd name="connsiteY1477" fmla="*/ 43181 h 1237129"/>
              <a:gd name="connsiteX1478" fmla="*/ 2003802 w 3751729"/>
              <a:gd name="connsiteY1478" fmla="*/ 46628 h 1237129"/>
              <a:gd name="connsiteX1479" fmla="*/ 2009465 w 3751729"/>
              <a:gd name="connsiteY1479" fmla="*/ 47366 h 1237129"/>
              <a:gd name="connsiteX1480" fmla="*/ 2007741 w 3751729"/>
              <a:gd name="connsiteY1480" fmla="*/ 37274 h 1237129"/>
              <a:gd name="connsiteX1481" fmla="*/ 2006018 w 3751729"/>
              <a:gd name="connsiteY1481" fmla="*/ 29643 h 1237129"/>
              <a:gd name="connsiteX1482" fmla="*/ 2006018 w 3751729"/>
              <a:gd name="connsiteY1482" fmla="*/ 21274 h 1237129"/>
              <a:gd name="connsiteX1483" fmla="*/ 2011187 w 3751729"/>
              <a:gd name="connsiteY1483" fmla="*/ 21274 h 1237129"/>
              <a:gd name="connsiteX1484" fmla="*/ 2011187 w 3751729"/>
              <a:gd name="connsiteY1484" fmla="*/ 17827 h 1237129"/>
              <a:gd name="connsiteX1485" fmla="*/ 2021032 w 3751729"/>
              <a:gd name="connsiteY1485" fmla="*/ 23735 h 1237129"/>
              <a:gd name="connsiteX1486" fmla="*/ 2030879 w 3751729"/>
              <a:gd name="connsiteY1486" fmla="*/ 29643 h 1237129"/>
              <a:gd name="connsiteX1487" fmla="*/ 2042448 w 3751729"/>
              <a:gd name="connsiteY1487" fmla="*/ 34566 h 1237129"/>
              <a:gd name="connsiteX1488" fmla="*/ 2044171 w 3751729"/>
              <a:gd name="connsiteY1488" fmla="*/ 31120 h 1237129"/>
              <a:gd name="connsiteX1489" fmla="*/ 2045895 w 3751729"/>
              <a:gd name="connsiteY1489" fmla="*/ 28658 h 1237129"/>
              <a:gd name="connsiteX1490" fmla="*/ 2046633 w 3751729"/>
              <a:gd name="connsiteY1490" fmla="*/ 26936 h 1237129"/>
              <a:gd name="connsiteX1491" fmla="*/ 2048355 w 3751729"/>
              <a:gd name="connsiteY1491" fmla="*/ 22750 h 1237129"/>
              <a:gd name="connsiteX1492" fmla="*/ 2048355 w 3751729"/>
              <a:gd name="connsiteY1492" fmla="*/ 17827 h 1237129"/>
              <a:gd name="connsiteX1493" fmla="*/ 2046633 w 3751729"/>
              <a:gd name="connsiteY1493" fmla="*/ 17089 h 1237129"/>
              <a:gd name="connsiteX1494" fmla="*/ 2045895 w 3751729"/>
              <a:gd name="connsiteY1494" fmla="*/ 15366 h 1237129"/>
              <a:gd name="connsiteX1495" fmla="*/ 2044171 w 3751729"/>
              <a:gd name="connsiteY1495" fmla="*/ 13643 h 1237129"/>
              <a:gd name="connsiteX1496" fmla="*/ 2044171 w 3751729"/>
              <a:gd name="connsiteY1496" fmla="*/ 11920 h 1237129"/>
              <a:gd name="connsiteX1497" fmla="*/ 2044171 w 3751729"/>
              <a:gd name="connsiteY1497" fmla="*/ 9458 h 1237129"/>
              <a:gd name="connsiteX1498" fmla="*/ 2042448 w 3751729"/>
              <a:gd name="connsiteY1498" fmla="*/ 5274 h 1237129"/>
              <a:gd name="connsiteX1499" fmla="*/ 2054314 w 3751729"/>
              <a:gd name="connsiteY1499" fmla="*/ 0 h 1237129"/>
              <a:gd name="connsiteX1500" fmla="*/ 3640714 w 3751729"/>
              <a:gd name="connsiteY1500" fmla="*/ 0 h 1237129"/>
              <a:gd name="connsiteX1501" fmla="*/ 3640714 w 3751729"/>
              <a:gd name="connsiteY1501" fmla="*/ 8474 h 1237129"/>
              <a:gd name="connsiteX1502" fmla="*/ 3638252 w 3751729"/>
              <a:gd name="connsiteY1502" fmla="*/ 20290 h 1237129"/>
              <a:gd name="connsiteX1503" fmla="*/ 3635053 w 3751729"/>
              <a:gd name="connsiteY1503" fmla="*/ 30382 h 1237129"/>
              <a:gd name="connsiteX1504" fmla="*/ 3628406 w 3751729"/>
              <a:gd name="connsiteY1504" fmla="*/ 36289 h 1237129"/>
              <a:gd name="connsiteX1505" fmla="*/ 3625207 w 3751729"/>
              <a:gd name="connsiteY1505" fmla="*/ 38012 h 1237129"/>
              <a:gd name="connsiteX1506" fmla="*/ 3622745 w 3751729"/>
              <a:gd name="connsiteY1506" fmla="*/ 38012 h 1237129"/>
              <a:gd name="connsiteX1507" fmla="*/ 3621022 w 3751729"/>
              <a:gd name="connsiteY1507" fmla="*/ 38012 h 1237129"/>
              <a:gd name="connsiteX1508" fmla="*/ 3619298 w 3751729"/>
              <a:gd name="connsiteY1508" fmla="*/ 38012 h 1237129"/>
              <a:gd name="connsiteX1509" fmla="*/ 3617576 w 3751729"/>
              <a:gd name="connsiteY1509" fmla="*/ 36289 h 1237129"/>
              <a:gd name="connsiteX1510" fmla="*/ 3616838 w 3751729"/>
              <a:gd name="connsiteY1510" fmla="*/ 36289 h 1237129"/>
              <a:gd name="connsiteX1511" fmla="*/ 3615114 w 3751729"/>
              <a:gd name="connsiteY1511" fmla="*/ 36289 h 1237129"/>
              <a:gd name="connsiteX1512" fmla="*/ 3613391 w 3751729"/>
              <a:gd name="connsiteY1512" fmla="*/ 38012 h 1237129"/>
              <a:gd name="connsiteX1513" fmla="*/ 3611668 w 3751729"/>
              <a:gd name="connsiteY1513" fmla="*/ 39735 h 1237129"/>
              <a:gd name="connsiteX1514" fmla="*/ 3609207 w 3751729"/>
              <a:gd name="connsiteY1514" fmla="*/ 43920 h 1237129"/>
              <a:gd name="connsiteX1515" fmla="*/ 3617576 w 3751729"/>
              <a:gd name="connsiteY1515" fmla="*/ 54012 h 1237129"/>
              <a:gd name="connsiteX1516" fmla="*/ 3626683 w 3751729"/>
              <a:gd name="connsiteY1516" fmla="*/ 71735 h 1237129"/>
              <a:gd name="connsiteX1517" fmla="*/ 3630868 w 3751729"/>
              <a:gd name="connsiteY1517" fmla="*/ 91920 h 1237129"/>
              <a:gd name="connsiteX1518" fmla="*/ 3628406 w 3751729"/>
              <a:gd name="connsiteY1518" fmla="*/ 91920 h 1237129"/>
              <a:gd name="connsiteX1519" fmla="*/ 3626683 w 3751729"/>
              <a:gd name="connsiteY1519" fmla="*/ 93643 h 1237129"/>
              <a:gd name="connsiteX1520" fmla="*/ 3623483 w 3751729"/>
              <a:gd name="connsiteY1520" fmla="*/ 93643 h 1237129"/>
              <a:gd name="connsiteX1521" fmla="*/ 3619298 w 3751729"/>
              <a:gd name="connsiteY1521" fmla="*/ 95365 h 1237129"/>
              <a:gd name="connsiteX1522" fmla="*/ 3613637 w 3751729"/>
              <a:gd name="connsiteY1522" fmla="*/ 91181 h 1237129"/>
              <a:gd name="connsiteX1523" fmla="*/ 3609452 w 3751729"/>
              <a:gd name="connsiteY1523" fmla="*/ 87734 h 1237129"/>
              <a:gd name="connsiteX1524" fmla="*/ 3603791 w 3751729"/>
              <a:gd name="connsiteY1524" fmla="*/ 86996 h 1237129"/>
              <a:gd name="connsiteX1525" fmla="*/ 3596406 w 3751729"/>
              <a:gd name="connsiteY1525" fmla="*/ 85274 h 1237129"/>
              <a:gd name="connsiteX1526" fmla="*/ 3592222 w 3751729"/>
              <a:gd name="connsiteY1526" fmla="*/ 97089 h 1237129"/>
              <a:gd name="connsiteX1527" fmla="*/ 3583854 w 3751729"/>
              <a:gd name="connsiteY1527" fmla="*/ 102997 h 1237129"/>
              <a:gd name="connsiteX1528" fmla="*/ 3573022 w 3751729"/>
              <a:gd name="connsiteY1528" fmla="*/ 107181 h 1237129"/>
              <a:gd name="connsiteX1529" fmla="*/ 3561453 w 3751729"/>
              <a:gd name="connsiteY1529" fmla="*/ 111366 h 1237129"/>
              <a:gd name="connsiteX1530" fmla="*/ 3560715 w 3751729"/>
              <a:gd name="connsiteY1530" fmla="*/ 123180 h 1237129"/>
              <a:gd name="connsiteX1531" fmla="*/ 3557514 w 3751729"/>
              <a:gd name="connsiteY1531" fmla="*/ 132289 h 1237129"/>
              <a:gd name="connsiteX1532" fmla="*/ 3551854 w 3751729"/>
              <a:gd name="connsiteY1532" fmla="*/ 140657 h 1237129"/>
              <a:gd name="connsiteX1533" fmla="*/ 3540284 w 3751729"/>
              <a:gd name="connsiteY1533" fmla="*/ 142381 h 1237129"/>
              <a:gd name="connsiteX1534" fmla="*/ 3531915 w 3751729"/>
              <a:gd name="connsiteY1534" fmla="*/ 144842 h 1237129"/>
              <a:gd name="connsiteX1535" fmla="*/ 3526253 w 3751729"/>
              <a:gd name="connsiteY1535" fmla="*/ 148288 h 1237129"/>
              <a:gd name="connsiteX1536" fmla="*/ 3520592 w 3751729"/>
              <a:gd name="connsiteY1536" fmla="*/ 150012 h 1237129"/>
              <a:gd name="connsiteX1537" fmla="*/ 3516408 w 3751729"/>
              <a:gd name="connsiteY1537" fmla="*/ 146565 h 1237129"/>
              <a:gd name="connsiteX1538" fmla="*/ 3511484 w 3751729"/>
              <a:gd name="connsiteY1538" fmla="*/ 142381 h 1237129"/>
              <a:gd name="connsiteX1539" fmla="*/ 3509022 w 3751729"/>
              <a:gd name="connsiteY1539" fmla="*/ 138196 h 1237129"/>
              <a:gd name="connsiteX1540" fmla="*/ 3503362 w 3751729"/>
              <a:gd name="connsiteY1540" fmla="*/ 138935 h 1237129"/>
              <a:gd name="connsiteX1541" fmla="*/ 3495977 w 3751729"/>
              <a:gd name="connsiteY1541" fmla="*/ 140657 h 1237129"/>
              <a:gd name="connsiteX1542" fmla="*/ 3490315 w 3751729"/>
              <a:gd name="connsiteY1542" fmla="*/ 144103 h 1237129"/>
              <a:gd name="connsiteX1543" fmla="*/ 3486130 w 3751729"/>
              <a:gd name="connsiteY1543" fmla="*/ 146565 h 1237129"/>
              <a:gd name="connsiteX1544" fmla="*/ 3486130 w 3751729"/>
              <a:gd name="connsiteY1544" fmla="*/ 152473 h 1237129"/>
              <a:gd name="connsiteX1545" fmla="*/ 3481946 w 3751729"/>
              <a:gd name="connsiteY1545" fmla="*/ 154195 h 1237129"/>
              <a:gd name="connsiteX1546" fmla="*/ 3474562 w 3751729"/>
              <a:gd name="connsiteY1546" fmla="*/ 154195 h 1237129"/>
              <a:gd name="connsiteX1547" fmla="*/ 3464716 w 3751729"/>
              <a:gd name="connsiteY1547" fmla="*/ 154195 h 1237129"/>
              <a:gd name="connsiteX1548" fmla="*/ 3455608 w 3751729"/>
              <a:gd name="connsiteY1548" fmla="*/ 155919 h 1237129"/>
              <a:gd name="connsiteX1549" fmla="*/ 3451423 w 3751729"/>
              <a:gd name="connsiteY1549" fmla="*/ 156658 h 1237129"/>
              <a:gd name="connsiteX1550" fmla="*/ 3444038 w 3751729"/>
              <a:gd name="connsiteY1550" fmla="*/ 174381 h 1237129"/>
              <a:gd name="connsiteX1551" fmla="*/ 3443300 w 3751729"/>
              <a:gd name="connsiteY1551" fmla="*/ 193580 h 1237129"/>
              <a:gd name="connsiteX1552" fmla="*/ 3443300 w 3751729"/>
              <a:gd name="connsiteY1552" fmla="*/ 215488 h 1237129"/>
              <a:gd name="connsiteX1553" fmla="*/ 3445762 w 3751729"/>
              <a:gd name="connsiteY1553" fmla="*/ 234687 h 1237129"/>
              <a:gd name="connsiteX1554" fmla="*/ 3441577 w 3751729"/>
              <a:gd name="connsiteY1554" fmla="*/ 234687 h 1237129"/>
              <a:gd name="connsiteX1555" fmla="*/ 3439854 w 3751729"/>
              <a:gd name="connsiteY1555" fmla="*/ 234687 h 1237129"/>
              <a:gd name="connsiteX1556" fmla="*/ 3438131 w 3751729"/>
              <a:gd name="connsiteY1556" fmla="*/ 234687 h 1237129"/>
              <a:gd name="connsiteX1557" fmla="*/ 3437392 w 3751729"/>
              <a:gd name="connsiteY1557" fmla="*/ 236410 h 1237129"/>
              <a:gd name="connsiteX1558" fmla="*/ 3435670 w 3751729"/>
              <a:gd name="connsiteY1558" fmla="*/ 237150 h 1237129"/>
              <a:gd name="connsiteX1559" fmla="*/ 3433946 w 3751729"/>
              <a:gd name="connsiteY1559" fmla="*/ 242072 h 1237129"/>
              <a:gd name="connsiteX1560" fmla="*/ 3432223 w 3751729"/>
              <a:gd name="connsiteY1560" fmla="*/ 246257 h 1237129"/>
              <a:gd name="connsiteX1561" fmla="*/ 3432223 w 3751729"/>
              <a:gd name="connsiteY1561" fmla="*/ 252164 h 1237129"/>
              <a:gd name="connsiteX1562" fmla="*/ 3432223 w 3751729"/>
              <a:gd name="connsiteY1562" fmla="*/ 258810 h 1237129"/>
              <a:gd name="connsiteX1563" fmla="*/ 3422377 w 3751729"/>
              <a:gd name="connsiteY1563" fmla="*/ 258810 h 1237129"/>
              <a:gd name="connsiteX1564" fmla="*/ 3416715 w 3751729"/>
              <a:gd name="connsiteY1564" fmla="*/ 267918 h 1237129"/>
              <a:gd name="connsiteX1565" fmla="*/ 3412531 w 3751729"/>
              <a:gd name="connsiteY1565" fmla="*/ 273825 h 1237129"/>
              <a:gd name="connsiteX1566" fmla="*/ 3410808 w 3751729"/>
              <a:gd name="connsiteY1566" fmla="*/ 279734 h 1237129"/>
              <a:gd name="connsiteX1567" fmla="*/ 3409084 w 3751729"/>
              <a:gd name="connsiteY1567" fmla="*/ 291548 h 1237129"/>
              <a:gd name="connsiteX1568" fmla="*/ 3406623 w 3751729"/>
              <a:gd name="connsiteY1568" fmla="*/ 291548 h 1237129"/>
              <a:gd name="connsiteX1569" fmla="*/ 3403423 w 3751729"/>
              <a:gd name="connsiteY1569" fmla="*/ 291548 h 1237129"/>
              <a:gd name="connsiteX1570" fmla="*/ 3402685 w 3751729"/>
              <a:gd name="connsiteY1570" fmla="*/ 291548 h 1237129"/>
              <a:gd name="connsiteX1571" fmla="*/ 3400962 w 3751729"/>
              <a:gd name="connsiteY1571" fmla="*/ 291548 h 1237129"/>
              <a:gd name="connsiteX1572" fmla="*/ 3397762 w 3751729"/>
              <a:gd name="connsiteY1572" fmla="*/ 291548 h 1237129"/>
              <a:gd name="connsiteX1573" fmla="*/ 3392100 w 3751729"/>
              <a:gd name="connsiteY1573" fmla="*/ 303365 h 1237129"/>
              <a:gd name="connsiteX1574" fmla="*/ 3387915 w 3751729"/>
              <a:gd name="connsiteY1574" fmla="*/ 317641 h 1237129"/>
              <a:gd name="connsiteX1575" fmla="*/ 3378069 w 3751729"/>
              <a:gd name="connsiteY1575" fmla="*/ 317641 h 1237129"/>
              <a:gd name="connsiteX1576" fmla="*/ 3374869 w 3751729"/>
              <a:gd name="connsiteY1576" fmla="*/ 333640 h 1237129"/>
              <a:gd name="connsiteX1577" fmla="*/ 3369947 w 3751729"/>
              <a:gd name="connsiteY1577" fmla="*/ 333640 h 1237129"/>
              <a:gd name="connsiteX1578" fmla="*/ 3369947 w 3751729"/>
              <a:gd name="connsiteY1578" fmla="*/ 329457 h 1237129"/>
              <a:gd name="connsiteX1579" fmla="*/ 3358378 w 3751729"/>
              <a:gd name="connsiteY1579" fmla="*/ 313456 h 1237129"/>
              <a:gd name="connsiteX1580" fmla="*/ 3350993 w 3751729"/>
              <a:gd name="connsiteY1580" fmla="*/ 294256 h 1237129"/>
              <a:gd name="connsiteX1581" fmla="*/ 3349270 w 3751729"/>
              <a:gd name="connsiteY1581" fmla="*/ 272349 h 1237129"/>
              <a:gd name="connsiteX1582" fmla="*/ 3350993 w 3751729"/>
              <a:gd name="connsiteY1582" fmla="*/ 246257 h 1237129"/>
              <a:gd name="connsiteX1583" fmla="*/ 3355178 w 3751729"/>
              <a:gd name="connsiteY1583" fmla="*/ 242811 h 1237129"/>
              <a:gd name="connsiteX1584" fmla="*/ 3358378 w 3751729"/>
              <a:gd name="connsiteY1584" fmla="*/ 240349 h 1237129"/>
              <a:gd name="connsiteX1585" fmla="*/ 3362562 w 3751729"/>
              <a:gd name="connsiteY1585" fmla="*/ 236903 h 1237129"/>
              <a:gd name="connsiteX1586" fmla="*/ 3364285 w 3751729"/>
              <a:gd name="connsiteY1586" fmla="*/ 232719 h 1237129"/>
              <a:gd name="connsiteX1587" fmla="*/ 3366747 w 3751729"/>
              <a:gd name="connsiteY1587" fmla="*/ 226811 h 1237129"/>
              <a:gd name="connsiteX1588" fmla="*/ 3362562 w 3751729"/>
              <a:gd name="connsiteY1588" fmla="*/ 219180 h 1237129"/>
              <a:gd name="connsiteX1589" fmla="*/ 3360839 w 3751729"/>
              <a:gd name="connsiteY1589" fmla="*/ 209088 h 1237129"/>
              <a:gd name="connsiteX1590" fmla="*/ 3366501 w 3751729"/>
              <a:gd name="connsiteY1590" fmla="*/ 197272 h 1237129"/>
              <a:gd name="connsiteX1591" fmla="*/ 3372162 w 3751729"/>
              <a:gd name="connsiteY1591" fmla="*/ 193088 h 1237129"/>
              <a:gd name="connsiteX1592" fmla="*/ 3379547 w 3751729"/>
              <a:gd name="connsiteY1592" fmla="*/ 189642 h 1237129"/>
              <a:gd name="connsiteX1593" fmla="*/ 3387915 w 3751729"/>
              <a:gd name="connsiteY1593" fmla="*/ 187180 h 1237129"/>
              <a:gd name="connsiteX1594" fmla="*/ 3393577 w 3751729"/>
              <a:gd name="connsiteY1594" fmla="*/ 181272 h 1237129"/>
              <a:gd name="connsiteX1595" fmla="*/ 3405147 w 3751729"/>
              <a:gd name="connsiteY1595" fmla="*/ 163550 h 1237129"/>
              <a:gd name="connsiteX1596" fmla="*/ 3416715 w 3751729"/>
              <a:gd name="connsiteY1596" fmla="*/ 145827 h 1237129"/>
              <a:gd name="connsiteX1597" fmla="*/ 3425824 w 3751729"/>
              <a:gd name="connsiteY1597" fmla="*/ 138196 h 1237129"/>
              <a:gd name="connsiteX1598" fmla="*/ 3435670 w 3751729"/>
              <a:gd name="connsiteY1598" fmla="*/ 131550 h 1237129"/>
              <a:gd name="connsiteX1599" fmla="*/ 3445515 w 3751729"/>
              <a:gd name="connsiteY1599" fmla="*/ 123920 h 1237129"/>
              <a:gd name="connsiteX1600" fmla="*/ 3449700 w 3751729"/>
              <a:gd name="connsiteY1600" fmla="*/ 113827 h 1237129"/>
              <a:gd name="connsiteX1601" fmla="*/ 3452900 w 3751729"/>
              <a:gd name="connsiteY1601" fmla="*/ 102011 h 1237129"/>
              <a:gd name="connsiteX1602" fmla="*/ 3457085 w 3751729"/>
              <a:gd name="connsiteY1602" fmla="*/ 91181 h 1237129"/>
              <a:gd name="connsiteX1603" fmla="*/ 3457085 w 3751729"/>
              <a:gd name="connsiteY1603" fmla="*/ 90443 h 1237129"/>
              <a:gd name="connsiteX1604" fmla="*/ 3455361 w 3751729"/>
              <a:gd name="connsiteY1604" fmla="*/ 90443 h 1237129"/>
              <a:gd name="connsiteX1605" fmla="*/ 3455361 w 3751729"/>
              <a:gd name="connsiteY1605" fmla="*/ 88719 h 1237129"/>
              <a:gd name="connsiteX1606" fmla="*/ 3453639 w 3751729"/>
              <a:gd name="connsiteY1606" fmla="*/ 86996 h 1237129"/>
              <a:gd name="connsiteX1607" fmla="*/ 3451176 w 3751729"/>
              <a:gd name="connsiteY1607" fmla="*/ 88719 h 1237129"/>
              <a:gd name="connsiteX1608" fmla="*/ 3449454 w 3751729"/>
              <a:gd name="connsiteY1608" fmla="*/ 90443 h 1237129"/>
              <a:gd name="connsiteX1609" fmla="*/ 3448715 w 3751729"/>
              <a:gd name="connsiteY1609" fmla="*/ 91181 h 1237129"/>
              <a:gd name="connsiteX1610" fmla="*/ 3441331 w 3751729"/>
              <a:gd name="connsiteY1610" fmla="*/ 102011 h 1237129"/>
              <a:gd name="connsiteX1611" fmla="*/ 3433946 w 3751729"/>
              <a:gd name="connsiteY1611" fmla="*/ 113827 h 1237129"/>
              <a:gd name="connsiteX1612" fmla="*/ 3426561 w 3751729"/>
              <a:gd name="connsiteY1612" fmla="*/ 123920 h 1237129"/>
              <a:gd name="connsiteX1613" fmla="*/ 3416715 w 3751729"/>
              <a:gd name="connsiteY1613" fmla="*/ 131550 h 1237129"/>
              <a:gd name="connsiteX1614" fmla="*/ 3403423 w 3751729"/>
              <a:gd name="connsiteY1614" fmla="*/ 137457 h 1237129"/>
              <a:gd name="connsiteX1615" fmla="*/ 3402685 w 3751729"/>
              <a:gd name="connsiteY1615" fmla="*/ 132535 h 1237129"/>
              <a:gd name="connsiteX1616" fmla="*/ 3402685 w 3751729"/>
              <a:gd name="connsiteY1616" fmla="*/ 131796 h 1237129"/>
              <a:gd name="connsiteX1617" fmla="*/ 3400962 w 3751729"/>
              <a:gd name="connsiteY1617" fmla="*/ 128350 h 1237129"/>
              <a:gd name="connsiteX1618" fmla="*/ 3400962 w 3751729"/>
              <a:gd name="connsiteY1618" fmla="*/ 124165 h 1237129"/>
              <a:gd name="connsiteX1619" fmla="*/ 3402685 w 3751729"/>
              <a:gd name="connsiteY1619" fmla="*/ 122442 h 1237129"/>
              <a:gd name="connsiteX1620" fmla="*/ 3402685 w 3751729"/>
              <a:gd name="connsiteY1620" fmla="*/ 120719 h 1237129"/>
              <a:gd name="connsiteX1621" fmla="*/ 3402685 w 3751729"/>
              <a:gd name="connsiteY1621" fmla="*/ 119980 h 1237129"/>
              <a:gd name="connsiteX1622" fmla="*/ 3403423 w 3751729"/>
              <a:gd name="connsiteY1622" fmla="*/ 116534 h 1237129"/>
              <a:gd name="connsiteX1623" fmla="*/ 3403423 w 3751729"/>
              <a:gd name="connsiteY1623" fmla="*/ 114073 h 1237129"/>
              <a:gd name="connsiteX1624" fmla="*/ 3399238 w 3751729"/>
              <a:gd name="connsiteY1624" fmla="*/ 110628 h 1237129"/>
              <a:gd name="connsiteX1625" fmla="*/ 3395054 w 3751729"/>
              <a:gd name="connsiteY1625" fmla="*/ 108903 h 1237129"/>
              <a:gd name="connsiteX1626" fmla="*/ 3391854 w 3751729"/>
              <a:gd name="connsiteY1626" fmla="*/ 108166 h 1237129"/>
              <a:gd name="connsiteX1627" fmla="*/ 3387670 w 3751729"/>
              <a:gd name="connsiteY1627" fmla="*/ 106442 h 1237129"/>
              <a:gd name="connsiteX1628" fmla="*/ 3385208 w 3751729"/>
              <a:gd name="connsiteY1628" fmla="*/ 108166 h 1237129"/>
              <a:gd name="connsiteX1629" fmla="*/ 3377824 w 3751729"/>
              <a:gd name="connsiteY1629" fmla="*/ 112350 h 1237129"/>
              <a:gd name="connsiteX1630" fmla="*/ 3367978 w 3751729"/>
              <a:gd name="connsiteY1630" fmla="*/ 120719 h 1237129"/>
              <a:gd name="connsiteX1631" fmla="*/ 3358870 w 3751729"/>
              <a:gd name="connsiteY1631" fmla="*/ 131550 h 1237129"/>
              <a:gd name="connsiteX1632" fmla="*/ 3350500 w 3751729"/>
              <a:gd name="connsiteY1632" fmla="*/ 141642 h 1237129"/>
              <a:gd name="connsiteX1633" fmla="*/ 3346316 w 3751729"/>
              <a:gd name="connsiteY1633" fmla="*/ 149273 h 1237129"/>
              <a:gd name="connsiteX1634" fmla="*/ 3346316 w 3751729"/>
              <a:gd name="connsiteY1634" fmla="*/ 151734 h 1237129"/>
              <a:gd name="connsiteX1635" fmla="*/ 3346316 w 3751729"/>
              <a:gd name="connsiteY1635" fmla="*/ 155180 h 1237129"/>
              <a:gd name="connsiteX1636" fmla="*/ 3347055 w 3751729"/>
              <a:gd name="connsiteY1636" fmla="*/ 157642 h 1237129"/>
              <a:gd name="connsiteX1637" fmla="*/ 3348778 w 3751729"/>
              <a:gd name="connsiteY1637" fmla="*/ 161826 h 1237129"/>
              <a:gd name="connsiteX1638" fmla="*/ 3350500 w 3751729"/>
              <a:gd name="connsiteY1638" fmla="*/ 165272 h 1237129"/>
              <a:gd name="connsiteX1639" fmla="*/ 3350500 w 3751729"/>
              <a:gd name="connsiteY1639" fmla="*/ 167734 h 1237129"/>
              <a:gd name="connsiteX1640" fmla="*/ 3341394 w 3751729"/>
              <a:gd name="connsiteY1640" fmla="*/ 171918 h 1237129"/>
              <a:gd name="connsiteX1641" fmla="*/ 3331548 w 3751729"/>
              <a:gd name="connsiteY1641" fmla="*/ 173642 h 1237129"/>
              <a:gd name="connsiteX1642" fmla="*/ 3318255 w 3751729"/>
              <a:gd name="connsiteY1642" fmla="*/ 175365 h 1237129"/>
              <a:gd name="connsiteX1643" fmla="*/ 3305947 w 3751729"/>
              <a:gd name="connsiteY1643" fmla="*/ 175365 h 1237129"/>
              <a:gd name="connsiteX1644" fmla="*/ 3305947 w 3751729"/>
              <a:gd name="connsiteY1644" fmla="*/ 159365 h 1237129"/>
              <a:gd name="connsiteX1645" fmla="*/ 3292655 w 3751729"/>
              <a:gd name="connsiteY1645" fmla="*/ 161826 h 1237129"/>
              <a:gd name="connsiteX1646" fmla="*/ 3281085 w 3751729"/>
              <a:gd name="connsiteY1646" fmla="*/ 166750 h 1237129"/>
              <a:gd name="connsiteX1647" fmla="*/ 3271240 w 3751729"/>
              <a:gd name="connsiteY1647" fmla="*/ 165026 h 1237129"/>
              <a:gd name="connsiteX1648" fmla="*/ 3263855 w 3751729"/>
              <a:gd name="connsiteY1648" fmla="*/ 155919 h 1237129"/>
              <a:gd name="connsiteX1649" fmla="*/ 3235055 w 3751729"/>
              <a:gd name="connsiteY1649" fmla="*/ 151734 h 1237129"/>
              <a:gd name="connsiteX1650" fmla="*/ 3225209 w 3751729"/>
              <a:gd name="connsiteY1650" fmla="*/ 161826 h 1237129"/>
              <a:gd name="connsiteX1651" fmla="*/ 3213640 w 3751729"/>
              <a:gd name="connsiteY1651" fmla="*/ 169457 h 1237129"/>
              <a:gd name="connsiteX1652" fmla="*/ 3203794 w 3751729"/>
              <a:gd name="connsiteY1652" fmla="*/ 177827 h 1237129"/>
              <a:gd name="connsiteX1653" fmla="*/ 3198133 w 3751729"/>
              <a:gd name="connsiteY1653" fmla="*/ 188657 h 1237129"/>
              <a:gd name="connsiteX1654" fmla="*/ 3192471 w 3751729"/>
              <a:gd name="connsiteY1654" fmla="*/ 198750 h 1237129"/>
              <a:gd name="connsiteX1655" fmla="*/ 3186810 w 3751729"/>
              <a:gd name="connsiteY1655" fmla="*/ 208841 h 1237129"/>
              <a:gd name="connsiteX1656" fmla="*/ 3179425 w 3751729"/>
              <a:gd name="connsiteY1656" fmla="*/ 216473 h 1237129"/>
              <a:gd name="connsiteX1657" fmla="*/ 3156287 w 3751729"/>
              <a:gd name="connsiteY1657" fmla="*/ 224103 h 1237129"/>
              <a:gd name="connsiteX1658" fmla="*/ 3150625 w 3751729"/>
              <a:gd name="connsiteY1658" fmla="*/ 230011 h 1237129"/>
              <a:gd name="connsiteX1659" fmla="*/ 3146441 w 3751729"/>
              <a:gd name="connsiteY1659" fmla="*/ 236657 h 1237129"/>
              <a:gd name="connsiteX1660" fmla="*/ 3142256 w 3751729"/>
              <a:gd name="connsiteY1660" fmla="*/ 242564 h 1237129"/>
              <a:gd name="connsiteX1661" fmla="*/ 3132409 w 3751729"/>
              <a:gd name="connsiteY1661" fmla="*/ 250195 h 1237129"/>
              <a:gd name="connsiteX1662" fmla="*/ 3132409 w 3751729"/>
              <a:gd name="connsiteY1662" fmla="*/ 258564 h 1237129"/>
              <a:gd name="connsiteX1663" fmla="*/ 3144717 w 3751729"/>
              <a:gd name="connsiteY1663" fmla="*/ 258564 h 1237129"/>
              <a:gd name="connsiteX1664" fmla="*/ 3146441 w 3751729"/>
              <a:gd name="connsiteY1664" fmla="*/ 263487 h 1237129"/>
              <a:gd name="connsiteX1665" fmla="*/ 3148164 w 3751729"/>
              <a:gd name="connsiteY1665" fmla="*/ 265949 h 1237129"/>
              <a:gd name="connsiteX1666" fmla="*/ 3148902 w 3751729"/>
              <a:gd name="connsiteY1666" fmla="*/ 269395 h 1237129"/>
              <a:gd name="connsiteX1667" fmla="*/ 3152102 w 3751729"/>
              <a:gd name="connsiteY1667" fmla="*/ 271857 h 1237129"/>
              <a:gd name="connsiteX1668" fmla="*/ 3154563 w 3751729"/>
              <a:gd name="connsiteY1668" fmla="*/ 273580 h 1237129"/>
              <a:gd name="connsiteX1669" fmla="*/ 3160225 w 3751729"/>
              <a:gd name="connsiteY1669" fmla="*/ 275303 h 1237129"/>
              <a:gd name="connsiteX1670" fmla="*/ 3163425 w 3751729"/>
              <a:gd name="connsiteY1670" fmla="*/ 271857 h 1237129"/>
              <a:gd name="connsiteX1671" fmla="*/ 3165887 w 3751729"/>
              <a:gd name="connsiteY1671" fmla="*/ 270133 h 1237129"/>
              <a:gd name="connsiteX1672" fmla="*/ 3170809 w 3751729"/>
              <a:gd name="connsiteY1672" fmla="*/ 269395 h 1237129"/>
              <a:gd name="connsiteX1673" fmla="*/ 3174994 w 3751729"/>
              <a:gd name="connsiteY1673" fmla="*/ 269395 h 1237129"/>
              <a:gd name="connsiteX1674" fmla="*/ 3182379 w 3751729"/>
              <a:gd name="connsiteY1674" fmla="*/ 269395 h 1237129"/>
              <a:gd name="connsiteX1675" fmla="*/ 3188041 w 3751729"/>
              <a:gd name="connsiteY1675" fmla="*/ 276041 h 1237129"/>
              <a:gd name="connsiteX1676" fmla="*/ 3192225 w 3751729"/>
              <a:gd name="connsiteY1676" fmla="*/ 281949 h 1237129"/>
              <a:gd name="connsiteX1677" fmla="*/ 3194687 w 3751729"/>
              <a:gd name="connsiteY1677" fmla="*/ 289580 h 1237129"/>
              <a:gd name="connsiteX1678" fmla="*/ 3197887 w 3751729"/>
              <a:gd name="connsiteY1678" fmla="*/ 301394 h 1237129"/>
              <a:gd name="connsiteX1679" fmla="*/ 3199609 w 3751729"/>
              <a:gd name="connsiteY1679" fmla="*/ 309026 h 1237129"/>
              <a:gd name="connsiteX1680" fmla="*/ 3197887 w 3751729"/>
              <a:gd name="connsiteY1680" fmla="*/ 313210 h 1237129"/>
              <a:gd name="connsiteX1681" fmla="*/ 3193702 w 3751729"/>
              <a:gd name="connsiteY1681" fmla="*/ 317395 h 1237129"/>
              <a:gd name="connsiteX1682" fmla="*/ 3191978 w 3751729"/>
              <a:gd name="connsiteY1682" fmla="*/ 325026 h 1237129"/>
              <a:gd name="connsiteX1683" fmla="*/ 3191978 w 3751729"/>
              <a:gd name="connsiteY1683" fmla="*/ 333395 h 1237129"/>
              <a:gd name="connsiteX1684" fmla="*/ 3194441 w 3751729"/>
              <a:gd name="connsiteY1684" fmla="*/ 341025 h 1237129"/>
              <a:gd name="connsiteX1685" fmla="*/ 3197640 w 3751729"/>
              <a:gd name="connsiteY1685" fmla="*/ 348656 h 1237129"/>
              <a:gd name="connsiteX1686" fmla="*/ 3200102 w 3751729"/>
              <a:gd name="connsiteY1686" fmla="*/ 358748 h 1237129"/>
              <a:gd name="connsiteX1687" fmla="*/ 3191733 w 3751729"/>
              <a:gd name="connsiteY1687" fmla="*/ 367856 h 1237129"/>
              <a:gd name="connsiteX1688" fmla="*/ 3186072 w 3751729"/>
              <a:gd name="connsiteY1688" fmla="*/ 377949 h 1237129"/>
              <a:gd name="connsiteX1689" fmla="*/ 3181886 w 3751729"/>
              <a:gd name="connsiteY1689" fmla="*/ 388041 h 1237129"/>
              <a:gd name="connsiteX1690" fmla="*/ 3176226 w 3751729"/>
              <a:gd name="connsiteY1690" fmla="*/ 401579 h 1237129"/>
              <a:gd name="connsiteX1691" fmla="*/ 3173025 w 3751729"/>
              <a:gd name="connsiteY1691" fmla="*/ 404041 h 1237129"/>
              <a:gd name="connsiteX1692" fmla="*/ 3165640 w 3751729"/>
              <a:gd name="connsiteY1692" fmla="*/ 413148 h 1237129"/>
              <a:gd name="connsiteX1693" fmla="*/ 3157271 w 3751729"/>
              <a:gd name="connsiteY1693" fmla="*/ 423241 h 1237129"/>
              <a:gd name="connsiteX1694" fmla="*/ 3148164 w 3751729"/>
              <a:gd name="connsiteY1694" fmla="*/ 435056 h 1237129"/>
              <a:gd name="connsiteX1695" fmla="*/ 3138318 w 3751729"/>
              <a:gd name="connsiteY1695" fmla="*/ 445148 h 1237129"/>
              <a:gd name="connsiteX1696" fmla="*/ 3129949 w 3751729"/>
              <a:gd name="connsiteY1696" fmla="*/ 455241 h 1237129"/>
              <a:gd name="connsiteX1697" fmla="*/ 3124288 w 3751729"/>
              <a:gd name="connsiteY1697" fmla="*/ 462871 h 1237129"/>
              <a:gd name="connsiteX1698" fmla="*/ 3121088 w 3751729"/>
              <a:gd name="connsiteY1698" fmla="*/ 466318 h 1237129"/>
              <a:gd name="connsiteX1699" fmla="*/ 3111241 w 3751729"/>
              <a:gd name="connsiteY1699" fmla="*/ 468778 h 1237129"/>
              <a:gd name="connsiteX1700" fmla="*/ 3101395 w 3751729"/>
              <a:gd name="connsiteY1700" fmla="*/ 467056 h 1237129"/>
              <a:gd name="connsiteX1701" fmla="*/ 3092288 w 3751729"/>
              <a:gd name="connsiteY1701" fmla="*/ 467056 h 1237129"/>
              <a:gd name="connsiteX1702" fmla="*/ 3083918 w 3751729"/>
              <a:gd name="connsiteY1702" fmla="*/ 468778 h 1237129"/>
              <a:gd name="connsiteX1703" fmla="*/ 3076533 w 3751729"/>
              <a:gd name="connsiteY1703" fmla="*/ 476409 h 1237129"/>
              <a:gd name="connsiteX1704" fmla="*/ 3070872 w 3751729"/>
              <a:gd name="connsiteY1704" fmla="*/ 484779 h 1237129"/>
              <a:gd name="connsiteX1705" fmla="*/ 3066687 w 3751729"/>
              <a:gd name="connsiteY1705" fmla="*/ 493887 h 1237129"/>
              <a:gd name="connsiteX1706" fmla="*/ 3061026 w 3751729"/>
              <a:gd name="connsiteY1706" fmla="*/ 502256 h 1237129"/>
              <a:gd name="connsiteX1707" fmla="*/ 3052657 w 3751729"/>
              <a:gd name="connsiteY1707" fmla="*/ 508164 h 1237129"/>
              <a:gd name="connsiteX1708" fmla="*/ 3050934 w 3751729"/>
              <a:gd name="connsiteY1708" fmla="*/ 508164 h 1237129"/>
              <a:gd name="connsiteX1709" fmla="*/ 3049211 w 3751729"/>
              <a:gd name="connsiteY1709" fmla="*/ 509887 h 1237129"/>
              <a:gd name="connsiteX1710" fmla="*/ 3047487 w 3751729"/>
              <a:gd name="connsiteY1710" fmla="*/ 509887 h 1237129"/>
              <a:gd name="connsiteX1711" fmla="*/ 3045026 w 3751729"/>
              <a:gd name="connsiteY1711" fmla="*/ 509887 h 1237129"/>
              <a:gd name="connsiteX1712" fmla="*/ 3041826 w 3751729"/>
              <a:gd name="connsiteY1712" fmla="*/ 511610 h 1237129"/>
              <a:gd name="connsiteX1713" fmla="*/ 3045026 w 3751729"/>
              <a:gd name="connsiteY1713" fmla="*/ 519979 h 1237129"/>
              <a:gd name="connsiteX1714" fmla="*/ 3050688 w 3751729"/>
              <a:gd name="connsiteY1714" fmla="*/ 529086 h 1237129"/>
              <a:gd name="connsiteX1715" fmla="*/ 3054872 w 3751729"/>
              <a:gd name="connsiteY1715" fmla="*/ 539179 h 1237129"/>
              <a:gd name="connsiteX1716" fmla="*/ 3060534 w 3751729"/>
              <a:gd name="connsiteY1716" fmla="*/ 549271 h 1237129"/>
              <a:gd name="connsiteX1717" fmla="*/ 3062995 w 3751729"/>
              <a:gd name="connsiteY1717" fmla="*/ 558378 h 1237129"/>
              <a:gd name="connsiteX1718" fmla="*/ 3064719 w 3751729"/>
              <a:gd name="connsiteY1718" fmla="*/ 568471 h 1237129"/>
              <a:gd name="connsiteX1719" fmla="*/ 3062256 w 3751729"/>
              <a:gd name="connsiteY1719" fmla="*/ 575117 h 1237129"/>
              <a:gd name="connsiteX1720" fmla="*/ 3056595 w 3751729"/>
              <a:gd name="connsiteY1720" fmla="*/ 581022 h 1237129"/>
              <a:gd name="connsiteX1721" fmla="*/ 3045026 w 3751729"/>
              <a:gd name="connsiteY1721" fmla="*/ 585945 h 1237129"/>
              <a:gd name="connsiteX1722" fmla="*/ 3026073 w 3751729"/>
              <a:gd name="connsiteY1722" fmla="*/ 588407 h 1237129"/>
              <a:gd name="connsiteX1723" fmla="*/ 3026073 w 3751729"/>
              <a:gd name="connsiteY1723" fmla="*/ 580776 h 1237129"/>
              <a:gd name="connsiteX1724" fmla="*/ 3024348 w 3751729"/>
              <a:gd name="connsiteY1724" fmla="*/ 574133 h 1237129"/>
              <a:gd name="connsiteX1725" fmla="*/ 3024348 w 3751729"/>
              <a:gd name="connsiteY1725" fmla="*/ 564040 h 1237129"/>
              <a:gd name="connsiteX1726" fmla="*/ 3026073 w 3751729"/>
              <a:gd name="connsiteY1726" fmla="*/ 552225 h 1237129"/>
              <a:gd name="connsiteX1727" fmla="*/ 3026073 w 3751729"/>
              <a:gd name="connsiteY1727" fmla="*/ 543117 h 1237129"/>
              <a:gd name="connsiteX1728" fmla="*/ 3021888 w 3751729"/>
              <a:gd name="connsiteY1728" fmla="*/ 543117 h 1237129"/>
              <a:gd name="connsiteX1729" fmla="*/ 3018688 w 3751729"/>
              <a:gd name="connsiteY1729" fmla="*/ 543117 h 1237129"/>
              <a:gd name="connsiteX1730" fmla="*/ 3016226 w 3751729"/>
              <a:gd name="connsiteY1730" fmla="*/ 543117 h 1237129"/>
              <a:gd name="connsiteX1731" fmla="*/ 3014503 w 3751729"/>
              <a:gd name="connsiteY1731" fmla="*/ 543117 h 1237129"/>
              <a:gd name="connsiteX1732" fmla="*/ 3012780 w 3751729"/>
              <a:gd name="connsiteY1732" fmla="*/ 541394 h 1237129"/>
              <a:gd name="connsiteX1733" fmla="*/ 3010318 w 3751729"/>
              <a:gd name="connsiteY1733" fmla="*/ 540655 h 1237129"/>
              <a:gd name="connsiteX1734" fmla="*/ 3007118 w 3751729"/>
              <a:gd name="connsiteY1734" fmla="*/ 535733 h 1237129"/>
              <a:gd name="connsiteX1735" fmla="*/ 3010318 w 3751729"/>
              <a:gd name="connsiteY1735" fmla="*/ 531548 h 1237129"/>
              <a:gd name="connsiteX1736" fmla="*/ 3012780 w 3751729"/>
              <a:gd name="connsiteY1736" fmla="*/ 527363 h 1237129"/>
              <a:gd name="connsiteX1737" fmla="*/ 3014503 w 3751729"/>
              <a:gd name="connsiteY1737" fmla="*/ 523179 h 1237129"/>
              <a:gd name="connsiteX1738" fmla="*/ 3017703 w 3751729"/>
              <a:gd name="connsiteY1738" fmla="*/ 517271 h 1237129"/>
              <a:gd name="connsiteX1739" fmla="*/ 3010318 w 3751729"/>
              <a:gd name="connsiteY1739" fmla="*/ 517271 h 1237129"/>
              <a:gd name="connsiteX1740" fmla="*/ 3001211 w 3751729"/>
              <a:gd name="connsiteY1740" fmla="*/ 515548 h 1237129"/>
              <a:gd name="connsiteX1741" fmla="*/ 2991365 w 3751729"/>
              <a:gd name="connsiteY1741" fmla="*/ 518010 h 1237129"/>
              <a:gd name="connsiteX1742" fmla="*/ 2979796 w 3751729"/>
              <a:gd name="connsiteY1742" fmla="*/ 522932 h 1237129"/>
              <a:gd name="connsiteX1743" fmla="*/ 2969950 w 3751729"/>
              <a:gd name="connsiteY1743" fmla="*/ 527117 h 1237129"/>
              <a:gd name="connsiteX1744" fmla="*/ 2969950 w 3751729"/>
              <a:gd name="connsiteY1744" fmla="*/ 523672 h 1237129"/>
              <a:gd name="connsiteX1745" fmla="*/ 2971672 w 3751729"/>
              <a:gd name="connsiteY1745" fmla="*/ 519486 h 1237129"/>
              <a:gd name="connsiteX1746" fmla="*/ 2973396 w 3751729"/>
              <a:gd name="connsiteY1746" fmla="*/ 517025 h 1237129"/>
              <a:gd name="connsiteX1747" fmla="*/ 2974134 w 3751729"/>
              <a:gd name="connsiteY1747" fmla="*/ 512102 h 1237129"/>
              <a:gd name="connsiteX1748" fmla="*/ 2975857 w 3751729"/>
              <a:gd name="connsiteY1748" fmla="*/ 509640 h 1237129"/>
              <a:gd name="connsiteX1749" fmla="*/ 2978318 w 3751729"/>
              <a:gd name="connsiteY1749" fmla="*/ 503733 h 1237129"/>
              <a:gd name="connsiteX1750" fmla="*/ 2975857 w 3751729"/>
              <a:gd name="connsiteY1750" fmla="*/ 503733 h 1237129"/>
              <a:gd name="connsiteX1751" fmla="*/ 2973396 w 3751729"/>
              <a:gd name="connsiteY1751" fmla="*/ 502009 h 1237129"/>
              <a:gd name="connsiteX1752" fmla="*/ 2970196 w 3751729"/>
              <a:gd name="connsiteY1752" fmla="*/ 502009 h 1237129"/>
              <a:gd name="connsiteX1753" fmla="*/ 2966011 w 3751729"/>
              <a:gd name="connsiteY1753" fmla="*/ 500287 h 1237129"/>
              <a:gd name="connsiteX1754" fmla="*/ 2956904 w 3751729"/>
              <a:gd name="connsiteY1754" fmla="*/ 509395 h 1237129"/>
              <a:gd name="connsiteX1755" fmla="*/ 2947058 w 3751729"/>
              <a:gd name="connsiteY1755" fmla="*/ 517025 h 1237129"/>
              <a:gd name="connsiteX1756" fmla="*/ 2937212 w 3751729"/>
              <a:gd name="connsiteY1756" fmla="*/ 525394 h 1237129"/>
              <a:gd name="connsiteX1757" fmla="*/ 2931550 w 3751729"/>
              <a:gd name="connsiteY1757" fmla="*/ 535487 h 1237129"/>
              <a:gd name="connsiteX1758" fmla="*/ 2937212 w 3751729"/>
              <a:gd name="connsiteY1758" fmla="*/ 538932 h 1237129"/>
              <a:gd name="connsiteX1759" fmla="*/ 2941396 w 3751729"/>
              <a:gd name="connsiteY1759" fmla="*/ 541394 h 1237129"/>
              <a:gd name="connsiteX1760" fmla="*/ 2944596 w 3751729"/>
              <a:gd name="connsiteY1760" fmla="*/ 544840 h 1237129"/>
              <a:gd name="connsiteX1761" fmla="*/ 2947058 w 3751729"/>
              <a:gd name="connsiteY1761" fmla="*/ 547301 h 1237129"/>
              <a:gd name="connsiteX1762" fmla="*/ 2950257 w 3751729"/>
              <a:gd name="connsiteY1762" fmla="*/ 552225 h 1237129"/>
              <a:gd name="connsiteX1763" fmla="*/ 2958626 w 3751729"/>
              <a:gd name="connsiteY1763" fmla="*/ 547301 h 1237129"/>
              <a:gd name="connsiteX1764" fmla="*/ 2966011 w 3751729"/>
              <a:gd name="connsiteY1764" fmla="*/ 544840 h 1237129"/>
              <a:gd name="connsiteX1765" fmla="*/ 2973396 w 3751729"/>
              <a:gd name="connsiteY1765" fmla="*/ 544840 h 1237129"/>
              <a:gd name="connsiteX1766" fmla="*/ 2981764 w 3751729"/>
              <a:gd name="connsiteY1766" fmla="*/ 549025 h 1237129"/>
              <a:gd name="connsiteX1767" fmla="*/ 2985949 w 3751729"/>
              <a:gd name="connsiteY1767" fmla="*/ 549025 h 1237129"/>
              <a:gd name="connsiteX1768" fmla="*/ 2985949 w 3751729"/>
              <a:gd name="connsiteY1768" fmla="*/ 559117 h 1237129"/>
              <a:gd name="connsiteX1769" fmla="*/ 2970196 w 3751729"/>
              <a:gd name="connsiteY1769" fmla="*/ 559117 h 1237129"/>
              <a:gd name="connsiteX1770" fmla="*/ 2964534 w 3751729"/>
              <a:gd name="connsiteY1770" fmla="*/ 566748 h 1237129"/>
              <a:gd name="connsiteX1771" fmla="*/ 2958873 w 3751729"/>
              <a:gd name="connsiteY1771" fmla="*/ 572655 h 1237129"/>
              <a:gd name="connsiteX1772" fmla="*/ 2954688 w 3751729"/>
              <a:gd name="connsiteY1772" fmla="*/ 578561 h 1237129"/>
              <a:gd name="connsiteX1773" fmla="*/ 2950503 w 3751729"/>
              <a:gd name="connsiteY1773" fmla="*/ 588653 h 1237129"/>
              <a:gd name="connsiteX1774" fmla="*/ 2962073 w 3751729"/>
              <a:gd name="connsiteY1774" fmla="*/ 596284 h 1237129"/>
              <a:gd name="connsiteX1775" fmla="*/ 2968719 w 3751729"/>
              <a:gd name="connsiteY1775" fmla="*/ 608099 h 1237129"/>
              <a:gd name="connsiteX1776" fmla="*/ 2974380 w 3751729"/>
              <a:gd name="connsiteY1776" fmla="*/ 624099 h 1237129"/>
              <a:gd name="connsiteX1777" fmla="*/ 2977581 w 3751729"/>
              <a:gd name="connsiteY1777" fmla="*/ 640099 h 1237129"/>
              <a:gd name="connsiteX1778" fmla="*/ 2978318 w 3751729"/>
              <a:gd name="connsiteY1778" fmla="*/ 657822 h 1237129"/>
              <a:gd name="connsiteX1779" fmla="*/ 2978318 w 3751729"/>
              <a:gd name="connsiteY1779" fmla="*/ 673330 h 1237129"/>
              <a:gd name="connsiteX1780" fmla="*/ 2968472 w 3751729"/>
              <a:gd name="connsiteY1780" fmla="*/ 679976 h 1237129"/>
              <a:gd name="connsiteX1781" fmla="*/ 2962811 w 3751729"/>
              <a:gd name="connsiteY1781" fmla="*/ 691791 h 1237129"/>
              <a:gd name="connsiteX1782" fmla="*/ 2957149 w 3751729"/>
              <a:gd name="connsiteY1782" fmla="*/ 702622 h 1237129"/>
              <a:gd name="connsiteX1783" fmla="*/ 2950503 w 3751729"/>
              <a:gd name="connsiteY1783" fmla="*/ 714437 h 1237129"/>
              <a:gd name="connsiteX1784" fmla="*/ 2935734 w 3751729"/>
              <a:gd name="connsiteY1784" fmla="*/ 730437 h 1237129"/>
              <a:gd name="connsiteX1785" fmla="*/ 2916781 w 3751729"/>
              <a:gd name="connsiteY1785" fmla="*/ 742251 h 1237129"/>
              <a:gd name="connsiteX1786" fmla="*/ 2896842 w 3751729"/>
              <a:gd name="connsiteY1786" fmla="*/ 750622 h 1237129"/>
              <a:gd name="connsiteX1787" fmla="*/ 2873704 w 3751729"/>
              <a:gd name="connsiteY1787" fmla="*/ 758252 h 1237129"/>
              <a:gd name="connsiteX1788" fmla="*/ 2852289 w 3751729"/>
              <a:gd name="connsiteY1788" fmla="*/ 762437 h 1237129"/>
              <a:gd name="connsiteX1789" fmla="*/ 2852289 w 3751729"/>
              <a:gd name="connsiteY1789" fmla="*/ 768345 h 1237129"/>
              <a:gd name="connsiteX1790" fmla="*/ 2852289 w 3751729"/>
              <a:gd name="connsiteY1790" fmla="*/ 771791 h 1237129"/>
              <a:gd name="connsiteX1791" fmla="*/ 2852289 w 3751729"/>
              <a:gd name="connsiteY1791" fmla="*/ 774251 h 1237129"/>
              <a:gd name="connsiteX1792" fmla="*/ 2852289 w 3751729"/>
              <a:gd name="connsiteY1792" fmla="*/ 775976 h 1237129"/>
              <a:gd name="connsiteX1793" fmla="*/ 2854012 w 3751729"/>
              <a:gd name="connsiteY1793" fmla="*/ 777698 h 1237129"/>
              <a:gd name="connsiteX1794" fmla="*/ 2854012 w 3751729"/>
              <a:gd name="connsiteY1794" fmla="*/ 781882 h 1237129"/>
              <a:gd name="connsiteX1795" fmla="*/ 2854750 w 3751729"/>
              <a:gd name="connsiteY1795" fmla="*/ 786068 h 1237129"/>
              <a:gd name="connsiteX1796" fmla="*/ 2852289 w 3751729"/>
              <a:gd name="connsiteY1796" fmla="*/ 789513 h 1237129"/>
              <a:gd name="connsiteX1797" fmla="*/ 2849089 w 3751729"/>
              <a:gd name="connsiteY1797" fmla="*/ 791974 h 1237129"/>
              <a:gd name="connsiteX1798" fmla="*/ 2848350 w 3751729"/>
              <a:gd name="connsiteY1798" fmla="*/ 793699 h 1237129"/>
              <a:gd name="connsiteX1799" fmla="*/ 2845150 w 3751729"/>
              <a:gd name="connsiteY1799" fmla="*/ 796159 h 1237129"/>
              <a:gd name="connsiteX1800" fmla="*/ 2839489 w 3751729"/>
              <a:gd name="connsiteY1800" fmla="*/ 799605 h 1237129"/>
              <a:gd name="connsiteX1801" fmla="*/ 2837766 w 3751729"/>
              <a:gd name="connsiteY1801" fmla="*/ 799605 h 1237129"/>
              <a:gd name="connsiteX1802" fmla="*/ 2837027 w 3751729"/>
              <a:gd name="connsiteY1802" fmla="*/ 801329 h 1237129"/>
              <a:gd name="connsiteX1803" fmla="*/ 2835304 w 3751729"/>
              <a:gd name="connsiteY1803" fmla="*/ 801329 h 1237129"/>
              <a:gd name="connsiteX1804" fmla="*/ 2833582 w 3751729"/>
              <a:gd name="connsiteY1804" fmla="*/ 801329 h 1237129"/>
              <a:gd name="connsiteX1805" fmla="*/ 2831119 w 3751729"/>
              <a:gd name="connsiteY1805" fmla="*/ 802067 h 1237129"/>
              <a:gd name="connsiteX1806" fmla="*/ 2829396 w 3751729"/>
              <a:gd name="connsiteY1806" fmla="*/ 797883 h 1237129"/>
              <a:gd name="connsiteX1807" fmla="*/ 2827673 w 3751729"/>
              <a:gd name="connsiteY1807" fmla="*/ 793699 h 1237129"/>
              <a:gd name="connsiteX1808" fmla="*/ 2827673 w 3751729"/>
              <a:gd name="connsiteY1808" fmla="*/ 789513 h 1237129"/>
              <a:gd name="connsiteX1809" fmla="*/ 2827673 w 3751729"/>
              <a:gd name="connsiteY1809" fmla="*/ 781882 h 1237129"/>
              <a:gd name="connsiteX1810" fmla="*/ 2830873 w 3751729"/>
              <a:gd name="connsiteY1810" fmla="*/ 780160 h 1237129"/>
              <a:gd name="connsiteX1811" fmla="*/ 2833336 w 3751729"/>
              <a:gd name="connsiteY1811" fmla="*/ 780160 h 1237129"/>
              <a:gd name="connsiteX1812" fmla="*/ 2836535 w 3751729"/>
              <a:gd name="connsiteY1812" fmla="*/ 778437 h 1237129"/>
              <a:gd name="connsiteX1813" fmla="*/ 2837274 w 3751729"/>
              <a:gd name="connsiteY1813" fmla="*/ 775976 h 1237129"/>
              <a:gd name="connsiteX1814" fmla="*/ 2838997 w 3751729"/>
              <a:gd name="connsiteY1814" fmla="*/ 772529 h 1237129"/>
              <a:gd name="connsiteX1815" fmla="*/ 2837274 w 3751729"/>
              <a:gd name="connsiteY1815" fmla="*/ 770067 h 1237129"/>
              <a:gd name="connsiteX1816" fmla="*/ 2834812 w 3751729"/>
              <a:gd name="connsiteY1816" fmla="*/ 765883 h 1237129"/>
              <a:gd name="connsiteX1817" fmla="*/ 2833089 w 3751729"/>
              <a:gd name="connsiteY1817" fmla="*/ 762437 h 1237129"/>
              <a:gd name="connsiteX1818" fmla="*/ 2830627 w 3751729"/>
              <a:gd name="connsiteY1818" fmla="*/ 760714 h 1237129"/>
              <a:gd name="connsiteX1819" fmla="*/ 2828905 w 3751729"/>
              <a:gd name="connsiteY1819" fmla="*/ 760714 h 1237129"/>
              <a:gd name="connsiteX1820" fmla="*/ 2824720 w 3751729"/>
              <a:gd name="connsiteY1820" fmla="*/ 759975 h 1237129"/>
              <a:gd name="connsiteX1821" fmla="*/ 2819797 w 3751729"/>
              <a:gd name="connsiteY1821" fmla="*/ 759975 h 1237129"/>
              <a:gd name="connsiteX1822" fmla="*/ 2814874 w 3751729"/>
              <a:gd name="connsiteY1822" fmla="*/ 766621 h 1237129"/>
              <a:gd name="connsiteX1823" fmla="*/ 2809213 w 3751729"/>
              <a:gd name="connsiteY1823" fmla="*/ 771545 h 1237129"/>
              <a:gd name="connsiteX1824" fmla="*/ 2804289 w 3751729"/>
              <a:gd name="connsiteY1824" fmla="*/ 775729 h 1237129"/>
              <a:gd name="connsiteX1825" fmla="*/ 2800104 w 3751729"/>
              <a:gd name="connsiteY1825" fmla="*/ 783360 h 1237129"/>
              <a:gd name="connsiteX1826" fmla="*/ 2798382 w 3751729"/>
              <a:gd name="connsiteY1826" fmla="*/ 795174 h 1237129"/>
              <a:gd name="connsiteX1827" fmla="*/ 2811674 w 3751729"/>
              <a:gd name="connsiteY1827" fmla="*/ 807729 h 1237129"/>
              <a:gd name="connsiteX1828" fmla="*/ 2821520 w 3751729"/>
              <a:gd name="connsiteY1828" fmla="*/ 821268 h 1237129"/>
              <a:gd name="connsiteX1829" fmla="*/ 2830627 w 3751729"/>
              <a:gd name="connsiteY1829" fmla="*/ 835544 h 1237129"/>
              <a:gd name="connsiteX1830" fmla="*/ 2834812 w 3751729"/>
              <a:gd name="connsiteY1830" fmla="*/ 854743 h 1237129"/>
              <a:gd name="connsiteX1831" fmla="*/ 2836535 w 3751729"/>
              <a:gd name="connsiteY1831" fmla="*/ 878129 h 1237129"/>
              <a:gd name="connsiteX1832" fmla="*/ 2788535 w 3751729"/>
              <a:gd name="connsiteY1832" fmla="*/ 917512 h 1237129"/>
              <a:gd name="connsiteX1833" fmla="*/ 2782874 w 3751729"/>
              <a:gd name="connsiteY1833" fmla="*/ 917512 h 1237129"/>
              <a:gd name="connsiteX1834" fmla="*/ 2778689 w 3751729"/>
              <a:gd name="connsiteY1834" fmla="*/ 901513 h 1237129"/>
              <a:gd name="connsiteX1835" fmla="*/ 2769582 w 3751729"/>
              <a:gd name="connsiteY1835" fmla="*/ 889697 h 1237129"/>
              <a:gd name="connsiteX1836" fmla="*/ 2758012 w 3751729"/>
              <a:gd name="connsiteY1836" fmla="*/ 879605 h 1237129"/>
              <a:gd name="connsiteX1837" fmla="*/ 2745705 w 3751729"/>
              <a:gd name="connsiteY1837" fmla="*/ 869513 h 1237129"/>
              <a:gd name="connsiteX1838" fmla="*/ 2732412 w 3751729"/>
              <a:gd name="connsiteY1838" fmla="*/ 858682 h 1237129"/>
              <a:gd name="connsiteX1839" fmla="*/ 2726752 w 3751729"/>
              <a:gd name="connsiteY1839" fmla="*/ 882067 h 1237129"/>
              <a:gd name="connsiteX1840" fmla="*/ 2719366 w 3751729"/>
              <a:gd name="connsiteY1840" fmla="*/ 901266 h 1237129"/>
              <a:gd name="connsiteX1841" fmla="*/ 2726752 w 3751729"/>
              <a:gd name="connsiteY1841" fmla="*/ 905451 h 1237129"/>
              <a:gd name="connsiteX1842" fmla="*/ 2729951 w 3751729"/>
              <a:gd name="connsiteY1842" fmla="*/ 911359 h 1237129"/>
              <a:gd name="connsiteX1843" fmla="*/ 2730690 w 3751729"/>
              <a:gd name="connsiteY1843" fmla="*/ 918989 h 1237129"/>
              <a:gd name="connsiteX1844" fmla="*/ 2735613 w 3751729"/>
              <a:gd name="connsiteY1844" fmla="*/ 927359 h 1237129"/>
              <a:gd name="connsiteX1845" fmla="*/ 2736351 w 3751729"/>
              <a:gd name="connsiteY1845" fmla="*/ 929082 h 1237129"/>
              <a:gd name="connsiteX1846" fmla="*/ 2739551 w 3751729"/>
              <a:gd name="connsiteY1846" fmla="*/ 929082 h 1237129"/>
              <a:gd name="connsiteX1847" fmla="*/ 2742013 w 3751729"/>
              <a:gd name="connsiteY1847" fmla="*/ 929082 h 1237129"/>
              <a:gd name="connsiteX1848" fmla="*/ 2745213 w 3751729"/>
              <a:gd name="connsiteY1848" fmla="*/ 929082 h 1237129"/>
              <a:gd name="connsiteX1849" fmla="*/ 2747675 w 3751729"/>
              <a:gd name="connsiteY1849" fmla="*/ 930805 h 1237129"/>
              <a:gd name="connsiteX1850" fmla="*/ 2759243 w 3751729"/>
              <a:gd name="connsiteY1850" fmla="*/ 942619 h 1237129"/>
              <a:gd name="connsiteX1851" fmla="*/ 2768351 w 3751729"/>
              <a:gd name="connsiteY1851" fmla="*/ 960342 h 1237129"/>
              <a:gd name="connsiteX1852" fmla="*/ 2774013 w 3751729"/>
              <a:gd name="connsiteY1852" fmla="*/ 980527 h 1237129"/>
              <a:gd name="connsiteX1853" fmla="*/ 2774751 w 3751729"/>
              <a:gd name="connsiteY1853" fmla="*/ 1001451 h 1237129"/>
              <a:gd name="connsiteX1854" fmla="*/ 2766382 w 3751729"/>
              <a:gd name="connsiteY1854" fmla="*/ 1001451 h 1237129"/>
              <a:gd name="connsiteX1855" fmla="*/ 2757274 w 3751729"/>
              <a:gd name="connsiteY1855" fmla="*/ 993820 h 1237129"/>
              <a:gd name="connsiteX1856" fmla="*/ 2748905 w 3751729"/>
              <a:gd name="connsiteY1856" fmla="*/ 989635 h 1237129"/>
              <a:gd name="connsiteX1857" fmla="*/ 2747182 w 3751729"/>
              <a:gd name="connsiteY1857" fmla="*/ 987911 h 1237129"/>
              <a:gd name="connsiteX1858" fmla="*/ 2739797 w 3751729"/>
              <a:gd name="connsiteY1858" fmla="*/ 982005 h 1237129"/>
              <a:gd name="connsiteX1859" fmla="*/ 2734874 w 3751729"/>
              <a:gd name="connsiteY1859" fmla="*/ 970188 h 1237129"/>
              <a:gd name="connsiteX1860" fmla="*/ 2731675 w 3751729"/>
              <a:gd name="connsiteY1860" fmla="*/ 956651 h 1237129"/>
              <a:gd name="connsiteX1861" fmla="*/ 2727490 w 3751729"/>
              <a:gd name="connsiteY1861" fmla="*/ 944835 h 1237129"/>
              <a:gd name="connsiteX1862" fmla="*/ 2723305 w 3751729"/>
              <a:gd name="connsiteY1862" fmla="*/ 933020 h 1237129"/>
              <a:gd name="connsiteX1863" fmla="*/ 2715920 w 3751729"/>
              <a:gd name="connsiteY1863" fmla="*/ 922928 h 1237129"/>
              <a:gd name="connsiteX1864" fmla="*/ 2715920 w 3751729"/>
              <a:gd name="connsiteY1864" fmla="*/ 920467 h 1237129"/>
              <a:gd name="connsiteX1865" fmla="*/ 2708536 w 3751729"/>
              <a:gd name="connsiteY1865" fmla="*/ 922928 h 1237129"/>
              <a:gd name="connsiteX1866" fmla="*/ 2708536 w 3751729"/>
              <a:gd name="connsiteY1866" fmla="*/ 920467 h 1237129"/>
              <a:gd name="connsiteX1867" fmla="*/ 2706074 w 3751729"/>
              <a:gd name="connsiteY1867" fmla="*/ 908651 h 1237129"/>
              <a:gd name="connsiteX1868" fmla="*/ 2706074 w 3751729"/>
              <a:gd name="connsiteY1868" fmla="*/ 893636 h 1237129"/>
              <a:gd name="connsiteX1869" fmla="*/ 2706074 w 3751729"/>
              <a:gd name="connsiteY1869" fmla="*/ 877636 h 1237129"/>
              <a:gd name="connsiteX1870" fmla="*/ 2706074 w 3751729"/>
              <a:gd name="connsiteY1870" fmla="*/ 859913 h 1237129"/>
              <a:gd name="connsiteX1871" fmla="*/ 2704351 w 3751729"/>
              <a:gd name="connsiteY1871" fmla="*/ 843913 h 1237129"/>
              <a:gd name="connsiteX1872" fmla="*/ 2698690 w 3751729"/>
              <a:gd name="connsiteY1872" fmla="*/ 830374 h 1237129"/>
              <a:gd name="connsiteX1873" fmla="*/ 2689582 w 3751729"/>
              <a:gd name="connsiteY1873" fmla="*/ 820283 h 1237129"/>
              <a:gd name="connsiteX1874" fmla="*/ 2687121 w 3751729"/>
              <a:gd name="connsiteY1874" fmla="*/ 822744 h 1237129"/>
              <a:gd name="connsiteX1875" fmla="*/ 2682936 w 3751729"/>
              <a:gd name="connsiteY1875" fmla="*/ 826190 h 1237129"/>
              <a:gd name="connsiteX1876" fmla="*/ 2679736 w 3751729"/>
              <a:gd name="connsiteY1876" fmla="*/ 827913 h 1237129"/>
              <a:gd name="connsiteX1877" fmla="*/ 2674074 w 3751729"/>
              <a:gd name="connsiteY1877" fmla="*/ 828652 h 1237129"/>
              <a:gd name="connsiteX1878" fmla="*/ 2668414 w 3751729"/>
              <a:gd name="connsiteY1878" fmla="*/ 828652 h 1237129"/>
              <a:gd name="connsiteX1879" fmla="*/ 2666690 w 3751729"/>
              <a:gd name="connsiteY1879" fmla="*/ 828652 h 1237129"/>
              <a:gd name="connsiteX1880" fmla="*/ 2666690 w 3751729"/>
              <a:gd name="connsiteY1880" fmla="*/ 827913 h 1237129"/>
              <a:gd name="connsiteX1881" fmla="*/ 2665951 w 3751729"/>
              <a:gd name="connsiteY1881" fmla="*/ 827913 h 1237129"/>
              <a:gd name="connsiteX1882" fmla="*/ 2664228 w 3751729"/>
              <a:gd name="connsiteY1882" fmla="*/ 826190 h 1237129"/>
              <a:gd name="connsiteX1883" fmla="*/ 2664228 w 3751729"/>
              <a:gd name="connsiteY1883" fmla="*/ 808467 h 1237129"/>
              <a:gd name="connsiteX1884" fmla="*/ 2660044 w 3751729"/>
              <a:gd name="connsiteY1884" fmla="*/ 794191 h 1237129"/>
              <a:gd name="connsiteX1885" fmla="*/ 2654383 w 3751729"/>
              <a:gd name="connsiteY1885" fmla="*/ 782375 h 1237129"/>
              <a:gd name="connsiteX1886" fmla="*/ 2645275 w 3751729"/>
              <a:gd name="connsiteY1886" fmla="*/ 771545 h 1237129"/>
              <a:gd name="connsiteX1887" fmla="*/ 2638629 w 3751729"/>
              <a:gd name="connsiteY1887" fmla="*/ 759729 h 1237129"/>
              <a:gd name="connsiteX1888" fmla="*/ 2629522 w 3751729"/>
              <a:gd name="connsiteY1888" fmla="*/ 745452 h 1237129"/>
              <a:gd name="connsiteX1889" fmla="*/ 2627059 w 3751729"/>
              <a:gd name="connsiteY1889" fmla="*/ 747914 h 1237129"/>
              <a:gd name="connsiteX1890" fmla="*/ 2625337 w 3751729"/>
              <a:gd name="connsiteY1890" fmla="*/ 749637 h 1237129"/>
              <a:gd name="connsiteX1891" fmla="*/ 2623613 w 3751729"/>
              <a:gd name="connsiteY1891" fmla="*/ 753083 h 1237129"/>
              <a:gd name="connsiteX1892" fmla="*/ 2621891 w 3751729"/>
              <a:gd name="connsiteY1892" fmla="*/ 753821 h 1237129"/>
              <a:gd name="connsiteX1893" fmla="*/ 2621151 w 3751729"/>
              <a:gd name="connsiteY1893" fmla="*/ 755545 h 1237129"/>
              <a:gd name="connsiteX1894" fmla="*/ 2607860 w 3751729"/>
              <a:gd name="connsiteY1894" fmla="*/ 757268 h 1237129"/>
              <a:gd name="connsiteX1895" fmla="*/ 2596290 w 3751729"/>
              <a:gd name="connsiteY1895" fmla="*/ 755545 h 1237129"/>
              <a:gd name="connsiteX1896" fmla="*/ 2584721 w 3751729"/>
              <a:gd name="connsiteY1896" fmla="*/ 755545 h 1237129"/>
              <a:gd name="connsiteX1897" fmla="*/ 2581521 w 3751729"/>
              <a:gd name="connsiteY1897" fmla="*/ 767360 h 1237129"/>
              <a:gd name="connsiteX1898" fmla="*/ 2577337 w 3751729"/>
              <a:gd name="connsiteY1898" fmla="*/ 773268 h 1237129"/>
              <a:gd name="connsiteX1899" fmla="*/ 2574875 w 3751729"/>
              <a:gd name="connsiteY1899" fmla="*/ 774991 h 1237129"/>
              <a:gd name="connsiteX1900" fmla="*/ 2569214 w 3751729"/>
              <a:gd name="connsiteY1900" fmla="*/ 774991 h 1237129"/>
              <a:gd name="connsiteX1901" fmla="*/ 2563553 w 3751729"/>
              <a:gd name="connsiteY1901" fmla="*/ 776714 h 1237129"/>
              <a:gd name="connsiteX1902" fmla="*/ 2557891 w 3751729"/>
              <a:gd name="connsiteY1902" fmla="*/ 780897 h 1237129"/>
              <a:gd name="connsiteX1903" fmla="*/ 2548045 w 3751729"/>
              <a:gd name="connsiteY1903" fmla="*/ 806991 h 1237129"/>
              <a:gd name="connsiteX1904" fmla="*/ 2534753 w 3751729"/>
              <a:gd name="connsiteY1904" fmla="*/ 806991 h 1237129"/>
              <a:gd name="connsiteX1905" fmla="*/ 2527369 w 3751729"/>
              <a:gd name="connsiteY1905" fmla="*/ 812897 h 1237129"/>
              <a:gd name="connsiteX1906" fmla="*/ 2519983 w 3751729"/>
              <a:gd name="connsiteY1906" fmla="*/ 820528 h 1237129"/>
              <a:gd name="connsiteX1907" fmla="*/ 2510137 w 3751729"/>
              <a:gd name="connsiteY1907" fmla="*/ 826436 h 1237129"/>
              <a:gd name="connsiteX1908" fmla="*/ 2507676 w 3751729"/>
              <a:gd name="connsiteY1908" fmla="*/ 855728 h 1237129"/>
              <a:gd name="connsiteX1909" fmla="*/ 2500292 w 3751729"/>
              <a:gd name="connsiteY1909" fmla="*/ 880836 h 1237129"/>
              <a:gd name="connsiteX1910" fmla="*/ 2490445 w 3751729"/>
              <a:gd name="connsiteY1910" fmla="*/ 901020 h 1237129"/>
              <a:gd name="connsiteX1911" fmla="*/ 2474691 w 3751729"/>
              <a:gd name="connsiteY1911" fmla="*/ 920221 h 1237129"/>
              <a:gd name="connsiteX1912" fmla="*/ 2472968 w 3751729"/>
              <a:gd name="connsiteY1912" fmla="*/ 920221 h 1237129"/>
              <a:gd name="connsiteX1913" fmla="*/ 2471245 w 3751729"/>
              <a:gd name="connsiteY1913" fmla="*/ 918497 h 1237129"/>
              <a:gd name="connsiteX1914" fmla="*/ 2469522 w 3751729"/>
              <a:gd name="connsiteY1914" fmla="*/ 918497 h 1237129"/>
              <a:gd name="connsiteX1915" fmla="*/ 2468784 w 3751729"/>
              <a:gd name="connsiteY1915" fmla="*/ 916775 h 1237129"/>
              <a:gd name="connsiteX1916" fmla="*/ 2459676 w 3751729"/>
              <a:gd name="connsiteY1916" fmla="*/ 906682 h 1237129"/>
              <a:gd name="connsiteX1917" fmla="*/ 2451308 w 3751729"/>
              <a:gd name="connsiteY1917" fmla="*/ 890682 h 1237129"/>
              <a:gd name="connsiteX1918" fmla="*/ 2446384 w 3751729"/>
              <a:gd name="connsiteY1918" fmla="*/ 877144 h 1237129"/>
              <a:gd name="connsiteX1919" fmla="*/ 2445645 w 3751729"/>
              <a:gd name="connsiteY1919" fmla="*/ 874682 h 1237129"/>
              <a:gd name="connsiteX1920" fmla="*/ 2446384 w 3751729"/>
              <a:gd name="connsiteY1920" fmla="*/ 871236 h 1237129"/>
              <a:gd name="connsiteX1921" fmla="*/ 2448107 w 3751729"/>
              <a:gd name="connsiteY1921" fmla="*/ 868774 h 1237129"/>
              <a:gd name="connsiteX1922" fmla="*/ 2449830 w 3751729"/>
              <a:gd name="connsiteY1922" fmla="*/ 867051 h 1237129"/>
              <a:gd name="connsiteX1923" fmla="*/ 2449830 w 3751729"/>
              <a:gd name="connsiteY1923" fmla="*/ 865328 h 1237129"/>
              <a:gd name="connsiteX1924" fmla="*/ 2435061 w 3751729"/>
              <a:gd name="connsiteY1924" fmla="*/ 843421 h 1237129"/>
              <a:gd name="connsiteX1925" fmla="*/ 2425215 w 3751729"/>
              <a:gd name="connsiteY1925" fmla="*/ 820036 h 1237129"/>
              <a:gd name="connsiteX1926" fmla="*/ 2418568 w 3751729"/>
              <a:gd name="connsiteY1926" fmla="*/ 794929 h 1237129"/>
              <a:gd name="connsiteX1927" fmla="*/ 2415369 w 3751729"/>
              <a:gd name="connsiteY1927" fmla="*/ 764652 h 1237129"/>
              <a:gd name="connsiteX1928" fmla="*/ 2405523 w 3751729"/>
              <a:gd name="connsiteY1928" fmla="*/ 765390 h 1237129"/>
              <a:gd name="connsiteX1929" fmla="*/ 2398139 w 3751729"/>
              <a:gd name="connsiteY1929" fmla="*/ 765390 h 1237129"/>
              <a:gd name="connsiteX1930" fmla="*/ 2389769 w 3751729"/>
              <a:gd name="connsiteY1930" fmla="*/ 764652 h 1237129"/>
              <a:gd name="connsiteX1931" fmla="*/ 2386568 w 3751729"/>
              <a:gd name="connsiteY1931" fmla="*/ 761206 h 1237129"/>
              <a:gd name="connsiteX1932" fmla="*/ 2382384 w 3751729"/>
              <a:gd name="connsiteY1932" fmla="*/ 758744 h 1237129"/>
              <a:gd name="connsiteX1933" fmla="*/ 2379184 w 3751729"/>
              <a:gd name="connsiteY1933" fmla="*/ 755298 h 1237129"/>
              <a:gd name="connsiteX1934" fmla="*/ 2376723 w 3751729"/>
              <a:gd name="connsiteY1934" fmla="*/ 752837 h 1237129"/>
              <a:gd name="connsiteX1935" fmla="*/ 2379184 w 3751729"/>
              <a:gd name="connsiteY1935" fmla="*/ 742006 h 1237129"/>
              <a:gd name="connsiteX1936" fmla="*/ 2373523 w 3751729"/>
              <a:gd name="connsiteY1936" fmla="*/ 733637 h 1237129"/>
              <a:gd name="connsiteX1937" fmla="*/ 2363677 w 3751729"/>
              <a:gd name="connsiteY1937" fmla="*/ 726006 h 1237129"/>
              <a:gd name="connsiteX1938" fmla="*/ 2353830 w 3751729"/>
              <a:gd name="connsiteY1938" fmla="*/ 719360 h 1237129"/>
              <a:gd name="connsiteX1939" fmla="*/ 2344723 w 3751729"/>
              <a:gd name="connsiteY1939" fmla="*/ 710252 h 1237129"/>
              <a:gd name="connsiteX1940" fmla="*/ 2320847 w 3751729"/>
              <a:gd name="connsiteY1940" fmla="*/ 713699 h 1237129"/>
              <a:gd name="connsiteX1941" fmla="*/ 2295986 w 3751729"/>
              <a:gd name="connsiteY1941" fmla="*/ 713699 h 1237129"/>
              <a:gd name="connsiteX1942" fmla="*/ 2271123 w 3751729"/>
              <a:gd name="connsiteY1942" fmla="*/ 711976 h 1237129"/>
              <a:gd name="connsiteX1943" fmla="*/ 2247247 w 3751729"/>
              <a:gd name="connsiteY1943" fmla="*/ 710252 h 1237129"/>
              <a:gd name="connsiteX1944" fmla="*/ 2243063 w 3751729"/>
              <a:gd name="connsiteY1944" fmla="*/ 701883 h 1237129"/>
              <a:gd name="connsiteX1945" fmla="*/ 2237401 w 3751729"/>
              <a:gd name="connsiteY1945" fmla="*/ 691053 h 1237129"/>
              <a:gd name="connsiteX1946" fmla="*/ 2228293 w 3751729"/>
              <a:gd name="connsiteY1946" fmla="*/ 694499 h 1237129"/>
              <a:gd name="connsiteX1947" fmla="*/ 2222632 w 3751729"/>
              <a:gd name="connsiteY1947" fmla="*/ 696222 h 1237129"/>
              <a:gd name="connsiteX1948" fmla="*/ 2215247 w 3751729"/>
              <a:gd name="connsiteY1948" fmla="*/ 696960 h 1237129"/>
              <a:gd name="connsiteX1949" fmla="*/ 2205401 w 3751729"/>
              <a:gd name="connsiteY1949" fmla="*/ 696960 h 1237129"/>
              <a:gd name="connsiteX1950" fmla="*/ 2197031 w 3751729"/>
              <a:gd name="connsiteY1950" fmla="*/ 691053 h 1237129"/>
              <a:gd name="connsiteX1951" fmla="*/ 2187925 w 3751729"/>
              <a:gd name="connsiteY1951" fmla="*/ 686868 h 1237129"/>
              <a:gd name="connsiteX1952" fmla="*/ 2178078 w 3751729"/>
              <a:gd name="connsiteY1952" fmla="*/ 680960 h 1237129"/>
              <a:gd name="connsiteX1953" fmla="*/ 2170694 w 3751729"/>
              <a:gd name="connsiteY1953" fmla="*/ 675053 h 1237129"/>
              <a:gd name="connsiteX1954" fmla="*/ 2168232 w 3751729"/>
              <a:gd name="connsiteY1954" fmla="*/ 666683 h 1237129"/>
              <a:gd name="connsiteX1955" fmla="*/ 2164047 w 3751729"/>
              <a:gd name="connsiteY1955" fmla="*/ 659053 h 1237129"/>
              <a:gd name="connsiteX1956" fmla="*/ 2154940 w 3751729"/>
              <a:gd name="connsiteY1956" fmla="*/ 651422 h 1237129"/>
              <a:gd name="connsiteX1957" fmla="*/ 2153217 w 3751729"/>
              <a:gd name="connsiteY1957" fmla="*/ 651422 h 1237129"/>
              <a:gd name="connsiteX1958" fmla="*/ 2152479 w 3751729"/>
              <a:gd name="connsiteY1958" fmla="*/ 651422 h 1237129"/>
              <a:gd name="connsiteX1959" fmla="*/ 2150754 w 3751729"/>
              <a:gd name="connsiteY1959" fmla="*/ 651422 h 1237129"/>
              <a:gd name="connsiteX1960" fmla="*/ 2147555 w 3751729"/>
              <a:gd name="connsiteY1960" fmla="*/ 651422 h 1237129"/>
              <a:gd name="connsiteX1961" fmla="*/ 2141893 w 3751729"/>
              <a:gd name="connsiteY1961" fmla="*/ 651422 h 1237129"/>
              <a:gd name="connsiteX1962" fmla="*/ 2145094 w 3751729"/>
              <a:gd name="connsiteY1962" fmla="*/ 663237 h 1237129"/>
              <a:gd name="connsiteX1963" fmla="*/ 2149279 w 3751729"/>
              <a:gd name="connsiteY1963" fmla="*/ 676776 h 1237129"/>
              <a:gd name="connsiteX1964" fmla="*/ 2156663 w 3751729"/>
              <a:gd name="connsiteY1964" fmla="*/ 690314 h 1237129"/>
              <a:gd name="connsiteX1965" fmla="*/ 2162324 w 3751729"/>
              <a:gd name="connsiteY1965" fmla="*/ 702130 h 1237129"/>
              <a:gd name="connsiteX1966" fmla="*/ 2167986 w 3751729"/>
              <a:gd name="connsiteY1966" fmla="*/ 710498 h 1237129"/>
              <a:gd name="connsiteX1967" fmla="*/ 2169709 w 3751729"/>
              <a:gd name="connsiteY1967" fmla="*/ 706314 h 1237129"/>
              <a:gd name="connsiteX1968" fmla="*/ 2170448 w 3751729"/>
              <a:gd name="connsiteY1968" fmla="*/ 704591 h 1237129"/>
              <a:gd name="connsiteX1969" fmla="*/ 2170448 w 3751729"/>
              <a:gd name="connsiteY1969" fmla="*/ 702868 h 1237129"/>
              <a:gd name="connsiteX1970" fmla="*/ 2172170 w 3751729"/>
              <a:gd name="connsiteY1970" fmla="*/ 702868 h 1237129"/>
              <a:gd name="connsiteX1971" fmla="*/ 2173893 w 3751729"/>
              <a:gd name="connsiteY1971" fmla="*/ 702868 h 1237129"/>
              <a:gd name="connsiteX1972" fmla="*/ 2178078 w 3751729"/>
              <a:gd name="connsiteY1972" fmla="*/ 704591 h 1237129"/>
              <a:gd name="connsiteX1973" fmla="*/ 2179801 w 3751729"/>
              <a:gd name="connsiteY1973" fmla="*/ 708776 h 1237129"/>
              <a:gd name="connsiteX1974" fmla="*/ 2181524 w 3751729"/>
              <a:gd name="connsiteY1974" fmla="*/ 713699 h 1237129"/>
              <a:gd name="connsiteX1975" fmla="*/ 2181524 w 3751729"/>
              <a:gd name="connsiteY1975" fmla="*/ 717883 h 1237129"/>
              <a:gd name="connsiteX1976" fmla="*/ 2182262 w 3751729"/>
              <a:gd name="connsiteY1976" fmla="*/ 722068 h 1237129"/>
              <a:gd name="connsiteX1977" fmla="*/ 2183986 w 3751729"/>
              <a:gd name="connsiteY1977" fmla="*/ 726252 h 1237129"/>
              <a:gd name="connsiteX1978" fmla="*/ 2189647 w 3751729"/>
              <a:gd name="connsiteY1978" fmla="*/ 725514 h 1237129"/>
              <a:gd name="connsiteX1979" fmla="*/ 2197031 w 3751729"/>
              <a:gd name="connsiteY1979" fmla="*/ 723791 h 1237129"/>
              <a:gd name="connsiteX1980" fmla="*/ 2205401 w 3751729"/>
              <a:gd name="connsiteY1980" fmla="*/ 723791 h 1237129"/>
              <a:gd name="connsiteX1981" fmla="*/ 2218694 w 3751729"/>
              <a:gd name="connsiteY1981" fmla="*/ 708776 h 1237129"/>
              <a:gd name="connsiteX1982" fmla="*/ 2234447 w 3751729"/>
              <a:gd name="connsiteY1982" fmla="*/ 696960 h 1237129"/>
              <a:gd name="connsiteX1983" fmla="*/ 2236170 w 3751729"/>
              <a:gd name="connsiteY1983" fmla="*/ 711976 h 1237129"/>
              <a:gd name="connsiteX1984" fmla="*/ 2237892 w 3751729"/>
              <a:gd name="connsiteY1984" fmla="*/ 723791 h 1237129"/>
              <a:gd name="connsiteX1985" fmla="*/ 2259308 w 3751729"/>
              <a:gd name="connsiteY1985" fmla="*/ 735605 h 1237129"/>
              <a:gd name="connsiteX1986" fmla="*/ 2276538 w 3751729"/>
              <a:gd name="connsiteY1986" fmla="*/ 749882 h 1237129"/>
              <a:gd name="connsiteX1987" fmla="*/ 2270877 w 3751729"/>
              <a:gd name="connsiteY1987" fmla="*/ 757513 h 1237129"/>
              <a:gd name="connsiteX1988" fmla="*/ 2265954 w 3751729"/>
              <a:gd name="connsiteY1988" fmla="*/ 765145 h 1237129"/>
              <a:gd name="connsiteX1989" fmla="*/ 2261031 w 3751729"/>
              <a:gd name="connsiteY1989" fmla="*/ 771052 h 1237129"/>
              <a:gd name="connsiteX1990" fmla="*/ 2250200 w 3751729"/>
              <a:gd name="connsiteY1990" fmla="*/ 775236 h 1237129"/>
              <a:gd name="connsiteX1991" fmla="*/ 2250200 w 3751729"/>
              <a:gd name="connsiteY1991" fmla="*/ 791236 h 1237129"/>
              <a:gd name="connsiteX1992" fmla="*/ 2236170 w 3751729"/>
              <a:gd name="connsiteY1992" fmla="*/ 800345 h 1237129"/>
              <a:gd name="connsiteX1993" fmla="*/ 2221400 w 3751729"/>
              <a:gd name="connsiteY1993" fmla="*/ 810436 h 1237129"/>
              <a:gd name="connsiteX1994" fmla="*/ 2221400 w 3751729"/>
              <a:gd name="connsiteY1994" fmla="*/ 817575 h 1237129"/>
              <a:gd name="connsiteX1995" fmla="*/ 2203185 w 3751729"/>
              <a:gd name="connsiteY1995" fmla="*/ 817575 h 1237129"/>
              <a:gd name="connsiteX1996" fmla="*/ 2192355 w 3751729"/>
              <a:gd name="connsiteY1996" fmla="*/ 823483 h 1237129"/>
              <a:gd name="connsiteX1997" fmla="*/ 2183986 w 3751729"/>
              <a:gd name="connsiteY1997" fmla="*/ 832590 h 1237129"/>
              <a:gd name="connsiteX1998" fmla="*/ 2174140 w 3751729"/>
              <a:gd name="connsiteY1998" fmla="*/ 840220 h 1237129"/>
              <a:gd name="connsiteX1999" fmla="*/ 2160847 w 3751729"/>
              <a:gd name="connsiteY1999" fmla="*/ 846129 h 1237129"/>
              <a:gd name="connsiteX2000" fmla="*/ 2147555 w 3751729"/>
              <a:gd name="connsiteY2000" fmla="*/ 848590 h 1237129"/>
              <a:gd name="connsiteX2001" fmla="*/ 2133524 w 3751729"/>
              <a:gd name="connsiteY2001" fmla="*/ 852775 h 1237129"/>
              <a:gd name="connsiteX2002" fmla="*/ 2121956 w 3751729"/>
              <a:gd name="connsiteY2002" fmla="*/ 857698 h 1237129"/>
              <a:gd name="connsiteX2003" fmla="*/ 2112109 w 3751729"/>
              <a:gd name="connsiteY2003" fmla="*/ 863605 h 1237129"/>
              <a:gd name="connsiteX2004" fmla="*/ 2102263 w 3751729"/>
              <a:gd name="connsiteY2004" fmla="*/ 866067 h 1237129"/>
              <a:gd name="connsiteX2005" fmla="*/ 2094878 w 3751729"/>
              <a:gd name="connsiteY2005" fmla="*/ 866067 h 1237129"/>
              <a:gd name="connsiteX2006" fmla="*/ 2091678 w 3751729"/>
              <a:gd name="connsiteY2006" fmla="*/ 864344 h 1237129"/>
              <a:gd name="connsiteX2007" fmla="*/ 2090940 w 3751729"/>
              <a:gd name="connsiteY2007" fmla="*/ 864344 h 1237129"/>
              <a:gd name="connsiteX2008" fmla="*/ 2089217 w 3751729"/>
              <a:gd name="connsiteY2008" fmla="*/ 863605 h 1237129"/>
              <a:gd name="connsiteX2009" fmla="*/ 2087494 w 3751729"/>
              <a:gd name="connsiteY2009" fmla="*/ 861882 h 1237129"/>
              <a:gd name="connsiteX2010" fmla="*/ 2085771 w 3751729"/>
              <a:gd name="connsiteY2010" fmla="*/ 858436 h 1237129"/>
              <a:gd name="connsiteX2011" fmla="*/ 2081586 w 3751729"/>
              <a:gd name="connsiteY2011" fmla="*/ 850067 h 1237129"/>
              <a:gd name="connsiteX2012" fmla="*/ 2079864 w 3751729"/>
              <a:gd name="connsiteY2012" fmla="*/ 840959 h 1237129"/>
              <a:gd name="connsiteX2013" fmla="*/ 2079864 w 3751729"/>
              <a:gd name="connsiteY2013" fmla="*/ 832590 h 1237129"/>
              <a:gd name="connsiteX2014" fmla="*/ 2079125 w 3751729"/>
              <a:gd name="connsiteY2014" fmla="*/ 823483 h 1237129"/>
              <a:gd name="connsiteX2015" fmla="*/ 2071740 w 3751729"/>
              <a:gd name="connsiteY2015" fmla="*/ 809206 h 1237129"/>
              <a:gd name="connsiteX2016" fmla="*/ 2061895 w 3751729"/>
              <a:gd name="connsiteY2016" fmla="*/ 795667 h 1237129"/>
              <a:gd name="connsiteX2017" fmla="*/ 2051064 w 3751729"/>
              <a:gd name="connsiteY2017" fmla="*/ 783853 h 1237129"/>
              <a:gd name="connsiteX2018" fmla="*/ 2041218 w 3751729"/>
              <a:gd name="connsiteY2018" fmla="*/ 772036 h 1237129"/>
              <a:gd name="connsiteX2019" fmla="*/ 2038756 w 3751729"/>
              <a:gd name="connsiteY2019" fmla="*/ 763667 h 1237129"/>
              <a:gd name="connsiteX2020" fmla="*/ 2037033 w 3751729"/>
              <a:gd name="connsiteY2020" fmla="*/ 753575 h 1237129"/>
              <a:gd name="connsiteX2021" fmla="*/ 2035309 w 3751729"/>
              <a:gd name="connsiteY2021" fmla="*/ 742744 h 1237129"/>
              <a:gd name="connsiteX2022" fmla="*/ 2031125 w 3751729"/>
              <a:gd name="connsiteY2022" fmla="*/ 734375 h 1237129"/>
              <a:gd name="connsiteX2023" fmla="*/ 2015371 w 3751729"/>
              <a:gd name="connsiteY2023" fmla="*/ 724284 h 1237129"/>
              <a:gd name="connsiteX2024" fmla="*/ 2011187 w 3751729"/>
              <a:gd name="connsiteY2024" fmla="*/ 714191 h 1237129"/>
              <a:gd name="connsiteX2025" fmla="*/ 2006264 w 3751729"/>
              <a:gd name="connsiteY2025" fmla="*/ 703361 h 1237129"/>
              <a:gd name="connsiteX2026" fmla="*/ 2002079 w 3751729"/>
              <a:gd name="connsiteY2026" fmla="*/ 693268 h 1237129"/>
              <a:gd name="connsiteX2027" fmla="*/ 1996418 w 3751729"/>
              <a:gd name="connsiteY2027" fmla="*/ 684899 h 1237129"/>
              <a:gd name="connsiteX2028" fmla="*/ 1988049 w 3751729"/>
              <a:gd name="connsiteY2028" fmla="*/ 678991 h 1237129"/>
              <a:gd name="connsiteX2029" fmla="*/ 1983126 w 3751729"/>
              <a:gd name="connsiteY2029" fmla="*/ 677268 h 1237129"/>
              <a:gd name="connsiteX2030" fmla="*/ 1982387 w 3751729"/>
              <a:gd name="connsiteY2030" fmla="*/ 673821 h 1237129"/>
              <a:gd name="connsiteX2031" fmla="*/ 1979187 w 3751729"/>
              <a:gd name="connsiteY2031" fmla="*/ 673083 h 1237129"/>
              <a:gd name="connsiteX2032" fmla="*/ 1976725 w 3751729"/>
              <a:gd name="connsiteY2032" fmla="*/ 671361 h 1237129"/>
              <a:gd name="connsiteX2033" fmla="*/ 1973525 w 3751729"/>
              <a:gd name="connsiteY2033" fmla="*/ 669637 h 1237129"/>
              <a:gd name="connsiteX2034" fmla="*/ 1971065 w 3751729"/>
              <a:gd name="connsiteY2034" fmla="*/ 667176 h 1237129"/>
              <a:gd name="connsiteX2035" fmla="*/ 1967864 w 3751729"/>
              <a:gd name="connsiteY2035" fmla="*/ 662253 h 1237129"/>
              <a:gd name="connsiteX2036" fmla="*/ 1965403 w 3751729"/>
              <a:gd name="connsiteY2036" fmla="*/ 656345 h 1237129"/>
              <a:gd name="connsiteX2037" fmla="*/ 1962203 w 3751729"/>
              <a:gd name="connsiteY2037" fmla="*/ 656345 h 1237129"/>
              <a:gd name="connsiteX2038" fmla="*/ 1962203 w 3751729"/>
              <a:gd name="connsiteY2038" fmla="*/ 662253 h 1237129"/>
              <a:gd name="connsiteX2039" fmla="*/ 1972049 w 3751729"/>
              <a:gd name="connsiteY2039" fmla="*/ 675791 h 1237129"/>
              <a:gd name="connsiteX2040" fmla="*/ 1981156 w 3751729"/>
              <a:gd name="connsiteY2040" fmla="*/ 690806 h 1237129"/>
              <a:gd name="connsiteX2041" fmla="*/ 1986818 w 3751729"/>
              <a:gd name="connsiteY2041" fmla="*/ 708529 h 1237129"/>
              <a:gd name="connsiteX2042" fmla="*/ 1992479 w 3751729"/>
              <a:gd name="connsiteY2042" fmla="*/ 724529 h 1237129"/>
              <a:gd name="connsiteX2043" fmla="*/ 1999863 w 3751729"/>
              <a:gd name="connsiteY2043" fmla="*/ 740529 h 1237129"/>
              <a:gd name="connsiteX2044" fmla="*/ 2002326 w 3751729"/>
              <a:gd name="connsiteY2044" fmla="*/ 742991 h 1237129"/>
              <a:gd name="connsiteX2045" fmla="*/ 2006509 w 3751729"/>
              <a:gd name="connsiteY2045" fmla="*/ 746437 h 1237129"/>
              <a:gd name="connsiteX2046" fmla="*/ 2009710 w 3751729"/>
              <a:gd name="connsiteY2046" fmla="*/ 748898 h 1237129"/>
              <a:gd name="connsiteX2047" fmla="*/ 2013895 w 3751729"/>
              <a:gd name="connsiteY2047" fmla="*/ 752344 h 1237129"/>
              <a:gd name="connsiteX2048" fmla="*/ 2015618 w 3751729"/>
              <a:gd name="connsiteY2048" fmla="*/ 756528 h 1237129"/>
              <a:gd name="connsiteX2049" fmla="*/ 2015618 w 3751729"/>
              <a:gd name="connsiteY2049" fmla="*/ 785821 h 1237129"/>
              <a:gd name="connsiteX2050" fmla="*/ 2018079 w 3751729"/>
              <a:gd name="connsiteY2050" fmla="*/ 789268 h 1237129"/>
              <a:gd name="connsiteX2051" fmla="*/ 2021279 w 3751729"/>
              <a:gd name="connsiteY2051" fmla="*/ 793452 h 1237129"/>
              <a:gd name="connsiteX2052" fmla="*/ 2025464 w 3751729"/>
              <a:gd name="connsiteY2052" fmla="*/ 795914 h 1237129"/>
              <a:gd name="connsiteX2053" fmla="*/ 2029648 w 3751729"/>
              <a:gd name="connsiteY2053" fmla="*/ 799360 h 1237129"/>
              <a:gd name="connsiteX2054" fmla="*/ 2031371 w 3751729"/>
              <a:gd name="connsiteY2054" fmla="*/ 801820 h 1237129"/>
              <a:gd name="connsiteX2055" fmla="*/ 2033834 w 3751729"/>
              <a:gd name="connsiteY2055" fmla="*/ 810929 h 1237129"/>
              <a:gd name="connsiteX2056" fmla="*/ 2035556 w 3751729"/>
              <a:gd name="connsiteY2056" fmla="*/ 817575 h 1237129"/>
              <a:gd name="connsiteX2057" fmla="*/ 2038756 w 3751729"/>
              <a:gd name="connsiteY2057" fmla="*/ 826682 h 1237129"/>
              <a:gd name="connsiteX2058" fmla="*/ 2047125 w 3751729"/>
              <a:gd name="connsiteY2058" fmla="*/ 836775 h 1237129"/>
              <a:gd name="connsiteX2059" fmla="*/ 2060417 w 3751729"/>
              <a:gd name="connsiteY2059" fmla="*/ 845882 h 1237129"/>
              <a:gd name="connsiteX2060" fmla="*/ 2074448 w 3751729"/>
              <a:gd name="connsiteY2060" fmla="*/ 854252 h 1237129"/>
              <a:gd name="connsiteX2061" fmla="*/ 2086017 w 3751729"/>
              <a:gd name="connsiteY2061" fmla="*/ 863359 h 1237129"/>
              <a:gd name="connsiteX2062" fmla="*/ 2089217 w 3751729"/>
              <a:gd name="connsiteY2062" fmla="*/ 867544 h 1237129"/>
              <a:gd name="connsiteX2063" fmla="*/ 2089217 w 3751729"/>
              <a:gd name="connsiteY2063" fmla="*/ 873451 h 1237129"/>
              <a:gd name="connsiteX2064" fmla="*/ 2089217 w 3751729"/>
              <a:gd name="connsiteY2064" fmla="*/ 877636 h 1237129"/>
              <a:gd name="connsiteX2065" fmla="*/ 2090940 w 3751729"/>
              <a:gd name="connsiteY2065" fmla="*/ 881821 h 1237129"/>
              <a:gd name="connsiteX2066" fmla="*/ 2095125 w 3751729"/>
              <a:gd name="connsiteY2066" fmla="*/ 886743 h 1237129"/>
              <a:gd name="connsiteX2067" fmla="*/ 2107433 w 3751729"/>
              <a:gd name="connsiteY2067" fmla="*/ 887482 h 1237129"/>
              <a:gd name="connsiteX2068" fmla="*/ 2122201 w 3751729"/>
              <a:gd name="connsiteY2068" fmla="*/ 880836 h 1237129"/>
              <a:gd name="connsiteX2069" fmla="*/ 2142140 w 3751729"/>
              <a:gd name="connsiteY2069" fmla="*/ 875912 h 1237129"/>
              <a:gd name="connsiteX2070" fmla="*/ 2161093 w 3751729"/>
              <a:gd name="connsiteY2070" fmla="*/ 871728 h 1237129"/>
              <a:gd name="connsiteX2071" fmla="*/ 2178323 w 3751729"/>
              <a:gd name="connsiteY2071" fmla="*/ 869267 h 1237129"/>
              <a:gd name="connsiteX2072" fmla="*/ 2178323 w 3751729"/>
              <a:gd name="connsiteY2072" fmla="*/ 871728 h 1237129"/>
              <a:gd name="connsiteX2073" fmla="*/ 2174140 w 3751729"/>
              <a:gd name="connsiteY2073" fmla="*/ 879359 h 1237129"/>
              <a:gd name="connsiteX2074" fmla="*/ 2174140 w 3751729"/>
              <a:gd name="connsiteY2074" fmla="*/ 888221 h 1237129"/>
              <a:gd name="connsiteX2075" fmla="*/ 2170940 w 3751729"/>
              <a:gd name="connsiteY2075" fmla="*/ 898313 h 1237129"/>
              <a:gd name="connsiteX2076" fmla="*/ 2165278 w 3751729"/>
              <a:gd name="connsiteY2076" fmla="*/ 913328 h 1237129"/>
              <a:gd name="connsiteX2077" fmla="*/ 2156909 w 3751729"/>
              <a:gd name="connsiteY2077" fmla="*/ 931051 h 1237129"/>
              <a:gd name="connsiteX2078" fmla="*/ 2147063 w 3751729"/>
              <a:gd name="connsiteY2078" fmla="*/ 948774 h 1237129"/>
              <a:gd name="connsiteX2079" fmla="*/ 2136232 w 3751729"/>
              <a:gd name="connsiteY2079" fmla="*/ 963051 h 1237129"/>
              <a:gd name="connsiteX2080" fmla="*/ 2120479 w 3751729"/>
              <a:gd name="connsiteY2080" fmla="*/ 979050 h 1237129"/>
              <a:gd name="connsiteX2081" fmla="*/ 2103248 w 3751729"/>
              <a:gd name="connsiteY2081" fmla="*/ 994066 h 1237129"/>
              <a:gd name="connsiteX2082" fmla="*/ 2085032 w 3751729"/>
              <a:gd name="connsiteY2082" fmla="*/ 1008343 h 1237129"/>
              <a:gd name="connsiteX2083" fmla="*/ 2067802 w 3751729"/>
              <a:gd name="connsiteY2083" fmla="*/ 1025082 h 1237129"/>
              <a:gd name="connsiteX2084" fmla="*/ 2053032 w 3751729"/>
              <a:gd name="connsiteY2084" fmla="*/ 1042804 h 1237129"/>
              <a:gd name="connsiteX2085" fmla="*/ 2041464 w 3751729"/>
              <a:gd name="connsiteY2085" fmla="*/ 1062988 h 1237129"/>
              <a:gd name="connsiteX2086" fmla="*/ 2037279 w 3751729"/>
              <a:gd name="connsiteY2086" fmla="*/ 1082189 h 1237129"/>
              <a:gd name="connsiteX2087" fmla="*/ 2039740 w 3751729"/>
              <a:gd name="connsiteY2087" fmla="*/ 1099911 h 1237129"/>
              <a:gd name="connsiteX2088" fmla="*/ 2045402 w 3751729"/>
              <a:gd name="connsiteY2088" fmla="*/ 1117634 h 1237129"/>
              <a:gd name="connsiteX2089" fmla="*/ 2051064 w 3751729"/>
              <a:gd name="connsiteY2089" fmla="*/ 1133634 h 1237129"/>
              <a:gd name="connsiteX2090" fmla="*/ 2056725 w 3751729"/>
              <a:gd name="connsiteY2090" fmla="*/ 1151357 h 1237129"/>
              <a:gd name="connsiteX2091" fmla="*/ 2061648 w 3751729"/>
              <a:gd name="connsiteY2091" fmla="*/ 1169080 h 1237129"/>
              <a:gd name="connsiteX2092" fmla="*/ 2059925 w 3751729"/>
              <a:gd name="connsiteY2092" fmla="*/ 1186804 h 1237129"/>
              <a:gd name="connsiteX2093" fmla="*/ 2050818 w 3751729"/>
              <a:gd name="connsiteY2093" fmla="*/ 1205264 h 1237129"/>
              <a:gd name="connsiteX2094" fmla="*/ 2038509 w 3751729"/>
              <a:gd name="connsiteY2094" fmla="*/ 1214372 h 1237129"/>
              <a:gd name="connsiteX2095" fmla="*/ 2023741 w 3751729"/>
              <a:gd name="connsiteY2095" fmla="*/ 1221018 h 1237129"/>
              <a:gd name="connsiteX2096" fmla="*/ 2009710 w 3751729"/>
              <a:gd name="connsiteY2096" fmla="*/ 1228649 h 1237129"/>
              <a:gd name="connsiteX2097" fmla="*/ 1999990 w 3751729"/>
              <a:gd name="connsiteY2097" fmla="*/ 1237129 h 1237129"/>
              <a:gd name="connsiteX2098" fmla="*/ 1730490 w 3751729"/>
              <a:gd name="connsiteY2098" fmla="*/ 1237129 h 1237129"/>
              <a:gd name="connsiteX2099" fmla="*/ 1729835 w 3751729"/>
              <a:gd name="connsiteY2099" fmla="*/ 1236280 h 1237129"/>
              <a:gd name="connsiteX2100" fmla="*/ 1724174 w 3751729"/>
              <a:gd name="connsiteY2100" fmla="*/ 1224465 h 1237129"/>
              <a:gd name="connsiteX2101" fmla="*/ 1722450 w 3751729"/>
              <a:gd name="connsiteY2101" fmla="*/ 1210188 h 1237129"/>
              <a:gd name="connsiteX2102" fmla="*/ 1725650 w 3751729"/>
              <a:gd name="connsiteY2102" fmla="*/ 1193450 h 1237129"/>
              <a:gd name="connsiteX2103" fmla="*/ 1731312 w 3751729"/>
              <a:gd name="connsiteY2103" fmla="*/ 1179173 h 1237129"/>
              <a:gd name="connsiteX2104" fmla="*/ 1739681 w 3751729"/>
              <a:gd name="connsiteY2104" fmla="*/ 1163172 h 1237129"/>
              <a:gd name="connsiteX2105" fmla="*/ 1745342 w 3751729"/>
              <a:gd name="connsiteY2105" fmla="*/ 1149634 h 1237129"/>
              <a:gd name="connsiteX2106" fmla="*/ 1750265 w 3751729"/>
              <a:gd name="connsiteY2106" fmla="*/ 1137819 h 1237129"/>
              <a:gd name="connsiteX2107" fmla="*/ 1744604 w 3751729"/>
              <a:gd name="connsiteY2107" fmla="*/ 1126003 h 1237129"/>
              <a:gd name="connsiteX2108" fmla="*/ 1742882 w 3751729"/>
              <a:gd name="connsiteY2108" fmla="*/ 1115911 h 1237129"/>
              <a:gd name="connsiteX2109" fmla="*/ 1742882 w 3751729"/>
              <a:gd name="connsiteY2109" fmla="*/ 1105819 h 1237129"/>
              <a:gd name="connsiteX2110" fmla="*/ 1739681 w 3751729"/>
              <a:gd name="connsiteY2110" fmla="*/ 1092281 h 1237129"/>
              <a:gd name="connsiteX2111" fmla="*/ 1731312 w 3751729"/>
              <a:gd name="connsiteY2111" fmla="*/ 1074558 h 1237129"/>
              <a:gd name="connsiteX2112" fmla="*/ 1718022 w 3751729"/>
              <a:gd name="connsiteY2112" fmla="*/ 1056835 h 1237129"/>
              <a:gd name="connsiteX2113" fmla="*/ 1705715 w 3751729"/>
              <a:gd name="connsiteY2113" fmla="*/ 1040834 h 1237129"/>
              <a:gd name="connsiteX2114" fmla="*/ 1692422 w 3751729"/>
              <a:gd name="connsiteY2114" fmla="*/ 1027297 h 1237129"/>
              <a:gd name="connsiteX2115" fmla="*/ 1696606 w 3751729"/>
              <a:gd name="connsiteY2115" fmla="*/ 1009574 h 1237129"/>
              <a:gd name="connsiteX2116" fmla="*/ 1700792 w 3751729"/>
              <a:gd name="connsiteY2116" fmla="*/ 993574 h 1237129"/>
              <a:gd name="connsiteX2117" fmla="*/ 1705715 w 3751729"/>
              <a:gd name="connsiteY2117" fmla="*/ 975851 h 1237129"/>
              <a:gd name="connsiteX2118" fmla="*/ 1700792 w 3751729"/>
              <a:gd name="connsiteY2118" fmla="*/ 973389 h 1237129"/>
              <a:gd name="connsiteX2119" fmla="*/ 1698330 w 3751729"/>
              <a:gd name="connsiteY2119" fmla="*/ 971666 h 1237129"/>
              <a:gd name="connsiteX2120" fmla="*/ 1695130 w 3751729"/>
              <a:gd name="connsiteY2120" fmla="*/ 968220 h 1237129"/>
              <a:gd name="connsiteX2121" fmla="*/ 1692669 w 3751729"/>
              <a:gd name="connsiteY2121" fmla="*/ 967481 h 1237129"/>
              <a:gd name="connsiteX2122" fmla="*/ 1688484 w 3751729"/>
              <a:gd name="connsiteY2122" fmla="*/ 967481 h 1237129"/>
              <a:gd name="connsiteX2123" fmla="*/ 1682823 w 3751729"/>
              <a:gd name="connsiteY2123" fmla="*/ 965758 h 1237129"/>
              <a:gd name="connsiteX2124" fmla="*/ 1679622 w 3751729"/>
              <a:gd name="connsiteY2124" fmla="*/ 968220 h 1237129"/>
              <a:gd name="connsiteX2125" fmla="*/ 1677899 w 3751729"/>
              <a:gd name="connsiteY2125" fmla="*/ 969943 h 1237129"/>
              <a:gd name="connsiteX2126" fmla="*/ 1673715 w 3751729"/>
              <a:gd name="connsiteY2126" fmla="*/ 971666 h 1237129"/>
              <a:gd name="connsiteX2127" fmla="*/ 1669530 w 3751729"/>
              <a:gd name="connsiteY2127" fmla="*/ 971666 h 1237129"/>
              <a:gd name="connsiteX2128" fmla="*/ 1663869 w 3751729"/>
              <a:gd name="connsiteY2128" fmla="*/ 971666 h 1237129"/>
              <a:gd name="connsiteX2129" fmla="*/ 1648114 w 3751729"/>
              <a:gd name="connsiteY2129" fmla="*/ 946558 h 1237129"/>
              <a:gd name="connsiteX2130" fmla="*/ 1637284 w 3751729"/>
              <a:gd name="connsiteY2130" fmla="*/ 944835 h 1237129"/>
              <a:gd name="connsiteX2131" fmla="*/ 1627438 w 3751729"/>
              <a:gd name="connsiteY2131" fmla="*/ 944097 h 1237129"/>
              <a:gd name="connsiteX2132" fmla="*/ 1615870 w 3751729"/>
              <a:gd name="connsiteY2132" fmla="*/ 942374 h 1237129"/>
              <a:gd name="connsiteX2133" fmla="*/ 1601838 w 3751729"/>
              <a:gd name="connsiteY2133" fmla="*/ 948282 h 1237129"/>
              <a:gd name="connsiteX2134" fmla="*/ 1587070 w 3751729"/>
              <a:gd name="connsiteY2134" fmla="*/ 954189 h 1237129"/>
              <a:gd name="connsiteX2135" fmla="*/ 1575500 w 3751729"/>
              <a:gd name="connsiteY2135" fmla="*/ 958374 h 1237129"/>
              <a:gd name="connsiteX2136" fmla="*/ 1547439 w 3751729"/>
              <a:gd name="connsiteY2136" fmla="*/ 952466 h 1237129"/>
              <a:gd name="connsiteX2137" fmla="*/ 1544239 w 3751729"/>
              <a:gd name="connsiteY2137" fmla="*/ 962558 h 1237129"/>
              <a:gd name="connsiteX2138" fmla="*/ 1534393 w 3751729"/>
              <a:gd name="connsiteY2138" fmla="*/ 962558 h 1237129"/>
              <a:gd name="connsiteX2139" fmla="*/ 1525285 w 3751729"/>
              <a:gd name="connsiteY2139" fmla="*/ 960097 h 1237129"/>
              <a:gd name="connsiteX2140" fmla="*/ 1518639 w 3751729"/>
              <a:gd name="connsiteY2140" fmla="*/ 958374 h 1237129"/>
              <a:gd name="connsiteX2141" fmla="*/ 1515439 w 3751729"/>
              <a:gd name="connsiteY2141" fmla="*/ 960097 h 1237129"/>
              <a:gd name="connsiteX2142" fmla="*/ 1512978 w 3751729"/>
              <a:gd name="connsiteY2142" fmla="*/ 962558 h 1237129"/>
              <a:gd name="connsiteX2143" fmla="*/ 1508055 w 3751729"/>
              <a:gd name="connsiteY2143" fmla="*/ 964282 h 1237129"/>
              <a:gd name="connsiteX2144" fmla="*/ 1502393 w 3751729"/>
              <a:gd name="connsiteY2144" fmla="*/ 966005 h 1237129"/>
              <a:gd name="connsiteX2145" fmla="*/ 1494024 w 3751729"/>
              <a:gd name="connsiteY2145" fmla="*/ 955912 h 1237129"/>
              <a:gd name="connsiteX2146" fmla="*/ 1482455 w 3751729"/>
              <a:gd name="connsiteY2146" fmla="*/ 950005 h 1237129"/>
              <a:gd name="connsiteX2147" fmla="*/ 1470885 w 3751729"/>
              <a:gd name="connsiteY2147" fmla="*/ 944097 h 1237129"/>
              <a:gd name="connsiteX2148" fmla="*/ 1459316 w 3751729"/>
              <a:gd name="connsiteY2148" fmla="*/ 938189 h 1237129"/>
              <a:gd name="connsiteX2149" fmla="*/ 1449471 w 3751729"/>
              <a:gd name="connsiteY2149" fmla="*/ 930558 h 1237129"/>
              <a:gd name="connsiteX2150" fmla="*/ 1442086 w 3751729"/>
              <a:gd name="connsiteY2150" fmla="*/ 911359 h 1237129"/>
              <a:gd name="connsiteX2151" fmla="*/ 1433717 w 3751729"/>
              <a:gd name="connsiteY2151" fmla="*/ 901266 h 1237129"/>
              <a:gd name="connsiteX2152" fmla="*/ 1420424 w 3751729"/>
              <a:gd name="connsiteY2152" fmla="*/ 891174 h 1237129"/>
              <a:gd name="connsiteX2153" fmla="*/ 1408856 w 3751729"/>
              <a:gd name="connsiteY2153" fmla="*/ 881082 h 1237129"/>
              <a:gd name="connsiteX2154" fmla="*/ 1401471 w 3751729"/>
              <a:gd name="connsiteY2154" fmla="*/ 871974 h 1237129"/>
              <a:gd name="connsiteX2155" fmla="*/ 1401471 w 3751729"/>
              <a:gd name="connsiteY2155" fmla="*/ 852775 h 1237129"/>
              <a:gd name="connsiteX2156" fmla="*/ 1399010 w 3751729"/>
              <a:gd name="connsiteY2156" fmla="*/ 844405 h 1237129"/>
              <a:gd name="connsiteX2157" fmla="*/ 1399748 w 3751729"/>
              <a:gd name="connsiteY2157" fmla="*/ 830867 h 1237129"/>
              <a:gd name="connsiteX2158" fmla="*/ 1402948 w 3751729"/>
              <a:gd name="connsiteY2158" fmla="*/ 819052 h 1237129"/>
              <a:gd name="connsiteX2159" fmla="*/ 1405410 w 3751729"/>
              <a:gd name="connsiteY2159" fmla="*/ 808959 h 1237129"/>
              <a:gd name="connsiteX2160" fmla="*/ 1407132 w 3751729"/>
              <a:gd name="connsiteY2160" fmla="*/ 801329 h 1237129"/>
              <a:gd name="connsiteX2161" fmla="*/ 1407132 w 3751729"/>
              <a:gd name="connsiteY2161" fmla="*/ 789513 h 1237129"/>
              <a:gd name="connsiteX2162" fmla="*/ 1404671 w 3751729"/>
              <a:gd name="connsiteY2162" fmla="*/ 782867 h 1237129"/>
              <a:gd name="connsiteX2163" fmla="*/ 1399748 w 3751729"/>
              <a:gd name="connsiteY2163" fmla="*/ 775236 h 1237129"/>
              <a:gd name="connsiteX2164" fmla="*/ 1397286 w 3751729"/>
              <a:gd name="connsiteY2164" fmla="*/ 769329 h 1237129"/>
              <a:gd name="connsiteX2165" fmla="*/ 1397286 w 3751729"/>
              <a:gd name="connsiteY2165" fmla="*/ 760221 h 1237129"/>
              <a:gd name="connsiteX2166" fmla="*/ 1399748 w 3751729"/>
              <a:gd name="connsiteY2166" fmla="*/ 748407 h 1237129"/>
              <a:gd name="connsiteX2167" fmla="*/ 1405410 w 3751729"/>
              <a:gd name="connsiteY2167" fmla="*/ 735852 h 1237129"/>
              <a:gd name="connsiteX2168" fmla="*/ 1411071 w 3751729"/>
              <a:gd name="connsiteY2168" fmla="*/ 720837 h 1237129"/>
              <a:gd name="connsiteX2169" fmla="*/ 1416733 w 3751729"/>
              <a:gd name="connsiteY2169" fmla="*/ 708283 h 1237129"/>
              <a:gd name="connsiteX2170" fmla="*/ 1422394 w 3751729"/>
              <a:gd name="connsiteY2170" fmla="*/ 697452 h 1237129"/>
              <a:gd name="connsiteX2171" fmla="*/ 1425594 w 3751729"/>
              <a:gd name="connsiteY2171" fmla="*/ 691545 h 1237129"/>
              <a:gd name="connsiteX2172" fmla="*/ 1435439 w 3751729"/>
              <a:gd name="connsiteY2172" fmla="*/ 683175 h 1237129"/>
              <a:gd name="connsiteX2173" fmla="*/ 1447009 w 3751729"/>
              <a:gd name="connsiteY2173" fmla="*/ 675545 h 1237129"/>
              <a:gd name="connsiteX2174" fmla="*/ 1458578 w 3751729"/>
              <a:gd name="connsiteY2174" fmla="*/ 669637 h 1237129"/>
              <a:gd name="connsiteX2175" fmla="*/ 1470147 w 3751729"/>
              <a:gd name="connsiteY2175" fmla="*/ 662006 h 1237129"/>
              <a:gd name="connsiteX2176" fmla="*/ 1472608 w 3751729"/>
              <a:gd name="connsiteY2176" fmla="*/ 655360 h 1237129"/>
              <a:gd name="connsiteX2177" fmla="*/ 1472608 w 3751729"/>
              <a:gd name="connsiteY2177" fmla="*/ 646253 h 1237129"/>
              <a:gd name="connsiteX2178" fmla="*/ 1471871 w 3751729"/>
              <a:gd name="connsiteY2178" fmla="*/ 636161 h 1237129"/>
              <a:gd name="connsiteX2179" fmla="*/ 1472608 w 3751729"/>
              <a:gd name="connsiteY2179" fmla="*/ 627791 h 1237129"/>
              <a:gd name="connsiteX2180" fmla="*/ 1479993 w 3751729"/>
              <a:gd name="connsiteY2180" fmla="*/ 615976 h 1237129"/>
              <a:gd name="connsiteX2181" fmla="*/ 1489839 w 3751729"/>
              <a:gd name="connsiteY2181" fmla="*/ 606868 h 1237129"/>
              <a:gd name="connsiteX2182" fmla="*/ 1500669 w 3751729"/>
              <a:gd name="connsiteY2182" fmla="*/ 598499 h 1237129"/>
              <a:gd name="connsiteX2183" fmla="*/ 1510516 w 3751729"/>
              <a:gd name="connsiteY2183" fmla="*/ 589392 h 1237129"/>
              <a:gd name="connsiteX2184" fmla="*/ 1518885 w 3751729"/>
              <a:gd name="connsiteY2184" fmla="*/ 579299 h 1237129"/>
              <a:gd name="connsiteX2185" fmla="*/ 1523808 w 3751729"/>
              <a:gd name="connsiteY2185" fmla="*/ 565763 h 1237129"/>
              <a:gd name="connsiteX2186" fmla="*/ 1523808 w 3751729"/>
              <a:gd name="connsiteY2186" fmla="*/ 565024 h 1237129"/>
              <a:gd name="connsiteX2187" fmla="*/ 1522085 w 3751729"/>
              <a:gd name="connsiteY2187" fmla="*/ 565024 h 1237129"/>
              <a:gd name="connsiteX2188" fmla="*/ 1522085 w 3751729"/>
              <a:gd name="connsiteY2188" fmla="*/ 563302 h 1237129"/>
              <a:gd name="connsiteX2189" fmla="*/ 1522085 w 3751729"/>
              <a:gd name="connsiteY2189" fmla="*/ 561578 h 1237129"/>
              <a:gd name="connsiteX2190" fmla="*/ 1520363 w 3751729"/>
              <a:gd name="connsiteY2190" fmla="*/ 559856 h 1237129"/>
              <a:gd name="connsiteX2191" fmla="*/ 1517901 w 3751729"/>
              <a:gd name="connsiteY2191" fmla="*/ 559117 h 1237129"/>
              <a:gd name="connsiteX2192" fmla="*/ 1514701 w 3751729"/>
              <a:gd name="connsiteY2192" fmla="*/ 557394 h 1237129"/>
              <a:gd name="connsiteX2193" fmla="*/ 1512239 w 3751729"/>
              <a:gd name="connsiteY2193" fmla="*/ 557394 h 1237129"/>
              <a:gd name="connsiteX2194" fmla="*/ 1507316 w 3751729"/>
              <a:gd name="connsiteY2194" fmla="*/ 555672 h 1237129"/>
              <a:gd name="connsiteX2195" fmla="*/ 1504855 w 3751729"/>
              <a:gd name="connsiteY2195" fmla="*/ 559117 h 1237129"/>
              <a:gd name="connsiteX2196" fmla="*/ 1501655 w 3751729"/>
              <a:gd name="connsiteY2196" fmla="*/ 559117 h 1237129"/>
              <a:gd name="connsiteX2197" fmla="*/ 1497469 w 3751729"/>
              <a:gd name="connsiteY2197" fmla="*/ 559856 h 1237129"/>
              <a:gd name="connsiteX2198" fmla="*/ 1491808 w 3751729"/>
              <a:gd name="connsiteY2198" fmla="*/ 559856 h 1237129"/>
              <a:gd name="connsiteX2199" fmla="*/ 1491808 w 3751729"/>
              <a:gd name="connsiteY2199" fmla="*/ 555672 h 1237129"/>
              <a:gd name="connsiteX2200" fmla="*/ 1489348 w 3751729"/>
              <a:gd name="connsiteY2200" fmla="*/ 555672 h 1237129"/>
              <a:gd name="connsiteX2201" fmla="*/ 1489348 w 3751729"/>
              <a:gd name="connsiteY2201" fmla="*/ 543855 h 1237129"/>
              <a:gd name="connsiteX2202" fmla="*/ 1487624 w 3751729"/>
              <a:gd name="connsiteY2202" fmla="*/ 527856 h 1237129"/>
              <a:gd name="connsiteX2203" fmla="*/ 1485901 w 3751729"/>
              <a:gd name="connsiteY2203" fmla="*/ 508655 h 1237129"/>
              <a:gd name="connsiteX2204" fmla="*/ 1485901 w 3751729"/>
              <a:gd name="connsiteY2204" fmla="*/ 490194 h 1237129"/>
              <a:gd name="connsiteX2205" fmla="*/ 1485901 w 3751729"/>
              <a:gd name="connsiteY2205" fmla="*/ 473456 h 1237129"/>
              <a:gd name="connsiteX2206" fmla="*/ 1489101 w 3751729"/>
              <a:gd name="connsiteY2206" fmla="*/ 463363 h 1237129"/>
              <a:gd name="connsiteX2207" fmla="*/ 1489593 w 3751729"/>
              <a:gd name="connsiteY2207" fmla="*/ 460410 h 1237129"/>
              <a:gd name="connsiteX2208" fmla="*/ 1491316 w 3751729"/>
              <a:gd name="connsiteY2208" fmla="*/ 456964 h 1237129"/>
              <a:gd name="connsiteX2209" fmla="*/ 1493038 w 3751729"/>
              <a:gd name="connsiteY2209" fmla="*/ 456225 h 1237129"/>
              <a:gd name="connsiteX2210" fmla="*/ 1494762 w 3751729"/>
              <a:gd name="connsiteY2210" fmla="*/ 456225 h 1237129"/>
              <a:gd name="connsiteX2211" fmla="*/ 1497224 w 3751729"/>
              <a:gd name="connsiteY2211" fmla="*/ 456225 h 1237129"/>
              <a:gd name="connsiteX2212" fmla="*/ 1500424 w 3751729"/>
              <a:gd name="connsiteY2212" fmla="*/ 454501 h 1237129"/>
              <a:gd name="connsiteX2213" fmla="*/ 1504609 w 3751729"/>
              <a:gd name="connsiteY2213" fmla="*/ 454501 h 1237129"/>
              <a:gd name="connsiteX2214" fmla="*/ 1516177 w 3751729"/>
              <a:gd name="connsiteY2214" fmla="*/ 458687 h 1237129"/>
              <a:gd name="connsiteX2215" fmla="*/ 1529469 w 3751729"/>
              <a:gd name="connsiteY2215" fmla="*/ 462133 h 1237129"/>
              <a:gd name="connsiteX2216" fmla="*/ 1543501 w 3751729"/>
              <a:gd name="connsiteY2216" fmla="*/ 462133 h 1237129"/>
              <a:gd name="connsiteX2217" fmla="*/ 1557531 w 3751729"/>
              <a:gd name="connsiteY2217" fmla="*/ 458687 h 1237129"/>
              <a:gd name="connsiteX2218" fmla="*/ 1568362 w 3751729"/>
              <a:gd name="connsiteY2218" fmla="*/ 454501 h 1237129"/>
              <a:gd name="connsiteX2219" fmla="*/ 1569100 w 3751729"/>
              <a:gd name="connsiteY2219" fmla="*/ 452779 h 1237129"/>
              <a:gd name="connsiteX2220" fmla="*/ 1569100 w 3751729"/>
              <a:gd name="connsiteY2220" fmla="*/ 451056 h 1237129"/>
              <a:gd name="connsiteX2221" fmla="*/ 1570824 w 3751729"/>
              <a:gd name="connsiteY2221" fmla="*/ 451056 h 1237129"/>
              <a:gd name="connsiteX2222" fmla="*/ 1570824 w 3751729"/>
              <a:gd name="connsiteY2222" fmla="*/ 450318 h 1237129"/>
              <a:gd name="connsiteX2223" fmla="*/ 1570824 w 3751729"/>
              <a:gd name="connsiteY2223" fmla="*/ 448595 h 1237129"/>
              <a:gd name="connsiteX2224" fmla="*/ 1574024 w 3751729"/>
              <a:gd name="connsiteY2224" fmla="*/ 436778 h 1237129"/>
              <a:gd name="connsiteX2225" fmla="*/ 1574024 w 3751729"/>
              <a:gd name="connsiteY2225" fmla="*/ 423241 h 1237129"/>
              <a:gd name="connsiteX2226" fmla="*/ 1572300 w 3751729"/>
              <a:gd name="connsiteY2226" fmla="*/ 410687 h 1237129"/>
              <a:gd name="connsiteX2227" fmla="*/ 1570578 w 3751729"/>
              <a:gd name="connsiteY2227" fmla="*/ 395672 h 1237129"/>
              <a:gd name="connsiteX2228" fmla="*/ 1560731 w 3751729"/>
              <a:gd name="connsiteY2228" fmla="*/ 393210 h 1237129"/>
              <a:gd name="connsiteX2229" fmla="*/ 1550885 w 3751729"/>
              <a:gd name="connsiteY2229" fmla="*/ 389764 h 1237129"/>
              <a:gd name="connsiteX2230" fmla="*/ 1541039 w 3751729"/>
              <a:gd name="connsiteY2230" fmla="*/ 383856 h 1237129"/>
              <a:gd name="connsiteX2231" fmla="*/ 1533654 w 3751729"/>
              <a:gd name="connsiteY2231" fmla="*/ 376225 h 1237129"/>
              <a:gd name="connsiteX2232" fmla="*/ 1536115 w 3751729"/>
              <a:gd name="connsiteY2232" fmla="*/ 375487 h 1237129"/>
              <a:gd name="connsiteX2233" fmla="*/ 1539316 w 3751729"/>
              <a:gd name="connsiteY2233" fmla="*/ 373764 h 1237129"/>
              <a:gd name="connsiteX2234" fmla="*/ 1541039 w 3751729"/>
              <a:gd name="connsiteY2234" fmla="*/ 372041 h 1237129"/>
              <a:gd name="connsiteX2235" fmla="*/ 1543501 w 3751729"/>
              <a:gd name="connsiteY2235" fmla="*/ 372041 h 1237129"/>
              <a:gd name="connsiteX2236" fmla="*/ 1546701 w 3751729"/>
              <a:gd name="connsiteY2236" fmla="*/ 370318 h 1237129"/>
              <a:gd name="connsiteX2237" fmla="*/ 1551624 w 3751729"/>
              <a:gd name="connsiteY2237" fmla="*/ 370318 h 1237129"/>
              <a:gd name="connsiteX2238" fmla="*/ 1554823 w 3751729"/>
              <a:gd name="connsiteY2238" fmla="*/ 369579 h 1237129"/>
              <a:gd name="connsiteX2239" fmla="*/ 1559008 w 3751729"/>
              <a:gd name="connsiteY2239" fmla="*/ 367856 h 1237129"/>
              <a:gd name="connsiteX2240" fmla="*/ 1563193 w 3751729"/>
              <a:gd name="connsiteY2240" fmla="*/ 367856 h 1237129"/>
              <a:gd name="connsiteX2241" fmla="*/ 1568115 w 3751729"/>
              <a:gd name="connsiteY2241" fmla="*/ 367856 h 1237129"/>
              <a:gd name="connsiteX2242" fmla="*/ 1568115 w 3751729"/>
              <a:gd name="connsiteY2242" fmla="*/ 351856 h 1237129"/>
              <a:gd name="connsiteX2243" fmla="*/ 1572300 w 3751729"/>
              <a:gd name="connsiteY2243" fmla="*/ 351856 h 1237129"/>
              <a:gd name="connsiteX2244" fmla="*/ 1576484 w 3751729"/>
              <a:gd name="connsiteY2244" fmla="*/ 352595 h 1237129"/>
              <a:gd name="connsiteX2245" fmla="*/ 1578208 w 3751729"/>
              <a:gd name="connsiteY2245" fmla="*/ 354318 h 1237129"/>
              <a:gd name="connsiteX2246" fmla="*/ 1580670 w 3751729"/>
              <a:gd name="connsiteY2246" fmla="*/ 354318 h 1237129"/>
              <a:gd name="connsiteX2247" fmla="*/ 1583870 w 3751729"/>
              <a:gd name="connsiteY2247" fmla="*/ 356041 h 1237129"/>
              <a:gd name="connsiteX2248" fmla="*/ 1586331 w 3751729"/>
              <a:gd name="connsiteY2248" fmla="*/ 357764 h 1237129"/>
              <a:gd name="connsiteX2249" fmla="*/ 1589531 w 3751729"/>
              <a:gd name="connsiteY2249" fmla="*/ 354318 h 1237129"/>
              <a:gd name="connsiteX2250" fmla="*/ 1593716 w 3751729"/>
              <a:gd name="connsiteY2250" fmla="*/ 352595 h 1237129"/>
              <a:gd name="connsiteX2251" fmla="*/ 1596915 w 3751729"/>
              <a:gd name="connsiteY2251" fmla="*/ 351856 h 1237129"/>
              <a:gd name="connsiteX2252" fmla="*/ 1601100 w 3751729"/>
              <a:gd name="connsiteY2252" fmla="*/ 350133 h 1237129"/>
              <a:gd name="connsiteX2253" fmla="*/ 1602823 w 3751729"/>
              <a:gd name="connsiteY2253" fmla="*/ 348410 h 1237129"/>
              <a:gd name="connsiteX2254" fmla="*/ 1603562 w 3751729"/>
              <a:gd name="connsiteY2254" fmla="*/ 345949 h 1237129"/>
              <a:gd name="connsiteX2255" fmla="*/ 1603562 w 3751729"/>
              <a:gd name="connsiteY2255" fmla="*/ 342502 h 1237129"/>
              <a:gd name="connsiteX2256" fmla="*/ 1603562 w 3751729"/>
              <a:gd name="connsiteY2256" fmla="*/ 340041 h 1237129"/>
              <a:gd name="connsiteX2257" fmla="*/ 1603562 w 3751729"/>
              <a:gd name="connsiteY2257" fmla="*/ 336595 h 1237129"/>
              <a:gd name="connsiteX2258" fmla="*/ 1605285 w 3751729"/>
              <a:gd name="connsiteY2258" fmla="*/ 334133 h 1237129"/>
              <a:gd name="connsiteX2259" fmla="*/ 1607008 w 3751729"/>
              <a:gd name="connsiteY2259" fmla="*/ 330687 h 1237129"/>
              <a:gd name="connsiteX2260" fmla="*/ 1634331 w 3751729"/>
              <a:gd name="connsiteY2260" fmla="*/ 322318 h 1237129"/>
              <a:gd name="connsiteX2261" fmla="*/ 1639992 w 3751729"/>
              <a:gd name="connsiteY2261" fmla="*/ 313210 h 1237129"/>
              <a:gd name="connsiteX2262" fmla="*/ 1641715 w 3751729"/>
              <a:gd name="connsiteY2262" fmla="*/ 304840 h 1237129"/>
              <a:gd name="connsiteX2263" fmla="*/ 1645899 w 3751729"/>
              <a:gd name="connsiteY2263" fmla="*/ 295734 h 1237129"/>
              <a:gd name="connsiteX2264" fmla="*/ 1654269 w 3751729"/>
              <a:gd name="connsiteY2264" fmla="*/ 289826 h 1237129"/>
              <a:gd name="connsiteX2265" fmla="*/ 1665100 w 3751729"/>
              <a:gd name="connsiteY2265" fmla="*/ 285641 h 1237129"/>
              <a:gd name="connsiteX2266" fmla="*/ 1677407 w 3751729"/>
              <a:gd name="connsiteY2266" fmla="*/ 281457 h 1237129"/>
              <a:gd name="connsiteX2267" fmla="*/ 1688976 w 3751729"/>
              <a:gd name="connsiteY2267" fmla="*/ 277271 h 1237129"/>
              <a:gd name="connsiteX2268" fmla="*/ 1690699 w 3751729"/>
              <a:gd name="connsiteY2268" fmla="*/ 275549 h 1237129"/>
              <a:gd name="connsiteX2269" fmla="*/ 1690699 w 3751729"/>
              <a:gd name="connsiteY2269" fmla="*/ 273825 h 1237129"/>
              <a:gd name="connsiteX2270" fmla="*/ 1690699 w 3751729"/>
              <a:gd name="connsiteY2270" fmla="*/ 272103 h 1237129"/>
              <a:gd name="connsiteX2271" fmla="*/ 1692422 w 3751729"/>
              <a:gd name="connsiteY2271" fmla="*/ 271365 h 1237129"/>
              <a:gd name="connsiteX2272" fmla="*/ 1686760 w 3751729"/>
              <a:gd name="connsiteY2272" fmla="*/ 256348 h 1237129"/>
              <a:gd name="connsiteX2273" fmla="*/ 1683560 w 3751729"/>
              <a:gd name="connsiteY2273" fmla="*/ 238625 h 1237129"/>
              <a:gd name="connsiteX2274" fmla="*/ 1683560 w 3751729"/>
              <a:gd name="connsiteY2274" fmla="*/ 222626 h 1237129"/>
              <a:gd name="connsiteX2275" fmla="*/ 1682823 w 3751729"/>
              <a:gd name="connsiteY2275" fmla="*/ 209088 h 1237129"/>
              <a:gd name="connsiteX2276" fmla="*/ 1695130 w 3751729"/>
              <a:gd name="connsiteY2276" fmla="*/ 208349 h 1237129"/>
              <a:gd name="connsiteX2277" fmla="*/ 1704238 w 3751729"/>
              <a:gd name="connsiteY2277" fmla="*/ 204903 h 1237129"/>
              <a:gd name="connsiteX2278" fmla="*/ 1714084 w 3751729"/>
              <a:gd name="connsiteY2278" fmla="*/ 202441 h 1237129"/>
              <a:gd name="connsiteX2279" fmla="*/ 1714084 w 3751729"/>
              <a:gd name="connsiteY2279" fmla="*/ 209088 h 1237129"/>
              <a:gd name="connsiteX2280" fmla="*/ 1712361 w 3751729"/>
              <a:gd name="connsiteY2280" fmla="*/ 214996 h 1237129"/>
              <a:gd name="connsiteX2281" fmla="*/ 1710637 w 3751729"/>
              <a:gd name="connsiteY2281" fmla="*/ 225826 h 1237129"/>
              <a:gd name="connsiteX2282" fmla="*/ 1709899 w 3751729"/>
              <a:gd name="connsiteY2282" fmla="*/ 240103 h 1237129"/>
              <a:gd name="connsiteX2283" fmla="*/ 1708176 w 3751729"/>
              <a:gd name="connsiteY2283" fmla="*/ 253641 h 1237129"/>
              <a:gd name="connsiteX2284" fmla="*/ 1708176 w 3751729"/>
              <a:gd name="connsiteY2284" fmla="*/ 263734 h 1237129"/>
              <a:gd name="connsiteX2285" fmla="*/ 1712361 w 3751729"/>
              <a:gd name="connsiteY2285" fmla="*/ 266194 h 1237129"/>
              <a:gd name="connsiteX2286" fmla="*/ 1715560 w 3751729"/>
              <a:gd name="connsiteY2286" fmla="*/ 267918 h 1237129"/>
              <a:gd name="connsiteX2287" fmla="*/ 1716300 w 3751729"/>
              <a:gd name="connsiteY2287" fmla="*/ 269640 h 1237129"/>
              <a:gd name="connsiteX2288" fmla="*/ 1719499 w 3751729"/>
              <a:gd name="connsiteY2288" fmla="*/ 271365 h 1237129"/>
              <a:gd name="connsiteX2289" fmla="*/ 1723681 w 3751729"/>
              <a:gd name="connsiteY2289" fmla="*/ 273825 h 1237129"/>
              <a:gd name="connsiteX2290" fmla="*/ 1732789 w 3751729"/>
              <a:gd name="connsiteY2290" fmla="*/ 269640 h 1237129"/>
              <a:gd name="connsiteX2291" fmla="*/ 1739189 w 3751729"/>
              <a:gd name="connsiteY2291" fmla="*/ 269640 h 1237129"/>
              <a:gd name="connsiteX2292" fmla="*/ 1743373 w 3751729"/>
              <a:gd name="connsiteY2292" fmla="*/ 272103 h 1237129"/>
              <a:gd name="connsiteX2293" fmla="*/ 1749035 w 3751729"/>
              <a:gd name="connsiteY2293" fmla="*/ 277026 h 1237129"/>
              <a:gd name="connsiteX2294" fmla="*/ 1756419 w 3751729"/>
              <a:gd name="connsiteY2294" fmla="*/ 277026 h 1237129"/>
              <a:gd name="connsiteX2295" fmla="*/ 1764788 w 3751729"/>
              <a:gd name="connsiteY2295" fmla="*/ 273580 h 1237129"/>
              <a:gd name="connsiteX2296" fmla="*/ 1772173 w 3751729"/>
              <a:gd name="connsiteY2296" fmla="*/ 269395 h 1237129"/>
              <a:gd name="connsiteX2297" fmla="*/ 1776357 w 3751729"/>
              <a:gd name="connsiteY2297" fmla="*/ 265210 h 1237129"/>
              <a:gd name="connsiteX2298" fmla="*/ 1782019 w 3751729"/>
              <a:gd name="connsiteY2298" fmla="*/ 261764 h 1237129"/>
              <a:gd name="connsiteX2299" fmla="*/ 1789403 w 3751729"/>
              <a:gd name="connsiteY2299" fmla="*/ 259303 h 1237129"/>
              <a:gd name="connsiteX2300" fmla="*/ 1800973 w 3751729"/>
              <a:gd name="connsiteY2300" fmla="*/ 260041 h 1237129"/>
              <a:gd name="connsiteX2301" fmla="*/ 1816727 w 3751729"/>
              <a:gd name="connsiteY2301" fmla="*/ 263487 h 1237129"/>
              <a:gd name="connsiteX2302" fmla="*/ 1818450 w 3751729"/>
              <a:gd name="connsiteY2302" fmla="*/ 259303 h 1237129"/>
              <a:gd name="connsiteX2303" fmla="*/ 1819188 w 3751729"/>
              <a:gd name="connsiteY2303" fmla="*/ 257580 h 1237129"/>
              <a:gd name="connsiteX2304" fmla="*/ 1822388 w 3751729"/>
              <a:gd name="connsiteY2304" fmla="*/ 254133 h 1237129"/>
              <a:gd name="connsiteX2305" fmla="*/ 1824849 w 3751729"/>
              <a:gd name="connsiteY2305" fmla="*/ 253395 h 1237129"/>
              <a:gd name="connsiteX2306" fmla="*/ 1828049 w 3751729"/>
              <a:gd name="connsiteY2306" fmla="*/ 253395 h 1237129"/>
              <a:gd name="connsiteX2307" fmla="*/ 1832235 w 3751729"/>
              <a:gd name="connsiteY2307" fmla="*/ 251673 h 1237129"/>
              <a:gd name="connsiteX2308" fmla="*/ 1832235 w 3751729"/>
              <a:gd name="connsiteY2308" fmla="*/ 226564 h 1237129"/>
              <a:gd name="connsiteX2309" fmla="*/ 1835434 w 3751729"/>
              <a:gd name="connsiteY2309" fmla="*/ 206380 h 1237129"/>
              <a:gd name="connsiteX2310" fmla="*/ 1837895 w 3751729"/>
              <a:gd name="connsiteY2310" fmla="*/ 202934 h 1237129"/>
              <a:gd name="connsiteX2311" fmla="*/ 1841096 w 3751729"/>
              <a:gd name="connsiteY2311" fmla="*/ 202195 h 1237129"/>
              <a:gd name="connsiteX2312" fmla="*/ 1843557 w 3751729"/>
              <a:gd name="connsiteY2312" fmla="*/ 198750 h 1237129"/>
              <a:gd name="connsiteX2313" fmla="*/ 1846757 w 3751729"/>
              <a:gd name="connsiteY2313" fmla="*/ 197026 h 1237129"/>
              <a:gd name="connsiteX2314" fmla="*/ 1850943 w 3751729"/>
              <a:gd name="connsiteY2314" fmla="*/ 196288 h 1237129"/>
              <a:gd name="connsiteX2315" fmla="*/ 1850943 w 3751729"/>
              <a:gd name="connsiteY2315" fmla="*/ 198750 h 1237129"/>
              <a:gd name="connsiteX2316" fmla="*/ 1853403 w 3751729"/>
              <a:gd name="connsiteY2316" fmla="*/ 202195 h 1237129"/>
              <a:gd name="connsiteX2317" fmla="*/ 1855127 w 3751729"/>
              <a:gd name="connsiteY2317" fmla="*/ 204657 h 1237129"/>
              <a:gd name="connsiteX2318" fmla="*/ 1856849 w 3751729"/>
              <a:gd name="connsiteY2318" fmla="*/ 208103 h 1237129"/>
              <a:gd name="connsiteX2319" fmla="*/ 1858573 w 3751729"/>
              <a:gd name="connsiteY2319" fmla="*/ 208841 h 1237129"/>
              <a:gd name="connsiteX2320" fmla="*/ 1862757 w 3751729"/>
              <a:gd name="connsiteY2320" fmla="*/ 210564 h 1237129"/>
              <a:gd name="connsiteX2321" fmla="*/ 1866942 w 3751729"/>
              <a:gd name="connsiteY2321" fmla="*/ 212288 h 1237129"/>
              <a:gd name="connsiteX2322" fmla="*/ 1865219 w 3751729"/>
              <a:gd name="connsiteY2322" fmla="*/ 198750 h 1237129"/>
              <a:gd name="connsiteX2323" fmla="*/ 1864480 w 3751729"/>
              <a:gd name="connsiteY2323" fmla="*/ 190380 h 1237129"/>
              <a:gd name="connsiteX2324" fmla="*/ 1861280 w 3751729"/>
              <a:gd name="connsiteY2324" fmla="*/ 184473 h 1237129"/>
              <a:gd name="connsiteX2325" fmla="*/ 1859557 w 3751729"/>
              <a:gd name="connsiteY2325" fmla="*/ 176842 h 1237129"/>
              <a:gd name="connsiteX2326" fmla="*/ 1857096 w 3751729"/>
              <a:gd name="connsiteY2326" fmla="*/ 163304 h 1237129"/>
              <a:gd name="connsiteX2327" fmla="*/ 1864480 w 3751729"/>
              <a:gd name="connsiteY2327" fmla="*/ 162565 h 1237129"/>
              <a:gd name="connsiteX2328" fmla="*/ 1869404 w 3751729"/>
              <a:gd name="connsiteY2328" fmla="*/ 159119 h 1237129"/>
              <a:gd name="connsiteX2329" fmla="*/ 1874326 w 3751729"/>
              <a:gd name="connsiteY2329" fmla="*/ 156658 h 1237129"/>
              <a:gd name="connsiteX2330" fmla="*/ 1879988 w 3751729"/>
              <a:gd name="connsiteY2330" fmla="*/ 153212 h 1237129"/>
              <a:gd name="connsiteX2331" fmla="*/ 1889834 w 3751729"/>
              <a:gd name="connsiteY2331" fmla="*/ 153212 h 1237129"/>
              <a:gd name="connsiteX2332" fmla="*/ 1899680 w 3751729"/>
              <a:gd name="connsiteY2332" fmla="*/ 154934 h 1237129"/>
              <a:gd name="connsiteX2333" fmla="*/ 1907065 w 3751729"/>
              <a:gd name="connsiteY2333" fmla="*/ 156658 h 1237129"/>
              <a:gd name="connsiteX2334" fmla="*/ 1914449 w 3751729"/>
              <a:gd name="connsiteY2334" fmla="*/ 153212 h 1237129"/>
              <a:gd name="connsiteX2335" fmla="*/ 1920111 w 3751729"/>
              <a:gd name="connsiteY2335" fmla="*/ 144842 h 1237129"/>
              <a:gd name="connsiteX2336" fmla="*/ 1915187 w 3751729"/>
              <a:gd name="connsiteY2336" fmla="*/ 143119 h 1237129"/>
              <a:gd name="connsiteX2337" fmla="*/ 1911003 w 3751729"/>
              <a:gd name="connsiteY2337" fmla="*/ 141396 h 1237129"/>
              <a:gd name="connsiteX2338" fmla="*/ 1908541 w 3751729"/>
              <a:gd name="connsiteY2338" fmla="*/ 139673 h 1237129"/>
              <a:gd name="connsiteX2339" fmla="*/ 1903619 w 3751729"/>
              <a:gd name="connsiteY2339" fmla="*/ 138935 h 1237129"/>
              <a:gd name="connsiteX2340" fmla="*/ 1897957 w 3751729"/>
              <a:gd name="connsiteY2340" fmla="*/ 138935 h 1237129"/>
              <a:gd name="connsiteX2341" fmla="*/ 1883926 w 3751729"/>
              <a:gd name="connsiteY2341" fmla="*/ 145581 h 1237129"/>
              <a:gd name="connsiteX2342" fmla="*/ 1868173 w 3751729"/>
              <a:gd name="connsiteY2342" fmla="*/ 150503 h 1237129"/>
              <a:gd name="connsiteX2343" fmla="*/ 1850943 w 3751729"/>
              <a:gd name="connsiteY2343" fmla="*/ 152965 h 1237129"/>
              <a:gd name="connsiteX2344" fmla="*/ 1847742 w 3751729"/>
              <a:gd name="connsiteY2344" fmla="*/ 145334 h 1237129"/>
              <a:gd name="connsiteX2345" fmla="*/ 1843557 w 3751729"/>
              <a:gd name="connsiteY2345" fmla="*/ 139427 h 1237129"/>
              <a:gd name="connsiteX2346" fmla="*/ 1839373 w 3751729"/>
              <a:gd name="connsiteY2346" fmla="*/ 133519 h 1237129"/>
              <a:gd name="connsiteX2347" fmla="*/ 1836173 w 3751729"/>
              <a:gd name="connsiteY2347" fmla="*/ 126873 h 1237129"/>
              <a:gd name="connsiteX2348" fmla="*/ 1835434 w 3751729"/>
              <a:gd name="connsiteY2348" fmla="*/ 115058 h 1237129"/>
              <a:gd name="connsiteX2349" fmla="*/ 1836173 w 3751729"/>
              <a:gd name="connsiteY2349" fmla="*/ 105950 h 1237129"/>
              <a:gd name="connsiteX2350" fmla="*/ 1835434 w 3751729"/>
              <a:gd name="connsiteY2350" fmla="*/ 95858 h 1237129"/>
              <a:gd name="connsiteX2351" fmla="*/ 1833711 w 3751729"/>
              <a:gd name="connsiteY2351" fmla="*/ 84042 h 1237129"/>
              <a:gd name="connsiteX2352" fmla="*/ 1835434 w 3751729"/>
              <a:gd name="connsiteY2352" fmla="*/ 73950 h 1237129"/>
              <a:gd name="connsiteX2353" fmla="*/ 1842081 w 3751729"/>
              <a:gd name="connsiteY2353" fmla="*/ 58935 h 1237129"/>
              <a:gd name="connsiteX2354" fmla="*/ 1853649 w 3751729"/>
              <a:gd name="connsiteY2354" fmla="*/ 48843 h 1237129"/>
              <a:gd name="connsiteX2355" fmla="*/ 1865219 w 3751729"/>
              <a:gd name="connsiteY2355" fmla="*/ 37027 h 1237129"/>
              <a:gd name="connsiteX2356" fmla="*/ 1875065 w 3751729"/>
              <a:gd name="connsiteY2356" fmla="*/ 25212 h 1237129"/>
              <a:gd name="connsiteX2357" fmla="*/ 1882450 w 3751729"/>
              <a:gd name="connsiteY2357" fmla="*/ 11673 h 1237129"/>
              <a:gd name="connsiteX2358" fmla="*/ 1878265 w 3751729"/>
              <a:gd name="connsiteY2358" fmla="*/ 7489 h 1237129"/>
              <a:gd name="connsiteX2359" fmla="*/ 1874081 w 3751729"/>
              <a:gd name="connsiteY2359" fmla="*/ 3304 h 1237129"/>
              <a:gd name="connsiteX2360" fmla="*/ 1731537 w 3751729"/>
              <a:gd name="connsiteY2360" fmla="*/ 0 h 1237129"/>
              <a:gd name="connsiteX2361" fmla="*/ 1863626 w 3751729"/>
              <a:gd name="connsiteY2361" fmla="*/ 0 h 1237129"/>
              <a:gd name="connsiteX2362" fmla="*/ 1858327 w 3751729"/>
              <a:gd name="connsiteY2362" fmla="*/ 843 h 1237129"/>
              <a:gd name="connsiteX2363" fmla="*/ 1845034 w 3751729"/>
              <a:gd name="connsiteY2363" fmla="*/ 1582 h 1237129"/>
              <a:gd name="connsiteX2364" fmla="*/ 1840850 w 3751729"/>
              <a:gd name="connsiteY2364" fmla="*/ 22505 h 1237129"/>
              <a:gd name="connsiteX2365" fmla="*/ 1833465 w 3751729"/>
              <a:gd name="connsiteY2365" fmla="*/ 38504 h 1237129"/>
              <a:gd name="connsiteX2366" fmla="*/ 1823619 w 3751729"/>
              <a:gd name="connsiteY2366" fmla="*/ 52043 h 1237129"/>
              <a:gd name="connsiteX2367" fmla="*/ 1812050 w 3751729"/>
              <a:gd name="connsiteY2367" fmla="*/ 64596 h 1237129"/>
              <a:gd name="connsiteX2368" fmla="*/ 1801219 w 3751729"/>
              <a:gd name="connsiteY2368" fmla="*/ 79612 h 1237129"/>
              <a:gd name="connsiteX2369" fmla="*/ 1794573 w 3751729"/>
              <a:gd name="connsiteY2369" fmla="*/ 97335 h 1237129"/>
              <a:gd name="connsiteX2370" fmla="*/ 1789649 w 3751729"/>
              <a:gd name="connsiteY2370" fmla="*/ 117519 h 1237129"/>
              <a:gd name="connsiteX2371" fmla="*/ 1798758 w 3751729"/>
              <a:gd name="connsiteY2371" fmla="*/ 125150 h 1237129"/>
              <a:gd name="connsiteX2372" fmla="*/ 1807126 w 3751729"/>
              <a:gd name="connsiteY2372" fmla="*/ 133519 h 1237129"/>
              <a:gd name="connsiteX2373" fmla="*/ 1812788 w 3751729"/>
              <a:gd name="connsiteY2373" fmla="*/ 144350 h 1237129"/>
              <a:gd name="connsiteX2374" fmla="*/ 1815988 w 3751729"/>
              <a:gd name="connsiteY2374" fmla="*/ 156904 h 1237129"/>
              <a:gd name="connsiteX2375" fmla="*/ 1811804 w 3751729"/>
              <a:gd name="connsiteY2375" fmla="*/ 158626 h 1237129"/>
              <a:gd name="connsiteX2376" fmla="*/ 1810081 w 3751729"/>
              <a:gd name="connsiteY2376" fmla="*/ 160350 h 1237129"/>
              <a:gd name="connsiteX2377" fmla="*/ 1808357 w 3751729"/>
              <a:gd name="connsiteY2377" fmla="*/ 162073 h 1237129"/>
              <a:gd name="connsiteX2378" fmla="*/ 1808357 w 3751729"/>
              <a:gd name="connsiteY2378" fmla="*/ 162811 h 1237129"/>
              <a:gd name="connsiteX2379" fmla="*/ 1806634 w 3751729"/>
              <a:gd name="connsiteY2379" fmla="*/ 164535 h 1237129"/>
              <a:gd name="connsiteX2380" fmla="*/ 1806634 w 3751729"/>
              <a:gd name="connsiteY2380" fmla="*/ 167981 h 1237129"/>
              <a:gd name="connsiteX2381" fmla="*/ 1805896 w 3751729"/>
              <a:gd name="connsiteY2381" fmla="*/ 168719 h 1237129"/>
              <a:gd name="connsiteX2382" fmla="*/ 1786943 w 3751729"/>
              <a:gd name="connsiteY2382" fmla="*/ 176349 h 1237129"/>
              <a:gd name="connsiteX2383" fmla="*/ 1784481 w 3751729"/>
              <a:gd name="connsiteY2383" fmla="*/ 194073 h 1237129"/>
              <a:gd name="connsiteX2384" fmla="*/ 1778819 w 3751729"/>
              <a:gd name="connsiteY2384" fmla="*/ 207611 h 1237129"/>
              <a:gd name="connsiteX2385" fmla="*/ 1773158 w 3751729"/>
              <a:gd name="connsiteY2385" fmla="*/ 217703 h 1237129"/>
              <a:gd name="connsiteX2386" fmla="*/ 1764050 w 3751729"/>
              <a:gd name="connsiteY2386" fmla="*/ 226073 h 1237129"/>
              <a:gd name="connsiteX2387" fmla="*/ 1756666 w 3751729"/>
              <a:gd name="connsiteY2387" fmla="*/ 235180 h 1237129"/>
              <a:gd name="connsiteX2388" fmla="*/ 1750019 w 3751729"/>
              <a:gd name="connsiteY2388" fmla="*/ 246995 h 1237129"/>
              <a:gd name="connsiteX2389" fmla="*/ 1745097 w 3751729"/>
              <a:gd name="connsiteY2389" fmla="*/ 246995 h 1237129"/>
              <a:gd name="connsiteX2390" fmla="*/ 1745097 w 3751729"/>
              <a:gd name="connsiteY2390" fmla="*/ 243549 h 1237129"/>
              <a:gd name="connsiteX2391" fmla="*/ 1733527 w 3751729"/>
              <a:gd name="connsiteY2391" fmla="*/ 227549 h 1237129"/>
              <a:gd name="connsiteX2392" fmla="*/ 1726881 w 3751729"/>
              <a:gd name="connsiteY2392" fmla="*/ 209826 h 1237129"/>
              <a:gd name="connsiteX2393" fmla="*/ 1721958 w 3751729"/>
              <a:gd name="connsiteY2393" fmla="*/ 190626 h 1237129"/>
              <a:gd name="connsiteX2394" fmla="*/ 1713592 w 3751729"/>
              <a:gd name="connsiteY2394" fmla="*/ 168719 h 1237129"/>
              <a:gd name="connsiteX2395" fmla="*/ 1702022 w 3751729"/>
              <a:gd name="connsiteY2395" fmla="*/ 174627 h 1237129"/>
              <a:gd name="connsiteX2396" fmla="*/ 1694637 w 3751729"/>
              <a:gd name="connsiteY2396" fmla="*/ 182257 h 1237129"/>
              <a:gd name="connsiteX2397" fmla="*/ 1686269 w 3751729"/>
              <a:gd name="connsiteY2397" fmla="*/ 188165 h 1237129"/>
              <a:gd name="connsiteX2398" fmla="*/ 1677161 w 3751729"/>
              <a:gd name="connsiteY2398" fmla="*/ 192349 h 1237129"/>
              <a:gd name="connsiteX2399" fmla="*/ 1663130 w 3751729"/>
              <a:gd name="connsiteY2399" fmla="*/ 195795 h 1237129"/>
              <a:gd name="connsiteX2400" fmla="*/ 1661407 w 3751729"/>
              <a:gd name="connsiteY2400" fmla="*/ 194073 h 1237129"/>
              <a:gd name="connsiteX2401" fmla="*/ 1659684 w 3751729"/>
              <a:gd name="connsiteY2401" fmla="*/ 194073 h 1237129"/>
              <a:gd name="connsiteX2402" fmla="*/ 1658946 w 3751729"/>
              <a:gd name="connsiteY2402" fmla="*/ 194073 h 1237129"/>
              <a:gd name="connsiteX2403" fmla="*/ 1657223 w 3751729"/>
              <a:gd name="connsiteY2403" fmla="*/ 192349 h 1237129"/>
              <a:gd name="connsiteX2404" fmla="*/ 1654023 w 3751729"/>
              <a:gd name="connsiteY2404" fmla="*/ 192349 h 1237129"/>
              <a:gd name="connsiteX2405" fmla="*/ 1653285 w 3751729"/>
              <a:gd name="connsiteY2405" fmla="*/ 174627 h 1237129"/>
              <a:gd name="connsiteX2406" fmla="*/ 1651560 w 3751729"/>
              <a:gd name="connsiteY2406" fmla="*/ 160350 h 1237129"/>
              <a:gd name="connsiteX2407" fmla="*/ 1648361 w 3751729"/>
              <a:gd name="connsiteY2407" fmla="*/ 148534 h 1237129"/>
              <a:gd name="connsiteX2408" fmla="*/ 1645899 w 3751729"/>
              <a:gd name="connsiteY2408" fmla="*/ 134996 h 1237129"/>
              <a:gd name="connsiteX2409" fmla="*/ 1644176 w 3751729"/>
              <a:gd name="connsiteY2409" fmla="*/ 117273 h 1237129"/>
              <a:gd name="connsiteX2410" fmla="*/ 1651560 w 3751729"/>
              <a:gd name="connsiteY2410" fmla="*/ 109642 h 1237129"/>
              <a:gd name="connsiteX2411" fmla="*/ 1654023 w 3751729"/>
              <a:gd name="connsiteY2411" fmla="*/ 102997 h 1237129"/>
              <a:gd name="connsiteX2412" fmla="*/ 1655746 w 3751729"/>
              <a:gd name="connsiteY2412" fmla="*/ 93889 h 1237129"/>
              <a:gd name="connsiteX2413" fmla="*/ 1659931 w 3751729"/>
              <a:gd name="connsiteY2413" fmla="*/ 82074 h 1237129"/>
              <a:gd name="connsiteX2414" fmla="*/ 1663130 w 3751729"/>
              <a:gd name="connsiteY2414" fmla="*/ 79612 h 1237129"/>
              <a:gd name="connsiteX2415" fmla="*/ 1667315 w 3751729"/>
              <a:gd name="connsiteY2415" fmla="*/ 75428 h 1237129"/>
              <a:gd name="connsiteX2416" fmla="*/ 1671499 w 3751729"/>
              <a:gd name="connsiteY2416" fmla="*/ 70504 h 1237129"/>
              <a:gd name="connsiteX2417" fmla="*/ 1676422 w 3751729"/>
              <a:gd name="connsiteY2417" fmla="*/ 66319 h 1237129"/>
              <a:gd name="connsiteX2418" fmla="*/ 1678884 w 3751729"/>
              <a:gd name="connsiteY2418" fmla="*/ 68042 h 1237129"/>
              <a:gd name="connsiteX2419" fmla="*/ 1680607 w 3751729"/>
              <a:gd name="connsiteY2419" fmla="*/ 69765 h 1237129"/>
              <a:gd name="connsiteX2420" fmla="*/ 1682329 w 3751729"/>
              <a:gd name="connsiteY2420" fmla="*/ 70504 h 1237129"/>
              <a:gd name="connsiteX2421" fmla="*/ 1683068 w 3751729"/>
              <a:gd name="connsiteY2421" fmla="*/ 72227 h 1237129"/>
              <a:gd name="connsiteX2422" fmla="*/ 1686269 w 3751729"/>
              <a:gd name="connsiteY2422" fmla="*/ 69765 h 1237129"/>
              <a:gd name="connsiteX2423" fmla="*/ 1687991 w 3751729"/>
              <a:gd name="connsiteY2423" fmla="*/ 66319 h 1237129"/>
              <a:gd name="connsiteX2424" fmla="*/ 1688731 w 3751729"/>
              <a:gd name="connsiteY2424" fmla="*/ 63858 h 1237129"/>
              <a:gd name="connsiteX2425" fmla="*/ 1690453 w 3751729"/>
              <a:gd name="connsiteY2425" fmla="*/ 58935 h 1237129"/>
              <a:gd name="connsiteX2426" fmla="*/ 1692176 w 3751729"/>
              <a:gd name="connsiteY2426" fmla="*/ 56473 h 1237129"/>
              <a:gd name="connsiteX2427" fmla="*/ 1702022 w 3751729"/>
              <a:gd name="connsiteY2427" fmla="*/ 50566 h 1237129"/>
              <a:gd name="connsiteX2428" fmla="*/ 1710391 w 3751729"/>
              <a:gd name="connsiteY2428" fmla="*/ 47119 h 1237129"/>
              <a:gd name="connsiteX2429" fmla="*/ 1717775 w 3751729"/>
              <a:gd name="connsiteY2429" fmla="*/ 40473 h 1237129"/>
              <a:gd name="connsiteX2430" fmla="*/ 1715314 w 3751729"/>
              <a:gd name="connsiteY2430" fmla="*/ 38750 h 1237129"/>
              <a:gd name="connsiteX2431" fmla="*/ 1713592 w 3751729"/>
              <a:gd name="connsiteY2431" fmla="*/ 38750 h 1237129"/>
              <a:gd name="connsiteX2432" fmla="*/ 1711869 w 3751729"/>
              <a:gd name="connsiteY2432" fmla="*/ 38750 h 1237129"/>
              <a:gd name="connsiteX2433" fmla="*/ 1711869 w 3751729"/>
              <a:gd name="connsiteY2433" fmla="*/ 37027 h 1237129"/>
              <a:gd name="connsiteX2434" fmla="*/ 1711869 w 3751729"/>
              <a:gd name="connsiteY2434" fmla="*/ 34566 h 1237129"/>
              <a:gd name="connsiteX2435" fmla="*/ 1710146 w 3751729"/>
              <a:gd name="connsiteY2435" fmla="*/ 31120 h 1237129"/>
              <a:gd name="connsiteX2436" fmla="*/ 1720975 w 3751729"/>
              <a:gd name="connsiteY2436" fmla="*/ 17581 h 1237129"/>
              <a:gd name="connsiteX2437" fmla="*/ 1730820 w 3751729"/>
              <a:gd name="connsiteY2437" fmla="*/ 1582 h 1237129"/>
              <a:gd name="connsiteX2438" fmla="*/ 1335283 w 3751729"/>
              <a:gd name="connsiteY2438" fmla="*/ 0 h 1237129"/>
              <a:gd name="connsiteX2439" fmla="*/ 1355141 w 3751729"/>
              <a:gd name="connsiteY2439" fmla="*/ 0 h 1237129"/>
              <a:gd name="connsiteX2440" fmla="*/ 1357409 w 3751729"/>
              <a:gd name="connsiteY2440" fmla="*/ 4536 h 1237129"/>
              <a:gd name="connsiteX2441" fmla="*/ 1360609 w 3751729"/>
              <a:gd name="connsiteY2441" fmla="*/ 6998 h 1237129"/>
              <a:gd name="connsiteX2442" fmla="*/ 1363070 w 3751729"/>
              <a:gd name="connsiteY2442" fmla="*/ 12905 h 1237129"/>
              <a:gd name="connsiteX2443" fmla="*/ 1372178 w 3751729"/>
              <a:gd name="connsiteY2443" fmla="*/ 5521 h 1237129"/>
              <a:gd name="connsiteX2444" fmla="*/ 1380000 w 3751729"/>
              <a:gd name="connsiteY2444" fmla="*/ 0 h 1237129"/>
              <a:gd name="connsiteX2445" fmla="*/ 1394146 w 3751729"/>
              <a:gd name="connsiteY2445" fmla="*/ 0 h 1237129"/>
              <a:gd name="connsiteX2446" fmla="*/ 1396054 w 3751729"/>
              <a:gd name="connsiteY2446" fmla="*/ 1337 h 1237129"/>
              <a:gd name="connsiteX2447" fmla="*/ 1396054 w 3751729"/>
              <a:gd name="connsiteY2447" fmla="*/ 2812 h 1237129"/>
              <a:gd name="connsiteX2448" fmla="*/ 1397778 w 3751729"/>
              <a:gd name="connsiteY2448" fmla="*/ 2812 h 1237129"/>
              <a:gd name="connsiteX2449" fmla="*/ 1399501 w 3751729"/>
              <a:gd name="connsiteY2449" fmla="*/ 2812 h 1237129"/>
              <a:gd name="connsiteX2450" fmla="*/ 1401962 w 3751729"/>
              <a:gd name="connsiteY2450" fmla="*/ 2812 h 1237129"/>
              <a:gd name="connsiteX2451" fmla="*/ 1407235 w 3751729"/>
              <a:gd name="connsiteY2451" fmla="*/ 0 h 1237129"/>
              <a:gd name="connsiteX2452" fmla="*/ 1442331 w 3751729"/>
              <a:gd name="connsiteY2452" fmla="*/ 0 h 1237129"/>
              <a:gd name="connsiteX2453" fmla="*/ 1442331 w 3751729"/>
              <a:gd name="connsiteY2453" fmla="*/ 2812 h 1237129"/>
              <a:gd name="connsiteX2454" fmla="*/ 1442331 w 3751729"/>
              <a:gd name="connsiteY2454" fmla="*/ 6998 h 1237129"/>
              <a:gd name="connsiteX2455" fmla="*/ 1444054 w 3751729"/>
              <a:gd name="connsiteY2455" fmla="*/ 18813 h 1237129"/>
              <a:gd name="connsiteX2456" fmla="*/ 1445777 w 3751729"/>
              <a:gd name="connsiteY2456" fmla="*/ 32105 h 1237129"/>
              <a:gd name="connsiteX2457" fmla="*/ 1445777 w 3751729"/>
              <a:gd name="connsiteY2457" fmla="*/ 43674 h 1237129"/>
              <a:gd name="connsiteX2458" fmla="*/ 1429285 w 3751729"/>
              <a:gd name="connsiteY2458" fmla="*/ 52043 h 1237129"/>
              <a:gd name="connsiteX2459" fmla="*/ 1411070 w 3751729"/>
              <a:gd name="connsiteY2459" fmla="*/ 59428 h 1237129"/>
              <a:gd name="connsiteX2460" fmla="*/ 1393594 w 3751729"/>
              <a:gd name="connsiteY2460" fmla="*/ 67796 h 1237129"/>
              <a:gd name="connsiteX2461" fmla="*/ 1378824 w 3751729"/>
              <a:gd name="connsiteY2461" fmla="*/ 79612 h 1237129"/>
              <a:gd name="connsiteX2462" fmla="*/ 1374640 w 3751729"/>
              <a:gd name="connsiteY2462" fmla="*/ 77151 h 1237129"/>
              <a:gd name="connsiteX2463" fmla="*/ 1367255 w 3751729"/>
              <a:gd name="connsiteY2463" fmla="*/ 73705 h 1237129"/>
              <a:gd name="connsiteX2464" fmla="*/ 1357409 w 3751729"/>
              <a:gd name="connsiteY2464" fmla="*/ 67796 h 1237129"/>
              <a:gd name="connsiteX2465" fmla="*/ 1349040 w 3751729"/>
              <a:gd name="connsiteY2465" fmla="*/ 63612 h 1237129"/>
              <a:gd name="connsiteX2466" fmla="*/ 1341655 w 3751729"/>
              <a:gd name="connsiteY2466" fmla="*/ 59428 h 1237129"/>
              <a:gd name="connsiteX2467" fmla="*/ 1338209 w 3751729"/>
              <a:gd name="connsiteY2467" fmla="*/ 56228 h 1237129"/>
              <a:gd name="connsiteX2468" fmla="*/ 1339932 w 3751729"/>
              <a:gd name="connsiteY2468" fmla="*/ 55490 h 1237129"/>
              <a:gd name="connsiteX2469" fmla="*/ 1341655 w 3751729"/>
              <a:gd name="connsiteY2469" fmla="*/ 53766 h 1237129"/>
              <a:gd name="connsiteX2470" fmla="*/ 1343378 w 3751729"/>
              <a:gd name="connsiteY2470" fmla="*/ 52043 h 1237129"/>
              <a:gd name="connsiteX2471" fmla="*/ 1343378 w 3751729"/>
              <a:gd name="connsiteY2471" fmla="*/ 50320 h 1237129"/>
              <a:gd name="connsiteX2472" fmla="*/ 1344116 w 3751729"/>
              <a:gd name="connsiteY2472" fmla="*/ 47859 h 1237129"/>
              <a:gd name="connsiteX2473" fmla="*/ 1339932 w 3751729"/>
              <a:gd name="connsiteY2473" fmla="*/ 44658 h 1237129"/>
              <a:gd name="connsiteX2474" fmla="*/ 1334271 w 3751729"/>
              <a:gd name="connsiteY2474" fmla="*/ 43674 h 1237129"/>
              <a:gd name="connsiteX2475" fmla="*/ 1330086 w 3751729"/>
              <a:gd name="connsiteY2475" fmla="*/ 40474 h 1237129"/>
              <a:gd name="connsiteX2476" fmla="*/ 1325901 w 3751729"/>
              <a:gd name="connsiteY2476" fmla="*/ 38012 h 1237129"/>
              <a:gd name="connsiteX2477" fmla="*/ 1328363 w 3751729"/>
              <a:gd name="connsiteY2477" fmla="*/ 38012 h 1237129"/>
              <a:gd name="connsiteX2478" fmla="*/ 1331809 w 3751729"/>
              <a:gd name="connsiteY2478" fmla="*/ 34567 h 1237129"/>
              <a:gd name="connsiteX2479" fmla="*/ 1332547 w 3751729"/>
              <a:gd name="connsiteY2479" fmla="*/ 32844 h 1237129"/>
              <a:gd name="connsiteX2480" fmla="*/ 1334271 w 3751729"/>
              <a:gd name="connsiteY2480" fmla="*/ 32844 h 1237129"/>
              <a:gd name="connsiteX2481" fmla="*/ 1335747 w 3751729"/>
              <a:gd name="connsiteY2481" fmla="*/ 32105 h 1237129"/>
              <a:gd name="connsiteX2482" fmla="*/ 1339932 w 3751729"/>
              <a:gd name="connsiteY2482" fmla="*/ 32105 h 1237129"/>
              <a:gd name="connsiteX2483" fmla="*/ 1344116 w 3751729"/>
              <a:gd name="connsiteY2483" fmla="*/ 32105 h 1237129"/>
              <a:gd name="connsiteX2484" fmla="*/ 1344116 w 3751729"/>
              <a:gd name="connsiteY2484" fmla="*/ 21275 h 1237129"/>
              <a:gd name="connsiteX2485" fmla="*/ 1322701 w 3751729"/>
              <a:gd name="connsiteY2485" fmla="*/ 21275 h 1237129"/>
              <a:gd name="connsiteX2486" fmla="*/ 1318517 w 3751729"/>
              <a:gd name="connsiteY2486" fmla="*/ 12905 h 1237129"/>
              <a:gd name="connsiteX2487" fmla="*/ 1325901 w 3751729"/>
              <a:gd name="connsiteY2487" fmla="*/ 6998 h 1237129"/>
              <a:gd name="connsiteX2488" fmla="*/ 1331809 w 3751729"/>
              <a:gd name="connsiteY2488" fmla="*/ 1337 h 1237129"/>
              <a:gd name="connsiteX2489" fmla="*/ 994515 w 3751729"/>
              <a:gd name="connsiteY2489" fmla="*/ 0 h 1237129"/>
              <a:gd name="connsiteX2490" fmla="*/ 1240498 w 3751729"/>
              <a:gd name="connsiteY2490" fmla="*/ 0 h 1237129"/>
              <a:gd name="connsiteX2491" fmla="*/ 1238272 w 3751729"/>
              <a:gd name="connsiteY2491" fmla="*/ 6013 h 1237129"/>
              <a:gd name="connsiteX2492" fmla="*/ 1230887 w 3751729"/>
              <a:gd name="connsiteY2492" fmla="*/ 13644 h 1237129"/>
              <a:gd name="connsiteX2493" fmla="*/ 1218579 w 3751729"/>
              <a:gd name="connsiteY2493" fmla="*/ 22012 h 1237129"/>
              <a:gd name="connsiteX2494" fmla="*/ 1202088 w 3751729"/>
              <a:gd name="connsiteY2494" fmla="*/ 29643 h 1237129"/>
              <a:gd name="connsiteX2495" fmla="*/ 1188057 w 3751729"/>
              <a:gd name="connsiteY2495" fmla="*/ 35551 h 1237129"/>
              <a:gd name="connsiteX2496" fmla="*/ 1174765 w 3751729"/>
              <a:gd name="connsiteY2496" fmla="*/ 38997 h 1237129"/>
              <a:gd name="connsiteX2497" fmla="*/ 1174765 w 3751729"/>
              <a:gd name="connsiteY2497" fmla="*/ 35551 h 1237129"/>
              <a:gd name="connsiteX2498" fmla="*/ 1174765 w 3751729"/>
              <a:gd name="connsiteY2498" fmla="*/ 33089 h 1237129"/>
              <a:gd name="connsiteX2499" fmla="*/ 1173042 w 3751729"/>
              <a:gd name="connsiteY2499" fmla="*/ 33089 h 1237129"/>
              <a:gd name="connsiteX2500" fmla="*/ 1173042 w 3751729"/>
              <a:gd name="connsiteY2500" fmla="*/ 31367 h 1237129"/>
              <a:gd name="connsiteX2501" fmla="*/ 1172304 w 3751729"/>
              <a:gd name="connsiteY2501" fmla="*/ 29643 h 1237129"/>
              <a:gd name="connsiteX2502" fmla="*/ 1170580 w 3751729"/>
              <a:gd name="connsiteY2502" fmla="*/ 41458 h 1237129"/>
              <a:gd name="connsiteX2503" fmla="*/ 1166396 w 3751729"/>
              <a:gd name="connsiteY2503" fmla="*/ 51551 h 1237129"/>
              <a:gd name="connsiteX2504" fmla="*/ 1163196 w 3751729"/>
              <a:gd name="connsiteY2504" fmla="*/ 60658 h 1237129"/>
              <a:gd name="connsiteX2505" fmla="*/ 1159011 w 3751729"/>
              <a:gd name="connsiteY2505" fmla="*/ 69027 h 1237129"/>
              <a:gd name="connsiteX2506" fmla="*/ 1155811 w 3751729"/>
              <a:gd name="connsiteY2506" fmla="*/ 80844 h 1237129"/>
              <a:gd name="connsiteX2507" fmla="*/ 1159011 w 3751729"/>
              <a:gd name="connsiteY2507" fmla="*/ 82566 h 1237129"/>
              <a:gd name="connsiteX2508" fmla="*/ 1159011 w 3751729"/>
              <a:gd name="connsiteY2508" fmla="*/ 84289 h 1237129"/>
              <a:gd name="connsiteX2509" fmla="*/ 1160735 w 3751729"/>
              <a:gd name="connsiteY2509" fmla="*/ 84289 h 1237129"/>
              <a:gd name="connsiteX2510" fmla="*/ 1160735 w 3751729"/>
              <a:gd name="connsiteY2510" fmla="*/ 86012 h 1237129"/>
              <a:gd name="connsiteX2511" fmla="*/ 1159011 w 3751729"/>
              <a:gd name="connsiteY2511" fmla="*/ 86750 h 1237129"/>
              <a:gd name="connsiteX2512" fmla="*/ 1155811 w 3751729"/>
              <a:gd name="connsiteY2512" fmla="*/ 90197 h 1237129"/>
              <a:gd name="connsiteX2513" fmla="*/ 1153350 w 3751729"/>
              <a:gd name="connsiteY2513" fmla="*/ 91920 h 1237129"/>
              <a:gd name="connsiteX2514" fmla="*/ 1150889 w 3751729"/>
              <a:gd name="connsiteY2514" fmla="*/ 94381 h 1237129"/>
              <a:gd name="connsiteX2515" fmla="*/ 1147689 w 3751729"/>
              <a:gd name="connsiteY2515" fmla="*/ 96104 h 1237129"/>
              <a:gd name="connsiteX2516" fmla="*/ 1145965 w 3751729"/>
              <a:gd name="connsiteY2516" fmla="*/ 98566 h 1237129"/>
              <a:gd name="connsiteX2517" fmla="*/ 1143504 w 3751729"/>
              <a:gd name="connsiteY2517" fmla="*/ 102750 h 1237129"/>
              <a:gd name="connsiteX2518" fmla="*/ 1137597 w 3751729"/>
              <a:gd name="connsiteY2518" fmla="*/ 119489 h 1237129"/>
              <a:gd name="connsiteX2519" fmla="*/ 1133412 w 3751729"/>
              <a:gd name="connsiteY2519" fmla="*/ 136966 h 1237129"/>
              <a:gd name="connsiteX2520" fmla="*/ 1131688 w 3751729"/>
              <a:gd name="connsiteY2520" fmla="*/ 157150 h 1237129"/>
              <a:gd name="connsiteX2521" fmla="*/ 1128489 w 3751729"/>
              <a:gd name="connsiteY2521" fmla="*/ 176350 h 1237129"/>
              <a:gd name="connsiteX2522" fmla="*/ 1124305 w 3751729"/>
              <a:gd name="connsiteY2522" fmla="*/ 193826 h 1237129"/>
              <a:gd name="connsiteX2523" fmla="*/ 1121842 w 3751729"/>
              <a:gd name="connsiteY2523" fmla="*/ 192104 h 1237129"/>
              <a:gd name="connsiteX2524" fmla="*/ 1120119 w 3751729"/>
              <a:gd name="connsiteY2524" fmla="*/ 192104 h 1237129"/>
              <a:gd name="connsiteX2525" fmla="*/ 1120119 w 3751729"/>
              <a:gd name="connsiteY2525" fmla="*/ 190380 h 1237129"/>
              <a:gd name="connsiteX2526" fmla="*/ 1118396 w 3751729"/>
              <a:gd name="connsiteY2526" fmla="*/ 190380 h 1237129"/>
              <a:gd name="connsiteX2527" fmla="*/ 1114212 w 3751729"/>
              <a:gd name="connsiteY2527" fmla="*/ 187919 h 1237129"/>
              <a:gd name="connsiteX2528" fmla="*/ 1106828 w 3751729"/>
              <a:gd name="connsiteY2528" fmla="*/ 182012 h 1237129"/>
              <a:gd name="connsiteX2529" fmla="*/ 1095258 w 3751729"/>
              <a:gd name="connsiteY2529" fmla="*/ 172903 h 1237129"/>
              <a:gd name="connsiteX2530" fmla="*/ 1081966 w 3751729"/>
              <a:gd name="connsiteY2530" fmla="*/ 165273 h 1237129"/>
              <a:gd name="connsiteX2531" fmla="*/ 1069658 w 3751729"/>
              <a:gd name="connsiteY2531" fmla="*/ 156904 h 1237129"/>
              <a:gd name="connsiteX2532" fmla="*/ 1059813 w 3751729"/>
              <a:gd name="connsiteY2532" fmla="*/ 149273 h 1237129"/>
              <a:gd name="connsiteX2533" fmla="*/ 1050706 w 3751729"/>
              <a:gd name="connsiteY2533" fmla="*/ 145088 h 1237129"/>
              <a:gd name="connsiteX2534" fmla="*/ 1048243 w 3751729"/>
              <a:gd name="connsiteY2534" fmla="*/ 143366 h 1237129"/>
              <a:gd name="connsiteX2535" fmla="*/ 1045043 w 3751729"/>
              <a:gd name="connsiteY2535" fmla="*/ 111612 h 1237129"/>
              <a:gd name="connsiteX2536" fmla="*/ 1043320 w 3751729"/>
              <a:gd name="connsiteY2536" fmla="*/ 108166 h 1237129"/>
              <a:gd name="connsiteX2537" fmla="*/ 1039136 w 3751729"/>
              <a:gd name="connsiteY2537" fmla="*/ 105705 h 1237129"/>
              <a:gd name="connsiteX2538" fmla="*/ 1036674 w 3751729"/>
              <a:gd name="connsiteY2538" fmla="*/ 103982 h 1237129"/>
              <a:gd name="connsiteX2539" fmla="*/ 1031751 w 3751729"/>
              <a:gd name="connsiteY2539" fmla="*/ 100535 h 1237129"/>
              <a:gd name="connsiteX2540" fmla="*/ 1029290 w 3751729"/>
              <a:gd name="connsiteY2540" fmla="*/ 98074 h 1237129"/>
              <a:gd name="connsiteX2541" fmla="*/ 1031751 w 3751729"/>
              <a:gd name="connsiteY2541" fmla="*/ 96351 h 1237129"/>
              <a:gd name="connsiteX2542" fmla="*/ 1031751 w 3751729"/>
              <a:gd name="connsiteY2542" fmla="*/ 94628 h 1237129"/>
              <a:gd name="connsiteX2543" fmla="*/ 1033474 w 3751729"/>
              <a:gd name="connsiteY2543" fmla="*/ 93889 h 1237129"/>
              <a:gd name="connsiteX2544" fmla="*/ 1035197 w 3751729"/>
              <a:gd name="connsiteY2544" fmla="*/ 90443 h 1237129"/>
              <a:gd name="connsiteX2545" fmla="*/ 1036919 w 3751729"/>
              <a:gd name="connsiteY2545" fmla="*/ 87982 h 1237129"/>
              <a:gd name="connsiteX2546" fmla="*/ 1029536 w 3751729"/>
              <a:gd name="connsiteY2546" fmla="*/ 87982 h 1237129"/>
              <a:gd name="connsiteX2547" fmla="*/ 1025351 w 3751729"/>
              <a:gd name="connsiteY2547" fmla="*/ 87982 h 1237129"/>
              <a:gd name="connsiteX2548" fmla="*/ 1022152 w 3751729"/>
              <a:gd name="connsiteY2548" fmla="*/ 87982 h 1237129"/>
              <a:gd name="connsiteX2549" fmla="*/ 1020428 w 3751729"/>
              <a:gd name="connsiteY2549" fmla="*/ 86258 h 1237129"/>
              <a:gd name="connsiteX2550" fmla="*/ 1019689 w 3751729"/>
              <a:gd name="connsiteY2550" fmla="*/ 83797 h 1237129"/>
              <a:gd name="connsiteX2551" fmla="*/ 1016489 w 3751729"/>
              <a:gd name="connsiteY2551" fmla="*/ 78873 h 1237129"/>
              <a:gd name="connsiteX2552" fmla="*/ 1014766 w 3751729"/>
              <a:gd name="connsiteY2552" fmla="*/ 76413 h 1237129"/>
              <a:gd name="connsiteX2553" fmla="*/ 1014766 w 3751729"/>
              <a:gd name="connsiteY2553" fmla="*/ 72966 h 1237129"/>
              <a:gd name="connsiteX2554" fmla="*/ 1014766 w 3751729"/>
              <a:gd name="connsiteY2554" fmla="*/ 72227 h 1237129"/>
              <a:gd name="connsiteX2555" fmla="*/ 1014766 w 3751729"/>
              <a:gd name="connsiteY2555" fmla="*/ 68782 h 1237129"/>
              <a:gd name="connsiteX2556" fmla="*/ 1016489 w 3751729"/>
              <a:gd name="connsiteY2556" fmla="*/ 66320 h 1237129"/>
              <a:gd name="connsiteX2557" fmla="*/ 1016489 w 3751729"/>
              <a:gd name="connsiteY2557" fmla="*/ 62874 h 1237129"/>
              <a:gd name="connsiteX2558" fmla="*/ 1008119 w 3751729"/>
              <a:gd name="connsiteY2558" fmla="*/ 62874 h 1237129"/>
              <a:gd name="connsiteX2559" fmla="*/ 1008119 w 3751729"/>
              <a:gd name="connsiteY2559" fmla="*/ 58690 h 1237129"/>
              <a:gd name="connsiteX2560" fmla="*/ 1008859 w 3751729"/>
              <a:gd name="connsiteY2560" fmla="*/ 54505 h 1237129"/>
              <a:gd name="connsiteX2561" fmla="*/ 1010582 w 3751729"/>
              <a:gd name="connsiteY2561" fmla="*/ 52782 h 1237129"/>
              <a:gd name="connsiteX2562" fmla="*/ 1010582 w 3751729"/>
              <a:gd name="connsiteY2562" fmla="*/ 49828 h 1237129"/>
              <a:gd name="connsiteX2563" fmla="*/ 1012305 w 3751729"/>
              <a:gd name="connsiteY2563" fmla="*/ 47366 h 1237129"/>
              <a:gd name="connsiteX2564" fmla="*/ 1014028 w 3751729"/>
              <a:gd name="connsiteY2564" fmla="*/ 43181 h 1237129"/>
              <a:gd name="connsiteX2565" fmla="*/ 1009104 w 3751729"/>
              <a:gd name="connsiteY2565" fmla="*/ 43181 h 1237129"/>
              <a:gd name="connsiteX2566" fmla="*/ 1004182 w 3751729"/>
              <a:gd name="connsiteY2566" fmla="*/ 43181 h 1237129"/>
              <a:gd name="connsiteX2567" fmla="*/ 1001720 w 3751729"/>
              <a:gd name="connsiteY2567" fmla="*/ 41458 h 1237129"/>
              <a:gd name="connsiteX2568" fmla="*/ 996797 w 3751729"/>
              <a:gd name="connsiteY2568" fmla="*/ 39735 h 1237129"/>
              <a:gd name="connsiteX2569" fmla="*/ 996059 w 3751729"/>
              <a:gd name="connsiteY2569" fmla="*/ 18075 h 1237129"/>
              <a:gd name="connsiteX2570" fmla="*/ 864598 w 3751729"/>
              <a:gd name="connsiteY2570" fmla="*/ 0 h 1237129"/>
              <a:gd name="connsiteX2571" fmla="*/ 901871 w 3751729"/>
              <a:gd name="connsiteY2571" fmla="*/ 0 h 1237129"/>
              <a:gd name="connsiteX2572" fmla="*/ 899566 w 3751729"/>
              <a:gd name="connsiteY2572" fmla="*/ 15368 h 1237129"/>
              <a:gd name="connsiteX2573" fmla="*/ 895383 w 3751729"/>
              <a:gd name="connsiteY2573" fmla="*/ 17090 h 1237129"/>
              <a:gd name="connsiteX2574" fmla="*/ 890459 w 3751729"/>
              <a:gd name="connsiteY2574" fmla="*/ 17090 h 1237129"/>
              <a:gd name="connsiteX2575" fmla="*/ 886521 w 3751729"/>
              <a:gd name="connsiteY2575" fmla="*/ 17829 h 1237129"/>
              <a:gd name="connsiteX2576" fmla="*/ 880613 w 3751729"/>
              <a:gd name="connsiteY2576" fmla="*/ 17829 h 1237129"/>
              <a:gd name="connsiteX2577" fmla="*/ 874951 w 3751729"/>
              <a:gd name="connsiteY2577" fmla="*/ 11183 h 1237129"/>
              <a:gd name="connsiteX2578" fmla="*/ 867321 w 3751729"/>
              <a:gd name="connsiteY2578" fmla="*/ 3552 h 1237129"/>
              <a:gd name="connsiteX2579" fmla="*/ 769123 w 3751729"/>
              <a:gd name="connsiteY2579" fmla="*/ 0 h 1237129"/>
              <a:gd name="connsiteX2580" fmla="*/ 842019 w 3751729"/>
              <a:gd name="connsiteY2580" fmla="*/ 0 h 1237129"/>
              <a:gd name="connsiteX2581" fmla="*/ 845906 w 3751729"/>
              <a:gd name="connsiteY2581" fmla="*/ 11921 h 1237129"/>
              <a:gd name="connsiteX2582" fmla="*/ 851813 w 3751729"/>
              <a:gd name="connsiteY2582" fmla="*/ 37275 h 1237129"/>
              <a:gd name="connsiteX2583" fmla="*/ 861659 w 3751729"/>
              <a:gd name="connsiteY2583" fmla="*/ 37275 h 1237129"/>
              <a:gd name="connsiteX2584" fmla="*/ 867321 w 3751729"/>
              <a:gd name="connsiteY2584" fmla="*/ 48845 h 1237129"/>
              <a:gd name="connsiteX2585" fmla="*/ 872244 w 3751729"/>
              <a:gd name="connsiteY2585" fmla="*/ 60660 h 1237129"/>
              <a:gd name="connsiteX2586" fmla="*/ 873228 w 3751729"/>
              <a:gd name="connsiteY2586" fmla="*/ 76660 h 1237129"/>
              <a:gd name="connsiteX2587" fmla="*/ 872244 w 3751729"/>
              <a:gd name="connsiteY2587" fmla="*/ 78383 h 1237129"/>
              <a:gd name="connsiteX2588" fmla="*/ 870767 w 3751729"/>
              <a:gd name="connsiteY2588" fmla="*/ 79859 h 1237129"/>
              <a:gd name="connsiteX2589" fmla="*/ 870767 w 3751729"/>
              <a:gd name="connsiteY2589" fmla="*/ 81582 h 1237129"/>
              <a:gd name="connsiteX2590" fmla="*/ 869044 w 3751729"/>
              <a:gd name="connsiteY2590" fmla="*/ 82567 h 1237129"/>
              <a:gd name="connsiteX2591" fmla="*/ 867321 w 3751729"/>
              <a:gd name="connsiteY2591" fmla="*/ 84290 h 1237129"/>
              <a:gd name="connsiteX2592" fmla="*/ 864858 w 3751729"/>
              <a:gd name="connsiteY2592" fmla="*/ 85767 h 1237129"/>
              <a:gd name="connsiteX2593" fmla="*/ 859198 w 3751729"/>
              <a:gd name="connsiteY2593" fmla="*/ 82567 h 1237129"/>
              <a:gd name="connsiteX2594" fmla="*/ 851813 w 3751729"/>
              <a:gd name="connsiteY2594" fmla="*/ 78383 h 1237129"/>
              <a:gd name="connsiteX2595" fmla="*/ 844182 w 3751729"/>
              <a:gd name="connsiteY2595" fmla="*/ 74198 h 1237129"/>
              <a:gd name="connsiteX2596" fmla="*/ 838521 w 3751729"/>
              <a:gd name="connsiteY2596" fmla="*/ 70752 h 1237129"/>
              <a:gd name="connsiteX2597" fmla="*/ 836060 w 3751729"/>
              <a:gd name="connsiteY2597" fmla="*/ 70013 h 1237129"/>
              <a:gd name="connsiteX2598" fmla="*/ 833598 w 3751729"/>
              <a:gd name="connsiteY2598" fmla="*/ 70013 h 1237129"/>
              <a:gd name="connsiteX2599" fmla="*/ 841721 w 3751729"/>
              <a:gd name="connsiteY2599" fmla="*/ 81582 h 1237129"/>
              <a:gd name="connsiteX2600" fmla="*/ 849352 w 3751729"/>
              <a:gd name="connsiteY2600" fmla="*/ 91675 h 1237129"/>
              <a:gd name="connsiteX2601" fmla="*/ 855013 w 3751729"/>
              <a:gd name="connsiteY2601" fmla="*/ 104229 h 1237129"/>
              <a:gd name="connsiteX2602" fmla="*/ 851813 w 3751729"/>
              <a:gd name="connsiteY2602" fmla="*/ 104229 h 1237129"/>
              <a:gd name="connsiteX2603" fmla="*/ 841721 w 3751729"/>
              <a:gd name="connsiteY2603" fmla="*/ 100044 h 1237129"/>
              <a:gd name="connsiteX2604" fmla="*/ 828674 w 3751729"/>
              <a:gd name="connsiteY2604" fmla="*/ 97582 h 1237129"/>
              <a:gd name="connsiteX2605" fmla="*/ 814644 w 3751729"/>
              <a:gd name="connsiteY2605" fmla="*/ 94136 h 1237129"/>
              <a:gd name="connsiteX2606" fmla="*/ 804551 w 3751729"/>
              <a:gd name="connsiteY2606" fmla="*/ 88475 h 1237129"/>
              <a:gd name="connsiteX2607" fmla="*/ 795689 w 3751729"/>
              <a:gd name="connsiteY2607" fmla="*/ 79859 h 1237129"/>
              <a:gd name="connsiteX2608" fmla="*/ 789782 w 3751729"/>
              <a:gd name="connsiteY2608" fmla="*/ 66567 h 1237129"/>
              <a:gd name="connsiteX2609" fmla="*/ 784121 w 3751729"/>
              <a:gd name="connsiteY2609" fmla="*/ 54752 h 1237129"/>
              <a:gd name="connsiteX2610" fmla="*/ 775751 w 3751729"/>
              <a:gd name="connsiteY2610" fmla="*/ 43183 h 1237129"/>
              <a:gd name="connsiteX2611" fmla="*/ 766644 w 3751729"/>
              <a:gd name="connsiteY2611" fmla="*/ 34568 h 1237129"/>
              <a:gd name="connsiteX2612" fmla="*/ 754336 w 3751729"/>
              <a:gd name="connsiteY2612" fmla="*/ 41460 h 1237129"/>
              <a:gd name="connsiteX2613" fmla="*/ 739321 w 3751729"/>
              <a:gd name="connsiteY2613" fmla="*/ 46383 h 1237129"/>
              <a:gd name="connsiteX2614" fmla="*/ 722090 w 3751729"/>
              <a:gd name="connsiteY2614" fmla="*/ 47368 h 1237129"/>
              <a:gd name="connsiteX2615" fmla="*/ 720368 w 3751729"/>
              <a:gd name="connsiteY2615" fmla="*/ 43183 h 1237129"/>
              <a:gd name="connsiteX2616" fmla="*/ 719628 w 3751729"/>
              <a:gd name="connsiteY2616" fmla="*/ 38998 h 1237129"/>
              <a:gd name="connsiteX2617" fmla="*/ 719628 w 3751729"/>
              <a:gd name="connsiteY2617" fmla="*/ 34568 h 1237129"/>
              <a:gd name="connsiteX2618" fmla="*/ 719628 w 3751729"/>
              <a:gd name="connsiteY2618" fmla="*/ 28906 h 1237129"/>
              <a:gd name="connsiteX2619" fmla="*/ 731937 w 3751729"/>
              <a:gd name="connsiteY2619" fmla="*/ 23737 h 1237129"/>
              <a:gd name="connsiteX2620" fmla="*/ 748428 w 3751729"/>
              <a:gd name="connsiteY2620" fmla="*/ 19552 h 1237129"/>
              <a:gd name="connsiteX2621" fmla="*/ 762460 w 3751729"/>
              <a:gd name="connsiteY2621" fmla="*/ 15368 h 1237129"/>
              <a:gd name="connsiteX2622" fmla="*/ 766644 w 3751729"/>
              <a:gd name="connsiteY2622" fmla="*/ 6998 h 1237129"/>
              <a:gd name="connsiteX2623" fmla="*/ 0 w 3751729"/>
              <a:gd name="connsiteY2623" fmla="*/ 0 h 1237129"/>
              <a:gd name="connsiteX2624" fmla="*/ 611304 w 3751729"/>
              <a:gd name="connsiteY2624" fmla="*/ 0 h 1237129"/>
              <a:gd name="connsiteX2625" fmla="*/ 611815 w 3751729"/>
              <a:gd name="connsiteY2625" fmla="*/ 1336 h 1237129"/>
              <a:gd name="connsiteX2626" fmla="*/ 610093 w 3751729"/>
              <a:gd name="connsiteY2626" fmla="*/ 10444 h 1237129"/>
              <a:gd name="connsiteX2627" fmla="*/ 608368 w 3751729"/>
              <a:gd name="connsiteY2627" fmla="*/ 24721 h 1237129"/>
              <a:gd name="connsiteX2628" fmla="*/ 600984 w 3751729"/>
              <a:gd name="connsiteY2628" fmla="*/ 24721 h 1237129"/>
              <a:gd name="connsiteX2629" fmla="*/ 591138 w 3751729"/>
              <a:gd name="connsiteY2629" fmla="*/ 18813 h 1237129"/>
              <a:gd name="connsiteX2630" fmla="*/ 577108 w 3751729"/>
              <a:gd name="connsiteY2630" fmla="*/ 15367 h 1237129"/>
              <a:gd name="connsiteX2631" fmla="*/ 577108 w 3751729"/>
              <a:gd name="connsiteY2631" fmla="*/ 18567 h 1237129"/>
              <a:gd name="connsiteX2632" fmla="*/ 579569 w 3751729"/>
              <a:gd name="connsiteY2632" fmla="*/ 18567 h 1237129"/>
              <a:gd name="connsiteX2633" fmla="*/ 582769 w 3751729"/>
              <a:gd name="connsiteY2633" fmla="*/ 21028 h 1237129"/>
              <a:gd name="connsiteX2634" fmla="*/ 584492 w 3751729"/>
              <a:gd name="connsiteY2634" fmla="*/ 22751 h 1237129"/>
              <a:gd name="connsiteX2635" fmla="*/ 585230 w 3751729"/>
              <a:gd name="connsiteY2635" fmla="*/ 24474 h 1237129"/>
              <a:gd name="connsiteX2636" fmla="*/ 586954 w 3751729"/>
              <a:gd name="connsiteY2636" fmla="*/ 26197 h 1237129"/>
              <a:gd name="connsiteX2637" fmla="*/ 588677 w 3751729"/>
              <a:gd name="connsiteY2637" fmla="*/ 30382 h 1237129"/>
              <a:gd name="connsiteX2638" fmla="*/ 588677 w 3751729"/>
              <a:gd name="connsiteY2638" fmla="*/ 34567 h 1237129"/>
              <a:gd name="connsiteX2639" fmla="*/ 586954 w 3751729"/>
              <a:gd name="connsiteY2639" fmla="*/ 38012 h 1237129"/>
              <a:gd name="connsiteX2640" fmla="*/ 584492 w 3751729"/>
              <a:gd name="connsiteY2640" fmla="*/ 40474 h 1237129"/>
              <a:gd name="connsiteX2641" fmla="*/ 582769 w 3751729"/>
              <a:gd name="connsiteY2641" fmla="*/ 43921 h 1237129"/>
              <a:gd name="connsiteX2642" fmla="*/ 575384 w 3751729"/>
              <a:gd name="connsiteY2642" fmla="*/ 49828 h 1237129"/>
              <a:gd name="connsiteX2643" fmla="*/ 569722 w 3751729"/>
              <a:gd name="connsiteY2643" fmla="*/ 55735 h 1237129"/>
              <a:gd name="connsiteX2644" fmla="*/ 567262 w 3751729"/>
              <a:gd name="connsiteY2644" fmla="*/ 62381 h 1237129"/>
              <a:gd name="connsiteX2645" fmla="*/ 564061 w 3751729"/>
              <a:gd name="connsiteY2645" fmla="*/ 73213 h 1237129"/>
              <a:gd name="connsiteX2646" fmla="*/ 558400 w 3751729"/>
              <a:gd name="connsiteY2646" fmla="*/ 73213 h 1237129"/>
              <a:gd name="connsiteX2647" fmla="*/ 554215 w 3751729"/>
              <a:gd name="connsiteY2647" fmla="*/ 71489 h 1237129"/>
              <a:gd name="connsiteX2648" fmla="*/ 550031 w 3751729"/>
              <a:gd name="connsiteY2648" fmla="*/ 69766 h 1237129"/>
              <a:gd name="connsiteX2649" fmla="*/ 546830 w 3751729"/>
              <a:gd name="connsiteY2649" fmla="*/ 68043 h 1237129"/>
              <a:gd name="connsiteX2650" fmla="*/ 541169 w 3751729"/>
              <a:gd name="connsiteY2650" fmla="*/ 67305 h 1237129"/>
              <a:gd name="connsiteX2651" fmla="*/ 541169 w 3751729"/>
              <a:gd name="connsiteY2651" fmla="*/ 69766 h 1237129"/>
              <a:gd name="connsiteX2652" fmla="*/ 548554 w 3751729"/>
              <a:gd name="connsiteY2652" fmla="*/ 69766 h 1237129"/>
              <a:gd name="connsiteX2653" fmla="*/ 550277 w 3751729"/>
              <a:gd name="connsiteY2653" fmla="*/ 73213 h 1237129"/>
              <a:gd name="connsiteX2654" fmla="*/ 551015 w 3751729"/>
              <a:gd name="connsiteY2654" fmla="*/ 75673 h 1237129"/>
              <a:gd name="connsiteX2655" fmla="*/ 552739 w 3751729"/>
              <a:gd name="connsiteY2655" fmla="*/ 77397 h 1237129"/>
              <a:gd name="connsiteX2656" fmla="*/ 552739 w 3751729"/>
              <a:gd name="connsiteY2656" fmla="*/ 79858 h 1237129"/>
              <a:gd name="connsiteX2657" fmla="*/ 554461 w 3751729"/>
              <a:gd name="connsiteY2657" fmla="*/ 84782 h 1237129"/>
              <a:gd name="connsiteX2658" fmla="*/ 554461 w 3751729"/>
              <a:gd name="connsiteY2658" fmla="*/ 88966 h 1237129"/>
              <a:gd name="connsiteX2659" fmla="*/ 541169 w 3751729"/>
              <a:gd name="connsiteY2659" fmla="*/ 93151 h 1237129"/>
              <a:gd name="connsiteX2660" fmla="*/ 529601 w 3751729"/>
              <a:gd name="connsiteY2660" fmla="*/ 100535 h 1237129"/>
              <a:gd name="connsiteX2661" fmla="*/ 522216 w 3751729"/>
              <a:gd name="connsiteY2661" fmla="*/ 108904 h 1237129"/>
              <a:gd name="connsiteX2662" fmla="*/ 517292 w 3751729"/>
              <a:gd name="connsiteY2662" fmla="*/ 122196 h 1237129"/>
              <a:gd name="connsiteX2663" fmla="*/ 517292 w 3751729"/>
              <a:gd name="connsiteY2663" fmla="*/ 141397 h 1237129"/>
              <a:gd name="connsiteX2664" fmla="*/ 522216 w 3751729"/>
              <a:gd name="connsiteY2664" fmla="*/ 152966 h 1237129"/>
              <a:gd name="connsiteX2665" fmla="*/ 525416 w 3751729"/>
              <a:gd name="connsiteY2665" fmla="*/ 168719 h 1237129"/>
              <a:gd name="connsiteX2666" fmla="*/ 525416 w 3751729"/>
              <a:gd name="connsiteY2666" fmla="*/ 184473 h 1237129"/>
              <a:gd name="connsiteX2667" fmla="*/ 541169 w 3751729"/>
              <a:gd name="connsiteY2667" fmla="*/ 184473 h 1237129"/>
              <a:gd name="connsiteX2668" fmla="*/ 541169 w 3751729"/>
              <a:gd name="connsiteY2668" fmla="*/ 191857 h 1237129"/>
              <a:gd name="connsiteX2669" fmla="*/ 544369 w 3751729"/>
              <a:gd name="connsiteY2669" fmla="*/ 194320 h 1237129"/>
              <a:gd name="connsiteX2670" fmla="*/ 544369 w 3751729"/>
              <a:gd name="connsiteY2670" fmla="*/ 197765 h 1237129"/>
              <a:gd name="connsiteX2671" fmla="*/ 544369 w 3751729"/>
              <a:gd name="connsiteY2671" fmla="*/ 200227 h 1237129"/>
              <a:gd name="connsiteX2672" fmla="*/ 544369 w 3751729"/>
              <a:gd name="connsiteY2672" fmla="*/ 201950 h 1237129"/>
              <a:gd name="connsiteX2673" fmla="*/ 544369 w 3751729"/>
              <a:gd name="connsiteY2673" fmla="*/ 203673 h 1237129"/>
              <a:gd name="connsiteX2674" fmla="*/ 544369 w 3751729"/>
              <a:gd name="connsiteY2674" fmla="*/ 204411 h 1237129"/>
              <a:gd name="connsiteX2675" fmla="*/ 545108 w 3751729"/>
              <a:gd name="connsiteY2675" fmla="*/ 206134 h 1237129"/>
              <a:gd name="connsiteX2676" fmla="*/ 550031 w 3751729"/>
              <a:gd name="connsiteY2676" fmla="*/ 206134 h 1237129"/>
              <a:gd name="connsiteX2677" fmla="*/ 554215 w 3751729"/>
              <a:gd name="connsiteY2677" fmla="*/ 207857 h 1237129"/>
              <a:gd name="connsiteX2678" fmla="*/ 564061 w 3751729"/>
              <a:gd name="connsiteY2678" fmla="*/ 206134 h 1237129"/>
              <a:gd name="connsiteX2679" fmla="*/ 573908 w 3751729"/>
              <a:gd name="connsiteY2679" fmla="*/ 210319 h 1237129"/>
              <a:gd name="connsiteX2680" fmla="*/ 584739 w 3751729"/>
              <a:gd name="connsiteY2680" fmla="*/ 217703 h 1237129"/>
              <a:gd name="connsiteX2681" fmla="*/ 594584 w 3751729"/>
              <a:gd name="connsiteY2681" fmla="*/ 227795 h 1237129"/>
              <a:gd name="connsiteX2682" fmla="*/ 602954 w 3751729"/>
              <a:gd name="connsiteY2682" fmla="*/ 236903 h 1237129"/>
              <a:gd name="connsiteX2683" fmla="*/ 613292 w 3751729"/>
              <a:gd name="connsiteY2683" fmla="*/ 242072 h 1237129"/>
              <a:gd name="connsiteX2684" fmla="*/ 617476 w 3751729"/>
              <a:gd name="connsiteY2684" fmla="*/ 243795 h 1237129"/>
              <a:gd name="connsiteX2685" fmla="*/ 619938 w 3751729"/>
              <a:gd name="connsiteY2685" fmla="*/ 244534 h 1237129"/>
              <a:gd name="connsiteX2686" fmla="*/ 623138 w 3751729"/>
              <a:gd name="connsiteY2686" fmla="*/ 243795 h 1237129"/>
              <a:gd name="connsiteX2687" fmla="*/ 625600 w 3751729"/>
              <a:gd name="connsiteY2687" fmla="*/ 243795 h 1237129"/>
              <a:gd name="connsiteX2688" fmla="*/ 627323 w 3751729"/>
              <a:gd name="connsiteY2688" fmla="*/ 242072 h 1237129"/>
              <a:gd name="connsiteX2689" fmla="*/ 630523 w 3751729"/>
              <a:gd name="connsiteY2689" fmla="*/ 240349 h 1237129"/>
              <a:gd name="connsiteX2690" fmla="*/ 631261 w 3751729"/>
              <a:gd name="connsiteY2690" fmla="*/ 238626 h 1237129"/>
              <a:gd name="connsiteX2691" fmla="*/ 634462 w 3751729"/>
              <a:gd name="connsiteY2691" fmla="*/ 238626 h 1237129"/>
              <a:gd name="connsiteX2692" fmla="*/ 657600 w 3751729"/>
              <a:gd name="connsiteY2692" fmla="*/ 244534 h 1237129"/>
              <a:gd name="connsiteX2693" fmla="*/ 660060 w 3751729"/>
              <a:gd name="connsiteY2693" fmla="*/ 260288 h 1237129"/>
              <a:gd name="connsiteX2694" fmla="*/ 663261 w 3751729"/>
              <a:gd name="connsiteY2694" fmla="*/ 271857 h 1237129"/>
              <a:gd name="connsiteX2695" fmla="*/ 664984 w 3751729"/>
              <a:gd name="connsiteY2695" fmla="*/ 280965 h 1237129"/>
              <a:gd name="connsiteX2696" fmla="*/ 665722 w 3751729"/>
              <a:gd name="connsiteY2696" fmla="*/ 289334 h 1237129"/>
              <a:gd name="connsiteX2697" fmla="*/ 668922 w 3751729"/>
              <a:gd name="connsiteY2697" fmla="*/ 298441 h 1237129"/>
              <a:gd name="connsiteX2698" fmla="*/ 676307 w 3751729"/>
              <a:gd name="connsiteY2698" fmla="*/ 308534 h 1237129"/>
              <a:gd name="connsiteX2699" fmla="*/ 684676 w 3751729"/>
              <a:gd name="connsiteY2699" fmla="*/ 321827 h 1237129"/>
              <a:gd name="connsiteX2700" fmla="*/ 687138 w 3751729"/>
              <a:gd name="connsiteY2700" fmla="*/ 320103 h 1237129"/>
              <a:gd name="connsiteX2701" fmla="*/ 688860 w 3751729"/>
              <a:gd name="connsiteY2701" fmla="*/ 320103 h 1237129"/>
              <a:gd name="connsiteX2702" fmla="*/ 690584 w 3751729"/>
              <a:gd name="connsiteY2702" fmla="*/ 318380 h 1237129"/>
              <a:gd name="connsiteX2703" fmla="*/ 692306 w 3751729"/>
              <a:gd name="connsiteY2703" fmla="*/ 318380 h 1237129"/>
              <a:gd name="connsiteX2704" fmla="*/ 694769 w 3751729"/>
              <a:gd name="connsiteY2704" fmla="*/ 317642 h 1237129"/>
              <a:gd name="connsiteX2705" fmla="*/ 696491 w 3751729"/>
              <a:gd name="connsiteY2705" fmla="*/ 317642 h 1237129"/>
              <a:gd name="connsiteX2706" fmla="*/ 696491 w 3751729"/>
              <a:gd name="connsiteY2706" fmla="*/ 315918 h 1237129"/>
              <a:gd name="connsiteX2707" fmla="*/ 696491 w 3751729"/>
              <a:gd name="connsiteY2707" fmla="*/ 314196 h 1237129"/>
              <a:gd name="connsiteX2708" fmla="*/ 698215 w 3751729"/>
              <a:gd name="connsiteY2708" fmla="*/ 311734 h 1237129"/>
              <a:gd name="connsiteX2709" fmla="*/ 698215 w 3751729"/>
              <a:gd name="connsiteY2709" fmla="*/ 302626 h 1237129"/>
              <a:gd name="connsiteX2710" fmla="*/ 696491 w 3751729"/>
              <a:gd name="connsiteY2710" fmla="*/ 291057 h 1237129"/>
              <a:gd name="connsiteX2711" fmla="*/ 693291 w 3751729"/>
              <a:gd name="connsiteY2711" fmla="*/ 276780 h 1237129"/>
              <a:gd name="connsiteX2712" fmla="*/ 689107 w 3751729"/>
              <a:gd name="connsiteY2712" fmla="*/ 263488 h 1237129"/>
              <a:gd name="connsiteX2713" fmla="*/ 700676 w 3751729"/>
              <a:gd name="connsiteY2713" fmla="*/ 257580 h 1237129"/>
              <a:gd name="connsiteX2714" fmla="*/ 712246 w 3751729"/>
              <a:gd name="connsiteY2714" fmla="*/ 249211 h 1237129"/>
              <a:gd name="connsiteX2715" fmla="*/ 719629 w 3751729"/>
              <a:gd name="connsiteY2715" fmla="*/ 237641 h 1237129"/>
              <a:gd name="connsiteX2716" fmla="*/ 723814 w 3751729"/>
              <a:gd name="connsiteY2716" fmla="*/ 222627 h 1237129"/>
              <a:gd name="connsiteX2717" fmla="*/ 725538 w 3751729"/>
              <a:gd name="connsiteY2717" fmla="*/ 214258 h 1237129"/>
              <a:gd name="connsiteX2718" fmla="*/ 723814 w 3751729"/>
              <a:gd name="connsiteY2718" fmla="*/ 200966 h 1237129"/>
              <a:gd name="connsiteX2719" fmla="*/ 723814 w 3751729"/>
              <a:gd name="connsiteY2719" fmla="*/ 187674 h 1237129"/>
              <a:gd name="connsiteX2720" fmla="*/ 718153 w 3751729"/>
              <a:gd name="connsiteY2720" fmla="*/ 185211 h 1237129"/>
              <a:gd name="connsiteX2721" fmla="*/ 715692 w 3751729"/>
              <a:gd name="connsiteY2721" fmla="*/ 183488 h 1237129"/>
              <a:gd name="connsiteX2722" fmla="*/ 712491 w 3751729"/>
              <a:gd name="connsiteY2722" fmla="*/ 181765 h 1237129"/>
              <a:gd name="connsiteX2723" fmla="*/ 710030 w 3751729"/>
              <a:gd name="connsiteY2723" fmla="*/ 179304 h 1237129"/>
              <a:gd name="connsiteX2724" fmla="*/ 708307 w 3751729"/>
              <a:gd name="connsiteY2724" fmla="*/ 174381 h 1237129"/>
              <a:gd name="connsiteX2725" fmla="*/ 713968 w 3751729"/>
              <a:gd name="connsiteY2725" fmla="*/ 164288 h 1237129"/>
              <a:gd name="connsiteX2726" fmla="*/ 716429 w 3751729"/>
              <a:gd name="connsiteY2726" fmla="*/ 152719 h 1237129"/>
              <a:gd name="connsiteX2727" fmla="*/ 713968 w 3751729"/>
              <a:gd name="connsiteY2727" fmla="*/ 140166 h 1237129"/>
              <a:gd name="connsiteX2728" fmla="*/ 710768 w 3751729"/>
              <a:gd name="connsiteY2728" fmla="*/ 126874 h 1237129"/>
              <a:gd name="connsiteX2729" fmla="*/ 706583 w 3751729"/>
              <a:gd name="connsiteY2729" fmla="*/ 111858 h 1237129"/>
              <a:gd name="connsiteX2730" fmla="*/ 704861 w 3751729"/>
              <a:gd name="connsiteY2730" fmla="*/ 97581 h 1237129"/>
              <a:gd name="connsiteX2731" fmla="*/ 708061 w 3751729"/>
              <a:gd name="connsiteY2731" fmla="*/ 97581 h 1237129"/>
              <a:gd name="connsiteX2732" fmla="*/ 708061 w 3751729"/>
              <a:gd name="connsiteY2732" fmla="*/ 94135 h 1237129"/>
              <a:gd name="connsiteX2733" fmla="*/ 727999 w 3751729"/>
              <a:gd name="connsiteY2733" fmla="*/ 97581 h 1237129"/>
              <a:gd name="connsiteX2734" fmla="*/ 745229 w 3751729"/>
              <a:gd name="connsiteY2734" fmla="*/ 97581 h 1237129"/>
              <a:gd name="connsiteX2735" fmla="*/ 764184 w 3751729"/>
              <a:gd name="connsiteY2735" fmla="*/ 94135 h 1237129"/>
              <a:gd name="connsiteX2736" fmla="*/ 768368 w 3751729"/>
              <a:gd name="connsiteY2736" fmla="*/ 101520 h 1237129"/>
              <a:gd name="connsiteX2737" fmla="*/ 772552 w 3751729"/>
              <a:gd name="connsiteY2737" fmla="*/ 111612 h 1237129"/>
              <a:gd name="connsiteX2738" fmla="*/ 777476 w 3751729"/>
              <a:gd name="connsiteY2738" fmla="*/ 118996 h 1237129"/>
              <a:gd name="connsiteX2739" fmla="*/ 781660 w 3751729"/>
              <a:gd name="connsiteY2739" fmla="*/ 122443 h 1237129"/>
              <a:gd name="connsiteX2740" fmla="*/ 784122 w 3751729"/>
              <a:gd name="connsiteY2740" fmla="*/ 123181 h 1237129"/>
              <a:gd name="connsiteX2741" fmla="*/ 789044 w 3751729"/>
              <a:gd name="connsiteY2741" fmla="*/ 123181 h 1237129"/>
              <a:gd name="connsiteX2742" fmla="*/ 793229 w 3751729"/>
              <a:gd name="connsiteY2742" fmla="*/ 124904 h 1237129"/>
              <a:gd name="connsiteX2743" fmla="*/ 797415 w 3751729"/>
              <a:gd name="connsiteY2743" fmla="*/ 126627 h 1237129"/>
              <a:gd name="connsiteX2744" fmla="*/ 800615 w 3751729"/>
              <a:gd name="connsiteY2744" fmla="*/ 129089 h 1237129"/>
              <a:gd name="connsiteX2745" fmla="*/ 801352 w 3751729"/>
              <a:gd name="connsiteY2745" fmla="*/ 136473 h 1237129"/>
              <a:gd name="connsiteX2746" fmla="*/ 804552 w 3751729"/>
              <a:gd name="connsiteY2746" fmla="*/ 149765 h 1237129"/>
              <a:gd name="connsiteX2747" fmla="*/ 806276 w 3751729"/>
              <a:gd name="connsiteY2747" fmla="*/ 161335 h 1237129"/>
              <a:gd name="connsiteX2748" fmla="*/ 808736 w 3751729"/>
              <a:gd name="connsiteY2748" fmla="*/ 169704 h 1237129"/>
              <a:gd name="connsiteX2749" fmla="*/ 810460 w 3751729"/>
              <a:gd name="connsiteY2749" fmla="*/ 171426 h 1237129"/>
              <a:gd name="connsiteX2750" fmla="*/ 812922 w 3751729"/>
              <a:gd name="connsiteY2750" fmla="*/ 173888 h 1237129"/>
              <a:gd name="connsiteX2751" fmla="*/ 816122 w 3751729"/>
              <a:gd name="connsiteY2751" fmla="*/ 175612 h 1237129"/>
              <a:gd name="connsiteX2752" fmla="*/ 818583 w 3751729"/>
              <a:gd name="connsiteY2752" fmla="*/ 179057 h 1237129"/>
              <a:gd name="connsiteX2753" fmla="*/ 823506 w 3751729"/>
              <a:gd name="connsiteY2753" fmla="*/ 179797 h 1237129"/>
              <a:gd name="connsiteX2754" fmla="*/ 824244 w 3751729"/>
              <a:gd name="connsiteY2754" fmla="*/ 183243 h 1237129"/>
              <a:gd name="connsiteX2755" fmla="*/ 835814 w 3751729"/>
              <a:gd name="connsiteY2755" fmla="*/ 174134 h 1237129"/>
              <a:gd name="connsiteX2756" fmla="*/ 844922 w 3751729"/>
              <a:gd name="connsiteY2756" fmla="*/ 163305 h 1237129"/>
              <a:gd name="connsiteX2757" fmla="*/ 851568 w 3751729"/>
              <a:gd name="connsiteY2757" fmla="*/ 151735 h 1237129"/>
              <a:gd name="connsiteX2758" fmla="*/ 863137 w 3751729"/>
              <a:gd name="connsiteY2758" fmla="*/ 142627 h 1237129"/>
              <a:gd name="connsiteX2759" fmla="*/ 864860 w 3751729"/>
              <a:gd name="connsiteY2759" fmla="*/ 152719 h 1237129"/>
              <a:gd name="connsiteX2760" fmla="*/ 869044 w 3751729"/>
              <a:gd name="connsiteY2760" fmla="*/ 158627 h 1237129"/>
              <a:gd name="connsiteX2761" fmla="*/ 874705 w 3751729"/>
              <a:gd name="connsiteY2761" fmla="*/ 164535 h 1237129"/>
              <a:gd name="connsiteX2762" fmla="*/ 880367 w 3751729"/>
              <a:gd name="connsiteY2762" fmla="*/ 170442 h 1237129"/>
              <a:gd name="connsiteX2763" fmla="*/ 885290 w 3751729"/>
              <a:gd name="connsiteY2763" fmla="*/ 177827 h 1237129"/>
              <a:gd name="connsiteX2764" fmla="*/ 885290 w 3751729"/>
              <a:gd name="connsiteY2764" fmla="*/ 180288 h 1237129"/>
              <a:gd name="connsiteX2765" fmla="*/ 885290 w 3751729"/>
              <a:gd name="connsiteY2765" fmla="*/ 183735 h 1237129"/>
              <a:gd name="connsiteX2766" fmla="*/ 883567 w 3751729"/>
              <a:gd name="connsiteY2766" fmla="*/ 185458 h 1237129"/>
              <a:gd name="connsiteX2767" fmla="*/ 883567 w 3751729"/>
              <a:gd name="connsiteY2767" fmla="*/ 187918 h 1237129"/>
              <a:gd name="connsiteX2768" fmla="*/ 881845 w 3751729"/>
              <a:gd name="connsiteY2768" fmla="*/ 191365 h 1237129"/>
              <a:gd name="connsiteX2769" fmla="*/ 883567 w 3751729"/>
              <a:gd name="connsiteY2769" fmla="*/ 193827 h 1237129"/>
              <a:gd name="connsiteX2770" fmla="*/ 885290 w 3751729"/>
              <a:gd name="connsiteY2770" fmla="*/ 197273 h 1237129"/>
              <a:gd name="connsiteX2771" fmla="*/ 886028 w 3751729"/>
              <a:gd name="connsiteY2771" fmla="*/ 198012 h 1237129"/>
              <a:gd name="connsiteX2772" fmla="*/ 889228 w 3751729"/>
              <a:gd name="connsiteY2772" fmla="*/ 198012 h 1237129"/>
              <a:gd name="connsiteX2773" fmla="*/ 891689 w 3751729"/>
              <a:gd name="connsiteY2773" fmla="*/ 198012 h 1237129"/>
              <a:gd name="connsiteX2774" fmla="*/ 893414 w 3751729"/>
              <a:gd name="connsiteY2774" fmla="*/ 198012 h 1237129"/>
              <a:gd name="connsiteX2775" fmla="*/ 896613 w 3751729"/>
              <a:gd name="connsiteY2775" fmla="*/ 198012 h 1237129"/>
              <a:gd name="connsiteX2776" fmla="*/ 897352 w 3751729"/>
              <a:gd name="connsiteY2776" fmla="*/ 199735 h 1237129"/>
              <a:gd name="connsiteX2777" fmla="*/ 902275 w 3751729"/>
              <a:gd name="connsiteY2777" fmla="*/ 211304 h 1237129"/>
              <a:gd name="connsiteX2778" fmla="*/ 902275 w 3751729"/>
              <a:gd name="connsiteY2778" fmla="*/ 220411 h 1237129"/>
              <a:gd name="connsiteX2779" fmla="*/ 900552 w 3751729"/>
              <a:gd name="connsiteY2779" fmla="*/ 228780 h 1237129"/>
              <a:gd name="connsiteX2780" fmla="*/ 903013 w 3751729"/>
              <a:gd name="connsiteY2780" fmla="*/ 236166 h 1237129"/>
              <a:gd name="connsiteX2781" fmla="*/ 913844 w 3751729"/>
              <a:gd name="connsiteY2781" fmla="*/ 244534 h 1237129"/>
              <a:gd name="connsiteX2782" fmla="*/ 904736 w 3751729"/>
              <a:gd name="connsiteY2782" fmla="*/ 262011 h 1237129"/>
              <a:gd name="connsiteX2783" fmla="*/ 894890 w 3751729"/>
              <a:gd name="connsiteY2783" fmla="*/ 277026 h 1237129"/>
              <a:gd name="connsiteX2784" fmla="*/ 897352 w 3751729"/>
              <a:gd name="connsiteY2784" fmla="*/ 277026 h 1237129"/>
              <a:gd name="connsiteX2785" fmla="*/ 906459 w 3751729"/>
              <a:gd name="connsiteY2785" fmla="*/ 267919 h 1237129"/>
              <a:gd name="connsiteX2786" fmla="*/ 914828 w 3751729"/>
              <a:gd name="connsiteY2786" fmla="*/ 260535 h 1237129"/>
              <a:gd name="connsiteX2787" fmla="*/ 922213 w 3751729"/>
              <a:gd name="connsiteY2787" fmla="*/ 252165 h 1237129"/>
              <a:gd name="connsiteX2788" fmla="*/ 932059 w 3751729"/>
              <a:gd name="connsiteY2788" fmla="*/ 254626 h 1237129"/>
              <a:gd name="connsiteX2789" fmla="*/ 937720 w 3751729"/>
              <a:gd name="connsiteY2789" fmla="*/ 260535 h 1237129"/>
              <a:gd name="connsiteX2790" fmla="*/ 943382 w 3751729"/>
              <a:gd name="connsiteY2790" fmla="*/ 267919 h 1237129"/>
              <a:gd name="connsiteX2791" fmla="*/ 945105 w 3751729"/>
              <a:gd name="connsiteY2791" fmla="*/ 279487 h 1237129"/>
              <a:gd name="connsiteX2792" fmla="*/ 960120 w 3751729"/>
              <a:gd name="connsiteY2792" fmla="*/ 279487 h 1237129"/>
              <a:gd name="connsiteX2793" fmla="*/ 960120 w 3751729"/>
              <a:gd name="connsiteY2793" fmla="*/ 283672 h 1237129"/>
              <a:gd name="connsiteX2794" fmla="*/ 960859 w 3751729"/>
              <a:gd name="connsiteY2794" fmla="*/ 287118 h 1237129"/>
              <a:gd name="connsiteX2795" fmla="*/ 960859 w 3751729"/>
              <a:gd name="connsiteY2795" fmla="*/ 291304 h 1237129"/>
              <a:gd name="connsiteX2796" fmla="*/ 962582 w 3751729"/>
              <a:gd name="connsiteY2796" fmla="*/ 295488 h 1237129"/>
              <a:gd name="connsiteX2797" fmla="*/ 960859 w 3751729"/>
              <a:gd name="connsiteY2797" fmla="*/ 300410 h 1237129"/>
              <a:gd name="connsiteX2798" fmla="*/ 960859 w 3751729"/>
              <a:gd name="connsiteY2798" fmla="*/ 302872 h 1237129"/>
              <a:gd name="connsiteX2799" fmla="*/ 960859 w 3751729"/>
              <a:gd name="connsiteY2799" fmla="*/ 306319 h 1237129"/>
              <a:gd name="connsiteX2800" fmla="*/ 962582 w 3751729"/>
              <a:gd name="connsiteY2800" fmla="*/ 307057 h 1237129"/>
              <a:gd name="connsiteX2801" fmla="*/ 962582 w 3751729"/>
              <a:gd name="connsiteY2801" fmla="*/ 310503 h 1237129"/>
              <a:gd name="connsiteX2802" fmla="*/ 962582 w 3751729"/>
              <a:gd name="connsiteY2802" fmla="*/ 312226 h 1237129"/>
              <a:gd name="connsiteX2803" fmla="*/ 962582 w 3751729"/>
              <a:gd name="connsiteY2803" fmla="*/ 314687 h 1237129"/>
              <a:gd name="connsiteX2804" fmla="*/ 946828 w 3751729"/>
              <a:gd name="connsiteY2804" fmla="*/ 326257 h 1237129"/>
              <a:gd name="connsiteX2805" fmla="*/ 929598 w 3751729"/>
              <a:gd name="connsiteY2805" fmla="*/ 333641 h 1237129"/>
              <a:gd name="connsiteX2806" fmla="*/ 909659 w 3751729"/>
              <a:gd name="connsiteY2806" fmla="*/ 337826 h 1237129"/>
              <a:gd name="connsiteX2807" fmla="*/ 888983 w 3751729"/>
              <a:gd name="connsiteY2807" fmla="*/ 340287 h 1237129"/>
              <a:gd name="connsiteX2808" fmla="*/ 869044 w 3751729"/>
              <a:gd name="connsiteY2808" fmla="*/ 343733 h 1237129"/>
              <a:gd name="connsiteX2809" fmla="*/ 848367 w 3751729"/>
              <a:gd name="connsiteY2809" fmla="*/ 346196 h 1237129"/>
              <a:gd name="connsiteX2810" fmla="*/ 831137 w 3751729"/>
              <a:gd name="connsiteY2810" fmla="*/ 352103 h 1237129"/>
              <a:gd name="connsiteX2811" fmla="*/ 815382 w 3751729"/>
              <a:gd name="connsiteY2811" fmla="*/ 359488 h 1237129"/>
              <a:gd name="connsiteX2812" fmla="*/ 803814 w 3751729"/>
              <a:gd name="connsiteY2812" fmla="*/ 372780 h 1237129"/>
              <a:gd name="connsiteX2813" fmla="*/ 807014 w 3751729"/>
              <a:gd name="connsiteY2813" fmla="*/ 372780 h 1237129"/>
              <a:gd name="connsiteX2814" fmla="*/ 821045 w 3751729"/>
              <a:gd name="connsiteY2814" fmla="*/ 362688 h 1237129"/>
              <a:gd name="connsiteX2815" fmla="*/ 838275 w 3751729"/>
              <a:gd name="connsiteY2815" fmla="*/ 355302 h 1237129"/>
              <a:gd name="connsiteX2816" fmla="*/ 857228 w 3751729"/>
              <a:gd name="connsiteY2816" fmla="*/ 351118 h 1237129"/>
              <a:gd name="connsiteX2817" fmla="*/ 857967 w 3751729"/>
              <a:gd name="connsiteY2817" fmla="*/ 353580 h 1237129"/>
              <a:gd name="connsiteX2818" fmla="*/ 859690 w 3751729"/>
              <a:gd name="connsiteY2818" fmla="*/ 357026 h 1237129"/>
              <a:gd name="connsiteX2819" fmla="*/ 861414 w 3751729"/>
              <a:gd name="connsiteY2819" fmla="*/ 357764 h 1237129"/>
              <a:gd name="connsiteX2820" fmla="*/ 863874 w 3751729"/>
              <a:gd name="connsiteY2820" fmla="*/ 359488 h 1237129"/>
              <a:gd name="connsiteX2821" fmla="*/ 867075 w 3751729"/>
              <a:gd name="connsiteY2821" fmla="*/ 361210 h 1237129"/>
              <a:gd name="connsiteX2822" fmla="*/ 869536 w 3751729"/>
              <a:gd name="connsiteY2822" fmla="*/ 363673 h 1237129"/>
              <a:gd name="connsiteX2823" fmla="*/ 865352 w 3751729"/>
              <a:gd name="connsiteY2823" fmla="*/ 371057 h 1237129"/>
              <a:gd name="connsiteX2824" fmla="*/ 862890 w 3751729"/>
              <a:gd name="connsiteY2824" fmla="*/ 376965 h 1237129"/>
              <a:gd name="connsiteX2825" fmla="*/ 861168 w 3751729"/>
              <a:gd name="connsiteY2825" fmla="*/ 382871 h 1237129"/>
              <a:gd name="connsiteX2826" fmla="*/ 859444 w 3751729"/>
              <a:gd name="connsiteY2826" fmla="*/ 391980 h 1237129"/>
              <a:gd name="connsiteX2827" fmla="*/ 871014 w 3751729"/>
              <a:gd name="connsiteY2827" fmla="*/ 397888 h 1237129"/>
              <a:gd name="connsiteX2828" fmla="*/ 878397 w 3751729"/>
              <a:gd name="connsiteY2828" fmla="*/ 406257 h 1237129"/>
              <a:gd name="connsiteX2829" fmla="*/ 884060 w 3751729"/>
              <a:gd name="connsiteY2829" fmla="*/ 414626 h 1237129"/>
              <a:gd name="connsiteX2830" fmla="*/ 891443 w 3751729"/>
              <a:gd name="connsiteY2830" fmla="*/ 423733 h 1237129"/>
              <a:gd name="connsiteX2831" fmla="*/ 891443 w 3751729"/>
              <a:gd name="connsiteY2831" fmla="*/ 426195 h 1237129"/>
              <a:gd name="connsiteX2832" fmla="*/ 891443 w 3751729"/>
              <a:gd name="connsiteY2832" fmla="*/ 427918 h 1237129"/>
              <a:gd name="connsiteX2833" fmla="*/ 889721 w 3751729"/>
              <a:gd name="connsiteY2833" fmla="*/ 427918 h 1237129"/>
              <a:gd name="connsiteX2834" fmla="*/ 889721 w 3751729"/>
              <a:gd name="connsiteY2834" fmla="*/ 429641 h 1237129"/>
              <a:gd name="connsiteX2835" fmla="*/ 887998 w 3751729"/>
              <a:gd name="connsiteY2835" fmla="*/ 431364 h 1237129"/>
              <a:gd name="connsiteX2836" fmla="*/ 879629 w 3751729"/>
              <a:gd name="connsiteY2836" fmla="*/ 441456 h 1237129"/>
              <a:gd name="connsiteX2837" fmla="*/ 868059 w 3751729"/>
              <a:gd name="connsiteY2837" fmla="*/ 449826 h 1237129"/>
              <a:gd name="connsiteX2838" fmla="*/ 853290 w 3751729"/>
              <a:gd name="connsiteY2838" fmla="*/ 455733 h 1237129"/>
              <a:gd name="connsiteX2839" fmla="*/ 853290 w 3751729"/>
              <a:gd name="connsiteY2839" fmla="*/ 443180 h 1237129"/>
              <a:gd name="connsiteX2840" fmla="*/ 860674 w 3751729"/>
              <a:gd name="connsiteY2840" fmla="*/ 438257 h 1237129"/>
              <a:gd name="connsiteX2841" fmla="*/ 866336 w 3751729"/>
              <a:gd name="connsiteY2841" fmla="*/ 434072 h 1237129"/>
              <a:gd name="connsiteX2842" fmla="*/ 871999 w 3751729"/>
              <a:gd name="connsiteY2842" fmla="*/ 426687 h 1237129"/>
              <a:gd name="connsiteX2843" fmla="*/ 866336 w 3751729"/>
              <a:gd name="connsiteY2843" fmla="*/ 424226 h 1237129"/>
              <a:gd name="connsiteX2844" fmla="*/ 866336 w 3751729"/>
              <a:gd name="connsiteY2844" fmla="*/ 420780 h 1237129"/>
              <a:gd name="connsiteX2845" fmla="*/ 864613 w 3751729"/>
              <a:gd name="connsiteY2845" fmla="*/ 420780 h 1237129"/>
              <a:gd name="connsiteX2846" fmla="*/ 862890 w 3751729"/>
              <a:gd name="connsiteY2846" fmla="*/ 420780 h 1237129"/>
              <a:gd name="connsiteX2847" fmla="*/ 862890 w 3751729"/>
              <a:gd name="connsiteY2847" fmla="*/ 422502 h 1237129"/>
              <a:gd name="connsiteX2848" fmla="*/ 862890 w 3751729"/>
              <a:gd name="connsiteY2848" fmla="*/ 424226 h 1237129"/>
              <a:gd name="connsiteX2849" fmla="*/ 853044 w 3751729"/>
              <a:gd name="connsiteY2849" fmla="*/ 431611 h 1237129"/>
              <a:gd name="connsiteX2850" fmla="*/ 839751 w 3751729"/>
              <a:gd name="connsiteY2850" fmla="*/ 437518 h 1237129"/>
              <a:gd name="connsiteX2851" fmla="*/ 828921 w 3751729"/>
              <a:gd name="connsiteY2851" fmla="*/ 441703 h 1237129"/>
              <a:gd name="connsiteX2852" fmla="*/ 817352 w 3751729"/>
              <a:gd name="connsiteY2852" fmla="*/ 447611 h 1237129"/>
              <a:gd name="connsiteX2853" fmla="*/ 806521 w 3751729"/>
              <a:gd name="connsiteY2853" fmla="*/ 454995 h 1237129"/>
              <a:gd name="connsiteX2854" fmla="*/ 799875 w 3751729"/>
              <a:gd name="connsiteY2854" fmla="*/ 465087 h 1237129"/>
              <a:gd name="connsiteX2855" fmla="*/ 794952 w 3751729"/>
              <a:gd name="connsiteY2855" fmla="*/ 479364 h 1237129"/>
              <a:gd name="connsiteX2856" fmla="*/ 799875 w 3751729"/>
              <a:gd name="connsiteY2856" fmla="*/ 481087 h 1237129"/>
              <a:gd name="connsiteX2857" fmla="*/ 805536 w 3751729"/>
              <a:gd name="connsiteY2857" fmla="*/ 482810 h 1237129"/>
              <a:gd name="connsiteX2858" fmla="*/ 807998 w 3751729"/>
              <a:gd name="connsiteY2858" fmla="*/ 485271 h 1237129"/>
              <a:gd name="connsiteX2859" fmla="*/ 802337 w 3751729"/>
              <a:gd name="connsiteY2859" fmla="*/ 485271 h 1237129"/>
              <a:gd name="connsiteX2860" fmla="*/ 793968 w 3751729"/>
              <a:gd name="connsiteY2860" fmla="*/ 492657 h 1237129"/>
              <a:gd name="connsiteX2861" fmla="*/ 782398 w 3751729"/>
              <a:gd name="connsiteY2861" fmla="*/ 495118 h 1237129"/>
              <a:gd name="connsiteX2862" fmla="*/ 771568 w 3751729"/>
              <a:gd name="connsiteY2862" fmla="*/ 496841 h 1237129"/>
              <a:gd name="connsiteX2863" fmla="*/ 759999 w 3751729"/>
              <a:gd name="connsiteY2863" fmla="*/ 498564 h 1237129"/>
              <a:gd name="connsiteX2864" fmla="*/ 751629 w 3751729"/>
              <a:gd name="connsiteY2864" fmla="*/ 521948 h 1237129"/>
              <a:gd name="connsiteX2865" fmla="*/ 741783 w 3751729"/>
              <a:gd name="connsiteY2865" fmla="*/ 546810 h 1237129"/>
              <a:gd name="connsiteX2866" fmla="*/ 738583 w 3751729"/>
              <a:gd name="connsiteY2866" fmla="*/ 543364 h 1237129"/>
              <a:gd name="connsiteX2867" fmla="*/ 737845 w 3751729"/>
              <a:gd name="connsiteY2867" fmla="*/ 541641 h 1237129"/>
              <a:gd name="connsiteX2868" fmla="*/ 734645 w 3751729"/>
              <a:gd name="connsiteY2868" fmla="*/ 540903 h 1237129"/>
              <a:gd name="connsiteX2869" fmla="*/ 732922 w 3751729"/>
              <a:gd name="connsiteY2869" fmla="*/ 539179 h 1237129"/>
              <a:gd name="connsiteX2870" fmla="*/ 728737 w 3751729"/>
              <a:gd name="connsiteY2870" fmla="*/ 535733 h 1237129"/>
              <a:gd name="connsiteX2871" fmla="*/ 728737 w 3751729"/>
              <a:gd name="connsiteY2871" fmla="*/ 543118 h 1237129"/>
              <a:gd name="connsiteX2872" fmla="*/ 730459 w 3751729"/>
              <a:gd name="connsiteY2872" fmla="*/ 546564 h 1237129"/>
              <a:gd name="connsiteX2873" fmla="*/ 732922 w 3751729"/>
              <a:gd name="connsiteY2873" fmla="*/ 554933 h 1237129"/>
              <a:gd name="connsiteX2874" fmla="*/ 736122 w 3751729"/>
              <a:gd name="connsiteY2874" fmla="*/ 565025 h 1237129"/>
              <a:gd name="connsiteX2875" fmla="*/ 738583 w 3751729"/>
              <a:gd name="connsiteY2875" fmla="*/ 574134 h 1237129"/>
              <a:gd name="connsiteX2876" fmla="*/ 738583 w 3751729"/>
              <a:gd name="connsiteY2876" fmla="*/ 578315 h 1237129"/>
              <a:gd name="connsiteX2877" fmla="*/ 727014 w 3751729"/>
              <a:gd name="connsiteY2877" fmla="*/ 585699 h 1237129"/>
              <a:gd name="connsiteX2878" fmla="*/ 714707 w 3751729"/>
              <a:gd name="connsiteY2878" fmla="*/ 592346 h 1237129"/>
              <a:gd name="connsiteX2879" fmla="*/ 701415 w 3751729"/>
              <a:gd name="connsiteY2879" fmla="*/ 601453 h 1237129"/>
              <a:gd name="connsiteX2880" fmla="*/ 688123 w 3751729"/>
              <a:gd name="connsiteY2880" fmla="*/ 609823 h 1237129"/>
              <a:gd name="connsiteX2881" fmla="*/ 679753 w 3751729"/>
              <a:gd name="connsiteY2881" fmla="*/ 621391 h 1237129"/>
              <a:gd name="connsiteX2882" fmla="*/ 675568 w 3751729"/>
              <a:gd name="connsiteY2882" fmla="*/ 636407 h 1237129"/>
              <a:gd name="connsiteX2883" fmla="*/ 670645 w 3751729"/>
              <a:gd name="connsiteY2883" fmla="*/ 647976 h 1237129"/>
              <a:gd name="connsiteX2884" fmla="*/ 672368 w 3751729"/>
              <a:gd name="connsiteY2884" fmla="*/ 662253 h 1237129"/>
              <a:gd name="connsiteX2885" fmla="*/ 676553 w 3751729"/>
              <a:gd name="connsiteY2885" fmla="*/ 678007 h 1237129"/>
              <a:gd name="connsiteX2886" fmla="*/ 682214 w 3751729"/>
              <a:gd name="connsiteY2886" fmla="*/ 694744 h 1237129"/>
              <a:gd name="connsiteX2887" fmla="*/ 687876 w 3751729"/>
              <a:gd name="connsiteY2887" fmla="*/ 710499 h 1237129"/>
              <a:gd name="connsiteX2888" fmla="*/ 691076 w 3751729"/>
              <a:gd name="connsiteY2888" fmla="*/ 724776 h 1237129"/>
              <a:gd name="connsiteX2889" fmla="*/ 687876 w 3751729"/>
              <a:gd name="connsiteY2889" fmla="*/ 724776 h 1237129"/>
              <a:gd name="connsiteX2890" fmla="*/ 687876 w 3751729"/>
              <a:gd name="connsiteY2890" fmla="*/ 728222 h 1237129"/>
              <a:gd name="connsiteX2891" fmla="*/ 678030 w 3751729"/>
              <a:gd name="connsiteY2891" fmla="*/ 724776 h 1237129"/>
              <a:gd name="connsiteX2892" fmla="*/ 673845 w 3751729"/>
              <a:gd name="connsiteY2892" fmla="*/ 712222 h 1237129"/>
              <a:gd name="connsiteX2893" fmla="*/ 666461 w 3751729"/>
              <a:gd name="connsiteY2893" fmla="*/ 695484 h 1237129"/>
              <a:gd name="connsiteX2894" fmla="*/ 658091 w 3751729"/>
              <a:gd name="connsiteY2894" fmla="*/ 678007 h 1237129"/>
              <a:gd name="connsiteX2895" fmla="*/ 648983 w 3751729"/>
              <a:gd name="connsiteY2895" fmla="*/ 665453 h 1237129"/>
              <a:gd name="connsiteX2896" fmla="*/ 640615 w 3751729"/>
              <a:gd name="connsiteY2896" fmla="*/ 658069 h 1237129"/>
              <a:gd name="connsiteX2897" fmla="*/ 629784 w 3751729"/>
              <a:gd name="connsiteY2897" fmla="*/ 656345 h 1237129"/>
              <a:gd name="connsiteX2898" fmla="*/ 617476 w 3751729"/>
              <a:gd name="connsiteY2898" fmla="*/ 650438 h 1237129"/>
              <a:gd name="connsiteX2899" fmla="*/ 602707 w 3751729"/>
              <a:gd name="connsiteY2899" fmla="*/ 644530 h 1237129"/>
              <a:gd name="connsiteX2900" fmla="*/ 585477 w 3751729"/>
              <a:gd name="connsiteY2900" fmla="*/ 642068 h 1237129"/>
              <a:gd name="connsiteX2901" fmla="*/ 585477 w 3751729"/>
              <a:gd name="connsiteY2901" fmla="*/ 644530 h 1237129"/>
              <a:gd name="connsiteX2902" fmla="*/ 583014 w 3751729"/>
              <a:gd name="connsiteY2902" fmla="*/ 644530 h 1237129"/>
              <a:gd name="connsiteX2903" fmla="*/ 584739 w 3751729"/>
              <a:gd name="connsiteY2903" fmla="*/ 649453 h 1237129"/>
              <a:gd name="connsiteX2904" fmla="*/ 587199 w 3751729"/>
              <a:gd name="connsiteY2904" fmla="*/ 653638 h 1237129"/>
              <a:gd name="connsiteX2905" fmla="*/ 588923 w 3751729"/>
              <a:gd name="connsiteY2905" fmla="*/ 656099 h 1237129"/>
              <a:gd name="connsiteX2906" fmla="*/ 590645 w 3751729"/>
              <a:gd name="connsiteY2906" fmla="*/ 659545 h 1237129"/>
              <a:gd name="connsiteX2907" fmla="*/ 593107 w 3751729"/>
              <a:gd name="connsiteY2907" fmla="*/ 663730 h 1237129"/>
              <a:gd name="connsiteX2908" fmla="*/ 579815 w 3751729"/>
              <a:gd name="connsiteY2908" fmla="*/ 663730 h 1237129"/>
              <a:gd name="connsiteX2909" fmla="*/ 569969 w 3751729"/>
              <a:gd name="connsiteY2909" fmla="*/ 659545 h 1237129"/>
              <a:gd name="connsiteX2910" fmla="*/ 556677 w 3751729"/>
              <a:gd name="connsiteY2910" fmla="*/ 656099 h 1237129"/>
              <a:gd name="connsiteX2911" fmla="*/ 544369 w 3751729"/>
              <a:gd name="connsiteY2911" fmla="*/ 656099 h 1237129"/>
              <a:gd name="connsiteX2912" fmla="*/ 531077 w 3751729"/>
              <a:gd name="connsiteY2912" fmla="*/ 657822 h 1237129"/>
              <a:gd name="connsiteX2913" fmla="*/ 521970 w 3751729"/>
              <a:gd name="connsiteY2913" fmla="*/ 660284 h 1237129"/>
              <a:gd name="connsiteX2914" fmla="*/ 512124 w 3751729"/>
              <a:gd name="connsiteY2914" fmla="*/ 665207 h 1237129"/>
              <a:gd name="connsiteX2915" fmla="*/ 503754 w 3751729"/>
              <a:gd name="connsiteY2915" fmla="*/ 671115 h 1237129"/>
              <a:gd name="connsiteX2916" fmla="*/ 498092 w 3751729"/>
              <a:gd name="connsiteY2916" fmla="*/ 679484 h 1237129"/>
              <a:gd name="connsiteX2917" fmla="*/ 494892 w 3751729"/>
              <a:gd name="connsiteY2917" fmla="*/ 686869 h 1237129"/>
              <a:gd name="connsiteX2918" fmla="*/ 496616 w 3751729"/>
              <a:gd name="connsiteY2918" fmla="*/ 692776 h 1237129"/>
              <a:gd name="connsiteX2919" fmla="*/ 496616 w 3751729"/>
              <a:gd name="connsiteY2919" fmla="*/ 700161 h 1237129"/>
              <a:gd name="connsiteX2920" fmla="*/ 494154 w 3751729"/>
              <a:gd name="connsiteY2920" fmla="*/ 708529 h 1237129"/>
              <a:gd name="connsiteX2921" fmla="*/ 488492 w 3751729"/>
              <a:gd name="connsiteY2921" fmla="*/ 727730 h 1237129"/>
              <a:gd name="connsiteX2922" fmla="*/ 488492 w 3751729"/>
              <a:gd name="connsiteY2922" fmla="*/ 742007 h 1237129"/>
              <a:gd name="connsiteX2923" fmla="*/ 489231 w 3751729"/>
              <a:gd name="connsiteY2923" fmla="*/ 757022 h 1237129"/>
              <a:gd name="connsiteX2924" fmla="*/ 494892 w 3751729"/>
              <a:gd name="connsiteY2924" fmla="*/ 771298 h 1237129"/>
              <a:gd name="connsiteX2925" fmla="*/ 504000 w 3751729"/>
              <a:gd name="connsiteY2925" fmla="*/ 788775 h 1237129"/>
              <a:gd name="connsiteX2926" fmla="*/ 513846 w 3751729"/>
              <a:gd name="connsiteY2926" fmla="*/ 790499 h 1237129"/>
              <a:gd name="connsiteX2927" fmla="*/ 519508 w 3751729"/>
              <a:gd name="connsiteY2927" fmla="*/ 792221 h 1237129"/>
              <a:gd name="connsiteX2928" fmla="*/ 521970 w 3751729"/>
              <a:gd name="connsiteY2928" fmla="*/ 794683 h 1237129"/>
              <a:gd name="connsiteX2929" fmla="*/ 525170 w 3751729"/>
              <a:gd name="connsiteY2929" fmla="*/ 796405 h 1237129"/>
              <a:gd name="connsiteX2930" fmla="*/ 529354 w 3751729"/>
              <a:gd name="connsiteY2930" fmla="*/ 798129 h 1237129"/>
              <a:gd name="connsiteX2931" fmla="*/ 536738 w 3751729"/>
              <a:gd name="connsiteY2931" fmla="*/ 794683 h 1237129"/>
              <a:gd name="connsiteX2932" fmla="*/ 548308 w 3751729"/>
              <a:gd name="connsiteY2932" fmla="*/ 788775 h 1237129"/>
              <a:gd name="connsiteX2933" fmla="*/ 550770 w 3751729"/>
              <a:gd name="connsiteY2933" fmla="*/ 787052 h 1237129"/>
              <a:gd name="connsiteX2934" fmla="*/ 552492 w 3751729"/>
              <a:gd name="connsiteY2934" fmla="*/ 787052 h 1237129"/>
              <a:gd name="connsiteX2935" fmla="*/ 555692 w 3751729"/>
              <a:gd name="connsiteY2935" fmla="*/ 787052 h 1237129"/>
              <a:gd name="connsiteX2936" fmla="*/ 556430 w 3751729"/>
              <a:gd name="connsiteY2936" fmla="*/ 787052 h 1237129"/>
              <a:gd name="connsiteX2937" fmla="*/ 558153 w 3751729"/>
              <a:gd name="connsiteY2937" fmla="*/ 787052 h 1237129"/>
              <a:gd name="connsiteX2938" fmla="*/ 558153 w 3751729"/>
              <a:gd name="connsiteY2938" fmla="*/ 786313 h 1237129"/>
              <a:gd name="connsiteX2939" fmla="*/ 561354 w 3751729"/>
              <a:gd name="connsiteY2939" fmla="*/ 782867 h 1237129"/>
              <a:gd name="connsiteX2940" fmla="*/ 562092 w 3751729"/>
              <a:gd name="connsiteY2940" fmla="*/ 778682 h 1237129"/>
              <a:gd name="connsiteX2941" fmla="*/ 563816 w 3751729"/>
              <a:gd name="connsiteY2941" fmla="*/ 774499 h 1237129"/>
              <a:gd name="connsiteX2942" fmla="*/ 565538 w 3751729"/>
              <a:gd name="connsiteY2942" fmla="*/ 769576 h 1237129"/>
              <a:gd name="connsiteX2943" fmla="*/ 567262 w 3751729"/>
              <a:gd name="connsiteY2943" fmla="*/ 767114 h 1237129"/>
              <a:gd name="connsiteX2944" fmla="*/ 573908 w 3751729"/>
              <a:gd name="connsiteY2944" fmla="*/ 759729 h 1237129"/>
              <a:gd name="connsiteX2945" fmla="*/ 583014 w 3751729"/>
              <a:gd name="connsiteY2945" fmla="*/ 755544 h 1237129"/>
              <a:gd name="connsiteX2946" fmla="*/ 596308 w 3751729"/>
              <a:gd name="connsiteY2946" fmla="*/ 753821 h 1237129"/>
              <a:gd name="connsiteX2947" fmla="*/ 597046 w 3751729"/>
              <a:gd name="connsiteY2947" fmla="*/ 757268 h 1237129"/>
              <a:gd name="connsiteX2948" fmla="*/ 598769 w 3751729"/>
              <a:gd name="connsiteY2948" fmla="*/ 758006 h 1237129"/>
              <a:gd name="connsiteX2949" fmla="*/ 598769 w 3751729"/>
              <a:gd name="connsiteY2949" fmla="*/ 759729 h 1237129"/>
              <a:gd name="connsiteX2950" fmla="*/ 600491 w 3751729"/>
              <a:gd name="connsiteY2950" fmla="*/ 759729 h 1237129"/>
              <a:gd name="connsiteX2951" fmla="*/ 600491 w 3751729"/>
              <a:gd name="connsiteY2951" fmla="*/ 758006 h 1237129"/>
              <a:gd name="connsiteX2952" fmla="*/ 601477 w 3751729"/>
              <a:gd name="connsiteY2952" fmla="*/ 758006 h 1237129"/>
              <a:gd name="connsiteX2953" fmla="*/ 604677 w 3751729"/>
              <a:gd name="connsiteY2953" fmla="*/ 758006 h 1237129"/>
              <a:gd name="connsiteX2954" fmla="*/ 608861 w 3751729"/>
              <a:gd name="connsiteY2954" fmla="*/ 757268 h 1237129"/>
              <a:gd name="connsiteX2955" fmla="*/ 608861 w 3751729"/>
              <a:gd name="connsiteY2955" fmla="*/ 769821 h 1237129"/>
              <a:gd name="connsiteX2956" fmla="*/ 603200 w 3751729"/>
              <a:gd name="connsiteY2956" fmla="*/ 775729 h 1237129"/>
              <a:gd name="connsiteX2957" fmla="*/ 599015 w 3751729"/>
              <a:gd name="connsiteY2957" fmla="*/ 786559 h 1237129"/>
              <a:gd name="connsiteX2958" fmla="*/ 594831 w 3751729"/>
              <a:gd name="connsiteY2958" fmla="*/ 800836 h 1237129"/>
              <a:gd name="connsiteX2959" fmla="*/ 590645 w 3751729"/>
              <a:gd name="connsiteY2959" fmla="*/ 814128 h 1237129"/>
              <a:gd name="connsiteX2960" fmla="*/ 585722 w 3751729"/>
              <a:gd name="connsiteY2960" fmla="*/ 824221 h 1237129"/>
              <a:gd name="connsiteX2961" fmla="*/ 600491 w 3751729"/>
              <a:gd name="connsiteY2961" fmla="*/ 824221 h 1237129"/>
              <a:gd name="connsiteX2962" fmla="*/ 612799 w 3751729"/>
              <a:gd name="connsiteY2962" fmla="*/ 822498 h 1237129"/>
              <a:gd name="connsiteX2963" fmla="*/ 624369 w 3751729"/>
              <a:gd name="connsiteY2963" fmla="*/ 822498 h 1237129"/>
              <a:gd name="connsiteX2964" fmla="*/ 635199 w 3751729"/>
              <a:gd name="connsiteY2964" fmla="*/ 824221 h 1237129"/>
              <a:gd name="connsiteX2965" fmla="*/ 641845 w 3751729"/>
              <a:gd name="connsiteY2965" fmla="*/ 828405 h 1237129"/>
              <a:gd name="connsiteX2966" fmla="*/ 647507 w 3751729"/>
              <a:gd name="connsiteY2966" fmla="*/ 837514 h 1237129"/>
              <a:gd name="connsiteX2967" fmla="*/ 649229 w 3751729"/>
              <a:gd name="connsiteY2967" fmla="*/ 850066 h 1237129"/>
              <a:gd name="connsiteX2968" fmla="*/ 646768 w 3751729"/>
              <a:gd name="connsiteY2968" fmla="*/ 859174 h 1237129"/>
              <a:gd name="connsiteX2969" fmla="*/ 643568 w 3751729"/>
              <a:gd name="connsiteY2969" fmla="*/ 870744 h 1237129"/>
              <a:gd name="connsiteX2970" fmla="*/ 643568 w 3751729"/>
              <a:gd name="connsiteY2970" fmla="*/ 882313 h 1237129"/>
              <a:gd name="connsiteX2971" fmla="*/ 650954 w 3751729"/>
              <a:gd name="connsiteY2971" fmla="*/ 889697 h 1237129"/>
              <a:gd name="connsiteX2972" fmla="*/ 655138 w 3751729"/>
              <a:gd name="connsiteY2972" fmla="*/ 894620 h 1237129"/>
              <a:gd name="connsiteX2973" fmla="*/ 660799 w 3751729"/>
              <a:gd name="connsiteY2973" fmla="*/ 900529 h 1237129"/>
              <a:gd name="connsiteX2974" fmla="*/ 669906 w 3751729"/>
              <a:gd name="connsiteY2974" fmla="*/ 905451 h 1237129"/>
              <a:gd name="connsiteX2975" fmla="*/ 680738 w 3751729"/>
              <a:gd name="connsiteY2975" fmla="*/ 907913 h 1237129"/>
              <a:gd name="connsiteX2976" fmla="*/ 686399 w 3751729"/>
              <a:gd name="connsiteY2976" fmla="*/ 900529 h 1237129"/>
              <a:gd name="connsiteX2977" fmla="*/ 693784 w 3751729"/>
              <a:gd name="connsiteY2977" fmla="*/ 898066 h 1237129"/>
              <a:gd name="connsiteX2978" fmla="*/ 707076 w 3751729"/>
              <a:gd name="connsiteY2978" fmla="*/ 898066 h 1237129"/>
              <a:gd name="connsiteX2979" fmla="*/ 708798 w 3751729"/>
              <a:gd name="connsiteY2979" fmla="*/ 900529 h 1237129"/>
              <a:gd name="connsiteX2980" fmla="*/ 711261 w 3751729"/>
              <a:gd name="connsiteY2980" fmla="*/ 903975 h 1237129"/>
              <a:gd name="connsiteX2981" fmla="*/ 712737 w 3751729"/>
              <a:gd name="connsiteY2981" fmla="*/ 905697 h 1237129"/>
              <a:gd name="connsiteX2982" fmla="*/ 714460 w 3751729"/>
              <a:gd name="connsiteY2982" fmla="*/ 905697 h 1237129"/>
              <a:gd name="connsiteX2983" fmla="*/ 718645 w 3751729"/>
              <a:gd name="connsiteY2983" fmla="*/ 906436 h 1237129"/>
              <a:gd name="connsiteX2984" fmla="*/ 724060 w 3751729"/>
              <a:gd name="connsiteY2984" fmla="*/ 907667 h 1237129"/>
              <a:gd name="connsiteX2985" fmla="*/ 729722 w 3751729"/>
              <a:gd name="connsiteY2985" fmla="*/ 896098 h 1237129"/>
              <a:gd name="connsiteX2986" fmla="*/ 737106 w 3751729"/>
              <a:gd name="connsiteY2986" fmla="*/ 887728 h 1237129"/>
              <a:gd name="connsiteX2987" fmla="*/ 745476 w 3751729"/>
              <a:gd name="connsiteY2987" fmla="*/ 880343 h 1237129"/>
              <a:gd name="connsiteX2988" fmla="*/ 756306 w 3751729"/>
              <a:gd name="connsiteY2988" fmla="*/ 874436 h 1237129"/>
              <a:gd name="connsiteX2989" fmla="*/ 772060 w 3751729"/>
              <a:gd name="connsiteY2989" fmla="*/ 871975 h 1237129"/>
              <a:gd name="connsiteX2990" fmla="*/ 774522 w 3751729"/>
              <a:gd name="connsiteY2990" fmla="*/ 870251 h 1237129"/>
              <a:gd name="connsiteX2991" fmla="*/ 776244 w 3751729"/>
              <a:gd name="connsiteY2991" fmla="*/ 870251 h 1237129"/>
              <a:gd name="connsiteX2992" fmla="*/ 778707 w 3751729"/>
              <a:gd name="connsiteY2992" fmla="*/ 870251 h 1237129"/>
              <a:gd name="connsiteX2993" fmla="*/ 780429 w 3751729"/>
              <a:gd name="connsiteY2993" fmla="*/ 870251 h 1237129"/>
              <a:gd name="connsiteX2994" fmla="*/ 783629 w 3751729"/>
              <a:gd name="connsiteY2994" fmla="*/ 871975 h 1237129"/>
              <a:gd name="connsiteX2995" fmla="*/ 787813 w 3751729"/>
              <a:gd name="connsiteY2995" fmla="*/ 871975 h 1237129"/>
              <a:gd name="connsiteX2996" fmla="*/ 786090 w 3751729"/>
              <a:gd name="connsiteY2996" fmla="*/ 874436 h 1237129"/>
              <a:gd name="connsiteX2997" fmla="*/ 786090 w 3751729"/>
              <a:gd name="connsiteY2997" fmla="*/ 877882 h 1237129"/>
              <a:gd name="connsiteX2998" fmla="*/ 784367 w 3751729"/>
              <a:gd name="connsiteY2998" fmla="*/ 877882 h 1237129"/>
              <a:gd name="connsiteX2999" fmla="*/ 784367 w 3751729"/>
              <a:gd name="connsiteY2999" fmla="*/ 878621 h 1237129"/>
              <a:gd name="connsiteX3000" fmla="*/ 786090 w 3751729"/>
              <a:gd name="connsiteY3000" fmla="*/ 878621 h 1237129"/>
              <a:gd name="connsiteX3001" fmla="*/ 787813 w 3751729"/>
              <a:gd name="connsiteY3001" fmla="*/ 880343 h 1237129"/>
              <a:gd name="connsiteX3002" fmla="*/ 790275 w 3751729"/>
              <a:gd name="connsiteY3002" fmla="*/ 882066 h 1237129"/>
              <a:gd name="connsiteX3003" fmla="*/ 790275 w 3751729"/>
              <a:gd name="connsiteY3003" fmla="*/ 878621 h 1237129"/>
              <a:gd name="connsiteX3004" fmla="*/ 793475 w 3751729"/>
              <a:gd name="connsiteY3004" fmla="*/ 876160 h 1237129"/>
              <a:gd name="connsiteX3005" fmla="*/ 795199 w 3751729"/>
              <a:gd name="connsiteY3005" fmla="*/ 874436 h 1237129"/>
              <a:gd name="connsiteX3006" fmla="*/ 795937 w 3751729"/>
              <a:gd name="connsiteY3006" fmla="*/ 872714 h 1237129"/>
              <a:gd name="connsiteX3007" fmla="*/ 797660 w 3751729"/>
              <a:gd name="connsiteY3007" fmla="*/ 871975 h 1237129"/>
              <a:gd name="connsiteX3008" fmla="*/ 800860 w 3751729"/>
              <a:gd name="connsiteY3008" fmla="*/ 870251 h 1237129"/>
              <a:gd name="connsiteX3009" fmla="*/ 803320 w 3751729"/>
              <a:gd name="connsiteY3009" fmla="*/ 868529 h 1237129"/>
              <a:gd name="connsiteX3010" fmla="*/ 816613 w 3751729"/>
              <a:gd name="connsiteY3010" fmla="*/ 880097 h 1237129"/>
              <a:gd name="connsiteX3011" fmla="*/ 833845 w 3751729"/>
              <a:gd name="connsiteY3011" fmla="*/ 886006 h 1237129"/>
              <a:gd name="connsiteX3012" fmla="*/ 851075 w 3751729"/>
              <a:gd name="connsiteY3012" fmla="*/ 887728 h 1237129"/>
              <a:gd name="connsiteX3013" fmla="*/ 871014 w 3751729"/>
              <a:gd name="connsiteY3013" fmla="*/ 886006 h 1237129"/>
              <a:gd name="connsiteX3014" fmla="*/ 891689 w 3751729"/>
              <a:gd name="connsiteY3014" fmla="*/ 884281 h 1237129"/>
              <a:gd name="connsiteX3015" fmla="*/ 891689 w 3751729"/>
              <a:gd name="connsiteY3015" fmla="*/ 887728 h 1237129"/>
              <a:gd name="connsiteX3016" fmla="*/ 891689 w 3751729"/>
              <a:gd name="connsiteY3016" fmla="*/ 889452 h 1237129"/>
              <a:gd name="connsiteX3017" fmla="*/ 889967 w 3751729"/>
              <a:gd name="connsiteY3017" fmla="*/ 890190 h 1237129"/>
              <a:gd name="connsiteX3018" fmla="*/ 889967 w 3751729"/>
              <a:gd name="connsiteY3018" fmla="*/ 891912 h 1237129"/>
              <a:gd name="connsiteX3019" fmla="*/ 888243 w 3751729"/>
              <a:gd name="connsiteY3019" fmla="*/ 894374 h 1237129"/>
              <a:gd name="connsiteX3020" fmla="*/ 898090 w 3751729"/>
              <a:gd name="connsiteY3020" fmla="*/ 897820 h 1237129"/>
              <a:gd name="connsiteX3021" fmla="*/ 903751 w 3751729"/>
              <a:gd name="connsiteY3021" fmla="*/ 902005 h 1237129"/>
              <a:gd name="connsiteX3022" fmla="*/ 909413 w 3751729"/>
              <a:gd name="connsiteY3022" fmla="*/ 906190 h 1237129"/>
              <a:gd name="connsiteX3023" fmla="*/ 919259 w 3751729"/>
              <a:gd name="connsiteY3023" fmla="*/ 911113 h 1237129"/>
              <a:gd name="connsiteX3024" fmla="*/ 919259 w 3751729"/>
              <a:gd name="connsiteY3024" fmla="*/ 919481 h 1237129"/>
              <a:gd name="connsiteX3025" fmla="*/ 930090 w 3751729"/>
              <a:gd name="connsiteY3025" fmla="*/ 922928 h 1237129"/>
              <a:gd name="connsiteX3026" fmla="*/ 936736 w 3751729"/>
              <a:gd name="connsiteY3026" fmla="*/ 923667 h 1237129"/>
              <a:gd name="connsiteX3027" fmla="*/ 942397 w 3751729"/>
              <a:gd name="connsiteY3027" fmla="*/ 929574 h 1237129"/>
              <a:gd name="connsiteX3028" fmla="*/ 945597 w 3751729"/>
              <a:gd name="connsiteY3028" fmla="*/ 938682 h 1237129"/>
              <a:gd name="connsiteX3029" fmla="*/ 962828 w 3751729"/>
              <a:gd name="connsiteY3029" fmla="*/ 940404 h 1237129"/>
              <a:gd name="connsiteX3030" fmla="*/ 976859 w 3751729"/>
              <a:gd name="connsiteY3030" fmla="*/ 941143 h 1237129"/>
              <a:gd name="connsiteX3031" fmla="*/ 995813 w 3751729"/>
              <a:gd name="connsiteY3031" fmla="*/ 942867 h 1237129"/>
              <a:gd name="connsiteX3032" fmla="*/ 1009104 w 3751729"/>
              <a:gd name="connsiteY3032" fmla="*/ 960343 h 1237129"/>
              <a:gd name="connsiteX3033" fmla="*/ 1024859 w 3751729"/>
              <a:gd name="connsiteY3033" fmla="*/ 976097 h 1237129"/>
              <a:gd name="connsiteX3034" fmla="*/ 1042089 w 3751729"/>
              <a:gd name="connsiteY3034" fmla="*/ 989389 h 1237129"/>
              <a:gd name="connsiteX3035" fmla="*/ 1062028 w 3751729"/>
              <a:gd name="connsiteY3035" fmla="*/ 999481 h 1237129"/>
              <a:gd name="connsiteX3036" fmla="*/ 1061290 w 3751729"/>
              <a:gd name="connsiteY3036" fmla="*/ 1005389 h 1237129"/>
              <a:gd name="connsiteX3037" fmla="*/ 1058089 w 3751729"/>
              <a:gd name="connsiteY3037" fmla="*/ 1008835 h 1237129"/>
              <a:gd name="connsiteX3038" fmla="*/ 1055627 w 3751729"/>
              <a:gd name="connsiteY3038" fmla="*/ 1013020 h 1237129"/>
              <a:gd name="connsiteX3039" fmla="*/ 1052427 w 3751729"/>
              <a:gd name="connsiteY3039" fmla="*/ 1015481 h 1237129"/>
              <a:gd name="connsiteX3040" fmla="*/ 1049966 w 3751729"/>
              <a:gd name="connsiteY3040" fmla="*/ 1020404 h 1237129"/>
              <a:gd name="connsiteX3041" fmla="*/ 1068182 w 3751729"/>
              <a:gd name="connsiteY3041" fmla="*/ 1020404 h 1237129"/>
              <a:gd name="connsiteX3042" fmla="*/ 1085412 w 3751729"/>
              <a:gd name="connsiteY3042" fmla="*/ 1026312 h 1237129"/>
              <a:gd name="connsiteX3043" fmla="*/ 1088612 w 3751729"/>
              <a:gd name="connsiteY3043" fmla="*/ 1036404 h 1237129"/>
              <a:gd name="connsiteX3044" fmla="*/ 1092798 w 3751729"/>
              <a:gd name="connsiteY3044" fmla="*/ 1034681 h 1237129"/>
              <a:gd name="connsiteX3045" fmla="*/ 1095258 w 3751729"/>
              <a:gd name="connsiteY3045" fmla="*/ 1032958 h 1237129"/>
              <a:gd name="connsiteX3046" fmla="*/ 1100181 w 3751729"/>
              <a:gd name="connsiteY3046" fmla="*/ 1034681 h 1237129"/>
              <a:gd name="connsiteX3047" fmla="*/ 1100919 w 3751729"/>
              <a:gd name="connsiteY3047" fmla="*/ 1034681 h 1237129"/>
              <a:gd name="connsiteX3048" fmla="*/ 1104120 w 3751729"/>
              <a:gd name="connsiteY3048" fmla="*/ 1036404 h 1237129"/>
              <a:gd name="connsiteX3049" fmla="*/ 1106582 w 3751729"/>
              <a:gd name="connsiteY3049" fmla="*/ 1038127 h 1237129"/>
              <a:gd name="connsiteX3050" fmla="*/ 1109782 w 3751729"/>
              <a:gd name="connsiteY3050" fmla="*/ 1038865 h 1237129"/>
              <a:gd name="connsiteX3051" fmla="*/ 1154335 w 3751729"/>
              <a:gd name="connsiteY3051" fmla="*/ 1042312 h 1237129"/>
              <a:gd name="connsiteX3052" fmla="*/ 1158519 w 3751729"/>
              <a:gd name="connsiteY3052" fmla="*/ 1046496 h 1237129"/>
              <a:gd name="connsiteX3053" fmla="*/ 1161719 w 3751729"/>
              <a:gd name="connsiteY3053" fmla="*/ 1054866 h 1237129"/>
              <a:gd name="connsiteX3054" fmla="*/ 1162457 w 3751729"/>
              <a:gd name="connsiteY3054" fmla="*/ 1062250 h 1237129"/>
              <a:gd name="connsiteX3055" fmla="*/ 1167381 w 3751729"/>
              <a:gd name="connsiteY3055" fmla="*/ 1068158 h 1237129"/>
              <a:gd name="connsiteX3056" fmla="*/ 1174027 w 3751729"/>
              <a:gd name="connsiteY3056" fmla="*/ 1069881 h 1237129"/>
              <a:gd name="connsiteX3057" fmla="*/ 1181411 w 3751729"/>
              <a:gd name="connsiteY3057" fmla="*/ 1069881 h 1237129"/>
              <a:gd name="connsiteX3058" fmla="*/ 1187072 w 3751729"/>
              <a:gd name="connsiteY3058" fmla="*/ 1068158 h 1237129"/>
              <a:gd name="connsiteX3059" fmla="*/ 1191257 w 3751729"/>
              <a:gd name="connsiteY3059" fmla="*/ 1074065 h 1237129"/>
              <a:gd name="connsiteX3060" fmla="*/ 1196181 w 3751729"/>
              <a:gd name="connsiteY3060" fmla="*/ 1078250 h 1237129"/>
              <a:gd name="connsiteX3061" fmla="*/ 1198642 w 3751729"/>
              <a:gd name="connsiteY3061" fmla="*/ 1083174 h 1237129"/>
              <a:gd name="connsiteX3062" fmla="*/ 1200612 w 3751729"/>
              <a:gd name="connsiteY3062" fmla="*/ 1088835 h 1237129"/>
              <a:gd name="connsiteX3063" fmla="*/ 1202334 w 3751729"/>
              <a:gd name="connsiteY3063" fmla="*/ 1095481 h 1237129"/>
              <a:gd name="connsiteX3064" fmla="*/ 1191503 w 3751729"/>
              <a:gd name="connsiteY3064" fmla="*/ 1108773 h 1237129"/>
              <a:gd name="connsiteX3065" fmla="*/ 1179934 w 3751729"/>
              <a:gd name="connsiteY3065" fmla="*/ 1124527 h 1237129"/>
              <a:gd name="connsiteX3066" fmla="*/ 1168366 w 3751729"/>
              <a:gd name="connsiteY3066" fmla="*/ 1142003 h 1237129"/>
              <a:gd name="connsiteX3067" fmla="*/ 1158519 w 3751729"/>
              <a:gd name="connsiteY3067" fmla="*/ 1159481 h 1237129"/>
              <a:gd name="connsiteX3068" fmla="*/ 1151874 w 3751729"/>
              <a:gd name="connsiteY3068" fmla="*/ 1172772 h 1237129"/>
              <a:gd name="connsiteX3069" fmla="*/ 1151874 w 3751729"/>
              <a:gd name="connsiteY3069" fmla="*/ 1181142 h 1237129"/>
              <a:gd name="connsiteX3070" fmla="*/ 1152611 w 3751729"/>
              <a:gd name="connsiteY3070" fmla="*/ 1192710 h 1237129"/>
              <a:gd name="connsiteX3071" fmla="*/ 1155811 w 3751729"/>
              <a:gd name="connsiteY3071" fmla="*/ 1206003 h 1237129"/>
              <a:gd name="connsiteX3072" fmla="*/ 1154089 w 3751729"/>
              <a:gd name="connsiteY3072" fmla="*/ 1217572 h 1237129"/>
              <a:gd name="connsiteX3073" fmla="*/ 1151627 w 3751729"/>
              <a:gd name="connsiteY3073" fmla="*/ 1224957 h 1237129"/>
              <a:gd name="connsiteX3074" fmla="*/ 1145965 w 3751729"/>
              <a:gd name="connsiteY3074" fmla="*/ 1236526 h 1237129"/>
              <a:gd name="connsiteX3075" fmla="*/ 1145610 w 3751729"/>
              <a:gd name="connsiteY3075" fmla="*/ 1237129 h 1237129"/>
              <a:gd name="connsiteX3076" fmla="*/ 795176 w 3751729"/>
              <a:gd name="connsiteY3076" fmla="*/ 1237129 h 1237129"/>
              <a:gd name="connsiteX3077" fmla="*/ 797415 w 3751729"/>
              <a:gd name="connsiteY3077" fmla="*/ 1220772 h 1237129"/>
              <a:gd name="connsiteX3078" fmla="*/ 768614 w 3751729"/>
              <a:gd name="connsiteY3078" fmla="*/ 1209941 h 1237129"/>
              <a:gd name="connsiteX3079" fmla="*/ 743752 w 3751729"/>
              <a:gd name="connsiteY3079" fmla="*/ 1193203 h 1237129"/>
              <a:gd name="connsiteX3080" fmla="*/ 723814 w 3751729"/>
              <a:gd name="connsiteY3080" fmla="*/ 1171542 h 1237129"/>
              <a:gd name="connsiteX3081" fmla="*/ 707322 w 3751729"/>
              <a:gd name="connsiteY3081" fmla="*/ 1148157 h 1237129"/>
              <a:gd name="connsiteX3082" fmla="*/ 701661 w 3751729"/>
              <a:gd name="connsiteY3082" fmla="*/ 1134865 h 1237129"/>
              <a:gd name="connsiteX3083" fmla="*/ 697476 w 3751729"/>
              <a:gd name="connsiteY3083" fmla="*/ 1122311 h 1237129"/>
              <a:gd name="connsiteX3084" fmla="*/ 693291 w 3751729"/>
              <a:gd name="connsiteY3084" fmla="*/ 1107296 h 1237129"/>
              <a:gd name="connsiteX3085" fmla="*/ 687630 w 3751729"/>
              <a:gd name="connsiteY3085" fmla="*/ 1095727 h 1237129"/>
              <a:gd name="connsiteX3086" fmla="*/ 678522 w 3751729"/>
              <a:gd name="connsiteY3086" fmla="*/ 1087357 h 1237129"/>
              <a:gd name="connsiteX3087" fmla="*/ 676061 w 3751729"/>
              <a:gd name="connsiteY3087" fmla="*/ 1083911 h 1237129"/>
              <a:gd name="connsiteX3088" fmla="*/ 671876 w 3751729"/>
              <a:gd name="connsiteY3088" fmla="*/ 1083911 h 1237129"/>
              <a:gd name="connsiteX3089" fmla="*/ 668677 w 3751729"/>
              <a:gd name="connsiteY3089" fmla="*/ 1083174 h 1237129"/>
              <a:gd name="connsiteX3090" fmla="*/ 666215 w 3751729"/>
              <a:gd name="connsiteY3090" fmla="*/ 1079727 h 1237129"/>
              <a:gd name="connsiteX3091" fmla="*/ 663014 w 3751729"/>
              <a:gd name="connsiteY3091" fmla="*/ 1077265 h 1237129"/>
              <a:gd name="connsiteX3092" fmla="*/ 666215 w 3751729"/>
              <a:gd name="connsiteY3092" fmla="*/ 1071358 h 1237129"/>
              <a:gd name="connsiteX3093" fmla="*/ 666215 w 3751729"/>
              <a:gd name="connsiteY3093" fmla="*/ 1066434 h 1237129"/>
              <a:gd name="connsiteX3094" fmla="*/ 666215 w 3751729"/>
              <a:gd name="connsiteY3094" fmla="*/ 1060527 h 1237129"/>
              <a:gd name="connsiteX3095" fmla="*/ 666215 w 3751729"/>
              <a:gd name="connsiteY3095" fmla="*/ 1054620 h 1237129"/>
              <a:gd name="connsiteX3096" fmla="*/ 673599 w 3751729"/>
              <a:gd name="connsiteY3096" fmla="*/ 1050435 h 1237129"/>
              <a:gd name="connsiteX3097" fmla="*/ 678522 w 3751729"/>
              <a:gd name="connsiteY3097" fmla="*/ 1046250 h 1237129"/>
              <a:gd name="connsiteX3098" fmla="*/ 685907 w 3751729"/>
              <a:gd name="connsiteY3098" fmla="*/ 1042065 h 1237129"/>
              <a:gd name="connsiteX3099" fmla="*/ 685907 w 3751729"/>
              <a:gd name="connsiteY3099" fmla="*/ 1038619 h 1237129"/>
              <a:gd name="connsiteX3100" fmla="*/ 678522 w 3751729"/>
              <a:gd name="connsiteY3100" fmla="*/ 1038619 h 1237129"/>
              <a:gd name="connsiteX3101" fmla="*/ 674337 w 3751729"/>
              <a:gd name="connsiteY3101" fmla="*/ 1037881 h 1237129"/>
              <a:gd name="connsiteX3102" fmla="*/ 670152 w 3751729"/>
              <a:gd name="connsiteY3102" fmla="*/ 1037881 h 1237129"/>
              <a:gd name="connsiteX3103" fmla="*/ 665969 w 3751729"/>
              <a:gd name="connsiteY3103" fmla="*/ 1036158 h 1237129"/>
              <a:gd name="connsiteX3104" fmla="*/ 671630 w 3751729"/>
              <a:gd name="connsiteY3104" fmla="*/ 1022866 h 1237129"/>
              <a:gd name="connsiteX3105" fmla="*/ 675815 w 3751729"/>
              <a:gd name="connsiteY3105" fmla="*/ 1009574 h 1237129"/>
              <a:gd name="connsiteX3106" fmla="*/ 681476 w 3751729"/>
              <a:gd name="connsiteY3106" fmla="*/ 997020 h 1237129"/>
              <a:gd name="connsiteX3107" fmla="*/ 691322 w 3751729"/>
              <a:gd name="connsiteY3107" fmla="*/ 986189 h 1237129"/>
              <a:gd name="connsiteX3108" fmla="*/ 702891 w 3751729"/>
              <a:gd name="connsiteY3108" fmla="*/ 976097 h 1237129"/>
              <a:gd name="connsiteX3109" fmla="*/ 712737 w 3751729"/>
              <a:gd name="connsiteY3109" fmla="*/ 964528 h 1237129"/>
              <a:gd name="connsiteX3110" fmla="*/ 711998 w 3751729"/>
              <a:gd name="connsiteY3110" fmla="*/ 956159 h 1237129"/>
              <a:gd name="connsiteX3111" fmla="*/ 711998 w 3751729"/>
              <a:gd name="connsiteY3111" fmla="*/ 944590 h 1237129"/>
              <a:gd name="connsiteX3112" fmla="*/ 710276 w 3751729"/>
              <a:gd name="connsiteY3112" fmla="*/ 933020 h 1237129"/>
              <a:gd name="connsiteX3113" fmla="*/ 706091 w 3751729"/>
              <a:gd name="connsiteY3113" fmla="*/ 925636 h 1237129"/>
              <a:gd name="connsiteX3114" fmla="*/ 700430 w 3751729"/>
              <a:gd name="connsiteY3114" fmla="*/ 917266 h 1237129"/>
              <a:gd name="connsiteX3115" fmla="*/ 694769 w 3751729"/>
              <a:gd name="connsiteY3115" fmla="*/ 908159 h 1237129"/>
              <a:gd name="connsiteX3116" fmla="*/ 689107 w 3751729"/>
              <a:gd name="connsiteY3116" fmla="*/ 908159 h 1237129"/>
              <a:gd name="connsiteX3117" fmla="*/ 687384 w 3751729"/>
              <a:gd name="connsiteY3117" fmla="*/ 909882 h 1237129"/>
              <a:gd name="connsiteX3118" fmla="*/ 685660 w 3751729"/>
              <a:gd name="connsiteY3118" fmla="*/ 911605 h 1237129"/>
              <a:gd name="connsiteX3119" fmla="*/ 683938 w 3751729"/>
              <a:gd name="connsiteY3119" fmla="*/ 912343 h 1237129"/>
              <a:gd name="connsiteX3120" fmla="*/ 681476 w 3751729"/>
              <a:gd name="connsiteY3120" fmla="*/ 914066 h 1237129"/>
              <a:gd name="connsiteX3121" fmla="*/ 683199 w 3751729"/>
              <a:gd name="connsiteY3121" fmla="*/ 917513 h 1237129"/>
              <a:gd name="connsiteX3122" fmla="*/ 683199 w 3751729"/>
              <a:gd name="connsiteY3122" fmla="*/ 919974 h 1237129"/>
              <a:gd name="connsiteX3123" fmla="*/ 683199 w 3751729"/>
              <a:gd name="connsiteY3123" fmla="*/ 921697 h 1237129"/>
              <a:gd name="connsiteX3124" fmla="*/ 681476 w 3751729"/>
              <a:gd name="connsiteY3124" fmla="*/ 924159 h 1237129"/>
              <a:gd name="connsiteX3125" fmla="*/ 679753 w 3751729"/>
              <a:gd name="connsiteY3125" fmla="*/ 924159 h 1237129"/>
              <a:gd name="connsiteX3126" fmla="*/ 678030 w 3751729"/>
              <a:gd name="connsiteY3126" fmla="*/ 925882 h 1237129"/>
              <a:gd name="connsiteX3127" fmla="*/ 677292 w 3751729"/>
              <a:gd name="connsiteY3127" fmla="*/ 925882 h 1237129"/>
              <a:gd name="connsiteX3128" fmla="*/ 675568 w 3751729"/>
              <a:gd name="connsiteY3128" fmla="*/ 925882 h 1237129"/>
              <a:gd name="connsiteX3129" fmla="*/ 673108 w 3751729"/>
              <a:gd name="connsiteY3129" fmla="*/ 927605 h 1237129"/>
              <a:gd name="connsiteX3130" fmla="*/ 665722 w 3751729"/>
              <a:gd name="connsiteY3130" fmla="*/ 921697 h 1237129"/>
              <a:gd name="connsiteX3131" fmla="*/ 652430 w 3751729"/>
              <a:gd name="connsiteY3131" fmla="*/ 914313 h 1237129"/>
              <a:gd name="connsiteX3132" fmla="*/ 639137 w 3751729"/>
              <a:gd name="connsiteY3132" fmla="*/ 906929 h 1237129"/>
              <a:gd name="connsiteX3133" fmla="*/ 626831 w 3751729"/>
              <a:gd name="connsiteY3133" fmla="*/ 901020 h 1237129"/>
              <a:gd name="connsiteX3134" fmla="*/ 617722 w 3751729"/>
              <a:gd name="connsiteY3134" fmla="*/ 898558 h 1237129"/>
              <a:gd name="connsiteX3135" fmla="*/ 610338 w 3751729"/>
              <a:gd name="connsiteY3135" fmla="*/ 881082 h 1237129"/>
              <a:gd name="connsiteX3136" fmla="*/ 603692 w 3751729"/>
              <a:gd name="connsiteY3136" fmla="*/ 870989 h 1237129"/>
              <a:gd name="connsiteX3137" fmla="*/ 596308 w 3751729"/>
              <a:gd name="connsiteY3137" fmla="*/ 863605 h 1237129"/>
              <a:gd name="connsiteX3138" fmla="*/ 588923 w 3751729"/>
              <a:gd name="connsiteY3138" fmla="*/ 861144 h 1237129"/>
              <a:gd name="connsiteX3139" fmla="*/ 577353 w 3751729"/>
              <a:gd name="connsiteY3139" fmla="*/ 857698 h 1237129"/>
              <a:gd name="connsiteX3140" fmla="*/ 565046 w 3751729"/>
              <a:gd name="connsiteY3140" fmla="*/ 853513 h 1237129"/>
              <a:gd name="connsiteX3141" fmla="*/ 548554 w 3751729"/>
              <a:gd name="connsiteY3141" fmla="*/ 847606 h 1237129"/>
              <a:gd name="connsiteX3142" fmla="*/ 538708 w 3751729"/>
              <a:gd name="connsiteY3142" fmla="*/ 840221 h 1237129"/>
              <a:gd name="connsiteX3143" fmla="*/ 530338 w 3751729"/>
              <a:gd name="connsiteY3143" fmla="*/ 832836 h 1237129"/>
              <a:gd name="connsiteX3144" fmla="*/ 517046 w 3751729"/>
              <a:gd name="connsiteY3144" fmla="*/ 826929 h 1237129"/>
              <a:gd name="connsiteX3145" fmla="*/ 508677 w 3751729"/>
              <a:gd name="connsiteY3145" fmla="*/ 826929 h 1237129"/>
              <a:gd name="connsiteX3146" fmla="*/ 503016 w 3751729"/>
              <a:gd name="connsiteY3146" fmla="*/ 830375 h 1237129"/>
              <a:gd name="connsiteX3147" fmla="*/ 498092 w 3751729"/>
              <a:gd name="connsiteY3147" fmla="*/ 832836 h 1237129"/>
              <a:gd name="connsiteX3148" fmla="*/ 492431 w 3751729"/>
              <a:gd name="connsiteY3148" fmla="*/ 836283 h 1237129"/>
              <a:gd name="connsiteX3149" fmla="*/ 485785 w 3751729"/>
              <a:gd name="connsiteY3149" fmla="*/ 834560 h 1237129"/>
              <a:gd name="connsiteX3150" fmla="*/ 482585 w 3751729"/>
              <a:gd name="connsiteY3150" fmla="*/ 832836 h 1237129"/>
              <a:gd name="connsiteX3151" fmla="*/ 480124 w 3751729"/>
              <a:gd name="connsiteY3151" fmla="*/ 830375 h 1237129"/>
              <a:gd name="connsiteX3152" fmla="*/ 476924 w 3751729"/>
              <a:gd name="connsiteY3152" fmla="*/ 826929 h 1237129"/>
              <a:gd name="connsiteX3153" fmla="*/ 472739 w 3751729"/>
              <a:gd name="connsiteY3153" fmla="*/ 822744 h 1237129"/>
              <a:gd name="connsiteX3154" fmla="*/ 469539 w 3751729"/>
              <a:gd name="connsiteY3154" fmla="*/ 820283 h 1237129"/>
              <a:gd name="connsiteX3155" fmla="*/ 467077 w 3751729"/>
              <a:gd name="connsiteY3155" fmla="*/ 818559 h 1237129"/>
              <a:gd name="connsiteX3156" fmla="*/ 448124 w 3751729"/>
              <a:gd name="connsiteY3156" fmla="*/ 815113 h 1237129"/>
              <a:gd name="connsiteX3157" fmla="*/ 445662 w 3751729"/>
              <a:gd name="connsiteY3157" fmla="*/ 812652 h 1237129"/>
              <a:gd name="connsiteX3158" fmla="*/ 442462 w 3751729"/>
              <a:gd name="connsiteY3158" fmla="*/ 810190 h 1237129"/>
              <a:gd name="connsiteX3159" fmla="*/ 440000 w 3751729"/>
              <a:gd name="connsiteY3159" fmla="*/ 806744 h 1237129"/>
              <a:gd name="connsiteX3160" fmla="*/ 436801 w 3751729"/>
              <a:gd name="connsiteY3160" fmla="*/ 804283 h 1237129"/>
              <a:gd name="connsiteX3161" fmla="*/ 436062 w 3751729"/>
              <a:gd name="connsiteY3161" fmla="*/ 802560 h 1237129"/>
              <a:gd name="connsiteX3162" fmla="*/ 419570 w 3751729"/>
              <a:gd name="connsiteY3162" fmla="*/ 805021 h 1237129"/>
              <a:gd name="connsiteX3163" fmla="*/ 417108 w 3751729"/>
              <a:gd name="connsiteY3163" fmla="*/ 804283 h 1237129"/>
              <a:gd name="connsiteX3164" fmla="*/ 412924 w 3751729"/>
              <a:gd name="connsiteY3164" fmla="*/ 798375 h 1237129"/>
              <a:gd name="connsiteX3165" fmla="*/ 405539 w 3751729"/>
              <a:gd name="connsiteY3165" fmla="*/ 792467 h 1237129"/>
              <a:gd name="connsiteX3166" fmla="*/ 399878 w 3751729"/>
              <a:gd name="connsiteY3166" fmla="*/ 785082 h 1237129"/>
              <a:gd name="connsiteX3167" fmla="*/ 394217 w 3751729"/>
              <a:gd name="connsiteY3167" fmla="*/ 779175 h 1237129"/>
              <a:gd name="connsiteX3168" fmla="*/ 391017 w 3751729"/>
              <a:gd name="connsiteY3168" fmla="*/ 775729 h 1237129"/>
              <a:gd name="connsiteX3169" fmla="*/ 396677 w 3751729"/>
              <a:gd name="connsiteY3169" fmla="*/ 757513 h 1237129"/>
              <a:gd name="connsiteX3170" fmla="*/ 380924 w 3751729"/>
              <a:gd name="connsiteY3170" fmla="*/ 740036 h 1237129"/>
              <a:gd name="connsiteX3171" fmla="*/ 366893 w 3751729"/>
              <a:gd name="connsiteY3171" fmla="*/ 720837 h 1237129"/>
              <a:gd name="connsiteX3172" fmla="*/ 352124 w 3751729"/>
              <a:gd name="connsiteY3172" fmla="*/ 700899 h 1237129"/>
              <a:gd name="connsiteX3173" fmla="*/ 338094 w 3751729"/>
              <a:gd name="connsiteY3173" fmla="*/ 679976 h 1237129"/>
              <a:gd name="connsiteX3174" fmla="*/ 334894 w 3751729"/>
              <a:gd name="connsiteY3174" fmla="*/ 678252 h 1237129"/>
              <a:gd name="connsiteX3175" fmla="*/ 330709 w 3751729"/>
              <a:gd name="connsiteY3175" fmla="*/ 677514 h 1237129"/>
              <a:gd name="connsiteX3176" fmla="*/ 328248 w 3751729"/>
              <a:gd name="connsiteY3176" fmla="*/ 677514 h 1237129"/>
              <a:gd name="connsiteX3177" fmla="*/ 323324 w 3751729"/>
              <a:gd name="connsiteY3177" fmla="*/ 675792 h 1237129"/>
              <a:gd name="connsiteX3178" fmla="*/ 322586 w 3751729"/>
              <a:gd name="connsiteY3178" fmla="*/ 674068 h 1237129"/>
              <a:gd name="connsiteX3179" fmla="*/ 316925 w 3751729"/>
              <a:gd name="connsiteY3179" fmla="*/ 666683 h 1237129"/>
              <a:gd name="connsiteX3180" fmla="*/ 313725 w 3751729"/>
              <a:gd name="connsiteY3180" fmla="*/ 658315 h 1237129"/>
              <a:gd name="connsiteX3181" fmla="*/ 311262 w 3751729"/>
              <a:gd name="connsiteY3181" fmla="*/ 649945 h 1237129"/>
              <a:gd name="connsiteX3182" fmla="*/ 306339 w 3751729"/>
              <a:gd name="connsiteY3182" fmla="*/ 640837 h 1237129"/>
              <a:gd name="connsiteX3183" fmla="*/ 299694 w 3751729"/>
              <a:gd name="connsiteY3183" fmla="*/ 636653 h 1237129"/>
              <a:gd name="connsiteX3184" fmla="*/ 296493 w 3751729"/>
              <a:gd name="connsiteY3184" fmla="*/ 633207 h 1237129"/>
              <a:gd name="connsiteX3185" fmla="*/ 294032 w 3751729"/>
              <a:gd name="connsiteY3185" fmla="*/ 630746 h 1237129"/>
              <a:gd name="connsiteX3186" fmla="*/ 290832 w 3751729"/>
              <a:gd name="connsiteY3186" fmla="*/ 629022 h 1237129"/>
              <a:gd name="connsiteX3187" fmla="*/ 290832 w 3751729"/>
              <a:gd name="connsiteY3187" fmla="*/ 644777 h 1237129"/>
              <a:gd name="connsiteX3188" fmla="*/ 295017 w 3751729"/>
              <a:gd name="connsiteY3188" fmla="*/ 650683 h 1237129"/>
              <a:gd name="connsiteX3189" fmla="*/ 304124 w 3751729"/>
              <a:gd name="connsiteY3189" fmla="*/ 660776 h 1237129"/>
              <a:gd name="connsiteX3190" fmla="*/ 312494 w 3751729"/>
              <a:gd name="connsiteY3190" fmla="*/ 672346 h 1237129"/>
              <a:gd name="connsiteX3191" fmla="*/ 323324 w 3751729"/>
              <a:gd name="connsiteY3191" fmla="*/ 687360 h 1237129"/>
              <a:gd name="connsiteX3192" fmla="*/ 331693 w 3751729"/>
              <a:gd name="connsiteY3192" fmla="*/ 701637 h 1237129"/>
              <a:gd name="connsiteX3193" fmla="*/ 340801 w 3751729"/>
              <a:gd name="connsiteY3193" fmla="*/ 716653 h 1237129"/>
              <a:gd name="connsiteX3194" fmla="*/ 347447 w 3751729"/>
              <a:gd name="connsiteY3194" fmla="*/ 729945 h 1237129"/>
              <a:gd name="connsiteX3195" fmla="*/ 350647 w 3751729"/>
              <a:gd name="connsiteY3195" fmla="*/ 738314 h 1237129"/>
              <a:gd name="connsiteX3196" fmla="*/ 350647 w 3751729"/>
              <a:gd name="connsiteY3196" fmla="*/ 744222 h 1237129"/>
              <a:gd name="connsiteX3197" fmla="*/ 348925 w 3751729"/>
              <a:gd name="connsiteY3197" fmla="*/ 746683 h 1237129"/>
              <a:gd name="connsiteX3198" fmla="*/ 347200 w 3751729"/>
              <a:gd name="connsiteY3198" fmla="*/ 748406 h 1237129"/>
              <a:gd name="connsiteX3199" fmla="*/ 347200 w 3751729"/>
              <a:gd name="connsiteY3199" fmla="*/ 750129 h 1237129"/>
              <a:gd name="connsiteX3200" fmla="*/ 344740 w 3751729"/>
              <a:gd name="connsiteY3200" fmla="*/ 751853 h 1237129"/>
              <a:gd name="connsiteX3201" fmla="*/ 344740 w 3751729"/>
              <a:gd name="connsiteY3201" fmla="*/ 745945 h 1237129"/>
              <a:gd name="connsiteX3202" fmla="*/ 343017 w 3751729"/>
              <a:gd name="connsiteY3202" fmla="*/ 741021 h 1237129"/>
              <a:gd name="connsiteX3203" fmla="*/ 343017 w 3751729"/>
              <a:gd name="connsiteY3203" fmla="*/ 738561 h 1237129"/>
              <a:gd name="connsiteX3204" fmla="*/ 341294 w 3751729"/>
              <a:gd name="connsiteY3204" fmla="*/ 735114 h 1237129"/>
              <a:gd name="connsiteX3205" fmla="*/ 338832 w 3751729"/>
              <a:gd name="connsiteY3205" fmla="*/ 735114 h 1237129"/>
              <a:gd name="connsiteX3206" fmla="*/ 337109 w 3751729"/>
              <a:gd name="connsiteY3206" fmla="*/ 735114 h 1237129"/>
              <a:gd name="connsiteX3207" fmla="*/ 335386 w 3751729"/>
              <a:gd name="connsiteY3207" fmla="*/ 735114 h 1237129"/>
              <a:gd name="connsiteX3208" fmla="*/ 334648 w 3751729"/>
              <a:gd name="connsiteY3208" fmla="*/ 735114 h 1237129"/>
              <a:gd name="connsiteX3209" fmla="*/ 332924 w 3751729"/>
              <a:gd name="connsiteY3209" fmla="*/ 735114 h 1237129"/>
              <a:gd name="connsiteX3210" fmla="*/ 328740 w 3751729"/>
              <a:gd name="connsiteY3210" fmla="*/ 735114 h 1237129"/>
              <a:gd name="connsiteX3211" fmla="*/ 325540 w 3751729"/>
              <a:gd name="connsiteY3211" fmla="*/ 725022 h 1237129"/>
              <a:gd name="connsiteX3212" fmla="*/ 323078 w 3751729"/>
              <a:gd name="connsiteY3212" fmla="*/ 714929 h 1237129"/>
              <a:gd name="connsiteX3213" fmla="*/ 318156 w 3751729"/>
              <a:gd name="connsiteY3213" fmla="*/ 706561 h 1237129"/>
              <a:gd name="connsiteX3214" fmla="*/ 311509 w 3751729"/>
              <a:gd name="connsiteY3214" fmla="*/ 699175 h 1237129"/>
              <a:gd name="connsiteX3215" fmla="*/ 302401 w 3751729"/>
              <a:gd name="connsiteY3215" fmla="*/ 693269 h 1237129"/>
              <a:gd name="connsiteX3216" fmla="*/ 294032 w 3751729"/>
              <a:gd name="connsiteY3216" fmla="*/ 687360 h 1237129"/>
              <a:gd name="connsiteX3217" fmla="*/ 286647 w 3751729"/>
              <a:gd name="connsiteY3217" fmla="*/ 677268 h 1237129"/>
              <a:gd name="connsiteX3218" fmla="*/ 289109 w 3751729"/>
              <a:gd name="connsiteY3218" fmla="*/ 675545 h 1237129"/>
              <a:gd name="connsiteX3219" fmla="*/ 290832 w 3751729"/>
              <a:gd name="connsiteY3219" fmla="*/ 675545 h 1237129"/>
              <a:gd name="connsiteX3220" fmla="*/ 292555 w 3751729"/>
              <a:gd name="connsiteY3220" fmla="*/ 675545 h 1237129"/>
              <a:gd name="connsiteX3221" fmla="*/ 292555 w 3751729"/>
              <a:gd name="connsiteY3221" fmla="*/ 673821 h 1237129"/>
              <a:gd name="connsiteX3222" fmla="*/ 292555 w 3751729"/>
              <a:gd name="connsiteY3222" fmla="*/ 672099 h 1237129"/>
              <a:gd name="connsiteX3223" fmla="*/ 294278 w 3751729"/>
              <a:gd name="connsiteY3223" fmla="*/ 671361 h 1237129"/>
              <a:gd name="connsiteX3224" fmla="*/ 283447 w 3751729"/>
              <a:gd name="connsiteY3224" fmla="*/ 663976 h 1237129"/>
              <a:gd name="connsiteX3225" fmla="*/ 278524 w 3751729"/>
              <a:gd name="connsiteY3225" fmla="*/ 654869 h 1237129"/>
              <a:gd name="connsiteX3226" fmla="*/ 273601 w 3751729"/>
              <a:gd name="connsiteY3226" fmla="*/ 644777 h 1237129"/>
              <a:gd name="connsiteX3227" fmla="*/ 271140 w 3751729"/>
              <a:gd name="connsiteY3227" fmla="*/ 633207 h 1237129"/>
              <a:gd name="connsiteX3228" fmla="*/ 265478 w 3751729"/>
              <a:gd name="connsiteY3228" fmla="*/ 623115 h 1237129"/>
              <a:gd name="connsiteX3229" fmla="*/ 258093 w 3751729"/>
              <a:gd name="connsiteY3229" fmla="*/ 614745 h 1237129"/>
              <a:gd name="connsiteX3230" fmla="*/ 249725 w 3751729"/>
              <a:gd name="connsiteY3230" fmla="*/ 609823 h 1237129"/>
              <a:gd name="connsiteX3231" fmla="*/ 238894 w 3751729"/>
              <a:gd name="connsiteY3231" fmla="*/ 605638 h 1237129"/>
              <a:gd name="connsiteX3232" fmla="*/ 230524 w 3751729"/>
              <a:gd name="connsiteY3232" fmla="*/ 599730 h 1237129"/>
              <a:gd name="connsiteX3233" fmla="*/ 224863 w 3751729"/>
              <a:gd name="connsiteY3233" fmla="*/ 592346 h 1237129"/>
              <a:gd name="connsiteX3234" fmla="*/ 221663 w 3751729"/>
              <a:gd name="connsiteY3234" fmla="*/ 583977 h 1237129"/>
              <a:gd name="connsiteX3235" fmla="*/ 217478 w 3751729"/>
              <a:gd name="connsiteY3235" fmla="*/ 574871 h 1237129"/>
              <a:gd name="connsiteX3236" fmla="*/ 207633 w 3751729"/>
              <a:gd name="connsiteY3236" fmla="*/ 560594 h 1237129"/>
              <a:gd name="connsiteX3237" fmla="*/ 199264 w 3751729"/>
              <a:gd name="connsiteY3237" fmla="*/ 550502 h 1237129"/>
              <a:gd name="connsiteX3238" fmla="*/ 190156 w 3751729"/>
              <a:gd name="connsiteY3238" fmla="*/ 541394 h 1237129"/>
              <a:gd name="connsiteX3239" fmla="*/ 184494 w 3751729"/>
              <a:gd name="connsiteY3239" fmla="*/ 531303 h 1237129"/>
              <a:gd name="connsiteX3240" fmla="*/ 180309 w 3751729"/>
              <a:gd name="connsiteY3240" fmla="*/ 518010 h 1237129"/>
              <a:gd name="connsiteX3241" fmla="*/ 177109 w 3751729"/>
              <a:gd name="connsiteY3241" fmla="*/ 500533 h 1237129"/>
              <a:gd name="connsiteX3242" fmla="*/ 176371 w 3751729"/>
              <a:gd name="connsiteY3242" fmla="*/ 476410 h 1237129"/>
              <a:gd name="connsiteX3243" fmla="*/ 176371 w 3751729"/>
              <a:gd name="connsiteY3243" fmla="*/ 470503 h 1237129"/>
              <a:gd name="connsiteX3244" fmla="*/ 177109 w 3751729"/>
              <a:gd name="connsiteY3244" fmla="*/ 458933 h 1237129"/>
              <a:gd name="connsiteX3245" fmla="*/ 177109 w 3751729"/>
              <a:gd name="connsiteY3245" fmla="*/ 443180 h 1237129"/>
              <a:gd name="connsiteX3246" fmla="*/ 177109 w 3751729"/>
              <a:gd name="connsiteY3246" fmla="*/ 423980 h 1237129"/>
              <a:gd name="connsiteX3247" fmla="*/ 177109 w 3751729"/>
              <a:gd name="connsiteY3247" fmla="*/ 406503 h 1237129"/>
              <a:gd name="connsiteX3248" fmla="*/ 178833 w 3751729"/>
              <a:gd name="connsiteY3248" fmla="*/ 392226 h 1237129"/>
              <a:gd name="connsiteX3249" fmla="*/ 180556 w 3751729"/>
              <a:gd name="connsiteY3249" fmla="*/ 383118 h 1237129"/>
              <a:gd name="connsiteX3250" fmla="*/ 184740 w 3751729"/>
              <a:gd name="connsiteY3250" fmla="*/ 381396 h 1237129"/>
              <a:gd name="connsiteX3251" fmla="*/ 187940 w 3751729"/>
              <a:gd name="connsiteY3251" fmla="*/ 381396 h 1237129"/>
              <a:gd name="connsiteX3252" fmla="*/ 190402 w 3751729"/>
              <a:gd name="connsiteY3252" fmla="*/ 381396 h 1237129"/>
              <a:gd name="connsiteX3253" fmla="*/ 193602 w 3751729"/>
              <a:gd name="connsiteY3253" fmla="*/ 381396 h 1237129"/>
              <a:gd name="connsiteX3254" fmla="*/ 196064 w 3751729"/>
              <a:gd name="connsiteY3254" fmla="*/ 383118 h 1237129"/>
              <a:gd name="connsiteX3255" fmla="*/ 197787 w 3751729"/>
              <a:gd name="connsiteY3255" fmla="*/ 386564 h 1237129"/>
              <a:gd name="connsiteX3256" fmla="*/ 200248 w 3751729"/>
              <a:gd name="connsiteY3256" fmla="*/ 389026 h 1237129"/>
              <a:gd name="connsiteX3257" fmla="*/ 201970 w 3751729"/>
              <a:gd name="connsiteY3257" fmla="*/ 392473 h 1237129"/>
              <a:gd name="connsiteX3258" fmla="*/ 201970 w 3751729"/>
              <a:gd name="connsiteY3258" fmla="*/ 375733 h 1237129"/>
              <a:gd name="connsiteX3259" fmla="*/ 192125 w 3751729"/>
              <a:gd name="connsiteY3259" fmla="*/ 364165 h 1237129"/>
              <a:gd name="connsiteX3260" fmla="*/ 180556 w 3751729"/>
              <a:gd name="connsiteY3260" fmla="*/ 352596 h 1237129"/>
              <a:gd name="connsiteX3261" fmla="*/ 167264 w 3751729"/>
              <a:gd name="connsiteY3261" fmla="*/ 344226 h 1237129"/>
              <a:gd name="connsiteX3262" fmla="*/ 167264 w 3751729"/>
              <a:gd name="connsiteY3262" fmla="*/ 351611 h 1237129"/>
              <a:gd name="connsiteX3263" fmla="*/ 172926 w 3751729"/>
              <a:gd name="connsiteY3263" fmla="*/ 355795 h 1237129"/>
              <a:gd name="connsiteX3264" fmla="*/ 178586 w 3751729"/>
              <a:gd name="connsiteY3264" fmla="*/ 359980 h 1237129"/>
              <a:gd name="connsiteX3265" fmla="*/ 184247 w 3751729"/>
              <a:gd name="connsiteY3265" fmla="*/ 364165 h 1237129"/>
              <a:gd name="connsiteX3266" fmla="*/ 188433 w 3751729"/>
              <a:gd name="connsiteY3266" fmla="*/ 370072 h 1237129"/>
              <a:gd name="connsiteX3267" fmla="*/ 188433 w 3751729"/>
              <a:gd name="connsiteY3267" fmla="*/ 373518 h 1237129"/>
              <a:gd name="connsiteX3268" fmla="*/ 187694 w 3751729"/>
              <a:gd name="connsiteY3268" fmla="*/ 373518 h 1237129"/>
              <a:gd name="connsiteX3269" fmla="*/ 187694 w 3751729"/>
              <a:gd name="connsiteY3269" fmla="*/ 375241 h 1237129"/>
              <a:gd name="connsiteX3270" fmla="*/ 185971 w 3751729"/>
              <a:gd name="connsiteY3270" fmla="*/ 375980 h 1237129"/>
              <a:gd name="connsiteX3271" fmla="*/ 182772 w 3751729"/>
              <a:gd name="connsiteY3271" fmla="*/ 377703 h 1237129"/>
              <a:gd name="connsiteX3272" fmla="*/ 182032 w 3751729"/>
              <a:gd name="connsiteY3272" fmla="*/ 379426 h 1237129"/>
              <a:gd name="connsiteX3273" fmla="*/ 177109 w 3751729"/>
              <a:gd name="connsiteY3273" fmla="*/ 379426 h 1237129"/>
              <a:gd name="connsiteX3274" fmla="*/ 172926 w 3751729"/>
              <a:gd name="connsiteY3274" fmla="*/ 379426 h 1237129"/>
              <a:gd name="connsiteX3275" fmla="*/ 171202 w 3751729"/>
              <a:gd name="connsiteY3275" fmla="*/ 379426 h 1237129"/>
              <a:gd name="connsiteX3276" fmla="*/ 171202 w 3751729"/>
              <a:gd name="connsiteY3276" fmla="*/ 377703 h 1237129"/>
              <a:gd name="connsiteX3277" fmla="*/ 170463 w 3751729"/>
              <a:gd name="connsiteY3277" fmla="*/ 377703 h 1237129"/>
              <a:gd name="connsiteX3278" fmla="*/ 167264 w 3751729"/>
              <a:gd name="connsiteY3278" fmla="*/ 375980 h 1237129"/>
              <a:gd name="connsiteX3279" fmla="*/ 157418 w 3751729"/>
              <a:gd name="connsiteY3279" fmla="*/ 363426 h 1237129"/>
              <a:gd name="connsiteX3280" fmla="*/ 148310 w 3751729"/>
              <a:gd name="connsiteY3280" fmla="*/ 350134 h 1237129"/>
              <a:gd name="connsiteX3281" fmla="*/ 141664 w 3751729"/>
              <a:gd name="connsiteY3281" fmla="*/ 335119 h 1237129"/>
              <a:gd name="connsiteX3282" fmla="*/ 148310 w 3751729"/>
              <a:gd name="connsiteY3282" fmla="*/ 335119 h 1237129"/>
              <a:gd name="connsiteX3283" fmla="*/ 151510 w 3751729"/>
              <a:gd name="connsiteY3283" fmla="*/ 336841 h 1237129"/>
              <a:gd name="connsiteX3284" fmla="*/ 153972 w 3751729"/>
              <a:gd name="connsiteY3284" fmla="*/ 336841 h 1237129"/>
              <a:gd name="connsiteX3285" fmla="*/ 157171 w 3751729"/>
              <a:gd name="connsiteY3285" fmla="*/ 336841 h 1237129"/>
              <a:gd name="connsiteX3286" fmla="*/ 159633 w 3751729"/>
              <a:gd name="connsiteY3286" fmla="*/ 335119 h 1237129"/>
              <a:gd name="connsiteX3287" fmla="*/ 148064 w 3751729"/>
              <a:gd name="connsiteY3287" fmla="*/ 330934 h 1237129"/>
              <a:gd name="connsiteX3288" fmla="*/ 141418 w 3751729"/>
              <a:gd name="connsiteY3288" fmla="*/ 324288 h 1237129"/>
              <a:gd name="connsiteX3289" fmla="*/ 135756 w 3751729"/>
              <a:gd name="connsiteY3289" fmla="*/ 315180 h 1237129"/>
              <a:gd name="connsiteX3290" fmla="*/ 130834 w 3751729"/>
              <a:gd name="connsiteY3290" fmla="*/ 305088 h 1237129"/>
              <a:gd name="connsiteX3291" fmla="*/ 128371 w 3751729"/>
              <a:gd name="connsiteY3291" fmla="*/ 294995 h 1237129"/>
              <a:gd name="connsiteX3292" fmla="*/ 124187 w 3751729"/>
              <a:gd name="connsiteY3292" fmla="*/ 285888 h 1237129"/>
              <a:gd name="connsiteX3293" fmla="*/ 118525 w 3751729"/>
              <a:gd name="connsiteY3293" fmla="*/ 278503 h 1237129"/>
              <a:gd name="connsiteX3294" fmla="*/ 109418 w 3751729"/>
              <a:gd name="connsiteY3294" fmla="*/ 274319 h 1237129"/>
              <a:gd name="connsiteX3295" fmla="*/ 112618 w 3751729"/>
              <a:gd name="connsiteY3295" fmla="*/ 255118 h 1237129"/>
              <a:gd name="connsiteX3296" fmla="*/ 102772 w 3751729"/>
              <a:gd name="connsiteY3296" fmla="*/ 244287 h 1237129"/>
              <a:gd name="connsiteX3297" fmla="*/ 93664 w 3751729"/>
              <a:gd name="connsiteY3297" fmla="*/ 230995 h 1237129"/>
              <a:gd name="connsiteX3298" fmla="*/ 86279 w 3751729"/>
              <a:gd name="connsiteY3298" fmla="*/ 217703 h 1237129"/>
              <a:gd name="connsiteX3299" fmla="*/ 76433 w 3751729"/>
              <a:gd name="connsiteY3299" fmla="*/ 204411 h 1237129"/>
              <a:gd name="connsiteX3300" fmla="*/ 64865 w 3751729"/>
              <a:gd name="connsiteY3300" fmla="*/ 194320 h 1237129"/>
              <a:gd name="connsiteX3301" fmla="*/ 49111 w 3751729"/>
              <a:gd name="connsiteY3301" fmla="*/ 186935 h 1237129"/>
              <a:gd name="connsiteX3302" fmla="*/ 30156 w 3751729"/>
              <a:gd name="connsiteY3302" fmla="*/ 182750 h 1237129"/>
              <a:gd name="connsiteX3303" fmla="*/ 14403 w 3751729"/>
              <a:gd name="connsiteY3303" fmla="*/ 175366 h 1237129"/>
              <a:gd name="connsiteX3304" fmla="*/ 2834 w 3751729"/>
              <a:gd name="connsiteY3304" fmla="*/ 165273 h 1237129"/>
              <a:gd name="connsiteX3305" fmla="*/ 0 w 3751729"/>
              <a:gd name="connsiteY3305" fmla="*/ 162806 h 123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</a:cxnLst>
            <a:rect l="l" t="t" r="r" b="b"/>
            <a:pathLst>
              <a:path w="3751729" h="1237129">
                <a:moveTo>
                  <a:pt x="2921457" y="929082"/>
                </a:moveTo>
                <a:lnTo>
                  <a:pt x="2929580" y="931543"/>
                </a:lnTo>
                <a:lnTo>
                  <a:pt x="2939672" y="937451"/>
                </a:lnTo>
                <a:lnTo>
                  <a:pt x="2948781" y="946559"/>
                </a:lnTo>
                <a:lnTo>
                  <a:pt x="2952719" y="954190"/>
                </a:lnTo>
                <a:lnTo>
                  <a:pt x="2948781" y="956651"/>
                </a:lnTo>
                <a:lnTo>
                  <a:pt x="2944596" y="960835"/>
                </a:lnTo>
                <a:lnTo>
                  <a:pt x="2939672" y="964282"/>
                </a:lnTo>
                <a:lnTo>
                  <a:pt x="2933765" y="966743"/>
                </a:lnTo>
                <a:lnTo>
                  <a:pt x="2938688" y="980035"/>
                </a:lnTo>
                <a:lnTo>
                  <a:pt x="2944596" y="990128"/>
                </a:lnTo>
                <a:lnTo>
                  <a:pt x="2950257" y="1001944"/>
                </a:lnTo>
                <a:lnTo>
                  <a:pt x="2945334" y="1003666"/>
                </a:lnTo>
                <a:lnTo>
                  <a:pt x="2942872" y="1003666"/>
                </a:lnTo>
                <a:lnTo>
                  <a:pt x="2941150" y="1003666"/>
                </a:lnTo>
                <a:lnTo>
                  <a:pt x="2939672" y="1005389"/>
                </a:lnTo>
                <a:lnTo>
                  <a:pt x="2938688" y="1006128"/>
                </a:lnTo>
                <a:lnTo>
                  <a:pt x="2937212" y="1009574"/>
                </a:lnTo>
                <a:lnTo>
                  <a:pt x="2929580" y="1022867"/>
                </a:lnTo>
                <a:lnTo>
                  <a:pt x="2925642" y="1038866"/>
                </a:lnTo>
                <a:lnTo>
                  <a:pt x="2918011" y="1053143"/>
                </a:lnTo>
                <a:lnTo>
                  <a:pt x="2914073" y="1056589"/>
                </a:lnTo>
                <a:lnTo>
                  <a:pt x="2909888" y="1056589"/>
                </a:lnTo>
                <a:lnTo>
                  <a:pt x="2904965" y="1057327"/>
                </a:lnTo>
                <a:lnTo>
                  <a:pt x="2900041" y="1057327"/>
                </a:lnTo>
                <a:lnTo>
                  <a:pt x="2890935" y="1052404"/>
                </a:lnTo>
                <a:lnTo>
                  <a:pt x="2882565" y="1050681"/>
                </a:lnTo>
                <a:lnTo>
                  <a:pt x="2871981" y="1050681"/>
                </a:lnTo>
                <a:lnTo>
                  <a:pt x="2861888" y="1048958"/>
                </a:lnTo>
                <a:lnTo>
                  <a:pt x="2852042" y="1044774"/>
                </a:lnTo>
                <a:lnTo>
                  <a:pt x="2842196" y="1031235"/>
                </a:lnTo>
                <a:lnTo>
                  <a:pt x="2834812" y="1013758"/>
                </a:lnTo>
                <a:lnTo>
                  <a:pt x="2833088" y="993574"/>
                </a:lnTo>
                <a:lnTo>
                  <a:pt x="2840472" y="990128"/>
                </a:lnTo>
                <a:lnTo>
                  <a:pt x="2846380" y="990128"/>
                </a:lnTo>
                <a:lnTo>
                  <a:pt x="2852042" y="991851"/>
                </a:lnTo>
                <a:lnTo>
                  <a:pt x="2857950" y="988651"/>
                </a:lnTo>
                <a:lnTo>
                  <a:pt x="2865334" y="976835"/>
                </a:lnTo>
                <a:lnTo>
                  <a:pt x="2883549" y="974374"/>
                </a:lnTo>
                <a:lnTo>
                  <a:pt x="2886749" y="971666"/>
                </a:lnTo>
                <a:lnTo>
                  <a:pt x="2889211" y="968466"/>
                </a:lnTo>
                <a:lnTo>
                  <a:pt x="2889211" y="966743"/>
                </a:lnTo>
                <a:lnTo>
                  <a:pt x="2890935" y="965758"/>
                </a:lnTo>
                <a:lnTo>
                  <a:pt x="2890935" y="964282"/>
                </a:lnTo>
                <a:lnTo>
                  <a:pt x="2890935" y="962559"/>
                </a:lnTo>
                <a:lnTo>
                  <a:pt x="2892411" y="960835"/>
                </a:lnTo>
                <a:lnTo>
                  <a:pt x="2895119" y="960835"/>
                </a:lnTo>
                <a:lnTo>
                  <a:pt x="2900041" y="960835"/>
                </a:lnTo>
                <a:lnTo>
                  <a:pt x="2904965" y="960835"/>
                </a:lnTo>
                <a:lnTo>
                  <a:pt x="2908165" y="950743"/>
                </a:lnTo>
                <a:lnTo>
                  <a:pt x="2912349" y="943112"/>
                </a:lnTo>
                <a:lnTo>
                  <a:pt x="2916534" y="936466"/>
                </a:lnTo>
                <a:close/>
                <a:moveTo>
                  <a:pt x="2505952" y="909636"/>
                </a:moveTo>
                <a:lnTo>
                  <a:pt x="2514321" y="915544"/>
                </a:lnTo>
                <a:lnTo>
                  <a:pt x="2519244" y="925636"/>
                </a:lnTo>
                <a:lnTo>
                  <a:pt x="2519244" y="940651"/>
                </a:lnTo>
                <a:lnTo>
                  <a:pt x="2519244" y="942374"/>
                </a:lnTo>
                <a:lnTo>
                  <a:pt x="2519983" y="942374"/>
                </a:lnTo>
                <a:lnTo>
                  <a:pt x="2521707" y="943113"/>
                </a:lnTo>
                <a:lnTo>
                  <a:pt x="2521707" y="944836"/>
                </a:lnTo>
                <a:lnTo>
                  <a:pt x="2521707" y="948282"/>
                </a:lnTo>
                <a:lnTo>
                  <a:pt x="2519244" y="948282"/>
                </a:lnTo>
                <a:lnTo>
                  <a:pt x="2515798" y="949021"/>
                </a:lnTo>
                <a:lnTo>
                  <a:pt x="2514321" y="952466"/>
                </a:lnTo>
                <a:lnTo>
                  <a:pt x="2511860" y="954190"/>
                </a:lnTo>
                <a:lnTo>
                  <a:pt x="2510137" y="954190"/>
                </a:lnTo>
                <a:lnTo>
                  <a:pt x="2508413" y="952466"/>
                </a:lnTo>
                <a:lnTo>
                  <a:pt x="2507675" y="952466"/>
                </a:lnTo>
                <a:lnTo>
                  <a:pt x="2505952" y="950743"/>
                </a:lnTo>
                <a:lnTo>
                  <a:pt x="2500290" y="938928"/>
                </a:lnTo>
                <a:lnTo>
                  <a:pt x="2500290" y="921452"/>
                </a:lnTo>
                <a:lnTo>
                  <a:pt x="2501768" y="918990"/>
                </a:lnTo>
                <a:lnTo>
                  <a:pt x="2503490" y="917267"/>
                </a:lnTo>
                <a:lnTo>
                  <a:pt x="2504229" y="913821"/>
                </a:lnTo>
                <a:close/>
                <a:moveTo>
                  <a:pt x="3023856" y="892159"/>
                </a:moveTo>
                <a:lnTo>
                  <a:pt x="3030503" y="899544"/>
                </a:lnTo>
                <a:lnTo>
                  <a:pt x="3035425" y="907913"/>
                </a:lnTo>
                <a:lnTo>
                  <a:pt x="3035425" y="921452"/>
                </a:lnTo>
                <a:lnTo>
                  <a:pt x="3036164" y="924652"/>
                </a:lnTo>
                <a:lnTo>
                  <a:pt x="3037887" y="924652"/>
                </a:lnTo>
                <a:lnTo>
                  <a:pt x="3037887" y="925637"/>
                </a:lnTo>
                <a:lnTo>
                  <a:pt x="3036164" y="925637"/>
                </a:lnTo>
                <a:lnTo>
                  <a:pt x="3035425" y="929083"/>
                </a:lnTo>
                <a:lnTo>
                  <a:pt x="3035425" y="931543"/>
                </a:lnTo>
                <a:lnTo>
                  <a:pt x="3033703" y="931543"/>
                </a:lnTo>
                <a:lnTo>
                  <a:pt x="3033703" y="933267"/>
                </a:lnTo>
                <a:lnTo>
                  <a:pt x="3032225" y="933267"/>
                </a:lnTo>
                <a:lnTo>
                  <a:pt x="3029519" y="934744"/>
                </a:lnTo>
                <a:lnTo>
                  <a:pt x="3028041" y="931543"/>
                </a:lnTo>
                <a:lnTo>
                  <a:pt x="3028041" y="930559"/>
                </a:lnTo>
                <a:lnTo>
                  <a:pt x="3026319" y="930559"/>
                </a:lnTo>
                <a:lnTo>
                  <a:pt x="3024595" y="930559"/>
                </a:lnTo>
                <a:lnTo>
                  <a:pt x="3023856" y="929083"/>
                </a:lnTo>
                <a:lnTo>
                  <a:pt x="3023856" y="931543"/>
                </a:lnTo>
                <a:lnTo>
                  <a:pt x="3024595" y="933267"/>
                </a:lnTo>
                <a:lnTo>
                  <a:pt x="3026319" y="934744"/>
                </a:lnTo>
                <a:lnTo>
                  <a:pt x="3028041" y="936467"/>
                </a:lnTo>
                <a:lnTo>
                  <a:pt x="3026319" y="937452"/>
                </a:lnTo>
                <a:lnTo>
                  <a:pt x="3026319" y="938929"/>
                </a:lnTo>
                <a:lnTo>
                  <a:pt x="3026319" y="940652"/>
                </a:lnTo>
                <a:lnTo>
                  <a:pt x="3026319" y="944836"/>
                </a:lnTo>
                <a:lnTo>
                  <a:pt x="3018933" y="944836"/>
                </a:lnTo>
                <a:lnTo>
                  <a:pt x="3018933" y="940652"/>
                </a:lnTo>
                <a:lnTo>
                  <a:pt x="3014749" y="938929"/>
                </a:lnTo>
                <a:lnTo>
                  <a:pt x="3010564" y="936467"/>
                </a:lnTo>
                <a:lnTo>
                  <a:pt x="3009087" y="933267"/>
                </a:lnTo>
                <a:lnTo>
                  <a:pt x="3007364" y="929083"/>
                </a:lnTo>
                <a:lnTo>
                  <a:pt x="3006626" y="924652"/>
                </a:lnTo>
                <a:lnTo>
                  <a:pt x="3003180" y="918990"/>
                </a:lnTo>
                <a:lnTo>
                  <a:pt x="2998995" y="921452"/>
                </a:lnTo>
                <a:lnTo>
                  <a:pt x="2993334" y="924652"/>
                </a:lnTo>
                <a:lnTo>
                  <a:pt x="2987426" y="925637"/>
                </a:lnTo>
                <a:lnTo>
                  <a:pt x="2981764" y="929083"/>
                </a:lnTo>
                <a:lnTo>
                  <a:pt x="2981764" y="921452"/>
                </a:lnTo>
                <a:lnTo>
                  <a:pt x="2983488" y="919729"/>
                </a:lnTo>
                <a:lnTo>
                  <a:pt x="2983488" y="918990"/>
                </a:lnTo>
                <a:lnTo>
                  <a:pt x="2984226" y="918990"/>
                </a:lnTo>
                <a:lnTo>
                  <a:pt x="2984226" y="915544"/>
                </a:lnTo>
                <a:lnTo>
                  <a:pt x="2995794" y="911360"/>
                </a:lnTo>
                <a:lnTo>
                  <a:pt x="3006626" y="907913"/>
                </a:lnTo>
                <a:lnTo>
                  <a:pt x="3016472" y="902005"/>
                </a:lnTo>
                <a:close/>
                <a:moveTo>
                  <a:pt x="2952719" y="876159"/>
                </a:moveTo>
                <a:lnTo>
                  <a:pt x="2956165" y="879359"/>
                </a:lnTo>
                <a:lnTo>
                  <a:pt x="2956904" y="879359"/>
                </a:lnTo>
                <a:lnTo>
                  <a:pt x="2958626" y="879359"/>
                </a:lnTo>
                <a:lnTo>
                  <a:pt x="2958626" y="880344"/>
                </a:lnTo>
                <a:lnTo>
                  <a:pt x="2958626" y="883543"/>
                </a:lnTo>
                <a:lnTo>
                  <a:pt x="2960350" y="886251"/>
                </a:lnTo>
                <a:lnTo>
                  <a:pt x="2951242" y="893636"/>
                </a:lnTo>
                <a:lnTo>
                  <a:pt x="2945334" y="901267"/>
                </a:lnTo>
                <a:lnTo>
                  <a:pt x="2938687" y="907175"/>
                </a:lnTo>
                <a:lnTo>
                  <a:pt x="2928103" y="913082"/>
                </a:lnTo>
                <a:lnTo>
                  <a:pt x="2928103" y="909636"/>
                </a:lnTo>
                <a:lnTo>
                  <a:pt x="2937212" y="899544"/>
                </a:lnTo>
                <a:lnTo>
                  <a:pt x="2947058" y="889451"/>
                </a:lnTo>
                <a:close/>
                <a:moveTo>
                  <a:pt x="882825" y="798867"/>
                </a:moveTo>
                <a:lnTo>
                  <a:pt x="888734" y="798867"/>
                </a:lnTo>
                <a:lnTo>
                  <a:pt x="894395" y="799852"/>
                </a:lnTo>
                <a:lnTo>
                  <a:pt x="901041" y="803052"/>
                </a:lnTo>
                <a:lnTo>
                  <a:pt x="898579" y="804776"/>
                </a:lnTo>
                <a:lnTo>
                  <a:pt x="896857" y="807236"/>
                </a:lnTo>
                <a:lnTo>
                  <a:pt x="894395" y="808960"/>
                </a:lnTo>
                <a:lnTo>
                  <a:pt x="889472" y="808960"/>
                </a:lnTo>
                <a:lnTo>
                  <a:pt x="885288" y="807236"/>
                </a:lnTo>
                <a:lnTo>
                  <a:pt x="881350" y="807236"/>
                </a:lnTo>
                <a:lnTo>
                  <a:pt x="877164" y="807236"/>
                </a:lnTo>
                <a:lnTo>
                  <a:pt x="872241" y="808960"/>
                </a:lnTo>
                <a:lnTo>
                  <a:pt x="872241" y="799852"/>
                </a:lnTo>
                <a:close/>
                <a:moveTo>
                  <a:pt x="2977580" y="789759"/>
                </a:moveTo>
                <a:lnTo>
                  <a:pt x="2981764" y="789759"/>
                </a:lnTo>
                <a:lnTo>
                  <a:pt x="2987426" y="789759"/>
                </a:lnTo>
                <a:lnTo>
                  <a:pt x="2987426" y="804775"/>
                </a:lnTo>
                <a:lnTo>
                  <a:pt x="2985948" y="814867"/>
                </a:lnTo>
                <a:lnTo>
                  <a:pt x="2983488" y="823237"/>
                </a:lnTo>
                <a:lnTo>
                  <a:pt x="2981764" y="838251"/>
                </a:lnTo>
                <a:lnTo>
                  <a:pt x="2984226" y="838251"/>
                </a:lnTo>
                <a:lnTo>
                  <a:pt x="2984226" y="840960"/>
                </a:lnTo>
                <a:lnTo>
                  <a:pt x="2989888" y="840960"/>
                </a:lnTo>
                <a:lnTo>
                  <a:pt x="2993334" y="840960"/>
                </a:lnTo>
                <a:lnTo>
                  <a:pt x="2995794" y="840960"/>
                </a:lnTo>
                <a:lnTo>
                  <a:pt x="2998995" y="842435"/>
                </a:lnTo>
                <a:lnTo>
                  <a:pt x="3001457" y="844160"/>
                </a:lnTo>
                <a:lnTo>
                  <a:pt x="3007364" y="845144"/>
                </a:lnTo>
                <a:lnTo>
                  <a:pt x="3010564" y="855974"/>
                </a:lnTo>
                <a:lnTo>
                  <a:pt x="3016472" y="862621"/>
                </a:lnTo>
                <a:lnTo>
                  <a:pt x="3023856" y="870251"/>
                </a:lnTo>
                <a:lnTo>
                  <a:pt x="3029519" y="880344"/>
                </a:lnTo>
                <a:lnTo>
                  <a:pt x="3024595" y="882066"/>
                </a:lnTo>
                <a:lnTo>
                  <a:pt x="3022133" y="883544"/>
                </a:lnTo>
                <a:lnTo>
                  <a:pt x="3020656" y="883544"/>
                </a:lnTo>
                <a:lnTo>
                  <a:pt x="3020656" y="885267"/>
                </a:lnTo>
                <a:lnTo>
                  <a:pt x="3020656" y="886252"/>
                </a:lnTo>
                <a:lnTo>
                  <a:pt x="3020656" y="887728"/>
                </a:lnTo>
                <a:lnTo>
                  <a:pt x="3017948" y="887728"/>
                </a:lnTo>
                <a:lnTo>
                  <a:pt x="3013026" y="889452"/>
                </a:lnTo>
                <a:lnTo>
                  <a:pt x="3012287" y="886252"/>
                </a:lnTo>
                <a:lnTo>
                  <a:pt x="3012287" y="885267"/>
                </a:lnTo>
                <a:lnTo>
                  <a:pt x="3010564" y="885267"/>
                </a:lnTo>
                <a:lnTo>
                  <a:pt x="3009087" y="885267"/>
                </a:lnTo>
                <a:lnTo>
                  <a:pt x="3007364" y="883544"/>
                </a:lnTo>
                <a:lnTo>
                  <a:pt x="3004903" y="889452"/>
                </a:lnTo>
                <a:lnTo>
                  <a:pt x="3003180" y="893636"/>
                </a:lnTo>
                <a:lnTo>
                  <a:pt x="3000718" y="897821"/>
                </a:lnTo>
                <a:lnTo>
                  <a:pt x="2995794" y="899544"/>
                </a:lnTo>
                <a:lnTo>
                  <a:pt x="2991611" y="902005"/>
                </a:lnTo>
                <a:lnTo>
                  <a:pt x="2991611" y="899544"/>
                </a:lnTo>
                <a:lnTo>
                  <a:pt x="2989148" y="896343"/>
                </a:lnTo>
                <a:lnTo>
                  <a:pt x="2989148" y="893636"/>
                </a:lnTo>
                <a:lnTo>
                  <a:pt x="2989148" y="892159"/>
                </a:lnTo>
                <a:lnTo>
                  <a:pt x="2989148" y="891175"/>
                </a:lnTo>
                <a:lnTo>
                  <a:pt x="2989148" y="889452"/>
                </a:lnTo>
                <a:lnTo>
                  <a:pt x="2987426" y="887728"/>
                </a:lnTo>
                <a:lnTo>
                  <a:pt x="2985948" y="887728"/>
                </a:lnTo>
                <a:lnTo>
                  <a:pt x="2981764" y="886252"/>
                </a:lnTo>
                <a:lnTo>
                  <a:pt x="2981764" y="882066"/>
                </a:lnTo>
                <a:lnTo>
                  <a:pt x="2981764" y="877882"/>
                </a:lnTo>
                <a:lnTo>
                  <a:pt x="2983488" y="874435"/>
                </a:lnTo>
                <a:lnTo>
                  <a:pt x="2983488" y="873698"/>
                </a:lnTo>
                <a:lnTo>
                  <a:pt x="2984226" y="871975"/>
                </a:lnTo>
                <a:lnTo>
                  <a:pt x="2987426" y="871975"/>
                </a:lnTo>
                <a:lnTo>
                  <a:pt x="2991611" y="870251"/>
                </a:lnTo>
                <a:lnTo>
                  <a:pt x="2997519" y="870251"/>
                </a:lnTo>
                <a:lnTo>
                  <a:pt x="2997519" y="880344"/>
                </a:lnTo>
                <a:lnTo>
                  <a:pt x="3007364" y="880344"/>
                </a:lnTo>
                <a:lnTo>
                  <a:pt x="3007364" y="877882"/>
                </a:lnTo>
                <a:lnTo>
                  <a:pt x="3009087" y="874435"/>
                </a:lnTo>
                <a:lnTo>
                  <a:pt x="3010564" y="873698"/>
                </a:lnTo>
                <a:lnTo>
                  <a:pt x="3010564" y="871975"/>
                </a:lnTo>
                <a:lnTo>
                  <a:pt x="3012287" y="870251"/>
                </a:lnTo>
                <a:lnTo>
                  <a:pt x="3013026" y="867789"/>
                </a:lnTo>
                <a:lnTo>
                  <a:pt x="3010564" y="867789"/>
                </a:lnTo>
                <a:lnTo>
                  <a:pt x="2995794" y="855974"/>
                </a:lnTo>
                <a:lnTo>
                  <a:pt x="2979303" y="848344"/>
                </a:lnTo>
                <a:lnTo>
                  <a:pt x="2979303" y="854252"/>
                </a:lnTo>
                <a:lnTo>
                  <a:pt x="2977580" y="858436"/>
                </a:lnTo>
                <a:lnTo>
                  <a:pt x="2975857" y="862621"/>
                </a:lnTo>
                <a:lnTo>
                  <a:pt x="2975857" y="867789"/>
                </a:lnTo>
                <a:lnTo>
                  <a:pt x="2974380" y="866067"/>
                </a:lnTo>
                <a:lnTo>
                  <a:pt x="2973396" y="864344"/>
                </a:lnTo>
                <a:lnTo>
                  <a:pt x="2973396" y="862621"/>
                </a:lnTo>
                <a:lnTo>
                  <a:pt x="2971918" y="861883"/>
                </a:lnTo>
                <a:lnTo>
                  <a:pt x="2967734" y="850806"/>
                </a:lnTo>
                <a:lnTo>
                  <a:pt x="2962810" y="838251"/>
                </a:lnTo>
                <a:lnTo>
                  <a:pt x="2961826" y="821513"/>
                </a:lnTo>
                <a:lnTo>
                  <a:pt x="2962810" y="807236"/>
                </a:lnTo>
                <a:lnTo>
                  <a:pt x="2968472" y="792959"/>
                </a:lnTo>
                <a:lnTo>
                  <a:pt x="2973396" y="791237"/>
                </a:lnTo>
                <a:close/>
                <a:moveTo>
                  <a:pt x="835074" y="789759"/>
                </a:moveTo>
                <a:lnTo>
                  <a:pt x="840735" y="789759"/>
                </a:lnTo>
                <a:lnTo>
                  <a:pt x="846643" y="791237"/>
                </a:lnTo>
                <a:lnTo>
                  <a:pt x="852305" y="791237"/>
                </a:lnTo>
                <a:lnTo>
                  <a:pt x="856490" y="792959"/>
                </a:lnTo>
                <a:lnTo>
                  <a:pt x="856490" y="799852"/>
                </a:lnTo>
                <a:lnTo>
                  <a:pt x="835074" y="799852"/>
                </a:lnTo>
                <a:close/>
                <a:moveTo>
                  <a:pt x="713473" y="789759"/>
                </a:moveTo>
                <a:lnTo>
                  <a:pt x="721104" y="791237"/>
                </a:lnTo>
                <a:lnTo>
                  <a:pt x="725043" y="793944"/>
                </a:lnTo>
                <a:lnTo>
                  <a:pt x="730950" y="797144"/>
                </a:lnTo>
                <a:lnTo>
                  <a:pt x="735873" y="799852"/>
                </a:lnTo>
                <a:lnTo>
                  <a:pt x="735873" y="803052"/>
                </a:lnTo>
                <a:lnTo>
                  <a:pt x="730212" y="803052"/>
                </a:lnTo>
                <a:lnTo>
                  <a:pt x="725043" y="804776"/>
                </a:lnTo>
                <a:lnTo>
                  <a:pt x="721104" y="805515"/>
                </a:lnTo>
                <a:lnTo>
                  <a:pt x="718642" y="804776"/>
                </a:lnTo>
                <a:lnTo>
                  <a:pt x="712735" y="804776"/>
                </a:lnTo>
                <a:lnTo>
                  <a:pt x="707812" y="803052"/>
                </a:lnTo>
                <a:lnTo>
                  <a:pt x="707812" y="792959"/>
                </a:lnTo>
                <a:lnTo>
                  <a:pt x="709535" y="792959"/>
                </a:lnTo>
                <a:lnTo>
                  <a:pt x="711012" y="791237"/>
                </a:lnTo>
                <a:lnTo>
                  <a:pt x="712735" y="791237"/>
                </a:lnTo>
                <a:close/>
                <a:moveTo>
                  <a:pt x="763934" y="776221"/>
                </a:moveTo>
                <a:lnTo>
                  <a:pt x="781411" y="777945"/>
                </a:lnTo>
                <a:lnTo>
                  <a:pt x="796181" y="781391"/>
                </a:lnTo>
                <a:lnTo>
                  <a:pt x="807751" y="785575"/>
                </a:lnTo>
                <a:lnTo>
                  <a:pt x="821781" y="789760"/>
                </a:lnTo>
                <a:lnTo>
                  <a:pt x="821781" y="797144"/>
                </a:lnTo>
                <a:lnTo>
                  <a:pt x="816120" y="797144"/>
                </a:lnTo>
                <a:lnTo>
                  <a:pt x="813412" y="798867"/>
                </a:lnTo>
                <a:lnTo>
                  <a:pt x="809474" y="799852"/>
                </a:lnTo>
                <a:lnTo>
                  <a:pt x="806028" y="801330"/>
                </a:lnTo>
                <a:lnTo>
                  <a:pt x="803565" y="803052"/>
                </a:lnTo>
                <a:lnTo>
                  <a:pt x="798643" y="803052"/>
                </a:lnTo>
                <a:lnTo>
                  <a:pt x="798643" y="801330"/>
                </a:lnTo>
                <a:lnTo>
                  <a:pt x="798643" y="799852"/>
                </a:lnTo>
                <a:lnTo>
                  <a:pt x="797904" y="798867"/>
                </a:lnTo>
                <a:lnTo>
                  <a:pt x="796181" y="797144"/>
                </a:lnTo>
                <a:lnTo>
                  <a:pt x="794458" y="795667"/>
                </a:lnTo>
                <a:lnTo>
                  <a:pt x="792981" y="797144"/>
                </a:lnTo>
                <a:lnTo>
                  <a:pt x="790519" y="805513"/>
                </a:lnTo>
                <a:lnTo>
                  <a:pt x="786335" y="805513"/>
                </a:lnTo>
                <a:lnTo>
                  <a:pt x="775504" y="804776"/>
                </a:lnTo>
                <a:lnTo>
                  <a:pt x="763934" y="803052"/>
                </a:lnTo>
                <a:lnTo>
                  <a:pt x="755812" y="803052"/>
                </a:lnTo>
                <a:lnTo>
                  <a:pt x="751627" y="792959"/>
                </a:lnTo>
                <a:lnTo>
                  <a:pt x="759011" y="792959"/>
                </a:lnTo>
                <a:lnTo>
                  <a:pt x="763934" y="792959"/>
                </a:lnTo>
                <a:lnTo>
                  <a:pt x="769842" y="791237"/>
                </a:lnTo>
                <a:lnTo>
                  <a:pt x="774765" y="789760"/>
                </a:lnTo>
                <a:lnTo>
                  <a:pt x="771319" y="788037"/>
                </a:lnTo>
                <a:lnTo>
                  <a:pt x="768858" y="785575"/>
                </a:lnTo>
                <a:lnTo>
                  <a:pt x="767381" y="783853"/>
                </a:lnTo>
                <a:lnTo>
                  <a:pt x="765658" y="781391"/>
                </a:lnTo>
                <a:close/>
                <a:moveTo>
                  <a:pt x="663259" y="735114"/>
                </a:moveTo>
                <a:lnTo>
                  <a:pt x="686398" y="740283"/>
                </a:lnTo>
                <a:lnTo>
                  <a:pt x="707074" y="746929"/>
                </a:lnTo>
                <a:lnTo>
                  <a:pt x="722582" y="754314"/>
                </a:lnTo>
                <a:lnTo>
                  <a:pt x="738335" y="761944"/>
                </a:lnTo>
                <a:lnTo>
                  <a:pt x="755813" y="770315"/>
                </a:lnTo>
                <a:lnTo>
                  <a:pt x="755813" y="776221"/>
                </a:lnTo>
                <a:lnTo>
                  <a:pt x="748182" y="776221"/>
                </a:lnTo>
                <a:lnTo>
                  <a:pt x="740059" y="779668"/>
                </a:lnTo>
                <a:lnTo>
                  <a:pt x="730212" y="782130"/>
                </a:lnTo>
                <a:lnTo>
                  <a:pt x="719382" y="783853"/>
                </a:lnTo>
                <a:lnTo>
                  <a:pt x="721105" y="781392"/>
                </a:lnTo>
                <a:lnTo>
                  <a:pt x="721105" y="777945"/>
                </a:lnTo>
                <a:lnTo>
                  <a:pt x="721105" y="776221"/>
                </a:lnTo>
                <a:lnTo>
                  <a:pt x="721105" y="775484"/>
                </a:lnTo>
                <a:lnTo>
                  <a:pt x="721105" y="773761"/>
                </a:lnTo>
                <a:lnTo>
                  <a:pt x="719382" y="770315"/>
                </a:lnTo>
                <a:lnTo>
                  <a:pt x="697966" y="764406"/>
                </a:lnTo>
                <a:lnTo>
                  <a:pt x="678028" y="754314"/>
                </a:lnTo>
                <a:lnTo>
                  <a:pt x="656613" y="744468"/>
                </a:lnTo>
                <a:lnTo>
                  <a:pt x="651689" y="748653"/>
                </a:lnTo>
                <a:lnTo>
                  <a:pt x="649228" y="752837"/>
                </a:lnTo>
                <a:lnTo>
                  <a:pt x="645043" y="757760"/>
                </a:lnTo>
                <a:lnTo>
                  <a:pt x="640120" y="756038"/>
                </a:lnTo>
                <a:lnTo>
                  <a:pt x="634212" y="752837"/>
                </a:lnTo>
                <a:lnTo>
                  <a:pt x="631751" y="751853"/>
                </a:lnTo>
                <a:lnTo>
                  <a:pt x="637659" y="751853"/>
                </a:lnTo>
                <a:lnTo>
                  <a:pt x="641597" y="745945"/>
                </a:lnTo>
                <a:lnTo>
                  <a:pt x="645781" y="742745"/>
                </a:lnTo>
                <a:lnTo>
                  <a:pt x="650704" y="738560"/>
                </a:lnTo>
                <a:lnTo>
                  <a:pt x="654889" y="738560"/>
                </a:lnTo>
                <a:lnTo>
                  <a:pt x="657351" y="736837"/>
                </a:lnTo>
                <a:lnTo>
                  <a:pt x="660797" y="736837"/>
                </a:lnTo>
                <a:close/>
                <a:moveTo>
                  <a:pt x="707812" y="712468"/>
                </a:moveTo>
                <a:lnTo>
                  <a:pt x="712736" y="714929"/>
                </a:lnTo>
                <a:lnTo>
                  <a:pt x="715197" y="718376"/>
                </a:lnTo>
                <a:lnTo>
                  <a:pt x="718643" y="720838"/>
                </a:lnTo>
                <a:lnTo>
                  <a:pt x="719382" y="725023"/>
                </a:lnTo>
                <a:lnTo>
                  <a:pt x="719382" y="732654"/>
                </a:lnTo>
                <a:lnTo>
                  <a:pt x="713473" y="732654"/>
                </a:lnTo>
                <a:lnTo>
                  <a:pt x="712736" y="728469"/>
                </a:lnTo>
                <a:lnTo>
                  <a:pt x="711012" y="726745"/>
                </a:lnTo>
                <a:lnTo>
                  <a:pt x="709535" y="724284"/>
                </a:lnTo>
                <a:lnTo>
                  <a:pt x="707812" y="720838"/>
                </a:lnTo>
                <a:lnTo>
                  <a:pt x="707812" y="718376"/>
                </a:lnTo>
                <a:close/>
                <a:moveTo>
                  <a:pt x="2981766" y="706561"/>
                </a:moveTo>
                <a:lnTo>
                  <a:pt x="2984227" y="709022"/>
                </a:lnTo>
                <a:lnTo>
                  <a:pt x="2985950" y="712468"/>
                </a:lnTo>
                <a:lnTo>
                  <a:pt x="2987428" y="714930"/>
                </a:lnTo>
                <a:lnTo>
                  <a:pt x="2987428" y="719115"/>
                </a:lnTo>
                <a:lnTo>
                  <a:pt x="2987428" y="725022"/>
                </a:lnTo>
                <a:lnTo>
                  <a:pt x="2975858" y="754316"/>
                </a:lnTo>
                <a:lnTo>
                  <a:pt x="2970196" y="746931"/>
                </a:lnTo>
                <a:lnTo>
                  <a:pt x="2967735" y="740284"/>
                </a:lnTo>
                <a:lnTo>
                  <a:pt x="2966011" y="728469"/>
                </a:lnTo>
                <a:close/>
                <a:moveTo>
                  <a:pt x="701166" y="693268"/>
                </a:moveTo>
                <a:lnTo>
                  <a:pt x="719382" y="693268"/>
                </a:lnTo>
                <a:lnTo>
                  <a:pt x="721104" y="695729"/>
                </a:lnTo>
                <a:lnTo>
                  <a:pt x="724304" y="697452"/>
                </a:lnTo>
                <a:lnTo>
                  <a:pt x="724304" y="699176"/>
                </a:lnTo>
                <a:lnTo>
                  <a:pt x="725043" y="700652"/>
                </a:lnTo>
                <a:lnTo>
                  <a:pt x="725043" y="701637"/>
                </a:lnTo>
                <a:lnTo>
                  <a:pt x="724304" y="703361"/>
                </a:lnTo>
                <a:lnTo>
                  <a:pt x="724304" y="706561"/>
                </a:lnTo>
                <a:lnTo>
                  <a:pt x="719382" y="703361"/>
                </a:lnTo>
                <a:lnTo>
                  <a:pt x="715197" y="701637"/>
                </a:lnTo>
                <a:lnTo>
                  <a:pt x="711012" y="701637"/>
                </a:lnTo>
                <a:lnTo>
                  <a:pt x="707812" y="700652"/>
                </a:lnTo>
                <a:lnTo>
                  <a:pt x="705350" y="700652"/>
                </a:lnTo>
                <a:lnTo>
                  <a:pt x="701904" y="699176"/>
                </a:lnTo>
                <a:lnTo>
                  <a:pt x="701166" y="695729"/>
                </a:lnTo>
                <a:close/>
                <a:moveTo>
                  <a:pt x="3074318" y="638622"/>
                </a:moveTo>
                <a:lnTo>
                  <a:pt x="3076780" y="640346"/>
                </a:lnTo>
                <a:lnTo>
                  <a:pt x="3078256" y="640346"/>
                </a:lnTo>
                <a:lnTo>
                  <a:pt x="3078256" y="642068"/>
                </a:lnTo>
                <a:lnTo>
                  <a:pt x="3079980" y="644530"/>
                </a:lnTo>
                <a:lnTo>
                  <a:pt x="3079980" y="647977"/>
                </a:lnTo>
                <a:lnTo>
                  <a:pt x="3078256" y="652161"/>
                </a:lnTo>
                <a:lnTo>
                  <a:pt x="3075056" y="656345"/>
                </a:lnTo>
                <a:lnTo>
                  <a:pt x="3074318" y="660530"/>
                </a:lnTo>
                <a:lnTo>
                  <a:pt x="3066687" y="660530"/>
                </a:lnTo>
                <a:lnTo>
                  <a:pt x="3066687" y="650438"/>
                </a:lnTo>
                <a:lnTo>
                  <a:pt x="3069395" y="649454"/>
                </a:lnTo>
                <a:lnTo>
                  <a:pt x="3070871" y="646253"/>
                </a:lnTo>
                <a:lnTo>
                  <a:pt x="3072596" y="643792"/>
                </a:lnTo>
                <a:close/>
                <a:moveTo>
                  <a:pt x="3035426" y="599238"/>
                </a:moveTo>
                <a:lnTo>
                  <a:pt x="3045272" y="599238"/>
                </a:lnTo>
                <a:lnTo>
                  <a:pt x="3045272" y="609331"/>
                </a:lnTo>
                <a:lnTo>
                  <a:pt x="3032226" y="609331"/>
                </a:lnTo>
                <a:lnTo>
                  <a:pt x="3032226" y="602684"/>
                </a:lnTo>
                <a:lnTo>
                  <a:pt x="3035426" y="602684"/>
                </a:lnTo>
                <a:close/>
                <a:moveTo>
                  <a:pt x="1985586" y="571424"/>
                </a:moveTo>
                <a:lnTo>
                  <a:pt x="1992971" y="571424"/>
                </a:lnTo>
                <a:lnTo>
                  <a:pt x="1989771" y="575609"/>
                </a:lnTo>
                <a:lnTo>
                  <a:pt x="1987309" y="579053"/>
                </a:lnTo>
                <a:lnTo>
                  <a:pt x="1983863" y="581514"/>
                </a:lnTo>
                <a:lnTo>
                  <a:pt x="1981401" y="584961"/>
                </a:lnTo>
                <a:lnTo>
                  <a:pt x="1976479" y="587422"/>
                </a:lnTo>
                <a:lnTo>
                  <a:pt x="1974017" y="587422"/>
                </a:lnTo>
                <a:lnTo>
                  <a:pt x="1974017" y="589145"/>
                </a:lnTo>
                <a:lnTo>
                  <a:pt x="1972294" y="589145"/>
                </a:lnTo>
                <a:lnTo>
                  <a:pt x="1969832" y="589145"/>
                </a:lnTo>
                <a:lnTo>
                  <a:pt x="1966632" y="590868"/>
                </a:lnTo>
                <a:lnTo>
                  <a:pt x="1964171" y="579792"/>
                </a:lnTo>
                <a:lnTo>
                  <a:pt x="1969832" y="579053"/>
                </a:lnTo>
                <a:lnTo>
                  <a:pt x="1975740" y="575609"/>
                </a:lnTo>
                <a:lnTo>
                  <a:pt x="1981401" y="574133"/>
                </a:lnTo>
                <a:close/>
                <a:moveTo>
                  <a:pt x="1865710" y="567240"/>
                </a:moveTo>
                <a:lnTo>
                  <a:pt x="1873341" y="569949"/>
                </a:lnTo>
                <a:lnTo>
                  <a:pt x="1881464" y="573149"/>
                </a:lnTo>
                <a:lnTo>
                  <a:pt x="1891310" y="575609"/>
                </a:lnTo>
                <a:lnTo>
                  <a:pt x="1897218" y="579793"/>
                </a:lnTo>
                <a:lnTo>
                  <a:pt x="1874080" y="579793"/>
                </a:lnTo>
                <a:lnTo>
                  <a:pt x="1871618" y="579053"/>
                </a:lnTo>
                <a:lnTo>
                  <a:pt x="1869895" y="579053"/>
                </a:lnTo>
                <a:lnTo>
                  <a:pt x="1867434" y="577331"/>
                </a:lnTo>
                <a:lnTo>
                  <a:pt x="1861772" y="577331"/>
                </a:lnTo>
                <a:lnTo>
                  <a:pt x="1861772" y="574133"/>
                </a:lnTo>
                <a:lnTo>
                  <a:pt x="1863249" y="573149"/>
                </a:lnTo>
                <a:lnTo>
                  <a:pt x="1864233" y="571425"/>
                </a:lnTo>
                <a:lnTo>
                  <a:pt x="1864233" y="569949"/>
                </a:lnTo>
                <a:close/>
                <a:moveTo>
                  <a:pt x="1608239" y="510379"/>
                </a:moveTo>
                <a:lnTo>
                  <a:pt x="1627932" y="510379"/>
                </a:lnTo>
                <a:lnTo>
                  <a:pt x="1627932" y="512840"/>
                </a:lnTo>
                <a:lnTo>
                  <a:pt x="1623747" y="514564"/>
                </a:lnTo>
                <a:lnTo>
                  <a:pt x="1622269" y="516041"/>
                </a:lnTo>
                <a:lnTo>
                  <a:pt x="1619561" y="517025"/>
                </a:lnTo>
                <a:lnTo>
                  <a:pt x="1616362" y="518748"/>
                </a:lnTo>
                <a:lnTo>
                  <a:pt x="1612177" y="518748"/>
                </a:lnTo>
                <a:close/>
                <a:moveTo>
                  <a:pt x="1913957" y="493394"/>
                </a:moveTo>
                <a:lnTo>
                  <a:pt x="1912234" y="495118"/>
                </a:lnTo>
                <a:lnTo>
                  <a:pt x="1910511" y="496840"/>
                </a:lnTo>
                <a:lnTo>
                  <a:pt x="1908787" y="496840"/>
                </a:lnTo>
                <a:lnTo>
                  <a:pt x="1908787" y="498563"/>
                </a:lnTo>
                <a:lnTo>
                  <a:pt x="1908049" y="499302"/>
                </a:lnTo>
                <a:lnTo>
                  <a:pt x="1906819" y="502749"/>
                </a:lnTo>
                <a:lnTo>
                  <a:pt x="1909280" y="502749"/>
                </a:lnTo>
                <a:lnTo>
                  <a:pt x="1914203" y="501025"/>
                </a:lnTo>
                <a:lnTo>
                  <a:pt x="1916665" y="499302"/>
                </a:lnTo>
                <a:lnTo>
                  <a:pt x="1919864" y="498563"/>
                </a:lnTo>
                <a:lnTo>
                  <a:pt x="1922326" y="496840"/>
                </a:lnTo>
                <a:lnTo>
                  <a:pt x="1925526" y="493394"/>
                </a:lnTo>
                <a:close/>
                <a:moveTo>
                  <a:pt x="1697345" y="493394"/>
                </a:moveTo>
                <a:lnTo>
                  <a:pt x="1701530" y="493394"/>
                </a:lnTo>
                <a:lnTo>
                  <a:pt x="1707192" y="493394"/>
                </a:lnTo>
                <a:lnTo>
                  <a:pt x="1708914" y="506934"/>
                </a:lnTo>
                <a:lnTo>
                  <a:pt x="1710639" y="522933"/>
                </a:lnTo>
                <a:lnTo>
                  <a:pt x="1703008" y="522933"/>
                </a:lnTo>
                <a:lnTo>
                  <a:pt x="1701530" y="524410"/>
                </a:lnTo>
                <a:lnTo>
                  <a:pt x="1699068" y="524410"/>
                </a:lnTo>
                <a:lnTo>
                  <a:pt x="1695621" y="524410"/>
                </a:lnTo>
                <a:lnTo>
                  <a:pt x="1691438" y="526133"/>
                </a:lnTo>
                <a:lnTo>
                  <a:pt x="1689960" y="514564"/>
                </a:lnTo>
                <a:lnTo>
                  <a:pt x="1689960" y="502749"/>
                </a:lnTo>
                <a:lnTo>
                  <a:pt x="1691438" y="496840"/>
                </a:lnTo>
                <a:lnTo>
                  <a:pt x="1693899" y="495118"/>
                </a:lnTo>
                <a:close/>
                <a:moveTo>
                  <a:pt x="1699807" y="464841"/>
                </a:moveTo>
                <a:lnTo>
                  <a:pt x="1707192" y="464841"/>
                </a:lnTo>
                <a:lnTo>
                  <a:pt x="1705468" y="470750"/>
                </a:lnTo>
                <a:lnTo>
                  <a:pt x="1705468" y="474934"/>
                </a:lnTo>
                <a:lnTo>
                  <a:pt x="1705468" y="479119"/>
                </a:lnTo>
                <a:lnTo>
                  <a:pt x="1704729" y="482565"/>
                </a:lnTo>
                <a:lnTo>
                  <a:pt x="1703007" y="486750"/>
                </a:lnTo>
                <a:lnTo>
                  <a:pt x="1697345" y="486750"/>
                </a:lnTo>
                <a:lnTo>
                  <a:pt x="1697345" y="480841"/>
                </a:lnTo>
                <a:lnTo>
                  <a:pt x="1699068" y="474934"/>
                </a:lnTo>
                <a:lnTo>
                  <a:pt x="1699068" y="469272"/>
                </a:lnTo>
                <a:close/>
                <a:moveTo>
                  <a:pt x="757274" y="424736"/>
                </a:moveTo>
                <a:lnTo>
                  <a:pt x="755814" y="426195"/>
                </a:lnTo>
                <a:lnTo>
                  <a:pt x="754104" y="427905"/>
                </a:lnTo>
                <a:lnTo>
                  <a:pt x="755812" y="426441"/>
                </a:lnTo>
                <a:close/>
                <a:moveTo>
                  <a:pt x="3219548" y="424717"/>
                </a:moveTo>
                <a:lnTo>
                  <a:pt x="3226933" y="435548"/>
                </a:lnTo>
                <a:lnTo>
                  <a:pt x="3233579" y="441455"/>
                </a:lnTo>
                <a:lnTo>
                  <a:pt x="3242687" y="443917"/>
                </a:lnTo>
                <a:lnTo>
                  <a:pt x="3248595" y="447363"/>
                </a:lnTo>
                <a:lnTo>
                  <a:pt x="3254257" y="451548"/>
                </a:lnTo>
                <a:lnTo>
                  <a:pt x="3255979" y="454009"/>
                </a:lnTo>
                <a:lnTo>
                  <a:pt x="3256717" y="457455"/>
                </a:lnTo>
                <a:lnTo>
                  <a:pt x="3256717" y="459917"/>
                </a:lnTo>
                <a:lnTo>
                  <a:pt x="3256717" y="464840"/>
                </a:lnTo>
                <a:lnTo>
                  <a:pt x="3246871" y="467548"/>
                </a:lnTo>
                <a:lnTo>
                  <a:pt x="3239487" y="473455"/>
                </a:lnTo>
                <a:lnTo>
                  <a:pt x="3233579" y="479117"/>
                </a:lnTo>
                <a:lnTo>
                  <a:pt x="3225457" y="483301"/>
                </a:lnTo>
                <a:lnTo>
                  <a:pt x="3222010" y="479117"/>
                </a:lnTo>
                <a:lnTo>
                  <a:pt x="3219548" y="477639"/>
                </a:lnTo>
                <a:lnTo>
                  <a:pt x="3217087" y="476655"/>
                </a:lnTo>
                <a:lnTo>
                  <a:pt x="3213887" y="477639"/>
                </a:lnTo>
                <a:lnTo>
                  <a:pt x="3211426" y="479117"/>
                </a:lnTo>
                <a:lnTo>
                  <a:pt x="3209702" y="482563"/>
                </a:lnTo>
                <a:lnTo>
                  <a:pt x="3206502" y="483301"/>
                </a:lnTo>
                <a:lnTo>
                  <a:pt x="3211426" y="501024"/>
                </a:lnTo>
                <a:lnTo>
                  <a:pt x="3212164" y="514563"/>
                </a:lnTo>
                <a:lnTo>
                  <a:pt x="3212164" y="524409"/>
                </a:lnTo>
                <a:lnTo>
                  <a:pt x="3211426" y="534501"/>
                </a:lnTo>
                <a:lnTo>
                  <a:pt x="3207980" y="545578"/>
                </a:lnTo>
                <a:lnTo>
                  <a:pt x="3205518" y="559855"/>
                </a:lnTo>
                <a:lnTo>
                  <a:pt x="3203795" y="577330"/>
                </a:lnTo>
                <a:lnTo>
                  <a:pt x="3184841" y="587423"/>
                </a:lnTo>
                <a:lnTo>
                  <a:pt x="3163425" y="597515"/>
                </a:lnTo>
                <a:lnTo>
                  <a:pt x="3142749" y="606868"/>
                </a:lnTo>
                <a:lnTo>
                  <a:pt x="3138564" y="599238"/>
                </a:lnTo>
                <a:lnTo>
                  <a:pt x="3134625" y="593330"/>
                </a:lnTo>
                <a:lnTo>
                  <a:pt x="3132903" y="599238"/>
                </a:lnTo>
                <a:lnTo>
                  <a:pt x="3132903" y="602684"/>
                </a:lnTo>
                <a:lnTo>
                  <a:pt x="3132165" y="606868"/>
                </a:lnTo>
                <a:lnTo>
                  <a:pt x="3130441" y="609330"/>
                </a:lnTo>
                <a:lnTo>
                  <a:pt x="3126257" y="609330"/>
                </a:lnTo>
                <a:lnTo>
                  <a:pt x="3123056" y="609330"/>
                </a:lnTo>
                <a:lnTo>
                  <a:pt x="3121333" y="611053"/>
                </a:lnTo>
                <a:lnTo>
                  <a:pt x="3120595" y="611053"/>
                </a:lnTo>
                <a:lnTo>
                  <a:pt x="3118873" y="612530"/>
                </a:lnTo>
                <a:lnTo>
                  <a:pt x="3117149" y="614253"/>
                </a:lnTo>
                <a:lnTo>
                  <a:pt x="3112964" y="614253"/>
                </a:lnTo>
                <a:lnTo>
                  <a:pt x="3109026" y="615238"/>
                </a:lnTo>
                <a:lnTo>
                  <a:pt x="3107303" y="612530"/>
                </a:lnTo>
                <a:lnTo>
                  <a:pt x="3107303" y="608346"/>
                </a:lnTo>
                <a:lnTo>
                  <a:pt x="3107303" y="606868"/>
                </a:lnTo>
                <a:lnTo>
                  <a:pt x="3107303" y="603422"/>
                </a:lnTo>
                <a:lnTo>
                  <a:pt x="3107303" y="602684"/>
                </a:lnTo>
                <a:lnTo>
                  <a:pt x="3103856" y="602684"/>
                </a:lnTo>
                <a:lnTo>
                  <a:pt x="3101395" y="600961"/>
                </a:lnTo>
                <a:lnTo>
                  <a:pt x="3095734" y="599238"/>
                </a:lnTo>
                <a:lnTo>
                  <a:pt x="3095734" y="602684"/>
                </a:lnTo>
                <a:lnTo>
                  <a:pt x="3098194" y="606868"/>
                </a:lnTo>
                <a:lnTo>
                  <a:pt x="3101395" y="608346"/>
                </a:lnTo>
                <a:lnTo>
                  <a:pt x="3101395" y="611053"/>
                </a:lnTo>
                <a:lnTo>
                  <a:pt x="3101395" y="615238"/>
                </a:lnTo>
                <a:lnTo>
                  <a:pt x="3103118" y="622623"/>
                </a:lnTo>
                <a:lnTo>
                  <a:pt x="3098194" y="626807"/>
                </a:lnTo>
                <a:lnTo>
                  <a:pt x="3095734" y="632715"/>
                </a:lnTo>
                <a:lnTo>
                  <a:pt x="3092288" y="638621"/>
                </a:lnTo>
                <a:lnTo>
                  <a:pt x="3082442" y="638621"/>
                </a:lnTo>
                <a:lnTo>
                  <a:pt x="3080964" y="626807"/>
                </a:lnTo>
                <a:lnTo>
                  <a:pt x="3079980" y="620899"/>
                </a:lnTo>
                <a:lnTo>
                  <a:pt x="3076779" y="615238"/>
                </a:lnTo>
                <a:lnTo>
                  <a:pt x="3074318" y="606868"/>
                </a:lnTo>
                <a:lnTo>
                  <a:pt x="3082442" y="606868"/>
                </a:lnTo>
                <a:lnTo>
                  <a:pt x="3092288" y="593330"/>
                </a:lnTo>
                <a:lnTo>
                  <a:pt x="3105579" y="581515"/>
                </a:lnTo>
                <a:lnTo>
                  <a:pt x="3121333" y="574132"/>
                </a:lnTo>
                <a:lnTo>
                  <a:pt x="3126994" y="573148"/>
                </a:lnTo>
                <a:lnTo>
                  <a:pt x="3132903" y="573148"/>
                </a:lnTo>
                <a:lnTo>
                  <a:pt x="3137825" y="574132"/>
                </a:lnTo>
                <a:lnTo>
                  <a:pt x="3140288" y="574132"/>
                </a:lnTo>
                <a:lnTo>
                  <a:pt x="3142749" y="574132"/>
                </a:lnTo>
                <a:lnTo>
                  <a:pt x="3146195" y="569947"/>
                </a:lnTo>
                <a:lnTo>
                  <a:pt x="3148656" y="565763"/>
                </a:lnTo>
                <a:lnTo>
                  <a:pt x="3150133" y="561331"/>
                </a:lnTo>
                <a:lnTo>
                  <a:pt x="3151856" y="558132"/>
                </a:lnTo>
                <a:lnTo>
                  <a:pt x="3154318" y="553947"/>
                </a:lnTo>
                <a:lnTo>
                  <a:pt x="3159241" y="551486"/>
                </a:lnTo>
                <a:lnTo>
                  <a:pt x="3160226" y="553947"/>
                </a:lnTo>
                <a:lnTo>
                  <a:pt x="3161703" y="555671"/>
                </a:lnTo>
                <a:lnTo>
                  <a:pt x="3163425" y="555671"/>
                </a:lnTo>
                <a:lnTo>
                  <a:pt x="3165150" y="555671"/>
                </a:lnTo>
                <a:lnTo>
                  <a:pt x="3165887" y="553947"/>
                </a:lnTo>
                <a:lnTo>
                  <a:pt x="3177456" y="543855"/>
                </a:lnTo>
                <a:lnTo>
                  <a:pt x="3184841" y="534501"/>
                </a:lnTo>
                <a:lnTo>
                  <a:pt x="3188288" y="524409"/>
                </a:lnTo>
                <a:lnTo>
                  <a:pt x="3190748" y="512840"/>
                </a:lnTo>
                <a:lnTo>
                  <a:pt x="3194933" y="502747"/>
                </a:lnTo>
                <a:lnTo>
                  <a:pt x="3203795" y="489209"/>
                </a:lnTo>
                <a:lnTo>
                  <a:pt x="3198133" y="489209"/>
                </a:lnTo>
                <a:lnTo>
                  <a:pt x="3193949" y="486747"/>
                </a:lnTo>
                <a:lnTo>
                  <a:pt x="3192472" y="483301"/>
                </a:lnTo>
                <a:lnTo>
                  <a:pt x="3190748" y="480841"/>
                </a:lnTo>
                <a:lnTo>
                  <a:pt x="3190748" y="474932"/>
                </a:lnTo>
                <a:lnTo>
                  <a:pt x="3190748" y="467548"/>
                </a:lnTo>
                <a:lnTo>
                  <a:pt x="3192472" y="465824"/>
                </a:lnTo>
                <a:lnTo>
                  <a:pt x="3193949" y="464840"/>
                </a:lnTo>
                <a:lnTo>
                  <a:pt x="3193949" y="463363"/>
                </a:lnTo>
                <a:lnTo>
                  <a:pt x="3193949" y="461640"/>
                </a:lnTo>
                <a:lnTo>
                  <a:pt x="3199856" y="459917"/>
                </a:lnTo>
                <a:lnTo>
                  <a:pt x="3203795" y="459917"/>
                </a:lnTo>
                <a:lnTo>
                  <a:pt x="3206502" y="459178"/>
                </a:lnTo>
                <a:lnTo>
                  <a:pt x="3209702" y="459178"/>
                </a:lnTo>
                <a:lnTo>
                  <a:pt x="3209702" y="443917"/>
                </a:lnTo>
                <a:lnTo>
                  <a:pt x="3212164" y="432348"/>
                </a:lnTo>
                <a:close/>
                <a:moveTo>
                  <a:pt x="763197" y="422258"/>
                </a:moveTo>
                <a:lnTo>
                  <a:pt x="761474" y="423733"/>
                </a:lnTo>
                <a:lnTo>
                  <a:pt x="759751" y="426442"/>
                </a:lnTo>
                <a:lnTo>
                  <a:pt x="759751" y="427918"/>
                </a:lnTo>
                <a:lnTo>
                  <a:pt x="759071" y="432000"/>
                </a:lnTo>
                <a:lnTo>
                  <a:pt x="759260" y="432103"/>
                </a:lnTo>
                <a:lnTo>
                  <a:pt x="759999" y="427918"/>
                </a:lnTo>
                <a:lnTo>
                  <a:pt x="759999" y="426195"/>
                </a:lnTo>
                <a:lnTo>
                  <a:pt x="761721" y="423733"/>
                </a:lnTo>
                <a:close/>
                <a:moveTo>
                  <a:pt x="1749281" y="422010"/>
                </a:moveTo>
                <a:lnTo>
                  <a:pt x="1748542" y="423733"/>
                </a:lnTo>
                <a:lnTo>
                  <a:pt x="1746819" y="423733"/>
                </a:lnTo>
                <a:lnTo>
                  <a:pt x="1745097" y="423733"/>
                </a:lnTo>
                <a:lnTo>
                  <a:pt x="1745097" y="424472"/>
                </a:lnTo>
                <a:lnTo>
                  <a:pt x="1743373" y="424472"/>
                </a:lnTo>
                <a:lnTo>
                  <a:pt x="1740911" y="427918"/>
                </a:lnTo>
                <a:lnTo>
                  <a:pt x="1737711" y="429640"/>
                </a:lnTo>
                <a:lnTo>
                  <a:pt x="1737711" y="430379"/>
                </a:lnTo>
                <a:lnTo>
                  <a:pt x="1737711" y="433825"/>
                </a:lnTo>
                <a:lnTo>
                  <a:pt x="1737711" y="436286"/>
                </a:lnTo>
                <a:lnTo>
                  <a:pt x="1737711" y="441210"/>
                </a:lnTo>
                <a:lnTo>
                  <a:pt x="1749281" y="453026"/>
                </a:lnTo>
                <a:lnTo>
                  <a:pt x="1760112" y="465578"/>
                </a:lnTo>
                <a:lnTo>
                  <a:pt x="1769958" y="480595"/>
                </a:lnTo>
                <a:lnTo>
                  <a:pt x="1781527" y="480595"/>
                </a:lnTo>
                <a:lnTo>
                  <a:pt x="1781527" y="488964"/>
                </a:lnTo>
                <a:lnTo>
                  <a:pt x="1793096" y="493147"/>
                </a:lnTo>
                <a:lnTo>
                  <a:pt x="1801465" y="499056"/>
                </a:lnTo>
                <a:lnTo>
                  <a:pt x="1810572" y="506687"/>
                </a:lnTo>
                <a:lnTo>
                  <a:pt x="1810572" y="510133"/>
                </a:lnTo>
                <a:lnTo>
                  <a:pt x="1807373" y="510133"/>
                </a:lnTo>
                <a:lnTo>
                  <a:pt x="1804911" y="510133"/>
                </a:lnTo>
                <a:lnTo>
                  <a:pt x="1801711" y="510133"/>
                </a:lnTo>
                <a:lnTo>
                  <a:pt x="1799988" y="510133"/>
                </a:lnTo>
                <a:lnTo>
                  <a:pt x="1797527" y="508409"/>
                </a:lnTo>
                <a:lnTo>
                  <a:pt x="1793342" y="506687"/>
                </a:lnTo>
                <a:lnTo>
                  <a:pt x="1789158" y="506687"/>
                </a:lnTo>
                <a:lnTo>
                  <a:pt x="1789158" y="510871"/>
                </a:lnTo>
                <a:lnTo>
                  <a:pt x="1789896" y="514317"/>
                </a:lnTo>
                <a:lnTo>
                  <a:pt x="1791619" y="516779"/>
                </a:lnTo>
                <a:lnTo>
                  <a:pt x="1791619" y="518501"/>
                </a:lnTo>
                <a:lnTo>
                  <a:pt x="1793342" y="521947"/>
                </a:lnTo>
                <a:lnTo>
                  <a:pt x="1794081" y="526132"/>
                </a:lnTo>
                <a:lnTo>
                  <a:pt x="1789896" y="528594"/>
                </a:lnTo>
                <a:lnTo>
                  <a:pt x="1787435" y="532040"/>
                </a:lnTo>
                <a:lnTo>
                  <a:pt x="1784235" y="536224"/>
                </a:lnTo>
                <a:lnTo>
                  <a:pt x="1781773" y="542133"/>
                </a:lnTo>
                <a:lnTo>
                  <a:pt x="1772666" y="542133"/>
                </a:lnTo>
                <a:lnTo>
                  <a:pt x="1772666" y="561578"/>
                </a:lnTo>
                <a:lnTo>
                  <a:pt x="1766020" y="561578"/>
                </a:lnTo>
                <a:lnTo>
                  <a:pt x="1758634" y="555672"/>
                </a:lnTo>
                <a:lnTo>
                  <a:pt x="1749528" y="552225"/>
                </a:lnTo>
                <a:lnTo>
                  <a:pt x="1742882" y="548040"/>
                </a:lnTo>
                <a:lnTo>
                  <a:pt x="1737958" y="537948"/>
                </a:lnTo>
                <a:lnTo>
                  <a:pt x="1749528" y="539671"/>
                </a:lnTo>
                <a:lnTo>
                  <a:pt x="1761096" y="537948"/>
                </a:lnTo>
                <a:lnTo>
                  <a:pt x="1770204" y="534502"/>
                </a:lnTo>
                <a:lnTo>
                  <a:pt x="1775866" y="528594"/>
                </a:lnTo>
                <a:lnTo>
                  <a:pt x="1777589" y="527856"/>
                </a:lnTo>
                <a:lnTo>
                  <a:pt x="1777589" y="526132"/>
                </a:lnTo>
                <a:lnTo>
                  <a:pt x="1778326" y="524410"/>
                </a:lnTo>
                <a:lnTo>
                  <a:pt x="1778326" y="521947"/>
                </a:lnTo>
                <a:lnTo>
                  <a:pt x="1778326" y="518501"/>
                </a:lnTo>
                <a:lnTo>
                  <a:pt x="1756912" y="502502"/>
                </a:lnTo>
                <a:lnTo>
                  <a:pt x="1733773" y="486501"/>
                </a:lnTo>
                <a:lnTo>
                  <a:pt x="1726389" y="477394"/>
                </a:lnTo>
                <a:lnTo>
                  <a:pt x="1719745" y="469025"/>
                </a:lnTo>
                <a:lnTo>
                  <a:pt x="1714084" y="458932"/>
                </a:lnTo>
                <a:lnTo>
                  <a:pt x="1704976" y="449826"/>
                </a:lnTo>
                <a:lnTo>
                  <a:pt x="1693406" y="445640"/>
                </a:lnTo>
                <a:lnTo>
                  <a:pt x="1683560" y="454009"/>
                </a:lnTo>
                <a:lnTo>
                  <a:pt x="1670268" y="461640"/>
                </a:lnTo>
                <a:lnTo>
                  <a:pt x="1654516" y="465086"/>
                </a:lnTo>
                <a:lnTo>
                  <a:pt x="1652792" y="461640"/>
                </a:lnTo>
                <a:lnTo>
                  <a:pt x="1652053" y="459179"/>
                </a:lnTo>
                <a:lnTo>
                  <a:pt x="1650330" y="457456"/>
                </a:lnTo>
                <a:lnTo>
                  <a:pt x="1647130" y="457456"/>
                </a:lnTo>
                <a:lnTo>
                  <a:pt x="1646392" y="457456"/>
                </a:lnTo>
                <a:lnTo>
                  <a:pt x="1643191" y="459179"/>
                </a:lnTo>
                <a:lnTo>
                  <a:pt x="1635808" y="465086"/>
                </a:lnTo>
                <a:lnTo>
                  <a:pt x="1633346" y="473456"/>
                </a:lnTo>
                <a:lnTo>
                  <a:pt x="1631622" y="482563"/>
                </a:lnTo>
                <a:lnTo>
                  <a:pt x="1627438" y="489210"/>
                </a:lnTo>
                <a:lnTo>
                  <a:pt x="1611685" y="489210"/>
                </a:lnTo>
                <a:lnTo>
                  <a:pt x="1606024" y="496840"/>
                </a:lnTo>
                <a:lnTo>
                  <a:pt x="1601838" y="505209"/>
                </a:lnTo>
                <a:lnTo>
                  <a:pt x="1598638" y="516041"/>
                </a:lnTo>
                <a:lnTo>
                  <a:pt x="1596915" y="516779"/>
                </a:lnTo>
                <a:lnTo>
                  <a:pt x="1596915" y="520225"/>
                </a:lnTo>
                <a:lnTo>
                  <a:pt x="1598638" y="521947"/>
                </a:lnTo>
                <a:lnTo>
                  <a:pt x="1600362" y="522686"/>
                </a:lnTo>
                <a:lnTo>
                  <a:pt x="1602823" y="526132"/>
                </a:lnTo>
                <a:lnTo>
                  <a:pt x="1604546" y="528594"/>
                </a:lnTo>
                <a:lnTo>
                  <a:pt x="1600362" y="528594"/>
                </a:lnTo>
                <a:lnTo>
                  <a:pt x="1598638" y="530318"/>
                </a:lnTo>
                <a:lnTo>
                  <a:pt x="1596915" y="530318"/>
                </a:lnTo>
                <a:lnTo>
                  <a:pt x="1596177" y="532040"/>
                </a:lnTo>
                <a:lnTo>
                  <a:pt x="1594454" y="533763"/>
                </a:lnTo>
                <a:lnTo>
                  <a:pt x="1591254" y="534502"/>
                </a:lnTo>
                <a:lnTo>
                  <a:pt x="1591254" y="537948"/>
                </a:lnTo>
                <a:lnTo>
                  <a:pt x="1591254" y="539671"/>
                </a:lnTo>
                <a:lnTo>
                  <a:pt x="1591254" y="541148"/>
                </a:lnTo>
                <a:lnTo>
                  <a:pt x="1591254" y="546071"/>
                </a:lnTo>
                <a:lnTo>
                  <a:pt x="1581408" y="546809"/>
                </a:lnTo>
                <a:lnTo>
                  <a:pt x="1577224" y="550255"/>
                </a:lnTo>
                <a:lnTo>
                  <a:pt x="1574024" y="552717"/>
                </a:lnTo>
                <a:lnTo>
                  <a:pt x="1571562" y="557640"/>
                </a:lnTo>
                <a:lnTo>
                  <a:pt x="1567377" y="561825"/>
                </a:lnTo>
                <a:lnTo>
                  <a:pt x="1562454" y="563548"/>
                </a:lnTo>
                <a:lnTo>
                  <a:pt x="1559993" y="563548"/>
                </a:lnTo>
                <a:lnTo>
                  <a:pt x="1555808" y="561825"/>
                </a:lnTo>
                <a:lnTo>
                  <a:pt x="1552608" y="560102"/>
                </a:lnTo>
                <a:lnTo>
                  <a:pt x="1550147" y="558378"/>
                </a:lnTo>
                <a:lnTo>
                  <a:pt x="1548424" y="558378"/>
                </a:lnTo>
                <a:lnTo>
                  <a:pt x="1545962" y="560102"/>
                </a:lnTo>
                <a:lnTo>
                  <a:pt x="1542761" y="561825"/>
                </a:lnTo>
                <a:lnTo>
                  <a:pt x="1540300" y="563548"/>
                </a:lnTo>
                <a:lnTo>
                  <a:pt x="1535378" y="564286"/>
                </a:lnTo>
                <a:lnTo>
                  <a:pt x="1535378" y="571917"/>
                </a:lnTo>
                <a:lnTo>
                  <a:pt x="1575746" y="577823"/>
                </a:lnTo>
                <a:lnTo>
                  <a:pt x="1587316" y="571917"/>
                </a:lnTo>
                <a:lnTo>
                  <a:pt x="1598884" y="564286"/>
                </a:lnTo>
                <a:lnTo>
                  <a:pt x="1607993" y="558378"/>
                </a:lnTo>
                <a:lnTo>
                  <a:pt x="1620300" y="555917"/>
                </a:lnTo>
                <a:lnTo>
                  <a:pt x="1639253" y="552471"/>
                </a:lnTo>
                <a:lnTo>
                  <a:pt x="1659191" y="551732"/>
                </a:lnTo>
                <a:lnTo>
                  <a:pt x="1681592" y="551732"/>
                </a:lnTo>
                <a:lnTo>
                  <a:pt x="1699807" y="551732"/>
                </a:lnTo>
                <a:lnTo>
                  <a:pt x="1715560" y="552471"/>
                </a:lnTo>
                <a:lnTo>
                  <a:pt x="1722943" y="554194"/>
                </a:lnTo>
                <a:lnTo>
                  <a:pt x="1726634" y="554194"/>
                </a:lnTo>
                <a:lnTo>
                  <a:pt x="1721712" y="567732"/>
                </a:lnTo>
                <a:lnTo>
                  <a:pt x="1719253" y="582007"/>
                </a:lnTo>
                <a:lnTo>
                  <a:pt x="1716053" y="597022"/>
                </a:lnTo>
                <a:lnTo>
                  <a:pt x="1720975" y="599484"/>
                </a:lnTo>
                <a:lnTo>
                  <a:pt x="1721712" y="602930"/>
                </a:lnTo>
                <a:lnTo>
                  <a:pt x="1724912" y="605392"/>
                </a:lnTo>
                <a:lnTo>
                  <a:pt x="1726634" y="607115"/>
                </a:lnTo>
                <a:lnTo>
                  <a:pt x="1729096" y="609576"/>
                </a:lnTo>
                <a:lnTo>
                  <a:pt x="1738943" y="613022"/>
                </a:lnTo>
                <a:lnTo>
                  <a:pt x="1750512" y="613022"/>
                </a:lnTo>
                <a:lnTo>
                  <a:pt x="1762081" y="614746"/>
                </a:lnTo>
                <a:lnTo>
                  <a:pt x="1773650" y="620653"/>
                </a:lnTo>
                <a:lnTo>
                  <a:pt x="1776850" y="632469"/>
                </a:lnTo>
                <a:lnTo>
                  <a:pt x="1782512" y="634930"/>
                </a:lnTo>
                <a:lnTo>
                  <a:pt x="1790881" y="638376"/>
                </a:lnTo>
                <a:lnTo>
                  <a:pt x="1802451" y="640837"/>
                </a:lnTo>
                <a:lnTo>
                  <a:pt x="1812296" y="644283"/>
                </a:lnTo>
                <a:lnTo>
                  <a:pt x="1817958" y="645022"/>
                </a:lnTo>
                <a:lnTo>
                  <a:pt x="1819681" y="636653"/>
                </a:lnTo>
                <a:lnTo>
                  <a:pt x="1822881" y="629022"/>
                </a:lnTo>
                <a:lnTo>
                  <a:pt x="1825342" y="621392"/>
                </a:lnTo>
                <a:lnTo>
                  <a:pt x="1834450" y="615484"/>
                </a:lnTo>
                <a:lnTo>
                  <a:pt x="1846757" y="613022"/>
                </a:lnTo>
                <a:lnTo>
                  <a:pt x="1858327" y="615484"/>
                </a:lnTo>
                <a:lnTo>
                  <a:pt x="1869895" y="621392"/>
                </a:lnTo>
                <a:lnTo>
                  <a:pt x="1881465" y="626315"/>
                </a:lnTo>
                <a:lnTo>
                  <a:pt x="1887126" y="627053"/>
                </a:lnTo>
                <a:lnTo>
                  <a:pt x="1898695" y="628776"/>
                </a:lnTo>
                <a:lnTo>
                  <a:pt x="1910265" y="632222"/>
                </a:lnTo>
                <a:lnTo>
                  <a:pt x="1921834" y="632961"/>
                </a:lnTo>
                <a:lnTo>
                  <a:pt x="1930941" y="634684"/>
                </a:lnTo>
                <a:lnTo>
                  <a:pt x="1935126" y="636407"/>
                </a:lnTo>
                <a:lnTo>
                  <a:pt x="1937587" y="634684"/>
                </a:lnTo>
                <a:lnTo>
                  <a:pt x="1939311" y="632222"/>
                </a:lnTo>
                <a:lnTo>
                  <a:pt x="1941034" y="630499"/>
                </a:lnTo>
                <a:lnTo>
                  <a:pt x="1943495" y="627053"/>
                </a:lnTo>
                <a:lnTo>
                  <a:pt x="1946695" y="626315"/>
                </a:lnTo>
                <a:lnTo>
                  <a:pt x="1949156" y="626315"/>
                </a:lnTo>
                <a:lnTo>
                  <a:pt x="1953342" y="626315"/>
                </a:lnTo>
                <a:lnTo>
                  <a:pt x="1964172" y="628776"/>
                </a:lnTo>
                <a:lnTo>
                  <a:pt x="1972541" y="632961"/>
                </a:lnTo>
                <a:lnTo>
                  <a:pt x="1982387" y="632222"/>
                </a:lnTo>
                <a:lnTo>
                  <a:pt x="1993217" y="628776"/>
                </a:lnTo>
                <a:lnTo>
                  <a:pt x="1993956" y="616960"/>
                </a:lnTo>
                <a:lnTo>
                  <a:pt x="1999618" y="602684"/>
                </a:lnTo>
                <a:lnTo>
                  <a:pt x="2004541" y="589145"/>
                </a:lnTo>
                <a:lnTo>
                  <a:pt x="2006018" y="577823"/>
                </a:lnTo>
                <a:lnTo>
                  <a:pt x="2003556" y="567732"/>
                </a:lnTo>
                <a:lnTo>
                  <a:pt x="2001834" y="564286"/>
                </a:lnTo>
                <a:lnTo>
                  <a:pt x="2001834" y="561825"/>
                </a:lnTo>
                <a:lnTo>
                  <a:pt x="2000110" y="560102"/>
                </a:lnTo>
                <a:lnTo>
                  <a:pt x="1998388" y="558378"/>
                </a:lnTo>
                <a:lnTo>
                  <a:pt x="1995925" y="558378"/>
                </a:lnTo>
                <a:lnTo>
                  <a:pt x="1992725" y="558378"/>
                </a:lnTo>
                <a:lnTo>
                  <a:pt x="1987064" y="558378"/>
                </a:lnTo>
                <a:lnTo>
                  <a:pt x="1980418" y="564286"/>
                </a:lnTo>
                <a:lnTo>
                  <a:pt x="1974756" y="566009"/>
                </a:lnTo>
                <a:lnTo>
                  <a:pt x="1969094" y="564286"/>
                </a:lnTo>
                <a:lnTo>
                  <a:pt x="1963433" y="561825"/>
                </a:lnTo>
                <a:lnTo>
                  <a:pt x="1956049" y="558378"/>
                </a:lnTo>
                <a:lnTo>
                  <a:pt x="1951864" y="557640"/>
                </a:lnTo>
                <a:lnTo>
                  <a:pt x="1948665" y="558378"/>
                </a:lnTo>
                <a:lnTo>
                  <a:pt x="1944480" y="560102"/>
                </a:lnTo>
                <a:lnTo>
                  <a:pt x="1942757" y="563548"/>
                </a:lnTo>
                <a:lnTo>
                  <a:pt x="1940295" y="566009"/>
                </a:lnTo>
                <a:lnTo>
                  <a:pt x="1937095" y="567732"/>
                </a:lnTo>
                <a:lnTo>
                  <a:pt x="1924788" y="564286"/>
                </a:lnTo>
                <a:lnTo>
                  <a:pt x="1911496" y="555917"/>
                </a:lnTo>
                <a:lnTo>
                  <a:pt x="1901649" y="542379"/>
                </a:lnTo>
                <a:lnTo>
                  <a:pt x="1896726" y="528840"/>
                </a:lnTo>
                <a:lnTo>
                  <a:pt x="1896726" y="526378"/>
                </a:lnTo>
                <a:lnTo>
                  <a:pt x="1896726" y="522932"/>
                </a:lnTo>
                <a:lnTo>
                  <a:pt x="1896726" y="520471"/>
                </a:lnTo>
                <a:lnTo>
                  <a:pt x="1896726" y="517025"/>
                </a:lnTo>
                <a:lnTo>
                  <a:pt x="1896726" y="514563"/>
                </a:lnTo>
                <a:lnTo>
                  <a:pt x="1898449" y="511117"/>
                </a:lnTo>
                <a:lnTo>
                  <a:pt x="1900173" y="506933"/>
                </a:lnTo>
                <a:lnTo>
                  <a:pt x="1896973" y="504471"/>
                </a:lnTo>
                <a:lnTo>
                  <a:pt x="1894510" y="502749"/>
                </a:lnTo>
                <a:lnTo>
                  <a:pt x="1892788" y="501025"/>
                </a:lnTo>
                <a:lnTo>
                  <a:pt x="1891064" y="499302"/>
                </a:lnTo>
                <a:lnTo>
                  <a:pt x="1888603" y="498563"/>
                </a:lnTo>
                <a:lnTo>
                  <a:pt x="1884418" y="496840"/>
                </a:lnTo>
                <a:lnTo>
                  <a:pt x="1882696" y="495118"/>
                </a:lnTo>
                <a:lnTo>
                  <a:pt x="1880972" y="495118"/>
                </a:lnTo>
                <a:lnTo>
                  <a:pt x="1879250" y="493394"/>
                </a:lnTo>
                <a:lnTo>
                  <a:pt x="1876787" y="493394"/>
                </a:lnTo>
                <a:lnTo>
                  <a:pt x="1873588" y="493394"/>
                </a:lnTo>
                <a:lnTo>
                  <a:pt x="1873588" y="496840"/>
                </a:lnTo>
                <a:lnTo>
                  <a:pt x="1871126" y="496840"/>
                </a:lnTo>
                <a:lnTo>
                  <a:pt x="1871126" y="501025"/>
                </a:lnTo>
                <a:lnTo>
                  <a:pt x="1872850" y="504471"/>
                </a:lnTo>
                <a:lnTo>
                  <a:pt x="1872850" y="505209"/>
                </a:lnTo>
                <a:lnTo>
                  <a:pt x="1872850" y="506933"/>
                </a:lnTo>
                <a:lnTo>
                  <a:pt x="1871126" y="508655"/>
                </a:lnTo>
                <a:lnTo>
                  <a:pt x="1869404" y="508655"/>
                </a:lnTo>
                <a:lnTo>
                  <a:pt x="1866942" y="508655"/>
                </a:lnTo>
                <a:lnTo>
                  <a:pt x="1861280" y="510380"/>
                </a:lnTo>
                <a:lnTo>
                  <a:pt x="1859557" y="506933"/>
                </a:lnTo>
                <a:lnTo>
                  <a:pt x="1857834" y="505209"/>
                </a:lnTo>
                <a:lnTo>
                  <a:pt x="1857834" y="504471"/>
                </a:lnTo>
                <a:lnTo>
                  <a:pt x="1855373" y="502749"/>
                </a:lnTo>
                <a:lnTo>
                  <a:pt x="1855373" y="506687"/>
                </a:lnTo>
                <a:lnTo>
                  <a:pt x="1862757" y="515794"/>
                </a:lnTo>
                <a:lnTo>
                  <a:pt x="1868419" y="528347"/>
                </a:lnTo>
                <a:lnTo>
                  <a:pt x="1870880" y="541887"/>
                </a:lnTo>
                <a:lnTo>
                  <a:pt x="1866695" y="545333"/>
                </a:lnTo>
                <a:lnTo>
                  <a:pt x="1863495" y="546071"/>
                </a:lnTo>
                <a:lnTo>
                  <a:pt x="1862757" y="549517"/>
                </a:lnTo>
                <a:lnTo>
                  <a:pt x="1861034" y="551979"/>
                </a:lnTo>
                <a:lnTo>
                  <a:pt x="1861034" y="553701"/>
                </a:lnTo>
                <a:lnTo>
                  <a:pt x="1859311" y="557147"/>
                </a:lnTo>
                <a:lnTo>
                  <a:pt x="1857589" y="557887"/>
                </a:lnTo>
                <a:lnTo>
                  <a:pt x="1853403" y="559610"/>
                </a:lnTo>
                <a:lnTo>
                  <a:pt x="1849218" y="561332"/>
                </a:lnTo>
                <a:lnTo>
                  <a:pt x="1847496" y="559610"/>
                </a:lnTo>
                <a:lnTo>
                  <a:pt x="1845772" y="559610"/>
                </a:lnTo>
                <a:lnTo>
                  <a:pt x="1845034" y="557887"/>
                </a:lnTo>
                <a:lnTo>
                  <a:pt x="1841834" y="557887"/>
                </a:lnTo>
                <a:lnTo>
                  <a:pt x="1828542" y="518501"/>
                </a:lnTo>
                <a:lnTo>
                  <a:pt x="1826081" y="516779"/>
                </a:lnTo>
                <a:lnTo>
                  <a:pt x="1822881" y="514317"/>
                </a:lnTo>
                <a:lnTo>
                  <a:pt x="1818696" y="510871"/>
                </a:lnTo>
                <a:lnTo>
                  <a:pt x="1816235" y="510133"/>
                </a:lnTo>
                <a:lnTo>
                  <a:pt x="1813035" y="506687"/>
                </a:lnTo>
                <a:lnTo>
                  <a:pt x="1811312" y="498318"/>
                </a:lnTo>
                <a:lnTo>
                  <a:pt x="1813035" y="490687"/>
                </a:lnTo>
                <a:lnTo>
                  <a:pt x="1814757" y="484779"/>
                </a:lnTo>
                <a:lnTo>
                  <a:pt x="1814757" y="478871"/>
                </a:lnTo>
                <a:lnTo>
                  <a:pt x="1810572" y="474687"/>
                </a:lnTo>
                <a:lnTo>
                  <a:pt x="1799742" y="467056"/>
                </a:lnTo>
                <a:lnTo>
                  <a:pt x="1791374" y="462871"/>
                </a:lnTo>
                <a:lnTo>
                  <a:pt x="1783988" y="461147"/>
                </a:lnTo>
                <a:lnTo>
                  <a:pt x="1777342" y="456964"/>
                </a:lnTo>
                <a:lnTo>
                  <a:pt x="1771681" y="447855"/>
                </a:lnTo>
                <a:lnTo>
                  <a:pt x="1766020" y="431856"/>
                </a:lnTo>
                <a:lnTo>
                  <a:pt x="1754450" y="435303"/>
                </a:lnTo>
                <a:lnTo>
                  <a:pt x="1752728" y="430379"/>
                </a:lnTo>
                <a:lnTo>
                  <a:pt x="1752728" y="427918"/>
                </a:lnTo>
                <a:lnTo>
                  <a:pt x="1751004" y="424472"/>
                </a:lnTo>
                <a:close/>
                <a:moveTo>
                  <a:pt x="761721" y="418564"/>
                </a:moveTo>
                <a:lnTo>
                  <a:pt x="761599" y="418810"/>
                </a:lnTo>
                <a:lnTo>
                  <a:pt x="763935" y="418810"/>
                </a:lnTo>
                <a:lnTo>
                  <a:pt x="763935" y="418811"/>
                </a:lnTo>
                <a:lnTo>
                  <a:pt x="763936" y="418811"/>
                </a:lnTo>
                <a:lnTo>
                  <a:pt x="763198" y="422257"/>
                </a:lnTo>
                <a:lnTo>
                  <a:pt x="763445" y="422010"/>
                </a:lnTo>
                <a:lnTo>
                  <a:pt x="764184" y="418564"/>
                </a:lnTo>
                <a:close/>
                <a:moveTo>
                  <a:pt x="1948172" y="406502"/>
                </a:moveTo>
                <a:lnTo>
                  <a:pt x="1944972" y="413148"/>
                </a:lnTo>
                <a:lnTo>
                  <a:pt x="1939311" y="423979"/>
                </a:lnTo>
                <a:lnTo>
                  <a:pt x="1931926" y="435794"/>
                </a:lnTo>
                <a:lnTo>
                  <a:pt x="1925280" y="447610"/>
                </a:lnTo>
                <a:lnTo>
                  <a:pt x="1919618" y="457702"/>
                </a:lnTo>
                <a:lnTo>
                  <a:pt x="1916418" y="466071"/>
                </a:lnTo>
                <a:lnTo>
                  <a:pt x="1916418" y="470994"/>
                </a:lnTo>
                <a:lnTo>
                  <a:pt x="1918142" y="476902"/>
                </a:lnTo>
                <a:lnTo>
                  <a:pt x="1918142" y="479363"/>
                </a:lnTo>
                <a:lnTo>
                  <a:pt x="1919864" y="482810"/>
                </a:lnTo>
                <a:lnTo>
                  <a:pt x="1922326" y="483548"/>
                </a:lnTo>
                <a:lnTo>
                  <a:pt x="1925526" y="485271"/>
                </a:lnTo>
                <a:lnTo>
                  <a:pt x="1929710" y="486994"/>
                </a:lnTo>
                <a:lnTo>
                  <a:pt x="1941280" y="491179"/>
                </a:lnTo>
                <a:lnTo>
                  <a:pt x="1952849" y="489456"/>
                </a:lnTo>
                <a:lnTo>
                  <a:pt x="1962695" y="485271"/>
                </a:lnTo>
                <a:lnTo>
                  <a:pt x="1974265" y="479363"/>
                </a:lnTo>
                <a:lnTo>
                  <a:pt x="1985833" y="477640"/>
                </a:lnTo>
                <a:lnTo>
                  <a:pt x="1997403" y="477640"/>
                </a:lnTo>
                <a:lnTo>
                  <a:pt x="2004787" y="482563"/>
                </a:lnTo>
                <a:lnTo>
                  <a:pt x="2010448" y="486748"/>
                </a:lnTo>
                <a:lnTo>
                  <a:pt x="2017094" y="489210"/>
                </a:lnTo>
                <a:lnTo>
                  <a:pt x="2034325" y="492656"/>
                </a:lnTo>
                <a:lnTo>
                  <a:pt x="2051556" y="490932"/>
                </a:lnTo>
                <a:lnTo>
                  <a:pt x="2067309" y="486748"/>
                </a:lnTo>
                <a:lnTo>
                  <a:pt x="2071740" y="477887"/>
                </a:lnTo>
                <a:lnTo>
                  <a:pt x="2066818" y="477887"/>
                </a:lnTo>
                <a:lnTo>
                  <a:pt x="2060171" y="466071"/>
                </a:lnTo>
                <a:lnTo>
                  <a:pt x="2048601" y="455979"/>
                </a:lnTo>
                <a:lnTo>
                  <a:pt x="2032110" y="445887"/>
                </a:lnTo>
                <a:lnTo>
                  <a:pt x="2016356" y="436778"/>
                </a:lnTo>
                <a:lnTo>
                  <a:pt x="2004049" y="432595"/>
                </a:lnTo>
                <a:lnTo>
                  <a:pt x="1996663" y="438502"/>
                </a:lnTo>
                <a:lnTo>
                  <a:pt x="1986818" y="442687"/>
                </a:lnTo>
                <a:lnTo>
                  <a:pt x="1979433" y="441949"/>
                </a:lnTo>
                <a:lnTo>
                  <a:pt x="1975249" y="436041"/>
                </a:lnTo>
                <a:lnTo>
                  <a:pt x="1969587" y="430133"/>
                </a:lnTo>
                <a:lnTo>
                  <a:pt x="1966388" y="422502"/>
                </a:lnTo>
                <a:lnTo>
                  <a:pt x="1976233" y="419056"/>
                </a:lnTo>
                <a:lnTo>
                  <a:pt x="1975495" y="418318"/>
                </a:lnTo>
                <a:lnTo>
                  <a:pt x="1973772" y="418318"/>
                </a:lnTo>
                <a:lnTo>
                  <a:pt x="1972049" y="418318"/>
                </a:lnTo>
                <a:lnTo>
                  <a:pt x="1969587" y="416595"/>
                </a:lnTo>
                <a:lnTo>
                  <a:pt x="1964664" y="412410"/>
                </a:lnTo>
                <a:lnTo>
                  <a:pt x="1960480" y="410687"/>
                </a:lnTo>
                <a:lnTo>
                  <a:pt x="1954818" y="408224"/>
                </a:lnTo>
                <a:close/>
                <a:moveTo>
                  <a:pt x="2179063" y="402318"/>
                </a:moveTo>
                <a:lnTo>
                  <a:pt x="2169955" y="409949"/>
                </a:lnTo>
                <a:lnTo>
                  <a:pt x="2160109" y="414133"/>
                </a:lnTo>
                <a:lnTo>
                  <a:pt x="2150263" y="418318"/>
                </a:lnTo>
                <a:lnTo>
                  <a:pt x="2141155" y="425948"/>
                </a:lnTo>
                <a:lnTo>
                  <a:pt x="2135494" y="435056"/>
                </a:lnTo>
                <a:lnTo>
                  <a:pt x="2133032" y="447610"/>
                </a:lnTo>
                <a:lnTo>
                  <a:pt x="2137217" y="461147"/>
                </a:lnTo>
                <a:lnTo>
                  <a:pt x="2146324" y="474687"/>
                </a:lnTo>
                <a:lnTo>
                  <a:pt x="2154694" y="488225"/>
                </a:lnTo>
                <a:lnTo>
                  <a:pt x="2164540" y="499056"/>
                </a:lnTo>
                <a:lnTo>
                  <a:pt x="2170202" y="509887"/>
                </a:lnTo>
                <a:lnTo>
                  <a:pt x="2160356" y="509887"/>
                </a:lnTo>
                <a:lnTo>
                  <a:pt x="2160356" y="528347"/>
                </a:lnTo>
                <a:lnTo>
                  <a:pt x="2163556" y="541887"/>
                </a:lnTo>
                <a:lnTo>
                  <a:pt x="2171924" y="549517"/>
                </a:lnTo>
                <a:lnTo>
                  <a:pt x="2186694" y="551979"/>
                </a:lnTo>
                <a:lnTo>
                  <a:pt x="2208108" y="551241"/>
                </a:lnTo>
                <a:lnTo>
                  <a:pt x="2206385" y="534502"/>
                </a:lnTo>
                <a:lnTo>
                  <a:pt x="2203185" y="524410"/>
                </a:lnTo>
                <a:lnTo>
                  <a:pt x="2199002" y="516041"/>
                </a:lnTo>
                <a:lnTo>
                  <a:pt x="2197278" y="506933"/>
                </a:lnTo>
                <a:lnTo>
                  <a:pt x="2199002" y="493394"/>
                </a:lnTo>
                <a:lnTo>
                  <a:pt x="2202201" y="495118"/>
                </a:lnTo>
                <a:lnTo>
                  <a:pt x="2204663" y="495118"/>
                </a:lnTo>
                <a:lnTo>
                  <a:pt x="2207863" y="495118"/>
                </a:lnTo>
                <a:lnTo>
                  <a:pt x="2210323" y="495118"/>
                </a:lnTo>
                <a:lnTo>
                  <a:pt x="2214509" y="493147"/>
                </a:lnTo>
                <a:lnTo>
                  <a:pt x="2212047" y="490687"/>
                </a:lnTo>
                <a:lnTo>
                  <a:pt x="2208848" y="488964"/>
                </a:lnTo>
                <a:lnTo>
                  <a:pt x="2208108" y="488225"/>
                </a:lnTo>
                <a:lnTo>
                  <a:pt x="2204909" y="484779"/>
                </a:lnTo>
                <a:lnTo>
                  <a:pt x="2202447" y="483055"/>
                </a:lnTo>
                <a:lnTo>
                  <a:pt x="2200724" y="484779"/>
                </a:lnTo>
                <a:lnTo>
                  <a:pt x="2200724" y="488225"/>
                </a:lnTo>
                <a:lnTo>
                  <a:pt x="2199002" y="490687"/>
                </a:lnTo>
                <a:lnTo>
                  <a:pt x="2199002" y="492410"/>
                </a:lnTo>
                <a:lnTo>
                  <a:pt x="2197278" y="493147"/>
                </a:lnTo>
                <a:lnTo>
                  <a:pt x="2196539" y="492410"/>
                </a:lnTo>
                <a:lnTo>
                  <a:pt x="2194816" y="488964"/>
                </a:lnTo>
                <a:lnTo>
                  <a:pt x="2190632" y="482317"/>
                </a:lnTo>
                <a:lnTo>
                  <a:pt x="2186447" y="474687"/>
                </a:lnTo>
                <a:lnTo>
                  <a:pt x="2187185" y="471241"/>
                </a:lnTo>
                <a:lnTo>
                  <a:pt x="2188909" y="471241"/>
                </a:lnTo>
                <a:lnTo>
                  <a:pt x="2190632" y="470502"/>
                </a:lnTo>
                <a:lnTo>
                  <a:pt x="2191371" y="467056"/>
                </a:lnTo>
                <a:lnTo>
                  <a:pt x="2179063" y="459425"/>
                </a:lnTo>
                <a:lnTo>
                  <a:pt x="2169217" y="447610"/>
                </a:lnTo>
                <a:lnTo>
                  <a:pt x="2163556" y="435056"/>
                </a:lnTo>
                <a:lnTo>
                  <a:pt x="2179309" y="433333"/>
                </a:lnTo>
                <a:lnTo>
                  <a:pt x="2190878" y="429148"/>
                </a:lnTo>
                <a:lnTo>
                  <a:pt x="2196539" y="418318"/>
                </a:lnTo>
                <a:lnTo>
                  <a:pt x="2199002" y="405764"/>
                </a:lnTo>
                <a:lnTo>
                  <a:pt x="2194816" y="404041"/>
                </a:lnTo>
                <a:lnTo>
                  <a:pt x="2190632" y="404041"/>
                </a:lnTo>
                <a:lnTo>
                  <a:pt x="2186447" y="402318"/>
                </a:lnTo>
                <a:close/>
                <a:moveTo>
                  <a:pt x="2024479" y="400349"/>
                </a:moveTo>
                <a:lnTo>
                  <a:pt x="2012911" y="406256"/>
                </a:lnTo>
                <a:lnTo>
                  <a:pt x="1998879" y="410440"/>
                </a:lnTo>
                <a:lnTo>
                  <a:pt x="1998879" y="422256"/>
                </a:lnTo>
                <a:lnTo>
                  <a:pt x="2004541" y="423979"/>
                </a:lnTo>
                <a:lnTo>
                  <a:pt x="2011187" y="424717"/>
                </a:lnTo>
                <a:lnTo>
                  <a:pt x="2020295" y="424717"/>
                </a:lnTo>
                <a:lnTo>
                  <a:pt x="2020295" y="418810"/>
                </a:lnTo>
                <a:lnTo>
                  <a:pt x="2022757" y="414626"/>
                </a:lnTo>
                <a:lnTo>
                  <a:pt x="2024479" y="410440"/>
                </a:lnTo>
                <a:lnTo>
                  <a:pt x="2024479" y="406256"/>
                </a:lnTo>
                <a:lnTo>
                  <a:pt x="2024479" y="402810"/>
                </a:lnTo>
                <a:close/>
                <a:moveTo>
                  <a:pt x="904489" y="392717"/>
                </a:moveTo>
                <a:lnTo>
                  <a:pt x="906951" y="400348"/>
                </a:lnTo>
                <a:lnTo>
                  <a:pt x="908427" y="410440"/>
                </a:lnTo>
                <a:lnTo>
                  <a:pt x="910151" y="418809"/>
                </a:lnTo>
                <a:lnTo>
                  <a:pt x="908427" y="420532"/>
                </a:lnTo>
                <a:lnTo>
                  <a:pt x="906951" y="420532"/>
                </a:lnTo>
                <a:lnTo>
                  <a:pt x="905966" y="420532"/>
                </a:lnTo>
                <a:lnTo>
                  <a:pt x="905966" y="422255"/>
                </a:lnTo>
                <a:lnTo>
                  <a:pt x="904489" y="422255"/>
                </a:lnTo>
                <a:lnTo>
                  <a:pt x="898581" y="422255"/>
                </a:lnTo>
                <a:lnTo>
                  <a:pt x="896858" y="420532"/>
                </a:lnTo>
                <a:lnTo>
                  <a:pt x="896858" y="418809"/>
                </a:lnTo>
                <a:lnTo>
                  <a:pt x="896858" y="418071"/>
                </a:lnTo>
                <a:lnTo>
                  <a:pt x="895381" y="418071"/>
                </a:lnTo>
                <a:lnTo>
                  <a:pt x="894396" y="416348"/>
                </a:lnTo>
                <a:close/>
                <a:moveTo>
                  <a:pt x="583999" y="365149"/>
                </a:moveTo>
                <a:lnTo>
                  <a:pt x="577353" y="375241"/>
                </a:lnTo>
                <a:lnTo>
                  <a:pt x="569969" y="384349"/>
                </a:lnTo>
                <a:lnTo>
                  <a:pt x="565784" y="396903"/>
                </a:lnTo>
                <a:lnTo>
                  <a:pt x="574153" y="396164"/>
                </a:lnTo>
                <a:lnTo>
                  <a:pt x="579815" y="398626"/>
                </a:lnTo>
                <a:lnTo>
                  <a:pt x="583999" y="402810"/>
                </a:lnTo>
                <a:lnTo>
                  <a:pt x="589661" y="410441"/>
                </a:lnTo>
                <a:lnTo>
                  <a:pt x="591385" y="404534"/>
                </a:lnTo>
                <a:lnTo>
                  <a:pt x="591385" y="400349"/>
                </a:lnTo>
                <a:lnTo>
                  <a:pt x="593107" y="396903"/>
                </a:lnTo>
                <a:lnTo>
                  <a:pt x="593107" y="392718"/>
                </a:lnTo>
                <a:lnTo>
                  <a:pt x="600491" y="392718"/>
                </a:lnTo>
                <a:lnTo>
                  <a:pt x="604677" y="402810"/>
                </a:lnTo>
                <a:lnTo>
                  <a:pt x="611323" y="406257"/>
                </a:lnTo>
                <a:lnTo>
                  <a:pt x="616984" y="408718"/>
                </a:lnTo>
                <a:lnTo>
                  <a:pt x="622645" y="412164"/>
                </a:lnTo>
                <a:lnTo>
                  <a:pt x="628306" y="418810"/>
                </a:lnTo>
                <a:lnTo>
                  <a:pt x="622645" y="427918"/>
                </a:lnTo>
                <a:lnTo>
                  <a:pt x="615999" y="438010"/>
                </a:lnTo>
                <a:lnTo>
                  <a:pt x="610338" y="451549"/>
                </a:lnTo>
                <a:lnTo>
                  <a:pt x="605415" y="463364"/>
                </a:lnTo>
                <a:lnTo>
                  <a:pt x="605415" y="470749"/>
                </a:lnTo>
                <a:lnTo>
                  <a:pt x="606400" y="475671"/>
                </a:lnTo>
                <a:lnTo>
                  <a:pt x="606400" y="478134"/>
                </a:lnTo>
                <a:lnTo>
                  <a:pt x="608122" y="479856"/>
                </a:lnTo>
                <a:lnTo>
                  <a:pt x="609846" y="481580"/>
                </a:lnTo>
                <a:lnTo>
                  <a:pt x="610584" y="483302"/>
                </a:lnTo>
                <a:lnTo>
                  <a:pt x="615507" y="484042"/>
                </a:lnTo>
                <a:lnTo>
                  <a:pt x="615507" y="481580"/>
                </a:lnTo>
                <a:lnTo>
                  <a:pt x="617969" y="475671"/>
                </a:lnTo>
                <a:lnTo>
                  <a:pt x="622153" y="466564"/>
                </a:lnTo>
                <a:lnTo>
                  <a:pt x="627076" y="454749"/>
                </a:lnTo>
                <a:lnTo>
                  <a:pt x="631261" y="444656"/>
                </a:lnTo>
                <a:lnTo>
                  <a:pt x="635445" y="436287"/>
                </a:lnTo>
                <a:lnTo>
                  <a:pt x="637169" y="430379"/>
                </a:lnTo>
                <a:lnTo>
                  <a:pt x="647014" y="430379"/>
                </a:lnTo>
                <a:lnTo>
                  <a:pt x="648738" y="446379"/>
                </a:lnTo>
                <a:lnTo>
                  <a:pt x="648738" y="460657"/>
                </a:lnTo>
                <a:lnTo>
                  <a:pt x="648738" y="478379"/>
                </a:lnTo>
                <a:lnTo>
                  <a:pt x="650461" y="497579"/>
                </a:lnTo>
                <a:lnTo>
                  <a:pt x="668677" y="500041"/>
                </a:lnTo>
                <a:lnTo>
                  <a:pt x="676061" y="489210"/>
                </a:lnTo>
                <a:lnTo>
                  <a:pt x="689353" y="481580"/>
                </a:lnTo>
                <a:lnTo>
                  <a:pt x="703383" y="473949"/>
                </a:lnTo>
                <a:lnTo>
                  <a:pt x="718153" y="468041"/>
                </a:lnTo>
                <a:lnTo>
                  <a:pt x="732184" y="462133"/>
                </a:lnTo>
                <a:lnTo>
                  <a:pt x="745476" y="454502"/>
                </a:lnTo>
                <a:lnTo>
                  <a:pt x="751137" y="446133"/>
                </a:lnTo>
                <a:lnTo>
                  <a:pt x="747937" y="446133"/>
                </a:lnTo>
                <a:lnTo>
                  <a:pt x="747198" y="442688"/>
                </a:lnTo>
                <a:lnTo>
                  <a:pt x="747198" y="441949"/>
                </a:lnTo>
                <a:lnTo>
                  <a:pt x="745476" y="440225"/>
                </a:lnTo>
                <a:lnTo>
                  <a:pt x="743752" y="440225"/>
                </a:lnTo>
                <a:lnTo>
                  <a:pt x="742029" y="440225"/>
                </a:lnTo>
                <a:lnTo>
                  <a:pt x="739568" y="438503"/>
                </a:lnTo>
                <a:lnTo>
                  <a:pt x="733906" y="442688"/>
                </a:lnTo>
                <a:lnTo>
                  <a:pt x="724060" y="448595"/>
                </a:lnTo>
                <a:lnTo>
                  <a:pt x="712491" y="457702"/>
                </a:lnTo>
                <a:lnTo>
                  <a:pt x="697722" y="465334"/>
                </a:lnTo>
                <a:lnTo>
                  <a:pt x="684429" y="473703"/>
                </a:lnTo>
                <a:lnTo>
                  <a:pt x="672122" y="479611"/>
                </a:lnTo>
                <a:lnTo>
                  <a:pt x="663014" y="483056"/>
                </a:lnTo>
                <a:lnTo>
                  <a:pt x="660553" y="483795"/>
                </a:lnTo>
                <a:lnTo>
                  <a:pt x="658830" y="483056"/>
                </a:lnTo>
                <a:lnTo>
                  <a:pt x="657107" y="481334"/>
                </a:lnTo>
                <a:lnTo>
                  <a:pt x="657107" y="479611"/>
                </a:lnTo>
                <a:lnTo>
                  <a:pt x="657107" y="477887"/>
                </a:lnTo>
                <a:lnTo>
                  <a:pt x="656368" y="475425"/>
                </a:lnTo>
                <a:lnTo>
                  <a:pt x="660553" y="467794"/>
                </a:lnTo>
                <a:lnTo>
                  <a:pt x="660553" y="461887"/>
                </a:lnTo>
                <a:lnTo>
                  <a:pt x="658830" y="457702"/>
                </a:lnTo>
                <a:lnTo>
                  <a:pt x="657107" y="450071"/>
                </a:lnTo>
                <a:lnTo>
                  <a:pt x="660306" y="441703"/>
                </a:lnTo>
                <a:lnTo>
                  <a:pt x="662031" y="439980"/>
                </a:lnTo>
                <a:lnTo>
                  <a:pt x="662768" y="438257"/>
                </a:lnTo>
                <a:lnTo>
                  <a:pt x="664491" y="436534"/>
                </a:lnTo>
                <a:lnTo>
                  <a:pt x="666215" y="436534"/>
                </a:lnTo>
                <a:lnTo>
                  <a:pt x="667937" y="436534"/>
                </a:lnTo>
                <a:lnTo>
                  <a:pt x="668677" y="435794"/>
                </a:lnTo>
                <a:lnTo>
                  <a:pt x="670399" y="434072"/>
                </a:lnTo>
                <a:lnTo>
                  <a:pt x="670399" y="430626"/>
                </a:lnTo>
                <a:lnTo>
                  <a:pt x="672122" y="426441"/>
                </a:lnTo>
                <a:lnTo>
                  <a:pt x="672122" y="418810"/>
                </a:lnTo>
                <a:lnTo>
                  <a:pt x="664738" y="414626"/>
                </a:lnTo>
                <a:lnTo>
                  <a:pt x="657353" y="412903"/>
                </a:lnTo>
                <a:lnTo>
                  <a:pt x="651692" y="412903"/>
                </a:lnTo>
                <a:lnTo>
                  <a:pt x="645046" y="410441"/>
                </a:lnTo>
                <a:lnTo>
                  <a:pt x="634215" y="402810"/>
                </a:lnTo>
                <a:lnTo>
                  <a:pt x="627569" y="396164"/>
                </a:lnTo>
                <a:lnTo>
                  <a:pt x="622645" y="387057"/>
                </a:lnTo>
                <a:lnTo>
                  <a:pt x="616984" y="378687"/>
                </a:lnTo>
                <a:lnTo>
                  <a:pt x="610338" y="372780"/>
                </a:lnTo>
                <a:lnTo>
                  <a:pt x="598769" y="366872"/>
                </a:lnTo>
                <a:close/>
                <a:moveTo>
                  <a:pt x="873963" y="351856"/>
                </a:moveTo>
                <a:lnTo>
                  <a:pt x="884795" y="352594"/>
                </a:lnTo>
                <a:lnTo>
                  <a:pt x="891195" y="354317"/>
                </a:lnTo>
                <a:lnTo>
                  <a:pt x="900304" y="357764"/>
                </a:lnTo>
                <a:lnTo>
                  <a:pt x="900304" y="364410"/>
                </a:lnTo>
                <a:lnTo>
                  <a:pt x="897102" y="364410"/>
                </a:lnTo>
                <a:lnTo>
                  <a:pt x="894641" y="366134"/>
                </a:lnTo>
                <a:lnTo>
                  <a:pt x="891195" y="366134"/>
                </a:lnTo>
                <a:lnTo>
                  <a:pt x="888733" y="366134"/>
                </a:lnTo>
                <a:lnTo>
                  <a:pt x="884795" y="367611"/>
                </a:lnTo>
                <a:lnTo>
                  <a:pt x="881348" y="363426"/>
                </a:lnTo>
                <a:lnTo>
                  <a:pt x="879625" y="361948"/>
                </a:lnTo>
                <a:lnTo>
                  <a:pt x="878887" y="358503"/>
                </a:lnTo>
                <a:lnTo>
                  <a:pt x="877164" y="356041"/>
                </a:lnTo>
                <a:close/>
                <a:moveTo>
                  <a:pt x="941657" y="335118"/>
                </a:moveTo>
                <a:lnTo>
                  <a:pt x="950765" y="335118"/>
                </a:lnTo>
                <a:lnTo>
                  <a:pt x="950765" y="346932"/>
                </a:lnTo>
                <a:lnTo>
                  <a:pt x="950765" y="357763"/>
                </a:lnTo>
                <a:lnTo>
                  <a:pt x="952488" y="366133"/>
                </a:lnTo>
                <a:lnTo>
                  <a:pt x="953226" y="375979"/>
                </a:lnTo>
                <a:lnTo>
                  <a:pt x="969718" y="375979"/>
                </a:lnTo>
                <a:lnTo>
                  <a:pt x="969718" y="392717"/>
                </a:lnTo>
                <a:lnTo>
                  <a:pt x="976365" y="392717"/>
                </a:lnTo>
                <a:lnTo>
                  <a:pt x="978089" y="393456"/>
                </a:lnTo>
                <a:lnTo>
                  <a:pt x="979811" y="393456"/>
                </a:lnTo>
                <a:lnTo>
                  <a:pt x="981288" y="393456"/>
                </a:lnTo>
                <a:lnTo>
                  <a:pt x="982272" y="393456"/>
                </a:lnTo>
                <a:lnTo>
                  <a:pt x="983750" y="393456"/>
                </a:lnTo>
                <a:lnTo>
                  <a:pt x="985472" y="395179"/>
                </a:lnTo>
                <a:lnTo>
                  <a:pt x="983750" y="404286"/>
                </a:lnTo>
                <a:lnTo>
                  <a:pt x="981288" y="414379"/>
                </a:lnTo>
                <a:lnTo>
                  <a:pt x="979811" y="424225"/>
                </a:lnTo>
                <a:lnTo>
                  <a:pt x="976365" y="424225"/>
                </a:lnTo>
                <a:lnTo>
                  <a:pt x="975626" y="421025"/>
                </a:lnTo>
                <a:lnTo>
                  <a:pt x="975626" y="420041"/>
                </a:lnTo>
                <a:lnTo>
                  <a:pt x="975626" y="418563"/>
                </a:lnTo>
                <a:lnTo>
                  <a:pt x="973904" y="416841"/>
                </a:lnTo>
                <a:lnTo>
                  <a:pt x="973904" y="415117"/>
                </a:lnTo>
                <a:lnTo>
                  <a:pt x="972180" y="418563"/>
                </a:lnTo>
                <a:lnTo>
                  <a:pt x="970703" y="418563"/>
                </a:lnTo>
                <a:lnTo>
                  <a:pt x="970703" y="420041"/>
                </a:lnTo>
                <a:lnTo>
                  <a:pt x="969718" y="420041"/>
                </a:lnTo>
                <a:lnTo>
                  <a:pt x="966519" y="421025"/>
                </a:lnTo>
                <a:lnTo>
                  <a:pt x="966519" y="415117"/>
                </a:lnTo>
                <a:lnTo>
                  <a:pt x="968242" y="414379"/>
                </a:lnTo>
                <a:lnTo>
                  <a:pt x="968242" y="412655"/>
                </a:lnTo>
                <a:lnTo>
                  <a:pt x="969718" y="410932"/>
                </a:lnTo>
                <a:lnTo>
                  <a:pt x="969718" y="408471"/>
                </a:lnTo>
                <a:lnTo>
                  <a:pt x="969718" y="405271"/>
                </a:lnTo>
                <a:lnTo>
                  <a:pt x="966519" y="405271"/>
                </a:lnTo>
                <a:lnTo>
                  <a:pt x="960611" y="410932"/>
                </a:lnTo>
                <a:lnTo>
                  <a:pt x="954950" y="416841"/>
                </a:lnTo>
                <a:lnTo>
                  <a:pt x="947565" y="421025"/>
                </a:lnTo>
                <a:lnTo>
                  <a:pt x="947565" y="416841"/>
                </a:lnTo>
                <a:lnTo>
                  <a:pt x="947565" y="412655"/>
                </a:lnTo>
                <a:lnTo>
                  <a:pt x="947565" y="410932"/>
                </a:lnTo>
                <a:lnTo>
                  <a:pt x="946580" y="410194"/>
                </a:lnTo>
                <a:lnTo>
                  <a:pt x="943380" y="408471"/>
                </a:lnTo>
                <a:lnTo>
                  <a:pt x="939195" y="408471"/>
                </a:lnTo>
                <a:lnTo>
                  <a:pt x="931811" y="408471"/>
                </a:lnTo>
                <a:lnTo>
                  <a:pt x="929349" y="408471"/>
                </a:lnTo>
                <a:lnTo>
                  <a:pt x="925903" y="408471"/>
                </a:lnTo>
                <a:lnTo>
                  <a:pt x="921965" y="406748"/>
                </a:lnTo>
                <a:lnTo>
                  <a:pt x="917780" y="406748"/>
                </a:lnTo>
                <a:lnTo>
                  <a:pt x="913595" y="405271"/>
                </a:lnTo>
                <a:lnTo>
                  <a:pt x="910395" y="402564"/>
                </a:lnTo>
                <a:lnTo>
                  <a:pt x="918519" y="390994"/>
                </a:lnTo>
                <a:lnTo>
                  <a:pt x="927626" y="373518"/>
                </a:lnTo>
                <a:lnTo>
                  <a:pt x="933534" y="354317"/>
                </a:lnTo>
                <a:close/>
                <a:moveTo>
                  <a:pt x="668181" y="284409"/>
                </a:moveTo>
                <a:lnTo>
                  <a:pt x="680489" y="284409"/>
                </a:lnTo>
                <a:lnTo>
                  <a:pt x="680489" y="290318"/>
                </a:lnTo>
                <a:lnTo>
                  <a:pt x="678027" y="290318"/>
                </a:lnTo>
                <a:lnTo>
                  <a:pt x="676551" y="291793"/>
                </a:lnTo>
                <a:lnTo>
                  <a:pt x="675565" y="291793"/>
                </a:lnTo>
                <a:lnTo>
                  <a:pt x="674089" y="291793"/>
                </a:lnTo>
                <a:lnTo>
                  <a:pt x="672366" y="293518"/>
                </a:lnTo>
                <a:lnTo>
                  <a:pt x="668181" y="293518"/>
                </a:lnTo>
                <a:close/>
                <a:moveTo>
                  <a:pt x="3216347" y="266933"/>
                </a:moveTo>
                <a:lnTo>
                  <a:pt x="3218071" y="268656"/>
                </a:lnTo>
                <a:lnTo>
                  <a:pt x="3218071" y="270133"/>
                </a:lnTo>
                <a:lnTo>
                  <a:pt x="3218809" y="270133"/>
                </a:lnTo>
                <a:lnTo>
                  <a:pt x="3218809" y="271856"/>
                </a:lnTo>
                <a:lnTo>
                  <a:pt x="3223732" y="281948"/>
                </a:lnTo>
                <a:lnTo>
                  <a:pt x="3223732" y="295240"/>
                </a:lnTo>
                <a:lnTo>
                  <a:pt x="3223732" y="307795"/>
                </a:lnTo>
                <a:lnTo>
                  <a:pt x="3226193" y="322810"/>
                </a:lnTo>
                <a:lnTo>
                  <a:pt x="3230377" y="336841"/>
                </a:lnTo>
                <a:lnTo>
                  <a:pt x="3237763" y="352595"/>
                </a:lnTo>
                <a:lnTo>
                  <a:pt x="3241947" y="370071"/>
                </a:lnTo>
                <a:lnTo>
                  <a:pt x="3222255" y="367609"/>
                </a:lnTo>
                <a:lnTo>
                  <a:pt x="3222255" y="380902"/>
                </a:lnTo>
                <a:lnTo>
                  <a:pt x="3224717" y="390995"/>
                </a:lnTo>
                <a:lnTo>
                  <a:pt x="3226193" y="401087"/>
                </a:lnTo>
                <a:lnTo>
                  <a:pt x="3229639" y="415117"/>
                </a:lnTo>
                <a:lnTo>
                  <a:pt x="3224717" y="415117"/>
                </a:lnTo>
                <a:lnTo>
                  <a:pt x="3222255" y="415117"/>
                </a:lnTo>
                <a:lnTo>
                  <a:pt x="3218071" y="416840"/>
                </a:lnTo>
                <a:lnTo>
                  <a:pt x="3216347" y="416840"/>
                </a:lnTo>
                <a:lnTo>
                  <a:pt x="3213885" y="418564"/>
                </a:lnTo>
                <a:lnTo>
                  <a:pt x="3210686" y="410194"/>
                </a:lnTo>
                <a:lnTo>
                  <a:pt x="3208962" y="393456"/>
                </a:lnTo>
                <a:lnTo>
                  <a:pt x="3208962" y="375240"/>
                </a:lnTo>
                <a:lnTo>
                  <a:pt x="3208962" y="354317"/>
                </a:lnTo>
                <a:lnTo>
                  <a:pt x="3208962" y="335117"/>
                </a:lnTo>
                <a:lnTo>
                  <a:pt x="3206501" y="322810"/>
                </a:lnTo>
                <a:lnTo>
                  <a:pt x="3206501" y="290318"/>
                </a:lnTo>
                <a:lnTo>
                  <a:pt x="3208962" y="286133"/>
                </a:lnTo>
                <a:lnTo>
                  <a:pt x="3210686" y="283672"/>
                </a:lnTo>
                <a:lnTo>
                  <a:pt x="3212163" y="280226"/>
                </a:lnTo>
                <a:lnTo>
                  <a:pt x="3213885" y="277764"/>
                </a:lnTo>
                <a:lnTo>
                  <a:pt x="3214625" y="272841"/>
                </a:lnTo>
                <a:close/>
                <a:moveTo>
                  <a:pt x="1521837" y="255363"/>
                </a:moveTo>
                <a:lnTo>
                  <a:pt x="1525037" y="272840"/>
                </a:lnTo>
                <a:lnTo>
                  <a:pt x="1523314" y="290318"/>
                </a:lnTo>
                <a:lnTo>
                  <a:pt x="1519375" y="309272"/>
                </a:lnTo>
                <a:lnTo>
                  <a:pt x="1507806" y="315179"/>
                </a:lnTo>
                <a:lnTo>
                  <a:pt x="1496976" y="318626"/>
                </a:lnTo>
                <a:lnTo>
                  <a:pt x="1481221" y="319364"/>
                </a:lnTo>
                <a:lnTo>
                  <a:pt x="1481221" y="312718"/>
                </a:lnTo>
                <a:lnTo>
                  <a:pt x="1485406" y="301887"/>
                </a:lnTo>
                <a:lnTo>
                  <a:pt x="1485406" y="289332"/>
                </a:lnTo>
                <a:lnTo>
                  <a:pt x="1484667" y="274317"/>
                </a:lnTo>
                <a:lnTo>
                  <a:pt x="1492791" y="266933"/>
                </a:lnTo>
                <a:lnTo>
                  <a:pt x="1500175" y="261025"/>
                </a:lnTo>
                <a:lnTo>
                  <a:pt x="1508545" y="256841"/>
                </a:lnTo>
                <a:close/>
                <a:moveTo>
                  <a:pt x="1728358" y="232718"/>
                </a:moveTo>
                <a:lnTo>
                  <a:pt x="1730820" y="235180"/>
                </a:lnTo>
                <a:lnTo>
                  <a:pt x="1732542" y="236903"/>
                </a:lnTo>
                <a:lnTo>
                  <a:pt x="1734019" y="238625"/>
                </a:lnTo>
                <a:lnTo>
                  <a:pt x="1734019" y="241087"/>
                </a:lnTo>
                <a:lnTo>
                  <a:pt x="1734019" y="244533"/>
                </a:lnTo>
                <a:lnTo>
                  <a:pt x="1735004" y="248472"/>
                </a:lnTo>
                <a:lnTo>
                  <a:pt x="1734019" y="251179"/>
                </a:lnTo>
                <a:lnTo>
                  <a:pt x="1732542" y="252656"/>
                </a:lnTo>
                <a:lnTo>
                  <a:pt x="1732542" y="254379"/>
                </a:lnTo>
                <a:lnTo>
                  <a:pt x="1732542" y="255364"/>
                </a:lnTo>
                <a:lnTo>
                  <a:pt x="1732542" y="256841"/>
                </a:lnTo>
                <a:lnTo>
                  <a:pt x="1730820" y="258564"/>
                </a:lnTo>
                <a:lnTo>
                  <a:pt x="1729095" y="260287"/>
                </a:lnTo>
                <a:lnTo>
                  <a:pt x="1728358" y="260287"/>
                </a:lnTo>
                <a:lnTo>
                  <a:pt x="1726634" y="260287"/>
                </a:lnTo>
                <a:lnTo>
                  <a:pt x="1724911" y="261025"/>
                </a:lnTo>
                <a:lnTo>
                  <a:pt x="1722449" y="261025"/>
                </a:lnTo>
                <a:lnTo>
                  <a:pt x="1717527" y="251179"/>
                </a:lnTo>
                <a:lnTo>
                  <a:pt x="1715066" y="246995"/>
                </a:lnTo>
                <a:lnTo>
                  <a:pt x="1715066" y="245271"/>
                </a:lnTo>
                <a:lnTo>
                  <a:pt x="1716788" y="244533"/>
                </a:lnTo>
                <a:lnTo>
                  <a:pt x="1722449" y="241087"/>
                </a:lnTo>
                <a:close/>
                <a:moveTo>
                  <a:pt x="1794327" y="200225"/>
                </a:moveTo>
                <a:lnTo>
                  <a:pt x="1798512" y="201949"/>
                </a:lnTo>
                <a:lnTo>
                  <a:pt x="1800236" y="201949"/>
                </a:lnTo>
                <a:lnTo>
                  <a:pt x="1801712" y="201949"/>
                </a:lnTo>
                <a:lnTo>
                  <a:pt x="1802696" y="203671"/>
                </a:lnTo>
                <a:lnTo>
                  <a:pt x="1804420" y="203671"/>
                </a:lnTo>
                <a:lnTo>
                  <a:pt x="1801712" y="207856"/>
                </a:lnTo>
                <a:lnTo>
                  <a:pt x="1800236" y="212041"/>
                </a:lnTo>
                <a:lnTo>
                  <a:pt x="1798512" y="216226"/>
                </a:lnTo>
                <a:lnTo>
                  <a:pt x="1796050" y="221148"/>
                </a:lnTo>
                <a:lnTo>
                  <a:pt x="1791127" y="223610"/>
                </a:lnTo>
                <a:lnTo>
                  <a:pt x="1791127" y="219426"/>
                </a:lnTo>
                <a:lnTo>
                  <a:pt x="1790143" y="219426"/>
                </a:lnTo>
                <a:lnTo>
                  <a:pt x="1790143" y="217703"/>
                </a:lnTo>
                <a:lnTo>
                  <a:pt x="1790143" y="216226"/>
                </a:lnTo>
                <a:lnTo>
                  <a:pt x="1788665" y="213518"/>
                </a:lnTo>
                <a:lnTo>
                  <a:pt x="1791127" y="210317"/>
                </a:lnTo>
                <a:lnTo>
                  <a:pt x="1792850" y="207856"/>
                </a:lnTo>
                <a:lnTo>
                  <a:pt x="1794327" y="204411"/>
                </a:lnTo>
                <a:close/>
                <a:moveTo>
                  <a:pt x="1846512" y="178564"/>
                </a:moveTo>
                <a:lnTo>
                  <a:pt x="1858082" y="184473"/>
                </a:lnTo>
                <a:lnTo>
                  <a:pt x="1858082" y="188657"/>
                </a:lnTo>
                <a:lnTo>
                  <a:pt x="1854635" y="188657"/>
                </a:lnTo>
                <a:lnTo>
                  <a:pt x="1853897" y="190380"/>
                </a:lnTo>
                <a:lnTo>
                  <a:pt x="1850696" y="191858"/>
                </a:lnTo>
                <a:lnTo>
                  <a:pt x="1848973" y="194565"/>
                </a:lnTo>
                <a:lnTo>
                  <a:pt x="1846512" y="192842"/>
                </a:lnTo>
                <a:lnTo>
                  <a:pt x="1844788" y="192842"/>
                </a:lnTo>
                <a:lnTo>
                  <a:pt x="1843065" y="191858"/>
                </a:lnTo>
                <a:lnTo>
                  <a:pt x="1842326" y="191858"/>
                </a:lnTo>
                <a:lnTo>
                  <a:pt x="1842326" y="188657"/>
                </a:lnTo>
                <a:lnTo>
                  <a:pt x="1842326" y="186196"/>
                </a:lnTo>
                <a:lnTo>
                  <a:pt x="1842326" y="184473"/>
                </a:lnTo>
                <a:lnTo>
                  <a:pt x="1843065" y="181026"/>
                </a:lnTo>
                <a:close/>
                <a:moveTo>
                  <a:pt x="1537343" y="171179"/>
                </a:moveTo>
                <a:lnTo>
                  <a:pt x="1552360" y="172902"/>
                </a:lnTo>
                <a:lnTo>
                  <a:pt x="1563928" y="175364"/>
                </a:lnTo>
                <a:lnTo>
                  <a:pt x="1560482" y="181025"/>
                </a:lnTo>
                <a:lnTo>
                  <a:pt x="1559006" y="186194"/>
                </a:lnTo>
                <a:lnTo>
                  <a:pt x="1556544" y="190379"/>
                </a:lnTo>
                <a:lnTo>
                  <a:pt x="1553098" y="194564"/>
                </a:lnTo>
                <a:lnTo>
                  <a:pt x="1560482" y="194564"/>
                </a:lnTo>
                <a:lnTo>
                  <a:pt x="1563928" y="191856"/>
                </a:lnTo>
                <a:lnTo>
                  <a:pt x="1564667" y="190379"/>
                </a:lnTo>
                <a:lnTo>
                  <a:pt x="1568112" y="188656"/>
                </a:lnTo>
                <a:lnTo>
                  <a:pt x="1572051" y="188656"/>
                </a:lnTo>
                <a:lnTo>
                  <a:pt x="1572051" y="194564"/>
                </a:lnTo>
                <a:lnTo>
                  <a:pt x="1576236" y="204410"/>
                </a:lnTo>
                <a:lnTo>
                  <a:pt x="1573774" y="213517"/>
                </a:lnTo>
                <a:lnTo>
                  <a:pt x="1569590" y="221148"/>
                </a:lnTo>
                <a:lnTo>
                  <a:pt x="1566390" y="227055"/>
                </a:lnTo>
                <a:lnTo>
                  <a:pt x="1573774" y="233702"/>
                </a:lnTo>
                <a:lnTo>
                  <a:pt x="1581159" y="244532"/>
                </a:lnTo>
                <a:lnTo>
                  <a:pt x="1591251" y="255363"/>
                </a:lnTo>
                <a:lnTo>
                  <a:pt x="1599374" y="268655"/>
                </a:lnTo>
                <a:lnTo>
                  <a:pt x="1606758" y="283671"/>
                </a:lnTo>
                <a:lnTo>
                  <a:pt x="1612667" y="295978"/>
                </a:lnTo>
                <a:lnTo>
                  <a:pt x="1614389" y="306810"/>
                </a:lnTo>
                <a:lnTo>
                  <a:pt x="1610943" y="316901"/>
                </a:lnTo>
                <a:lnTo>
                  <a:pt x="1604297" y="322809"/>
                </a:lnTo>
                <a:lnTo>
                  <a:pt x="1595190" y="328471"/>
                </a:lnTo>
                <a:lnTo>
                  <a:pt x="1581159" y="334379"/>
                </a:lnTo>
                <a:lnTo>
                  <a:pt x="1563928" y="338563"/>
                </a:lnTo>
                <a:lnTo>
                  <a:pt x="1548175" y="342747"/>
                </a:lnTo>
                <a:lnTo>
                  <a:pt x="1534883" y="344470"/>
                </a:lnTo>
                <a:lnTo>
                  <a:pt x="1534883" y="341025"/>
                </a:lnTo>
                <a:lnTo>
                  <a:pt x="1543251" y="328471"/>
                </a:lnTo>
                <a:lnTo>
                  <a:pt x="1550635" y="315178"/>
                </a:lnTo>
                <a:lnTo>
                  <a:pt x="1546451" y="315178"/>
                </a:lnTo>
                <a:lnTo>
                  <a:pt x="1543251" y="315178"/>
                </a:lnTo>
                <a:lnTo>
                  <a:pt x="1540790" y="313456"/>
                </a:lnTo>
                <a:lnTo>
                  <a:pt x="1540790" y="312716"/>
                </a:lnTo>
                <a:lnTo>
                  <a:pt x="1539067" y="310994"/>
                </a:lnTo>
                <a:lnTo>
                  <a:pt x="1539067" y="307793"/>
                </a:lnTo>
                <a:lnTo>
                  <a:pt x="1537343" y="303609"/>
                </a:lnTo>
                <a:lnTo>
                  <a:pt x="1548175" y="301147"/>
                </a:lnTo>
                <a:lnTo>
                  <a:pt x="1544974" y="297701"/>
                </a:lnTo>
                <a:lnTo>
                  <a:pt x="1544974" y="295978"/>
                </a:lnTo>
                <a:lnTo>
                  <a:pt x="1543251" y="295240"/>
                </a:lnTo>
                <a:lnTo>
                  <a:pt x="1543251" y="293517"/>
                </a:lnTo>
                <a:lnTo>
                  <a:pt x="1544974" y="290317"/>
                </a:lnTo>
                <a:lnTo>
                  <a:pt x="1546451" y="284409"/>
                </a:lnTo>
                <a:lnTo>
                  <a:pt x="1550635" y="280225"/>
                </a:lnTo>
                <a:lnTo>
                  <a:pt x="1553098" y="277763"/>
                </a:lnTo>
                <a:lnTo>
                  <a:pt x="1559006" y="274317"/>
                </a:lnTo>
                <a:lnTo>
                  <a:pt x="1563928" y="271855"/>
                </a:lnTo>
                <a:lnTo>
                  <a:pt x="1562205" y="268655"/>
                </a:lnTo>
                <a:lnTo>
                  <a:pt x="1562205" y="266932"/>
                </a:lnTo>
                <a:lnTo>
                  <a:pt x="1560482" y="266194"/>
                </a:lnTo>
                <a:lnTo>
                  <a:pt x="1560482" y="264471"/>
                </a:lnTo>
                <a:lnTo>
                  <a:pt x="1559006" y="261025"/>
                </a:lnTo>
                <a:lnTo>
                  <a:pt x="1558021" y="261025"/>
                </a:lnTo>
                <a:lnTo>
                  <a:pt x="1558021" y="260286"/>
                </a:lnTo>
                <a:lnTo>
                  <a:pt x="1556544" y="260286"/>
                </a:lnTo>
                <a:lnTo>
                  <a:pt x="1553098" y="258562"/>
                </a:lnTo>
                <a:lnTo>
                  <a:pt x="1550635" y="256840"/>
                </a:lnTo>
                <a:lnTo>
                  <a:pt x="1548913" y="256840"/>
                </a:lnTo>
                <a:lnTo>
                  <a:pt x="1546451" y="256840"/>
                </a:lnTo>
                <a:lnTo>
                  <a:pt x="1543251" y="255363"/>
                </a:lnTo>
                <a:lnTo>
                  <a:pt x="1540790" y="255363"/>
                </a:lnTo>
                <a:lnTo>
                  <a:pt x="1540790" y="254379"/>
                </a:lnTo>
                <a:lnTo>
                  <a:pt x="1539067" y="252656"/>
                </a:lnTo>
                <a:lnTo>
                  <a:pt x="1539067" y="251178"/>
                </a:lnTo>
                <a:lnTo>
                  <a:pt x="1539067" y="248471"/>
                </a:lnTo>
                <a:lnTo>
                  <a:pt x="1537343" y="245271"/>
                </a:lnTo>
                <a:lnTo>
                  <a:pt x="1539067" y="244532"/>
                </a:lnTo>
                <a:lnTo>
                  <a:pt x="1539067" y="242810"/>
                </a:lnTo>
                <a:lnTo>
                  <a:pt x="1540790" y="241086"/>
                </a:lnTo>
                <a:lnTo>
                  <a:pt x="1540790" y="239364"/>
                </a:lnTo>
                <a:lnTo>
                  <a:pt x="1540790" y="236902"/>
                </a:lnTo>
                <a:lnTo>
                  <a:pt x="1537343" y="236902"/>
                </a:lnTo>
                <a:lnTo>
                  <a:pt x="1536605" y="239364"/>
                </a:lnTo>
                <a:lnTo>
                  <a:pt x="1536605" y="241086"/>
                </a:lnTo>
                <a:lnTo>
                  <a:pt x="1536605" y="242810"/>
                </a:lnTo>
                <a:lnTo>
                  <a:pt x="1534883" y="242810"/>
                </a:lnTo>
                <a:lnTo>
                  <a:pt x="1533405" y="244532"/>
                </a:lnTo>
                <a:lnTo>
                  <a:pt x="1531682" y="245271"/>
                </a:lnTo>
                <a:lnTo>
                  <a:pt x="1529221" y="230994"/>
                </a:lnTo>
                <a:lnTo>
                  <a:pt x="1525774" y="217702"/>
                </a:lnTo>
                <a:lnTo>
                  <a:pt x="1525036" y="207856"/>
                </a:lnTo>
                <a:lnTo>
                  <a:pt x="1527497" y="200225"/>
                </a:lnTo>
                <a:lnTo>
                  <a:pt x="1531682" y="192840"/>
                </a:lnTo>
                <a:lnTo>
                  <a:pt x="1536605" y="184471"/>
                </a:lnTo>
                <a:close/>
                <a:moveTo>
                  <a:pt x="683935" y="95365"/>
                </a:moveTo>
                <a:lnTo>
                  <a:pt x="688119" y="98810"/>
                </a:lnTo>
                <a:lnTo>
                  <a:pt x="692058" y="102749"/>
                </a:lnTo>
                <a:lnTo>
                  <a:pt x="695504" y="108657"/>
                </a:lnTo>
                <a:lnTo>
                  <a:pt x="697227" y="114565"/>
                </a:lnTo>
                <a:lnTo>
                  <a:pt x="693781" y="114565"/>
                </a:lnTo>
                <a:lnTo>
                  <a:pt x="691319" y="116288"/>
                </a:lnTo>
                <a:lnTo>
                  <a:pt x="689596" y="116288"/>
                </a:lnTo>
                <a:lnTo>
                  <a:pt x="685657" y="117765"/>
                </a:lnTo>
                <a:lnTo>
                  <a:pt x="680488" y="117765"/>
                </a:lnTo>
                <a:lnTo>
                  <a:pt x="680488" y="114565"/>
                </a:lnTo>
                <a:lnTo>
                  <a:pt x="679750" y="114565"/>
                </a:lnTo>
                <a:lnTo>
                  <a:pt x="679750" y="112843"/>
                </a:lnTo>
                <a:lnTo>
                  <a:pt x="678027" y="112103"/>
                </a:lnTo>
                <a:lnTo>
                  <a:pt x="679750" y="108657"/>
                </a:lnTo>
                <a:lnTo>
                  <a:pt x="679750" y="106934"/>
                </a:lnTo>
                <a:lnTo>
                  <a:pt x="679750" y="106196"/>
                </a:lnTo>
                <a:lnTo>
                  <a:pt x="680488" y="104473"/>
                </a:lnTo>
                <a:close/>
                <a:moveTo>
                  <a:pt x="659074" y="85274"/>
                </a:moveTo>
                <a:lnTo>
                  <a:pt x="662520" y="88719"/>
                </a:lnTo>
                <a:lnTo>
                  <a:pt x="663997" y="90442"/>
                </a:lnTo>
                <a:lnTo>
                  <a:pt x="663997" y="91181"/>
                </a:lnTo>
                <a:lnTo>
                  <a:pt x="664982" y="94627"/>
                </a:lnTo>
                <a:lnTo>
                  <a:pt x="664982" y="97088"/>
                </a:lnTo>
                <a:lnTo>
                  <a:pt x="664982" y="101273"/>
                </a:lnTo>
                <a:lnTo>
                  <a:pt x="662520" y="101273"/>
                </a:lnTo>
                <a:lnTo>
                  <a:pt x="662520" y="104473"/>
                </a:lnTo>
                <a:lnTo>
                  <a:pt x="656613" y="102751"/>
                </a:lnTo>
                <a:lnTo>
                  <a:pt x="650951" y="101273"/>
                </a:lnTo>
                <a:lnTo>
                  <a:pt x="646766" y="98812"/>
                </a:lnTo>
                <a:lnTo>
                  <a:pt x="643320" y="98812"/>
                </a:lnTo>
                <a:lnTo>
                  <a:pt x="643320" y="95365"/>
                </a:lnTo>
                <a:lnTo>
                  <a:pt x="649228" y="92904"/>
                </a:lnTo>
                <a:lnTo>
                  <a:pt x="654889" y="90442"/>
                </a:lnTo>
                <a:close/>
                <a:moveTo>
                  <a:pt x="722827" y="59426"/>
                </a:moveTo>
                <a:lnTo>
                  <a:pt x="726028" y="61150"/>
                </a:lnTo>
                <a:lnTo>
                  <a:pt x="726766" y="62135"/>
                </a:lnTo>
                <a:lnTo>
                  <a:pt x="728489" y="63611"/>
                </a:lnTo>
                <a:lnTo>
                  <a:pt x="731935" y="63611"/>
                </a:lnTo>
                <a:lnTo>
                  <a:pt x="731935" y="65335"/>
                </a:lnTo>
                <a:lnTo>
                  <a:pt x="731935" y="67057"/>
                </a:lnTo>
                <a:lnTo>
                  <a:pt x="730213" y="67796"/>
                </a:lnTo>
                <a:lnTo>
                  <a:pt x="728489" y="69519"/>
                </a:lnTo>
                <a:lnTo>
                  <a:pt x="726766" y="71242"/>
                </a:lnTo>
                <a:lnTo>
                  <a:pt x="726028" y="71242"/>
                </a:lnTo>
                <a:lnTo>
                  <a:pt x="724304" y="72966"/>
                </a:lnTo>
                <a:lnTo>
                  <a:pt x="722827" y="72966"/>
                </a:lnTo>
                <a:lnTo>
                  <a:pt x="720366" y="72966"/>
                </a:lnTo>
                <a:lnTo>
                  <a:pt x="720366" y="67796"/>
                </a:lnTo>
                <a:lnTo>
                  <a:pt x="720366" y="65335"/>
                </a:lnTo>
                <a:lnTo>
                  <a:pt x="721104" y="63611"/>
                </a:lnTo>
                <a:close/>
                <a:moveTo>
                  <a:pt x="633474" y="8720"/>
                </a:moveTo>
                <a:lnTo>
                  <a:pt x="633474" y="15366"/>
                </a:lnTo>
                <a:lnTo>
                  <a:pt x="635197" y="18812"/>
                </a:lnTo>
                <a:lnTo>
                  <a:pt x="635936" y="21274"/>
                </a:lnTo>
                <a:lnTo>
                  <a:pt x="635936" y="26197"/>
                </a:lnTo>
                <a:lnTo>
                  <a:pt x="635936" y="32104"/>
                </a:lnTo>
                <a:lnTo>
                  <a:pt x="652428" y="32104"/>
                </a:lnTo>
                <a:lnTo>
                  <a:pt x="666459" y="47859"/>
                </a:lnTo>
                <a:lnTo>
                  <a:pt x="680489" y="63611"/>
                </a:lnTo>
                <a:lnTo>
                  <a:pt x="680489" y="65336"/>
                </a:lnTo>
                <a:lnTo>
                  <a:pt x="679752" y="67058"/>
                </a:lnTo>
                <a:lnTo>
                  <a:pt x="679752" y="67796"/>
                </a:lnTo>
                <a:lnTo>
                  <a:pt x="678028" y="69520"/>
                </a:lnTo>
                <a:lnTo>
                  <a:pt x="675566" y="72966"/>
                </a:lnTo>
                <a:lnTo>
                  <a:pt x="674090" y="73704"/>
                </a:lnTo>
                <a:lnTo>
                  <a:pt x="672367" y="75428"/>
                </a:lnTo>
                <a:lnTo>
                  <a:pt x="670643" y="75428"/>
                </a:lnTo>
                <a:lnTo>
                  <a:pt x="666459" y="75428"/>
                </a:lnTo>
                <a:lnTo>
                  <a:pt x="662520" y="77151"/>
                </a:lnTo>
                <a:lnTo>
                  <a:pt x="662520" y="72966"/>
                </a:lnTo>
                <a:lnTo>
                  <a:pt x="662520" y="67796"/>
                </a:lnTo>
                <a:lnTo>
                  <a:pt x="662520" y="65336"/>
                </a:lnTo>
                <a:lnTo>
                  <a:pt x="662520" y="63611"/>
                </a:lnTo>
                <a:lnTo>
                  <a:pt x="659074" y="61151"/>
                </a:lnTo>
                <a:lnTo>
                  <a:pt x="656613" y="59427"/>
                </a:lnTo>
                <a:lnTo>
                  <a:pt x="652428" y="56227"/>
                </a:lnTo>
                <a:lnTo>
                  <a:pt x="647505" y="67796"/>
                </a:lnTo>
                <a:lnTo>
                  <a:pt x="639381" y="75428"/>
                </a:lnTo>
                <a:lnTo>
                  <a:pt x="627813" y="79612"/>
                </a:lnTo>
                <a:lnTo>
                  <a:pt x="627813" y="75428"/>
                </a:lnTo>
                <a:lnTo>
                  <a:pt x="627813" y="72966"/>
                </a:lnTo>
                <a:lnTo>
                  <a:pt x="629290" y="69520"/>
                </a:lnTo>
                <a:lnTo>
                  <a:pt x="627813" y="67058"/>
                </a:lnTo>
                <a:lnTo>
                  <a:pt x="626089" y="63611"/>
                </a:lnTo>
                <a:lnTo>
                  <a:pt x="624367" y="59427"/>
                </a:lnTo>
                <a:lnTo>
                  <a:pt x="620182" y="57950"/>
                </a:lnTo>
                <a:lnTo>
                  <a:pt x="617720" y="56227"/>
                </a:lnTo>
                <a:lnTo>
                  <a:pt x="614520" y="56227"/>
                </a:lnTo>
                <a:lnTo>
                  <a:pt x="612058" y="55490"/>
                </a:lnTo>
                <a:lnTo>
                  <a:pt x="610335" y="55490"/>
                </a:lnTo>
                <a:lnTo>
                  <a:pt x="607135" y="53766"/>
                </a:lnTo>
                <a:lnTo>
                  <a:pt x="604674" y="50319"/>
                </a:lnTo>
                <a:lnTo>
                  <a:pt x="612797" y="40474"/>
                </a:lnTo>
                <a:lnTo>
                  <a:pt x="618704" y="28658"/>
                </a:lnTo>
                <a:lnTo>
                  <a:pt x="624367" y="17089"/>
                </a:lnTo>
                <a:close/>
                <a:moveTo>
                  <a:pt x="3641951" y="0"/>
                </a:moveTo>
                <a:lnTo>
                  <a:pt x="3750040" y="0"/>
                </a:lnTo>
                <a:lnTo>
                  <a:pt x="3751729" y="7982"/>
                </a:lnTo>
                <a:lnTo>
                  <a:pt x="3722929" y="7982"/>
                </a:lnTo>
                <a:lnTo>
                  <a:pt x="3721206" y="10443"/>
                </a:lnTo>
                <a:lnTo>
                  <a:pt x="3718744" y="13888"/>
                </a:lnTo>
                <a:lnTo>
                  <a:pt x="3717022" y="15612"/>
                </a:lnTo>
                <a:lnTo>
                  <a:pt x="3715298" y="19797"/>
                </a:lnTo>
                <a:lnTo>
                  <a:pt x="3713576" y="23981"/>
                </a:lnTo>
                <a:lnTo>
                  <a:pt x="3716775" y="25705"/>
                </a:lnTo>
                <a:lnTo>
                  <a:pt x="3718497" y="27428"/>
                </a:lnTo>
                <a:lnTo>
                  <a:pt x="3719237" y="28166"/>
                </a:lnTo>
                <a:lnTo>
                  <a:pt x="3720959" y="31611"/>
                </a:lnTo>
                <a:lnTo>
                  <a:pt x="3720959" y="33335"/>
                </a:lnTo>
                <a:lnTo>
                  <a:pt x="3719237" y="35797"/>
                </a:lnTo>
                <a:lnTo>
                  <a:pt x="3716775" y="39982"/>
                </a:lnTo>
                <a:lnTo>
                  <a:pt x="3715052" y="41704"/>
                </a:lnTo>
                <a:lnTo>
                  <a:pt x="3712591" y="43428"/>
                </a:lnTo>
                <a:lnTo>
                  <a:pt x="3709391" y="43428"/>
                </a:lnTo>
                <a:lnTo>
                  <a:pt x="3706929" y="43428"/>
                </a:lnTo>
                <a:lnTo>
                  <a:pt x="3701267" y="43428"/>
                </a:lnTo>
                <a:lnTo>
                  <a:pt x="3695606" y="34320"/>
                </a:lnTo>
                <a:lnTo>
                  <a:pt x="3686498" y="30136"/>
                </a:lnTo>
                <a:lnTo>
                  <a:pt x="3674930" y="27674"/>
                </a:lnTo>
                <a:lnTo>
                  <a:pt x="3674930" y="16844"/>
                </a:lnTo>
                <a:lnTo>
                  <a:pt x="3672467" y="16104"/>
                </a:lnTo>
                <a:lnTo>
                  <a:pt x="3669267" y="14381"/>
                </a:lnTo>
                <a:lnTo>
                  <a:pt x="3668529" y="12659"/>
                </a:lnTo>
                <a:lnTo>
                  <a:pt x="3665329" y="10935"/>
                </a:lnTo>
                <a:lnTo>
                  <a:pt x="3659668" y="10935"/>
                </a:lnTo>
                <a:lnTo>
                  <a:pt x="3657944" y="10935"/>
                </a:lnTo>
                <a:lnTo>
                  <a:pt x="3657207" y="12659"/>
                </a:lnTo>
                <a:lnTo>
                  <a:pt x="3655483" y="12659"/>
                </a:lnTo>
                <a:lnTo>
                  <a:pt x="3653760" y="12659"/>
                </a:lnTo>
                <a:lnTo>
                  <a:pt x="3651298" y="14381"/>
                </a:lnTo>
                <a:lnTo>
                  <a:pt x="3648098" y="8474"/>
                </a:lnTo>
                <a:lnTo>
                  <a:pt x="3643914" y="2567"/>
                </a:lnTo>
                <a:close/>
                <a:moveTo>
                  <a:pt x="1870193" y="0"/>
                </a:moveTo>
                <a:lnTo>
                  <a:pt x="1986120" y="0"/>
                </a:lnTo>
                <a:lnTo>
                  <a:pt x="1986571" y="3551"/>
                </a:lnTo>
                <a:lnTo>
                  <a:pt x="1988295" y="17827"/>
                </a:lnTo>
                <a:lnTo>
                  <a:pt x="1990757" y="29643"/>
                </a:lnTo>
                <a:lnTo>
                  <a:pt x="1993956" y="37274"/>
                </a:lnTo>
                <a:lnTo>
                  <a:pt x="1996418" y="41458"/>
                </a:lnTo>
                <a:lnTo>
                  <a:pt x="2000603" y="43181"/>
                </a:lnTo>
                <a:lnTo>
                  <a:pt x="2003802" y="46628"/>
                </a:lnTo>
                <a:lnTo>
                  <a:pt x="2009465" y="47366"/>
                </a:lnTo>
                <a:lnTo>
                  <a:pt x="2007741" y="37274"/>
                </a:lnTo>
                <a:lnTo>
                  <a:pt x="2006018" y="29643"/>
                </a:lnTo>
                <a:lnTo>
                  <a:pt x="2006018" y="21274"/>
                </a:lnTo>
                <a:lnTo>
                  <a:pt x="2011187" y="21274"/>
                </a:lnTo>
                <a:lnTo>
                  <a:pt x="2011187" y="17827"/>
                </a:lnTo>
                <a:lnTo>
                  <a:pt x="2021032" y="23735"/>
                </a:lnTo>
                <a:lnTo>
                  <a:pt x="2030879" y="29643"/>
                </a:lnTo>
                <a:lnTo>
                  <a:pt x="2042448" y="34566"/>
                </a:lnTo>
                <a:lnTo>
                  <a:pt x="2044171" y="31120"/>
                </a:lnTo>
                <a:lnTo>
                  <a:pt x="2045895" y="28658"/>
                </a:lnTo>
                <a:lnTo>
                  <a:pt x="2046633" y="26936"/>
                </a:lnTo>
                <a:lnTo>
                  <a:pt x="2048355" y="22750"/>
                </a:lnTo>
                <a:lnTo>
                  <a:pt x="2048355" y="17827"/>
                </a:lnTo>
                <a:lnTo>
                  <a:pt x="2046633" y="17089"/>
                </a:lnTo>
                <a:lnTo>
                  <a:pt x="2045895" y="15366"/>
                </a:lnTo>
                <a:lnTo>
                  <a:pt x="2044171" y="13643"/>
                </a:lnTo>
                <a:lnTo>
                  <a:pt x="2044171" y="11920"/>
                </a:lnTo>
                <a:lnTo>
                  <a:pt x="2044171" y="9458"/>
                </a:lnTo>
                <a:lnTo>
                  <a:pt x="2042448" y="5274"/>
                </a:lnTo>
                <a:lnTo>
                  <a:pt x="2054314" y="0"/>
                </a:lnTo>
                <a:lnTo>
                  <a:pt x="3640714" y="0"/>
                </a:lnTo>
                <a:lnTo>
                  <a:pt x="3640714" y="8474"/>
                </a:lnTo>
                <a:lnTo>
                  <a:pt x="3638252" y="20290"/>
                </a:lnTo>
                <a:lnTo>
                  <a:pt x="3635053" y="30382"/>
                </a:lnTo>
                <a:lnTo>
                  <a:pt x="3628406" y="36289"/>
                </a:lnTo>
                <a:lnTo>
                  <a:pt x="3625207" y="38012"/>
                </a:lnTo>
                <a:lnTo>
                  <a:pt x="3622745" y="38012"/>
                </a:lnTo>
                <a:lnTo>
                  <a:pt x="3621022" y="38012"/>
                </a:lnTo>
                <a:lnTo>
                  <a:pt x="3619298" y="38012"/>
                </a:lnTo>
                <a:lnTo>
                  <a:pt x="3617576" y="36289"/>
                </a:lnTo>
                <a:lnTo>
                  <a:pt x="3616838" y="36289"/>
                </a:lnTo>
                <a:lnTo>
                  <a:pt x="3615114" y="36289"/>
                </a:lnTo>
                <a:lnTo>
                  <a:pt x="3613391" y="38012"/>
                </a:lnTo>
                <a:lnTo>
                  <a:pt x="3611668" y="39735"/>
                </a:lnTo>
                <a:lnTo>
                  <a:pt x="3609207" y="43920"/>
                </a:lnTo>
                <a:lnTo>
                  <a:pt x="3617576" y="54012"/>
                </a:lnTo>
                <a:lnTo>
                  <a:pt x="3626683" y="71735"/>
                </a:lnTo>
                <a:lnTo>
                  <a:pt x="3630868" y="91920"/>
                </a:lnTo>
                <a:lnTo>
                  <a:pt x="3628406" y="91920"/>
                </a:lnTo>
                <a:lnTo>
                  <a:pt x="3626683" y="93643"/>
                </a:lnTo>
                <a:lnTo>
                  <a:pt x="3623483" y="93643"/>
                </a:lnTo>
                <a:lnTo>
                  <a:pt x="3619298" y="95365"/>
                </a:lnTo>
                <a:lnTo>
                  <a:pt x="3613637" y="91181"/>
                </a:lnTo>
                <a:lnTo>
                  <a:pt x="3609452" y="87734"/>
                </a:lnTo>
                <a:lnTo>
                  <a:pt x="3603791" y="86996"/>
                </a:lnTo>
                <a:lnTo>
                  <a:pt x="3596406" y="85274"/>
                </a:lnTo>
                <a:lnTo>
                  <a:pt x="3592222" y="97089"/>
                </a:lnTo>
                <a:lnTo>
                  <a:pt x="3583854" y="102997"/>
                </a:lnTo>
                <a:lnTo>
                  <a:pt x="3573022" y="107181"/>
                </a:lnTo>
                <a:lnTo>
                  <a:pt x="3561453" y="111366"/>
                </a:lnTo>
                <a:lnTo>
                  <a:pt x="3560715" y="123180"/>
                </a:lnTo>
                <a:lnTo>
                  <a:pt x="3557514" y="132289"/>
                </a:lnTo>
                <a:lnTo>
                  <a:pt x="3551854" y="140657"/>
                </a:lnTo>
                <a:lnTo>
                  <a:pt x="3540284" y="142381"/>
                </a:lnTo>
                <a:lnTo>
                  <a:pt x="3531915" y="144842"/>
                </a:lnTo>
                <a:lnTo>
                  <a:pt x="3526253" y="148288"/>
                </a:lnTo>
                <a:lnTo>
                  <a:pt x="3520592" y="150012"/>
                </a:lnTo>
                <a:lnTo>
                  <a:pt x="3516408" y="146565"/>
                </a:lnTo>
                <a:lnTo>
                  <a:pt x="3511484" y="142381"/>
                </a:lnTo>
                <a:lnTo>
                  <a:pt x="3509022" y="138196"/>
                </a:lnTo>
                <a:lnTo>
                  <a:pt x="3503362" y="138935"/>
                </a:lnTo>
                <a:lnTo>
                  <a:pt x="3495977" y="140657"/>
                </a:lnTo>
                <a:lnTo>
                  <a:pt x="3490315" y="144103"/>
                </a:lnTo>
                <a:lnTo>
                  <a:pt x="3486130" y="146565"/>
                </a:lnTo>
                <a:lnTo>
                  <a:pt x="3486130" y="152473"/>
                </a:lnTo>
                <a:lnTo>
                  <a:pt x="3481946" y="154195"/>
                </a:lnTo>
                <a:lnTo>
                  <a:pt x="3474562" y="154195"/>
                </a:lnTo>
                <a:lnTo>
                  <a:pt x="3464716" y="154195"/>
                </a:lnTo>
                <a:lnTo>
                  <a:pt x="3455608" y="155919"/>
                </a:lnTo>
                <a:lnTo>
                  <a:pt x="3451423" y="156658"/>
                </a:lnTo>
                <a:lnTo>
                  <a:pt x="3444038" y="174381"/>
                </a:lnTo>
                <a:lnTo>
                  <a:pt x="3443300" y="193580"/>
                </a:lnTo>
                <a:lnTo>
                  <a:pt x="3443300" y="215488"/>
                </a:lnTo>
                <a:lnTo>
                  <a:pt x="3445762" y="234687"/>
                </a:lnTo>
                <a:lnTo>
                  <a:pt x="3441577" y="234687"/>
                </a:lnTo>
                <a:lnTo>
                  <a:pt x="3439854" y="234687"/>
                </a:lnTo>
                <a:lnTo>
                  <a:pt x="3438131" y="234687"/>
                </a:lnTo>
                <a:lnTo>
                  <a:pt x="3437392" y="236410"/>
                </a:lnTo>
                <a:lnTo>
                  <a:pt x="3435670" y="237150"/>
                </a:lnTo>
                <a:lnTo>
                  <a:pt x="3433946" y="242072"/>
                </a:lnTo>
                <a:lnTo>
                  <a:pt x="3432223" y="246257"/>
                </a:lnTo>
                <a:lnTo>
                  <a:pt x="3432223" y="252164"/>
                </a:lnTo>
                <a:lnTo>
                  <a:pt x="3432223" y="258810"/>
                </a:lnTo>
                <a:lnTo>
                  <a:pt x="3422377" y="258810"/>
                </a:lnTo>
                <a:lnTo>
                  <a:pt x="3416715" y="267918"/>
                </a:lnTo>
                <a:lnTo>
                  <a:pt x="3412531" y="273825"/>
                </a:lnTo>
                <a:lnTo>
                  <a:pt x="3410808" y="279734"/>
                </a:lnTo>
                <a:lnTo>
                  <a:pt x="3409084" y="291548"/>
                </a:lnTo>
                <a:lnTo>
                  <a:pt x="3406623" y="291548"/>
                </a:lnTo>
                <a:lnTo>
                  <a:pt x="3403423" y="291548"/>
                </a:lnTo>
                <a:lnTo>
                  <a:pt x="3402685" y="291548"/>
                </a:lnTo>
                <a:lnTo>
                  <a:pt x="3400962" y="291548"/>
                </a:lnTo>
                <a:lnTo>
                  <a:pt x="3397762" y="291548"/>
                </a:lnTo>
                <a:lnTo>
                  <a:pt x="3392100" y="303365"/>
                </a:lnTo>
                <a:lnTo>
                  <a:pt x="3387915" y="317641"/>
                </a:lnTo>
                <a:lnTo>
                  <a:pt x="3378069" y="317641"/>
                </a:lnTo>
                <a:lnTo>
                  <a:pt x="3374869" y="333640"/>
                </a:lnTo>
                <a:lnTo>
                  <a:pt x="3369947" y="333640"/>
                </a:lnTo>
                <a:lnTo>
                  <a:pt x="3369947" y="329457"/>
                </a:lnTo>
                <a:lnTo>
                  <a:pt x="3358378" y="313456"/>
                </a:lnTo>
                <a:lnTo>
                  <a:pt x="3350993" y="294256"/>
                </a:lnTo>
                <a:lnTo>
                  <a:pt x="3349270" y="272349"/>
                </a:lnTo>
                <a:lnTo>
                  <a:pt x="3350993" y="246257"/>
                </a:lnTo>
                <a:lnTo>
                  <a:pt x="3355178" y="242811"/>
                </a:lnTo>
                <a:lnTo>
                  <a:pt x="3358378" y="240349"/>
                </a:lnTo>
                <a:lnTo>
                  <a:pt x="3362562" y="236903"/>
                </a:lnTo>
                <a:lnTo>
                  <a:pt x="3364285" y="232719"/>
                </a:lnTo>
                <a:lnTo>
                  <a:pt x="3366747" y="226811"/>
                </a:lnTo>
                <a:lnTo>
                  <a:pt x="3362562" y="219180"/>
                </a:lnTo>
                <a:lnTo>
                  <a:pt x="3360839" y="209088"/>
                </a:lnTo>
                <a:lnTo>
                  <a:pt x="3366501" y="197272"/>
                </a:lnTo>
                <a:lnTo>
                  <a:pt x="3372162" y="193088"/>
                </a:lnTo>
                <a:lnTo>
                  <a:pt x="3379547" y="189642"/>
                </a:lnTo>
                <a:lnTo>
                  <a:pt x="3387915" y="187180"/>
                </a:lnTo>
                <a:lnTo>
                  <a:pt x="3393577" y="181272"/>
                </a:lnTo>
                <a:lnTo>
                  <a:pt x="3405147" y="163550"/>
                </a:lnTo>
                <a:lnTo>
                  <a:pt x="3416715" y="145827"/>
                </a:lnTo>
                <a:lnTo>
                  <a:pt x="3425824" y="138196"/>
                </a:lnTo>
                <a:lnTo>
                  <a:pt x="3435670" y="131550"/>
                </a:lnTo>
                <a:lnTo>
                  <a:pt x="3445515" y="123920"/>
                </a:lnTo>
                <a:lnTo>
                  <a:pt x="3449700" y="113827"/>
                </a:lnTo>
                <a:lnTo>
                  <a:pt x="3452900" y="102011"/>
                </a:lnTo>
                <a:lnTo>
                  <a:pt x="3457085" y="91181"/>
                </a:lnTo>
                <a:lnTo>
                  <a:pt x="3457085" y="90443"/>
                </a:lnTo>
                <a:lnTo>
                  <a:pt x="3455361" y="90443"/>
                </a:lnTo>
                <a:lnTo>
                  <a:pt x="3455361" y="88719"/>
                </a:lnTo>
                <a:lnTo>
                  <a:pt x="3453639" y="86996"/>
                </a:lnTo>
                <a:lnTo>
                  <a:pt x="3451176" y="88719"/>
                </a:lnTo>
                <a:lnTo>
                  <a:pt x="3449454" y="90443"/>
                </a:lnTo>
                <a:lnTo>
                  <a:pt x="3448715" y="91181"/>
                </a:lnTo>
                <a:lnTo>
                  <a:pt x="3441331" y="102011"/>
                </a:lnTo>
                <a:lnTo>
                  <a:pt x="3433946" y="113827"/>
                </a:lnTo>
                <a:lnTo>
                  <a:pt x="3426561" y="123920"/>
                </a:lnTo>
                <a:lnTo>
                  <a:pt x="3416715" y="131550"/>
                </a:lnTo>
                <a:lnTo>
                  <a:pt x="3403423" y="137457"/>
                </a:lnTo>
                <a:lnTo>
                  <a:pt x="3402685" y="132535"/>
                </a:lnTo>
                <a:lnTo>
                  <a:pt x="3402685" y="131796"/>
                </a:lnTo>
                <a:lnTo>
                  <a:pt x="3400962" y="128350"/>
                </a:lnTo>
                <a:lnTo>
                  <a:pt x="3400962" y="124165"/>
                </a:lnTo>
                <a:lnTo>
                  <a:pt x="3402685" y="122442"/>
                </a:lnTo>
                <a:lnTo>
                  <a:pt x="3402685" y="120719"/>
                </a:lnTo>
                <a:lnTo>
                  <a:pt x="3402685" y="119980"/>
                </a:lnTo>
                <a:lnTo>
                  <a:pt x="3403423" y="116534"/>
                </a:lnTo>
                <a:lnTo>
                  <a:pt x="3403423" y="114073"/>
                </a:lnTo>
                <a:lnTo>
                  <a:pt x="3399238" y="110628"/>
                </a:lnTo>
                <a:lnTo>
                  <a:pt x="3395054" y="108903"/>
                </a:lnTo>
                <a:lnTo>
                  <a:pt x="3391854" y="108166"/>
                </a:lnTo>
                <a:lnTo>
                  <a:pt x="3387670" y="106442"/>
                </a:lnTo>
                <a:lnTo>
                  <a:pt x="3385208" y="108166"/>
                </a:lnTo>
                <a:lnTo>
                  <a:pt x="3377824" y="112350"/>
                </a:lnTo>
                <a:lnTo>
                  <a:pt x="3367978" y="120719"/>
                </a:lnTo>
                <a:lnTo>
                  <a:pt x="3358870" y="131550"/>
                </a:lnTo>
                <a:lnTo>
                  <a:pt x="3350500" y="141642"/>
                </a:lnTo>
                <a:lnTo>
                  <a:pt x="3346316" y="149273"/>
                </a:lnTo>
                <a:lnTo>
                  <a:pt x="3346316" y="151734"/>
                </a:lnTo>
                <a:lnTo>
                  <a:pt x="3346316" y="155180"/>
                </a:lnTo>
                <a:lnTo>
                  <a:pt x="3347055" y="157642"/>
                </a:lnTo>
                <a:lnTo>
                  <a:pt x="3348778" y="161826"/>
                </a:lnTo>
                <a:lnTo>
                  <a:pt x="3350500" y="165272"/>
                </a:lnTo>
                <a:lnTo>
                  <a:pt x="3350500" y="167734"/>
                </a:lnTo>
                <a:lnTo>
                  <a:pt x="3341394" y="171918"/>
                </a:lnTo>
                <a:lnTo>
                  <a:pt x="3331548" y="173642"/>
                </a:lnTo>
                <a:lnTo>
                  <a:pt x="3318255" y="175365"/>
                </a:lnTo>
                <a:lnTo>
                  <a:pt x="3305947" y="175365"/>
                </a:lnTo>
                <a:lnTo>
                  <a:pt x="3305947" y="159365"/>
                </a:lnTo>
                <a:lnTo>
                  <a:pt x="3292655" y="161826"/>
                </a:lnTo>
                <a:lnTo>
                  <a:pt x="3281085" y="166750"/>
                </a:lnTo>
                <a:lnTo>
                  <a:pt x="3271240" y="165026"/>
                </a:lnTo>
                <a:lnTo>
                  <a:pt x="3263855" y="155919"/>
                </a:lnTo>
                <a:lnTo>
                  <a:pt x="3235055" y="151734"/>
                </a:lnTo>
                <a:lnTo>
                  <a:pt x="3225209" y="161826"/>
                </a:lnTo>
                <a:lnTo>
                  <a:pt x="3213640" y="169457"/>
                </a:lnTo>
                <a:lnTo>
                  <a:pt x="3203794" y="177827"/>
                </a:lnTo>
                <a:lnTo>
                  <a:pt x="3198133" y="188657"/>
                </a:lnTo>
                <a:lnTo>
                  <a:pt x="3192471" y="198750"/>
                </a:lnTo>
                <a:lnTo>
                  <a:pt x="3186810" y="208841"/>
                </a:lnTo>
                <a:lnTo>
                  <a:pt x="3179425" y="216473"/>
                </a:lnTo>
                <a:lnTo>
                  <a:pt x="3156287" y="224103"/>
                </a:lnTo>
                <a:lnTo>
                  <a:pt x="3150625" y="230011"/>
                </a:lnTo>
                <a:lnTo>
                  <a:pt x="3146441" y="236657"/>
                </a:lnTo>
                <a:lnTo>
                  <a:pt x="3142256" y="242564"/>
                </a:lnTo>
                <a:lnTo>
                  <a:pt x="3132409" y="250195"/>
                </a:lnTo>
                <a:lnTo>
                  <a:pt x="3132409" y="258564"/>
                </a:lnTo>
                <a:lnTo>
                  <a:pt x="3144717" y="258564"/>
                </a:lnTo>
                <a:lnTo>
                  <a:pt x="3146441" y="263487"/>
                </a:lnTo>
                <a:lnTo>
                  <a:pt x="3148164" y="265949"/>
                </a:lnTo>
                <a:lnTo>
                  <a:pt x="3148902" y="269395"/>
                </a:lnTo>
                <a:lnTo>
                  <a:pt x="3152102" y="271857"/>
                </a:lnTo>
                <a:lnTo>
                  <a:pt x="3154563" y="273580"/>
                </a:lnTo>
                <a:lnTo>
                  <a:pt x="3160225" y="275303"/>
                </a:lnTo>
                <a:lnTo>
                  <a:pt x="3163425" y="271857"/>
                </a:lnTo>
                <a:lnTo>
                  <a:pt x="3165887" y="270133"/>
                </a:lnTo>
                <a:lnTo>
                  <a:pt x="3170809" y="269395"/>
                </a:lnTo>
                <a:lnTo>
                  <a:pt x="3174994" y="269395"/>
                </a:lnTo>
                <a:lnTo>
                  <a:pt x="3182379" y="269395"/>
                </a:lnTo>
                <a:lnTo>
                  <a:pt x="3188041" y="276041"/>
                </a:lnTo>
                <a:lnTo>
                  <a:pt x="3192225" y="281949"/>
                </a:lnTo>
                <a:lnTo>
                  <a:pt x="3194687" y="289580"/>
                </a:lnTo>
                <a:lnTo>
                  <a:pt x="3197887" y="301394"/>
                </a:lnTo>
                <a:lnTo>
                  <a:pt x="3199609" y="309026"/>
                </a:lnTo>
                <a:lnTo>
                  <a:pt x="3197887" y="313210"/>
                </a:lnTo>
                <a:lnTo>
                  <a:pt x="3193702" y="317395"/>
                </a:lnTo>
                <a:lnTo>
                  <a:pt x="3191978" y="325026"/>
                </a:lnTo>
                <a:lnTo>
                  <a:pt x="3191978" y="333395"/>
                </a:lnTo>
                <a:lnTo>
                  <a:pt x="3194441" y="341025"/>
                </a:lnTo>
                <a:lnTo>
                  <a:pt x="3197640" y="348656"/>
                </a:lnTo>
                <a:lnTo>
                  <a:pt x="3200102" y="358748"/>
                </a:lnTo>
                <a:lnTo>
                  <a:pt x="3191733" y="367856"/>
                </a:lnTo>
                <a:lnTo>
                  <a:pt x="3186072" y="377949"/>
                </a:lnTo>
                <a:lnTo>
                  <a:pt x="3181886" y="388041"/>
                </a:lnTo>
                <a:lnTo>
                  <a:pt x="3176226" y="401579"/>
                </a:lnTo>
                <a:lnTo>
                  <a:pt x="3173025" y="404041"/>
                </a:lnTo>
                <a:lnTo>
                  <a:pt x="3165640" y="413148"/>
                </a:lnTo>
                <a:lnTo>
                  <a:pt x="3157271" y="423241"/>
                </a:lnTo>
                <a:lnTo>
                  <a:pt x="3148164" y="435056"/>
                </a:lnTo>
                <a:lnTo>
                  <a:pt x="3138318" y="445148"/>
                </a:lnTo>
                <a:lnTo>
                  <a:pt x="3129949" y="455241"/>
                </a:lnTo>
                <a:lnTo>
                  <a:pt x="3124288" y="462871"/>
                </a:lnTo>
                <a:lnTo>
                  <a:pt x="3121088" y="466318"/>
                </a:lnTo>
                <a:lnTo>
                  <a:pt x="3111241" y="468778"/>
                </a:lnTo>
                <a:lnTo>
                  <a:pt x="3101395" y="467056"/>
                </a:lnTo>
                <a:lnTo>
                  <a:pt x="3092288" y="467056"/>
                </a:lnTo>
                <a:lnTo>
                  <a:pt x="3083918" y="468778"/>
                </a:lnTo>
                <a:lnTo>
                  <a:pt x="3076533" y="476409"/>
                </a:lnTo>
                <a:lnTo>
                  <a:pt x="3070872" y="484779"/>
                </a:lnTo>
                <a:lnTo>
                  <a:pt x="3066687" y="493887"/>
                </a:lnTo>
                <a:lnTo>
                  <a:pt x="3061026" y="502256"/>
                </a:lnTo>
                <a:lnTo>
                  <a:pt x="3052657" y="508164"/>
                </a:lnTo>
                <a:lnTo>
                  <a:pt x="3050934" y="508164"/>
                </a:lnTo>
                <a:lnTo>
                  <a:pt x="3049211" y="509887"/>
                </a:lnTo>
                <a:lnTo>
                  <a:pt x="3047487" y="509887"/>
                </a:lnTo>
                <a:lnTo>
                  <a:pt x="3045026" y="509887"/>
                </a:lnTo>
                <a:lnTo>
                  <a:pt x="3041826" y="511610"/>
                </a:lnTo>
                <a:lnTo>
                  <a:pt x="3045026" y="519979"/>
                </a:lnTo>
                <a:lnTo>
                  <a:pt x="3050688" y="529086"/>
                </a:lnTo>
                <a:lnTo>
                  <a:pt x="3054872" y="539179"/>
                </a:lnTo>
                <a:lnTo>
                  <a:pt x="3060534" y="549271"/>
                </a:lnTo>
                <a:lnTo>
                  <a:pt x="3062995" y="558378"/>
                </a:lnTo>
                <a:lnTo>
                  <a:pt x="3064719" y="568471"/>
                </a:lnTo>
                <a:lnTo>
                  <a:pt x="3062256" y="575117"/>
                </a:lnTo>
                <a:lnTo>
                  <a:pt x="3056595" y="581022"/>
                </a:lnTo>
                <a:lnTo>
                  <a:pt x="3045026" y="585945"/>
                </a:lnTo>
                <a:lnTo>
                  <a:pt x="3026073" y="588407"/>
                </a:lnTo>
                <a:lnTo>
                  <a:pt x="3026073" y="580776"/>
                </a:lnTo>
                <a:lnTo>
                  <a:pt x="3024348" y="574133"/>
                </a:lnTo>
                <a:lnTo>
                  <a:pt x="3024348" y="564040"/>
                </a:lnTo>
                <a:lnTo>
                  <a:pt x="3026073" y="552225"/>
                </a:lnTo>
                <a:lnTo>
                  <a:pt x="3026073" y="543117"/>
                </a:lnTo>
                <a:lnTo>
                  <a:pt x="3021888" y="543117"/>
                </a:lnTo>
                <a:lnTo>
                  <a:pt x="3018688" y="543117"/>
                </a:lnTo>
                <a:lnTo>
                  <a:pt x="3016226" y="543117"/>
                </a:lnTo>
                <a:lnTo>
                  <a:pt x="3014503" y="543117"/>
                </a:lnTo>
                <a:lnTo>
                  <a:pt x="3012780" y="541394"/>
                </a:lnTo>
                <a:lnTo>
                  <a:pt x="3010318" y="540655"/>
                </a:lnTo>
                <a:lnTo>
                  <a:pt x="3007118" y="535733"/>
                </a:lnTo>
                <a:lnTo>
                  <a:pt x="3010318" y="531548"/>
                </a:lnTo>
                <a:lnTo>
                  <a:pt x="3012780" y="527363"/>
                </a:lnTo>
                <a:lnTo>
                  <a:pt x="3014503" y="523179"/>
                </a:lnTo>
                <a:lnTo>
                  <a:pt x="3017703" y="517271"/>
                </a:lnTo>
                <a:lnTo>
                  <a:pt x="3010318" y="517271"/>
                </a:lnTo>
                <a:lnTo>
                  <a:pt x="3001211" y="515548"/>
                </a:lnTo>
                <a:lnTo>
                  <a:pt x="2991365" y="518010"/>
                </a:lnTo>
                <a:lnTo>
                  <a:pt x="2979796" y="522932"/>
                </a:lnTo>
                <a:lnTo>
                  <a:pt x="2969950" y="527117"/>
                </a:lnTo>
                <a:lnTo>
                  <a:pt x="2969950" y="523672"/>
                </a:lnTo>
                <a:lnTo>
                  <a:pt x="2971672" y="519486"/>
                </a:lnTo>
                <a:lnTo>
                  <a:pt x="2973396" y="517025"/>
                </a:lnTo>
                <a:lnTo>
                  <a:pt x="2974134" y="512102"/>
                </a:lnTo>
                <a:lnTo>
                  <a:pt x="2975857" y="509640"/>
                </a:lnTo>
                <a:lnTo>
                  <a:pt x="2978318" y="503733"/>
                </a:lnTo>
                <a:lnTo>
                  <a:pt x="2975857" y="503733"/>
                </a:lnTo>
                <a:lnTo>
                  <a:pt x="2973396" y="502009"/>
                </a:lnTo>
                <a:lnTo>
                  <a:pt x="2970196" y="502009"/>
                </a:lnTo>
                <a:lnTo>
                  <a:pt x="2966011" y="500287"/>
                </a:lnTo>
                <a:lnTo>
                  <a:pt x="2956904" y="509395"/>
                </a:lnTo>
                <a:lnTo>
                  <a:pt x="2947058" y="517025"/>
                </a:lnTo>
                <a:lnTo>
                  <a:pt x="2937212" y="525394"/>
                </a:lnTo>
                <a:lnTo>
                  <a:pt x="2931550" y="535487"/>
                </a:lnTo>
                <a:lnTo>
                  <a:pt x="2937212" y="538932"/>
                </a:lnTo>
                <a:lnTo>
                  <a:pt x="2941396" y="541394"/>
                </a:lnTo>
                <a:lnTo>
                  <a:pt x="2944596" y="544840"/>
                </a:lnTo>
                <a:lnTo>
                  <a:pt x="2947058" y="547301"/>
                </a:lnTo>
                <a:lnTo>
                  <a:pt x="2950257" y="552225"/>
                </a:lnTo>
                <a:lnTo>
                  <a:pt x="2958626" y="547301"/>
                </a:lnTo>
                <a:lnTo>
                  <a:pt x="2966011" y="544840"/>
                </a:lnTo>
                <a:lnTo>
                  <a:pt x="2973396" y="544840"/>
                </a:lnTo>
                <a:lnTo>
                  <a:pt x="2981764" y="549025"/>
                </a:lnTo>
                <a:lnTo>
                  <a:pt x="2985949" y="549025"/>
                </a:lnTo>
                <a:lnTo>
                  <a:pt x="2985949" y="559117"/>
                </a:lnTo>
                <a:lnTo>
                  <a:pt x="2970196" y="559117"/>
                </a:lnTo>
                <a:lnTo>
                  <a:pt x="2964534" y="566748"/>
                </a:lnTo>
                <a:lnTo>
                  <a:pt x="2958873" y="572655"/>
                </a:lnTo>
                <a:lnTo>
                  <a:pt x="2954688" y="578561"/>
                </a:lnTo>
                <a:lnTo>
                  <a:pt x="2950503" y="588653"/>
                </a:lnTo>
                <a:lnTo>
                  <a:pt x="2962073" y="596284"/>
                </a:lnTo>
                <a:lnTo>
                  <a:pt x="2968719" y="608099"/>
                </a:lnTo>
                <a:lnTo>
                  <a:pt x="2974380" y="624099"/>
                </a:lnTo>
                <a:lnTo>
                  <a:pt x="2977581" y="640099"/>
                </a:lnTo>
                <a:lnTo>
                  <a:pt x="2978318" y="657822"/>
                </a:lnTo>
                <a:lnTo>
                  <a:pt x="2978318" y="673330"/>
                </a:lnTo>
                <a:lnTo>
                  <a:pt x="2968472" y="679976"/>
                </a:lnTo>
                <a:lnTo>
                  <a:pt x="2962811" y="691791"/>
                </a:lnTo>
                <a:lnTo>
                  <a:pt x="2957149" y="702622"/>
                </a:lnTo>
                <a:lnTo>
                  <a:pt x="2950503" y="714437"/>
                </a:lnTo>
                <a:lnTo>
                  <a:pt x="2935734" y="730437"/>
                </a:lnTo>
                <a:lnTo>
                  <a:pt x="2916781" y="742251"/>
                </a:lnTo>
                <a:lnTo>
                  <a:pt x="2896842" y="750622"/>
                </a:lnTo>
                <a:lnTo>
                  <a:pt x="2873704" y="758252"/>
                </a:lnTo>
                <a:lnTo>
                  <a:pt x="2852289" y="762437"/>
                </a:lnTo>
                <a:lnTo>
                  <a:pt x="2852289" y="768345"/>
                </a:lnTo>
                <a:lnTo>
                  <a:pt x="2852289" y="771791"/>
                </a:lnTo>
                <a:lnTo>
                  <a:pt x="2852289" y="774251"/>
                </a:lnTo>
                <a:lnTo>
                  <a:pt x="2852289" y="775976"/>
                </a:lnTo>
                <a:lnTo>
                  <a:pt x="2854012" y="777698"/>
                </a:lnTo>
                <a:lnTo>
                  <a:pt x="2854012" y="781882"/>
                </a:lnTo>
                <a:lnTo>
                  <a:pt x="2854750" y="786068"/>
                </a:lnTo>
                <a:lnTo>
                  <a:pt x="2852289" y="789513"/>
                </a:lnTo>
                <a:lnTo>
                  <a:pt x="2849089" y="791974"/>
                </a:lnTo>
                <a:lnTo>
                  <a:pt x="2848350" y="793699"/>
                </a:lnTo>
                <a:lnTo>
                  <a:pt x="2845150" y="796159"/>
                </a:lnTo>
                <a:lnTo>
                  <a:pt x="2839489" y="799605"/>
                </a:lnTo>
                <a:lnTo>
                  <a:pt x="2837766" y="799605"/>
                </a:lnTo>
                <a:lnTo>
                  <a:pt x="2837027" y="801329"/>
                </a:lnTo>
                <a:lnTo>
                  <a:pt x="2835304" y="801329"/>
                </a:lnTo>
                <a:lnTo>
                  <a:pt x="2833582" y="801329"/>
                </a:lnTo>
                <a:lnTo>
                  <a:pt x="2831119" y="802067"/>
                </a:lnTo>
                <a:lnTo>
                  <a:pt x="2829396" y="797883"/>
                </a:lnTo>
                <a:lnTo>
                  <a:pt x="2827673" y="793699"/>
                </a:lnTo>
                <a:lnTo>
                  <a:pt x="2827673" y="789513"/>
                </a:lnTo>
                <a:lnTo>
                  <a:pt x="2827673" y="781882"/>
                </a:lnTo>
                <a:lnTo>
                  <a:pt x="2830873" y="780160"/>
                </a:lnTo>
                <a:lnTo>
                  <a:pt x="2833336" y="780160"/>
                </a:lnTo>
                <a:lnTo>
                  <a:pt x="2836535" y="778437"/>
                </a:lnTo>
                <a:lnTo>
                  <a:pt x="2837274" y="775976"/>
                </a:lnTo>
                <a:lnTo>
                  <a:pt x="2838997" y="772529"/>
                </a:lnTo>
                <a:lnTo>
                  <a:pt x="2837274" y="770067"/>
                </a:lnTo>
                <a:lnTo>
                  <a:pt x="2834812" y="765883"/>
                </a:lnTo>
                <a:lnTo>
                  <a:pt x="2833089" y="762437"/>
                </a:lnTo>
                <a:lnTo>
                  <a:pt x="2830627" y="760714"/>
                </a:lnTo>
                <a:lnTo>
                  <a:pt x="2828905" y="760714"/>
                </a:lnTo>
                <a:lnTo>
                  <a:pt x="2824720" y="759975"/>
                </a:lnTo>
                <a:lnTo>
                  <a:pt x="2819797" y="759975"/>
                </a:lnTo>
                <a:lnTo>
                  <a:pt x="2814874" y="766621"/>
                </a:lnTo>
                <a:lnTo>
                  <a:pt x="2809213" y="771545"/>
                </a:lnTo>
                <a:lnTo>
                  <a:pt x="2804289" y="775729"/>
                </a:lnTo>
                <a:lnTo>
                  <a:pt x="2800104" y="783360"/>
                </a:lnTo>
                <a:lnTo>
                  <a:pt x="2798382" y="795174"/>
                </a:lnTo>
                <a:lnTo>
                  <a:pt x="2811674" y="807729"/>
                </a:lnTo>
                <a:lnTo>
                  <a:pt x="2821520" y="821268"/>
                </a:lnTo>
                <a:lnTo>
                  <a:pt x="2830627" y="835544"/>
                </a:lnTo>
                <a:lnTo>
                  <a:pt x="2834812" y="854743"/>
                </a:lnTo>
                <a:lnTo>
                  <a:pt x="2836535" y="878129"/>
                </a:lnTo>
                <a:lnTo>
                  <a:pt x="2788535" y="917512"/>
                </a:lnTo>
                <a:lnTo>
                  <a:pt x="2782874" y="917512"/>
                </a:lnTo>
                <a:lnTo>
                  <a:pt x="2778689" y="901513"/>
                </a:lnTo>
                <a:lnTo>
                  <a:pt x="2769582" y="889697"/>
                </a:lnTo>
                <a:lnTo>
                  <a:pt x="2758012" y="879605"/>
                </a:lnTo>
                <a:lnTo>
                  <a:pt x="2745705" y="869513"/>
                </a:lnTo>
                <a:lnTo>
                  <a:pt x="2732412" y="858682"/>
                </a:lnTo>
                <a:lnTo>
                  <a:pt x="2726752" y="882067"/>
                </a:lnTo>
                <a:lnTo>
                  <a:pt x="2719366" y="901266"/>
                </a:lnTo>
                <a:lnTo>
                  <a:pt x="2726752" y="905451"/>
                </a:lnTo>
                <a:lnTo>
                  <a:pt x="2729951" y="911359"/>
                </a:lnTo>
                <a:lnTo>
                  <a:pt x="2730690" y="918989"/>
                </a:lnTo>
                <a:lnTo>
                  <a:pt x="2735613" y="927359"/>
                </a:lnTo>
                <a:lnTo>
                  <a:pt x="2736351" y="929082"/>
                </a:lnTo>
                <a:lnTo>
                  <a:pt x="2739551" y="929082"/>
                </a:lnTo>
                <a:lnTo>
                  <a:pt x="2742013" y="929082"/>
                </a:lnTo>
                <a:lnTo>
                  <a:pt x="2745213" y="929082"/>
                </a:lnTo>
                <a:lnTo>
                  <a:pt x="2747675" y="930805"/>
                </a:lnTo>
                <a:lnTo>
                  <a:pt x="2759243" y="942619"/>
                </a:lnTo>
                <a:lnTo>
                  <a:pt x="2768351" y="960342"/>
                </a:lnTo>
                <a:lnTo>
                  <a:pt x="2774013" y="980527"/>
                </a:lnTo>
                <a:lnTo>
                  <a:pt x="2774751" y="1001451"/>
                </a:lnTo>
                <a:lnTo>
                  <a:pt x="2766382" y="1001451"/>
                </a:lnTo>
                <a:lnTo>
                  <a:pt x="2757274" y="993820"/>
                </a:lnTo>
                <a:lnTo>
                  <a:pt x="2748905" y="989635"/>
                </a:lnTo>
                <a:lnTo>
                  <a:pt x="2747182" y="987911"/>
                </a:lnTo>
                <a:lnTo>
                  <a:pt x="2739797" y="982005"/>
                </a:lnTo>
                <a:lnTo>
                  <a:pt x="2734874" y="970188"/>
                </a:lnTo>
                <a:lnTo>
                  <a:pt x="2731675" y="956651"/>
                </a:lnTo>
                <a:lnTo>
                  <a:pt x="2727490" y="944835"/>
                </a:lnTo>
                <a:lnTo>
                  <a:pt x="2723305" y="933020"/>
                </a:lnTo>
                <a:lnTo>
                  <a:pt x="2715920" y="922928"/>
                </a:lnTo>
                <a:lnTo>
                  <a:pt x="2715920" y="920467"/>
                </a:lnTo>
                <a:lnTo>
                  <a:pt x="2708536" y="922928"/>
                </a:lnTo>
                <a:lnTo>
                  <a:pt x="2708536" y="920467"/>
                </a:lnTo>
                <a:lnTo>
                  <a:pt x="2706074" y="908651"/>
                </a:lnTo>
                <a:lnTo>
                  <a:pt x="2706074" y="893636"/>
                </a:lnTo>
                <a:lnTo>
                  <a:pt x="2706074" y="877636"/>
                </a:lnTo>
                <a:lnTo>
                  <a:pt x="2706074" y="859913"/>
                </a:lnTo>
                <a:lnTo>
                  <a:pt x="2704351" y="843913"/>
                </a:lnTo>
                <a:lnTo>
                  <a:pt x="2698690" y="830374"/>
                </a:lnTo>
                <a:lnTo>
                  <a:pt x="2689582" y="820283"/>
                </a:lnTo>
                <a:lnTo>
                  <a:pt x="2687121" y="822744"/>
                </a:lnTo>
                <a:lnTo>
                  <a:pt x="2682936" y="826190"/>
                </a:lnTo>
                <a:lnTo>
                  <a:pt x="2679736" y="827913"/>
                </a:lnTo>
                <a:lnTo>
                  <a:pt x="2674074" y="828652"/>
                </a:lnTo>
                <a:lnTo>
                  <a:pt x="2668414" y="828652"/>
                </a:lnTo>
                <a:lnTo>
                  <a:pt x="2666690" y="828652"/>
                </a:lnTo>
                <a:lnTo>
                  <a:pt x="2666690" y="827913"/>
                </a:lnTo>
                <a:lnTo>
                  <a:pt x="2665951" y="827913"/>
                </a:lnTo>
                <a:lnTo>
                  <a:pt x="2664228" y="826190"/>
                </a:lnTo>
                <a:lnTo>
                  <a:pt x="2664228" y="808467"/>
                </a:lnTo>
                <a:lnTo>
                  <a:pt x="2660044" y="794191"/>
                </a:lnTo>
                <a:lnTo>
                  <a:pt x="2654383" y="782375"/>
                </a:lnTo>
                <a:lnTo>
                  <a:pt x="2645275" y="771545"/>
                </a:lnTo>
                <a:lnTo>
                  <a:pt x="2638629" y="759729"/>
                </a:lnTo>
                <a:lnTo>
                  <a:pt x="2629522" y="745452"/>
                </a:lnTo>
                <a:lnTo>
                  <a:pt x="2627059" y="747914"/>
                </a:lnTo>
                <a:lnTo>
                  <a:pt x="2625337" y="749637"/>
                </a:lnTo>
                <a:lnTo>
                  <a:pt x="2623613" y="753083"/>
                </a:lnTo>
                <a:lnTo>
                  <a:pt x="2621891" y="753821"/>
                </a:lnTo>
                <a:lnTo>
                  <a:pt x="2621151" y="755545"/>
                </a:lnTo>
                <a:lnTo>
                  <a:pt x="2607860" y="757268"/>
                </a:lnTo>
                <a:lnTo>
                  <a:pt x="2596290" y="755545"/>
                </a:lnTo>
                <a:lnTo>
                  <a:pt x="2584721" y="755545"/>
                </a:lnTo>
                <a:lnTo>
                  <a:pt x="2581521" y="767360"/>
                </a:lnTo>
                <a:lnTo>
                  <a:pt x="2577337" y="773268"/>
                </a:lnTo>
                <a:lnTo>
                  <a:pt x="2574875" y="774991"/>
                </a:lnTo>
                <a:lnTo>
                  <a:pt x="2569214" y="774991"/>
                </a:lnTo>
                <a:lnTo>
                  <a:pt x="2563553" y="776714"/>
                </a:lnTo>
                <a:lnTo>
                  <a:pt x="2557891" y="780897"/>
                </a:lnTo>
                <a:lnTo>
                  <a:pt x="2548045" y="806991"/>
                </a:lnTo>
                <a:lnTo>
                  <a:pt x="2534753" y="806991"/>
                </a:lnTo>
                <a:lnTo>
                  <a:pt x="2527369" y="812897"/>
                </a:lnTo>
                <a:lnTo>
                  <a:pt x="2519983" y="820528"/>
                </a:lnTo>
                <a:lnTo>
                  <a:pt x="2510137" y="826436"/>
                </a:lnTo>
                <a:lnTo>
                  <a:pt x="2507676" y="855728"/>
                </a:lnTo>
                <a:lnTo>
                  <a:pt x="2500292" y="880836"/>
                </a:lnTo>
                <a:lnTo>
                  <a:pt x="2490445" y="901020"/>
                </a:lnTo>
                <a:lnTo>
                  <a:pt x="2474691" y="920221"/>
                </a:lnTo>
                <a:lnTo>
                  <a:pt x="2472968" y="920221"/>
                </a:lnTo>
                <a:lnTo>
                  <a:pt x="2471245" y="918497"/>
                </a:lnTo>
                <a:lnTo>
                  <a:pt x="2469522" y="918497"/>
                </a:lnTo>
                <a:lnTo>
                  <a:pt x="2468784" y="916775"/>
                </a:lnTo>
                <a:lnTo>
                  <a:pt x="2459676" y="906682"/>
                </a:lnTo>
                <a:lnTo>
                  <a:pt x="2451308" y="890682"/>
                </a:lnTo>
                <a:lnTo>
                  <a:pt x="2446384" y="877144"/>
                </a:lnTo>
                <a:lnTo>
                  <a:pt x="2445645" y="874682"/>
                </a:lnTo>
                <a:lnTo>
                  <a:pt x="2446384" y="871236"/>
                </a:lnTo>
                <a:lnTo>
                  <a:pt x="2448107" y="868774"/>
                </a:lnTo>
                <a:lnTo>
                  <a:pt x="2449830" y="867051"/>
                </a:lnTo>
                <a:lnTo>
                  <a:pt x="2449830" y="865328"/>
                </a:lnTo>
                <a:lnTo>
                  <a:pt x="2435061" y="843421"/>
                </a:lnTo>
                <a:lnTo>
                  <a:pt x="2425215" y="820036"/>
                </a:lnTo>
                <a:lnTo>
                  <a:pt x="2418568" y="794929"/>
                </a:lnTo>
                <a:lnTo>
                  <a:pt x="2415369" y="764652"/>
                </a:lnTo>
                <a:lnTo>
                  <a:pt x="2405523" y="765390"/>
                </a:lnTo>
                <a:lnTo>
                  <a:pt x="2398139" y="765390"/>
                </a:lnTo>
                <a:lnTo>
                  <a:pt x="2389769" y="764652"/>
                </a:lnTo>
                <a:lnTo>
                  <a:pt x="2386568" y="761206"/>
                </a:lnTo>
                <a:lnTo>
                  <a:pt x="2382384" y="758744"/>
                </a:lnTo>
                <a:lnTo>
                  <a:pt x="2379184" y="755298"/>
                </a:lnTo>
                <a:lnTo>
                  <a:pt x="2376723" y="752837"/>
                </a:lnTo>
                <a:lnTo>
                  <a:pt x="2379184" y="742006"/>
                </a:lnTo>
                <a:lnTo>
                  <a:pt x="2373523" y="733637"/>
                </a:lnTo>
                <a:lnTo>
                  <a:pt x="2363677" y="726006"/>
                </a:lnTo>
                <a:lnTo>
                  <a:pt x="2353830" y="719360"/>
                </a:lnTo>
                <a:lnTo>
                  <a:pt x="2344723" y="710252"/>
                </a:lnTo>
                <a:lnTo>
                  <a:pt x="2320847" y="713699"/>
                </a:lnTo>
                <a:lnTo>
                  <a:pt x="2295986" y="713699"/>
                </a:lnTo>
                <a:lnTo>
                  <a:pt x="2271123" y="711976"/>
                </a:lnTo>
                <a:lnTo>
                  <a:pt x="2247247" y="710252"/>
                </a:lnTo>
                <a:lnTo>
                  <a:pt x="2243063" y="701883"/>
                </a:lnTo>
                <a:lnTo>
                  <a:pt x="2237401" y="691053"/>
                </a:lnTo>
                <a:lnTo>
                  <a:pt x="2228293" y="694499"/>
                </a:lnTo>
                <a:lnTo>
                  <a:pt x="2222632" y="696222"/>
                </a:lnTo>
                <a:lnTo>
                  <a:pt x="2215247" y="696960"/>
                </a:lnTo>
                <a:lnTo>
                  <a:pt x="2205401" y="696960"/>
                </a:lnTo>
                <a:lnTo>
                  <a:pt x="2197031" y="691053"/>
                </a:lnTo>
                <a:lnTo>
                  <a:pt x="2187925" y="686868"/>
                </a:lnTo>
                <a:lnTo>
                  <a:pt x="2178078" y="680960"/>
                </a:lnTo>
                <a:lnTo>
                  <a:pt x="2170694" y="675053"/>
                </a:lnTo>
                <a:lnTo>
                  <a:pt x="2168232" y="666683"/>
                </a:lnTo>
                <a:lnTo>
                  <a:pt x="2164047" y="659053"/>
                </a:lnTo>
                <a:lnTo>
                  <a:pt x="2154940" y="651422"/>
                </a:lnTo>
                <a:lnTo>
                  <a:pt x="2153217" y="651422"/>
                </a:lnTo>
                <a:lnTo>
                  <a:pt x="2152479" y="651422"/>
                </a:lnTo>
                <a:lnTo>
                  <a:pt x="2150754" y="651422"/>
                </a:lnTo>
                <a:lnTo>
                  <a:pt x="2147555" y="651422"/>
                </a:lnTo>
                <a:lnTo>
                  <a:pt x="2141893" y="651422"/>
                </a:lnTo>
                <a:lnTo>
                  <a:pt x="2145094" y="663237"/>
                </a:lnTo>
                <a:lnTo>
                  <a:pt x="2149279" y="676776"/>
                </a:lnTo>
                <a:lnTo>
                  <a:pt x="2156663" y="690314"/>
                </a:lnTo>
                <a:lnTo>
                  <a:pt x="2162324" y="702130"/>
                </a:lnTo>
                <a:lnTo>
                  <a:pt x="2167986" y="710498"/>
                </a:lnTo>
                <a:lnTo>
                  <a:pt x="2169709" y="706314"/>
                </a:lnTo>
                <a:lnTo>
                  <a:pt x="2170448" y="704591"/>
                </a:lnTo>
                <a:lnTo>
                  <a:pt x="2170448" y="702868"/>
                </a:lnTo>
                <a:lnTo>
                  <a:pt x="2172170" y="702868"/>
                </a:lnTo>
                <a:lnTo>
                  <a:pt x="2173893" y="702868"/>
                </a:lnTo>
                <a:lnTo>
                  <a:pt x="2178078" y="704591"/>
                </a:lnTo>
                <a:lnTo>
                  <a:pt x="2179801" y="708776"/>
                </a:lnTo>
                <a:lnTo>
                  <a:pt x="2181524" y="713699"/>
                </a:lnTo>
                <a:lnTo>
                  <a:pt x="2181524" y="717883"/>
                </a:lnTo>
                <a:lnTo>
                  <a:pt x="2182262" y="722068"/>
                </a:lnTo>
                <a:lnTo>
                  <a:pt x="2183986" y="726252"/>
                </a:lnTo>
                <a:lnTo>
                  <a:pt x="2189647" y="725514"/>
                </a:lnTo>
                <a:lnTo>
                  <a:pt x="2197031" y="723791"/>
                </a:lnTo>
                <a:lnTo>
                  <a:pt x="2205401" y="723791"/>
                </a:lnTo>
                <a:lnTo>
                  <a:pt x="2218694" y="708776"/>
                </a:lnTo>
                <a:lnTo>
                  <a:pt x="2234447" y="696960"/>
                </a:lnTo>
                <a:lnTo>
                  <a:pt x="2236170" y="711976"/>
                </a:lnTo>
                <a:lnTo>
                  <a:pt x="2237892" y="723791"/>
                </a:lnTo>
                <a:lnTo>
                  <a:pt x="2259308" y="735605"/>
                </a:lnTo>
                <a:lnTo>
                  <a:pt x="2276538" y="749882"/>
                </a:lnTo>
                <a:lnTo>
                  <a:pt x="2270877" y="757513"/>
                </a:lnTo>
                <a:lnTo>
                  <a:pt x="2265954" y="765145"/>
                </a:lnTo>
                <a:lnTo>
                  <a:pt x="2261031" y="771052"/>
                </a:lnTo>
                <a:lnTo>
                  <a:pt x="2250200" y="775236"/>
                </a:lnTo>
                <a:lnTo>
                  <a:pt x="2250200" y="791236"/>
                </a:lnTo>
                <a:lnTo>
                  <a:pt x="2236170" y="800345"/>
                </a:lnTo>
                <a:lnTo>
                  <a:pt x="2221400" y="810436"/>
                </a:lnTo>
                <a:lnTo>
                  <a:pt x="2221400" y="817575"/>
                </a:lnTo>
                <a:lnTo>
                  <a:pt x="2203185" y="817575"/>
                </a:lnTo>
                <a:lnTo>
                  <a:pt x="2192355" y="823483"/>
                </a:lnTo>
                <a:lnTo>
                  <a:pt x="2183986" y="832590"/>
                </a:lnTo>
                <a:lnTo>
                  <a:pt x="2174140" y="840220"/>
                </a:lnTo>
                <a:lnTo>
                  <a:pt x="2160847" y="846129"/>
                </a:lnTo>
                <a:lnTo>
                  <a:pt x="2147555" y="848590"/>
                </a:lnTo>
                <a:lnTo>
                  <a:pt x="2133524" y="852775"/>
                </a:lnTo>
                <a:lnTo>
                  <a:pt x="2121956" y="857698"/>
                </a:lnTo>
                <a:lnTo>
                  <a:pt x="2112109" y="863605"/>
                </a:lnTo>
                <a:lnTo>
                  <a:pt x="2102263" y="866067"/>
                </a:lnTo>
                <a:lnTo>
                  <a:pt x="2094878" y="866067"/>
                </a:lnTo>
                <a:lnTo>
                  <a:pt x="2091678" y="864344"/>
                </a:lnTo>
                <a:lnTo>
                  <a:pt x="2090940" y="864344"/>
                </a:lnTo>
                <a:lnTo>
                  <a:pt x="2089217" y="863605"/>
                </a:lnTo>
                <a:lnTo>
                  <a:pt x="2087494" y="861882"/>
                </a:lnTo>
                <a:lnTo>
                  <a:pt x="2085771" y="858436"/>
                </a:lnTo>
                <a:lnTo>
                  <a:pt x="2081586" y="850067"/>
                </a:lnTo>
                <a:lnTo>
                  <a:pt x="2079864" y="840959"/>
                </a:lnTo>
                <a:lnTo>
                  <a:pt x="2079864" y="832590"/>
                </a:lnTo>
                <a:lnTo>
                  <a:pt x="2079125" y="823483"/>
                </a:lnTo>
                <a:lnTo>
                  <a:pt x="2071740" y="809206"/>
                </a:lnTo>
                <a:lnTo>
                  <a:pt x="2061895" y="795667"/>
                </a:lnTo>
                <a:lnTo>
                  <a:pt x="2051064" y="783853"/>
                </a:lnTo>
                <a:lnTo>
                  <a:pt x="2041218" y="772036"/>
                </a:lnTo>
                <a:lnTo>
                  <a:pt x="2038756" y="763667"/>
                </a:lnTo>
                <a:lnTo>
                  <a:pt x="2037033" y="753575"/>
                </a:lnTo>
                <a:lnTo>
                  <a:pt x="2035309" y="742744"/>
                </a:lnTo>
                <a:lnTo>
                  <a:pt x="2031125" y="734375"/>
                </a:lnTo>
                <a:lnTo>
                  <a:pt x="2015371" y="724284"/>
                </a:lnTo>
                <a:lnTo>
                  <a:pt x="2011187" y="714191"/>
                </a:lnTo>
                <a:lnTo>
                  <a:pt x="2006264" y="703361"/>
                </a:lnTo>
                <a:lnTo>
                  <a:pt x="2002079" y="693268"/>
                </a:lnTo>
                <a:lnTo>
                  <a:pt x="1996418" y="684899"/>
                </a:lnTo>
                <a:lnTo>
                  <a:pt x="1988049" y="678991"/>
                </a:lnTo>
                <a:lnTo>
                  <a:pt x="1983126" y="677268"/>
                </a:lnTo>
                <a:lnTo>
                  <a:pt x="1982387" y="673821"/>
                </a:lnTo>
                <a:lnTo>
                  <a:pt x="1979187" y="673083"/>
                </a:lnTo>
                <a:lnTo>
                  <a:pt x="1976725" y="671361"/>
                </a:lnTo>
                <a:lnTo>
                  <a:pt x="1973525" y="669637"/>
                </a:lnTo>
                <a:lnTo>
                  <a:pt x="1971065" y="667176"/>
                </a:lnTo>
                <a:lnTo>
                  <a:pt x="1967864" y="662253"/>
                </a:lnTo>
                <a:lnTo>
                  <a:pt x="1965403" y="656345"/>
                </a:lnTo>
                <a:lnTo>
                  <a:pt x="1962203" y="656345"/>
                </a:lnTo>
                <a:lnTo>
                  <a:pt x="1962203" y="662253"/>
                </a:lnTo>
                <a:lnTo>
                  <a:pt x="1972049" y="675791"/>
                </a:lnTo>
                <a:lnTo>
                  <a:pt x="1981156" y="690806"/>
                </a:lnTo>
                <a:lnTo>
                  <a:pt x="1986818" y="708529"/>
                </a:lnTo>
                <a:lnTo>
                  <a:pt x="1992479" y="724529"/>
                </a:lnTo>
                <a:lnTo>
                  <a:pt x="1999863" y="740529"/>
                </a:lnTo>
                <a:lnTo>
                  <a:pt x="2002326" y="742991"/>
                </a:lnTo>
                <a:lnTo>
                  <a:pt x="2006509" y="746437"/>
                </a:lnTo>
                <a:lnTo>
                  <a:pt x="2009710" y="748898"/>
                </a:lnTo>
                <a:lnTo>
                  <a:pt x="2013895" y="752344"/>
                </a:lnTo>
                <a:lnTo>
                  <a:pt x="2015618" y="756528"/>
                </a:lnTo>
                <a:lnTo>
                  <a:pt x="2015618" y="785821"/>
                </a:lnTo>
                <a:lnTo>
                  <a:pt x="2018079" y="789268"/>
                </a:lnTo>
                <a:lnTo>
                  <a:pt x="2021279" y="793452"/>
                </a:lnTo>
                <a:lnTo>
                  <a:pt x="2025464" y="795914"/>
                </a:lnTo>
                <a:lnTo>
                  <a:pt x="2029648" y="799360"/>
                </a:lnTo>
                <a:lnTo>
                  <a:pt x="2031371" y="801820"/>
                </a:lnTo>
                <a:lnTo>
                  <a:pt x="2033834" y="810929"/>
                </a:lnTo>
                <a:lnTo>
                  <a:pt x="2035556" y="817575"/>
                </a:lnTo>
                <a:lnTo>
                  <a:pt x="2038756" y="826682"/>
                </a:lnTo>
                <a:lnTo>
                  <a:pt x="2047125" y="836775"/>
                </a:lnTo>
                <a:lnTo>
                  <a:pt x="2060417" y="845882"/>
                </a:lnTo>
                <a:lnTo>
                  <a:pt x="2074448" y="854252"/>
                </a:lnTo>
                <a:lnTo>
                  <a:pt x="2086017" y="863359"/>
                </a:lnTo>
                <a:lnTo>
                  <a:pt x="2089217" y="867544"/>
                </a:lnTo>
                <a:lnTo>
                  <a:pt x="2089217" y="873451"/>
                </a:lnTo>
                <a:lnTo>
                  <a:pt x="2089217" y="877636"/>
                </a:lnTo>
                <a:lnTo>
                  <a:pt x="2090940" y="881821"/>
                </a:lnTo>
                <a:lnTo>
                  <a:pt x="2095125" y="886743"/>
                </a:lnTo>
                <a:lnTo>
                  <a:pt x="2107433" y="887482"/>
                </a:lnTo>
                <a:lnTo>
                  <a:pt x="2122201" y="880836"/>
                </a:lnTo>
                <a:lnTo>
                  <a:pt x="2142140" y="875912"/>
                </a:lnTo>
                <a:lnTo>
                  <a:pt x="2161093" y="871728"/>
                </a:lnTo>
                <a:lnTo>
                  <a:pt x="2178323" y="869267"/>
                </a:lnTo>
                <a:lnTo>
                  <a:pt x="2178323" y="871728"/>
                </a:lnTo>
                <a:lnTo>
                  <a:pt x="2174140" y="879359"/>
                </a:lnTo>
                <a:lnTo>
                  <a:pt x="2174140" y="888221"/>
                </a:lnTo>
                <a:lnTo>
                  <a:pt x="2170940" y="898313"/>
                </a:lnTo>
                <a:lnTo>
                  <a:pt x="2165278" y="913328"/>
                </a:lnTo>
                <a:lnTo>
                  <a:pt x="2156909" y="931051"/>
                </a:lnTo>
                <a:lnTo>
                  <a:pt x="2147063" y="948774"/>
                </a:lnTo>
                <a:lnTo>
                  <a:pt x="2136232" y="963051"/>
                </a:lnTo>
                <a:lnTo>
                  <a:pt x="2120479" y="979050"/>
                </a:lnTo>
                <a:lnTo>
                  <a:pt x="2103248" y="994066"/>
                </a:lnTo>
                <a:lnTo>
                  <a:pt x="2085032" y="1008343"/>
                </a:lnTo>
                <a:lnTo>
                  <a:pt x="2067802" y="1025082"/>
                </a:lnTo>
                <a:lnTo>
                  <a:pt x="2053032" y="1042804"/>
                </a:lnTo>
                <a:lnTo>
                  <a:pt x="2041464" y="1062988"/>
                </a:lnTo>
                <a:lnTo>
                  <a:pt x="2037279" y="1082189"/>
                </a:lnTo>
                <a:lnTo>
                  <a:pt x="2039740" y="1099911"/>
                </a:lnTo>
                <a:lnTo>
                  <a:pt x="2045402" y="1117634"/>
                </a:lnTo>
                <a:lnTo>
                  <a:pt x="2051064" y="1133634"/>
                </a:lnTo>
                <a:lnTo>
                  <a:pt x="2056725" y="1151357"/>
                </a:lnTo>
                <a:lnTo>
                  <a:pt x="2061648" y="1169080"/>
                </a:lnTo>
                <a:lnTo>
                  <a:pt x="2059925" y="1186804"/>
                </a:lnTo>
                <a:lnTo>
                  <a:pt x="2050818" y="1205264"/>
                </a:lnTo>
                <a:lnTo>
                  <a:pt x="2038509" y="1214372"/>
                </a:lnTo>
                <a:lnTo>
                  <a:pt x="2023741" y="1221018"/>
                </a:lnTo>
                <a:lnTo>
                  <a:pt x="2009710" y="1228649"/>
                </a:lnTo>
                <a:lnTo>
                  <a:pt x="1999990" y="1237129"/>
                </a:lnTo>
                <a:lnTo>
                  <a:pt x="1730490" y="1237129"/>
                </a:lnTo>
                <a:lnTo>
                  <a:pt x="1729835" y="1236280"/>
                </a:lnTo>
                <a:lnTo>
                  <a:pt x="1724174" y="1224465"/>
                </a:lnTo>
                <a:lnTo>
                  <a:pt x="1722450" y="1210188"/>
                </a:lnTo>
                <a:lnTo>
                  <a:pt x="1725650" y="1193450"/>
                </a:lnTo>
                <a:lnTo>
                  <a:pt x="1731312" y="1179173"/>
                </a:lnTo>
                <a:lnTo>
                  <a:pt x="1739681" y="1163172"/>
                </a:lnTo>
                <a:lnTo>
                  <a:pt x="1745342" y="1149634"/>
                </a:lnTo>
                <a:lnTo>
                  <a:pt x="1750265" y="1137819"/>
                </a:lnTo>
                <a:lnTo>
                  <a:pt x="1744604" y="1126003"/>
                </a:lnTo>
                <a:lnTo>
                  <a:pt x="1742882" y="1115911"/>
                </a:lnTo>
                <a:lnTo>
                  <a:pt x="1742882" y="1105819"/>
                </a:lnTo>
                <a:lnTo>
                  <a:pt x="1739681" y="1092281"/>
                </a:lnTo>
                <a:lnTo>
                  <a:pt x="1731312" y="1074558"/>
                </a:lnTo>
                <a:lnTo>
                  <a:pt x="1718022" y="1056835"/>
                </a:lnTo>
                <a:lnTo>
                  <a:pt x="1705715" y="1040834"/>
                </a:lnTo>
                <a:lnTo>
                  <a:pt x="1692422" y="1027297"/>
                </a:lnTo>
                <a:lnTo>
                  <a:pt x="1696606" y="1009574"/>
                </a:lnTo>
                <a:lnTo>
                  <a:pt x="1700792" y="993574"/>
                </a:lnTo>
                <a:lnTo>
                  <a:pt x="1705715" y="975851"/>
                </a:lnTo>
                <a:lnTo>
                  <a:pt x="1700792" y="973389"/>
                </a:lnTo>
                <a:lnTo>
                  <a:pt x="1698330" y="971666"/>
                </a:lnTo>
                <a:lnTo>
                  <a:pt x="1695130" y="968220"/>
                </a:lnTo>
                <a:lnTo>
                  <a:pt x="1692669" y="967481"/>
                </a:lnTo>
                <a:lnTo>
                  <a:pt x="1688484" y="967481"/>
                </a:lnTo>
                <a:lnTo>
                  <a:pt x="1682823" y="965758"/>
                </a:lnTo>
                <a:lnTo>
                  <a:pt x="1679622" y="968220"/>
                </a:lnTo>
                <a:lnTo>
                  <a:pt x="1677899" y="969943"/>
                </a:lnTo>
                <a:lnTo>
                  <a:pt x="1673715" y="971666"/>
                </a:lnTo>
                <a:lnTo>
                  <a:pt x="1669530" y="971666"/>
                </a:lnTo>
                <a:lnTo>
                  <a:pt x="1663869" y="971666"/>
                </a:lnTo>
                <a:lnTo>
                  <a:pt x="1648114" y="946558"/>
                </a:lnTo>
                <a:lnTo>
                  <a:pt x="1637284" y="944835"/>
                </a:lnTo>
                <a:lnTo>
                  <a:pt x="1627438" y="944097"/>
                </a:lnTo>
                <a:lnTo>
                  <a:pt x="1615870" y="942374"/>
                </a:lnTo>
                <a:lnTo>
                  <a:pt x="1601838" y="948282"/>
                </a:lnTo>
                <a:lnTo>
                  <a:pt x="1587070" y="954189"/>
                </a:lnTo>
                <a:lnTo>
                  <a:pt x="1575500" y="958374"/>
                </a:lnTo>
                <a:lnTo>
                  <a:pt x="1547439" y="952466"/>
                </a:lnTo>
                <a:lnTo>
                  <a:pt x="1544239" y="962558"/>
                </a:lnTo>
                <a:lnTo>
                  <a:pt x="1534393" y="962558"/>
                </a:lnTo>
                <a:lnTo>
                  <a:pt x="1525285" y="960097"/>
                </a:lnTo>
                <a:lnTo>
                  <a:pt x="1518639" y="958374"/>
                </a:lnTo>
                <a:lnTo>
                  <a:pt x="1515439" y="960097"/>
                </a:lnTo>
                <a:lnTo>
                  <a:pt x="1512978" y="962558"/>
                </a:lnTo>
                <a:lnTo>
                  <a:pt x="1508055" y="964282"/>
                </a:lnTo>
                <a:lnTo>
                  <a:pt x="1502393" y="966005"/>
                </a:lnTo>
                <a:lnTo>
                  <a:pt x="1494024" y="955912"/>
                </a:lnTo>
                <a:lnTo>
                  <a:pt x="1482455" y="950005"/>
                </a:lnTo>
                <a:lnTo>
                  <a:pt x="1470885" y="944097"/>
                </a:lnTo>
                <a:lnTo>
                  <a:pt x="1459316" y="938189"/>
                </a:lnTo>
                <a:lnTo>
                  <a:pt x="1449471" y="930558"/>
                </a:lnTo>
                <a:lnTo>
                  <a:pt x="1442086" y="911359"/>
                </a:lnTo>
                <a:lnTo>
                  <a:pt x="1433717" y="901266"/>
                </a:lnTo>
                <a:lnTo>
                  <a:pt x="1420424" y="891174"/>
                </a:lnTo>
                <a:lnTo>
                  <a:pt x="1408856" y="881082"/>
                </a:lnTo>
                <a:lnTo>
                  <a:pt x="1401471" y="871974"/>
                </a:lnTo>
                <a:lnTo>
                  <a:pt x="1401471" y="852775"/>
                </a:lnTo>
                <a:lnTo>
                  <a:pt x="1399010" y="844405"/>
                </a:lnTo>
                <a:lnTo>
                  <a:pt x="1399748" y="830867"/>
                </a:lnTo>
                <a:lnTo>
                  <a:pt x="1402948" y="819052"/>
                </a:lnTo>
                <a:lnTo>
                  <a:pt x="1405410" y="808959"/>
                </a:lnTo>
                <a:lnTo>
                  <a:pt x="1407132" y="801329"/>
                </a:lnTo>
                <a:lnTo>
                  <a:pt x="1407132" y="789513"/>
                </a:lnTo>
                <a:lnTo>
                  <a:pt x="1404671" y="782867"/>
                </a:lnTo>
                <a:lnTo>
                  <a:pt x="1399748" y="775236"/>
                </a:lnTo>
                <a:lnTo>
                  <a:pt x="1397286" y="769329"/>
                </a:lnTo>
                <a:lnTo>
                  <a:pt x="1397286" y="760221"/>
                </a:lnTo>
                <a:lnTo>
                  <a:pt x="1399748" y="748407"/>
                </a:lnTo>
                <a:lnTo>
                  <a:pt x="1405410" y="735852"/>
                </a:lnTo>
                <a:lnTo>
                  <a:pt x="1411071" y="720837"/>
                </a:lnTo>
                <a:lnTo>
                  <a:pt x="1416733" y="708283"/>
                </a:lnTo>
                <a:lnTo>
                  <a:pt x="1422394" y="697452"/>
                </a:lnTo>
                <a:lnTo>
                  <a:pt x="1425594" y="691545"/>
                </a:lnTo>
                <a:lnTo>
                  <a:pt x="1435439" y="683175"/>
                </a:lnTo>
                <a:lnTo>
                  <a:pt x="1447009" y="675545"/>
                </a:lnTo>
                <a:lnTo>
                  <a:pt x="1458578" y="669637"/>
                </a:lnTo>
                <a:lnTo>
                  <a:pt x="1470147" y="662006"/>
                </a:lnTo>
                <a:lnTo>
                  <a:pt x="1472608" y="655360"/>
                </a:lnTo>
                <a:lnTo>
                  <a:pt x="1472608" y="646253"/>
                </a:lnTo>
                <a:lnTo>
                  <a:pt x="1471871" y="636161"/>
                </a:lnTo>
                <a:lnTo>
                  <a:pt x="1472608" y="627791"/>
                </a:lnTo>
                <a:lnTo>
                  <a:pt x="1479993" y="615976"/>
                </a:lnTo>
                <a:lnTo>
                  <a:pt x="1489839" y="606868"/>
                </a:lnTo>
                <a:lnTo>
                  <a:pt x="1500669" y="598499"/>
                </a:lnTo>
                <a:lnTo>
                  <a:pt x="1510516" y="589392"/>
                </a:lnTo>
                <a:lnTo>
                  <a:pt x="1518885" y="579299"/>
                </a:lnTo>
                <a:lnTo>
                  <a:pt x="1523808" y="565763"/>
                </a:lnTo>
                <a:lnTo>
                  <a:pt x="1523808" y="565024"/>
                </a:lnTo>
                <a:lnTo>
                  <a:pt x="1522085" y="565024"/>
                </a:lnTo>
                <a:lnTo>
                  <a:pt x="1522085" y="563302"/>
                </a:lnTo>
                <a:lnTo>
                  <a:pt x="1522085" y="561578"/>
                </a:lnTo>
                <a:lnTo>
                  <a:pt x="1520363" y="559856"/>
                </a:lnTo>
                <a:lnTo>
                  <a:pt x="1517901" y="559117"/>
                </a:lnTo>
                <a:lnTo>
                  <a:pt x="1514701" y="557394"/>
                </a:lnTo>
                <a:lnTo>
                  <a:pt x="1512239" y="557394"/>
                </a:lnTo>
                <a:lnTo>
                  <a:pt x="1507316" y="555672"/>
                </a:lnTo>
                <a:lnTo>
                  <a:pt x="1504855" y="559117"/>
                </a:lnTo>
                <a:lnTo>
                  <a:pt x="1501655" y="559117"/>
                </a:lnTo>
                <a:lnTo>
                  <a:pt x="1497469" y="559856"/>
                </a:lnTo>
                <a:lnTo>
                  <a:pt x="1491808" y="559856"/>
                </a:lnTo>
                <a:lnTo>
                  <a:pt x="1491808" y="555672"/>
                </a:lnTo>
                <a:lnTo>
                  <a:pt x="1489348" y="555672"/>
                </a:lnTo>
                <a:lnTo>
                  <a:pt x="1489348" y="543855"/>
                </a:lnTo>
                <a:lnTo>
                  <a:pt x="1487624" y="527856"/>
                </a:lnTo>
                <a:lnTo>
                  <a:pt x="1485901" y="508655"/>
                </a:lnTo>
                <a:lnTo>
                  <a:pt x="1485901" y="490194"/>
                </a:lnTo>
                <a:lnTo>
                  <a:pt x="1485901" y="473456"/>
                </a:lnTo>
                <a:lnTo>
                  <a:pt x="1489101" y="463363"/>
                </a:lnTo>
                <a:lnTo>
                  <a:pt x="1489593" y="460410"/>
                </a:lnTo>
                <a:lnTo>
                  <a:pt x="1491316" y="456964"/>
                </a:lnTo>
                <a:lnTo>
                  <a:pt x="1493038" y="456225"/>
                </a:lnTo>
                <a:lnTo>
                  <a:pt x="1494762" y="456225"/>
                </a:lnTo>
                <a:lnTo>
                  <a:pt x="1497224" y="456225"/>
                </a:lnTo>
                <a:lnTo>
                  <a:pt x="1500424" y="454501"/>
                </a:lnTo>
                <a:lnTo>
                  <a:pt x="1504609" y="454501"/>
                </a:lnTo>
                <a:lnTo>
                  <a:pt x="1516177" y="458687"/>
                </a:lnTo>
                <a:lnTo>
                  <a:pt x="1529469" y="462133"/>
                </a:lnTo>
                <a:lnTo>
                  <a:pt x="1543501" y="462133"/>
                </a:lnTo>
                <a:lnTo>
                  <a:pt x="1557531" y="458687"/>
                </a:lnTo>
                <a:lnTo>
                  <a:pt x="1568362" y="454501"/>
                </a:lnTo>
                <a:lnTo>
                  <a:pt x="1569100" y="452779"/>
                </a:lnTo>
                <a:lnTo>
                  <a:pt x="1569100" y="451056"/>
                </a:lnTo>
                <a:lnTo>
                  <a:pt x="1570824" y="451056"/>
                </a:lnTo>
                <a:lnTo>
                  <a:pt x="1570824" y="450318"/>
                </a:lnTo>
                <a:lnTo>
                  <a:pt x="1570824" y="448595"/>
                </a:lnTo>
                <a:lnTo>
                  <a:pt x="1574024" y="436778"/>
                </a:lnTo>
                <a:lnTo>
                  <a:pt x="1574024" y="423241"/>
                </a:lnTo>
                <a:lnTo>
                  <a:pt x="1572300" y="410687"/>
                </a:lnTo>
                <a:lnTo>
                  <a:pt x="1570578" y="395672"/>
                </a:lnTo>
                <a:lnTo>
                  <a:pt x="1560731" y="393210"/>
                </a:lnTo>
                <a:lnTo>
                  <a:pt x="1550885" y="389764"/>
                </a:lnTo>
                <a:lnTo>
                  <a:pt x="1541039" y="383856"/>
                </a:lnTo>
                <a:lnTo>
                  <a:pt x="1533654" y="376225"/>
                </a:lnTo>
                <a:lnTo>
                  <a:pt x="1536115" y="375487"/>
                </a:lnTo>
                <a:lnTo>
                  <a:pt x="1539316" y="373764"/>
                </a:lnTo>
                <a:lnTo>
                  <a:pt x="1541039" y="372041"/>
                </a:lnTo>
                <a:lnTo>
                  <a:pt x="1543501" y="372041"/>
                </a:lnTo>
                <a:lnTo>
                  <a:pt x="1546701" y="370318"/>
                </a:lnTo>
                <a:lnTo>
                  <a:pt x="1551624" y="370318"/>
                </a:lnTo>
                <a:lnTo>
                  <a:pt x="1554823" y="369579"/>
                </a:lnTo>
                <a:lnTo>
                  <a:pt x="1559008" y="367856"/>
                </a:lnTo>
                <a:lnTo>
                  <a:pt x="1563193" y="367856"/>
                </a:lnTo>
                <a:lnTo>
                  <a:pt x="1568115" y="367856"/>
                </a:lnTo>
                <a:lnTo>
                  <a:pt x="1568115" y="351856"/>
                </a:lnTo>
                <a:lnTo>
                  <a:pt x="1572300" y="351856"/>
                </a:lnTo>
                <a:lnTo>
                  <a:pt x="1576484" y="352595"/>
                </a:lnTo>
                <a:lnTo>
                  <a:pt x="1578208" y="354318"/>
                </a:lnTo>
                <a:lnTo>
                  <a:pt x="1580670" y="354318"/>
                </a:lnTo>
                <a:lnTo>
                  <a:pt x="1583870" y="356041"/>
                </a:lnTo>
                <a:lnTo>
                  <a:pt x="1586331" y="357764"/>
                </a:lnTo>
                <a:lnTo>
                  <a:pt x="1589531" y="354318"/>
                </a:lnTo>
                <a:lnTo>
                  <a:pt x="1593716" y="352595"/>
                </a:lnTo>
                <a:lnTo>
                  <a:pt x="1596915" y="351856"/>
                </a:lnTo>
                <a:lnTo>
                  <a:pt x="1601100" y="350133"/>
                </a:lnTo>
                <a:lnTo>
                  <a:pt x="1602823" y="348410"/>
                </a:lnTo>
                <a:lnTo>
                  <a:pt x="1603562" y="345949"/>
                </a:lnTo>
                <a:lnTo>
                  <a:pt x="1603562" y="342502"/>
                </a:lnTo>
                <a:lnTo>
                  <a:pt x="1603562" y="340041"/>
                </a:lnTo>
                <a:lnTo>
                  <a:pt x="1603562" y="336595"/>
                </a:lnTo>
                <a:lnTo>
                  <a:pt x="1605285" y="334133"/>
                </a:lnTo>
                <a:lnTo>
                  <a:pt x="1607008" y="330687"/>
                </a:lnTo>
                <a:lnTo>
                  <a:pt x="1634331" y="322318"/>
                </a:lnTo>
                <a:lnTo>
                  <a:pt x="1639992" y="313210"/>
                </a:lnTo>
                <a:lnTo>
                  <a:pt x="1641715" y="304840"/>
                </a:lnTo>
                <a:lnTo>
                  <a:pt x="1645899" y="295734"/>
                </a:lnTo>
                <a:lnTo>
                  <a:pt x="1654269" y="289826"/>
                </a:lnTo>
                <a:lnTo>
                  <a:pt x="1665100" y="285641"/>
                </a:lnTo>
                <a:lnTo>
                  <a:pt x="1677407" y="281457"/>
                </a:lnTo>
                <a:lnTo>
                  <a:pt x="1688976" y="277271"/>
                </a:lnTo>
                <a:lnTo>
                  <a:pt x="1690699" y="275549"/>
                </a:lnTo>
                <a:lnTo>
                  <a:pt x="1690699" y="273825"/>
                </a:lnTo>
                <a:lnTo>
                  <a:pt x="1690699" y="272103"/>
                </a:lnTo>
                <a:lnTo>
                  <a:pt x="1692422" y="271365"/>
                </a:lnTo>
                <a:lnTo>
                  <a:pt x="1686760" y="256348"/>
                </a:lnTo>
                <a:lnTo>
                  <a:pt x="1683560" y="238625"/>
                </a:lnTo>
                <a:lnTo>
                  <a:pt x="1683560" y="222626"/>
                </a:lnTo>
                <a:lnTo>
                  <a:pt x="1682823" y="209088"/>
                </a:lnTo>
                <a:lnTo>
                  <a:pt x="1695130" y="208349"/>
                </a:lnTo>
                <a:lnTo>
                  <a:pt x="1704238" y="204903"/>
                </a:lnTo>
                <a:lnTo>
                  <a:pt x="1714084" y="202441"/>
                </a:lnTo>
                <a:lnTo>
                  <a:pt x="1714084" y="209088"/>
                </a:lnTo>
                <a:lnTo>
                  <a:pt x="1712361" y="214996"/>
                </a:lnTo>
                <a:lnTo>
                  <a:pt x="1710637" y="225826"/>
                </a:lnTo>
                <a:lnTo>
                  <a:pt x="1709899" y="240103"/>
                </a:lnTo>
                <a:lnTo>
                  <a:pt x="1708176" y="253641"/>
                </a:lnTo>
                <a:lnTo>
                  <a:pt x="1708176" y="263734"/>
                </a:lnTo>
                <a:lnTo>
                  <a:pt x="1712361" y="266194"/>
                </a:lnTo>
                <a:lnTo>
                  <a:pt x="1715560" y="267918"/>
                </a:lnTo>
                <a:lnTo>
                  <a:pt x="1716300" y="269640"/>
                </a:lnTo>
                <a:lnTo>
                  <a:pt x="1719499" y="271365"/>
                </a:lnTo>
                <a:lnTo>
                  <a:pt x="1723681" y="273825"/>
                </a:lnTo>
                <a:lnTo>
                  <a:pt x="1732789" y="269640"/>
                </a:lnTo>
                <a:lnTo>
                  <a:pt x="1739189" y="269640"/>
                </a:lnTo>
                <a:lnTo>
                  <a:pt x="1743373" y="272103"/>
                </a:lnTo>
                <a:lnTo>
                  <a:pt x="1749035" y="277026"/>
                </a:lnTo>
                <a:lnTo>
                  <a:pt x="1756419" y="277026"/>
                </a:lnTo>
                <a:lnTo>
                  <a:pt x="1764788" y="273580"/>
                </a:lnTo>
                <a:lnTo>
                  <a:pt x="1772173" y="269395"/>
                </a:lnTo>
                <a:lnTo>
                  <a:pt x="1776357" y="265210"/>
                </a:lnTo>
                <a:lnTo>
                  <a:pt x="1782019" y="261764"/>
                </a:lnTo>
                <a:lnTo>
                  <a:pt x="1789403" y="259303"/>
                </a:lnTo>
                <a:lnTo>
                  <a:pt x="1800973" y="260041"/>
                </a:lnTo>
                <a:lnTo>
                  <a:pt x="1816727" y="263487"/>
                </a:lnTo>
                <a:lnTo>
                  <a:pt x="1818450" y="259303"/>
                </a:lnTo>
                <a:lnTo>
                  <a:pt x="1819188" y="257580"/>
                </a:lnTo>
                <a:lnTo>
                  <a:pt x="1822388" y="254133"/>
                </a:lnTo>
                <a:lnTo>
                  <a:pt x="1824849" y="253395"/>
                </a:lnTo>
                <a:lnTo>
                  <a:pt x="1828049" y="253395"/>
                </a:lnTo>
                <a:lnTo>
                  <a:pt x="1832235" y="251673"/>
                </a:lnTo>
                <a:lnTo>
                  <a:pt x="1832235" y="226564"/>
                </a:lnTo>
                <a:lnTo>
                  <a:pt x="1835434" y="206380"/>
                </a:lnTo>
                <a:lnTo>
                  <a:pt x="1837895" y="202934"/>
                </a:lnTo>
                <a:lnTo>
                  <a:pt x="1841096" y="202195"/>
                </a:lnTo>
                <a:lnTo>
                  <a:pt x="1843557" y="198750"/>
                </a:lnTo>
                <a:lnTo>
                  <a:pt x="1846757" y="197026"/>
                </a:lnTo>
                <a:lnTo>
                  <a:pt x="1850943" y="196288"/>
                </a:lnTo>
                <a:lnTo>
                  <a:pt x="1850943" y="198750"/>
                </a:lnTo>
                <a:lnTo>
                  <a:pt x="1853403" y="202195"/>
                </a:lnTo>
                <a:lnTo>
                  <a:pt x="1855127" y="204657"/>
                </a:lnTo>
                <a:lnTo>
                  <a:pt x="1856849" y="208103"/>
                </a:lnTo>
                <a:lnTo>
                  <a:pt x="1858573" y="208841"/>
                </a:lnTo>
                <a:lnTo>
                  <a:pt x="1862757" y="210564"/>
                </a:lnTo>
                <a:lnTo>
                  <a:pt x="1866942" y="212288"/>
                </a:lnTo>
                <a:lnTo>
                  <a:pt x="1865219" y="198750"/>
                </a:lnTo>
                <a:lnTo>
                  <a:pt x="1864480" y="190380"/>
                </a:lnTo>
                <a:lnTo>
                  <a:pt x="1861280" y="184473"/>
                </a:lnTo>
                <a:lnTo>
                  <a:pt x="1859557" y="176842"/>
                </a:lnTo>
                <a:lnTo>
                  <a:pt x="1857096" y="163304"/>
                </a:lnTo>
                <a:lnTo>
                  <a:pt x="1864480" y="162565"/>
                </a:lnTo>
                <a:lnTo>
                  <a:pt x="1869404" y="159119"/>
                </a:lnTo>
                <a:lnTo>
                  <a:pt x="1874326" y="156658"/>
                </a:lnTo>
                <a:lnTo>
                  <a:pt x="1879988" y="153212"/>
                </a:lnTo>
                <a:lnTo>
                  <a:pt x="1889834" y="153212"/>
                </a:lnTo>
                <a:lnTo>
                  <a:pt x="1899680" y="154934"/>
                </a:lnTo>
                <a:lnTo>
                  <a:pt x="1907065" y="156658"/>
                </a:lnTo>
                <a:lnTo>
                  <a:pt x="1914449" y="153212"/>
                </a:lnTo>
                <a:lnTo>
                  <a:pt x="1920111" y="144842"/>
                </a:lnTo>
                <a:lnTo>
                  <a:pt x="1915187" y="143119"/>
                </a:lnTo>
                <a:lnTo>
                  <a:pt x="1911003" y="141396"/>
                </a:lnTo>
                <a:lnTo>
                  <a:pt x="1908541" y="139673"/>
                </a:lnTo>
                <a:lnTo>
                  <a:pt x="1903619" y="138935"/>
                </a:lnTo>
                <a:lnTo>
                  <a:pt x="1897957" y="138935"/>
                </a:lnTo>
                <a:lnTo>
                  <a:pt x="1883926" y="145581"/>
                </a:lnTo>
                <a:lnTo>
                  <a:pt x="1868173" y="150503"/>
                </a:lnTo>
                <a:lnTo>
                  <a:pt x="1850943" y="152965"/>
                </a:lnTo>
                <a:lnTo>
                  <a:pt x="1847742" y="145334"/>
                </a:lnTo>
                <a:lnTo>
                  <a:pt x="1843557" y="139427"/>
                </a:lnTo>
                <a:lnTo>
                  <a:pt x="1839373" y="133519"/>
                </a:lnTo>
                <a:lnTo>
                  <a:pt x="1836173" y="126873"/>
                </a:lnTo>
                <a:lnTo>
                  <a:pt x="1835434" y="115058"/>
                </a:lnTo>
                <a:lnTo>
                  <a:pt x="1836173" y="105950"/>
                </a:lnTo>
                <a:lnTo>
                  <a:pt x="1835434" y="95858"/>
                </a:lnTo>
                <a:lnTo>
                  <a:pt x="1833711" y="84042"/>
                </a:lnTo>
                <a:lnTo>
                  <a:pt x="1835434" y="73950"/>
                </a:lnTo>
                <a:lnTo>
                  <a:pt x="1842081" y="58935"/>
                </a:lnTo>
                <a:lnTo>
                  <a:pt x="1853649" y="48843"/>
                </a:lnTo>
                <a:lnTo>
                  <a:pt x="1865219" y="37027"/>
                </a:lnTo>
                <a:lnTo>
                  <a:pt x="1875065" y="25212"/>
                </a:lnTo>
                <a:lnTo>
                  <a:pt x="1882450" y="11673"/>
                </a:lnTo>
                <a:lnTo>
                  <a:pt x="1878265" y="7489"/>
                </a:lnTo>
                <a:lnTo>
                  <a:pt x="1874081" y="3304"/>
                </a:lnTo>
                <a:close/>
                <a:moveTo>
                  <a:pt x="1731537" y="0"/>
                </a:moveTo>
                <a:lnTo>
                  <a:pt x="1863626" y="0"/>
                </a:lnTo>
                <a:lnTo>
                  <a:pt x="1858327" y="843"/>
                </a:lnTo>
                <a:lnTo>
                  <a:pt x="1845034" y="1582"/>
                </a:lnTo>
                <a:lnTo>
                  <a:pt x="1840850" y="22505"/>
                </a:lnTo>
                <a:lnTo>
                  <a:pt x="1833465" y="38504"/>
                </a:lnTo>
                <a:lnTo>
                  <a:pt x="1823619" y="52043"/>
                </a:lnTo>
                <a:lnTo>
                  <a:pt x="1812050" y="64596"/>
                </a:lnTo>
                <a:lnTo>
                  <a:pt x="1801219" y="79612"/>
                </a:lnTo>
                <a:lnTo>
                  <a:pt x="1794573" y="97335"/>
                </a:lnTo>
                <a:lnTo>
                  <a:pt x="1789649" y="117519"/>
                </a:lnTo>
                <a:lnTo>
                  <a:pt x="1798758" y="125150"/>
                </a:lnTo>
                <a:lnTo>
                  <a:pt x="1807126" y="133519"/>
                </a:lnTo>
                <a:lnTo>
                  <a:pt x="1812788" y="144350"/>
                </a:lnTo>
                <a:lnTo>
                  <a:pt x="1815988" y="156904"/>
                </a:lnTo>
                <a:lnTo>
                  <a:pt x="1811804" y="158626"/>
                </a:lnTo>
                <a:lnTo>
                  <a:pt x="1810081" y="160350"/>
                </a:lnTo>
                <a:lnTo>
                  <a:pt x="1808357" y="162073"/>
                </a:lnTo>
                <a:lnTo>
                  <a:pt x="1808357" y="162811"/>
                </a:lnTo>
                <a:lnTo>
                  <a:pt x="1806634" y="164535"/>
                </a:lnTo>
                <a:lnTo>
                  <a:pt x="1806634" y="167981"/>
                </a:lnTo>
                <a:lnTo>
                  <a:pt x="1805896" y="168719"/>
                </a:lnTo>
                <a:lnTo>
                  <a:pt x="1786943" y="176349"/>
                </a:lnTo>
                <a:lnTo>
                  <a:pt x="1784481" y="194073"/>
                </a:lnTo>
                <a:lnTo>
                  <a:pt x="1778819" y="207611"/>
                </a:lnTo>
                <a:lnTo>
                  <a:pt x="1773158" y="217703"/>
                </a:lnTo>
                <a:lnTo>
                  <a:pt x="1764050" y="226073"/>
                </a:lnTo>
                <a:lnTo>
                  <a:pt x="1756666" y="235180"/>
                </a:lnTo>
                <a:lnTo>
                  <a:pt x="1750019" y="246995"/>
                </a:lnTo>
                <a:lnTo>
                  <a:pt x="1745097" y="246995"/>
                </a:lnTo>
                <a:lnTo>
                  <a:pt x="1745097" y="243549"/>
                </a:lnTo>
                <a:lnTo>
                  <a:pt x="1733527" y="227549"/>
                </a:lnTo>
                <a:lnTo>
                  <a:pt x="1726881" y="209826"/>
                </a:lnTo>
                <a:lnTo>
                  <a:pt x="1721958" y="190626"/>
                </a:lnTo>
                <a:lnTo>
                  <a:pt x="1713592" y="168719"/>
                </a:lnTo>
                <a:lnTo>
                  <a:pt x="1702022" y="174627"/>
                </a:lnTo>
                <a:lnTo>
                  <a:pt x="1694637" y="182257"/>
                </a:lnTo>
                <a:lnTo>
                  <a:pt x="1686269" y="188165"/>
                </a:lnTo>
                <a:lnTo>
                  <a:pt x="1677161" y="192349"/>
                </a:lnTo>
                <a:lnTo>
                  <a:pt x="1663130" y="195795"/>
                </a:lnTo>
                <a:lnTo>
                  <a:pt x="1661407" y="194073"/>
                </a:lnTo>
                <a:lnTo>
                  <a:pt x="1659684" y="194073"/>
                </a:lnTo>
                <a:lnTo>
                  <a:pt x="1658946" y="194073"/>
                </a:lnTo>
                <a:lnTo>
                  <a:pt x="1657223" y="192349"/>
                </a:lnTo>
                <a:lnTo>
                  <a:pt x="1654023" y="192349"/>
                </a:lnTo>
                <a:lnTo>
                  <a:pt x="1653285" y="174627"/>
                </a:lnTo>
                <a:lnTo>
                  <a:pt x="1651560" y="160350"/>
                </a:lnTo>
                <a:lnTo>
                  <a:pt x="1648361" y="148534"/>
                </a:lnTo>
                <a:lnTo>
                  <a:pt x="1645899" y="134996"/>
                </a:lnTo>
                <a:lnTo>
                  <a:pt x="1644176" y="117273"/>
                </a:lnTo>
                <a:lnTo>
                  <a:pt x="1651560" y="109642"/>
                </a:lnTo>
                <a:lnTo>
                  <a:pt x="1654023" y="102997"/>
                </a:lnTo>
                <a:lnTo>
                  <a:pt x="1655746" y="93889"/>
                </a:lnTo>
                <a:lnTo>
                  <a:pt x="1659931" y="82074"/>
                </a:lnTo>
                <a:lnTo>
                  <a:pt x="1663130" y="79612"/>
                </a:lnTo>
                <a:lnTo>
                  <a:pt x="1667315" y="75428"/>
                </a:lnTo>
                <a:lnTo>
                  <a:pt x="1671499" y="70504"/>
                </a:lnTo>
                <a:lnTo>
                  <a:pt x="1676422" y="66319"/>
                </a:lnTo>
                <a:lnTo>
                  <a:pt x="1678884" y="68042"/>
                </a:lnTo>
                <a:lnTo>
                  <a:pt x="1680607" y="69765"/>
                </a:lnTo>
                <a:lnTo>
                  <a:pt x="1682329" y="70504"/>
                </a:lnTo>
                <a:lnTo>
                  <a:pt x="1683068" y="72227"/>
                </a:lnTo>
                <a:lnTo>
                  <a:pt x="1686269" y="69765"/>
                </a:lnTo>
                <a:lnTo>
                  <a:pt x="1687991" y="66319"/>
                </a:lnTo>
                <a:lnTo>
                  <a:pt x="1688731" y="63858"/>
                </a:lnTo>
                <a:lnTo>
                  <a:pt x="1690453" y="58935"/>
                </a:lnTo>
                <a:lnTo>
                  <a:pt x="1692176" y="56473"/>
                </a:lnTo>
                <a:lnTo>
                  <a:pt x="1702022" y="50566"/>
                </a:lnTo>
                <a:lnTo>
                  <a:pt x="1710391" y="47119"/>
                </a:lnTo>
                <a:lnTo>
                  <a:pt x="1717775" y="40473"/>
                </a:lnTo>
                <a:lnTo>
                  <a:pt x="1715314" y="38750"/>
                </a:lnTo>
                <a:lnTo>
                  <a:pt x="1713592" y="38750"/>
                </a:lnTo>
                <a:lnTo>
                  <a:pt x="1711869" y="38750"/>
                </a:lnTo>
                <a:lnTo>
                  <a:pt x="1711869" y="37027"/>
                </a:lnTo>
                <a:lnTo>
                  <a:pt x="1711869" y="34566"/>
                </a:lnTo>
                <a:lnTo>
                  <a:pt x="1710146" y="31120"/>
                </a:lnTo>
                <a:lnTo>
                  <a:pt x="1720975" y="17581"/>
                </a:lnTo>
                <a:lnTo>
                  <a:pt x="1730820" y="1582"/>
                </a:lnTo>
                <a:close/>
                <a:moveTo>
                  <a:pt x="1335283" y="0"/>
                </a:moveTo>
                <a:lnTo>
                  <a:pt x="1355141" y="0"/>
                </a:lnTo>
                <a:lnTo>
                  <a:pt x="1357409" y="4536"/>
                </a:lnTo>
                <a:lnTo>
                  <a:pt x="1360609" y="6998"/>
                </a:lnTo>
                <a:lnTo>
                  <a:pt x="1363070" y="12905"/>
                </a:lnTo>
                <a:lnTo>
                  <a:pt x="1372178" y="5521"/>
                </a:lnTo>
                <a:lnTo>
                  <a:pt x="1380000" y="0"/>
                </a:lnTo>
                <a:lnTo>
                  <a:pt x="1394146" y="0"/>
                </a:lnTo>
                <a:lnTo>
                  <a:pt x="1396054" y="1337"/>
                </a:lnTo>
                <a:lnTo>
                  <a:pt x="1396054" y="2812"/>
                </a:lnTo>
                <a:lnTo>
                  <a:pt x="1397778" y="2812"/>
                </a:lnTo>
                <a:lnTo>
                  <a:pt x="1399501" y="2812"/>
                </a:lnTo>
                <a:lnTo>
                  <a:pt x="1401962" y="2812"/>
                </a:lnTo>
                <a:lnTo>
                  <a:pt x="1407235" y="0"/>
                </a:lnTo>
                <a:lnTo>
                  <a:pt x="1442331" y="0"/>
                </a:lnTo>
                <a:lnTo>
                  <a:pt x="1442331" y="2812"/>
                </a:lnTo>
                <a:lnTo>
                  <a:pt x="1442331" y="6998"/>
                </a:lnTo>
                <a:lnTo>
                  <a:pt x="1444054" y="18813"/>
                </a:lnTo>
                <a:lnTo>
                  <a:pt x="1445777" y="32105"/>
                </a:lnTo>
                <a:lnTo>
                  <a:pt x="1445777" y="43674"/>
                </a:lnTo>
                <a:lnTo>
                  <a:pt x="1429285" y="52043"/>
                </a:lnTo>
                <a:lnTo>
                  <a:pt x="1411070" y="59428"/>
                </a:lnTo>
                <a:lnTo>
                  <a:pt x="1393594" y="67796"/>
                </a:lnTo>
                <a:lnTo>
                  <a:pt x="1378824" y="79612"/>
                </a:lnTo>
                <a:lnTo>
                  <a:pt x="1374640" y="77151"/>
                </a:lnTo>
                <a:lnTo>
                  <a:pt x="1367255" y="73705"/>
                </a:lnTo>
                <a:lnTo>
                  <a:pt x="1357409" y="67796"/>
                </a:lnTo>
                <a:lnTo>
                  <a:pt x="1349040" y="63612"/>
                </a:lnTo>
                <a:lnTo>
                  <a:pt x="1341655" y="59428"/>
                </a:lnTo>
                <a:lnTo>
                  <a:pt x="1338209" y="56228"/>
                </a:lnTo>
                <a:lnTo>
                  <a:pt x="1339932" y="55490"/>
                </a:lnTo>
                <a:lnTo>
                  <a:pt x="1341655" y="53766"/>
                </a:lnTo>
                <a:lnTo>
                  <a:pt x="1343378" y="52043"/>
                </a:lnTo>
                <a:lnTo>
                  <a:pt x="1343378" y="50320"/>
                </a:lnTo>
                <a:lnTo>
                  <a:pt x="1344116" y="47859"/>
                </a:lnTo>
                <a:lnTo>
                  <a:pt x="1339932" y="44658"/>
                </a:lnTo>
                <a:lnTo>
                  <a:pt x="1334271" y="43674"/>
                </a:lnTo>
                <a:lnTo>
                  <a:pt x="1330086" y="40474"/>
                </a:lnTo>
                <a:lnTo>
                  <a:pt x="1325901" y="38012"/>
                </a:lnTo>
                <a:lnTo>
                  <a:pt x="1328363" y="38012"/>
                </a:lnTo>
                <a:lnTo>
                  <a:pt x="1331809" y="34567"/>
                </a:lnTo>
                <a:lnTo>
                  <a:pt x="1332547" y="32844"/>
                </a:lnTo>
                <a:lnTo>
                  <a:pt x="1334271" y="32844"/>
                </a:lnTo>
                <a:lnTo>
                  <a:pt x="1335747" y="32105"/>
                </a:lnTo>
                <a:lnTo>
                  <a:pt x="1339932" y="32105"/>
                </a:lnTo>
                <a:lnTo>
                  <a:pt x="1344116" y="32105"/>
                </a:lnTo>
                <a:lnTo>
                  <a:pt x="1344116" y="21275"/>
                </a:lnTo>
                <a:lnTo>
                  <a:pt x="1322701" y="21275"/>
                </a:lnTo>
                <a:lnTo>
                  <a:pt x="1318517" y="12905"/>
                </a:lnTo>
                <a:lnTo>
                  <a:pt x="1325901" y="6998"/>
                </a:lnTo>
                <a:lnTo>
                  <a:pt x="1331809" y="1337"/>
                </a:lnTo>
                <a:close/>
                <a:moveTo>
                  <a:pt x="994515" y="0"/>
                </a:moveTo>
                <a:lnTo>
                  <a:pt x="1240498" y="0"/>
                </a:lnTo>
                <a:lnTo>
                  <a:pt x="1238272" y="6013"/>
                </a:lnTo>
                <a:lnTo>
                  <a:pt x="1230887" y="13644"/>
                </a:lnTo>
                <a:lnTo>
                  <a:pt x="1218579" y="22012"/>
                </a:lnTo>
                <a:lnTo>
                  <a:pt x="1202088" y="29643"/>
                </a:lnTo>
                <a:lnTo>
                  <a:pt x="1188057" y="35551"/>
                </a:lnTo>
                <a:lnTo>
                  <a:pt x="1174765" y="38997"/>
                </a:lnTo>
                <a:lnTo>
                  <a:pt x="1174765" y="35551"/>
                </a:lnTo>
                <a:lnTo>
                  <a:pt x="1174765" y="33089"/>
                </a:lnTo>
                <a:lnTo>
                  <a:pt x="1173042" y="33089"/>
                </a:lnTo>
                <a:lnTo>
                  <a:pt x="1173042" y="31367"/>
                </a:lnTo>
                <a:lnTo>
                  <a:pt x="1172304" y="29643"/>
                </a:lnTo>
                <a:lnTo>
                  <a:pt x="1170580" y="41458"/>
                </a:lnTo>
                <a:lnTo>
                  <a:pt x="1166396" y="51551"/>
                </a:lnTo>
                <a:lnTo>
                  <a:pt x="1163196" y="60658"/>
                </a:lnTo>
                <a:lnTo>
                  <a:pt x="1159011" y="69027"/>
                </a:lnTo>
                <a:lnTo>
                  <a:pt x="1155811" y="80844"/>
                </a:lnTo>
                <a:lnTo>
                  <a:pt x="1159011" y="82566"/>
                </a:lnTo>
                <a:lnTo>
                  <a:pt x="1159011" y="84289"/>
                </a:lnTo>
                <a:lnTo>
                  <a:pt x="1160735" y="84289"/>
                </a:lnTo>
                <a:lnTo>
                  <a:pt x="1160735" y="86012"/>
                </a:lnTo>
                <a:lnTo>
                  <a:pt x="1159011" y="86750"/>
                </a:lnTo>
                <a:lnTo>
                  <a:pt x="1155811" y="90197"/>
                </a:lnTo>
                <a:lnTo>
                  <a:pt x="1153350" y="91920"/>
                </a:lnTo>
                <a:lnTo>
                  <a:pt x="1150889" y="94381"/>
                </a:lnTo>
                <a:lnTo>
                  <a:pt x="1147689" y="96104"/>
                </a:lnTo>
                <a:lnTo>
                  <a:pt x="1145965" y="98566"/>
                </a:lnTo>
                <a:lnTo>
                  <a:pt x="1143504" y="102750"/>
                </a:lnTo>
                <a:lnTo>
                  <a:pt x="1137597" y="119489"/>
                </a:lnTo>
                <a:lnTo>
                  <a:pt x="1133412" y="136966"/>
                </a:lnTo>
                <a:lnTo>
                  <a:pt x="1131688" y="157150"/>
                </a:lnTo>
                <a:lnTo>
                  <a:pt x="1128489" y="176350"/>
                </a:lnTo>
                <a:lnTo>
                  <a:pt x="1124305" y="193826"/>
                </a:lnTo>
                <a:lnTo>
                  <a:pt x="1121842" y="192104"/>
                </a:lnTo>
                <a:lnTo>
                  <a:pt x="1120119" y="192104"/>
                </a:lnTo>
                <a:lnTo>
                  <a:pt x="1120119" y="190380"/>
                </a:lnTo>
                <a:lnTo>
                  <a:pt x="1118396" y="190380"/>
                </a:lnTo>
                <a:lnTo>
                  <a:pt x="1114212" y="187919"/>
                </a:lnTo>
                <a:lnTo>
                  <a:pt x="1106828" y="182012"/>
                </a:lnTo>
                <a:lnTo>
                  <a:pt x="1095258" y="172903"/>
                </a:lnTo>
                <a:lnTo>
                  <a:pt x="1081966" y="165273"/>
                </a:lnTo>
                <a:lnTo>
                  <a:pt x="1069658" y="156904"/>
                </a:lnTo>
                <a:lnTo>
                  <a:pt x="1059813" y="149273"/>
                </a:lnTo>
                <a:lnTo>
                  <a:pt x="1050706" y="145088"/>
                </a:lnTo>
                <a:lnTo>
                  <a:pt x="1048243" y="143366"/>
                </a:lnTo>
                <a:lnTo>
                  <a:pt x="1045043" y="111612"/>
                </a:lnTo>
                <a:lnTo>
                  <a:pt x="1043320" y="108166"/>
                </a:lnTo>
                <a:lnTo>
                  <a:pt x="1039136" y="105705"/>
                </a:lnTo>
                <a:lnTo>
                  <a:pt x="1036674" y="103982"/>
                </a:lnTo>
                <a:lnTo>
                  <a:pt x="1031751" y="100535"/>
                </a:lnTo>
                <a:lnTo>
                  <a:pt x="1029290" y="98074"/>
                </a:lnTo>
                <a:lnTo>
                  <a:pt x="1031751" y="96351"/>
                </a:lnTo>
                <a:lnTo>
                  <a:pt x="1031751" y="94628"/>
                </a:lnTo>
                <a:lnTo>
                  <a:pt x="1033474" y="93889"/>
                </a:lnTo>
                <a:lnTo>
                  <a:pt x="1035197" y="90443"/>
                </a:lnTo>
                <a:lnTo>
                  <a:pt x="1036919" y="87982"/>
                </a:lnTo>
                <a:lnTo>
                  <a:pt x="1029536" y="87982"/>
                </a:lnTo>
                <a:lnTo>
                  <a:pt x="1025351" y="87982"/>
                </a:lnTo>
                <a:lnTo>
                  <a:pt x="1022152" y="87982"/>
                </a:lnTo>
                <a:lnTo>
                  <a:pt x="1020428" y="86258"/>
                </a:lnTo>
                <a:lnTo>
                  <a:pt x="1019689" y="83797"/>
                </a:lnTo>
                <a:lnTo>
                  <a:pt x="1016489" y="78873"/>
                </a:lnTo>
                <a:lnTo>
                  <a:pt x="1014766" y="76413"/>
                </a:lnTo>
                <a:lnTo>
                  <a:pt x="1014766" y="72966"/>
                </a:lnTo>
                <a:lnTo>
                  <a:pt x="1014766" y="72227"/>
                </a:lnTo>
                <a:lnTo>
                  <a:pt x="1014766" y="68782"/>
                </a:lnTo>
                <a:lnTo>
                  <a:pt x="1016489" y="66320"/>
                </a:lnTo>
                <a:lnTo>
                  <a:pt x="1016489" y="62874"/>
                </a:lnTo>
                <a:lnTo>
                  <a:pt x="1008119" y="62874"/>
                </a:lnTo>
                <a:lnTo>
                  <a:pt x="1008119" y="58690"/>
                </a:lnTo>
                <a:lnTo>
                  <a:pt x="1008859" y="54505"/>
                </a:lnTo>
                <a:lnTo>
                  <a:pt x="1010582" y="52782"/>
                </a:lnTo>
                <a:lnTo>
                  <a:pt x="1010582" y="49828"/>
                </a:lnTo>
                <a:lnTo>
                  <a:pt x="1012305" y="47366"/>
                </a:lnTo>
                <a:lnTo>
                  <a:pt x="1014028" y="43181"/>
                </a:lnTo>
                <a:lnTo>
                  <a:pt x="1009104" y="43181"/>
                </a:lnTo>
                <a:lnTo>
                  <a:pt x="1004182" y="43181"/>
                </a:lnTo>
                <a:lnTo>
                  <a:pt x="1001720" y="41458"/>
                </a:lnTo>
                <a:lnTo>
                  <a:pt x="996797" y="39735"/>
                </a:lnTo>
                <a:lnTo>
                  <a:pt x="996059" y="18075"/>
                </a:lnTo>
                <a:close/>
                <a:moveTo>
                  <a:pt x="864598" y="0"/>
                </a:moveTo>
                <a:lnTo>
                  <a:pt x="901871" y="0"/>
                </a:lnTo>
                <a:lnTo>
                  <a:pt x="899566" y="15368"/>
                </a:lnTo>
                <a:lnTo>
                  <a:pt x="895383" y="17090"/>
                </a:lnTo>
                <a:lnTo>
                  <a:pt x="890459" y="17090"/>
                </a:lnTo>
                <a:lnTo>
                  <a:pt x="886521" y="17829"/>
                </a:lnTo>
                <a:lnTo>
                  <a:pt x="880613" y="17829"/>
                </a:lnTo>
                <a:lnTo>
                  <a:pt x="874951" y="11183"/>
                </a:lnTo>
                <a:lnTo>
                  <a:pt x="867321" y="3552"/>
                </a:lnTo>
                <a:close/>
                <a:moveTo>
                  <a:pt x="769123" y="0"/>
                </a:moveTo>
                <a:lnTo>
                  <a:pt x="842019" y="0"/>
                </a:lnTo>
                <a:lnTo>
                  <a:pt x="845906" y="11921"/>
                </a:lnTo>
                <a:lnTo>
                  <a:pt x="851813" y="37275"/>
                </a:lnTo>
                <a:lnTo>
                  <a:pt x="861659" y="37275"/>
                </a:lnTo>
                <a:lnTo>
                  <a:pt x="867321" y="48845"/>
                </a:lnTo>
                <a:lnTo>
                  <a:pt x="872244" y="60660"/>
                </a:lnTo>
                <a:lnTo>
                  <a:pt x="873228" y="76660"/>
                </a:lnTo>
                <a:lnTo>
                  <a:pt x="872244" y="78383"/>
                </a:lnTo>
                <a:lnTo>
                  <a:pt x="870767" y="79859"/>
                </a:lnTo>
                <a:lnTo>
                  <a:pt x="870767" y="81582"/>
                </a:lnTo>
                <a:lnTo>
                  <a:pt x="869044" y="82567"/>
                </a:lnTo>
                <a:lnTo>
                  <a:pt x="867321" y="84290"/>
                </a:lnTo>
                <a:lnTo>
                  <a:pt x="864858" y="85767"/>
                </a:lnTo>
                <a:lnTo>
                  <a:pt x="859198" y="82567"/>
                </a:lnTo>
                <a:lnTo>
                  <a:pt x="851813" y="78383"/>
                </a:lnTo>
                <a:lnTo>
                  <a:pt x="844182" y="74198"/>
                </a:lnTo>
                <a:lnTo>
                  <a:pt x="838521" y="70752"/>
                </a:lnTo>
                <a:lnTo>
                  <a:pt x="836060" y="70013"/>
                </a:lnTo>
                <a:lnTo>
                  <a:pt x="833598" y="70013"/>
                </a:lnTo>
                <a:lnTo>
                  <a:pt x="841721" y="81582"/>
                </a:lnTo>
                <a:lnTo>
                  <a:pt x="849352" y="91675"/>
                </a:lnTo>
                <a:lnTo>
                  <a:pt x="855013" y="104229"/>
                </a:lnTo>
                <a:lnTo>
                  <a:pt x="851813" y="104229"/>
                </a:lnTo>
                <a:lnTo>
                  <a:pt x="841721" y="100044"/>
                </a:lnTo>
                <a:lnTo>
                  <a:pt x="828674" y="97582"/>
                </a:lnTo>
                <a:lnTo>
                  <a:pt x="814644" y="94136"/>
                </a:lnTo>
                <a:lnTo>
                  <a:pt x="804551" y="88475"/>
                </a:lnTo>
                <a:lnTo>
                  <a:pt x="795689" y="79859"/>
                </a:lnTo>
                <a:lnTo>
                  <a:pt x="789782" y="66567"/>
                </a:lnTo>
                <a:lnTo>
                  <a:pt x="784121" y="54752"/>
                </a:lnTo>
                <a:lnTo>
                  <a:pt x="775751" y="43183"/>
                </a:lnTo>
                <a:lnTo>
                  <a:pt x="766644" y="34568"/>
                </a:lnTo>
                <a:lnTo>
                  <a:pt x="754336" y="41460"/>
                </a:lnTo>
                <a:lnTo>
                  <a:pt x="739321" y="46383"/>
                </a:lnTo>
                <a:lnTo>
                  <a:pt x="722090" y="47368"/>
                </a:lnTo>
                <a:lnTo>
                  <a:pt x="720368" y="43183"/>
                </a:lnTo>
                <a:lnTo>
                  <a:pt x="719628" y="38998"/>
                </a:lnTo>
                <a:lnTo>
                  <a:pt x="719628" y="34568"/>
                </a:lnTo>
                <a:lnTo>
                  <a:pt x="719628" y="28906"/>
                </a:lnTo>
                <a:lnTo>
                  <a:pt x="731937" y="23737"/>
                </a:lnTo>
                <a:lnTo>
                  <a:pt x="748428" y="19552"/>
                </a:lnTo>
                <a:lnTo>
                  <a:pt x="762460" y="15368"/>
                </a:lnTo>
                <a:lnTo>
                  <a:pt x="766644" y="6998"/>
                </a:lnTo>
                <a:close/>
                <a:moveTo>
                  <a:pt x="0" y="0"/>
                </a:moveTo>
                <a:lnTo>
                  <a:pt x="611304" y="0"/>
                </a:lnTo>
                <a:lnTo>
                  <a:pt x="611815" y="1336"/>
                </a:lnTo>
                <a:lnTo>
                  <a:pt x="610093" y="10444"/>
                </a:lnTo>
                <a:lnTo>
                  <a:pt x="608368" y="24721"/>
                </a:lnTo>
                <a:lnTo>
                  <a:pt x="600984" y="24721"/>
                </a:lnTo>
                <a:lnTo>
                  <a:pt x="591138" y="18813"/>
                </a:lnTo>
                <a:lnTo>
                  <a:pt x="577108" y="15367"/>
                </a:lnTo>
                <a:lnTo>
                  <a:pt x="577108" y="18567"/>
                </a:lnTo>
                <a:lnTo>
                  <a:pt x="579569" y="18567"/>
                </a:lnTo>
                <a:lnTo>
                  <a:pt x="582769" y="21028"/>
                </a:lnTo>
                <a:lnTo>
                  <a:pt x="584492" y="22751"/>
                </a:lnTo>
                <a:lnTo>
                  <a:pt x="585230" y="24474"/>
                </a:lnTo>
                <a:lnTo>
                  <a:pt x="586954" y="26197"/>
                </a:lnTo>
                <a:lnTo>
                  <a:pt x="588677" y="30382"/>
                </a:lnTo>
                <a:lnTo>
                  <a:pt x="588677" y="34567"/>
                </a:lnTo>
                <a:lnTo>
                  <a:pt x="586954" y="38012"/>
                </a:lnTo>
                <a:lnTo>
                  <a:pt x="584492" y="40474"/>
                </a:lnTo>
                <a:lnTo>
                  <a:pt x="582769" y="43921"/>
                </a:lnTo>
                <a:lnTo>
                  <a:pt x="575384" y="49828"/>
                </a:lnTo>
                <a:lnTo>
                  <a:pt x="569722" y="55735"/>
                </a:lnTo>
                <a:lnTo>
                  <a:pt x="567262" y="62381"/>
                </a:lnTo>
                <a:lnTo>
                  <a:pt x="564061" y="73213"/>
                </a:lnTo>
                <a:lnTo>
                  <a:pt x="558400" y="73213"/>
                </a:lnTo>
                <a:lnTo>
                  <a:pt x="554215" y="71489"/>
                </a:lnTo>
                <a:lnTo>
                  <a:pt x="550031" y="69766"/>
                </a:lnTo>
                <a:lnTo>
                  <a:pt x="546830" y="68043"/>
                </a:lnTo>
                <a:lnTo>
                  <a:pt x="541169" y="67305"/>
                </a:lnTo>
                <a:lnTo>
                  <a:pt x="541169" y="69766"/>
                </a:lnTo>
                <a:lnTo>
                  <a:pt x="548554" y="69766"/>
                </a:lnTo>
                <a:lnTo>
                  <a:pt x="550277" y="73213"/>
                </a:lnTo>
                <a:lnTo>
                  <a:pt x="551015" y="75673"/>
                </a:lnTo>
                <a:lnTo>
                  <a:pt x="552739" y="77397"/>
                </a:lnTo>
                <a:lnTo>
                  <a:pt x="552739" y="79858"/>
                </a:lnTo>
                <a:lnTo>
                  <a:pt x="554461" y="84782"/>
                </a:lnTo>
                <a:lnTo>
                  <a:pt x="554461" y="88966"/>
                </a:lnTo>
                <a:lnTo>
                  <a:pt x="541169" y="93151"/>
                </a:lnTo>
                <a:lnTo>
                  <a:pt x="529601" y="100535"/>
                </a:lnTo>
                <a:lnTo>
                  <a:pt x="522216" y="108904"/>
                </a:lnTo>
                <a:lnTo>
                  <a:pt x="517292" y="122196"/>
                </a:lnTo>
                <a:lnTo>
                  <a:pt x="517292" y="141397"/>
                </a:lnTo>
                <a:lnTo>
                  <a:pt x="522216" y="152966"/>
                </a:lnTo>
                <a:lnTo>
                  <a:pt x="525416" y="168719"/>
                </a:lnTo>
                <a:lnTo>
                  <a:pt x="525416" y="184473"/>
                </a:lnTo>
                <a:lnTo>
                  <a:pt x="541169" y="184473"/>
                </a:lnTo>
                <a:lnTo>
                  <a:pt x="541169" y="191857"/>
                </a:lnTo>
                <a:lnTo>
                  <a:pt x="544369" y="194320"/>
                </a:lnTo>
                <a:lnTo>
                  <a:pt x="544369" y="197765"/>
                </a:lnTo>
                <a:lnTo>
                  <a:pt x="544369" y="200227"/>
                </a:lnTo>
                <a:lnTo>
                  <a:pt x="544369" y="201950"/>
                </a:lnTo>
                <a:lnTo>
                  <a:pt x="544369" y="203673"/>
                </a:lnTo>
                <a:lnTo>
                  <a:pt x="544369" y="204411"/>
                </a:lnTo>
                <a:lnTo>
                  <a:pt x="545108" y="206134"/>
                </a:lnTo>
                <a:lnTo>
                  <a:pt x="550031" y="206134"/>
                </a:lnTo>
                <a:lnTo>
                  <a:pt x="554215" y="207857"/>
                </a:lnTo>
                <a:lnTo>
                  <a:pt x="564061" y="206134"/>
                </a:lnTo>
                <a:lnTo>
                  <a:pt x="573908" y="210319"/>
                </a:lnTo>
                <a:lnTo>
                  <a:pt x="584739" y="217703"/>
                </a:lnTo>
                <a:lnTo>
                  <a:pt x="594584" y="227795"/>
                </a:lnTo>
                <a:lnTo>
                  <a:pt x="602954" y="236903"/>
                </a:lnTo>
                <a:lnTo>
                  <a:pt x="613292" y="242072"/>
                </a:lnTo>
                <a:lnTo>
                  <a:pt x="617476" y="243795"/>
                </a:lnTo>
                <a:lnTo>
                  <a:pt x="619938" y="244534"/>
                </a:lnTo>
                <a:lnTo>
                  <a:pt x="623138" y="243795"/>
                </a:lnTo>
                <a:lnTo>
                  <a:pt x="625600" y="243795"/>
                </a:lnTo>
                <a:lnTo>
                  <a:pt x="627323" y="242072"/>
                </a:lnTo>
                <a:lnTo>
                  <a:pt x="630523" y="240349"/>
                </a:lnTo>
                <a:lnTo>
                  <a:pt x="631261" y="238626"/>
                </a:lnTo>
                <a:lnTo>
                  <a:pt x="634462" y="238626"/>
                </a:lnTo>
                <a:lnTo>
                  <a:pt x="657600" y="244534"/>
                </a:lnTo>
                <a:lnTo>
                  <a:pt x="660060" y="260288"/>
                </a:lnTo>
                <a:lnTo>
                  <a:pt x="663261" y="271857"/>
                </a:lnTo>
                <a:lnTo>
                  <a:pt x="664984" y="280965"/>
                </a:lnTo>
                <a:lnTo>
                  <a:pt x="665722" y="289334"/>
                </a:lnTo>
                <a:lnTo>
                  <a:pt x="668922" y="298441"/>
                </a:lnTo>
                <a:lnTo>
                  <a:pt x="676307" y="308534"/>
                </a:lnTo>
                <a:lnTo>
                  <a:pt x="684676" y="321827"/>
                </a:lnTo>
                <a:lnTo>
                  <a:pt x="687138" y="320103"/>
                </a:lnTo>
                <a:lnTo>
                  <a:pt x="688860" y="320103"/>
                </a:lnTo>
                <a:lnTo>
                  <a:pt x="690584" y="318380"/>
                </a:lnTo>
                <a:lnTo>
                  <a:pt x="692306" y="318380"/>
                </a:lnTo>
                <a:lnTo>
                  <a:pt x="694769" y="317642"/>
                </a:lnTo>
                <a:lnTo>
                  <a:pt x="696491" y="317642"/>
                </a:lnTo>
                <a:lnTo>
                  <a:pt x="696491" y="315918"/>
                </a:lnTo>
                <a:lnTo>
                  <a:pt x="696491" y="314196"/>
                </a:lnTo>
                <a:lnTo>
                  <a:pt x="698215" y="311734"/>
                </a:lnTo>
                <a:lnTo>
                  <a:pt x="698215" y="302626"/>
                </a:lnTo>
                <a:lnTo>
                  <a:pt x="696491" y="291057"/>
                </a:lnTo>
                <a:lnTo>
                  <a:pt x="693291" y="276780"/>
                </a:lnTo>
                <a:lnTo>
                  <a:pt x="689107" y="263488"/>
                </a:lnTo>
                <a:lnTo>
                  <a:pt x="700676" y="257580"/>
                </a:lnTo>
                <a:lnTo>
                  <a:pt x="712246" y="249211"/>
                </a:lnTo>
                <a:lnTo>
                  <a:pt x="719629" y="237641"/>
                </a:lnTo>
                <a:lnTo>
                  <a:pt x="723814" y="222627"/>
                </a:lnTo>
                <a:lnTo>
                  <a:pt x="725538" y="214258"/>
                </a:lnTo>
                <a:lnTo>
                  <a:pt x="723814" y="200966"/>
                </a:lnTo>
                <a:lnTo>
                  <a:pt x="723814" y="187674"/>
                </a:lnTo>
                <a:lnTo>
                  <a:pt x="718153" y="185211"/>
                </a:lnTo>
                <a:lnTo>
                  <a:pt x="715692" y="183488"/>
                </a:lnTo>
                <a:lnTo>
                  <a:pt x="712491" y="181765"/>
                </a:lnTo>
                <a:lnTo>
                  <a:pt x="710030" y="179304"/>
                </a:lnTo>
                <a:lnTo>
                  <a:pt x="708307" y="174381"/>
                </a:lnTo>
                <a:lnTo>
                  <a:pt x="713968" y="164288"/>
                </a:lnTo>
                <a:lnTo>
                  <a:pt x="716429" y="152719"/>
                </a:lnTo>
                <a:lnTo>
                  <a:pt x="713968" y="140166"/>
                </a:lnTo>
                <a:lnTo>
                  <a:pt x="710768" y="126874"/>
                </a:lnTo>
                <a:lnTo>
                  <a:pt x="706583" y="111858"/>
                </a:lnTo>
                <a:lnTo>
                  <a:pt x="704861" y="97581"/>
                </a:lnTo>
                <a:lnTo>
                  <a:pt x="708061" y="97581"/>
                </a:lnTo>
                <a:lnTo>
                  <a:pt x="708061" y="94135"/>
                </a:lnTo>
                <a:lnTo>
                  <a:pt x="727999" y="97581"/>
                </a:lnTo>
                <a:lnTo>
                  <a:pt x="745229" y="97581"/>
                </a:lnTo>
                <a:lnTo>
                  <a:pt x="764184" y="94135"/>
                </a:lnTo>
                <a:lnTo>
                  <a:pt x="768368" y="101520"/>
                </a:lnTo>
                <a:lnTo>
                  <a:pt x="772552" y="111612"/>
                </a:lnTo>
                <a:lnTo>
                  <a:pt x="777476" y="118996"/>
                </a:lnTo>
                <a:lnTo>
                  <a:pt x="781660" y="122443"/>
                </a:lnTo>
                <a:lnTo>
                  <a:pt x="784122" y="123181"/>
                </a:lnTo>
                <a:lnTo>
                  <a:pt x="789044" y="123181"/>
                </a:lnTo>
                <a:lnTo>
                  <a:pt x="793229" y="124904"/>
                </a:lnTo>
                <a:lnTo>
                  <a:pt x="797415" y="126627"/>
                </a:lnTo>
                <a:lnTo>
                  <a:pt x="800615" y="129089"/>
                </a:lnTo>
                <a:lnTo>
                  <a:pt x="801352" y="136473"/>
                </a:lnTo>
                <a:lnTo>
                  <a:pt x="804552" y="149765"/>
                </a:lnTo>
                <a:lnTo>
                  <a:pt x="806276" y="161335"/>
                </a:lnTo>
                <a:lnTo>
                  <a:pt x="808736" y="169704"/>
                </a:lnTo>
                <a:lnTo>
                  <a:pt x="810460" y="171426"/>
                </a:lnTo>
                <a:lnTo>
                  <a:pt x="812922" y="173888"/>
                </a:lnTo>
                <a:lnTo>
                  <a:pt x="816122" y="175612"/>
                </a:lnTo>
                <a:lnTo>
                  <a:pt x="818583" y="179057"/>
                </a:lnTo>
                <a:lnTo>
                  <a:pt x="823506" y="179797"/>
                </a:lnTo>
                <a:lnTo>
                  <a:pt x="824244" y="183243"/>
                </a:lnTo>
                <a:lnTo>
                  <a:pt x="835814" y="174134"/>
                </a:lnTo>
                <a:lnTo>
                  <a:pt x="844922" y="163305"/>
                </a:lnTo>
                <a:lnTo>
                  <a:pt x="851568" y="151735"/>
                </a:lnTo>
                <a:lnTo>
                  <a:pt x="863137" y="142627"/>
                </a:lnTo>
                <a:lnTo>
                  <a:pt x="864860" y="152719"/>
                </a:lnTo>
                <a:lnTo>
                  <a:pt x="869044" y="158627"/>
                </a:lnTo>
                <a:lnTo>
                  <a:pt x="874705" y="164535"/>
                </a:lnTo>
                <a:lnTo>
                  <a:pt x="880367" y="170442"/>
                </a:lnTo>
                <a:lnTo>
                  <a:pt x="885290" y="177827"/>
                </a:lnTo>
                <a:lnTo>
                  <a:pt x="885290" y="180288"/>
                </a:lnTo>
                <a:lnTo>
                  <a:pt x="885290" y="183735"/>
                </a:lnTo>
                <a:lnTo>
                  <a:pt x="883567" y="185458"/>
                </a:lnTo>
                <a:lnTo>
                  <a:pt x="883567" y="187918"/>
                </a:lnTo>
                <a:lnTo>
                  <a:pt x="881845" y="191365"/>
                </a:lnTo>
                <a:lnTo>
                  <a:pt x="883567" y="193827"/>
                </a:lnTo>
                <a:lnTo>
                  <a:pt x="885290" y="197273"/>
                </a:lnTo>
                <a:lnTo>
                  <a:pt x="886028" y="198012"/>
                </a:lnTo>
                <a:lnTo>
                  <a:pt x="889228" y="198012"/>
                </a:lnTo>
                <a:lnTo>
                  <a:pt x="891689" y="198012"/>
                </a:lnTo>
                <a:lnTo>
                  <a:pt x="893414" y="198012"/>
                </a:lnTo>
                <a:lnTo>
                  <a:pt x="896613" y="198012"/>
                </a:lnTo>
                <a:lnTo>
                  <a:pt x="897352" y="199735"/>
                </a:lnTo>
                <a:lnTo>
                  <a:pt x="902275" y="211304"/>
                </a:lnTo>
                <a:lnTo>
                  <a:pt x="902275" y="220411"/>
                </a:lnTo>
                <a:lnTo>
                  <a:pt x="900552" y="228780"/>
                </a:lnTo>
                <a:lnTo>
                  <a:pt x="903013" y="236166"/>
                </a:lnTo>
                <a:lnTo>
                  <a:pt x="913844" y="244534"/>
                </a:lnTo>
                <a:lnTo>
                  <a:pt x="904736" y="262011"/>
                </a:lnTo>
                <a:lnTo>
                  <a:pt x="894890" y="277026"/>
                </a:lnTo>
                <a:lnTo>
                  <a:pt x="897352" y="277026"/>
                </a:lnTo>
                <a:lnTo>
                  <a:pt x="906459" y="267919"/>
                </a:lnTo>
                <a:lnTo>
                  <a:pt x="914828" y="260535"/>
                </a:lnTo>
                <a:lnTo>
                  <a:pt x="922213" y="252165"/>
                </a:lnTo>
                <a:lnTo>
                  <a:pt x="932059" y="254626"/>
                </a:lnTo>
                <a:lnTo>
                  <a:pt x="937720" y="260535"/>
                </a:lnTo>
                <a:lnTo>
                  <a:pt x="943382" y="267919"/>
                </a:lnTo>
                <a:lnTo>
                  <a:pt x="945105" y="279487"/>
                </a:lnTo>
                <a:lnTo>
                  <a:pt x="960120" y="279487"/>
                </a:lnTo>
                <a:lnTo>
                  <a:pt x="960120" y="283672"/>
                </a:lnTo>
                <a:lnTo>
                  <a:pt x="960859" y="287118"/>
                </a:lnTo>
                <a:lnTo>
                  <a:pt x="960859" y="291304"/>
                </a:lnTo>
                <a:lnTo>
                  <a:pt x="962582" y="295488"/>
                </a:lnTo>
                <a:lnTo>
                  <a:pt x="960859" y="300410"/>
                </a:lnTo>
                <a:lnTo>
                  <a:pt x="960859" y="302872"/>
                </a:lnTo>
                <a:lnTo>
                  <a:pt x="960859" y="306319"/>
                </a:lnTo>
                <a:lnTo>
                  <a:pt x="962582" y="307057"/>
                </a:lnTo>
                <a:lnTo>
                  <a:pt x="962582" y="310503"/>
                </a:lnTo>
                <a:lnTo>
                  <a:pt x="962582" y="312226"/>
                </a:lnTo>
                <a:lnTo>
                  <a:pt x="962582" y="314687"/>
                </a:lnTo>
                <a:lnTo>
                  <a:pt x="946828" y="326257"/>
                </a:lnTo>
                <a:lnTo>
                  <a:pt x="929598" y="333641"/>
                </a:lnTo>
                <a:lnTo>
                  <a:pt x="909659" y="337826"/>
                </a:lnTo>
                <a:lnTo>
                  <a:pt x="888983" y="340287"/>
                </a:lnTo>
                <a:lnTo>
                  <a:pt x="869044" y="343733"/>
                </a:lnTo>
                <a:lnTo>
                  <a:pt x="848367" y="346196"/>
                </a:lnTo>
                <a:lnTo>
                  <a:pt x="831137" y="352103"/>
                </a:lnTo>
                <a:lnTo>
                  <a:pt x="815382" y="359488"/>
                </a:lnTo>
                <a:lnTo>
                  <a:pt x="803814" y="372780"/>
                </a:lnTo>
                <a:lnTo>
                  <a:pt x="807014" y="372780"/>
                </a:lnTo>
                <a:lnTo>
                  <a:pt x="821045" y="362688"/>
                </a:lnTo>
                <a:lnTo>
                  <a:pt x="838275" y="355302"/>
                </a:lnTo>
                <a:lnTo>
                  <a:pt x="857228" y="351118"/>
                </a:lnTo>
                <a:lnTo>
                  <a:pt x="857967" y="353580"/>
                </a:lnTo>
                <a:lnTo>
                  <a:pt x="859690" y="357026"/>
                </a:lnTo>
                <a:lnTo>
                  <a:pt x="861414" y="357764"/>
                </a:lnTo>
                <a:lnTo>
                  <a:pt x="863874" y="359488"/>
                </a:lnTo>
                <a:lnTo>
                  <a:pt x="867075" y="361210"/>
                </a:lnTo>
                <a:lnTo>
                  <a:pt x="869536" y="363673"/>
                </a:lnTo>
                <a:lnTo>
                  <a:pt x="865352" y="371057"/>
                </a:lnTo>
                <a:lnTo>
                  <a:pt x="862890" y="376965"/>
                </a:lnTo>
                <a:lnTo>
                  <a:pt x="861168" y="382871"/>
                </a:lnTo>
                <a:lnTo>
                  <a:pt x="859444" y="391980"/>
                </a:lnTo>
                <a:lnTo>
                  <a:pt x="871014" y="397888"/>
                </a:lnTo>
                <a:lnTo>
                  <a:pt x="878397" y="406257"/>
                </a:lnTo>
                <a:lnTo>
                  <a:pt x="884060" y="414626"/>
                </a:lnTo>
                <a:lnTo>
                  <a:pt x="891443" y="423733"/>
                </a:lnTo>
                <a:lnTo>
                  <a:pt x="891443" y="426195"/>
                </a:lnTo>
                <a:lnTo>
                  <a:pt x="891443" y="427918"/>
                </a:lnTo>
                <a:lnTo>
                  <a:pt x="889721" y="427918"/>
                </a:lnTo>
                <a:lnTo>
                  <a:pt x="889721" y="429641"/>
                </a:lnTo>
                <a:lnTo>
                  <a:pt x="887998" y="431364"/>
                </a:lnTo>
                <a:lnTo>
                  <a:pt x="879629" y="441456"/>
                </a:lnTo>
                <a:lnTo>
                  <a:pt x="868059" y="449826"/>
                </a:lnTo>
                <a:lnTo>
                  <a:pt x="853290" y="455733"/>
                </a:lnTo>
                <a:lnTo>
                  <a:pt x="853290" y="443180"/>
                </a:lnTo>
                <a:lnTo>
                  <a:pt x="860674" y="438257"/>
                </a:lnTo>
                <a:lnTo>
                  <a:pt x="866336" y="434072"/>
                </a:lnTo>
                <a:lnTo>
                  <a:pt x="871999" y="426687"/>
                </a:lnTo>
                <a:lnTo>
                  <a:pt x="866336" y="424226"/>
                </a:lnTo>
                <a:lnTo>
                  <a:pt x="866336" y="420780"/>
                </a:lnTo>
                <a:lnTo>
                  <a:pt x="864613" y="420780"/>
                </a:lnTo>
                <a:lnTo>
                  <a:pt x="862890" y="420780"/>
                </a:lnTo>
                <a:lnTo>
                  <a:pt x="862890" y="422502"/>
                </a:lnTo>
                <a:lnTo>
                  <a:pt x="862890" y="424226"/>
                </a:lnTo>
                <a:lnTo>
                  <a:pt x="853044" y="431611"/>
                </a:lnTo>
                <a:lnTo>
                  <a:pt x="839751" y="437518"/>
                </a:lnTo>
                <a:lnTo>
                  <a:pt x="828921" y="441703"/>
                </a:lnTo>
                <a:lnTo>
                  <a:pt x="817352" y="447611"/>
                </a:lnTo>
                <a:lnTo>
                  <a:pt x="806521" y="454995"/>
                </a:lnTo>
                <a:lnTo>
                  <a:pt x="799875" y="465087"/>
                </a:lnTo>
                <a:lnTo>
                  <a:pt x="794952" y="479364"/>
                </a:lnTo>
                <a:lnTo>
                  <a:pt x="799875" y="481087"/>
                </a:lnTo>
                <a:lnTo>
                  <a:pt x="805536" y="482810"/>
                </a:lnTo>
                <a:lnTo>
                  <a:pt x="807998" y="485271"/>
                </a:lnTo>
                <a:lnTo>
                  <a:pt x="802337" y="485271"/>
                </a:lnTo>
                <a:lnTo>
                  <a:pt x="793968" y="492657"/>
                </a:lnTo>
                <a:lnTo>
                  <a:pt x="782398" y="495118"/>
                </a:lnTo>
                <a:lnTo>
                  <a:pt x="771568" y="496841"/>
                </a:lnTo>
                <a:lnTo>
                  <a:pt x="759999" y="498564"/>
                </a:lnTo>
                <a:lnTo>
                  <a:pt x="751629" y="521948"/>
                </a:lnTo>
                <a:lnTo>
                  <a:pt x="741783" y="546810"/>
                </a:lnTo>
                <a:lnTo>
                  <a:pt x="738583" y="543364"/>
                </a:lnTo>
                <a:lnTo>
                  <a:pt x="737845" y="541641"/>
                </a:lnTo>
                <a:lnTo>
                  <a:pt x="734645" y="540903"/>
                </a:lnTo>
                <a:lnTo>
                  <a:pt x="732922" y="539179"/>
                </a:lnTo>
                <a:lnTo>
                  <a:pt x="728737" y="535733"/>
                </a:lnTo>
                <a:lnTo>
                  <a:pt x="728737" y="543118"/>
                </a:lnTo>
                <a:lnTo>
                  <a:pt x="730459" y="546564"/>
                </a:lnTo>
                <a:lnTo>
                  <a:pt x="732922" y="554933"/>
                </a:lnTo>
                <a:lnTo>
                  <a:pt x="736122" y="565025"/>
                </a:lnTo>
                <a:lnTo>
                  <a:pt x="738583" y="574134"/>
                </a:lnTo>
                <a:lnTo>
                  <a:pt x="738583" y="578315"/>
                </a:lnTo>
                <a:lnTo>
                  <a:pt x="727014" y="585699"/>
                </a:lnTo>
                <a:lnTo>
                  <a:pt x="714707" y="592346"/>
                </a:lnTo>
                <a:lnTo>
                  <a:pt x="701415" y="601453"/>
                </a:lnTo>
                <a:lnTo>
                  <a:pt x="688123" y="609823"/>
                </a:lnTo>
                <a:lnTo>
                  <a:pt x="679753" y="621391"/>
                </a:lnTo>
                <a:lnTo>
                  <a:pt x="675568" y="636407"/>
                </a:lnTo>
                <a:lnTo>
                  <a:pt x="670645" y="647976"/>
                </a:lnTo>
                <a:lnTo>
                  <a:pt x="672368" y="662253"/>
                </a:lnTo>
                <a:lnTo>
                  <a:pt x="676553" y="678007"/>
                </a:lnTo>
                <a:lnTo>
                  <a:pt x="682214" y="694744"/>
                </a:lnTo>
                <a:lnTo>
                  <a:pt x="687876" y="710499"/>
                </a:lnTo>
                <a:lnTo>
                  <a:pt x="691076" y="724776"/>
                </a:lnTo>
                <a:lnTo>
                  <a:pt x="687876" y="724776"/>
                </a:lnTo>
                <a:lnTo>
                  <a:pt x="687876" y="728222"/>
                </a:lnTo>
                <a:lnTo>
                  <a:pt x="678030" y="724776"/>
                </a:lnTo>
                <a:lnTo>
                  <a:pt x="673845" y="712222"/>
                </a:lnTo>
                <a:lnTo>
                  <a:pt x="666461" y="695484"/>
                </a:lnTo>
                <a:lnTo>
                  <a:pt x="658091" y="678007"/>
                </a:lnTo>
                <a:lnTo>
                  <a:pt x="648983" y="665453"/>
                </a:lnTo>
                <a:lnTo>
                  <a:pt x="640615" y="658069"/>
                </a:lnTo>
                <a:lnTo>
                  <a:pt x="629784" y="656345"/>
                </a:lnTo>
                <a:lnTo>
                  <a:pt x="617476" y="650438"/>
                </a:lnTo>
                <a:lnTo>
                  <a:pt x="602707" y="644530"/>
                </a:lnTo>
                <a:lnTo>
                  <a:pt x="585477" y="642068"/>
                </a:lnTo>
                <a:lnTo>
                  <a:pt x="585477" y="644530"/>
                </a:lnTo>
                <a:lnTo>
                  <a:pt x="583014" y="644530"/>
                </a:lnTo>
                <a:lnTo>
                  <a:pt x="584739" y="649453"/>
                </a:lnTo>
                <a:lnTo>
                  <a:pt x="587199" y="653638"/>
                </a:lnTo>
                <a:lnTo>
                  <a:pt x="588923" y="656099"/>
                </a:lnTo>
                <a:lnTo>
                  <a:pt x="590645" y="659545"/>
                </a:lnTo>
                <a:lnTo>
                  <a:pt x="593107" y="663730"/>
                </a:lnTo>
                <a:lnTo>
                  <a:pt x="579815" y="663730"/>
                </a:lnTo>
                <a:lnTo>
                  <a:pt x="569969" y="659545"/>
                </a:lnTo>
                <a:lnTo>
                  <a:pt x="556677" y="656099"/>
                </a:lnTo>
                <a:lnTo>
                  <a:pt x="544369" y="656099"/>
                </a:lnTo>
                <a:lnTo>
                  <a:pt x="531077" y="657822"/>
                </a:lnTo>
                <a:lnTo>
                  <a:pt x="521970" y="660284"/>
                </a:lnTo>
                <a:lnTo>
                  <a:pt x="512124" y="665207"/>
                </a:lnTo>
                <a:lnTo>
                  <a:pt x="503754" y="671115"/>
                </a:lnTo>
                <a:lnTo>
                  <a:pt x="498092" y="679484"/>
                </a:lnTo>
                <a:lnTo>
                  <a:pt x="494892" y="686869"/>
                </a:lnTo>
                <a:lnTo>
                  <a:pt x="496616" y="692776"/>
                </a:lnTo>
                <a:lnTo>
                  <a:pt x="496616" y="700161"/>
                </a:lnTo>
                <a:lnTo>
                  <a:pt x="494154" y="708529"/>
                </a:lnTo>
                <a:lnTo>
                  <a:pt x="488492" y="727730"/>
                </a:lnTo>
                <a:lnTo>
                  <a:pt x="488492" y="742007"/>
                </a:lnTo>
                <a:lnTo>
                  <a:pt x="489231" y="757022"/>
                </a:lnTo>
                <a:lnTo>
                  <a:pt x="494892" y="771298"/>
                </a:lnTo>
                <a:lnTo>
                  <a:pt x="504000" y="788775"/>
                </a:lnTo>
                <a:lnTo>
                  <a:pt x="513846" y="790499"/>
                </a:lnTo>
                <a:lnTo>
                  <a:pt x="519508" y="792221"/>
                </a:lnTo>
                <a:lnTo>
                  <a:pt x="521970" y="794683"/>
                </a:lnTo>
                <a:lnTo>
                  <a:pt x="525170" y="796405"/>
                </a:lnTo>
                <a:lnTo>
                  <a:pt x="529354" y="798129"/>
                </a:lnTo>
                <a:lnTo>
                  <a:pt x="536738" y="794683"/>
                </a:lnTo>
                <a:lnTo>
                  <a:pt x="548308" y="788775"/>
                </a:lnTo>
                <a:lnTo>
                  <a:pt x="550770" y="787052"/>
                </a:lnTo>
                <a:lnTo>
                  <a:pt x="552492" y="787052"/>
                </a:lnTo>
                <a:lnTo>
                  <a:pt x="555692" y="787052"/>
                </a:lnTo>
                <a:lnTo>
                  <a:pt x="556430" y="787052"/>
                </a:lnTo>
                <a:lnTo>
                  <a:pt x="558153" y="787052"/>
                </a:lnTo>
                <a:lnTo>
                  <a:pt x="558153" y="786313"/>
                </a:lnTo>
                <a:lnTo>
                  <a:pt x="561354" y="782867"/>
                </a:lnTo>
                <a:lnTo>
                  <a:pt x="562092" y="778682"/>
                </a:lnTo>
                <a:lnTo>
                  <a:pt x="563816" y="774499"/>
                </a:lnTo>
                <a:lnTo>
                  <a:pt x="565538" y="769576"/>
                </a:lnTo>
                <a:lnTo>
                  <a:pt x="567262" y="767114"/>
                </a:lnTo>
                <a:lnTo>
                  <a:pt x="573908" y="759729"/>
                </a:lnTo>
                <a:lnTo>
                  <a:pt x="583014" y="755544"/>
                </a:lnTo>
                <a:lnTo>
                  <a:pt x="596308" y="753821"/>
                </a:lnTo>
                <a:lnTo>
                  <a:pt x="597046" y="757268"/>
                </a:lnTo>
                <a:lnTo>
                  <a:pt x="598769" y="758006"/>
                </a:lnTo>
                <a:lnTo>
                  <a:pt x="598769" y="759729"/>
                </a:lnTo>
                <a:lnTo>
                  <a:pt x="600491" y="759729"/>
                </a:lnTo>
                <a:lnTo>
                  <a:pt x="600491" y="758006"/>
                </a:lnTo>
                <a:lnTo>
                  <a:pt x="601477" y="758006"/>
                </a:lnTo>
                <a:lnTo>
                  <a:pt x="604677" y="758006"/>
                </a:lnTo>
                <a:lnTo>
                  <a:pt x="608861" y="757268"/>
                </a:lnTo>
                <a:lnTo>
                  <a:pt x="608861" y="769821"/>
                </a:lnTo>
                <a:lnTo>
                  <a:pt x="603200" y="775729"/>
                </a:lnTo>
                <a:lnTo>
                  <a:pt x="599015" y="786559"/>
                </a:lnTo>
                <a:lnTo>
                  <a:pt x="594831" y="800836"/>
                </a:lnTo>
                <a:lnTo>
                  <a:pt x="590645" y="814128"/>
                </a:lnTo>
                <a:lnTo>
                  <a:pt x="585722" y="824221"/>
                </a:lnTo>
                <a:lnTo>
                  <a:pt x="600491" y="824221"/>
                </a:lnTo>
                <a:lnTo>
                  <a:pt x="612799" y="822498"/>
                </a:lnTo>
                <a:lnTo>
                  <a:pt x="624369" y="822498"/>
                </a:lnTo>
                <a:lnTo>
                  <a:pt x="635199" y="824221"/>
                </a:lnTo>
                <a:lnTo>
                  <a:pt x="641845" y="828405"/>
                </a:lnTo>
                <a:lnTo>
                  <a:pt x="647507" y="837514"/>
                </a:lnTo>
                <a:lnTo>
                  <a:pt x="649229" y="850066"/>
                </a:lnTo>
                <a:lnTo>
                  <a:pt x="646768" y="859174"/>
                </a:lnTo>
                <a:lnTo>
                  <a:pt x="643568" y="870744"/>
                </a:lnTo>
                <a:lnTo>
                  <a:pt x="643568" y="882313"/>
                </a:lnTo>
                <a:lnTo>
                  <a:pt x="650954" y="889697"/>
                </a:lnTo>
                <a:lnTo>
                  <a:pt x="655138" y="894620"/>
                </a:lnTo>
                <a:lnTo>
                  <a:pt x="660799" y="900529"/>
                </a:lnTo>
                <a:lnTo>
                  <a:pt x="669906" y="905451"/>
                </a:lnTo>
                <a:lnTo>
                  <a:pt x="680738" y="907913"/>
                </a:lnTo>
                <a:lnTo>
                  <a:pt x="686399" y="900529"/>
                </a:lnTo>
                <a:lnTo>
                  <a:pt x="693784" y="898066"/>
                </a:lnTo>
                <a:lnTo>
                  <a:pt x="707076" y="898066"/>
                </a:lnTo>
                <a:lnTo>
                  <a:pt x="708798" y="900529"/>
                </a:lnTo>
                <a:lnTo>
                  <a:pt x="711261" y="903975"/>
                </a:lnTo>
                <a:lnTo>
                  <a:pt x="712737" y="905697"/>
                </a:lnTo>
                <a:lnTo>
                  <a:pt x="714460" y="905697"/>
                </a:lnTo>
                <a:lnTo>
                  <a:pt x="718645" y="906436"/>
                </a:lnTo>
                <a:lnTo>
                  <a:pt x="724060" y="907667"/>
                </a:lnTo>
                <a:lnTo>
                  <a:pt x="729722" y="896098"/>
                </a:lnTo>
                <a:lnTo>
                  <a:pt x="737106" y="887728"/>
                </a:lnTo>
                <a:lnTo>
                  <a:pt x="745476" y="880343"/>
                </a:lnTo>
                <a:lnTo>
                  <a:pt x="756306" y="874436"/>
                </a:lnTo>
                <a:lnTo>
                  <a:pt x="772060" y="871975"/>
                </a:lnTo>
                <a:lnTo>
                  <a:pt x="774522" y="870251"/>
                </a:lnTo>
                <a:lnTo>
                  <a:pt x="776244" y="870251"/>
                </a:lnTo>
                <a:lnTo>
                  <a:pt x="778707" y="870251"/>
                </a:lnTo>
                <a:lnTo>
                  <a:pt x="780429" y="870251"/>
                </a:lnTo>
                <a:lnTo>
                  <a:pt x="783629" y="871975"/>
                </a:lnTo>
                <a:lnTo>
                  <a:pt x="787813" y="871975"/>
                </a:lnTo>
                <a:lnTo>
                  <a:pt x="786090" y="874436"/>
                </a:lnTo>
                <a:lnTo>
                  <a:pt x="786090" y="877882"/>
                </a:lnTo>
                <a:lnTo>
                  <a:pt x="784367" y="877882"/>
                </a:lnTo>
                <a:lnTo>
                  <a:pt x="784367" y="878621"/>
                </a:lnTo>
                <a:lnTo>
                  <a:pt x="786090" y="878621"/>
                </a:lnTo>
                <a:lnTo>
                  <a:pt x="787813" y="880343"/>
                </a:lnTo>
                <a:lnTo>
                  <a:pt x="790275" y="882066"/>
                </a:lnTo>
                <a:lnTo>
                  <a:pt x="790275" y="878621"/>
                </a:lnTo>
                <a:lnTo>
                  <a:pt x="793475" y="876160"/>
                </a:lnTo>
                <a:lnTo>
                  <a:pt x="795199" y="874436"/>
                </a:lnTo>
                <a:lnTo>
                  <a:pt x="795937" y="872714"/>
                </a:lnTo>
                <a:lnTo>
                  <a:pt x="797660" y="871975"/>
                </a:lnTo>
                <a:lnTo>
                  <a:pt x="800860" y="870251"/>
                </a:lnTo>
                <a:lnTo>
                  <a:pt x="803320" y="868529"/>
                </a:lnTo>
                <a:lnTo>
                  <a:pt x="816613" y="880097"/>
                </a:lnTo>
                <a:lnTo>
                  <a:pt x="833845" y="886006"/>
                </a:lnTo>
                <a:lnTo>
                  <a:pt x="851075" y="887728"/>
                </a:lnTo>
                <a:lnTo>
                  <a:pt x="871014" y="886006"/>
                </a:lnTo>
                <a:lnTo>
                  <a:pt x="891689" y="884281"/>
                </a:lnTo>
                <a:lnTo>
                  <a:pt x="891689" y="887728"/>
                </a:lnTo>
                <a:lnTo>
                  <a:pt x="891689" y="889452"/>
                </a:lnTo>
                <a:lnTo>
                  <a:pt x="889967" y="890190"/>
                </a:lnTo>
                <a:lnTo>
                  <a:pt x="889967" y="891912"/>
                </a:lnTo>
                <a:lnTo>
                  <a:pt x="888243" y="894374"/>
                </a:lnTo>
                <a:lnTo>
                  <a:pt x="898090" y="897820"/>
                </a:lnTo>
                <a:lnTo>
                  <a:pt x="903751" y="902005"/>
                </a:lnTo>
                <a:lnTo>
                  <a:pt x="909413" y="906190"/>
                </a:lnTo>
                <a:lnTo>
                  <a:pt x="919259" y="911113"/>
                </a:lnTo>
                <a:lnTo>
                  <a:pt x="919259" y="919481"/>
                </a:lnTo>
                <a:lnTo>
                  <a:pt x="930090" y="922928"/>
                </a:lnTo>
                <a:lnTo>
                  <a:pt x="936736" y="923667"/>
                </a:lnTo>
                <a:lnTo>
                  <a:pt x="942397" y="929574"/>
                </a:lnTo>
                <a:lnTo>
                  <a:pt x="945597" y="938682"/>
                </a:lnTo>
                <a:lnTo>
                  <a:pt x="962828" y="940404"/>
                </a:lnTo>
                <a:lnTo>
                  <a:pt x="976859" y="941143"/>
                </a:lnTo>
                <a:lnTo>
                  <a:pt x="995813" y="942867"/>
                </a:lnTo>
                <a:lnTo>
                  <a:pt x="1009104" y="960343"/>
                </a:lnTo>
                <a:lnTo>
                  <a:pt x="1024859" y="976097"/>
                </a:lnTo>
                <a:lnTo>
                  <a:pt x="1042089" y="989389"/>
                </a:lnTo>
                <a:lnTo>
                  <a:pt x="1062028" y="999481"/>
                </a:lnTo>
                <a:lnTo>
                  <a:pt x="1061290" y="1005389"/>
                </a:lnTo>
                <a:lnTo>
                  <a:pt x="1058089" y="1008835"/>
                </a:lnTo>
                <a:lnTo>
                  <a:pt x="1055627" y="1013020"/>
                </a:lnTo>
                <a:lnTo>
                  <a:pt x="1052427" y="1015481"/>
                </a:lnTo>
                <a:lnTo>
                  <a:pt x="1049966" y="1020404"/>
                </a:lnTo>
                <a:lnTo>
                  <a:pt x="1068182" y="1020404"/>
                </a:lnTo>
                <a:lnTo>
                  <a:pt x="1085412" y="1026312"/>
                </a:lnTo>
                <a:lnTo>
                  <a:pt x="1088612" y="1036404"/>
                </a:lnTo>
                <a:lnTo>
                  <a:pt x="1092798" y="1034681"/>
                </a:lnTo>
                <a:lnTo>
                  <a:pt x="1095258" y="1032958"/>
                </a:lnTo>
                <a:lnTo>
                  <a:pt x="1100181" y="1034681"/>
                </a:lnTo>
                <a:lnTo>
                  <a:pt x="1100919" y="1034681"/>
                </a:lnTo>
                <a:lnTo>
                  <a:pt x="1104120" y="1036404"/>
                </a:lnTo>
                <a:lnTo>
                  <a:pt x="1106582" y="1038127"/>
                </a:lnTo>
                <a:lnTo>
                  <a:pt x="1109782" y="1038865"/>
                </a:lnTo>
                <a:lnTo>
                  <a:pt x="1154335" y="1042312"/>
                </a:lnTo>
                <a:lnTo>
                  <a:pt x="1158519" y="1046496"/>
                </a:lnTo>
                <a:lnTo>
                  <a:pt x="1161719" y="1054866"/>
                </a:lnTo>
                <a:lnTo>
                  <a:pt x="1162457" y="1062250"/>
                </a:lnTo>
                <a:lnTo>
                  <a:pt x="1167381" y="1068158"/>
                </a:lnTo>
                <a:lnTo>
                  <a:pt x="1174027" y="1069881"/>
                </a:lnTo>
                <a:lnTo>
                  <a:pt x="1181411" y="1069881"/>
                </a:lnTo>
                <a:lnTo>
                  <a:pt x="1187072" y="1068158"/>
                </a:lnTo>
                <a:lnTo>
                  <a:pt x="1191257" y="1074065"/>
                </a:lnTo>
                <a:lnTo>
                  <a:pt x="1196181" y="1078250"/>
                </a:lnTo>
                <a:lnTo>
                  <a:pt x="1198642" y="1083174"/>
                </a:lnTo>
                <a:lnTo>
                  <a:pt x="1200612" y="1088835"/>
                </a:lnTo>
                <a:lnTo>
                  <a:pt x="1202334" y="1095481"/>
                </a:lnTo>
                <a:lnTo>
                  <a:pt x="1191503" y="1108773"/>
                </a:lnTo>
                <a:lnTo>
                  <a:pt x="1179934" y="1124527"/>
                </a:lnTo>
                <a:lnTo>
                  <a:pt x="1168366" y="1142003"/>
                </a:lnTo>
                <a:lnTo>
                  <a:pt x="1158519" y="1159481"/>
                </a:lnTo>
                <a:lnTo>
                  <a:pt x="1151874" y="1172772"/>
                </a:lnTo>
                <a:lnTo>
                  <a:pt x="1151874" y="1181142"/>
                </a:lnTo>
                <a:lnTo>
                  <a:pt x="1152611" y="1192710"/>
                </a:lnTo>
                <a:lnTo>
                  <a:pt x="1155811" y="1206003"/>
                </a:lnTo>
                <a:lnTo>
                  <a:pt x="1154089" y="1217572"/>
                </a:lnTo>
                <a:lnTo>
                  <a:pt x="1151627" y="1224957"/>
                </a:lnTo>
                <a:lnTo>
                  <a:pt x="1145965" y="1236526"/>
                </a:lnTo>
                <a:lnTo>
                  <a:pt x="1145610" y="1237129"/>
                </a:lnTo>
                <a:lnTo>
                  <a:pt x="795176" y="1237129"/>
                </a:lnTo>
                <a:lnTo>
                  <a:pt x="797415" y="1220772"/>
                </a:lnTo>
                <a:lnTo>
                  <a:pt x="768614" y="1209941"/>
                </a:lnTo>
                <a:lnTo>
                  <a:pt x="743752" y="1193203"/>
                </a:lnTo>
                <a:lnTo>
                  <a:pt x="723814" y="1171542"/>
                </a:lnTo>
                <a:lnTo>
                  <a:pt x="707322" y="1148157"/>
                </a:lnTo>
                <a:lnTo>
                  <a:pt x="701661" y="1134865"/>
                </a:lnTo>
                <a:lnTo>
                  <a:pt x="697476" y="1122311"/>
                </a:lnTo>
                <a:lnTo>
                  <a:pt x="693291" y="1107296"/>
                </a:lnTo>
                <a:lnTo>
                  <a:pt x="687630" y="1095727"/>
                </a:lnTo>
                <a:lnTo>
                  <a:pt x="678522" y="1087357"/>
                </a:lnTo>
                <a:lnTo>
                  <a:pt x="676061" y="1083911"/>
                </a:lnTo>
                <a:lnTo>
                  <a:pt x="671876" y="1083911"/>
                </a:lnTo>
                <a:lnTo>
                  <a:pt x="668677" y="1083174"/>
                </a:lnTo>
                <a:lnTo>
                  <a:pt x="666215" y="1079727"/>
                </a:lnTo>
                <a:lnTo>
                  <a:pt x="663014" y="1077265"/>
                </a:lnTo>
                <a:lnTo>
                  <a:pt x="666215" y="1071358"/>
                </a:lnTo>
                <a:lnTo>
                  <a:pt x="666215" y="1066434"/>
                </a:lnTo>
                <a:lnTo>
                  <a:pt x="666215" y="1060527"/>
                </a:lnTo>
                <a:lnTo>
                  <a:pt x="666215" y="1054620"/>
                </a:lnTo>
                <a:lnTo>
                  <a:pt x="673599" y="1050435"/>
                </a:lnTo>
                <a:lnTo>
                  <a:pt x="678522" y="1046250"/>
                </a:lnTo>
                <a:lnTo>
                  <a:pt x="685907" y="1042065"/>
                </a:lnTo>
                <a:lnTo>
                  <a:pt x="685907" y="1038619"/>
                </a:lnTo>
                <a:lnTo>
                  <a:pt x="678522" y="1038619"/>
                </a:lnTo>
                <a:lnTo>
                  <a:pt x="674337" y="1037881"/>
                </a:lnTo>
                <a:lnTo>
                  <a:pt x="670152" y="1037881"/>
                </a:lnTo>
                <a:lnTo>
                  <a:pt x="665969" y="1036158"/>
                </a:lnTo>
                <a:lnTo>
                  <a:pt x="671630" y="1022866"/>
                </a:lnTo>
                <a:lnTo>
                  <a:pt x="675815" y="1009574"/>
                </a:lnTo>
                <a:lnTo>
                  <a:pt x="681476" y="997020"/>
                </a:lnTo>
                <a:lnTo>
                  <a:pt x="691322" y="986189"/>
                </a:lnTo>
                <a:lnTo>
                  <a:pt x="702891" y="976097"/>
                </a:lnTo>
                <a:lnTo>
                  <a:pt x="712737" y="964528"/>
                </a:lnTo>
                <a:lnTo>
                  <a:pt x="711998" y="956159"/>
                </a:lnTo>
                <a:lnTo>
                  <a:pt x="711998" y="944590"/>
                </a:lnTo>
                <a:lnTo>
                  <a:pt x="710276" y="933020"/>
                </a:lnTo>
                <a:lnTo>
                  <a:pt x="706091" y="925636"/>
                </a:lnTo>
                <a:lnTo>
                  <a:pt x="700430" y="917266"/>
                </a:lnTo>
                <a:lnTo>
                  <a:pt x="694769" y="908159"/>
                </a:lnTo>
                <a:lnTo>
                  <a:pt x="689107" y="908159"/>
                </a:lnTo>
                <a:lnTo>
                  <a:pt x="687384" y="909882"/>
                </a:lnTo>
                <a:lnTo>
                  <a:pt x="685660" y="911605"/>
                </a:lnTo>
                <a:lnTo>
                  <a:pt x="683938" y="912343"/>
                </a:lnTo>
                <a:lnTo>
                  <a:pt x="681476" y="914066"/>
                </a:lnTo>
                <a:lnTo>
                  <a:pt x="683199" y="917513"/>
                </a:lnTo>
                <a:lnTo>
                  <a:pt x="683199" y="919974"/>
                </a:lnTo>
                <a:lnTo>
                  <a:pt x="683199" y="921697"/>
                </a:lnTo>
                <a:lnTo>
                  <a:pt x="681476" y="924159"/>
                </a:lnTo>
                <a:lnTo>
                  <a:pt x="679753" y="924159"/>
                </a:lnTo>
                <a:lnTo>
                  <a:pt x="678030" y="925882"/>
                </a:lnTo>
                <a:lnTo>
                  <a:pt x="677292" y="925882"/>
                </a:lnTo>
                <a:lnTo>
                  <a:pt x="675568" y="925882"/>
                </a:lnTo>
                <a:lnTo>
                  <a:pt x="673108" y="927605"/>
                </a:lnTo>
                <a:lnTo>
                  <a:pt x="665722" y="921697"/>
                </a:lnTo>
                <a:lnTo>
                  <a:pt x="652430" y="914313"/>
                </a:lnTo>
                <a:lnTo>
                  <a:pt x="639137" y="906929"/>
                </a:lnTo>
                <a:lnTo>
                  <a:pt x="626831" y="901020"/>
                </a:lnTo>
                <a:lnTo>
                  <a:pt x="617722" y="898558"/>
                </a:lnTo>
                <a:lnTo>
                  <a:pt x="610338" y="881082"/>
                </a:lnTo>
                <a:lnTo>
                  <a:pt x="603692" y="870989"/>
                </a:lnTo>
                <a:lnTo>
                  <a:pt x="596308" y="863605"/>
                </a:lnTo>
                <a:lnTo>
                  <a:pt x="588923" y="861144"/>
                </a:lnTo>
                <a:lnTo>
                  <a:pt x="577353" y="857698"/>
                </a:lnTo>
                <a:lnTo>
                  <a:pt x="565046" y="853513"/>
                </a:lnTo>
                <a:lnTo>
                  <a:pt x="548554" y="847606"/>
                </a:lnTo>
                <a:lnTo>
                  <a:pt x="538708" y="840221"/>
                </a:lnTo>
                <a:lnTo>
                  <a:pt x="530338" y="832836"/>
                </a:lnTo>
                <a:lnTo>
                  <a:pt x="517046" y="826929"/>
                </a:lnTo>
                <a:lnTo>
                  <a:pt x="508677" y="826929"/>
                </a:lnTo>
                <a:lnTo>
                  <a:pt x="503016" y="830375"/>
                </a:lnTo>
                <a:lnTo>
                  <a:pt x="498092" y="832836"/>
                </a:lnTo>
                <a:lnTo>
                  <a:pt x="492431" y="836283"/>
                </a:lnTo>
                <a:lnTo>
                  <a:pt x="485785" y="834560"/>
                </a:lnTo>
                <a:lnTo>
                  <a:pt x="482585" y="832836"/>
                </a:lnTo>
                <a:lnTo>
                  <a:pt x="480124" y="830375"/>
                </a:lnTo>
                <a:lnTo>
                  <a:pt x="476924" y="826929"/>
                </a:lnTo>
                <a:lnTo>
                  <a:pt x="472739" y="822744"/>
                </a:lnTo>
                <a:lnTo>
                  <a:pt x="469539" y="820283"/>
                </a:lnTo>
                <a:lnTo>
                  <a:pt x="467077" y="818559"/>
                </a:lnTo>
                <a:lnTo>
                  <a:pt x="448124" y="815113"/>
                </a:lnTo>
                <a:lnTo>
                  <a:pt x="445662" y="812652"/>
                </a:lnTo>
                <a:lnTo>
                  <a:pt x="442462" y="810190"/>
                </a:lnTo>
                <a:lnTo>
                  <a:pt x="440000" y="806744"/>
                </a:lnTo>
                <a:lnTo>
                  <a:pt x="436801" y="804283"/>
                </a:lnTo>
                <a:lnTo>
                  <a:pt x="436062" y="802560"/>
                </a:lnTo>
                <a:lnTo>
                  <a:pt x="419570" y="805021"/>
                </a:lnTo>
                <a:lnTo>
                  <a:pt x="417108" y="804283"/>
                </a:lnTo>
                <a:lnTo>
                  <a:pt x="412924" y="798375"/>
                </a:lnTo>
                <a:lnTo>
                  <a:pt x="405539" y="792467"/>
                </a:lnTo>
                <a:lnTo>
                  <a:pt x="399878" y="785082"/>
                </a:lnTo>
                <a:lnTo>
                  <a:pt x="394217" y="779175"/>
                </a:lnTo>
                <a:lnTo>
                  <a:pt x="391017" y="775729"/>
                </a:lnTo>
                <a:lnTo>
                  <a:pt x="396677" y="757513"/>
                </a:lnTo>
                <a:lnTo>
                  <a:pt x="380924" y="740036"/>
                </a:lnTo>
                <a:lnTo>
                  <a:pt x="366893" y="720837"/>
                </a:lnTo>
                <a:lnTo>
                  <a:pt x="352124" y="700899"/>
                </a:lnTo>
                <a:lnTo>
                  <a:pt x="338094" y="679976"/>
                </a:lnTo>
                <a:lnTo>
                  <a:pt x="334894" y="678252"/>
                </a:lnTo>
                <a:lnTo>
                  <a:pt x="330709" y="677514"/>
                </a:lnTo>
                <a:lnTo>
                  <a:pt x="328248" y="677514"/>
                </a:lnTo>
                <a:lnTo>
                  <a:pt x="323324" y="675792"/>
                </a:lnTo>
                <a:lnTo>
                  <a:pt x="322586" y="674068"/>
                </a:lnTo>
                <a:lnTo>
                  <a:pt x="316925" y="666683"/>
                </a:lnTo>
                <a:lnTo>
                  <a:pt x="313725" y="658315"/>
                </a:lnTo>
                <a:lnTo>
                  <a:pt x="311262" y="649945"/>
                </a:lnTo>
                <a:lnTo>
                  <a:pt x="306339" y="640837"/>
                </a:lnTo>
                <a:lnTo>
                  <a:pt x="299694" y="636653"/>
                </a:lnTo>
                <a:lnTo>
                  <a:pt x="296493" y="633207"/>
                </a:lnTo>
                <a:lnTo>
                  <a:pt x="294032" y="630746"/>
                </a:lnTo>
                <a:lnTo>
                  <a:pt x="290832" y="629022"/>
                </a:lnTo>
                <a:lnTo>
                  <a:pt x="290832" y="644777"/>
                </a:lnTo>
                <a:lnTo>
                  <a:pt x="295017" y="650683"/>
                </a:lnTo>
                <a:lnTo>
                  <a:pt x="304124" y="660776"/>
                </a:lnTo>
                <a:lnTo>
                  <a:pt x="312494" y="672346"/>
                </a:lnTo>
                <a:lnTo>
                  <a:pt x="323324" y="687360"/>
                </a:lnTo>
                <a:lnTo>
                  <a:pt x="331693" y="701637"/>
                </a:lnTo>
                <a:lnTo>
                  <a:pt x="340801" y="716653"/>
                </a:lnTo>
                <a:lnTo>
                  <a:pt x="347447" y="729945"/>
                </a:lnTo>
                <a:lnTo>
                  <a:pt x="350647" y="738314"/>
                </a:lnTo>
                <a:lnTo>
                  <a:pt x="350647" y="744222"/>
                </a:lnTo>
                <a:lnTo>
                  <a:pt x="348925" y="746683"/>
                </a:lnTo>
                <a:lnTo>
                  <a:pt x="347200" y="748406"/>
                </a:lnTo>
                <a:lnTo>
                  <a:pt x="347200" y="750129"/>
                </a:lnTo>
                <a:lnTo>
                  <a:pt x="344740" y="751853"/>
                </a:lnTo>
                <a:lnTo>
                  <a:pt x="344740" y="745945"/>
                </a:lnTo>
                <a:lnTo>
                  <a:pt x="343017" y="741021"/>
                </a:lnTo>
                <a:lnTo>
                  <a:pt x="343017" y="738561"/>
                </a:lnTo>
                <a:lnTo>
                  <a:pt x="341294" y="735114"/>
                </a:lnTo>
                <a:lnTo>
                  <a:pt x="338832" y="735114"/>
                </a:lnTo>
                <a:lnTo>
                  <a:pt x="337109" y="735114"/>
                </a:lnTo>
                <a:lnTo>
                  <a:pt x="335386" y="735114"/>
                </a:lnTo>
                <a:lnTo>
                  <a:pt x="334648" y="735114"/>
                </a:lnTo>
                <a:lnTo>
                  <a:pt x="332924" y="735114"/>
                </a:lnTo>
                <a:lnTo>
                  <a:pt x="328740" y="735114"/>
                </a:lnTo>
                <a:lnTo>
                  <a:pt x="325540" y="725022"/>
                </a:lnTo>
                <a:lnTo>
                  <a:pt x="323078" y="714929"/>
                </a:lnTo>
                <a:lnTo>
                  <a:pt x="318156" y="706561"/>
                </a:lnTo>
                <a:lnTo>
                  <a:pt x="311509" y="699175"/>
                </a:lnTo>
                <a:lnTo>
                  <a:pt x="302401" y="693269"/>
                </a:lnTo>
                <a:lnTo>
                  <a:pt x="294032" y="687360"/>
                </a:lnTo>
                <a:lnTo>
                  <a:pt x="286647" y="677268"/>
                </a:lnTo>
                <a:lnTo>
                  <a:pt x="289109" y="675545"/>
                </a:lnTo>
                <a:lnTo>
                  <a:pt x="290832" y="675545"/>
                </a:lnTo>
                <a:lnTo>
                  <a:pt x="292555" y="675545"/>
                </a:lnTo>
                <a:lnTo>
                  <a:pt x="292555" y="673821"/>
                </a:lnTo>
                <a:lnTo>
                  <a:pt x="292555" y="672099"/>
                </a:lnTo>
                <a:lnTo>
                  <a:pt x="294278" y="671361"/>
                </a:lnTo>
                <a:lnTo>
                  <a:pt x="283447" y="663976"/>
                </a:lnTo>
                <a:lnTo>
                  <a:pt x="278524" y="654869"/>
                </a:lnTo>
                <a:lnTo>
                  <a:pt x="273601" y="644777"/>
                </a:lnTo>
                <a:lnTo>
                  <a:pt x="271140" y="633207"/>
                </a:lnTo>
                <a:lnTo>
                  <a:pt x="265478" y="623115"/>
                </a:lnTo>
                <a:lnTo>
                  <a:pt x="258093" y="614745"/>
                </a:lnTo>
                <a:lnTo>
                  <a:pt x="249725" y="609823"/>
                </a:lnTo>
                <a:lnTo>
                  <a:pt x="238894" y="605638"/>
                </a:lnTo>
                <a:lnTo>
                  <a:pt x="230524" y="599730"/>
                </a:lnTo>
                <a:lnTo>
                  <a:pt x="224863" y="592346"/>
                </a:lnTo>
                <a:lnTo>
                  <a:pt x="221663" y="583977"/>
                </a:lnTo>
                <a:lnTo>
                  <a:pt x="217478" y="574871"/>
                </a:lnTo>
                <a:lnTo>
                  <a:pt x="207633" y="560594"/>
                </a:lnTo>
                <a:lnTo>
                  <a:pt x="199264" y="550502"/>
                </a:lnTo>
                <a:lnTo>
                  <a:pt x="190156" y="541394"/>
                </a:lnTo>
                <a:lnTo>
                  <a:pt x="184494" y="531303"/>
                </a:lnTo>
                <a:lnTo>
                  <a:pt x="180309" y="518010"/>
                </a:lnTo>
                <a:lnTo>
                  <a:pt x="177109" y="500533"/>
                </a:lnTo>
                <a:lnTo>
                  <a:pt x="176371" y="476410"/>
                </a:lnTo>
                <a:lnTo>
                  <a:pt x="176371" y="470503"/>
                </a:lnTo>
                <a:lnTo>
                  <a:pt x="177109" y="458933"/>
                </a:lnTo>
                <a:lnTo>
                  <a:pt x="177109" y="443180"/>
                </a:lnTo>
                <a:lnTo>
                  <a:pt x="177109" y="423980"/>
                </a:lnTo>
                <a:lnTo>
                  <a:pt x="177109" y="406503"/>
                </a:lnTo>
                <a:lnTo>
                  <a:pt x="178833" y="392226"/>
                </a:lnTo>
                <a:lnTo>
                  <a:pt x="180556" y="383118"/>
                </a:lnTo>
                <a:lnTo>
                  <a:pt x="184740" y="381396"/>
                </a:lnTo>
                <a:lnTo>
                  <a:pt x="187940" y="381396"/>
                </a:lnTo>
                <a:lnTo>
                  <a:pt x="190402" y="381396"/>
                </a:lnTo>
                <a:lnTo>
                  <a:pt x="193602" y="381396"/>
                </a:lnTo>
                <a:lnTo>
                  <a:pt x="196064" y="383118"/>
                </a:lnTo>
                <a:lnTo>
                  <a:pt x="197787" y="386564"/>
                </a:lnTo>
                <a:lnTo>
                  <a:pt x="200248" y="389026"/>
                </a:lnTo>
                <a:lnTo>
                  <a:pt x="201970" y="392473"/>
                </a:lnTo>
                <a:lnTo>
                  <a:pt x="201970" y="375733"/>
                </a:lnTo>
                <a:lnTo>
                  <a:pt x="192125" y="364165"/>
                </a:lnTo>
                <a:lnTo>
                  <a:pt x="180556" y="352596"/>
                </a:lnTo>
                <a:lnTo>
                  <a:pt x="167264" y="344226"/>
                </a:lnTo>
                <a:lnTo>
                  <a:pt x="167264" y="351611"/>
                </a:lnTo>
                <a:lnTo>
                  <a:pt x="172926" y="355795"/>
                </a:lnTo>
                <a:lnTo>
                  <a:pt x="178586" y="359980"/>
                </a:lnTo>
                <a:lnTo>
                  <a:pt x="184247" y="364165"/>
                </a:lnTo>
                <a:lnTo>
                  <a:pt x="188433" y="370072"/>
                </a:lnTo>
                <a:lnTo>
                  <a:pt x="188433" y="373518"/>
                </a:lnTo>
                <a:lnTo>
                  <a:pt x="187694" y="373518"/>
                </a:lnTo>
                <a:lnTo>
                  <a:pt x="187694" y="375241"/>
                </a:lnTo>
                <a:lnTo>
                  <a:pt x="185971" y="375980"/>
                </a:lnTo>
                <a:lnTo>
                  <a:pt x="182772" y="377703"/>
                </a:lnTo>
                <a:lnTo>
                  <a:pt x="182032" y="379426"/>
                </a:lnTo>
                <a:lnTo>
                  <a:pt x="177109" y="379426"/>
                </a:lnTo>
                <a:lnTo>
                  <a:pt x="172926" y="379426"/>
                </a:lnTo>
                <a:lnTo>
                  <a:pt x="171202" y="379426"/>
                </a:lnTo>
                <a:lnTo>
                  <a:pt x="171202" y="377703"/>
                </a:lnTo>
                <a:lnTo>
                  <a:pt x="170463" y="377703"/>
                </a:lnTo>
                <a:lnTo>
                  <a:pt x="167264" y="375980"/>
                </a:lnTo>
                <a:lnTo>
                  <a:pt x="157418" y="363426"/>
                </a:lnTo>
                <a:lnTo>
                  <a:pt x="148310" y="350134"/>
                </a:lnTo>
                <a:lnTo>
                  <a:pt x="141664" y="335119"/>
                </a:lnTo>
                <a:lnTo>
                  <a:pt x="148310" y="335119"/>
                </a:lnTo>
                <a:lnTo>
                  <a:pt x="151510" y="336841"/>
                </a:lnTo>
                <a:lnTo>
                  <a:pt x="153972" y="336841"/>
                </a:lnTo>
                <a:lnTo>
                  <a:pt x="157171" y="336841"/>
                </a:lnTo>
                <a:lnTo>
                  <a:pt x="159633" y="335119"/>
                </a:lnTo>
                <a:lnTo>
                  <a:pt x="148064" y="330934"/>
                </a:lnTo>
                <a:lnTo>
                  <a:pt x="141418" y="324288"/>
                </a:lnTo>
                <a:lnTo>
                  <a:pt x="135756" y="315180"/>
                </a:lnTo>
                <a:lnTo>
                  <a:pt x="130834" y="305088"/>
                </a:lnTo>
                <a:lnTo>
                  <a:pt x="128371" y="294995"/>
                </a:lnTo>
                <a:lnTo>
                  <a:pt x="124187" y="285888"/>
                </a:lnTo>
                <a:lnTo>
                  <a:pt x="118525" y="278503"/>
                </a:lnTo>
                <a:lnTo>
                  <a:pt x="109418" y="274319"/>
                </a:lnTo>
                <a:lnTo>
                  <a:pt x="112618" y="255118"/>
                </a:lnTo>
                <a:lnTo>
                  <a:pt x="102772" y="244287"/>
                </a:lnTo>
                <a:lnTo>
                  <a:pt x="93664" y="230995"/>
                </a:lnTo>
                <a:lnTo>
                  <a:pt x="86279" y="217703"/>
                </a:lnTo>
                <a:lnTo>
                  <a:pt x="76433" y="204411"/>
                </a:lnTo>
                <a:lnTo>
                  <a:pt x="64865" y="194320"/>
                </a:lnTo>
                <a:lnTo>
                  <a:pt x="49111" y="186935"/>
                </a:lnTo>
                <a:lnTo>
                  <a:pt x="30156" y="182750"/>
                </a:lnTo>
                <a:lnTo>
                  <a:pt x="14403" y="175366"/>
                </a:lnTo>
                <a:lnTo>
                  <a:pt x="2834" y="165273"/>
                </a:lnTo>
                <a:lnTo>
                  <a:pt x="0" y="162806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310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1D07E121-9E3D-438E-8925-11F00717BC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435" y="259243"/>
            <a:ext cx="11372291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bg1"/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758048F8-EB4B-4CD3-91EC-2762EF3B92E5}"/>
              </a:ext>
            </a:extLst>
          </p:cNvPr>
          <p:cNvGrpSpPr/>
          <p:nvPr userDrawn="1"/>
        </p:nvGrpSpPr>
        <p:grpSpPr>
          <a:xfrm>
            <a:off x="10415614" y="758756"/>
            <a:ext cx="1344926" cy="246023"/>
            <a:chOff x="6916230" y="365408"/>
            <a:chExt cx="3673340" cy="671952"/>
          </a:xfrm>
          <a:solidFill>
            <a:schemeClr val="bg1">
              <a:alpha val="94000"/>
            </a:schemeClr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C97EE01C-02B6-4D28-911B-B27DA8E1CFBB}"/>
                </a:ext>
              </a:extLst>
            </p:cNvPr>
            <p:cNvSpPr/>
            <p:nvPr/>
          </p:nvSpPr>
          <p:spPr>
            <a:xfrm rot="1020000">
              <a:off x="8384147" y="408886"/>
              <a:ext cx="403282" cy="600493"/>
            </a:xfrm>
            <a:custGeom>
              <a:avLst/>
              <a:gdLst>
                <a:gd name="connsiteX0" fmla="*/ 370630 w 403282"/>
                <a:gd name="connsiteY0" fmla="*/ 493654 h 600493"/>
                <a:gd name="connsiteX1" fmla="*/ 383308 w 403282"/>
                <a:gd name="connsiteY1" fmla="*/ 495095 h 600493"/>
                <a:gd name="connsiteX2" fmla="*/ 402037 w 403282"/>
                <a:gd name="connsiteY2" fmla="*/ 508637 h 600493"/>
                <a:gd name="connsiteX3" fmla="*/ 395698 w 403282"/>
                <a:gd name="connsiteY3" fmla="*/ 532265 h 600493"/>
                <a:gd name="connsiteX4" fmla="*/ 377833 w 403282"/>
                <a:gd name="connsiteY4" fmla="*/ 541197 h 600493"/>
                <a:gd name="connsiteX5" fmla="*/ 306951 w 403282"/>
                <a:gd name="connsiteY5" fmla="*/ 562519 h 600493"/>
                <a:gd name="connsiteX6" fmla="*/ 261137 w 403282"/>
                <a:gd name="connsiteY6" fmla="*/ 575774 h 600493"/>
                <a:gd name="connsiteX7" fmla="*/ 186510 w 403282"/>
                <a:gd name="connsiteY7" fmla="*/ 597384 h 600493"/>
                <a:gd name="connsiteX8" fmla="*/ 165476 w 403282"/>
                <a:gd name="connsiteY8" fmla="*/ 600265 h 600493"/>
                <a:gd name="connsiteX9" fmla="*/ 146747 w 403282"/>
                <a:gd name="connsiteY9" fmla="*/ 584706 h 600493"/>
                <a:gd name="connsiteX10" fmla="*/ 153950 w 403282"/>
                <a:gd name="connsiteY10" fmla="*/ 562519 h 600493"/>
                <a:gd name="connsiteX11" fmla="*/ 162594 w 403282"/>
                <a:gd name="connsiteY11" fmla="*/ 556180 h 600493"/>
                <a:gd name="connsiteX12" fmla="*/ 172391 w 403282"/>
                <a:gd name="connsiteY12" fmla="*/ 524773 h 600493"/>
                <a:gd name="connsiteX13" fmla="*/ 164323 w 403282"/>
                <a:gd name="connsiteY13" fmla="*/ 507197 h 600493"/>
                <a:gd name="connsiteX14" fmla="*/ 151645 w 403282"/>
                <a:gd name="connsiteY14" fmla="*/ 463400 h 600493"/>
                <a:gd name="connsiteX15" fmla="*/ 87679 w 403282"/>
                <a:gd name="connsiteY15" fmla="*/ 246432 h 600493"/>
                <a:gd name="connsiteX16" fmla="*/ 54543 w 403282"/>
                <a:gd name="connsiteY16" fmla="*/ 132330 h 600493"/>
                <a:gd name="connsiteX17" fmla="*/ 32356 w 403282"/>
                <a:gd name="connsiteY17" fmla="*/ 112737 h 600493"/>
                <a:gd name="connsiteX18" fmla="*/ 20543 w 403282"/>
                <a:gd name="connsiteY18" fmla="*/ 110720 h 600493"/>
                <a:gd name="connsiteX19" fmla="*/ 373 w 403282"/>
                <a:gd name="connsiteY19" fmla="*/ 91991 h 600493"/>
                <a:gd name="connsiteX20" fmla="*/ 12475 w 403282"/>
                <a:gd name="connsiteY20" fmla="*/ 65482 h 600493"/>
                <a:gd name="connsiteX21" fmla="*/ 33509 w 403282"/>
                <a:gd name="connsiteY21" fmla="*/ 57414 h 600493"/>
                <a:gd name="connsiteX22" fmla="*/ 219357 w 403282"/>
                <a:gd name="connsiteY22" fmla="*/ 2956 h 600493"/>
                <a:gd name="connsiteX23" fmla="*/ 233188 w 403282"/>
                <a:gd name="connsiteY23" fmla="*/ 75 h 600493"/>
                <a:gd name="connsiteX24" fmla="*/ 242697 w 403282"/>
                <a:gd name="connsiteY24" fmla="*/ 1227 h 600493"/>
                <a:gd name="connsiteX25" fmla="*/ 261426 w 403282"/>
                <a:gd name="connsiteY25" fmla="*/ 19092 h 600493"/>
                <a:gd name="connsiteX26" fmla="*/ 253070 w 403282"/>
                <a:gd name="connsiteY26" fmla="*/ 43296 h 600493"/>
                <a:gd name="connsiteX27" fmla="*/ 239527 w 403282"/>
                <a:gd name="connsiteY27" fmla="*/ 92279 h 600493"/>
                <a:gd name="connsiteX28" fmla="*/ 295714 w 403282"/>
                <a:gd name="connsiteY28" fmla="*/ 283314 h 600493"/>
                <a:gd name="connsiteX29" fmla="*/ 298019 w 403282"/>
                <a:gd name="connsiteY29" fmla="*/ 300890 h 600493"/>
                <a:gd name="connsiteX30" fmla="*/ 333748 w 403282"/>
                <a:gd name="connsiteY30" fmla="*/ 422484 h 600493"/>
                <a:gd name="connsiteX31" fmla="*/ 347867 w 403282"/>
                <a:gd name="connsiteY31" fmla="*/ 461383 h 600493"/>
                <a:gd name="connsiteX32" fmla="*/ 370630 w 403282"/>
                <a:gd name="connsiteY32" fmla="*/ 493654 h 600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03282" h="600493">
                  <a:moveTo>
                    <a:pt x="370630" y="493654"/>
                  </a:moveTo>
                  <a:cubicBezTo>
                    <a:pt x="374952" y="494230"/>
                    <a:pt x="378986" y="494807"/>
                    <a:pt x="383308" y="495095"/>
                  </a:cubicBezTo>
                  <a:cubicBezTo>
                    <a:pt x="392528" y="495671"/>
                    <a:pt x="399443" y="499705"/>
                    <a:pt x="402037" y="508637"/>
                  </a:cubicBezTo>
                  <a:cubicBezTo>
                    <a:pt x="404630" y="517281"/>
                    <a:pt x="403477" y="525638"/>
                    <a:pt x="395698" y="532265"/>
                  </a:cubicBezTo>
                  <a:cubicBezTo>
                    <a:pt x="390511" y="536587"/>
                    <a:pt x="384460" y="539180"/>
                    <a:pt x="377833" y="541197"/>
                  </a:cubicBezTo>
                  <a:cubicBezTo>
                    <a:pt x="354206" y="548112"/>
                    <a:pt x="330579" y="555316"/>
                    <a:pt x="306951" y="562519"/>
                  </a:cubicBezTo>
                  <a:cubicBezTo>
                    <a:pt x="292832" y="571163"/>
                    <a:pt x="277561" y="575197"/>
                    <a:pt x="261137" y="575774"/>
                  </a:cubicBezTo>
                  <a:cubicBezTo>
                    <a:pt x="236358" y="582977"/>
                    <a:pt x="211290" y="590180"/>
                    <a:pt x="186510" y="597384"/>
                  </a:cubicBezTo>
                  <a:cubicBezTo>
                    <a:pt x="179594" y="599401"/>
                    <a:pt x="172967" y="601130"/>
                    <a:pt x="165476" y="600265"/>
                  </a:cubicBezTo>
                  <a:cubicBezTo>
                    <a:pt x="155967" y="599113"/>
                    <a:pt x="149628" y="594214"/>
                    <a:pt x="146747" y="584706"/>
                  </a:cubicBezTo>
                  <a:cubicBezTo>
                    <a:pt x="143577" y="575485"/>
                    <a:pt x="147323" y="568570"/>
                    <a:pt x="153950" y="562519"/>
                  </a:cubicBezTo>
                  <a:cubicBezTo>
                    <a:pt x="156543" y="560214"/>
                    <a:pt x="159713" y="558485"/>
                    <a:pt x="162594" y="556180"/>
                  </a:cubicBezTo>
                  <a:cubicBezTo>
                    <a:pt x="175849" y="546383"/>
                    <a:pt x="177001" y="541773"/>
                    <a:pt x="172391" y="524773"/>
                  </a:cubicBezTo>
                  <a:cubicBezTo>
                    <a:pt x="166628" y="520163"/>
                    <a:pt x="166340" y="513248"/>
                    <a:pt x="164323" y="507197"/>
                  </a:cubicBezTo>
                  <a:cubicBezTo>
                    <a:pt x="160001" y="492502"/>
                    <a:pt x="155103" y="478383"/>
                    <a:pt x="151645" y="463400"/>
                  </a:cubicBezTo>
                  <a:cubicBezTo>
                    <a:pt x="130035" y="391077"/>
                    <a:pt x="109289" y="318755"/>
                    <a:pt x="87679" y="246432"/>
                  </a:cubicBezTo>
                  <a:cubicBezTo>
                    <a:pt x="77018" y="208398"/>
                    <a:pt x="65492" y="170364"/>
                    <a:pt x="54543" y="132330"/>
                  </a:cubicBezTo>
                  <a:cubicBezTo>
                    <a:pt x="51085" y="120805"/>
                    <a:pt x="44746" y="113601"/>
                    <a:pt x="32356" y="112737"/>
                  </a:cubicBezTo>
                  <a:cubicBezTo>
                    <a:pt x="28322" y="112449"/>
                    <a:pt x="24577" y="111584"/>
                    <a:pt x="20543" y="110720"/>
                  </a:cubicBezTo>
                  <a:cubicBezTo>
                    <a:pt x="8729" y="108415"/>
                    <a:pt x="2102" y="102076"/>
                    <a:pt x="373" y="91991"/>
                  </a:cubicBezTo>
                  <a:cubicBezTo>
                    <a:pt x="-1356" y="81330"/>
                    <a:pt x="2966" y="71533"/>
                    <a:pt x="12475" y="65482"/>
                  </a:cubicBezTo>
                  <a:cubicBezTo>
                    <a:pt x="18814" y="61448"/>
                    <a:pt x="26305" y="59431"/>
                    <a:pt x="33509" y="57414"/>
                  </a:cubicBezTo>
                  <a:cubicBezTo>
                    <a:pt x="95458" y="38974"/>
                    <a:pt x="157408" y="21397"/>
                    <a:pt x="219357" y="2956"/>
                  </a:cubicBezTo>
                  <a:cubicBezTo>
                    <a:pt x="223968" y="1516"/>
                    <a:pt x="228578" y="363"/>
                    <a:pt x="233188" y="75"/>
                  </a:cubicBezTo>
                  <a:cubicBezTo>
                    <a:pt x="236358" y="-213"/>
                    <a:pt x="239527" y="363"/>
                    <a:pt x="242697" y="1227"/>
                  </a:cubicBezTo>
                  <a:cubicBezTo>
                    <a:pt x="252205" y="3533"/>
                    <a:pt x="258832" y="9295"/>
                    <a:pt x="261426" y="19092"/>
                  </a:cubicBezTo>
                  <a:cubicBezTo>
                    <a:pt x="264307" y="29177"/>
                    <a:pt x="261426" y="38397"/>
                    <a:pt x="253070" y="43296"/>
                  </a:cubicBezTo>
                  <a:cubicBezTo>
                    <a:pt x="232036" y="55685"/>
                    <a:pt x="233476" y="72109"/>
                    <a:pt x="239527" y="92279"/>
                  </a:cubicBezTo>
                  <a:cubicBezTo>
                    <a:pt x="258832" y="155669"/>
                    <a:pt x="276985" y="219636"/>
                    <a:pt x="295714" y="283314"/>
                  </a:cubicBezTo>
                  <a:cubicBezTo>
                    <a:pt x="297443" y="289077"/>
                    <a:pt x="298595" y="294839"/>
                    <a:pt x="298019" y="300890"/>
                  </a:cubicBezTo>
                  <a:cubicBezTo>
                    <a:pt x="309833" y="341518"/>
                    <a:pt x="321646" y="381857"/>
                    <a:pt x="333748" y="422484"/>
                  </a:cubicBezTo>
                  <a:cubicBezTo>
                    <a:pt x="340951" y="434586"/>
                    <a:pt x="344409" y="448129"/>
                    <a:pt x="347867" y="461383"/>
                  </a:cubicBezTo>
                  <a:cubicBezTo>
                    <a:pt x="351324" y="474925"/>
                    <a:pt x="356223" y="487315"/>
                    <a:pt x="370630" y="49365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6C28E3D4-2E52-49F0-9422-22A857B5BFCE}"/>
                </a:ext>
              </a:extLst>
            </p:cNvPr>
            <p:cNvSpPr/>
            <p:nvPr userDrawn="1"/>
          </p:nvSpPr>
          <p:spPr>
            <a:xfrm rot="1020000">
              <a:off x="9705320" y="428745"/>
              <a:ext cx="391436" cy="584760"/>
            </a:xfrm>
            <a:custGeom>
              <a:avLst/>
              <a:gdLst>
                <a:gd name="connsiteX0" fmla="*/ 167549 w 391436"/>
                <a:gd name="connsiteY0" fmla="*/ 584760 h 584760"/>
                <a:gd name="connsiteX1" fmla="*/ 143634 w 391436"/>
                <a:gd name="connsiteY1" fmla="*/ 569201 h 584760"/>
                <a:gd name="connsiteX2" fmla="*/ 154871 w 391436"/>
                <a:gd name="connsiteY2" fmla="*/ 544709 h 584760"/>
                <a:gd name="connsiteX3" fmla="*/ 158905 w 391436"/>
                <a:gd name="connsiteY3" fmla="*/ 542404 h 584760"/>
                <a:gd name="connsiteX4" fmla="*/ 175329 w 391436"/>
                <a:gd name="connsiteY4" fmla="*/ 500048 h 584760"/>
                <a:gd name="connsiteX5" fmla="*/ 69006 w 391436"/>
                <a:gd name="connsiteY5" fmla="*/ 137859 h 584760"/>
                <a:gd name="connsiteX6" fmla="*/ 65837 w 391436"/>
                <a:gd name="connsiteY6" fmla="*/ 127774 h 584760"/>
                <a:gd name="connsiteX7" fmla="*/ 27515 w 391436"/>
                <a:gd name="connsiteY7" fmla="*/ 102706 h 584760"/>
                <a:gd name="connsiteX8" fmla="*/ 718 w 391436"/>
                <a:gd name="connsiteY8" fmla="*/ 88011 h 584760"/>
                <a:gd name="connsiteX9" fmla="*/ 18582 w 391436"/>
                <a:gd name="connsiteY9" fmla="*/ 59774 h 584760"/>
                <a:gd name="connsiteX10" fmla="*/ 123176 w 391436"/>
                <a:gd name="connsiteY10" fmla="*/ 22316 h 584760"/>
                <a:gd name="connsiteX11" fmla="*/ 182244 w 391436"/>
                <a:gd name="connsiteY11" fmla="*/ 1570 h 584760"/>
                <a:gd name="connsiteX12" fmla="*/ 194922 w 391436"/>
                <a:gd name="connsiteY12" fmla="*/ 7621 h 584760"/>
                <a:gd name="connsiteX13" fmla="*/ 277906 w 391436"/>
                <a:gd name="connsiteY13" fmla="*/ 291724 h 584760"/>
                <a:gd name="connsiteX14" fmla="*/ 327754 w 391436"/>
                <a:gd name="connsiteY14" fmla="*/ 460861 h 584760"/>
                <a:gd name="connsiteX15" fmla="*/ 357143 w 391436"/>
                <a:gd name="connsiteY15" fmla="*/ 483048 h 584760"/>
                <a:gd name="connsiteX16" fmla="*/ 371262 w 391436"/>
                <a:gd name="connsiteY16" fmla="*/ 482760 h 584760"/>
                <a:gd name="connsiteX17" fmla="*/ 389127 w 391436"/>
                <a:gd name="connsiteY17" fmla="*/ 494285 h 584760"/>
                <a:gd name="connsiteX18" fmla="*/ 385669 w 391436"/>
                <a:gd name="connsiteY18" fmla="*/ 517336 h 584760"/>
                <a:gd name="connsiteX19" fmla="*/ 368381 w 391436"/>
                <a:gd name="connsiteY19" fmla="*/ 527421 h 584760"/>
                <a:gd name="connsiteX20" fmla="*/ 178787 w 391436"/>
                <a:gd name="connsiteY20" fmla="*/ 583031 h 584760"/>
                <a:gd name="connsiteX21" fmla="*/ 167549 w 391436"/>
                <a:gd name="connsiteY21" fmla="*/ 584760 h 58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91436" h="584760">
                  <a:moveTo>
                    <a:pt x="167549" y="584760"/>
                  </a:moveTo>
                  <a:cubicBezTo>
                    <a:pt x="155447" y="584472"/>
                    <a:pt x="146803" y="580438"/>
                    <a:pt x="143634" y="569201"/>
                  </a:cubicBezTo>
                  <a:cubicBezTo>
                    <a:pt x="140464" y="557963"/>
                    <a:pt x="144786" y="549896"/>
                    <a:pt x="154871" y="544709"/>
                  </a:cubicBezTo>
                  <a:cubicBezTo>
                    <a:pt x="156312" y="544133"/>
                    <a:pt x="157753" y="543268"/>
                    <a:pt x="158905" y="542404"/>
                  </a:cubicBezTo>
                  <a:cubicBezTo>
                    <a:pt x="181380" y="528573"/>
                    <a:pt x="182820" y="525116"/>
                    <a:pt x="175329" y="500048"/>
                  </a:cubicBezTo>
                  <a:cubicBezTo>
                    <a:pt x="139888" y="379318"/>
                    <a:pt x="104447" y="258589"/>
                    <a:pt x="69006" y="137859"/>
                  </a:cubicBezTo>
                  <a:cubicBezTo>
                    <a:pt x="68142" y="134402"/>
                    <a:pt x="66989" y="130944"/>
                    <a:pt x="65837" y="127774"/>
                  </a:cubicBezTo>
                  <a:cubicBezTo>
                    <a:pt x="56904" y="102418"/>
                    <a:pt x="54311" y="100689"/>
                    <a:pt x="27515" y="102706"/>
                  </a:cubicBezTo>
                  <a:cubicBezTo>
                    <a:pt x="10226" y="103859"/>
                    <a:pt x="3887" y="100401"/>
                    <a:pt x="718" y="88011"/>
                  </a:cubicBezTo>
                  <a:cubicBezTo>
                    <a:pt x="-2164" y="76198"/>
                    <a:pt x="3599" y="65537"/>
                    <a:pt x="18582" y="59774"/>
                  </a:cubicBezTo>
                  <a:cubicBezTo>
                    <a:pt x="53159" y="46808"/>
                    <a:pt x="88312" y="34706"/>
                    <a:pt x="123176" y="22316"/>
                  </a:cubicBezTo>
                  <a:cubicBezTo>
                    <a:pt x="142770" y="15401"/>
                    <a:pt x="162939" y="8774"/>
                    <a:pt x="182244" y="1570"/>
                  </a:cubicBezTo>
                  <a:cubicBezTo>
                    <a:pt x="189736" y="-1311"/>
                    <a:pt x="192617" y="-735"/>
                    <a:pt x="194922" y="7621"/>
                  </a:cubicBezTo>
                  <a:cubicBezTo>
                    <a:pt x="222295" y="102418"/>
                    <a:pt x="250245" y="196927"/>
                    <a:pt x="277906" y="291724"/>
                  </a:cubicBezTo>
                  <a:cubicBezTo>
                    <a:pt x="294330" y="348199"/>
                    <a:pt x="311042" y="404386"/>
                    <a:pt x="327754" y="460861"/>
                  </a:cubicBezTo>
                  <a:cubicBezTo>
                    <a:pt x="333228" y="479590"/>
                    <a:pt x="337262" y="482760"/>
                    <a:pt x="357143" y="483048"/>
                  </a:cubicBezTo>
                  <a:cubicBezTo>
                    <a:pt x="361754" y="483048"/>
                    <a:pt x="366652" y="482760"/>
                    <a:pt x="371262" y="482760"/>
                  </a:cubicBezTo>
                  <a:cubicBezTo>
                    <a:pt x="379906" y="482471"/>
                    <a:pt x="385669" y="486505"/>
                    <a:pt x="389127" y="494285"/>
                  </a:cubicBezTo>
                  <a:cubicBezTo>
                    <a:pt x="392873" y="502641"/>
                    <a:pt x="392296" y="510421"/>
                    <a:pt x="385669" y="517336"/>
                  </a:cubicBezTo>
                  <a:cubicBezTo>
                    <a:pt x="380771" y="522234"/>
                    <a:pt x="374720" y="525404"/>
                    <a:pt x="368381" y="527421"/>
                  </a:cubicBezTo>
                  <a:cubicBezTo>
                    <a:pt x="305279" y="546150"/>
                    <a:pt x="241889" y="564591"/>
                    <a:pt x="178787" y="583031"/>
                  </a:cubicBezTo>
                  <a:cubicBezTo>
                    <a:pt x="175041" y="583896"/>
                    <a:pt x="170719" y="584184"/>
                    <a:pt x="167549" y="5847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D3F7D513-9F0F-44FE-A7E4-C1F93A6BF5EC}"/>
                </a:ext>
              </a:extLst>
            </p:cNvPr>
            <p:cNvSpPr/>
            <p:nvPr/>
          </p:nvSpPr>
          <p:spPr>
            <a:xfrm rot="1020000">
              <a:off x="8699841" y="425712"/>
              <a:ext cx="573136" cy="611648"/>
            </a:xfrm>
            <a:custGeom>
              <a:avLst/>
              <a:gdLst>
                <a:gd name="connsiteX0" fmla="*/ 255772 w 573136"/>
                <a:gd name="connsiteY0" fmla="*/ 7712 h 611648"/>
                <a:gd name="connsiteX1" fmla="*/ 475333 w 573136"/>
                <a:gd name="connsiteY1" fmla="*/ 71679 h 611648"/>
                <a:gd name="connsiteX2" fmla="*/ 572723 w 573136"/>
                <a:gd name="connsiteY2" fmla="*/ 301612 h 611648"/>
                <a:gd name="connsiteX3" fmla="*/ 423756 w 573136"/>
                <a:gd name="connsiteY3" fmla="*/ 538173 h 611648"/>
                <a:gd name="connsiteX4" fmla="*/ 416553 w 573136"/>
                <a:gd name="connsiteY4" fmla="*/ 541919 h 611648"/>
                <a:gd name="connsiteX5" fmla="*/ 396095 w 573136"/>
                <a:gd name="connsiteY5" fmla="*/ 536732 h 611648"/>
                <a:gd name="connsiteX6" fmla="*/ 392061 w 573136"/>
                <a:gd name="connsiteY6" fmla="*/ 524343 h 611648"/>
                <a:gd name="connsiteX7" fmla="*/ 402722 w 573136"/>
                <a:gd name="connsiteY7" fmla="*/ 492359 h 611648"/>
                <a:gd name="connsiteX8" fmla="*/ 417129 w 573136"/>
                <a:gd name="connsiteY8" fmla="*/ 446834 h 611648"/>
                <a:gd name="connsiteX9" fmla="*/ 394366 w 573136"/>
                <a:gd name="connsiteY9" fmla="*/ 362121 h 611648"/>
                <a:gd name="connsiteX10" fmla="*/ 318010 w 573136"/>
                <a:gd name="connsiteY10" fmla="*/ 103662 h 611648"/>
                <a:gd name="connsiteX11" fmla="*/ 296399 w 573136"/>
                <a:gd name="connsiteY11" fmla="*/ 66204 h 611648"/>
                <a:gd name="connsiteX12" fmla="*/ 270755 w 573136"/>
                <a:gd name="connsiteY12" fmla="*/ 55831 h 611648"/>
                <a:gd name="connsiteX13" fmla="*/ 254619 w 573136"/>
                <a:gd name="connsiteY13" fmla="*/ 45746 h 611648"/>
                <a:gd name="connsiteX14" fmla="*/ 247992 w 573136"/>
                <a:gd name="connsiteY14" fmla="*/ 21831 h 611648"/>
                <a:gd name="connsiteX15" fmla="*/ 255772 w 573136"/>
                <a:gd name="connsiteY15" fmla="*/ 7712 h 611648"/>
                <a:gd name="connsiteX16" fmla="*/ 50907 w 573136"/>
                <a:gd name="connsiteY16" fmla="*/ 64474 h 611648"/>
                <a:gd name="connsiteX17" fmla="*/ 150026 w 573136"/>
                <a:gd name="connsiteY17" fmla="*/ 35662 h 611648"/>
                <a:gd name="connsiteX18" fmla="*/ 188925 w 573136"/>
                <a:gd name="connsiteY18" fmla="*/ 27306 h 611648"/>
                <a:gd name="connsiteX19" fmla="*/ 200162 w 573136"/>
                <a:gd name="connsiteY19" fmla="*/ 24136 h 611648"/>
                <a:gd name="connsiteX20" fmla="*/ 217451 w 573136"/>
                <a:gd name="connsiteY20" fmla="*/ 33356 h 611648"/>
                <a:gd name="connsiteX21" fmla="*/ 227824 w 573136"/>
                <a:gd name="connsiteY21" fmla="*/ 58135 h 611648"/>
                <a:gd name="connsiteX22" fmla="*/ 245688 w 573136"/>
                <a:gd name="connsiteY22" fmla="*/ 118357 h 611648"/>
                <a:gd name="connsiteX23" fmla="*/ 256061 w 573136"/>
                <a:gd name="connsiteY23" fmla="*/ 153798 h 611648"/>
                <a:gd name="connsiteX24" fmla="*/ 270468 w 573136"/>
                <a:gd name="connsiteY24" fmla="*/ 203934 h 611648"/>
                <a:gd name="connsiteX25" fmla="*/ 343654 w 573136"/>
                <a:gd name="connsiteY25" fmla="*/ 453749 h 611648"/>
                <a:gd name="connsiteX26" fmla="*/ 369299 w 573136"/>
                <a:gd name="connsiteY26" fmla="*/ 541343 h 611648"/>
                <a:gd name="connsiteX27" fmla="*/ 358638 w 573136"/>
                <a:gd name="connsiteY27" fmla="*/ 562377 h 611648"/>
                <a:gd name="connsiteX28" fmla="*/ 287179 w 573136"/>
                <a:gd name="connsiteY28" fmla="*/ 583699 h 611648"/>
                <a:gd name="connsiteX29" fmla="*/ 273061 w 573136"/>
                <a:gd name="connsiteY29" fmla="*/ 584274 h 611648"/>
                <a:gd name="connsiteX30" fmla="*/ 191230 w 573136"/>
                <a:gd name="connsiteY30" fmla="*/ 607614 h 611648"/>
                <a:gd name="connsiteX31" fmla="*/ 167891 w 573136"/>
                <a:gd name="connsiteY31" fmla="*/ 611648 h 611648"/>
                <a:gd name="connsiteX32" fmla="*/ 148874 w 573136"/>
                <a:gd name="connsiteY32" fmla="*/ 598394 h 611648"/>
                <a:gd name="connsiteX33" fmla="*/ 153484 w 573136"/>
                <a:gd name="connsiteY33" fmla="*/ 575343 h 611648"/>
                <a:gd name="connsiteX34" fmla="*/ 155213 w 573136"/>
                <a:gd name="connsiteY34" fmla="*/ 573902 h 611648"/>
                <a:gd name="connsiteX35" fmla="*/ 169908 w 573136"/>
                <a:gd name="connsiteY35" fmla="*/ 522326 h 611648"/>
                <a:gd name="connsiteX36" fmla="*/ 152332 w 573136"/>
                <a:gd name="connsiteY36" fmla="*/ 466139 h 611648"/>
                <a:gd name="connsiteX37" fmla="*/ 132738 w 573136"/>
                <a:gd name="connsiteY37" fmla="*/ 408223 h 611648"/>
                <a:gd name="connsiteX38" fmla="*/ 111992 w 573136"/>
                <a:gd name="connsiteY38" fmla="*/ 337917 h 611648"/>
                <a:gd name="connsiteX39" fmla="*/ 83467 w 573136"/>
                <a:gd name="connsiteY39" fmla="*/ 240238 h 611648"/>
                <a:gd name="connsiteX40" fmla="*/ 55517 w 573136"/>
                <a:gd name="connsiteY40" fmla="*/ 144577 h 611648"/>
                <a:gd name="connsiteX41" fmla="*/ 29297 w 573136"/>
                <a:gd name="connsiteY41" fmla="*/ 124119 h 611648"/>
                <a:gd name="connsiteX42" fmla="*/ 23534 w 573136"/>
                <a:gd name="connsiteY42" fmla="*/ 123543 h 611648"/>
                <a:gd name="connsiteX43" fmla="*/ 195 w 573136"/>
                <a:gd name="connsiteY43" fmla="*/ 101645 h 611648"/>
                <a:gd name="connsiteX44" fmla="*/ 17195 w 573136"/>
                <a:gd name="connsiteY44" fmla="*/ 75713 h 611648"/>
                <a:gd name="connsiteX45" fmla="*/ 50907 w 573136"/>
                <a:gd name="connsiteY45" fmla="*/ 64474 h 6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3136" h="611648">
                  <a:moveTo>
                    <a:pt x="255772" y="7712"/>
                  </a:moveTo>
                  <a:cubicBezTo>
                    <a:pt x="341349" y="-12746"/>
                    <a:pt x="415688" y="7136"/>
                    <a:pt x="475333" y="71679"/>
                  </a:cubicBezTo>
                  <a:cubicBezTo>
                    <a:pt x="534977" y="136221"/>
                    <a:pt x="567537" y="214019"/>
                    <a:pt x="572723" y="301612"/>
                  </a:cubicBezTo>
                  <a:cubicBezTo>
                    <a:pt x="578774" y="403613"/>
                    <a:pt x="517977" y="498698"/>
                    <a:pt x="423756" y="538173"/>
                  </a:cubicBezTo>
                  <a:cubicBezTo>
                    <a:pt x="421163" y="539326"/>
                    <a:pt x="418858" y="540766"/>
                    <a:pt x="416553" y="541919"/>
                  </a:cubicBezTo>
                  <a:cubicBezTo>
                    <a:pt x="406468" y="549410"/>
                    <a:pt x="400705" y="547970"/>
                    <a:pt x="396095" y="536732"/>
                  </a:cubicBezTo>
                  <a:cubicBezTo>
                    <a:pt x="394366" y="532698"/>
                    <a:pt x="393214" y="528665"/>
                    <a:pt x="392061" y="524343"/>
                  </a:cubicBezTo>
                  <a:cubicBezTo>
                    <a:pt x="386587" y="504461"/>
                    <a:pt x="386587" y="504461"/>
                    <a:pt x="402722" y="492359"/>
                  </a:cubicBezTo>
                  <a:cubicBezTo>
                    <a:pt x="415976" y="479969"/>
                    <a:pt x="419722" y="464122"/>
                    <a:pt x="417129" y="446834"/>
                  </a:cubicBezTo>
                  <a:cubicBezTo>
                    <a:pt x="412807" y="417732"/>
                    <a:pt x="402722" y="390070"/>
                    <a:pt x="394366" y="362121"/>
                  </a:cubicBezTo>
                  <a:cubicBezTo>
                    <a:pt x="369010" y="275968"/>
                    <a:pt x="344518" y="189527"/>
                    <a:pt x="318010" y="103662"/>
                  </a:cubicBezTo>
                  <a:cubicBezTo>
                    <a:pt x="313688" y="89543"/>
                    <a:pt x="307925" y="76289"/>
                    <a:pt x="296399" y="66204"/>
                  </a:cubicBezTo>
                  <a:cubicBezTo>
                    <a:pt x="288908" y="59577"/>
                    <a:pt x="280840" y="55543"/>
                    <a:pt x="270755" y="55831"/>
                  </a:cubicBezTo>
                  <a:cubicBezTo>
                    <a:pt x="263840" y="54967"/>
                    <a:pt x="254908" y="57272"/>
                    <a:pt x="254619" y="45746"/>
                  </a:cubicBezTo>
                  <a:cubicBezTo>
                    <a:pt x="252603" y="37678"/>
                    <a:pt x="251162" y="29611"/>
                    <a:pt x="247992" y="21831"/>
                  </a:cubicBezTo>
                  <a:cubicBezTo>
                    <a:pt x="244535" y="12899"/>
                    <a:pt x="246840" y="9729"/>
                    <a:pt x="255772" y="7712"/>
                  </a:cubicBezTo>
                  <a:close/>
                  <a:moveTo>
                    <a:pt x="50907" y="64474"/>
                  </a:moveTo>
                  <a:cubicBezTo>
                    <a:pt x="84043" y="54966"/>
                    <a:pt x="116891" y="45169"/>
                    <a:pt x="150026" y="35662"/>
                  </a:cubicBezTo>
                  <a:cubicBezTo>
                    <a:pt x="162993" y="32492"/>
                    <a:pt x="175094" y="25865"/>
                    <a:pt x="188925" y="27306"/>
                  </a:cubicBezTo>
                  <a:cubicBezTo>
                    <a:pt x="192671" y="26152"/>
                    <a:pt x="196705" y="25576"/>
                    <a:pt x="200162" y="24136"/>
                  </a:cubicBezTo>
                  <a:cubicBezTo>
                    <a:pt x="210247" y="19526"/>
                    <a:pt x="216298" y="21831"/>
                    <a:pt x="217451" y="33356"/>
                  </a:cubicBezTo>
                  <a:cubicBezTo>
                    <a:pt x="224366" y="39984"/>
                    <a:pt x="225230" y="49492"/>
                    <a:pt x="227824" y="58135"/>
                  </a:cubicBezTo>
                  <a:cubicBezTo>
                    <a:pt x="233586" y="78305"/>
                    <a:pt x="239925" y="98187"/>
                    <a:pt x="245688" y="118357"/>
                  </a:cubicBezTo>
                  <a:cubicBezTo>
                    <a:pt x="248570" y="130459"/>
                    <a:pt x="252892" y="141695"/>
                    <a:pt x="256061" y="153798"/>
                  </a:cubicBezTo>
                  <a:cubicBezTo>
                    <a:pt x="260383" y="170510"/>
                    <a:pt x="266146" y="187222"/>
                    <a:pt x="270468" y="203934"/>
                  </a:cubicBezTo>
                  <a:cubicBezTo>
                    <a:pt x="295248" y="287206"/>
                    <a:pt x="319450" y="370477"/>
                    <a:pt x="343654" y="453749"/>
                  </a:cubicBezTo>
                  <a:cubicBezTo>
                    <a:pt x="352587" y="482850"/>
                    <a:pt x="360654" y="511953"/>
                    <a:pt x="369299" y="541343"/>
                  </a:cubicBezTo>
                  <a:cubicBezTo>
                    <a:pt x="373333" y="555461"/>
                    <a:pt x="371892" y="558343"/>
                    <a:pt x="358638" y="562377"/>
                  </a:cubicBezTo>
                  <a:cubicBezTo>
                    <a:pt x="335011" y="569868"/>
                    <a:pt x="310807" y="576496"/>
                    <a:pt x="287179" y="583699"/>
                  </a:cubicBezTo>
                  <a:cubicBezTo>
                    <a:pt x="282570" y="584563"/>
                    <a:pt x="277960" y="585715"/>
                    <a:pt x="273061" y="584274"/>
                  </a:cubicBezTo>
                  <a:cubicBezTo>
                    <a:pt x="245688" y="592055"/>
                    <a:pt x="218603" y="599835"/>
                    <a:pt x="191230" y="607614"/>
                  </a:cubicBezTo>
                  <a:cubicBezTo>
                    <a:pt x="183739" y="609919"/>
                    <a:pt x="175959" y="611647"/>
                    <a:pt x="167891" y="611648"/>
                  </a:cubicBezTo>
                  <a:cubicBezTo>
                    <a:pt x="158383" y="611647"/>
                    <a:pt x="152042" y="607326"/>
                    <a:pt x="148874" y="598394"/>
                  </a:cubicBezTo>
                  <a:cubicBezTo>
                    <a:pt x="145704" y="590038"/>
                    <a:pt x="146857" y="581970"/>
                    <a:pt x="153484" y="575343"/>
                  </a:cubicBezTo>
                  <a:cubicBezTo>
                    <a:pt x="154060" y="574766"/>
                    <a:pt x="154637" y="574190"/>
                    <a:pt x="155213" y="573902"/>
                  </a:cubicBezTo>
                  <a:cubicBezTo>
                    <a:pt x="179705" y="562088"/>
                    <a:pt x="178264" y="543936"/>
                    <a:pt x="169908" y="522326"/>
                  </a:cubicBezTo>
                  <a:cubicBezTo>
                    <a:pt x="162993" y="503885"/>
                    <a:pt x="158094" y="484868"/>
                    <a:pt x="152332" y="466139"/>
                  </a:cubicBezTo>
                  <a:cubicBezTo>
                    <a:pt x="141382" y="448273"/>
                    <a:pt x="139077" y="427527"/>
                    <a:pt x="132738" y="408223"/>
                  </a:cubicBezTo>
                  <a:cubicBezTo>
                    <a:pt x="125247" y="384884"/>
                    <a:pt x="118908" y="361257"/>
                    <a:pt x="111992" y="337917"/>
                  </a:cubicBezTo>
                  <a:cubicBezTo>
                    <a:pt x="102772" y="305358"/>
                    <a:pt x="93263" y="272799"/>
                    <a:pt x="83467" y="240238"/>
                  </a:cubicBezTo>
                  <a:cubicBezTo>
                    <a:pt x="74534" y="208256"/>
                    <a:pt x="64738" y="176560"/>
                    <a:pt x="55517" y="144577"/>
                  </a:cubicBezTo>
                  <a:cubicBezTo>
                    <a:pt x="51772" y="131322"/>
                    <a:pt x="43992" y="123255"/>
                    <a:pt x="29297" y="124119"/>
                  </a:cubicBezTo>
                  <a:cubicBezTo>
                    <a:pt x="27280" y="124119"/>
                    <a:pt x="25263" y="123832"/>
                    <a:pt x="23534" y="123543"/>
                  </a:cubicBezTo>
                  <a:cubicBezTo>
                    <a:pt x="10280" y="120950"/>
                    <a:pt x="1924" y="113170"/>
                    <a:pt x="195" y="101645"/>
                  </a:cubicBezTo>
                  <a:cubicBezTo>
                    <a:pt x="-1246" y="91559"/>
                    <a:pt x="5381" y="81187"/>
                    <a:pt x="17195" y="75713"/>
                  </a:cubicBezTo>
                  <a:cubicBezTo>
                    <a:pt x="27856" y="70526"/>
                    <a:pt x="39670" y="67645"/>
                    <a:pt x="50907" y="64474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1ABC0977-B322-4EF1-BDEA-A7F5F00BB6C1}"/>
                </a:ext>
              </a:extLst>
            </p:cNvPr>
            <p:cNvSpPr/>
            <p:nvPr/>
          </p:nvSpPr>
          <p:spPr>
            <a:xfrm rot="1020000">
              <a:off x="9339897" y="633711"/>
              <a:ext cx="279964" cy="180525"/>
            </a:xfrm>
            <a:custGeom>
              <a:avLst/>
              <a:gdLst>
                <a:gd name="connsiteX0" fmla="*/ 34527 w 279964"/>
                <a:gd name="connsiteY0" fmla="*/ 180221 h 180525"/>
                <a:gd name="connsiteX1" fmla="*/ 29341 w 279964"/>
                <a:gd name="connsiteY1" fmla="*/ 175611 h 180525"/>
                <a:gd name="connsiteX2" fmla="*/ 527 w 279964"/>
                <a:gd name="connsiteY2" fmla="*/ 78220 h 180525"/>
                <a:gd name="connsiteX3" fmla="*/ 8019 w 279964"/>
                <a:gd name="connsiteY3" fmla="*/ 69576 h 180525"/>
                <a:gd name="connsiteX4" fmla="*/ 203087 w 279964"/>
                <a:gd name="connsiteY4" fmla="*/ 12237 h 180525"/>
                <a:gd name="connsiteX5" fmla="*/ 240545 w 279964"/>
                <a:gd name="connsiteY5" fmla="*/ 999 h 180525"/>
                <a:gd name="connsiteX6" fmla="*/ 252071 w 279964"/>
                <a:gd name="connsiteY6" fmla="*/ 7050 h 180525"/>
                <a:gd name="connsiteX7" fmla="*/ 278868 w 279964"/>
                <a:gd name="connsiteY7" fmla="*/ 98966 h 180525"/>
                <a:gd name="connsiteX8" fmla="*/ 273681 w 279964"/>
                <a:gd name="connsiteY8" fmla="*/ 109915 h 180525"/>
                <a:gd name="connsiteX9" fmla="*/ 37697 w 279964"/>
                <a:gd name="connsiteY9" fmla="*/ 178780 h 180525"/>
                <a:gd name="connsiteX10" fmla="*/ 34527 w 279964"/>
                <a:gd name="connsiteY10" fmla="*/ 180221 h 18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9964" h="180525">
                  <a:moveTo>
                    <a:pt x="34527" y="180221"/>
                  </a:moveTo>
                  <a:cubicBezTo>
                    <a:pt x="29917" y="181662"/>
                    <a:pt x="30205" y="177628"/>
                    <a:pt x="29341" y="175611"/>
                  </a:cubicBezTo>
                  <a:cubicBezTo>
                    <a:pt x="19544" y="143051"/>
                    <a:pt x="10323" y="110492"/>
                    <a:pt x="527" y="78220"/>
                  </a:cubicBezTo>
                  <a:cubicBezTo>
                    <a:pt x="-1778" y="70152"/>
                    <a:pt x="3985" y="70729"/>
                    <a:pt x="8019" y="69576"/>
                  </a:cubicBezTo>
                  <a:cubicBezTo>
                    <a:pt x="73138" y="50271"/>
                    <a:pt x="137968" y="31542"/>
                    <a:pt x="203087" y="12237"/>
                  </a:cubicBezTo>
                  <a:cubicBezTo>
                    <a:pt x="215478" y="8491"/>
                    <a:pt x="228156" y="5033"/>
                    <a:pt x="240545" y="999"/>
                  </a:cubicBezTo>
                  <a:cubicBezTo>
                    <a:pt x="246885" y="-1018"/>
                    <a:pt x="250054" y="-441"/>
                    <a:pt x="252071" y="7050"/>
                  </a:cubicBezTo>
                  <a:cubicBezTo>
                    <a:pt x="260427" y="37881"/>
                    <a:pt x="269647" y="68424"/>
                    <a:pt x="278868" y="98966"/>
                  </a:cubicBezTo>
                  <a:cubicBezTo>
                    <a:pt x="280596" y="104729"/>
                    <a:pt x="281173" y="107898"/>
                    <a:pt x="273681" y="109915"/>
                  </a:cubicBezTo>
                  <a:cubicBezTo>
                    <a:pt x="195020" y="132678"/>
                    <a:pt x="116358" y="155729"/>
                    <a:pt x="37697" y="178780"/>
                  </a:cubicBezTo>
                  <a:cubicBezTo>
                    <a:pt x="36544" y="179068"/>
                    <a:pt x="35392" y="179645"/>
                    <a:pt x="34527" y="180221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CFD96A06-E87D-498F-B0EB-FEA6AF24ED1B}"/>
                </a:ext>
              </a:extLst>
            </p:cNvPr>
            <p:cNvSpPr/>
            <p:nvPr/>
          </p:nvSpPr>
          <p:spPr>
            <a:xfrm rot="1020000">
              <a:off x="10118028" y="422365"/>
              <a:ext cx="471542" cy="578663"/>
            </a:xfrm>
            <a:custGeom>
              <a:avLst/>
              <a:gdLst>
                <a:gd name="connsiteX0" fmla="*/ 175480 w 471542"/>
                <a:gd name="connsiteY0" fmla="*/ 400270 h 578663"/>
                <a:gd name="connsiteX1" fmla="*/ 245930 w 471542"/>
                <a:gd name="connsiteY1" fmla="*/ 416442 h 578663"/>
                <a:gd name="connsiteX2" fmla="*/ 262642 w 471542"/>
                <a:gd name="connsiteY2" fmla="*/ 482713 h 578663"/>
                <a:gd name="connsiteX3" fmla="*/ 256879 w 471542"/>
                <a:gd name="connsiteY3" fmla="*/ 496832 h 578663"/>
                <a:gd name="connsiteX4" fmla="*/ 281947 w 471542"/>
                <a:gd name="connsiteY4" fmla="*/ 530256 h 578663"/>
                <a:gd name="connsiteX5" fmla="*/ 296642 w 471542"/>
                <a:gd name="connsiteY5" fmla="*/ 540629 h 578663"/>
                <a:gd name="connsiteX6" fmla="*/ 300100 w 471542"/>
                <a:gd name="connsiteY6" fmla="*/ 553307 h 578663"/>
                <a:gd name="connsiteX7" fmla="*/ 286557 w 471542"/>
                <a:gd name="connsiteY7" fmla="*/ 575494 h 578663"/>
                <a:gd name="connsiteX8" fmla="*/ 255727 w 471542"/>
                <a:gd name="connsiteY8" fmla="*/ 578663 h 578663"/>
                <a:gd name="connsiteX9" fmla="*/ 159489 w 471542"/>
                <a:gd name="connsiteY9" fmla="*/ 552443 h 578663"/>
                <a:gd name="connsiteX10" fmla="*/ 120590 w 471542"/>
                <a:gd name="connsiteY10" fmla="*/ 450442 h 578663"/>
                <a:gd name="connsiteX11" fmla="*/ 175480 w 471542"/>
                <a:gd name="connsiteY11" fmla="*/ 400270 h 578663"/>
                <a:gd name="connsiteX12" fmla="*/ 183980 w 471542"/>
                <a:gd name="connsiteY12" fmla="*/ 2964 h 578663"/>
                <a:gd name="connsiteX13" fmla="*/ 305286 w 471542"/>
                <a:gd name="connsiteY13" fmla="*/ 23422 h 578663"/>
                <a:gd name="connsiteX14" fmla="*/ 427457 w 471542"/>
                <a:gd name="connsiteY14" fmla="*/ 155389 h 578663"/>
                <a:gd name="connsiteX15" fmla="*/ 471542 w 471542"/>
                <a:gd name="connsiteY15" fmla="*/ 341525 h 578663"/>
                <a:gd name="connsiteX16" fmla="*/ 420254 w 471542"/>
                <a:gd name="connsiteY16" fmla="*/ 502594 h 578663"/>
                <a:gd name="connsiteX17" fmla="*/ 345626 w 471542"/>
                <a:gd name="connsiteY17" fmla="*/ 559357 h 578663"/>
                <a:gd name="connsiteX18" fmla="*/ 334389 w 471542"/>
                <a:gd name="connsiteY18" fmla="*/ 553883 h 578663"/>
                <a:gd name="connsiteX19" fmla="*/ 331507 w 471542"/>
                <a:gd name="connsiteY19" fmla="*/ 543510 h 578663"/>
                <a:gd name="connsiteX20" fmla="*/ 338998 w 471542"/>
                <a:gd name="connsiteY20" fmla="*/ 508069 h 578663"/>
                <a:gd name="connsiteX21" fmla="*/ 349948 w 471542"/>
                <a:gd name="connsiteY21" fmla="*/ 462255 h 578663"/>
                <a:gd name="connsiteX22" fmla="*/ 308455 w 471542"/>
                <a:gd name="connsiteY22" fmla="*/ 316746 h 578663"/>
                <a:gd name="connsiteX23" fmla="*/ 244489 w 471542"/>
                <a:gd name="connsiteY23" fmla="*/ 98626 h 578663"/>
                <a:gd name="connsiteX24" fmla="*/ 234117 w 471542"/>
                <a:gd name="connsiteY24" fmla="*/ 72405 h 578663"/>
                <a:gd name="connsiteX25" fmla="*/ 192913 w 471542"/>
                <a:gd name="connsiteY25" fmla="*/ 47049 h 578663"/>
                <a:gd name="connsiteX26" fmla="*/ 184269 w 471542"/>
                <a:gd name="connsiteY26" fmla="*/ 40422 h 578663"/>
                <a:gd name="connsiteX27" fmla="*/ 176778 w 471542"/>
                <a:gd name="connsiteY27" fmla="*/ 15354 h 578663"/>
                <a:gd name="connsiteX28" fmla="*/ 183980 w 471542"/>
                <a:gd name="connsiteY28" fmla="*/ 2964 h 578663"/>
                <a:gd name="connsiteX29" fmla="*/ 131826 w 471542"/>
                <a:gd name="connsiteY29" fmla="*/ 17660 h 578663"/>
                <a:gd name="connsiteX30" fmla="*/ 145082 w 471542"/>
                <a:gd name="connsiteY30" fmla="*/ 25152 h 578663"/>
                <a:gd name="connsiteX31" fmla="*/ 148827 w 471542"/>
                <a:gd name="connsiteY31" fmla="*/ 37542 h 578663"/>
                <a:gd name="connsiteX32" fmla="*/ 142199 w 471542"/>
                <a:gd name="connsiteY32" fmla="*/ 67220 h 578663"/>
                <a:gd name="connsiteX33" fmla="*/ 135573 w 471542"/>
                <a:gd name="connsiteY33" fmla="*/ 92000 h 578663"/>
                <a:gd name="connsiteX34" fmla="*/ 183404 w 471542"/>
                <a:gd name="connsiteY34" fmla="*/ 254221 h 578663"/>
                <a:gd name="connsiteX35" fmla="*/ 237861 w 471542"/>
                <a:gd name="connsiteY35" fmla="*/ 268628 h 578663"/>
                <a:gd name="connsiteX36" fmla="*/ 246505 w 471542"/>
                <a:gd name="connsiteY36" fmla="*/ 258543 h 578663"/>
                <a:gd name="connsiteX37" fmla="*/ 258319 w 471542"/>
                <a:gd name="connsiteY37" fmla="*/ 297154 h 578663"/>
                <a:gd name="connsiteX38" fmla="*/ 256014 w 471542"/>
                <a:gd name="connsiteY38" fmla="*/ 305798 h 578663"/>
                <a:gd name="connsiteX39" fmla="*/ 35013 w 471542"/>
                <a:gd name="connsiteY39" fmla="*/ 302916 h 578663"/>
                <a:gd name="connsiteX40" fmla="*/ 147 w 471542"/>
                <a:gd name="connsiteY40" fmla="*/ 186221 h 578663"/>
                <a:gd name="connsiteX41" fmla="*/ 131826 w 471542"/>
                <a:gd name="connsiteY41" fmla="*/ 17660 h 57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1542" h="578663">
                  <a:moveTo>
                    <a:pt x="175480" y="400270"/>
                  </a:moveTo>
                  <a:cubicBezTo>
                    <a:pt x="199756" y="393679"/>
                    <a:pt x="226625" y="398145"/>
                    <a:pt x="245930" y="416442"/>
                  </a:cubicBezTo>
                  <a:cubicBezTo>
                    <a:pt x="265235" y="434883"/>
                    <a:pt x="270421" y="457357"/>
                    <a:pt x="262642" y="482713"/>
                  </a:cubicBezTo>
                  <a:cubicBezTo>
                    <a:pt x="261201" y="487612"/>
                    <a:pt x="258608" y="492222"/>
                    <a:pt x="256879" y="496832"/>
                  </a:cubicBezTo>
                  <a:cubicBezTo>
                    <a:pt x="248811" y="518154"/>
                    <a:pt x="258608" y="532561"/>
                    <a:pt x="281947" y="530256"/>
                  </a:cubicBezTo>
                  <a:cubicBezTo>
                    <a:pt x="291744" y="529104"/>
                    <a:pt x="295201" y="531985"/>
                    <a:pt x="296642" y="540629"/>
                  </a:cubicBezTo>
                  <a:cubicBezTo>
                    <a:pt x="297506" y="544951"/>
                    <a:pt x="298659" y="548985"/>
                    <a:pt x="300100" y="553307"/>
                  </a:cubicBezTo>
                  <a:cubicBezTo>
                    <a:pt x="305863" y="572612"/>
                    <a:pt x="305863" y="572900"/>
                    <a:pt x="286557" y="575494"/>
                  </a:cubicBezTo>
                  <a:cubicBezTo>
                    <a:pt x="275032" y="577222"/>
                    <a:pt x="264083" y="577799"/>
                    <a:pt x="255727" y="578663"/>
                  </a:cubicBezTo>
                  <a:cubicBezTo>
                    <a:pt x="219709" y="577222"/>
                    <a:pt x="187726" y="571460"/>
                    <a:pt x="159489" y="552443"/>
                  </a:cubicBezTo>
                  <a:cubicBezTo>
                    <a:pt x="123759" y="528527"/>
                    <a:pt x="107912" y="487035"/>
                    <a:pt x="120590" y="450442"/>
                  </a:cubicBezTo>
                  <a:cubicBezTo>
                    <a:pt x="129523" y="424509"/>
                    <a:pt x="151204" y="406861"/>
                    <a:pt x="175480" y="400270"/>
                  </a:cubicBezTo>
                  <a:close/>
                  <a:moveTo>
                    <a:pt x="183980" y="2964"/>
                  </a:moveTo>
                  <a:cubicBezTo>
                    <a:pt x="226914" y="-4816"/>
                    <a:pt x="267253" y="2964"/>
                    <a:pt x="305286" y="23422"/>
                  </a:cubicBezTo>
                  <a:cubicBezTo>
                    <a:pt x="361185" y="53388"/>
                    <a:pt x="398931" y="100066"/>
                    <a:pt x="427457" y="155389"/>
                  </a:cubicBezTo>
                  <a:cubicBezTo>
                    <a:pt x="456847" y="212152"/>
                    <a:pt x="470678" y="272372"/>
                    <a:pt x="471542" y="341525"/>
                  </a:cubicBezTo>
                  <a:cubicBezTo>
                    <a:pt x="470678" y="396272"/>
                    <a:pt x="458000" y="453323"/>
                    <a:pt x="420254" y="502594"/>
                  </a:cubicBezTo>
                  <a:cubicBezTo>
                    <a:pt x="400660" y="528239"/>
                    <a:pt x="375880" y="547256"/>
                    <a:pt x="345626" y="559357"/>
                  </a:cubicBezTo>
                  <a:cubicBezTo>
                    <a:pt x="339287" y="561951"/>
                    <a:pt x="335540" y="561662"/>
                    <a:pt x="334389" y="553883"/>
                  </a:cubicBezTo>
                  <a:cubicBezTo>
                    <a:pt x="334100" y="550425"/>
                    <a:pt x="332660" y="546967"/>
                    <a:pt x="331507" y="543510"/>
                  </a:cubicBezTo>
                  <a:cubicBezTo>
                    <a:pt x="326321" y="529967"/>
                    <a:pt x="323440" y="519018"/>
                    <a:pt x="338998" y="508069"/>
                  </a:cubicBezTo>
                  <a:cubicBezTo>
                    <a:pt x="353694" y="497696"/>
                    <a:pt x="354270" y="478679"/>
                    <a:pt x="349948" y="462255"/>
                  </a:cubicBezTo>
                  <a:cubicBezTo>
                    <a:pt x="336694" y="413560"/>
                    <a:pt x="322575" y="365153"/>
                    <a:pt x="308455" y="316746"/>
                  </a:cubicBezTo>
                  <a:cubicBezTo>
                    <a:pt x="287422" y="244135"/>
                    <a:pt x="265811" y="171524"/>
                    <a:pt x="244489" y="98626"/>
                  </a:cubicBezTo>
                  <a:cubicBezTo>
                    <a:pt x="241897" y="89405"/>
                    <a:pt x="238727" y="80473"/>
                    <a:pt x="234117" y="72405"/>
                  </a:cubicBezTo>
                  <a:cubicBezTo>
                    <a:pt x="225185" y="56269"/>
                    <a:pt x="211641" y="47049"/>
                    <a:pt x="192913" y="47049"/>
                  </a:cubicBezTo>
                  <a:cubicBezTo>
                    <a:pt x="187438" y="47049"/>
                    <a:pt x="185421" y="45608"/>
                    <a:pt x="184269" y="40422"/>
                  </a:cubicBezTo>
                  <a:cubicBezTo>
                    <a:pt x="182251" y="32066"/>
                    <a:pt x="180235" y="23422"/>
                    <a:pt x="176778" y="15354"/>
                  </a:cubicBezTo>
                  <a:cubicBezTo>
                    <a:pt x="173320" y="6998"/>
                    <a:pt x="175912" y="4405"/>
                    <a:pt x="183980" y="2964"/>
                  </a:cubicBezTo>
                  <a:close/>
                  <a:moveTo>
                    <a:pt x="131826" y="17660"/>
                  </a:moveTo>
                  <a:cubicBezTo>
                    <a:pt x="139606" y="15355"/>
                    <a:pt x="144217" y="15643"/>
                    <a:pt x="145082" y="25152"/>
                  </a:cubicBezTo>
                  <a:cubicBezTo>
                    <a:pt x="145658" y="29474"/>
                    <a:pt x="147387" y="33508"/>
                    <a:pt x="148827" y="37542"/>
                  </a:cubicBezTo>
                  <a:cubicBezTo>
                    <a:pt x="153149" y="48779"/>
                    <a:pt x="156031" y="58864"/>
                    <a:pt x="142199" y="67220"/>
                  </a:cubicBezTo>
                  <a:cubicBezTo>
                    <a:pt x="134131" y="72118"/>
                    <a:pt x="132979" y="82491"/>
                    <a:pt x="135573" y="92000"/>
                  </a:cubicBezTo>
                  <a:cubicBezTo>
                    <a:pt x="151420" y="146170"/>
                    <a:pt x="166979" y="200339"/>
                    <a:pt x="183404" y="254221"/>
                  </a:cubicBezTo>
                  <a:cubicBezTo>
                    <a:pt x="192048" y="283035"/>
                    <a:pt x="215386" y="288798"/>
                    <a:pt x="237861" y="268628"/>
                  </a:cubicBezTo>
                  <a:cubicBezTo>
                    <a:pt x="240455" y="266323"/>
                    <a:pt x="242471" y="263153"/>
                    <a:pt x="246505" y="258543"/>
                  </a:cubicBezTo>
                  <a:cubicBezTo>
                    <a:pt x="250828" y="273238"/>
                    <a:pt x="254574" y="285340"/>
                    <a:pt x="258319" y="297154"/>
                  </a:cubicBezTo>
                  <a:cubicBezTo>
                    <a:pt x="259184" y="300323"/>
                    <a:pt x="258607" y="303204"/>
                    <a:pt x="256014" y="305798"/>
                  </a:cubicBezTo>
                  <a:cubicBezTo>
                    <a:pt x="189454" y="374086"/>
                    <a:pt x="90335" y="372069"/>
                    <a:pt x="35013" y="302916"/>
                  </a:cubicBezTo>
                  <a:cubicBezTo>
                    <a:pt x="7639" y="268916"/>
                    <a:pt x="-1292" y="228577"/>
                    <a:pt x="147" y="186221"/>
                  </a:cubicBezTo>
                  <a:cubicBezTo>
                    <a:pt x="3030" y="105542"/>
                    <a:pt x="54317" y="40711"/>
                    <a:pt x="131826" y="1766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3D2254EB-6F01-4447-8C05-CFB1E5153C79}"/>
                </a:ext>
              </a:extLst>
            </p:cNvPr>
            <p:cNvSpPr/>
            <p:nvPr/>
          </p:nvSpPr>
          <p:spPr>
            <a:xfrm rot="1020000">
              <a:off x="7393031" y="417861"/>
              <a:ext cx="516389" cy="582638"/>
            </a:xfrm>
            <a:custGeom>
              <a:avLst/>
              <a:gdLst>
                <a:gd name="connsiteX0" fmla="*/ 202598 w 516389"/>
                <a:gd name="connsiteY0" fmla="*/ 4066 h 582638"/>
                <a:gd name="connsiteX1" fmla="*/ 273480 w 516389"/>
                <a:gd name="connsiteY1" fmla="*/ 1761 h 582638"/>
                <a:gd name="connsiteX2" fmla="*/ 467108 w 516389"/>
                <a:gd name="connsiteY2" fmla="*/ 142084 h 582638"/>
                <a:gd name="connsiteX3" fmla="*/ 499380 w 516389"/>
                <a:gd name="connsiteY3" fmla="*/ 221034 h 582638"/>
                <a:gd name="connsiteX4" fmla="*/ 516380 w 516389"/>
                <a:gd name="connsiteY4" fmla="*/ 331967 h 582638"/>
                <a:gd name="connsiteX5" fmla="*/ 504278 w 516389"/>
                <a:gd name="connsiteY5" fmla="*/ 412645 h 582638"/>
                <a:gd name="connsiteX6" fmla="*/ 469702 w 516389"/>
                <a:gd name="connsiteY6" fmla="*/ 482662 h 582638"/>
                <a:gd name="connsiteX7" fmla="*/ 459040 w 516389"/>
                <a:gd name="connsiteY7" fmla="*/ 494188 h 582638"/>
                <a:gd name="connsiteX8" fmla="*/ 364531 w 516389"/>
                <a:gd name="connsiteY8" fmla="*/ 562189 h 582638"/>
                <a:gd name="connsiteX9" fmla="*/ 353582 w 516389"/>
                <a:gd name="connsiteY9" fmla="*/ 557002 h 582638"/>
                <a:gd name="connsiteX10" fmla="*/ 351277 w 516389"/>
                <a:gd name="connsiteY10" fmla="*/ 548934 h 582638"/>
                <a:gd name="connsiteX11" fmla="*/ 358192 w 516389"/>
                <a:gd name="connsiteY11" fmla="*/ 508883 h 582638"/>
                <a:gd name="connsiteX12" fmla="*/ 367413 w 516389"/>
                <a:gd name="connsiteY12" fmla="*/ 471425 h 582638"/>
                <a:gd name="connsiteX13" fmla="*/ 354735 w 516389"/>
                <a:gd name="connsiteY13" fmla="*/ 429645 h 582638"/>
                <a:gd name="connsiteX14" fmla="*/ 342633 w 516389"/>
                <a:gd name="connsiteY14" fmla="*/ 397374 h 582638"/>
                <a:gd name="connsiteX15" fmla="*/ 278667 w 516389"/>
                <a:gd name="connsiteY15" fmla="*/ 179830 h 582638"/>
                <a:gd name="connsiteX16" fmla="*/ 251582 w 516389"/>
                <a:gd name="connsiteY16" fmla="*/ 87626 h 582638"/>
                <a:gd name="connsiteX17" fmla="*/ 217581 w 516389"/>
                <a:gd name="connsiteY17" fmla="*/ 56219 h 582638"/>
                <a:gd name="connsiteX18" fmla="*/ 197412 w 516389"/>
                <a:gd name="connsiteY18" fmla="*/ 36338 h 582638"/>
                <a:gd name="connsiteX19" fmla="*/ 192513 w 516389"/>
                <a:gd name="connsiteY19" fmla="*/ 20490 h 582638"/>
                <a:gd name="connsiteX20" fmla="*/ 202598 w 516389"/>
                <a:gd name="connsiteY20" fmla="*/ 4066 h 582638"/>
                <a:gd name="connsiteX21" fmla="*/ 150733 w 516389"/>
                <a:gd name="connsiteY21" fmla="*/ 19050 h 582638"/>
                <a:gd name="connsiteX22" fmla="*/ 166869 w 516389"/>
                <a:gd name="connsiteY22" fmla="*/ 26541 h 582638"/>
                <a:gd name="connsiteX23" fmla="*/ 170327 w 516389"/>
                <a:gd name="connsiteY23" fmla="*/ 37779 h 582638"/>
                <a:gd name="connsiteX24" fmla="*/ 164276 w 516389"/>
                <a:gd name="connsiteY24" fmla="*/ 72643 h 582638"/>
                <a:gd name="connsiteX25" fmla="*/ 157649 w 516389"/>
                <a:gd name="connsiteY25" fmla="*/ 129983 h 582638"/>
                <a:gd name="connsiteX26" fmla="*/ 228819 w 516389"/>
                <a:gd name="connsiteY26" fmla="*/ 371442 h 582638"/>
                <a:gd name="connsiteX27" fmla="*/ 246395 w 516389"/>
                <a:gd name="connsiteY27" fmla="*/ 431951 h 582638"/>
                <a:gd name="connsiteX28" fmla="*/ 250429 w 516389"/>
                <a:gd name="connsiteY28" fmla="*/ 445781 h 582638"/>
                <a:gd name="connsiteX29" fmla="*/ 263107 w 516389"/>
                <a:gd name="connsiteY29" fmla="*/ 488714 h 582638"/>
                <a:gd name="connsiteX30" fmla="*/ 300565 w 516389"/>
                <a:gd name="connsiteY30" fmla="*/ 528188 h 582638"/>
                <a:gd name="connsiteX31" fmla="*/ 305175 w 516389"/>
                <a:gd name="connsiteY31" fmla="*/ 531358 h 582638"/>
                <a:gd name="connsiteX32" fmla="*/ 314395 w 516389"/>
                <a:gd name="connsiteY32" fmla="*/ 540290 h 582638"/>
                <a:gd name="connsiteX33" fmla="*/ 321887 w 516389"/>
                <a:gd name="connsiteY33" fmla="*/ 566223 h 582638"/>
                <a:gd name="connsiteX34" fmla="*/ 315260 w 516389"/>
                <a:gd name="connsiteY34" fmla="*/ 576307 h 582638"/>
                <a:gd name="connsiteX35" fmla="*/ 267141 w 516389"/>
                <a:gd name="connsiteY35" fmla="*/ 580918 h 582638"/>
                <a:gd name="connsiteX36" fmla="*/ 221615 w 516389"/>
                <a:gd name="connsiteY36" fmla="*/ 576019 h 582638"/>
                <a:gd name="connsiteX37" fmla="*/ 164852 w 516389"/>
                <a:gd name="connsiteY37" fmla="*/ 555850 h 582638"/>
                <a:gd name="connsiteX38" fmla="*/ 128547 w 516389"/>
                <a:gd name="connsiteY38" fmla="*/ 532799 h 582638"/>
                <a:gd name="connsiteX39" fmla="*/ 43834 w 516389"/>
                <a:gd name="connsiteY39" fmla="*/ 425035 h 582638"/>
                <a:gd name="connsiteX40" fmla="*/ 33461 w 516389"/>
                <a:gd name="connsiteY40" fmla="*/ 408035 h 582638"/>
                <a:gd name="connsiteX41" fmla="*/ 4936 w 516389"/>
                <a:gd name="connsiteY41" fmla="*/ 309492 h 582638"/>
                <a:gd name="connsiteX42" fmla="*/ 38 w 516389"/>
                <a:gd name="connsiteY42" fmla="*/ 266272 h 582638"/>
                <a:gd name="connsiteX43" fmla="*/ 51902 w 516389"/>
                <a:gd name="connsiteY43" fmla="*/ 92813 h 582638"/>
                <a:gd name="connsiteX44" fmla="*/ 72072 w 516389"/>
                <a:gd name="connsiteY44" fmla="*/ 71203 h 582638"/>
                <a:gd name="connsiteX45" fmla="*/ 150733 w 516389"/>
                <a:gd name="connsiteY45" fmla="*/ 19050 h 58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16389" h="582638">
                  <a:moveTo>
                    <a:pt x="202598" y="4066"/>
                  </a:moveTo>
                  <a:cubicBezTo>
                    <a:pt x="226226" y="-544"/>
                    <a:pt x="249853" y="-1120"/>
                    <a:pt x="273480" y="1761"/>
                  </a:cubicBezTo>
                  <a:cubicBezTo>
                    <a:pt x="363667" y="12999"/>
                    <a:pt x="425040" y="64863"/>
                    <a:pt x="467108" y="142084"/>
                  </a:cubicBezTo>
                  <a:cubicBezTo>
                    <a:pt x="480651" y="167152"/>
                    <a:pt x="491600" y="193661"/>
                    <a:pt x="499380" y="221034"/>
                  </a:cubicBezTo>
                  <a:cubicBezTo>
                    <a:pt x="510329" y="257339"/>
                    <a:pt x="516668" y="294221"/>
                    <a:pt x="516380" y="331967"/>
                  </a:cubicBezTo>
                  <a:cubicBezTo>
                    <a:pt x="516092" y="359340"/>
                    <a:pt x="512634" y="386425"/>
                    <a:pt x="504278" y="412645"/>
                  </a:cubicBezTo>
                  <a:cubicBezTo>
                    <a:pt x="495634" y="437425"/>
                    <a:pt x="485549" y="461340"/>
                    <a:pt x="469702" y="482662"/>
                  </a:cubicBezTo>
                  <a:cubicBezTo>
                    <a:pt x="467685" y="487561"/>
                    <a:pt x="465091" y="492747"/>
                    <a:pt x="459040" y="494188"/>
                  </a:cubicBezTo>
                  <a:cubicBezTo>
                    <a:pt x="432820" y="524154"/>
                    <a:pt x="401125" y="546341"/>
                    <a:pt x="364531" y="562189"/>
                  </a:cubicBezTo>
                  <a:cubicBezTo>
                    <a:pt x="358192" y="565070"/>
                    <a:pt x="354447" y="565070"/>
                    <a:pt x="353582" y="557002"/>
                  </a:cubicBezTo>
                  <a:cubicBezTo>
                    <a:pt x="353294" y="554409"/>
                    <a:pt x="352430" y="551527"/>
                    <a:pt x="351277" y="548934"/>
                  </a:cubicBezTo>
                  <a:cubicBezTo>
                    <a:pt x="344938" y="533951"/>
                    <a:pt x="342921" y="521273"/>
                    <a:pt x="358192" y="508883"/>
                  </a:cubicBezTo>
                  <a:cubicBezTo>
                    <a:pt x="368854" y="500239"/>
                    <a:pt x="371159" y="485832"/>
                    <a:pt x="367413" y="471425"/>
                  </a:cubicBezTo>
                  <a:cubicBezTo>
                    <a:pt x="363955" y="457306"/>
                    <a:pt x="360786" y="443188"/>
                    <a:pt x="354735" y="429645"/>
                  </a:cubicBezTo>
                  <a:cubicBezTo>
                    <a:pt x="346955" y="420137"/>
                    <a:pt x="347531" y="407747"/>
                    <a:pt x="342633" y="397374"/>
                  </a:cubicBezTo>
                  <a:cubicBezTo>
                    <a:pt x="321599" y="324763"/>
                    <a:pt x="299989" y="252153"/>
                    <a:pt x="278667" y="179830"/>
                  </a:cubicBezTo>
                  <a:cubicBezTo>
                    <a:pt x="270310" y="148711"/>
                    <a:pt x="261090" y="118169"/>
                    <a:pt x="251582" y="87626"/>
                  </a:cubicBezTo>
                  <a:cubicBezTo>
                    <a:pt x="246395" y="70914"/>
                    <a:pt x="234870" y="59389"/>
                    <a:pt x="217581" y="56219"/>
                  </a:cubicBezTo>
                  <a:cubicBezTo>
                    <a:pt x="205480" y="54202"/>
                    <a:pt x="199429" y="47863"/>
                    <a:pt x="197412" y="36338"/>
                  </a:cubicBezTo>
                  <a:cubicBezTo>
                    <a:pt x="196547" y="30863"/>
                    <a:pt x="193954" y="25965"/>
                    <a:pt x="192513" y="20490"/>
                  </a:cubicBezTo>
                  <a:cubicBezTo>
                    <a:pt x="189632" y="8965"/>
                    <a:pt x="191361" y="6083"/>
                    <a:pt x="202598" y="4066"/>
                  </a:cubicBezTo>
                  <a:close/>
                  <a:moveTo>
                    <a:pt x="150733" y="19050"/>
                  </a:moveTo>
                  <a:cubicBezTo>
                    <a:pt x="161106" y="14439"/>
                    <a:pt x="163411" y="15592"/>
                    <a:pt x="166869" y="26541"/>
                  </a:cubicBezTo>
                  <a:cubicBezTo>
                    <a:pt x="168022" y="30287"/>
                    <a:pt x="168598" y="34321"/>
                    <a:pt x="170327" y="37779"/>
                  </a:cubicBezTo>
                  <a:cubicBezTo>
                    <a:pt x="175801" y="50745"/>
                    <a:pt x="176666" y="61118"/>
                    <a:pt x="164276" y="72643"/>
                  </a:cubicBezTo>
                  <a:cubicBezTo>
                    <a:pt x="146700" y="88779"/>
                    <a:pt x="149869" y="109813"/>
                    <a:pt x="157649" y="129983"/>
                  </a:cubicBezTo>
                  <a:cubicBezTo>
                    <a:pt x="181564" y="210373"/>
                    <a:pt x="204903" y="291051"/>
                    <a:pt x="228819" y="371442"/>
                  </a:cubicBezTo>
                  <a:cubicBezTo>
                    <a:pt x="234293" y="391611"/>
                    <a:pt x="240920" y="411493"/>
                    <a:pt x="246395" y="431951"/>
                  </a:cubicBezTo>
                  <a:cubicBezTo>
                    <a:pt x="247836" y="436561"/>
                    <a:pt x="248700" y="441171"/>
                    <a:pt x="250429" y="445781"/>
                  </a:cubicBezTo>
                  <a:cubicBezTo>
                    <a:pt x="255039" y="459900"/>
                    <a:pt x="259073" y="474307"/>
                    <a:pt x="263107" y="488714"/>
                  </a:cubicBezTo>
                  <a:cubicBezTo>
                    <a:pt x="268293" y="508883"/>
                    <a:pt x="279243" y="523290"/>
                    <a:pt x="300565" y="528188"/>
                  </a:cubicBezTo>
                  <a:cubicBezTo>
                    <a:pt x="302294" y="529053"/>
                    <a:pt x="303734" y="529917"/>
                    <a:pt x="305175" y="531358"/>
                  </a:cubicBezTo>
                  <a:cubicBezTo>
                    <a:pt x="310362" y="532222"/>
                    <a:pt x="313243" y="535104"/>
                    <a:pt x="314395" y="540290"/>
                  </a:cubicBezTo>
                  <a:cubicBezTo>
                    <a:pt x="316412" y="548934"/>
                    <a:pt x="318429" y="557867"/>
                    <a:pt x="321887" y="566223"/>
                  </a:cubicBezTo>
                  <a:cubicBezTo>
                    <a:pt x="325057" y="574002"/>
                    <a:pt x="321599" y="575731"/>
                    <a:pt x="315260" y="576307"/>
                  </a:cubicBezTo>
                  <a:cubicBezTo>
                    <a:pt x="299124" y="577748"/>
                    <a:pt x="283277" y="579477"/>
                    <a:pt x="267141" y="580918"/>
                  </a:cubicBezTo>
                  <a:cubicBezTo>
                    <a:pt x="251581" y="583511"/>
                    <a:pt x="236310" y="584087"/>
                    <a:pt x="221615" y="576019"/>
                  </a:cubicBezTo>
                  <a:cubicBezTo>
                    <a:pt x="202310" y="570545"/>
                    <a:pt x="183005" y="564782"/>
                    <a:pt x="164852" y="555850"/>
                  </a:cubicBezTo>
                  <a:cubicBezTo>
                    <a:pt x="149869" y="552680"/>
                    <a:pt x="137479" y="545189"/>
                    <a:pt x="128547" y="532799"/>
                  </a:cubicBezTo>
                  <a:cubicBezTo>
                    <a:pt x="91953" y="503409"/>
                    <a:pt x="65157" y="466239"/>
                    <a:pt x="43834" y="425035"/>
                  </a:cubicBezTo>
                  <a:cubicBezTo>
                    <a:pt x="37784" y="421001"/>
                    <a:pt x="36343" y="414086"/>
                    <a:pt x="33461" y="408035"/>
                  </a:cubicBezTo>
                  <a:cubicBezTo>
                    <a:pt x="19343" y="376628"/>
                    <a:pt x="11275" y="343204"/>
                    <a:pt x="4936" y="309492"/>
                  </a:cubicBezTo>
                  <a:cubicBezTo>
                    <a:pt x="2343" y="295085"/>
                    <a:pt x="2343" y="280678"/>
                    <a:pt x="38" y="266272"/>
                  </a:cubicBezTo>
                  <a:cubicBezTo>
                    <a:pt x="-827" y="203169"/>
                    <a:pt x="12716" y="144101"/>
                    <a:pt x="51902" y="92813"/>
                  </a:cubicBezTo>
                  <a:cubicBezTo>
                    <a:pt x="57953" y="85033"/>
                    <a:pt x="65157" y="78406"/>
                    <a:pt x="72072" y="71203"/>
                  </a:cubicBezTo>
                  <a:cubicBezTo>
                    <a:pt x="94547" y="48152"/>
                    <a:pt x="121632" y="32304"/>
                    <a:pt x="150733" y="1905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8529750E-2CE9-41C0-B30E-D2BC92FFAF3A}"/>
                </a:ext>
              </a:extLst>
            </p:cNvPr>
            <p:cNvSpPr/>
            <p:nvPr/>
          </p:nvSpPr>
          <p:spPr>
            <a:xfrm rot="1020000">
              <a:off x="6916230" y="374174"/>
              <a:ext cx="483867" cy="617945"/>
            </a:xfrm>
            <a:custGeom>
              <a:avLst/>
              <a:gdLst>
                <a:gd name="connsiteX0" fmla="*/ 444716 w 483867"/>
                <a:gd name="connsiteY0" fmla="*/ 394271 h 617945"/>
                <a:gd name="connsiteX1" fmla="*/ 468667 w 483867"/>
                <a:gd name="connsiteY1" fmla="*/ 392002 h 617945"/>
                <a:gd name="connsiteX2" fmla="*/ 481345 w 483867"/>
                <a:gd name="connsiteY2" fmla="*/ 448765 h 617945"/>
                <a:gd name="connsiteX3" fmla="*/ 413345 w 483867"/>
                <a:gd name="connsiteY3" fmla="*/ 568630 h 617945"/>
                <a:gd name="connsiteX4" fmla="*/ 409311 w 483867"/>
                <a:gd name="connsiteY4" fmla="*/ 572664 h 617945"/>
                <a:gd name="connsiteX5" fmla="*/ 368972 w 483867"/>
                <a:gd name="connsiteY5" fmla="*/ 598596 h 617945"/>
                <a:gd name="connsiteX6" fmla="*/ 354565 w 483867"/>
                <a:gd name="connsiteY6" fmla="*/ 591393 h 617945"/>
                <a:gd name="connsiteX7" fmla="*/ 346497 w 483867"/>
                <a:gd name="connsiteY7" fmla="*/ 564020 h 617945"/>
                <a:gd name="connsiteX8" fmla="*/ 362057 w 483867"/>
                <a:gd name="connsiteY8" fmla="*/ 546732 h 617945"/>
                <a:gd name="connsiteX9" fmla="*/ 434955 w 483867"/>
                <a:gd name="connsiteY9" fmla="*/ 425714 h 617945"/>
                <a:gd name="connsiteX10" fmla="*/ 435243 w 483867"/>
                <a:gd name="connsiteY10" fmla="*/ 416205 h 617945"/>
                <a:gd name="connsiteX11" fmla="*/ 444716 w 483867"/>
                <a:gd name="connsiteY11" fmla="*/ 394271 h 617945"/>
                <a:gd name="connsiteX12" fmla="*/ 201564 w 483867"/>
                <a:gd name="connsiteY12" fmla="*/ 41050 h 617945"/>
                <a:gd name="connsiteX13" fmla="*/ 212225 w 483867"/>
                <a:gd name="connsiteY13" fmla="*/ 39897 h 617945"/>
                <a:gd name="connsiteX14" fmla="*/ 253141 w 483867"/>
                <a:gd name="connsiteY14" fmla="*/ 37592 h 617945"/>
                <a:gd name="connsiteX15" fmla="*/ 314226 w 483867"/>
                <a:gd name="connsiteY15" fmla="*/ 35863 h 617945"/>
                <a:gd name="connsiteX16" fmla="*/ 320853 w 483867"/>
                <a:gd name="connsiteY16" fmla="*/ 20016 h 617945"/>
                <a:gd name="connsiteX17" fmla="*/ 341023 w 483867"/>
                <a:gd name="connsiteY17" fmla="*/ 134 h 617945"/>
                <a:gd name="connsiteX18" fmla="*/ 364362 w 483867"/>
                <a:gd name="connsiteY18" fmla="*/ 16270 h 617945"/>
                <a:gd name="connsiteX19" fmla="*/ 385108 w 483867"/>
                <a:gd name="connsiteY19" fmla="*/ 85423 h 617945"/>
                <a:gd name="connsiteX20" fmla="*/ 392599 w 483867"/>
                <a:gd name="connsiteY20" fmla="*/ 109050 h 617945"/>
                <a:gd name="connsiteX21" fmla="*/ 401820 w 483867"/>
                <a:gd name="connsiteY21" fmla="*/ 130661 h 617945"/>
                <a:gd name="connsiteX22" fmla="*/ 418243 w 483867"/>
                <a:gd name="connsiteY22" fmla="*/ 188864 h 617945"/>
                <a:gd name="connsiteX23" fmla="*/ 394040 w 483867"/>
                <a:gd name="connsiteY23" fmla="*/ 223153 h 617945"/>
                <a:gd name="connsiteX24" fmla="*/ 366091 w 483867"/>
                <a:gd name="connsiteY24" fmla="*/ 208169 h 617945"/>
                <a:gd name="connsiteX25" fmla="*/ 346209 w 483867"/>
                <a:gd name="connsiteY25" fmla="*/ 175898 h 617945"/>
                <a:gd name="connsiteX26" fmla="*/ 284548 w 483867"/>
                <a:gd name="connsiteY26" fmla="*/ 111067 h 617945"/>
                <a:gd name="connsiteX27" fmla="*/ 272734 w 483867"/>
                <a:gd name="connsiteY27" fmla="*/ 103864 h 617945"/>
                <a:gd name="connsiteX28" fmla="*/ 228073 w 483867"/>
                <a:gd name="connsiteY28" fmla="*/ 88592 h 617945"/>
                <a:gd name="connsiteX29" fmla="*/ 199547 w 483867"/>
                <a:gd name="connsiteY29" fmla="*/ 51711 h 617945"/>
                <a:gd name="connsiteX30" fmla="*/ 201564 w 483867"/>
                <a:gd name="connsiteY30" fmla="*/ 41050 h 617945"/>
                <a:gd name="connsiteX31" fmla="*/ 153732 w 483867"/>
                <a:gd name="connsiteY31" fmla="*/ 55458 h 617945"/>
                <a:gd name="connsiteX32" fmla="*/ 168428 w 483867"/>
                <a:gd name="connsiteY32" fmla="*/ 63238 h 617945"/>
                <a:gd name="connsiteX33" fmla="*/ 173039 w 483867"/>
                <a:gd name="connsiteY33" fmla="*/ 77645 h 617945"/>
                <a:gd name="connsiteX34" fmla="*/ 172462 w 483867"/>
                <a:gd name="connsiteY34" fmla="*/ 99831 h 617945"/>
                <a:gd name="connsiteX35" fmla="*/ 152869 w 483867"/>
                <a:gd name="connsiteY35" fmla="*/ 167832 h 617945"/>
                <a:gd name="connsiteX36" fmla="*/ 215682 w 483867"/>
                <a:gd name="connsiteY36" fmla="*/ 383358 h 617945"/>
                <a:gd name="connsiteX37" fmla="*/ 254581 w 483867"/>
                <a:gd name="connsiteY37" fmla="*/ 514461 h 617945"/>
                <a:gd name="connsiteX38" fmla="*/ 267259 w 483867"/>
                <a:gd name="connsiteY38" fmla="*/ 539817 h 617945"/>
                <a:gd name="connsiteX39" fmla="*/ 273886 w 483867"/>
                <a:gd name="connsiteY39" fmla="*/ 548173 h 617945"/>
                <a:gd name="connsiteX40" fmla="*/ 309327 w 483867"/>
                <a:gd name="connsiteY40" fmla="*/ 562868 h 617945"/>
                <a:gd name="connsiteX41" fmla="*/ 318835 w 483867"/>
                <a:gd name="connsiteY41" fmla="*/ 568631 h 617945"/>
                <a:gd name="connsiteX42" fmla="*/ 328057 w 483867"/>
                <a:gd name="connsiteY42" fmla="*/ 605512 h 617945"/>
                <a:gd name="connsiteX43" fmla="*/ 272158 w 483867"/>
                <a:gd name="connsiteY43" fmla="*/ 617326 h 617945"/>
                <a:gd name="connsiteX44" fmla="*/ 75936 w 483867"/>
                <a:gd name="connsiteY44" fmla="*/ 525986 h 617945"/>
                <a:gd name="connsiteX45" fmla="*/ 12258 w 483867"/>
                <a:gd name="connsiteY45" fmla="*/ 211917 h 617945"/>
                <a:gd name="connsiteX46" fmla="*/ 153732 w 483867"/>
                <a:gd name="connsiteY46" fmla="*/ 55458 h 61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867" h="617945">
                  <a:moveTo>
                    <a:pt x="444716" y="394271"/>
                  </a:moveTo>
                  <a:cubicBezTo>
                    <a:pt x="450371" y="390201"/>
                    <a:pt x="458438" y="389409"/>
                    <a:pt x="468667" y="392002"/>
                  </a:cubicBezTo>
                  <a:cubicBezTo>
                    <a:pt x="487684" y="407561"/>
                    <a:pt x="484803" y="428884"/>
                    <a:pt x="481345" y="448765"/>
                  </a:cubicBezTo>
                  <a:cubicBezTo>
                    <a:pt x="472989" y="496596"/>
                    <a:pt x="448786" y="536071"/>
                    <a:pt x="413345" y="568630"/>
                  </a:cubicBezTo>
                  <a:cubicBezTo>
                    <a:pt x="411904" y="570071"/>
                    <a:pt x="410752" y="571512"/>
                    <a:pt x="409311" y="572664"/>
                  </a:cubicBezTo>
                  <a:cubicBezTo>
                    <a:pt x="398938" y="585918"/>
                    <a:pt x="383955" y="592546"/>
                    <a:pt x="368972" y="598596"/>
                  </a:cubicBezTo>
                  <a:cubicBezTo>
                    <a:pt x="361480" y="601766"/>
                    <a:pt x="357158" y="598885"/>
                    <a:pt x="354565" y="591393"/>
                  </a:cubicBezTo>
                  <a:cubicBezTo>
                    <a:pt x="351684" y="582461"/>
                    <a:pt x="349090" y="573240"/>
                    <a:pt x="346497" y="564020"/>
                  </a:cubicBezTo>
                  <a:cubicBezTo>
                    <a:pt x="343904" y="555088"/>
                    <a:pt x="346497" y="552494"/>
                    <a:pt x="362057" y="546732"/>
                  </a:cubicBezTo>
                  <a:cubicBezTo>
                    <a:pt x="405853" y="517918"/>
                    <a:pt x="430633" y="478155"/>
                    <a:pt x="434955" y="425714"/>
                  </a:cubicBezTo>
                  <a:cubicBezTo>
                    <a:pt x="435243" y="422545"/>
                    <a:pt x="434955" y="419375"/>
                    <a:pt x="435243" y="416205"/>
                  </a:cubicBezTo>
                  <a:cubicBezTo>
                    <a:pt x="435820" y="405688"/>
                    <a:pt x="439061" y="398340"/>
                    <a:pt x="444716" y="394271"/>
                  </a:cubicBezTo>
                  <a:close/>
                  <a:moveTo>
                    <a:pt x="201564" y="41050"/>
                  </a:moveTo>
                  <a:cubicBezTo>
                    <a:pt x="204661" y="40114"/>
                    <a:pt x="209200" y="40762"/>
                    <a:pt x="212225" y="39897"/>
                  </a:cubicBezTo>
                  <a:cubicBezTo>
                    <a:pt x="225479" y="34135"/>
                    <a:pt x="239598" y="36151"/>
                    <a:pt x="253141" y="37592"/>
                  </a:cubicBezTo>
                  <a:cubicBezTo>
                    <a:pt x="273310" y="39321"/>
                    <a:pt x="293768" y="40185"/>
                    <a:pt x="314226" y="35863"/>
                  </a:cubicBezTo>
                  <a:cubicBezTo>
                    <a:pt x="319700" y="32118"/>
                    <a:pt x="320277" y="25779"/>
                    <a:pt x="320853" y="20016"/>
                  </a:cubicBezTo>
                  <a:cubicBezTo>
                    <a:pt x="322582" y="7914"/>
                    <a:pt x="329497" y="1575"/>
                    <a:pt x="341023" y="134"/>
                  </a:cubicBezTo>
                  <a:cubicBezTo>
                    <a:pt x="353124" y="-1018"/>
                    <a:pt x="360904" y="5321"/>
                    <a:pt x="364362" y="16270"/>
                  </a:cubicBezTo>
                  <a:cubicBezTo>
                    <a:pt x="371853" y="39033"/>
                    <a:pt x="378192" y="62372"/>
                    <a:pt x="385108" y="85423"/>
                  </a:cubicBezTo>
                  <a:cubicBezTo>
                    <a:pt x="387413" y="93203"/>
                    <a:pt x="390006" y="101271"/>
                    <a:pt x="392599" y="109050"/>
                  </a:cubicBezTo>
                  <a:cubicBezTo>
                    <a:pt x="397497" y="115389"/>
                    <a:pt x="398938" y="123457"/>
                    <a:pt x="401820" y="130661"/>
                  </a:cubicBezTo>
                  <a:cubicBezTo>
                    <a:pt x="407006" y="149966"/>
                    <a:pt x="414209" y="168983"/>
                    <a:pt x="418243" y="188864"/>
                  </a:cubicBezTo>
                  <a:cubicBezTo>
                    <a:pt x="422277" y="208458"/>
                    <a:pt x="412481" y="222000"/>
                    <a:pt x="394040" y="223153"/>
                  </a:cubicBezTo>
                  <a:cubicBezTo>
                    <a:pt x="382226" y="223729"/>
                    <a:pt x="372718" y="217966"/>
                    <a:pt x="366091" y="208169"/>
                  </a:cubicBezTo>
                  <a:cubicBezTo>
                    <a:pt x="358887" y="197797"/>
                    <a:pt x="353413" y="186271"/>
                    <a:pt x="346209" y="175898"/>
                  </a:cubicBezTo>
                  <a:cubicBezTo>
                    <a:pt x="329785" y="150254"/>
                    <a:pt x="309904" y="128067"/>
                    <a:pt x="284548" y="111067"/>
                  </a:cubicBezTo>
                  <a:cubicBezTo>
                    <a:pt x="280802" y="108474"/>
                    <a:pt x="277056" y="105881"/>
                    <a:pt x="272734" y="103864"/>
                  </a:cubicBezTo>
                  <a:cubicBezTo>
                    <a:pt x="258615" y="96372"/>
                    <a:pt x="243920" y="90898"/>
                    <a:pt x="228073" y="88592"/>
                  </a:cubicBezTo>
                  <a:cubicBezTo>
                    <a:pt x="205598" y="85423"/>
                    <a:pt x="197530" y="75050"/>
                    <a:pt x="199547" y="51711"/>
                  </a:cubicBezTo>
                  <a:cubicBezTo>
                    <a:pt x="196810" y="44508"/>
                    <a:pt x="198467" y="41986"/>
                    <a:pt x="201564" y="41050"/>
                  </a:cubicBezTo>
                  <a:close/>
                  <a:moveTo>
                    <a:pt x="153732" y="55458"/>
                  </a:moveTo>
                  <a:cubicBezTo>
                    <a:pt x="163530" y="51712"/>
                    <a:pt x="166700" y="54306"/>
                    <a:pt x="168428" y="63238"/>
                  </a:cubicBezTo>
                  <a:cubicBezTo>
                    <a:pt x="169292" y="68136"/>
                    <a:pt x="171309" y="73035"/>
                    <a:pt x="173039" y="77645"/>
                  </a:cubicBezTo>
                  <a:cubicBezTo>
                    <a:pt x="180241" y="87729"/>
                    <a:pt x="180817" y="93492"/>
                    <a:pt x="172462" y="99831"/>
                  </a:cubicBezTo>
                  <a:cubicBezTo>
                    <a:pt x="148834" y="117696"/>
                    <a:pt x="147683" y="141611"/>
                    <a:pt x="152869" y="167832"/>
                  </a:cubicBezTo>
                  <a:cubicBezTo>
                    <a:pt x="173039" y="239866"/>
                    <a:pt x="194648" y="311612"/>
                    <a:pt x="215682" y="383358"/>
                  </a:cubicBezTo>
                  <a:cubicBezTo>
                    <a:pt x="228360" y="427155"/>
                    <a:pt x="240750" y="470952"/>
                    <a:pt x="254581" y="514461"/>
                  </a:cubicBezTo>
                  <a:cubicBezTo>
                    <a:pt x="257462" y="523681"/>
                    <a:pt x="261496" y="532037"/>
                    <a:pt x="267259" y="539817"/>
                  </a:cubicBezTo>
                  <a:cubicBezTo>
                    <a:pt x="269277" y="542698"/>
                    <a:pt x="271005" y="545868"/>
                    <a:pt x="273886" y="548173"/>
                  </a:cubicBezTo>
                  <a:cubicBezTo>
                    <a:pt x="284260" y="556529"/>
                    <a:pt x="295497" y="562292"/>
                    <a:pt x="309327" y="562868"/>
                  </a:cubicBezTo>
                  <a:cubicBezTo>
                    <a:pt x="313361" y="563156"/>
                    <a:pt x="317396" y="564309"/>
                    <a:pt x="318835" y="568631"/>
                  </a:cubicBezTo>
                  <a:cubicBezTo>
                    <a:pt x="322869" y="580444"/>
                    <a:pt x="328633" y="592258"/>
                    <a:pt x="328057" y="605512"/>
                  </a:cubicBezTo>
                  <a:cubicBezTo>
                    <a:pt x="310767" y="615021"/>
                    <a:pt x="291174" y="616174"/>
                    <a:pt x="272158" y="617326"/>
                  </a:cubicBezTo>
                  <a:cubicBezTo>
                    <a:pt x="190326" y="622801"/>
                    <a:pt x="123478" y="591970"/>
                    <a:pt x="75936" y="525986"/>
                  </a:cubicBezTo>
                  <a:cubicBezTo>
                    <a:pt x="7935" y="431477"/>
                    <a:pt x="-17420" y="326019"/>
                    <a:pt x="12258" y="211917"/>
                  </a:cubicBezTo>
                  <a:cubicBezTo>
                    <a:pt x="31851" y="136425"/>
                    <a:pt x="80835" y="84560"/>
                    <a:pt x="153732" y="55458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52DE8502-19B8-440E-B0E5-08235BF82F71}"/>
                </a:ext>
              </a:extLst>
            </p:cNvPr>
            <p:cNvSpPr/>
            <p:nvPr/>
          </p:nvSpPr>
          <p:spPr>
            <a:xfrm rot="1020000">
              <a:off x="7873009" y="365408"/>
              <a:ext cx="472408" cy="616235"/>
            </a:xfrm>
            <a:custGeom>
              <a:avLst/>
              <a:gdLst>
                <a:gd name="connsiteX0" fmla="*/ 340279 w 472408"/>
                <a:gd name="connsiteY0" fmla="*/ 30674 h 616235"/>
                <a:gd name="connsiteX1" fmla="*/ 435653 w 472408"/>
                <a:gd name="connsiteY1" fmla="*/ 2725 h 616235"/>
                <a:gd name="connsiteX2" fmla="*/ 440263 w 472408"/>
                <a:gd name="connsiteY2" fmla="*/ 1284 h 616235"/>
                <a:gd name="connsiteX3" fmla="*/ 469364 w 472408"/>
                <a:gd name="connsiteY3" fmla="*/ 10217 h 616235"/>
                <a:gd name="connsiteX4" fmla="*/ 459856 w 472408"/>
                <a:gd name="connsiteY4" fmla="*/ 40759 h 616235"/>
                <a:gd name="connsiteX5" fmla="*/ 422974 w 472408"/>
                <a:gd name="connsiteY5" fmla="*/ 122302 h 616235"/>
                <a:gd name="connsiteX6" fmla="*/ 426432 w 472408"/>
                <a:gd name="connsiteY6" fmla="*/ 297778 h 616235"/>
                <a:gd name="connsiteX7" fmla="*/ 426432 w 472408"/>
                <a:gd name="connsiteY7" fmla="*/ 378168 h 616235"/>
                <a:gd name="connsiteX8" fmla="*/ 388974 w 472408"/>
                <a:gd name="connsiteY8" fmla="*/ 318812 h 616235"/>
                <a:gd name="connsiteX9" fmla="*/ 383788 w 472408"/>
                <a:gd name="connsiteY9" fmla="*/ 297490 h 616235"/>
                <a:gd name="connsiteX10" fmla="*/ 380618 w 472408"/>
                <a:gd name="connsiteY10" fmla="*/ 132675 h 616235"/>
                <a:gd name="connsiteX11" fmla="*/ 369957 w 472408"/>
                <a:gd name="connsiteY11" fmla="*/ 95793 h 616235"/>
                <a:gd name="connsiteX12" fmla="*/ 333364 w 472408"/>
                <a:gd name="connsiteY12" fmla="*/ 79946 h 616235"/>
                <a:gd name="connsiteX13" fmla="*/ 314059 w 472408"/>
                <a:gd name="connsiteY13" fmla="*/ 72166 h 616235"/>
                <a:gd name="connsiteX14" fmla="*/ 316940 w 472408"/>
                <a:gd name="connsiteY14" fmla="*/ 41624 h 616235"/>
                <a:gd name="connsiteX15" fmla="*/ 340279 w 472408"/>
                <a:gd name="connsiteY15" fmla="*/ 30674 h 616235"/>
                <a:gd name="connsiteX16" fmla="*/ 101162 w 472408"/>
                <a:gd name="connsiteY16" fmla="*/ 97126 h 616235"/>
                <a:gd name="connsiteX17" fmla="*/ 114091 w 472408"/>
                <a:gd name="connsiteY17" fmla="*/ 93777 h 616235"/>
                <a:gd name="connsiteX18" fmla="*/ 150974 w 472408"/>
                <a:gd name="connsiteY18" fmla="*/ 82828 h 616235"/>
                <a:gd name="connsiteX19" fmla="*/ 227330 w 472408"/>
                <a:gd name="connsiteY19" fmla="*/ 61217 h 616235"/>
                <a:gd name="connsiteX20" fmla="*/ 256720 w 472408"/>
                <a:gd name="connsiteY20" fmla="*/ 71014 h 616235"/>
                <a:gd name="connsiteX21" fmla="*/ 253550 w 472408"/>
                <a:gd name="connsiteY21" fmla="*/ 104150 h 616235"/>
                <a:gd name="connsiteX22" fmla="*/ 251246 w 472408"/>
                <a:gd name="connsiteY22" fmla="*/ 150252 h 616235"/>
                <a:gd name="connsiteX23" fmla="*/ 358145 w 472408"/>
                <a:gd name="connsiteY23" fmla="*/ 319677 h 616235"/>
                <a:gd name="connsiteX24" fmla="*/ 364196 w 472408"/>
                <a:gd name="connsiteY24" fmla="*/ 333507 h 616235"/>
                <a:gd name="connsiteX25" fmla="*/ 423264 w 472408"/>
                <a:gd name="connsiteY25" fmla="*/ 427728 h 616235"/>
                <a:gd name="connsiteX26" fmla="*/ 429026 w 472408"/>
                <a:gd name="connsiteY26" fmla="*/ 446457 h 616235"/>
                <a:gd name="connsiteX27" fmla="*/ 431043 w 472408"/>
                <a:gd name="connsiteY27" fmla="*/ 518780 h 616235"/>
                <a:gd name="connsiteX28" fmla="*/ 431620 w 472408"/>
                <a:gd name="connsiteY28" fmla="*/ 574390 h 616235"/>
                <a:gd name="connsiteX29" fmla="*/ 421246 w 472408"/>
                <a:gd name="connsiteY29" fmla="*/ 587644 h 616235"/>
                <a:gd name="connsiteX30" fmla="*/ 401077 w 472408"/>
                <a:gd name="connsiteY30" fmla="*/ 593695 h 616235"/>
                <a:gd name="connsiteX31" fmla="*/ 399060 w 472408"/>
                <a:gd name="connsiteY31" fmla="*/ 596577 h 616235"/>
                <a:gd name="connsiteX32" fmla="*/ 334229 w 472408"/>
                <a:gd name="connsiteY32" fmla="*/ 615882 h 616235"/>
                <a:gd name="connsiteX33" fmla="*/ 320111 w 472408"/>
                <a:gd name="connsiteY33" fmla="*/ 607526 h 616235"/>
                <a:gd name="connsiteX34" fmla="*/ 294466 w 472408"/>
                <a:gd name="connsiteY34" fmla="*/ 566322 h 616235"/>
                <a:gd name="connsiteX35" fmla="*/ 184974 w 472408"/>
                <a:gd name="connsiteY35" fmla="*/ 398914 h 616235"/>
                <a:gd name="connsiteX36" fmla="*/ 181516 w 472408"/>
                <a:gd name="connsiteY36" fmla="*/ 390558 h 616235"/>
                <a:gd name="connsiteX37" fmla="*/ 89313 w 472408"/>
                <a:gd name="connsiteY37" fmla="*/ 247066 h 616235"/>
                <a:gd name="connsiteX38" fmla="*/ 56177 w 472408"/>
                <a:gd name="connsiteY38" fmla="*/ 195201 h 616235"/>
                <a:gd name="connsiteX39" fmla="*/ 19583 w 472408"/>
                <a:gd name="connsiteY39" fmla="*/ 170133 h 616235"/>
                <a:gd name="connsiteX40" fmla="*/ 1431 w 472408"/>
                <a:gd name="connsiteY40" fmla="*/ 155438 h 616235"/>
                <a:gd name="connsiteX41" fmla="*/ 7769 w 472408"/>
                <a:gd name="connsiteY41" fmla="*/ 133828 h 616235"/>
                <a:gd name="connsiteX42" fmla="*/ 68278 w 472408"/>
                <a:gd name="connsiteY42" fmla="*/ 110201 h 616235"/>
                <a:gd name="connsiteX43" fmla="*/ 89313 w 472408"/>
                <a:gd name="connsiteY43" fmla="*/ 103285 h 616235"/>
                <a:gd name="connsiteX44" fmla="*/ 101162 w 472408"/>
                <a:gd name="connsiteY44" fmla="*/ 97126 h 61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72408" h="616235">
                  <a:moveTo>
                    <a:pt x="340279" y="30674"/>
                  </a:moveTo>
                  <a:cubicBezTo>
                    <a:pt x="371974" y="21454"/>
                    <a:pt x="403669" y="11945"/>
                    <a:pt x="435653" y="2725"/>
                  </a:cubicBezTo>
                  <a:cubicBezTo>
                    <a:pt x="437093" y="2149"/>
                    <a:pt x="438534" y="1573"/>
                    <a:pt x="440263" y="1284"/>
                  </a:cubicBezTo>
                  <a:cubicBezTo>
                    <a:pt x="455534" y="-1885"/>
                    <a:pt x="464466" y="708"/>
                    <a:pt x="469364" y="10217"/>
                  </a:cubicBezTo>
                  <a:cubicBezTo>
                    <a:pt x="475127" y="21454"/>
                    <a:pt x="473110" y="31251"/>
                    <a:pt x="459856" y="40759"/>
                  </a:cubicBezTo>
                  <a:cubicBezTo>
                    <a:pt x="431330" y="60929"/>
                    <a:pt x="422398" y="89743"/>
                    <a:pt x="422974" y="122302"/>
                  </a:cubicBezTo>
                  <a:cubicBezTo>
                    <a:pt x="423839" y="180794"/>
                    <a:pt x="425279" y="239286"/>
                    <a:pt x="426432" y="297778"/>
                  </a:cubicBezTo>
                  <a:cubicBezTo>
                    <a:pt x="426432" y="323998"/>
                    <a:pt x="426432" y="350219"/>
                    <a:pt x="426432" y="378168"/>
                  </a:cubicBezTo>
                  <a:cubicBezTo>
                    <a:pt x="413754" y="357998"/>
                    <a:pt x="401364" y="338405"/>
                    <a:pt x="388974" y="318812"/>
                  </a:cubicBezTo>
                  <a:cubicBezTo>
                    <a:pt x="384652" y="312185"/>
                    <a:pt x="384076" y="304981"/>
                    <a:pt x="383788" y="297490"/>
                  </a:cubicBezTo>
                  <a:cubicBezTo>
                    <a:pt x="382923" y="242455"/>
                    <a:pt x="381771" y="187709"/>
                    <a:pt x="380618" y="132675"/>
                  </a:cubicBezTo>
                  <a:cubicBezTo>
                    <a:pt x="380330" y="119421"/>
                    <a:pt x="377449" y="106743"/>
                    <a:pt x="369957" y="95793"/>
                  </a:cubicBezTo>
                  <a:cubicBezTo>
                    <a:pt x="361313" y="82827"/>
                    <a:pt x="347482" y="80810"/>
                    <a:pt x="333364" y="79946"/>
                  </a:cubicBezTo>
                  <a:cubicBezTo>
                    <a:pt x="326160" y="79370"/>
                    <a:pt x="319245" y="78217"/>
                    <a:pt x="314059" y="72166"/>
                  </a:cubicBezTo>
                  <a:cubicBezTo>
                    <a:pt x="306279" y="62946"/>
                    <a:pt x="307431" y="49403"/>
                    <a:pt x="316940" y="41624"/>
                  </a:cubicBezTo>
                  <a:cubicBezTo>
                    <a:pt x="323855" y="35861"/>
                    <a:pt x="331923" y="33268"/>
                    <a:pt x="340279" y="30674"/>
                  </a:cubicBezTo>
                  <a:close/>
                  <a:moveTo>
                    <a:pt x="101162" y="97126"/>
                  </a:moveTo>
                  <a:cubicBezTo>
                    <a:pt x="105447" y="95938"/>
                    <a:pt x="109914" y="95218"/>
                    <a:pt x="114091" y="93777"/>
                  </a:cubicBezTo>
                  <a:cubicBezTo>
                    <a:pt x="126194" y="89743"/>
                    <a:pt x="138583" y="85997"/>
                    <a:pt x="150974" y="82828"/>
                  </a:cubicBezTo>
                  <a:cubicBezTo>
                    <a:pt x="176329" y="75624"/>
                    <a:pt x="201397" y="66692"/>
                    <a:pt x="227330" y="61217"/>
                  </a:cubicBezTo>
                  <a:cubicBezTo>
                    <a:pt x="239143" y="58624"/>
                    <a:pt x="249517" y="60641"/>
                    <a:pt x="256720" y="71014"/>
                  </a:cubicBezTo>
                  <a:cubicBezTo>
                    <a:pt x="263059" y="79946"/>
                    <a:pt x="261331" y="93777"/>
                    <a:pt x="253550" y="104150"/>
                  </a:cubicBezTo>
                  <a:cubicBezTo>
                    <a:pt x="237991" y="124608"/>
                    <a:pt x="237415" y="128353"/>
                    <a:pt x="251246" y="150252"/>
                  </a:cubicBezTo>
                  <a:cubicBezTo>
                    <a:pt x="286686" y="206727"/>
                    <a:pt x="322416" y="263202"/>
                    <a:pt x="358145" y="319677"/>
                  </a:cubicBezTo>
                  <a:cubicBezTo>
                    <a:pt x="361026" y="323999"/>
                    <a:pt x="363907" y="328321"/>
                    <a:pt x="364196" y="333507"/>
                  </a:cubicBezTo>
                  <a:cubicBezTo>
                    <a:pt x="383789" y="364914"/>
                    <a:pt x="403382" y="396609"/>
                    <a:pt x="423264" y="427728"/>
                  </a:cubicBezTo>
                  <a:cubicBezTo>
                    <a:pt x="427010" y="433491"/>
                    <a:pt x="428738" y="439254"/>
                    <a:pt x="429026" y="446457"/>
                  </a:cubicBezTo>
                  <a:cubicBezTo>
                    <a:pt x="429314" y="470661"/>
                    <a:pt x="428162" y="494576"/>
                    <a:pt x="431043" y="518780"/>
                  </a:cubicBezTo>
                  <a:cubicBezTo>
                    <a:pt x="431042" y="537220"/>
                    <a:pt x="430466" y="555949"/>
                    <a:pt x="431620" y="574390"/>
                  </a:cubicBezTo>
                  <a:cubicBezTo>
                    <a:pt x="432196" y="583322"/>
                    <a:pt x="428737" y="585916"/>
                    <a:pt x="421246" y="587644"/>
                  </a:cubicBezTo>
                  <a:cubicBezTo>
                    <a:pt x="414332" y="589085"/>
                    <a:pt x="407704" y="591678"/>
                    <a:pt x="401077" y="593695"/>
                  </a:cubicBezTo>
                  <a:cubicBezTo>
                    <a:pt x="400789" y="594848"/>
                    <a:pt x="400213" y="596000"/>
                    <a:pt x="399060" y="596577"/>
                  </a:cubicBezTo>
                  <a:cubicBezTo>
                    <a:pt x="377738" y="604068"/>
                    <a:pt x="356127" y="610119"/>
                    <a:pt x="334229" y="615882"/>
                  </a:cubicBezTo>
                  <a:cubicBezTo>
                    <a:pt x="327313" y="617611"/>
                    <a:pt x="323279" y="612712"/>
                    <a:pt x="320111" y="607526"/>
                  </a:cubicBezTo>
                  <a:cubicBezTo>
                    <a:pt x="311466" y="593695"/>
                    <a:pt x="301958" y="580729"/>
                    <a:pt x="294466" y="566322"/>
                  </a:cubicBezTo>
                  <a:cubicBezTo>
                    <a:pt x="256719" y="511288"/>
                    <a:pt x="222144" y="454525"/>
                    <a:pt x="184974" y="398914"/>
                  </a:cubicBezTo>
                  <a:cubicBezTo>
                    <a:pt x="182381" y="396609"/>
                    <a:pt x="180652" y="394016"/>
                    <a:pt x="181516" y="390558"/>
                  </a:cubicBezTo>
                  <a:cubicBezTo>
                    <a:pt x="150686" y="342728"/>
                    <a:pt x="120143" y="294897"/>
                    <a:pt x="89313" y="247066"/>
                  </a:cubicBezTo>
                  <a:cubicBezTo>
                    <a:pt x="78074" y="229778"/>
                    <a:pt x="65973" y="213066"/>
                    <a:pt x="56177" y="195201"/>
                  </a:cubicBezTo>
                  <a:cubicBezTo>
                    <a:pt x="47820" y="179930"/>
                    <a:pt x="37448" y="170133"/>
                    <a:pt x="19583" y="170133"/>
                  </a:cubicBezTo>
                  <a:cubicBezTo>
                    <a:pt x="8922" y="170710"/>
                    <a:pt x="4024" y="164082"/>
                    <a:pt x="1431" y="155438"/>
                  </a:cubicBezTo>
                  <a:cubicBezTo>
                    <a:pt x="-1163" y="147082"/>
                    <a:pt x="-875" y="139014"/>
                    <a:pt x="7769" y="133828"/>
                  </a:cubicBezTo>
                  <a:cubicBezTo>
                    <a:pt x="25633" y="119709"/>
                    <a:pt x="47821" y="117404"/>
                    <a:pt x="68278" y="110201"/>
                  </a:cubicBezTo>
                  <a:cubicBezTo>
                    <a:pt x="75194" y="107896"/>
                    <a:pt x="82108" y="105591"/>
                    <a:pt x="89313" y="103285"/>
                  </a:cubicBezTo>
                  <a:cubicBezTo>
                    <a:pt x="92770" y="99972"/>
                    <a:pt x="96876" y="98315"/>
                    <a:pt x="101162" y="97126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438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8550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9F641F91-25A9-4FA6-A3C2-13007BB4132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52406" y="0"/>
            <a:ext cx="9939595" cy="6858000"/>
          </a:xfrm>
          <a:custGeom>
            <a:avLst/>
            <a:gdLst>
              <a:gd name="connsiteX0" fmla="*/ 2596922 w 9939595"/>
              <a:gd name="connsiteY0" fmla="*/ 0 h 6858000"/>
              <a:gd name="connsiteX1" fmla="*/ 9939595 w 9939595"/>
              <a:gd name="connsiteY1" fmla="*/ 0 h 6858000"/>
              <a:gd name="connsiteX2" fmla="*/ 9939595 w 9939595"/>
              <a:gd name="connsiteY2" fmla="*/ 6858000 h 6858000"/>
              <a:gd name="connsiteX3" fmla="*/ 0 w 993959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39595" h="6858000">
                <a:moveTo>
                  <a:pt x="2596922" y="0"/>
                </a:moveTo>
                <a:lnTo>
                  <a:pt x="9939595" y="0"/>
                </a:lnTo>
                <a:lnTo>
                  <a:pt x="993959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257797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39995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31EAEB9F-11FD-4A38-A858-5235F8507B4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8638" y="551833"/>
            <a:ext cx="5317686" cy="41855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A2337EED-6D2F-4724-A299-87463BE1290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45676" y="2134199"/>
            <a:ext cx="5317686" cy="41855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034570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19393502-3B0A-4617-8940-13A1621386DB}"/>
              </a:ext>
            </a:extLst>
          </p:cNvPr>
          <p:cNvGrpSpPr/>
          <p:nvPr userDrawn="1"/>
        </p:nvGrpSpPr>
        <p:grpSpPr>
          <a:xfrm>
            <a:off x="354283" y="367027"/>
            <a:ext cx="11483434" cy="6123946"/>
            <a:chOff x="385763" y="417483"/>
            <a:chExt cx="11483434" cy="612394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9498825A-73CE-480A-98B7-146B8CA1EDA1}"/>
                </a:ext>
              </a:extLst>
            </p:cNvPr>
            <p:cNvSpPr/>
            <p:nvPr/>
          </p:nvSpPr>
          <p:spPr>
            <a:xfrm>
              <a:off x="507673" y="5706198"/>
              <a:ext cx="2431179" cy="711464"/>
            </a:xfrm>
            <a:custGeom>
              <a:avLst/>
              <a:gdLst>
                <a:gd name="connsiteX0" fmla="*/ 1869917 w 2431179"/>
                <a:gd name="connsiteY0" fmla="*/ 657156 h 711464"/>
                <a:gd name="connsiteX1" fmla="*/ 1858596 w 2431179"/>
                <a:gd name="connsiteY1" fmla="*/ 661322 h 711464"/>
                <a:gd name="connsiteX2" fmla="*/ 1882488 w 2431179"/>
                <a:gd name="connsiteY2" fmla="*/ 659655 h 711464"/>
                <a:gd name="connsiteX3" fmla="*/ 1869917 w 2431179"/>
                <a:gd name="connsiteY3" fmla="*/ 657156 h 711464"/>
                <a:gd name="connsiteX4" fmla="*/ 2188629 w 2431179"/>
                <a:gd name="connsiteY4" fmla="*/ 636318 h 711464"/>
                <a:gd name="connsiteX5" fmla="*/ 2186959 w 2431179"/>
                <a:gd name="connsiteY5" fmla="*/ 659655 h 711464"/>
                <a:gd name="connsiteX6" fmla="*/ 2189739 w 2431179"/>
                <a:gd name="connsiteY6" fmla="*/ 682991 h 711464"/>
                <a:gd name="connsiteX7" fmla="*/ 2204740 w 2431179"/>
                <a:gd name="connsiteY7" fmla="*/ 679101 h 711464"/>
                <a:gd name="connsiteX8" fmla="*/ 2216409 w 2431179"/>
                <a:gd name="connsiteY8" fmla="*/ 649099 h 711464"/>
                <a:gd name="connsiteX9" fmla="*/ 2188629 w 2431179"/>
                <a:gd name="connsiteY9" fmla="*/ 636318 h 711464"/>
                <a:gd name="connsiteX10" fmla="*/ 22634 w 2431179"/>
                <a:gd name="connsiteY10" fmla="*/ 445799 h 711464"/>
                <a:gd name="connsiteX11" fmla="*/ 17313 w 2431179"/>
                <a:gd name="connsiteY11" fmla="*/ 446302 h 711464"/>
                <a:gd name="connsiteX12" fmla="*/ 14535 w 2431179"/>
                <a:gd name="connsiteY12" fmla="*/ 485750 h 711464"/>
                <a:gd name="connsiteX13" fmla="*/ 32869 w 2431179"/>
                <a:gd name="connsiteY13" fmla="*/ 464081 h 711464"/>
                <a:gd name="connsiteX14" fmla="*/ 22634 w 2431179"/>
                <a:gd name="connsiteY14" fmla="*/ 445799 h 711464"/>
                <a:gd name="connsiteX15" fmla="*/ 89 w 2431179"/>
                <a:gd name="connsiteY15" fmla="*/ 0 h 711464"/>
                <a:gd name="connsiteX16" fmla="*/ 85098 w 2431179"/>
                <a:gd name="connsiteY16" fmla="*/ 0 h 711464"/>
                <a:gd name="connsiteX17" fmla="*/ 85098 w 2431179"/>
                <a:gd name="connsiteY17" fmla="*/ 508529 h 711464"/>
                <a:gd name="connsiteX18" fmla="*/ 202331 w 2431179"/>
                <a:gd name="connsiteY18" fmla="*/ 624095 h 711464"/>
                <a:gd name="connsiteX19" fmla="*/ 522916 w 2431179"/>
                <a:gd name="connsiteY19" fmla="*/ 622429 h 711464"/>
                <a:gd name="connsiteX20" fmla="*/ 585700 w 2431179"/>
                <a:gd name="connsiteY20" fmla="*/ 646319 h 711464"/>
                <a:gd name="connsiteX21" fmla="*/ 590145 w 2431179"/>
                <a:gd name="connsiteY21" fmla="*/ 625207 h 711464"/>
                <a:gd name="connsiteX22" fmla="*/ 634593 w 2431179"/>
                <a:gd name="connsiteY22" fmla="*/ 624652 h 711464"/>
                <a:gd name="connsiteX23" fmla="*/ 657928 w 2431179"/>
                <a:gd name="connsiteY23" fmla="*/ 637431 h 711464"/>
                <a:gd name="connsiteX24" fmla="*/ 677374 w 2431179"/>
                <a:gd name="connsiteY24" fmla="*/ 680211 h 711464"/>
                <a:gd name="connsiteX25" fmla="*/ 691820 w 2431179"/>
                <a:gd name="connsiteY25" fmla="*/ 688547 h 711464"/>
                <a:gd name="connsiteX26" fmla="*/ 696265 w 2431179"/>
                <a:gd name="connsiteY26" fmla="*/ 675211 h 711464"/>
                <a:gd name="connsiteX27" fmla="*/ 706821 w 2431179"/>
                <a:gd name="connsiteY27" fmla="*/ 662432 h 711464"/>
                <a:gd name="connsiteX28" fmla="*/ 745714 w 2431179"/>
                <a:gd name="connsiteY28" fmla="*/ 635763 h 711464"/>
                <a:gd name="connsiteX29" fmla="*/ 774051 w 2431179"/>
                <a:gd name="connsiteY29" fmla="*/ 622985 h 711464"/>
                <a:gd name="connsiteX30" fmla="*/ 1352994 w 2431179"/>
                <a:gd name="connsiteY30" fmla="*/ 623540 h 711464"/>
                <a:gd name="connsiteX31" fmla="*/ 1377440 w 2431179"/>
                <a:gd name="connsiteY31" fmla="*/ 639653 h 711464"/>
                <a:gd name="connsiteX32" fmla="*/ 1396331 w 2431179"/>
                <a:gd name="connsiteY32" fmla="*/ 636318 h 711464"/>
                <a:gd name="connsiteX33" fmla="*/ 1420778 w 2431179"/>
                <a:gd name="connsiteY33" fmla="*/ 623540 h 711464"/>
                <a:gd name="connsiteX34" fmla="*/ 1635243 w 2431179"/>
                <a:gd name="connsiteY34" fmla="*/ 624095 h 711464"/>
                <a:gd name="connsiteX35" fmla="*/ 1644132 w 2431179"/>
                <a:gd name="connsiteY35" fmla="*/ 641319 h 711464"/>
                <a:gd name="connsiteX36" fmla="*/ 1661355 w 2431179"/>
                <a:gd name="connsiteY36" fmla="*/ 626318 h 711464"/>
                <a:gd name="connsiteX37" fmla="*/ 1679134 w 2431179"/>
                <a:gd name="connsiteY37" fmla="*/ 646876 h 711464"/>
                <a:gd name="connsiteX38" fmla="*/ 1708026 w 2431179"/>
                <a:gd name="connsiteY38" fmla="*/ 623540 h 711464"/>
                <a:gd name="connsiteX39" fmla="*/ 1817483 w 2431179"/>
                <a:gd name="connsiteY39" fmla="*/ 624095 h 711464"/>
                <a:gd name="connsiteX40" fmla="*/ 1835817 w 2431179"/>
                <a:gd name="connsiteY40" fmla="*/ 638541 h 711464"/>
                <a:gd name="connsiteX41" fmla="*/ 1853041 w 2431179"/>
                <a:gd name="connsiteY41" fmla="*/ 659100 h 711464"/>
                <a:gd name="connsiteX42" fmla="*/ 1851373 w 2431179"/>
                <a:gd name="connsiteY42" fmla="*/ 624095 h 711464"/>
                <a:gd name="connsiteX43" fmla="*/ 1940827 w 2431179"/>
                <a:gd name="connsiteY43" fmla="*/ 632430 h 711464"/>
                <a:gd name="connsiteX44" fmla="*/ 1966941 w 2431179"/>
                <a:gd name="connsiteY44" fmla="*/ 630208 h 711464"/>
                <a:gd name="connsiteX45" fmla="*/ 1989720 w 2431179"/>
                <a:gd name="connsiteY45" fmla="*/ 623540 h 711464"/>
                <a:gd name="connsiteX46" fmla="*/ 2412537 w 2431179"/>
                <a:gd name="connsiteY46" fmla="*/ 622985 h 711464"/>
                <a:gd name="connsiteX47" fmla="*/ 2430873 w 2431179"/>
                <a:gd name="connsiteY47" fmla="*/ 642431 h 711464"/>
                <a:gd name="connsiteX48" fmla="*/ 2364754 w 2431179"/>
                <a:gd name="connsiteY48" fmla="*/ 709103 h 711464"/>
                <a:gd name="connsiteX49" fmla="*/ 2060283 w 2431179"/>
                <a:gd name="connsiteY49" fmla="*/ 709103 h 711464"/>
                <a:gd name="connsiteX50" fmla="*/ 2018612 w 2431179"/>
                <a:gd name="connsiteY50" fmla="*/ 664100 h 711464"/>
                <a:gd name="connsiteX51" fmla="*/ 2015833 w 2431179"/>
                <a:gd name="connsiteY51" fmla="*/ 653542 h 711464"/>
                <a:gd name="connsiteX52" fmla="*/ 2011944 w 2431179"/>
                <a:gd name="connsiteY52" fmla="*/ 662432 h 711464"/>
                <a:gd name="connsiteX53" fmla="*/ 2008612 w 2431179"/>
                <a:gd name="connsiteY53" fmla="*/ 677434 h 711464"/>
                <a:gd name="connsiteX54" fmla="*/ 1999166 w 2431179"/>
                <a:gd name="connsiteY54" fmla="*/ 669100 h 711464"/>
                <a:gd name="connsiteX55" fmla="*/ 1981387 w 2431179"/>
                <a:gd name="connsiteY55" fmla="*/ 679656 h 711464"/>
                <a:gd name="connsiteX56" fmla="*/ 1976942 w 2431179"/>
                <a:gd name="connsiteY56" fmla="*/ 697435 h 711464"/>
                <a:gd name="connsiteX57" fmla="*/ 1971384 w 2431179"/>
                <a:gd name="connsiteY57" fmla="*/ 704103 h 711464"/>
                <a:gd name="connsiteX58" fmla="*/ 1965274 w 2431179"/>
                <a:gd name="connsiteY58" fmla="*/ 700215 h 711464"/>
                <a:gd name="connsiteX59" fmla="*/ 1937494 w 2431179"/>
                <a:gd name="connsiteY59" fmla="*/ 694657 h 711464"/>
                <a:gd name="connsiteX60" fmla="*/ 1867487 w 2431179"/>
                <a:gd name="connsiteY60" fmla="*/ 709103 h 711464"/>
                <a:gd name="connsiteX61" fmla="*/ 1715249 w 2431179"/>
                <a:gd name="connsiteY61" fmla="*/ 708548 h 711464"/>
                <a:gd name="connsiteX62" fmla="*/ 1698580 w 2431179"/>
                <a:gd name="connsiteY62" fmla="*/ 695212 h 711464"/>
                <a:gd name="connsiteX63" fmla="*/ 1690247 w 2431179"/>
                <a:gd name="connsiteY63" fmla="*/ 689657 h 711464"/>
                <a:gd name="connsiteX64" fmla="*/ 1626353 w 2431179"/>
                <a:gd name="connsiteY64" fmla="*/ 698547 h 711464"/>
                <a:gd name="connsiteX65" fmla="*/ 1337437 w 2431179"/>
                <a:gd name="connsiteY65" fmla="*/ 708548 h 711464"/>
                <a:gd name="connsiteX66" fmla="*/ 1045742 w 2431179"/>
                <a:gd name="connsiteY66" fmla="*/ 709103 h 711464"/>
                <a:gd name="connsiteX67" fmla="*/ 1006295 w 2431179"/>
                <a:gd name="connsiteY67" fmla="*/ 703548 h 711464"/>
                <a:gd name="connsiteX68" fmla="*/ 971292 w 2431179"/>
                <a:gd name="connsiteY68" fmla="*/ 709660 h 711464"/>
                <a:gd name="connsiteX69" fmla="*/ 796275 w 2431179"/>
                <a:gd name="connsiteY69" fmla="*/ 709103 h 711464"/>
                <a:gd name="connsiteX70" fmla="*/ 755715 w 2431179"/>
                <a:gd name="connsiteY70" fmla="*/ 694657 h 711464"/>
                <a:gd name="connsiteX71" fmla="*/ 740714 w 2431179"/>
                <a:gd name="connsiteY71" fmla="*/ 693547 h 711464"/>
                <a:gd name="connsiteX72" fmla="*/ 706821 w 2431179"/>
                <a:gd name="connsiteY72" fmla="*/ 708548 h 711464"/>
                <a:gd name="connsiteX73" fmla="*/ 191775 w 2431179"/>
                <a:gd name="connsiteY73" fmla="*/ 709103 h 711464"/>
                <a:gd name="connsiteX74" fmla="*/ 1200 w 2431179"/>
                <a:gd name="connsiteY74" fmla="*/ 563535 h 711464"/>
                <a:gd name="connsiteX75" fmla="*/ 89 w 2431179"/>
                <a:gd name="connsiteY75" fmla="*/ 540754 h 71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431179" h="711464">
                  <a:moveTo>
                    <a:pt x="1869917" y="657156"/>
                  </a:moveTo>
                  <a:cubicBezTo>
                    <a:pt x="1865959" y="658544"/>
                    <a:pt x="1862208" y="661044"/>
                    <a:pt x="1858596" y="661322"/>
                  </a:cubicBezTo>
                  <a:cubicBezTo>
                    <a:pt x="1865819" y="664100"/>
                    <a:pt x="1873598" y="664100"/>
                    <a:pt x="1882488" y="659655"/>
                  </a:cubicBezTo>
                  <a:cubicBezTo>
                    <a:pt x="1878043" y="655488"/>
                    <a:pt x="1873876" y="655765"/>
                    <a:pt x="1869917" y="657156"/>
                  </a:cubicBezTo>
                  <a:close/>
                  <a:moveTo>
                    <a:pt x="2188629" y="636318"/>
                  </a:moveTo>
                  <a:cubicBezTo>
                    <a:pt x="2174738" y="640764"/>
                    <a:pt x="2186406" y="651877"/>
                    <a:pt x="2186959" y="659655"/>
                  </a:cubicBezTo>
                  <a:cubicBezTo>
                    <a:pt x="2188072" y="667433"/>
                    <a:pt x="2188629" y="675768"/>
                    <a:pt x="2189739" y="682991"/>
                  </a:cubicBezTo>
                  <a:cubicBezTo>
                    <a:pt x="2196407" y="685214"/>
                    <a:pt x="2200295" y="680211"/>
                    <a:pt x="2204740" y="679101"/>
                  </a:cubicBezTo>
                  <a:cubicBezTo>
                    <a:pt x="2226409" y="672988"/>
                    <a:pt x="2230299" y="665765"/>
                    <a:pt x="2216409" y="649099"/>
                  </a:cubicBezTo>
                  <a:cubicBezTo>
                    <a:pt x="2209741" y="641319"/>
                    <a:pt x="2198628" y="632985"/>
                    <a:pt x="2188629" y="636318"/>
                  </a:cubicBezTo>
                  <a:close/>
                  <a:moveTo>
                    <a:pt x="22634" y="445799"/>
                  </a:moveTo>
                  <a:cubicBezTo>
                    <a:pt x="21029" y="444913"/>
                    <a:pt x="19258" y="444913"/>
                    <a:pt x="17313" y="446302"/>
                  </a:cubicBezTo>
                  <a:cubicBezTo>
                    <a:pt x="6200" y="454635"/>
                    <a:pt x="14535" y="470749"/>
                    <a:pt x="14535" y="485750"/>
                  </a:cubicBezTo>
                  <a:cubicBezTo>
                    <a:pt x="23424" y="478527"/>
                    <a:pt x="40092" y="479637"/>
                    <a:pt x="32869" y="464081"/>
                  </a:cubicBezTo>
                  <a:cubicBezTo>
                    <a:pt x="30786" y="459080"/>
                    <a:pt x="27452" y="448455"/>
                    <a:pt x="22634" y="445799"/>
                  </a:cubicBezTo>
                  <a:close/>
                  <a:moveTo>
                    <a:pt x="89" y="0"/>
                  </a:moveTo>
                  <a:lnTo>
                    <a:pt x="85098" y="0"/>
                  </a:lnTo>
                  <a:lnTo>
                    <a:pt x="85098" y="508529"/>
                  </a:lnTo>
                  <a:cubicBezTo>
                    <a:pt x="85653" y="579647"/>
                    <a:pt x="130101" y="624095"/>
                    <a:pt x="202331" y="624095"/>
                  </a:cubicBezTo>
                  <a:cubicBezTo>
                    <a:pt x="309006" y="624095"/>
                    <a:pt x="416239" y="625207"/>
                    <a:pt x="522916" y="622429"/>
                  </a:cubicBezTo>
                  <a:cubicBezTo>
                    <a:pt x="549585" y="621872"/>
                    <a:pt x="566809" y="633541"/>
                    <a:pt x="585700" y="646319"/>
                  </a:cubicBezTo>
                  <a:cubicBezTo>
                    <a:pt x="592923" y="639653"/>
                    <a:pt x="583478" y="632430"/>
                    <a:pt x="590145" y="625207"/>
                  </a:cubicBezTo>
                  <a:cubicBezTo>
                    <a:pt x="606257" y="659655"/>
                    <a:pt x="619035" y="630763"/>
                    <a:pt x="634593" y="624652"/>
                  </a:cubicBezTo>
                  <a:cubicBezTo>
                    <a:pt x="643482" y="621317"/>
                    <a:pt x="657373" y="624652"/>
                    <a:pt x="657928" y="637431"/>
                  </a:cubicBezTo>
                  <a:cubicBezTo>
                    <a:pt x="658485" y="655209"/>
                    <a:pt x="674041" y="664655"/>
                    <a:pt x="677374" y="680211"/>
                  </a:cubicBezTo>
                  <a:cubicBezTo>
                    <a:pt x="679042" y="688547"/>
                    <a:pt x="683487" y="690212"/>
                    <a:pt x="691820" y="688547"/>
                  </a:cubicBezTo>
                  <a:cubicBezTo>
                    <a:pt x="702376" y="686324"/>
                    <a:pt x="699598" y="682434"/>
                    <a:pt x="696265" y="675211"/>
                  </a:cubicBezTo>
                  <a:cubicBezTo>
                    <a:pt x="692375" y="666323"/>
                    <a:pt x="699598" y="664655"/>
                    <a:pt x="706821" y="662432"/>
                  </a:cubicBezTo>
                  <a:cubicBezTo>
                    <a:pt x="722380" y="657987"/>
                    <a:pt x="739603" y="656877"/>
                    <a:pt x="745714" y="635763"/>
                  </a:cubicBezTo>
                  <a:cubicBezTo>
                    <a:pt x="748492" y="625207"/>
                    <a:pt x="762383" y="622985"/>
                    <a:pt x="774051" y="622985"/>
                  </a:cubicBezTo>
                  <a:cubicBezTo>
                    <a:pt x="966847" y="622985"/>
                    <a:pt x="1160198" y="622985"/>
                    <a:pt x="1352994" y="623540"/>
                  </a:cubicBezTo>
                  <a:cubicBezTo>
                    <a:pt x="1361884" y="624095"/>
                    <a:pt x="1377995" y="617429"/>
                    <a:pt x="1377440" y="639653"/>
                  </a:cubicBezTo>
                  <a:cubicBezTo>
                    <a:pt x="1376885" y="647431"/>
                    <a:pt x="1392441" y="644098"/>
                    <a:pt x="1396331" y="636318"/>
                  </a:cubicBezTo>
                  <a:cubicBezTo>
                    <a:pt x="1401887" y="624652"/>
                    <a:pt x="1409665" y="623540"/>
                    <a:pt x="1420778" y="623540"/>
                  </a:cubicBezTo>
                  <a:cubicBezTo>
                    <a:pt x="1492451" y="624095"/>
                    <a:pt x="1563568" y="624652"/>
                    <a:pt x="1635243" y="624095"/>
                  </a:cubicBezTo>
                  <a:cubicBezTo>
                    <a:pt x="1653577" y="624095"/>
                    <a:pt x="1634131" y="638541"/>
                    <a:pt x="1644132" y="641319"/>
                  </a:cubicBezTo>
                  <a:cubicBezTo>
                    <a:pt x="1652467" y="640208"/>
                    <a:pt x="1648577" y="626875"/>
                    <a:pt x="1661355" y="626318"/>
                  </a:cubicBezTo>
                  <a:cubicBezTo>
                    <a:pt x="1667468" y="630208"/>
                    <a:pt x="1662466" y="647986"/>
                    <a:pt x="1679134" y="646876"/>
                  </a:cubicBezTo>
                  <a:cubicBezTo>
                    <a:pt x="1676914" y="625207"/>
                    <a:pt x="1689692" y="622985"/>
                    <a:pt x="1708026" y="623540"/>
                  </a:cubicBezTo>
                  <a:cubicBezTo>
                    <a:pt x="1744698" y="625207"/>
                    <a:pt x="1780811" y="624095"/>
                    <a:pt x="1817483" y="624095"/>
                  </a:cubicBezTo>
                  <a:cubicBezTo>
                    <a:pt x="1827484" y="624095"/>
                    <a:pt x="1838040" y="620762"/>
                    <a:pt x="1835817" y="638541"/>
                  </a:cubicBezTo>
                  <a:cubicBezTo>
                    <a:pt x="1835262" y="645764"/>
                    <a:pt x="1841373" y="657432"/>
                    <a:pt x="1853041" y="659100"/>
                  </a:cubicBezTo>
                  <a:cubicBezTo>
                    <a:pt x="1848596" y="647986"/>
                    <a:pt x="1863597" y="636318"/>
                    <a:pt x="1851373" y="624095"/>
                  </a:cubicBezTo>
                  <a:cubicBezTo>
                    <a:pt x="1880820" y="639096"/>
                    <a:pt x="1912490" y="610761"/>
                    <a:pt x="1940827" y="632430"/>
                  </a:cubicBezTo>
                  <a:cubicBezTo>
                    <a:pt x="1946382" y="636318"/>
                    <a:pt x="1960273" y="638541"/>
                    <a:pt x="1966941" y="630208"/>
                  </a:cubicBezTo>
                  <a:cubicBezTo>
                    <a:pt x="1973607" y="621872"/>
                    <a:pt x="1981942" y="623540"/>
                    <a:pt x="1989720" y="623540"/>
                  </a:cubicBezTo>
                  <a:cubicBezTo>
                    <a:pt x="2130845" y="622985"/>
                    <a:pt x="2271413" y="623540"/>
                    <a:pt x="2412537" y="622985"/>
                  </a:cubicBezTo>
                  <a:cubicBezTo>
                    <a:pt x="2427538" y="622985"/>
                    <a:pt x="2432539" y="625762"/>
                    <a:pt x="2430873" y="642431"/>
                  </a:cubicBezTo>
                  <a:cubicBezTo>
                    <a:pt x="2431429" y="709103"/>
                    <a:pt x="2431984" y="709103"/>
                    <a:pt x="2364754" y="709103"/>
                  </a:cubicBezTo>
                  <a:cubicBezTo>
                    <a:pt x="2263634" y="709103"/>
                    <a:pt x="2161960" y="709103"/>
                    <a:pt x="2060283" y="709103"/>
                  </a:cubicBezTo>
                  <a:cubicBezTo>
                    <a:pt x="2030281" y="709660"/>
                    <a:pt x="2016945" y="694657"/>
                    <a:pt x="2018612" y="664100"/>
                  </a:cubicBezTo>
                  <a:cubicBezTo>
                    <a:pt x="2018612" y="660210"/>
                    <a:pt x="2025835" y="654099"/>
                    <a:pt x="2015833" y="653542"/>
                  </a:cubicBezTo>
                  <a:cubicBezTo>
                    <a:pt x="2010834" y="653542"/>
                    <a:pt x="2009167" y="657987"/>
                    <a:pt x="2011944" y="662432"/>
                  </a:cubicBezTo>
                  <a:cubicBezTo>
                    <a:pt x="2016390" y="669100"/>
                    <a:pt x="2014722" y="674656"/>
                    <a:pt x="2008612" y="677434"/>
                  </a:cubicBezTo>
                  <a:cubicBezTo>
                    <a:pt x="2000831" y="681324"/>
                    <a:pt x="2003611" y="670766"/>
                    <a:pt x="1999166" y="669100"/>
                  </a:cubicBezTo>
                  <a:cubicBezTo>
                    <a:pt x="1988610" y="665210"/>
                    <a:pt x="1976942" y="656322"/>
                    <a:pt x="1981387" y="679656"/>
                  </a:cubicBezTo>
                  <a:cubicBezTo>
                    <a:pt x="1981942" y="683546"/>
                    <a:pt x="1975830" y="690769"/>
                    <a:pt x="1976942" y="697435"/>
                  </a:cubicBezTo>
                  <a:cubicBezTo>
                    <a:pt x="1977497" y="701325"/>
                    <a:pt x="1975830" y="704658"/>
                    <a:pt x="1971384" y="704103"/>
                  </a:cubicBezTo>
                  <a:cubicBezTo>
                    <a:pt x="1969162" y="703548"/>
                    <a:pt x="1965274" y="701880"/>
                    <a:pt x="1965274" y="700215"/>
                  </a:cubicBezTo>
                  <a:cubicBezTo>
                    <a:pt x="1961386" y="671878"/>
                    <a:pt x="1944160" y="690212"/>
                    <a:pt x="1937494" y="694657"/>
                  </a:cubicBezTo>
                  <a:cubicBezTo>
                    <a:pt x="1915825" y="709660"/>
                    <a:pt x="1891934" y="709103"/>
                    <a:pt x="1867487" y="709103"/>
                  </a:cubicBezTo>
                  <a:cubicBezTo>
                    <a:pt x="1816926" y="708548"/>
                    <a:pt x="1765810" y="709103"/>
                    <a:pt x="1715249" y="708548"/>
                  </a:cubicBezTo>
                  <a:cubicBezTo>
                    <a:pt x="1708026" y="708548"/>
                    <a:pt x="1691358" y="716326"/>
                    <a:pt x="1698580" y="695212"/>
                  </a:cubicBezTo>
                  <a:cubicBezTo>
                    <a:pt x="1701915" y="685767"/>
                    <a:pt x="1694135" y="688547"/>
                    <a:pt x="1690247" y="689657"/>
                  </a:cubicBezTo>
                  <a:cubicBezTo>
                    <a:pt x="1669133" y="694657"/>
                    <a:pt x="1646354" y="693547"/>
                    <a:pt x="1626353" y="698547"/>
                  </a:cubicBezTo>
                  <a:cubicBezTo>
                    <a:pt x="1530788" y="722439"/>
                    <a:pt x="1433557" y="705215"/>
                    <a:pt x="1337437" y="708548"/>
                  </a:cubicBezTo>
                  <a:cubicBezTo>
                    <a:pt x="1240206" y="711881"/>
                    <a:pt x="1142974" y="709103"/>
                    <a:pt x="1045742" y="709103"/>
                  </a:cubicBezTo>
                  <a:cubicBezTo>
                    <a:pt x="1032409" y="709103"/>
                    <a:pt x="1017963" y="710771"/>
                    <a:pt x="1006295" y="703548"/>
                  </a:cubicBezTo>
                  <a:cubicBezTo>
                    <a:pt x="991848" y="694657"/>
                    <a:pt x="984070" y="710214"/>
                    <a:pt x="971292" y="709660"/>
                  </a:cubicBezTo>
                  <a:cubicBezTo>
                    <a:pt x="912953" y="707993"/>
                    <a:pt x="854614" y="709103"/>
                    <a:pt x="796275" y="709103"/>
                  </a:cubicBezTo>
                  <a:cubicBezTo>
                    <a:pt x="780719" y="709103"/>
                    <a:pt x="769050" y="700215"/>
                    <a:pt x="755715" y="694657"/>
                  </a:cubicBezTo>
                  <a:cubicBezTo>
                    <a:pt x="750714" y="692435"/>
                    <a:pt x="741269" y="687434"/>
                    <a:pt x="740714" y="693547"/>
                  </a:cubicBezTo>
                  <a:cubicBezTo>
                    <a:pt x="737936" y="719659"/>
                    <a:pt x="718490" y="708548"/>
                    <a:pt x="706821" y="708548"/>
                  </a:cubicBezTo>
                  <a:cubicBezTo>
                    <a:pt x="535139" y="709660"/>
                    <a:pt x="363457" y="709660"/>
                    <a:pt x="191775" y="709103"/>
                  </a:cubicBezTo>
                  <a:cubicBezTo>
                    <a:pt x="101209" y="708548"/>
                    <a:pt x="18981" y="645209"/>
                    <a:pt x="1200" y="563535"/>
                  </a:cubicBezTo>
                  <a:cubicBezTo>
                    <a:pt x="-466" y="555755"/>
                    <a:pt x="89" y="548532"/>
                    <a:pt x="89" y="540754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2CD17D29-F1E8-4B66-A407-9C953C2266FF}"/>
                </a:ext>
              </a:extLst>
            </p:cNvPr>
            <p:cNvSpPr/>
            <p:nvPr/>
          </p:nvSpPr>
          <p:spPr>
            <a:xfrm>
              <a:off x="9310320" y="5603636"/>
              <a:ext cx="2436885" cy="814026"/>
            </a:xfrm>
            <a:custGeom>
              <a:avLst/>
              <a:gdLst>
                <a:gd name="connsiteX0" fmla="*/ 1885948 w 2436885"/>
                <a:gd name="connsiteY0" fmla="*/ 779609 h 814026"/>
                <a:gd name="connsiteX1" fmla="*/ 1875946 w 2436885"/>
                <a:gd name="connsiteY1" fmla="*/ 787943 h 814026"/>
                <a:gd name="connsiteX2" fmla="*/ 1895949 w 2436885"/>
                <a:gd name="connsiteY2" fmla="*/ 807945 h 814026"/>
                <a:gd name="connsiteX3" fmla="*/ 1901505 w 2436885"/>
                <a:gd name="connsiteY3" fmla="*/ 797944 h 814026"/>
                <a:gd name="connsiteX4" fmla="*/ 1885948 w 2436885"/>
                <a:gd name="connsiteY4" fmla="*/ 779609 h 814026"/>
                <a:gd name="connsiteX5" fmla="*/ 46333 w 2436885"/>
                <a:gd name="connsiteY5" fmla="*/ 737938 h 814026"/>
                <a:gd name="connsiteX6" fmla="*/ 45778 w 2436885"/>
                <a:gd name="connsiteY6" fmla="*/ 738494 h 814026"/>
                <a:gd name="connsiteX7" fmla="*/ 45778 w 2436885"/>
                <a:gd name="connsiteY7" fmla="*/ 739049 h 814026"/>
                <a:gd name="connsiteX8" fmla="*/ 45222 w 2436885"/>
                <a:gd name="connsiteY8" fmla="*/ 739049 h 814026"/>
                <a:gd name="connsiteX9" fmla="*/ 45222 w 2436885"/>
                <a:gd name="connsiteY9" fmla="*/ 738494 h 814026"/>
                <a:gd name="connsiteX10" fmla="*/ 44667 w 2436885"/>
                <a:gd name="connsiteY10" fmla="*/ 739049 h 814026"/>
                <a:gd name="connsiteX11" fmla="*/ 49112 w 2436885"/>
                <a:gd name="connsiteY11" fmla="*/ 784609 h 814026"/>
                <a:gd name="connsiteX12" fmla="*/ 54668 w 2436885"/>
                <a:gd name="connsiteY12" fmla="*/ 787943 h 814026"/>
                <a:gd name="connsiteX13" fmla="*/ 86337 w 2436885"/>
                <a:gd name="connsiteY13" fmla="*/ 776275 h 814026"/>
                <a:gd name="connsiteX14" fmla="*/ 66891 w 2436885"/>
                <a:gd name="connsiteY14" fmla="*/ 745717 h 814026"/>
                <a:gd name="connsiteX15" fmla="*/ 47444 w 2436885"/>
                <a:gd name="connsiteY15" fmla="*/ 739049 h 814026"/>
                <a:gd name="connsiteX16" fmla="*/ 46333 w 2436885"/>
                <a:gd name="connsiteY16" fmla="*/ 737938 h 814026"/>
                <a:gd name="connsiteX17" fmla="*/ 2025404 w 2436885"/>
                <a:gd name="connsiteY17" fmla="*/ 726826 h 814026"/>
                <a:gd name="connsiteX18" fmla="*/ 2070408 w 2436885"/>
                <a:gd name="connsiteY18" fmla="*/ 738494 h 814026"/>
                <a:gd name="connsiteX19" fmla="*/ 2077632 w 2436885"/>
                <a:gd name="connsiteY19" fmla="*/ 734049 h 814026"/>
                <a:gd name="connsiteX20" fmla="*/ 2068742 w 2436885"/>
                <a:gd name="connsiteY20" fmla="*/ 728493 h 814026"/>
                <a:gd name="connsiteX21" fmla="*/ 2085966 w 2436885"/>
                <a:gd name="connsiteY21" fmla="*/ 730159 h 814026"/>
                <a:gd name="connsiteX22" fmla="*/ 2107635 w 2436885"/>
                <a:gd name="connsiteY22" fmla="*/ 733494 h 814026"/>
                <a:gd name="connsiteX23" fmla="*/ 2097078 w 2436885"/>
                <a:gd name="connsiteY23" fmla="*/ 750717 h 814026"/>
                <a:gd name="connsiteX24" fmla="*/ 2093744 w 2436885"/>
                <a:gd name="connsiteY24" fmla="*/ 759051 h 814026"/>
                <a:gd name="connsiteX25" fmla="*/ 2129304 w 2436885"/>
                <a:gd name="connsiteY25" fmla="*/ 791277 h 814026"/>
                <a:gd name="connsiteX26" fmla="*/ 2157639 w 2436885"/>
                <a:gd name="connsiteY26" fmla="*/ 813501 h 814026"/>
                <a:gd name="connsiteX27" fmla="*/ 2103190 w 2436885"/>
                <a:gd name="connsiteY27" fmla="*/ 813501 h 814026"/>
                <a:gd name="connsiteX28" fmla="*/ 1689818 w 2436885"/>
                <a:gd name="connsiteY28" fmla="*/ 813501 h 814026"/>
                <a:gd name="connsiteX29" fmla="*/ 1663149 w 2436885"/>
                <a:gd name="connsiteY29" fmla="*/ 809056 h 814026"/>
                <a:gd name="connsiteX30" fmla="*/ 1645369 w 2436885"/>
                <a:gd name="connsiteY30" fmla="*/ 811278 h 814026"/>
                <a:gd name="connsiteX31" fmla="*/ 1632035 w 2436885"/>
                <a:gd name="connsiteY31" fmla="*/ 813501 h 814026"/>
                <a:gd name="connsiteX32" fmla="*/ 1551472 w 2436885"/>
                <a:gd name="connsiteY32" fmla="*/ 811834 h 814026"/>
                <a:gd name="connsiteX33" fmla="*/ 1451463 w 2436885"/>
                <a:gd name="connsiteY33" fmla="*/ 812945 h 814026"/>
                <a:gd name="connsiteX34" fmla="*/ 1243111 w 2436885"/>
                <a:gd name="connsiteY34" fmla="*/ 812390 h 814026"/>
                <a:gd name="connsiteX35" fmla="*/ 1229775 w 2436885"/>
                <a:gd name="connsiteY35" fmla="*/ 794610 h 814026"/>
                <a:gd name="connsiteX36" fmla="*/ 1202551 w 2436885"/>
                <a:gd name="connsiteY36" fmla="*/ 748495 h 814026"/>
                <a:gd name="connsiteX37" fmla="*/ 1174215 w 2436885"/>
                <a:gd name="connsiteY37" fmla="*/ 727382 h 814026"/>
                <a:gd name="connsiteX38" fmla="*/ 1220886 w 2436885"/>
                <a:gd name="connsiteY38" fmla="*/ 727382 h 814026"/>
                <a:gd name="connsiteX39" fmla="*/ 1934841 w 2436885"/>
                <a:gd name="connsiteY39" fmla="*/ 727382 h 814026"/>
                <a:gd name="connsiteX40" fmla="*/ 2025404 w 2436885"/>
                <a:gd name="connsiteY40" fmla="*/ 726826 h 814026"/>
                <a:gd name="connsiteX41" fmla="*/ 784735 w 2436885"/>
                <a:gd name="connsiteY41" fmla="*/ 726826 h 814026"/>
                <a:gd name="connsiteX42" fmla="*/ 810849 w 2436885"/>
                <a:gd name="connsiteY42" fmla="*/ 750162 h 814026"/>
                <a:gd name="connsiteX43" fmla="*/ 845853 w 2436885"/>
                <a:gd name="connsiteY43" fmla="*/ 727382 h 814026"/>
                <a:gd name="connsiteX44" fmla="*/ 1143102 w 2436885"/>
                <a:gd name="connsiteY44" fmla="*/ 727382 h 814026"/>
                <a:gd name="connsiteX45" fmla="*/ 1170882 w 2436885"/>
                <a:gd name="connsiteY45" fmla="*/ 742383 h 814026"/>
                <a:gd name="connsiteX46" fmla="*/ 1116988 w 2436885"/>
                <a:gd name="connsiteY46" fmla="*/ 767942 h 814026"/>
                <a:gd name="connsiteX47" fmla="*/ 1130878 w 2436885"/>
                <a:gd name="connsiteY47" fmla="*/ 775720 h 814026"/>
                <a:gd name="connsiteX48" fmla="*/ 1178660 w 2436885"/>
                <a:gd name="connsiteY48" fmla="*/ 784610 h 814026"/>
                <a:gd name="connsiteX49" fmla="*/ 1188661 w 2436885"/>
                <a:gd name="connsiteY49" fmla="*/ 804611 h 814026"/>
                <a:gd name="connsiteX50" fmla="*/ 1172549 w 2436885"/>
                <a:gd name="connsiteY50" fmla="*/ 812390 h 814026"/>
                <a:gd name="connsiteX51" fmla="*/ 923637 w 2436885"/>
                <a:gd name="connsiteY51" fmla="*/ 812390 h 814026"/>
                <a:gd name="connsiteX52" fmla="*/ 905302 w 2436885"/>
                <a:gd name="connsiteY52" fmla="*/ 804056 h 814026"/>
                <a:gd name="connsiteX53" fmla="*/ 890301 w 2436885"/>
                <a:gd name="connsiteY53" fmla="*/ 802945 h 814026"/>
                <a:gd name="connsiteX54" fmla="*/ 850852 w 2436885"/>
                <a:gd name="connsiteY54" fmla="*/ 812390 h 814026"/>
                <a:gd name="connsiteX55" fmla="*/ 477485 w 2436885"/>
                <a:gd name="connsiteY55" fmla="*/ 812946 h 814026"/>
                <a:gd name="connsiteX56" fmla="*/ 450815 w 2436885"/>
                <a:gd name="connsiteY56" fmla="*/ 795166 h 814026"/>
                <a:gd name="connsiteX57" fmla="*/ 472484 w 2436885"/>
                <a:gd name="connsiteY57" fmla="*/ 776275 h 814026"/>
                <a:gd name="connsiteX58" fmla="*/ 510821 w 2436885"/>
                <a:gd name="connsiteY58" fmla="*/ 746272 h 814026"/>
                <a:gd name="connsiteX59" fmla="*/ 546935 w 2436885"/>
                <a:gd name="connsiteY59" fmla="*/ 757940 h 814026"/>
                <a:gd name="connsiteX60" fmla="*/ 559715 w 2436885"/>
                <a:gd name="connsiteY60" fmla="*/ 752940 h 814026"/>
                <a:gd name="connsiteX61" fmla="*/ 609719 w 2436885"/>
                <a:gd name="connsiteY61" fmla="*/ 727382 h 814026"/>
                <a:gd name="connsiteX62" fmla="*/ 784735 w 2436885"/>
                <a:gd name="connsiteY62" fmla="*/ 726826 h 814026"/>
                <a:gd name="connsiteX63" fmla="*/ 29596 w 2436885"/>
                <a:gd name="connsiteY63" fmla="*/ 726200 h 814026"/>
                <a:gd name="connsiteX64" fmla="*/ 59112 w 2436885"/>
                <a:gd name="connsiteY64" fmla="*/ 726826 h 814026"/>
                <a:gd name="connsiteX65" fmla="*/ 131341 w 2436885"/>
                <a:gd name="connsiteY65" fmla="*/ 726826 h 814026"/>
                <a:gd name="connsiteX66" fmla="*/ 291912 w 2436885"/>
                <a:gd name="connsiteY66" fmla="*/ 727381 h 814026"/>
                <a:gd name="connsiteX67" fmla="*/ 317470 w 2436885"/>
                <a:gd name="connsiteY67" fmla="*/ 743494 h 814026"/>
                <a:gd name="connsiteX68" fmla="*/ 365252 w 2436885"/>
                <a:gd name="connsiteY68" fmla="*/ 731270 h 814026"/>
                <a:gd name="connsiteX69" fmla="*/ 391366 w 2436885"/>
                <a:gd name="connsiteY69" fmla="*/ 727937 h 814026"/>
                <a:gd name="connsiteX70" fmla="*/ 431369 w 2436885"/>
                <a:gd name="connsiteY70" fmla="*/ 727937 h 814026"/>
                <a:gd name="connsiteX71" fmla="*/ 376920 w 2436885"/>
                <a:gd name="connsiteY71" fmla="*/ 794054 h 814026"/>
                <a:gd name="connsiteX72" fmla="*/ 338583 w 2436885"/>
                <a:gd name="connsiteY72" fmla="*/ 813501 h 814026"/>
                <a:gd name="connsiteX73" fmla="*/ 310247 w 2436885"/>
                <a:gd name="connsiteY73" fmla="*/ 778497 h 814026"/>
                <a:gd name="connsiteX74" fmla="*/ 299691 w 2436885"/>
                <a:gd name="connsiteY74" fmla="*/ 785165 h 814026"/>
                <a:gd name="connsiteX75" fmla="*/ 246352 w 2436885"/>
                <a:gd name="connsiteY75" fmla="*/ 813501 h 814026"/>
                <a:gd name="connsiteX76" fmla="*/ 12997 w 2436885"/>
                <a:gd name="connsiteY76" fmla="*/ 812945 h 814026"/>
                <a:gd name="connsiteX77" fmla="*/ 2441 w 2436885"/>
                <a:gd name="connsiteY77" fmla="*/ 806833 h 814026"/>
                <a:gd name="connsiteX78" fmla="*/ 2441 w 2436885"/>
                <a:gd name="connsiteY78" fmla="*/ 786832 h 814026"/>
                <a:gd name="connsiteX79" fmla="*/ 6329 w 2436885"/>
                <a:gd name="connsiteY79" fmla="*/ 731826 h 814026"/>
                <a:gd name="connsiteX80" fmla="*/ 29596 w 2436885"/>
                <a:gd name="connsiteY80" fmla="*/ 726200 h 814026"/>
                <a:gd name="connsiteX81" fmla="*/ 2350293 w 2436885"/>
                <a:gd name="connsiteY81" fmla="*/ 0 h 814026"/>
                <a:gd name="connsiteX82" fmla="*/ 2436885 w 2436885"/>
                <a:gd name="connsiteY82" fmla="*/ 0 h 814026"/>
                <a:gd name="connsiteX83" fmla="*/ 2436554 w 2436885"/>
                <a:gd name="connsiteY83" fmla="*/ 637373 h 814026"/>
                <a:gd name="connsiteX84" fmla="*/ 2355990 w 2436885"/>
                <a:gd name="connsiteY84" fmla="*/ 772385 h 814026"/>
                <a:gd name="connsiteX85" fmla="*/ 2355436 w 2436885"/>
                <a:gd name="connsiteY85" fmla="*/ 772385 h 814026"/>
                <a:gd name="connsiteX86" fmla="*/ 2250981 w 2436885"/>
                <a:gd name="connsiteY86" fmla="*/ 811278 h 814026"/>
                <a:gd name="connsiteX87" fmla="*/ 2228201 w 2436885"/>
                <a:gd name="connsiteY87" fmla="*/ 811278 h 814026"/>
                <a:gd name="connsiteX88" fmla="*/ 2181530 w 2436885"/>
                <a:gd name="connsiteY88" fmla="*/ 771274 h 814026"/>
                <a:gd name="connsiteX89" fmla="*/ 2178197 w 2436885"/>
                <a:gd name="connsiteY89" fmla="*/ 765718 h 814026"/>
                <a:gd name="connsiteX90" fmla="*/ 2141527 w 2436885"/>
                <a:gd name="connsiteY90" fmla="*/ 758495 h 814026"/>
                <a:gd name="connsiteX91" fmla="*/ 2124303 w 2436885"/>
                <a:gd name="connsiteY91" fmla="*/ 742382 h 814026"/>
                <a:gd name="connsiteX92" fmla="*/ 2144860 w 2436885"/>
                <a:gd name="connsiteY92" fmla="*/ 725714 h 814026"/>
                <a:gd name="connsiteX93" fmla="*/ 2220979 w 2436885"/>
                <a:gd name="connsiteY93" fmla="*/ 726270 h 814026"/>
                <a:gd name="connsiteX94" fmla="*/ 2314321 w 2436885"/>
                <a:gd name="connsiteY94" fmla="*/ 700712 h 814026"/>
                <a:gd name="connsiteX95" fmla="*/ 2333211 w 2436885"/>
                <a:gd name="connsiteY95" fmla="*/ 679043 h 814026"/>
                <a:gd name="connsiteX96" fmla="*/ 2352657 w 2436885"/>
                <a:gd name="connsiteY96" fmla="*/ 631817 h 814026"/>
                <a:gd name="connsiteX97" fmla="*/ 2352657 w 2436885"/>
                <a:gd name="connsiteY97" fmla="*/ 441243 h 814026"/>
                <a:gd name="connsiteX98" fmla="*/ 2358213 w 2436885"/>
                <a:gd name="connsiteY98" fmla="*/ 386238 h 814026"/>
                <a:gd name="connsiteX99" fmla="*/ 2355436 w 2436885"/>
                <a:gd name="connsiteY99" fmla="*/ 357346 h 814026"/>
                <a:gd name="connsiteX100" fmla="*/ 2354880 w 2436885"/>
                <a:gd name="connsiteY100" fmla="*/ 368459 h 814026"/>
                <a:gd name="connsiteX101" fmla="*/ 2349879 w 2436885"/>
                <a:gd name="connsiteY101" fmla="*/ 358457 h 814026"/>
                <a:gd name="connsiteX102" fmla="*/ 2350990 w 2436885"/>
                <a:gd name="connsiteY102" fmla="*/ 59541 h 814026"/>
                <a:gd name="connsiteX103" fmla="*/ 2355990 w 2436885"/>
                <a:gd name="connsiteY103" fmla="*/ 75098 h 814026"/>
                <a:gd name="connsiteX104" fmla="*/ 2364880 w 2436885"/>
                <a:gd name="connsiteY104" fmla="*/ 81210 h 814026"/>
                <a:gd name="connsiteX105" fmla="*/ 2385438 w 2436885"/>
                <a:gd name="connsiteY105" fmla="*/ 97322 h 814026"/>
                <a:gd name="connsiteX106" fmla="*/ 2398773 w 2436885"/>
                <a:gd name="connsiteY106" fmla="*/ 68986 h 814026"/>
                <a:gd name="connsiteX107" fmla="*/ 2397106 w 2436885"/>
                <a:gd name="connsiteY107" fmla="*/ 66208 h 814026"/>
                <a:gd name="connsiteX108" fmla="*/ 2374882 w 2436885"/>
                <a:gd name="connsiteY108" fmla="*/ 50095 h 814026"/>
                <a:gd name="connsiteX109" fmla="*/ 2363214 w 2436885"/>
                <a:gd name="connsiteY109" fmla="*/ 51762 h 814026"/>
                <a:gd name="connsiteX110" fmla="*/ 2355990 w 2436885"/>
                <a:gd name="connsiteY110" fmla="*/ 50651 h 814026"/>
                <a:gd name="connsiteX111" fmla="*/ 2350434 w 2436885"/>
                <a:gd name="connsiteY111" fmla="*/ 55095 h 81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436885" h="814026">
                  <a:moveTo>
                    <a:pt x="1885948" y="779609"/>
                  </a:moveTo>
                  <a:cubicBezTo>
                    <a:pt x="1881503" y="779053"/>
                    <a:pt x="1874280" y="782942"/>
                    <a:pt x="1875946" y="787943"/>
                  </a:cubicBezTo>
                  <a:cubicBezTo>
                    <a:pt x="1878724" y="797389"/>
                    <a:pt x="1887059" y="804056"/>
                    <a:pt x="1895949" y="807945"/>
                  </a:cubicBezTo>
                  <a:cubicBezTo>
                    <a:pt x="1899282" y="809612"/>
                    <a:pt x="1900948" y="802945"/>
                    <a:pt x="1901505" y="797944"/>
                  </a:cubicBezTo>
                  <a:cubicBezTo>
                    <a:pt x="1899837" y="789610"/>
                    <a:pt x="1897060" y="780720"/>
                    <a:pt x="1885948" y="779609"/>
                  </a:cubicBezTo>
                  <a:close/>
                  <a:moveTo>
                    <a:pt x="46333" y="737938"/>
                  </a:moveTo>
                  <a:cubicBezTo>
                    <a:pt x="46333" y="737938"/>
                    <a:pt x="45778" y="738494"/>
                    <a:pt x="45778" y="738494"/>
                  </a:cubicBezTo>
                  <a:cubicBezTo>
                    <a:pt x="45778" y="738494"/>
                    <a:pt x="45778" y="739049"/>
                    <a:pt x="45778" y="739049"/>
                  </a:cubicBezTo>
                  <a:cubicBezTo>
                    <a:pt x="45222" y="739049"/>
                    <a:pt x="45222" y="739049"/>
                    <a:pt x="45222" y="739049"/>
                  </a:cubicBezTo>
                  <a:cubicBezTo>
                    <a:pt x="45222" y="738494"/>
                    <a:pt x="45222" y="738494"/>
                    <a:pt x="45222" y="738494"/>
                  </a:cubicBezTo>
                  <a:cubicBezTo>
                    <a:pt x="45222" y="738494"/>
                    <a:pt x="44667" y="739049"/>
                    <a:pt x="44667" y="739049"/>
                  </a:cubicBezTo>
                  <a:cubicBezTo>
                    <a:pt x="37444" y="754606"/>
                    <a:pt x="53001" y="769052"/>
                    <a:pt x="49112" y="784609"/>
                  </a:cubicBezTo>
                  <a:cubicBezTo>
                    <a:pt x="49112" y="785720"/>
                    <a:pt x="54112" y="788498"/>
                    <a:pt x="54668" y="787943"/>
                  </a:cubicBezTo>
                  <a:cubicBezTo>
                    <a:pt x="64113" y="779053"/>
                    <a:pt x="84671" y="788498"/>
                    <a:pt x="86337" y="776275"/>
                  </a:cubicBezTo>
                  <a:cubicBezTo>
                    <a:pt x="87449" y="769608"/>
                    <a:pt x="81336" y="750717"/>
                    <a:pt x="66891" y="745717"/>
                  </a:cubicBezTo>
                  <a:cubicBezTo>
                    <a:pt x="60224" y="744050"/>
                    <a:pt x="54668" y="738494"/>
                    <a:pt x="47444" y="739049"/>
                  </a:cubicBezTo>
                  <a:cubicBezTo>
                    <a:pt x="46889" y="738494"/>
                    <a:pt x="46333" y="738494"/>
                    <a:pt x="46333" y="737938"/>
                  </a:cubicBezTo>
                  <a:close/>
                  <a:moveTo>
                    <a:pt x="2025404" y="726826"/>
                  </a:moveTo>
                  <a:cubicBezTo>
                    <a:pt x="2042628" y="724603"/>
                    <a:pt x="2054852" y="735715"/>
                    <a:pt x="2070408" y="738494"/>
                  </a:cubicBezTo>
                  <a:cubicBezTo>
                    <a:pt x="2075409" y="739605"/>
                    <a:pt x="2078187" y="739050"/>
                    <a:pt x="2077632" y="734049"/>
                  </a:cubicBezTo>
                  <a:cubicBezTo>
                    <a:pt x="2077076" y="732938"/>
                    <a:pt x="2071520" y="732382"/>
                    <a:pt x="2068742" y="728493"/>
                  </a:cubicBezTo>
                  <a:cubicBezTo>
                    <a:pt x="2074298" y="729048"/>
                    <a:pt x="2080410" y="728493"/>
                    <a:pt x="2085966" y="730159"/>
                  </a:cubicBezTo>
                  <a:cubicBezTo>
                    <a:pt x="2093189" y="732382"/>
                    <a:pt x="2102634" y="721270"/>
                    <a:pt x="2107635" y="733494"/>
                  </a:cubicBezTo>
                  <a:cubicBezTo>
                    <a:pt x="2112079" y="744050"/>
                    <a:pt x="2101523" y="745717"/>
                    <a:pt x="2097078" y="750717"/>
                  </a:cubicBezTo>
                  <a:cubicBezTo>
                    <a:pt x="2095411" y="752939"/>
                    <a:pt x="2093744" y="759051"/>
                    <a:pt x="2093744" y="759051"/>
                  </a:cubicBezTo>
                  <a:cubicBezTo>
                    <a:pt x="2108746" y="766830"/>
                    <a:pt x="2116524" y="787943"/>
                    <a:pt x="2129304" y="791277"/>
                  </a:cubicBezTo>
                  <a:cubicBezTo>
                    <a:pt x="2142638" y="794610"/>
                    <a:pt x="2147083" y="800722"/>
                    <a:pt x="2157639" y="813501"/>
                  </a:cubicBezTo>
                  <a:cubicBezTo>
                    <a:pt x="2135971" y="813501"/>
                    <a:pt x="2119858" y="813501"/>
                    <a:pt x="2103190" y="813501"/>
                  </a:cubicBezTo>
                  <a:cubicBezTo>
                    <a:pt x="1965400" y="813501"/>
                    <a:pt x="1827609" y="813501"/>
                    <a:pt x="1689818" y="813501"/>
                  </a:cubicBezTo>
                  <a:cubicBezTo>
                    <a:pt x="1680928" y="813501"/>
                    <a:pt x="1671483" y="816279"/>
                    <a:pt x="1663149" y="809056"/>
                  </a:cubicBezTo>
                  <a:cubicBezTo>
                    <a:pt x="1659260" y="805722"/>
                    <a:pt x="1647592" y="779053"/>
                    <a:pt x="1645369" y="811278"/>
                  </a:cubicBezTo>
                  <a:cubicBezTo>
                    <a:pt x="1645369" y="812390"/>
                    <a:pt x="1636480" y="813501"/>
                    <a:pt x="1632035" y="813501"/>
                  </a:cubicBezTo>
                  <a:cubicBezTo>
                    <a:pt x="1605366" y="812945"/>
                    <a:pt x="1578141" y="811834"/>
                    <a:pt x="1551472" y="811834"/>
                  </a:cubicBezTo>
                  <a:cubicBezTo>
                    <a:pt x="1518136" y="811834"/>
                    <a:pt x="1484799" y="812945"/>
                    <a:pt x="1451463" y="812945"/>
                  </a:cubicBezTo>
                  <a:cubicBezTo>
                    <a:pt x="1382012" y="812945"/>
                    <a:pt x="1312562" y="812945"/>
                    <a:pt x="1243111" y="812390"/>
                  </a:cubicBezTo>
                  <a:cubicBezTo>
                    <a:pt x="1230887" y="812390"/>
                    <a:pt x="1213107" y="816835"/>
                    <a:pt x="1229775" y="794610"/>
                  </a:cubicBezTo>
                  <a:cubicBezTo>
                    <a:pt x="1212552" y="784610"/>
                    <a:pt x="1238666" y="749606"/>
                    <a:pt x="1202551" y="748495"/>
                  </a:cubicBezTo>
                  <a:cubicBezTo>
                    <a:pt x="1194217" y="747939"/>
                    <a:pt x="1181438" y="740716"/>
                    <a:pt x="1174215" y="727382"/>
                  </a:cubicBezTo>
                  <a:cubicBezTo>
                    <a:pt x="1190883" y="727382"/>
                    <a:pt x="1205884" y="727382"/>
                    <a:pt x="1220886" y="727382"/>
                  </a:cubicBezTo>
                  <a:cubicBezTo>
                    <a:pt x="1459241" y="727382"/>
                    <a:pt x="1697041" y="726826"/>
                    <a:pt x="1934841" y="727382"/>
                  </a:cubicBezTo>
                  <a:cubicBezTo>
                    <a:pt x="1964843" y="727382"/>
                    <a:pt x="1995402" y="731271"/>
                    <a:pt x="2025404" y="726826"/>
                  </a:cubicBezTo>
                  <a:close/>
                  <a:moveTo>
                    <a:pt x="784735" y="726826"/>
                  </a:moveTo>
                  <a:cubicBezTo>
                    <a:pt x="799737" y="726826"/>
                    <a:pt x="811960" y="726271"/>
                    <a:pt x="810849" y="750162"/>
                  </a:cubicBezTo>
                  <a:cubicBezTo>
                    <a:pt x="813626" y="723492"/>
                    <a:pt x="830850" y="727382"/>
                    <a:pt x="845853" y="727382"/>
                  </a:cubicBezTo>
                  <a:cubicBezTo>
                    <a:pt x="945305" y="727382"/>
                    <a:pt x="1044204" y="727382"/>
                    <a:pt x="1143102" y="727382"/>
                  </a:cubicBezTo>
                  <a:cubicBezTo>
                    <a:pt x="1154769" y="726826"/>
                    <a:pt x="1166992" y="725159"/>
                    <a:pt x="1170882" y="742383"/>
                  </a:cubicBezTo>
                  <a:cubicBezTo>
                    <a:pt x="1154769" y="732938"/>
                    <a:pt x="1117544" y="751273"/>
                    <a:pt x="1116988" y="767942"/>
                  </a:cubicBezTo>
                  <a:cubicBezTo>
                    <a:pt x="1116433" y="777387"/>
                    <a:pt x="1124212" y="779609"/>
                    <a:pt x="1130878" y="775720"/>
                  </a:cubicBezTo>
                  <a:cubicBezTo>
                    <a:pt x="1149769" y="765719"/>
                    <a:pt x="1162548" y="782943"/>
                    <a:pt x="1178660" y="784610"/>
                  </a:cubicBezTo>
                  <a:cubicBezTo>
                    <a:pt x="1186439" y="785721"/>
                    <a:pt x="1190884" y="796833"/>
                    <a:pt x="1188661" y="804611"/>
                  </a:cubicBezTo>
                  <a:cubicBezTo>
                    <a:pt x="1187550" y="813501"/>
                    <a:pt x="1179217" y="812390"/>
                    <a:pt x="1172549" y="812390"/>
                  </a:cubicBezTo>
                  <a:cubicBezTo>
                    <a:pt x="1089763" y="812390"/>
                    <a:pt x="1006422" y="812390"/>
                    <a:pt x="923637" y="812390"/>
                  </a:cubicBezTo>
                  <a:cubicBezTo>
                    <a:pt x="916414" y="812390"/>
                    <a:pt x="909191" y="814057"/>
                    <a:pt x="905302" y="804056"/>
                  </a:cubicBezTo>
                  <a:cubicBezTo>
                    <a:pt x="902524" y="796833"/>
                    <a:pt x="893634" y="798500"/>
                    <a:pt x="890301" y="802945"/>
                  </a:cubicBezTo>
                  <a:cubicBezTo>
                    <a:pt x="879189" y="816279"/>
                    <a:pt x="864742" y="812390"/>
                    <a:pt x="850852" y="812390"/>
                  </a:cubicBezTo>
                  <a:cubicBezTo>
                    <a:pt x="726397" y="812946"/>
                    <a:pt x="601941" y="812390"/>
                    <a:pt x="477485" y="812946"/>
                  </a:cubicBezTo>
                  <a:cubicBezTo>
                    <a:pt x="463594" y="812946"/>
                    <a:pt x="451927" y="811279"/>
                    <a:pt x="450815" y="795166"/>
                  </a:cubicBezTo>
                  <a:cubicBezTo>
                    <a:pt x="449704" y="779609"/>
                    <a:pt x="463039" y="781276"/>
                    <a:pt x="472484" y="776275"/>
                  </a:cubicBezTo>
                  <a:cubicBezTo>
                    <a:pt x="486374" y="768497"/>
                    <a:pt x="515266" y="781276"/>
                    <a:pt x="510821" y="746272"/>
                  </a:cubicBezTo>
                  <a:cubicBezTo>
                    <a:pt x="523600" y="752940"/>
                    <a:pt x="534157" y="758496"/>
                    <a:pt x="546935" y="757940"/>
                  </a:cubicBezTo>
                  <a:cubicBezTo>
                    <a:pt x="552491" y="757940"/>
                    <a:pt x="558603" y="757385"/>
                    <a:pt x="559715" y="752940"/>
                  </a:cubicBezTo>
                  <a:cubicBezTo>
                    <a:pt x="565826" y="723492"/>
                    <a:pt x="589717" y="727938"/>
                    <a:pt x="609719" y="727382"/>
                  </a:cubicBezTo>
                  <a:cubicBezTo>
                    <a:pt x="668058" y="726826"/>
                    <a:pt x="726397" y="727382"/>
                    <a:pt x="784735" y="726826"/>
                  </a:cubicBezTo>
                  <a:close/>
                  <a:moveTo>
                    <a:pt x="29596" y="726200"/>
                  </a:moveTo>
                  <a:cubicBezTo>
                    <a:pt x="39249" y="726270"/>
                    <a:pt x="49945" y="727381"/>
                    <a:pt x="59112" y="726826"/>
                  </a:cubicBezTo>
                  <a:cubicBezTo>
                    <a:pt x="83004" y="726826"/>
                    <a:pt x="107451" y="726826"/>
                    <a:pt x="131341" y="726826"/>
                  </a:cubicBezTo>
                  <a:cubicBezTo>
                    <a:pt x="184680" y="726826"/>
                    <a:pt x="238574" y="727381"/>
                    <a:pt x="291912" y="727381"/>
                  </a:cubicBezTo>
                  <a:cubicBezTo>
                    <a:pt x="304136" y="727381"/>
                    <a:pt x="315803" y="727381"/>
                    <a:pt x="317470" y="743494"/>
                  </a:cubicBezTo>
                  <a:cubicBezTo>
                    <a:pt x="335805" y="748494"/>
                    <a:pt x="353584" y="756273"/>
                    <a:pt x="365252" y="731270"/>
                  </a:cubicBezTo>
                  <a:cubicBezTo>
                    <a:pt x="369697" y="722381"/>
                    <a:pt x="382476" y="728492"/>
                    <a:pt x="391366" y="727937"/>
                  </a:cubicBezTo>
                  <a:cubicBezTo>
                    <a:pt x="403589" y="726826"/>
                    <a:pt x="416368" y="727381"/>
                    <a:pt x="431369" y="727937"/>
                  </a:cubicBezTo>
                  <a:cubicBezTo>
                    <a:pt x="410256" y="749606"/>
                    <a:pt x="390810" y="771274"/>
                    <a:pt x="376920" y="794054"/>
                  </a:cubicBezTo>
                  <a:cubicBezTo>
                    <a:pt x="365252" y="813501"/>
                    <a:pt x="354696" y="814612"/>
                    <a:pt x="338583" y="813501"/>
                  </a:cubicBezTo>
                  <a:cubicBezTo>
                    <a:pt x="324138" y="812389"/>
                    <a:pt x="308580" y="792944"/>
                    <a:pt x="310247" y="778497"/>
                  </a:cubicBezTo>
                  <a:cubicBezTo>
                    <a:pt x="306358" y="780720"/>
                    <a:pt x="300246" y="782386"/>
                    <a:pt x="299691" y="785165"/>
                  </a:cubicBezTo>
                  <a:cubicBezTo>
                    <a:pt x="295246" y="820168"/>
                    <a:pt x="268576" y="813501"/>
                    <a:pt x="246352" y="813501"/>
                  </a:cubicBezTo>
                  <a:cubicBezTo>
                    <a:pt x="168567" y="813501"/>
                    <a:pt x="90782" y="812945"/>
                    <a:pt x="12997" y="812945"/>
                  </a:cubicBezTo>
                  <a:cubicBezTo>
                    <a:pt x="7441" y="814056"/>
                    <a:pt x="2996" y="813501"/>
                    <a:pt x="2441" y="806833"/>
                  </a:cubicBezTo>
                  <a:cubicBezTo>
                    <a:pt x="2441" y="800166"/>
                    <a:pt x="1885" y="793499"/>
                    <a:pt x="2441" y="786832"/>
                  </a:cubicBezTo>
                  <a:cubicBezTo>
                    <a:pt x="3552" y="767941"/>
                    <a:pt x="-5894" y="742938"/>
                    <a:pt x="6329" y="731826"/>
                  </a:cubicBezTo>
                  <a:cubicBezTo>
                    <a:pt x="11330" y="727103"/>
                    <a:pt x="19942" y="726131"/>
                    <a:pt x="29596" y="726200"/>
                  </a:cubicBezTo>
                  <a:close/>
                  <a:moveTo>
                    <a:pt x="2350293" y="0"/>
                  </a:moveTo>
                  <a:lnTo>
                    <a:pt x="2436885" y="0"/>
                  </a:lnTo>
                  <a:lnTo>
                    <a:pt x="2436554" y="637373"/>
                  </a:lnTo>
                  <a:cubicBezTo>
                    <a:pt x="2435998" y="696267"/>
                    <a:pt x="2405440" y="741271"/>
                    <a:pt x="2355990" y="772385"/>
                  </a:cubicBezTo>
                  <a:lnTo>
                    <a:pt x="2355436" y="772385"/>
                  </a:lnTo>
                  <a:cubicBezTo>
                    <a:pt x="2325433" y="798499"/>
                    <a:pt x="2288762" y="806833"/>
                    <a:pt x="2250981" y="811278"/>
                  </a:cubicBezTo>
                  <a:cubicBezTo>
                    <a:pt x="2243758" y="811833"/>
                    <a:pt x="2235980" y="811278"/>
                    <a:pt x="2228201" y="811278"/>
                  </a:cubicBezTo>
                  <a:cubicBezTo>
                    <a:pt x="2188753" y="811278"/>
                    <a:pt x="2188753" y="811278"/>
                    <a:pt x="2181530" y="771274"/>
                  </a:cubicBezTo>
                  <a:cubicBezTo>
                    <a:pt x="2180419" y="769607"/>
                    <a:pt x="2179308" y="767385"/>
                    <a:pt x="2178197" y="765718"/>
                  </a:cubicBezTo>
                  <a:cubicBezTo>
                    <a:pt x="2165974" y="763496"/>
                    <a:pt x="2153750" y="761273"/>
                    <a:pt x="2141527" y="758495"/>
                  </a:cubicBezTo>
                  <a:cubicBezTo>
                    <a:pt x="2132082" y="756829"/>
                    <a:pt x="2121525" y="754050"/>
                    <a:pt x="2124303" y="742382"/>
                  </a:cubicBezTo>
                  <a:cubicBezTo>
                    <a:pt x="2126526" y="734049"/>
                    <a:pt x="2130970" y="725158"/>
                    <a:pt x="2144860" y="725714"/>
                  </a:cubicBezTo>
                  <a:cubicBezTo>
                    <a:pt x="2170418" y="726825"/>
                    <a:pt x="2195976" y="724047"/>
                    <a:pt x="2220979" y="726270"/>
                  </a:cubicBezTo>
                  <a:cubicBezTo>
                    <a:pt x="2255982" y="729048"/>
                    <a:pt x="2285429" y="716269"/>
                    <a:pt x="2314321" y="700712"/>
                  </a:cubicBezTo>
                  <a:cubicBezTo>
                    <a:pt x="2320432" y="693489"/>
                    <a:pt x="2327100" y="686266"/>
                    <a:pt x="2333211" y="679043"/>
                  </a:cubicBezTo>
                  <a:cubicBezTo>
                    <a:pt x="2348212" y="666820"/>
                    <a:pt x="2352657" y="650707"/>
                    <a:pt x="2352657" y="631817"/>
                  </a:cubicBezTo>
                  <a:cubicBezTo>
                    <a:pt x="2352102" y="568477"/>
                    <a:pt x="2352657" y="504583"/>
                    <a:pt x="2352657" y="441243"/>
                  </a:cubicBezTo>
                  <a:cubicBezTo>
                    <a:pt x="2352657" y="422908"/>
                    <a:pt x="2350990" y="404573"/>
                    <a:pt x="2358213" y="386238"/>
                  </a:cubicBezTo>
                  <a:cubicBezTo>
                    <a:pt x="2362102" y="376237"/>
                    <a:pt x="2359324" y="366792"/>
                    <a:pt x="2355436" y="357346"/>
                  </a:cubicBezTo>
                  <a:cubicBezTo>
                    <a:pt x="2355436" y="361236"/>
                    <a:pt x="2354880" y="364569"/>
                    <a:pt x="2354880" y="368459"/>
                  </a:cubicBezTo>
                  <a:cubicBezTo>
                    <a:pt x="2349879" y="366792"/>
                    <a:pt x="2349879" y="362903"/>
                    <a:pt x="2349879" y="358457"/>
                  </a:cubicBezTo>
                  <a:cubicBezTo>
                    <a:pt x="2349879" y="259004"/>
                    <a:pt x="2350434" y="158994"/>
                    <a:pt x="2350990" y="59541"/>
                  </a:cubicBezTo>
                  <a:cubicBezTo>
                    <a:pt x="2355990" y="63430"/>
                    <a:pt x="2354880" y="69542"/>
                    <a:pt x="2355990" y="75098"/>
                  </a:cubicBezTo>
                  <a:cubicBezTo>
                    <a:pt x="2360436" y="73431"/>
                    <a:pt x="2362658" y="78431"/>
                    <a:pt x="2364880" y="81210"/>
                  </a:cubicBezTo>
                  <a:cubicBezTo>
                    <a:pt x="2370437" y="88432"/>
                    <a:pt x="2370993" y="102878"/>
                    <a:pt x="2385438" y="97322"/>
                  </a:cubicBezTo>
                  <a:cubicBezTo>
                    <a:pt x="2397661" y="92322"/>
                    <a:pt x="2403217" y="82876"/>
                    <a:pt x="2398773" y="68986"/>
                  </a:cubicBezTo>
                  <a:cubicBezTo>
                    <a:pt x="2398217" y="67875"/>
                    <a:pt x="2397661" y="67319"/>
                    <a:pt x="2397106" y="66208"/>
                  </a:cubicBezTo>
                  <a:cubicBezTo>
                    <a:pt x="2387661" y="65652"/>
                    <a:pt x="2382105" y="56207"/>
                    <a:pt x="2374882" y="50095"/>
                  </a:cubicBezTo>
                  <a:cubicBezTo>
                    <a:pt x="2371548" y="50095"/>
                    <a:pt x="2367658" y="50095"/>
                    <a:pt x="2363214" y="51762"/>
                  </a:cubicBezTo>
                  <a:cubicBezTo>
                    <a:pt x="2360436" y="52318"/>
                    <a:pt x="2357658" y="51762"/>
                    <a:pt x="2355990" y="50651"/>
                  </a:cubicBezTo>
                  <a:cubicBezTo>
                    <a:pt x="2355990" y="53985"/>
                    <a:pt x="2354324" y="55651"/>
                    <a:pt x="2350434" y="55095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F3268DE3-2C7E-4B47-A5B3-9DE005DE7A18}"/>
                </a:ext>
              </a:extLst>
            </p:cNvPr>
            <p:cNvSpPr/>
            <p:nvPr/>
          </p:nvSpPr>
          <p:spPr>
            <a:xfrm>
              <a:off x="9310950" y="5617270"/>
              <a:ext cx="2558247" cy="924159"/>
            </a:xfrm>
            <a:custGeom>
              <a:avLst/>
              <a:gdLst>
                <a:gd name="connsiteX0" fmla="*/ 1014214 w 2558247"/>
                <a:gd name="connsiteY0" fmla="*/ 906166 h 924159"/>
                <a:gd name="connsiteX1" fmla="*/ 1034772 w 2558247"/>
                <a:gd name="connsiteY1" fmla="*/ 922348 h 924159"/>
                <a:gd name="connsiteX2" fmla="*/ 993657 w 2558247"/>
                <a:gd name="connsiteY2" fmla="*/ 921237 h 924159"/>
                <a:gd name="connsiteX3" fmla="*/ 1014214 w 2558247"/>
                <a:gd name="connsiteY3" fmla="*/ 906166 h 924159"/>
                <a:gd name="connsiteX4" fmla="*/ 1683166 w 2558247"/>
                <a:gd name="connsiteY4" fmla="*/ 887901 h 924159"/>
                <a:gd name="connsiteX5" fmla="*/ 1703724 w 2558247"/>
                <a:gd name="connsiteY5" fmla="*/ 910125 h 924159"/>
                <a:gd name="connsiteX6" fmla="*/ 1665387 w 2558247"/>
                <a:gd name="connsiteY6" fmla="*/ 916237 h 924159"/>
                <a:gd name="connsiteX7" fmla="*/ 1653719 w 2558247"/>
                <a:gd name="connsiteY7" fmla="*/ 903458 h 924159"/>
                <a:gd name="connsiteX8" fmla="*/ 1683166 w 2558247"/>
                <a:gd name="connsiteY8" fmla="*/ 887901 h 924159"/>
                <a:gd name="connsiteX9" fmla="*/ 38013 w 2558247"/>
                <a:gd name="connsiteY9" fmla="*/ 849563 h 924159"/>
                <a:gd name="connsiteX10" fmla="*/ 157469 w 2558247"/>
                <a:gd name="connsiteY10" fmla="*/ 849563 h 924159"/>
                <a:gd name="connsiteX11" fmla="*/ 291925 w 2558247"/>
                <a:gd name="connsiteY11" fmla="*/ 849563 h 924159"/>
                <a:gd name="connsiteX12" fmla="*/ 314705 w 2558247"/>
                <a:gd name="connsiteY12" fmla="*/ 859564 h 924159"/>
                <a:gd name="connsiteX13" fmla="*/ 311927 w 2558247"/>
                <a:gd name="connsiteY13" fmla="*/ 887900 h 924159"/>
                <a:gd name="connsiteX14" fmla="*/ 297481 w 2558247"/>
                <a:gd name="connsiteY14" fmla="*/ 918458 h 924159"/>
                <a:gd name="connsiteX15" fmla="*/ 289703 w 2558247"/>
                <a:gd name="connsiteY15" fmla="*/ 922348 h 924159"/>
                <a:gd name="connsiteX16" fmla="*/ 212474 w 2558247"/>
                <a:gd name="connsiteY16" fmla="*/ 916236 h 924159"/>
                <a:gd name="connsiteX17" fmla="*/ 200250 w 2558247"/>
                <a:gd name="connsiteY17" fmla="*/ 915125 h 924159"/>
                <a:gd name="connsiteX18" fmla="*/ 34124 w 2558247"/>
                <a:gd name="connsiteY18" fmla="*/ 921792 h 924159"/>
                <a:gd name="connsiteX19" fmla="*/ 232 w 2558247"/>
                <a:gd name="connsiteY19" fmla="*/ 886789 h 924159"/>
                <a:gd name="connsiteX20" fmla="*/ 38013 w 2558247"/>
                <a:gd name="connsiteY20" fmla="*/ 849563 h 924159"/>
                <a:gd name="connsiteX21" fmla="*/ 340402 w 2558247"/>
                <a:gd name="connsiteY21" fmla="*/ 849355 h 924159"/>
                <a:gd name="connsiteX22" fmla="*/ 354708 w 2558247"/>
                <a:gd name="connsiteY22" fmla="*/ 857342 h 924159"/>
                <a:gd name="connsiteX23" fmla="*/ 368598 w 2558247"/>
                <a:gd name="connsiteY23" fmla="*/ 865676 h 924159"/>
                <a:gd name="connsiteX24" fmla="*/ 357486 w 2558247"/>
                <a:gd name="connsiteY24" fmla="*/ 871232 h 924159"/>
                <a:gd name="connsiteX25" fmla="*/ 325261 w 2558247"/>
                <a:gd name="connsiteY25" fmla="*/ 865120 h 924159"/>
                <a:gd name="connsiteX26" fmla="*/ 325261 w 2558247"/>
                <a:gd name="connsiteY26" fmla="*/ 853452 h 924159"/>
                <a:gd name="connsiteX27" fmla="*/ 340402 w 2558247"/>
                <a:gd name="connsiteY27" fmla="*/ 849355 h 924159"/>
                <a:gd name="connsiteX28" fmla="*/ 1677054 w 2558247"/>
                <a:gd name="connsiteY28" fmla="*/ 849008 h 924159"/>
                <a:gd name="connsiteX29" fmla="*/ 1684277 w 2558247"/>
                <a:gd name="connsiteY29" fmla="*/ 855675 h 924159"/>
                <a:gd name="connsiteX30" fmla="*/ 1670943 w 2558247"/>
                <a:gd name="connsiteY30" fmla="*/ 868455 h 924159"/>
                <a:gd name="connsiteX31" fmla="*/ 1663720 w 2558247"/>
                <a:gd name="connsiteY31" fmla="*/ 859010 h 924159"/>
                <a:gd name="connsiteX32" fmla="*/ 1677054 w 2558247"/>
                <a:gd name="connsiteY32" fmla="*/ 849008 h 924159"/>
                <a:gd name="connsiteX33" fmla="*/ 888647 w 2558247"/>
                <a:gd name="connsiteY33" fmla="*/ 849008 h 924159"/>
                <a:gd name="connsiteX34" fmla="*/ 909760 w 2558247"/>
                <a:gd name="connsiteY34" fmla="*/ 865120 h 924159"/>
                <a:gd name="connsiteX35" fmla="*/ 924206 w 2558247"/>
                <a:gd name="connsiteY35" fmla="*/ 911792 h 924159"/>
                <a:gd name="connsiteX36" fmla="*/ 903649 w 2558247"/>
                <a:gd name="connsiteY36" fmla="*/ 922904 h 924159"/>
                <a:gd name="connsiteX37" fmla="*/ 670294 w 2558247"/>
                <a:gd name="connsiteY37" fmla="*/ 922904 h 924159"/>
                <a:gd name="connsiteX38" fmla="*/ 599176 w 2558247"/>
                <a:gd name="connsiteY38" fmla="*/ 922904 h 924159"/>
                <a:gd name="connsiteX39" fmla="*/ 503612 w 2558247"/>
                <a:gd name="connsiteY39" fmla="*/ 903458 h 924159"/>
                <a:gd name="connsiteX40" fmla="*/ 484721 w 2558247"/>
                <a:gd name="connsiteY40" fmla="*/ 902902 h 924159"/>
                <a:gd name="connsiteX41" fmla="*/ 486387 w 2558247"/>
                <a:gd name="connsiteY41" fmla="*/ 922349 h 924159"/>
                <a:gd name="connsiteX42" fmla="*/ 320817 w 2558247"/>
                <a:gd name="connsiteY42" fmla="*/ 922349 h 924159"/>
                <a:gd name="connsiteX43" fmla="*/ 331929 w 2558247"/>
                <a:gd name="connsiteY43" fmla="*/ 899013 h 924159"/>
                <a:gd name="connsiteX44" fmla="*/ 341929 w 2558247"/>
                <a:gd name="connsiteY44" fmla="*/ 890123 h 924159"/>
                <a:gd name="connsiteX45" fmla="*/ 393046 w 2558247"/>
                <a:gd name="connsiteY45" fmla="*/ 863454 h 924159"/>
                <a:gd name="connsiteX46" fmla="*/ 369155 w 2558247"/>
                <a:gd name="connsiteY46" fmla="*/ 849564 h 924159"/>
                <a:gd name="connsiteX47" fmla="*/ 400825 w 2558247"/>
                <a:gd name="connsiteY47" fmla="*/ 862343 h 924159"/>
                <a:gd name="connsiteX48" fmla="*/ 474164 w 2558247"/>
                <a:gd name="connsiteY48" fmla="*/ 859564 h 924159"/>
                <a:gd name="connsiteX49" fmla="*/ 495277 w 2558247"/>
                <a:gd name="connsiteY49" fmla="*/ 849564 h 924159"/>
                <a:gd name="connsiteX50" fmla="*/ 888647 w 2558247"/>
                <a:gd name="connsiteY50" fmla="*/ 849008 h 924159"/>
                <a:gd name="connsiteX51" fmla="*/ 1643457 w 2558247"/>
                <a:gd name="connsiteY51" fmla="*/ 848487 h 924159"/>
                <a:gd name="connsiteX52" fmla="*/ 1654274 w 2558247"/>
                <a:gd name="connsiteY52" fmla="*/ 850675 h 924159"/>
                <a:gd name="connsiteX53" fmla="*/ 1649273 w 2558247"/>
                <a:gd name="connsiteY53" fmla="*/ 867343 h 924159"/>
                <a:gd name="connsiteX54" fmla="*/ 1598158 w 2558247"/>
                <a:gd name="connsiteY54" fmla="*/ 917903 h 924159"/>
                <a:gd name="connsiteX55" fmla="*/ 1600936 w 2558247"/>
                <a:gd name="connsiteY55" fmla="*/ 893456 h 924159"/>
                <a:gd name="connsiteX56" fmla="*/ 1578711 w 2558247"/>
                <a:gd name="connsiteY56" fmla="*/ 882900 h 924159"/>
                <a:gd name="connsiteX57" fmla="*/ 1583156 w 2558247"/>
                <a:gd name="connsiteY57" fmla="*/ 906235 h 924159"/>
                <a:gd name="connsiteX58" fmla="*/ 1543152 w 2558247"/>
                <a:gd name="connsiteY58" fmla="*/ 899012 h 924159"/>
                <a:gd name="connsiteX59" fmla="*/ 1548153 w 2558247"/>
                <a:gd name="connsiteY59" fmla="*/ 921237 h 924159"/>
                <a:gd name="connsiteX60" fmla="*/ 1383693 w 2558247"/>
                <a:gd name="connsiteY60" fmla="*/ 921237 h 924159"/>
                <a:gd name="connsiteX61" fmla="*/ 1334244 w 2558247"/>
                <a:gd name="connsiteY61" fmla="*/ 872343 h 924159"/>
                <a:gd name="connsiteX62" fmla="*/ 1302019 w 2558247"/>
                <a:gd name="connsiteY62" fmla="*/ 894012 h 924159"/>
                <a:gd name="connsiteX63" fmla="*/ 1305908 w 2558247"/>
                <a:gd name="connsiteY63" fmla="*/ 915126 h 924159"/>
                <a:gd name="connsiteX64" fmla="*/ 1306464 w 2558247"/>
                <a:gd name="connsiteY64" fmla="*/ 918459 h 924159"/>
                <a:gd name="connsiteX65" fmla="*/ 1248681 w 2558247"/>
                <a:gd name="connsiteY65" fmla="*/ 921792 h 924159"/>
                <a:gd name="connsiteX66" fmla="*/ 1096444 w 2558247"/>
                <a:gd name="connsiteY66" fmla="*/ 922348 h 924159"/>
                <a:gd name="connsiteX67" fmla="*/ 1066997 w 2558247"/>
                <a:gd name="connsiteY67" fmla="*/ 900679 h 924159"/>
                <a:gd name="connsiteX68" fmla="*/ 1060330 w 2558247"/>
                <a:gd name="connsiteY68" fmla="*/ 887345 h 924159"/>
                <a:gd name="connsiteX69" fmla="*/ 1076998 w 2558247"/>
                <a:gd name="connsiteY69" fmla="*/ 871232 h 924159"/>
                <a:gd name="connsiteX70" fmla="*/ 1051996 w 2558247"/>
                <a:gd name="connsiteY70" fmla="*/ 855675 h 924159"/>
                <a:gd name="connsiteX71" fmla="*/ 1039773 w 2558247"/>
                <a:gd name="connsiteY71" fmla="*/ 877344 h 924159"/>
                <a:gd name="connsiteX72" fmla="*/ 1021437 w 2558247"/>
                <a:gd name="connsiteY72" fmla="*/ 886789 h 924159"/>
                <a:gd name="connsiteX73" fmla="*/ 981989 w 2558247"/>
                <a:gd name="connsiteY73" fmla="*/ 881788 h 924159"/>
                <a:gd name="connsiteX74" fmla="*/ 949764 w 2558247"/>
                <a:gd name="connsiteY74" fmla="*/ 849008 h 924159"/>
                <a:gd name="connsiteX75" fmla="*/ 1115335 w 2558247"/>
                <a:gd name="connsiteY75" fmla="*/ 849008 h 924159"/>
                <a:gd name="connsiteX76" fmla="*/ 1181452 w 2558247"/>
                <a:gd name="connsiteY76" fmla="*/ 849008 h 924159"/>
                <a:gd name="connsiteX77" fmla="*/ 1198676 w 2558247"/>
                <a:gd name="connsiteY77" fmla="*/ 848730 h 924159"/>
                <a:gd name="connsiteX78" fmla="*/ 1210899 w 2558247"/>
                <a:gd name="connsiteY78" fmla="*/ 863454 h 924159"/>
                <a:gd name="connsiteX79" fmla="*/ 1246459 w 2558247"/>
                <a:gd name="connsiteY79" fmla="*/ 872343 h 924159"/>
                <a:gd name="connsiteX80" fmla="*/ 1269794 w 2558247"/>
                <a:gd name="connsiteY80" fmla="*/ 874566 h 924159"/>
                <a:gd name="connsiteX81" fmla="*/ 1262571 w 2558247"/>
                <a:gd name="connsiteY81" fmla="*/ 849008 h 924159"/>
                <a:gd name="connsiteX82" fmla="*/ 1318687 w 2558247"/>
                <a:gd name="connsiteY82" fmla="*/ 849008 h 924159"/>
                <a:gd name="connsiteX83" fmla="*/ 1549819 w 2558247"/>
                <a:gd name="connsiteY83" fmla="*/ 849008 h 924159"/>
                <a:gd name="connsiteX84" fmla="*/ 1564822 w 2558247"/>
                <a:gd name="connsiteY84" fmla="*/ 849564 h 924159"/>
                <a:gd name="connsiteX85" fmla="*/ 1572599 w 2558247"/>
                <a:gd name="connsiteY85" fmla="*/ 859564 h 924159"/>
                <a:gd name="connsiteX86" fmla="*/ 1562599 w 2558247"/>
                <a:gd name="connsiteY86" fmla="*/ 861787 h 924159"/>
                <a:gd name="connsiteX87" fmla="*/ 1548708 w 2558247"/>
                <a:gd name="connsiteY87" fmla="*/ 857898 h 924159"/>
                <a:gd name="connsiteX88" fmla="*/ 1538152 w 2558247"/>
                <a:gd name="connsiteY88" fmla="*/ 867343 h 924159"/>
                <a:gd name="connsiteX89" fmla="*/ 1549264 w 2558247"/>
                <a:gd name="connsiteY89" fmla="*/ 874566 h 924159"/>
                <a:gd name="connsiteX90" fmla="*/ 1592046 w 2558247"/>
                <a:gd name="connsiteY90" fmla="*/ 855675 h 924159"/>
                <a:gd name="connsiteX91" fmla="*/ 1643457 w 2558247"/>
                <a:gd name="connsiteY91" fmla="*/ 848487 h 924159"/>
                <a:gd name="connsiteX92" fmla="*/ 2459349 w 2558247"/>
                <a:gd name="connsiteY92" fmla="*/ 759555 h 924159"/>
                <a:gd name="connsiteX93" fmla="*/ 2451570 w 2558247"/>
                <a:gd name="connsiteY93" fmla="*/ 795669 h 924159"/>
                <a:gd name="connsiteX94" fmla="*/ 2469350 w 2558247"/>
                <a:gd name="connsiteY94" fmla="*/ 820116 h 924159"/>
                <a:gd name="connsiteX95" fmla="*/ 2491574 w 2558247"/>
                <a:gd name="connsiteY95" fmla="*/ 785113 h 924159"/>
                <a:gd name="connsiteX96" fmla="*/ 2459349 w 2558247"/>
                <a:gd name="connsiteY96" fmla="*/ 759555 h 924159"/>
                <a:gd name="connsiteX97" fmla="*/ 2477298 w 2558247"/>
                <a:gd name="connsiteY97" fmla="*/ 0 h 924159"/>
                <a:gd name="connsiteX98" fmla="*/ 2558247 w 2558247"/>
                <a:gd name="connsiteY98" fmla="*/ 0 h 924159"/>
                <a:gd name="connsiteX99" fmla="*/ 2558247 w 2558247"/>
                <a:gd name="connsiteY99" fmla="*/ 713439 h 924159"/>
                <a:gd name="connsiteX100" fmla="*/ 2417123 w 2558247"/>
                <a:gd name="connsiteY100" fmla="*/ 910125 h 924159"/>
                <a:gd name="connsiteX101" fmla="*/ 2393788 w 2558247"/>
                <a:gd name="connsiteY101" fmla="*/ 919015 h 924159"/>
                <a:gd name="connsiteX102" fmla="*/ 2312114 w 2558247"/>
                <a:gd name="connsiteY102" fmla="*/ 923459 h 924159"/>
                <a:gd name="connsiteX103" fmla="*/ 2328782 w 2558247"/>
                <a:gd name="connsiteY103" fmla="*/ 899568 h 924159"/>
                <a:gd name="connsiteX104" fmla="*/ 2311002 w 2558247"/>
                <a:gd name="connsiteY104" fmla="*/ 890123 h 924159"/>
                <a:gd name="connsiteX105" fmla="*/ 2317670 w 2558247"/>
                <a:gd name="connsiteY105" fmla="*/ 908458 h 924159"/>
                <a:gd name="connsiteX106" fmla="*/ 2296001 w 2558247"/>
                <a:gd name="connsiteY106" fmla="*/ 901235 h 924159"/>
                <a:gd name="connsiteX107" fmla="*/ 2289333 w 2558247"/>
                <a:gd name="connsiteY107" fmla="*/ 891790 h 924159"/>
                <a:gd name="connsiteX108" fmla="*/ 2275442 w 2558247"/>
                <a:gd name="connsiteY108" fmla="*/ 908458 h 924159"/>
                <a:gd name="connsiteX109" fmla="*/ 2259886 w 2558247"/>
                <a:gd name="connsiteY109" fmla="*/ 922348 h 924159"/>
                <a:gd name="connsiteX110" fmla="*/ 1965969 w 2558247"/>
                <a:gd name="connsiteY110" fmla="*/ 922348 h 924159"/>
                <a:gd name="connsiteX111" fmla="*/ 1947635 w 2558247"/>
                <a:gd name="connsiteY111" fmla="*/ 894567 h 924159"/>
                <a:gd name="connsiteX112" fmla="*/ 1929300 w 2558247"/>
                <a:gd name="connsiteY112" fmla="*/ 879011 h 924159"/>
                <a:gd name="connsiteX113" fmla="*/ 1925966 w 2558247"/>
                <a:gd name="connsiteY113" fmla="*/ 895123 h 924159"/>
                <a:gd name="connsiteX114" fmla="*/ 1914298 w 2558247"/>
                <a:gd name="connsiteY114" fmla="*/ 903458 h 924159"/>
                <a:gd name="connsiteX115" fmla="*/ 1874850 w 2558247"/>
                <a:gd name="connsiteY115" fmla="*/ 872899 h 924159"/>
                <a:gd name="connsiteX116" fmla="*/ 1832069 w 2558247"/>
                <a:gd name="connsiteY116" fmla="*/ 868454 h 924159"/>
                <a:gd name="connsiteX117" fmla="*/ 1812622 w 2558247"/>
                <a:gd name="connsiteY117" fmla="*/ 859009 h 924159"/>
                <a:gd name="connsiteX118" fmla="*/ 1806510 w 2558247"/>
                <a:gd name="connsiteY118" fmla="*/ 885678 h 924159"/>
                <a:gd name="connsiteX119" fmla="*/ 1805399 w 2558247"/>
                <a:gd name="connsiteY119" fmla="*/ 917347 h 924159"/>
                <a:gd name="connsiteX120" fmla="*/ 1796509 w 2558247"/>
                <a:gd name="connsiteY120" fmla="*/ 922348 h 924159"/>
                <a:gd name="connsiteX121" fmla="*/ 1713724 w 2558247"/>
                <a:gd name="connsiteY121" fmla="*/ 922348 h 924159"/>
                <a:gd name="connsiteX122" fmla="*/ 1704278 w 2558247"/>
                <a:gd name="connsiteY122" fmla="*/ 910125 h 924159"/>
                <a:gd name="connsiteX123" fmla="*/ 1724836 w 2558247"/>
                <a:gd name="connsiteY123" fmla="*/ 909569 h 924159"/>
                <a:gd name="connsiteX124" fmla="*/ 1714279 w 2558247"/>
                <a:gd name="connsiteY124" fmla="*/ 888456 h 924159"/>
                <a:gd name="connsiteX125" fmla="*/ 1700389 w 2558247"/>
                <a:gd name="connsiteY125" fmla="*/ 851231 h 924159"/>
                <a:gd name="connsiteX126" fmla="*/ 2177656 w 2558247"/>
                <a:gd name="connsiteY126" fmla="*/ 851231 h 924159"/>
                <a:gd name="connsiteX127" fmla="*/ 2158210 w 2558247"/>
                <a:gd name="connsiteY127" fmla="*/ 881233 h 924159"/>
                <a:gd name="connsiteX128" fmla="*/ 2190991 w 2558247"/>
                <a:gd name="connsiteY128" fmla="*/ 899568 h 924159"/>
                <a:gd name="connsiteX129" fmla="*/ 2219882 w 2558247"/>
                <a:gd name="connsiteY129" fmla="*/ 904569 h 924159"/>
                <a:gd name="connsiteX130" fmla="*/ 2188213 w 2558247"/>
                <a:gd name="connsiteY130" fmla="*/ 882900 h 924159"/>
                <a:gd name="connsiteX131" fmla="*/ 2183767 w 2558247"/>
                <a:gd name="connsiteY131" fmla="*/ 865120 h 924159"/>
                <a:gd name="connsiteX132" fmla="*/ 2213215 w 2558247"/>
                <a:gd name="connsiteY132" fmla="*/ 855120 h 924159"/>
                <a:gd name="connsiteX133" fmla="*/ 2215993 w 2558247"/>
                <a:gd name="connsiteY133" fmla="*/ 866787 h 924159"/>
                <a:gd name="connsiteX134" fmla="*/ 2230994 w 2558247"/>
                <a:gd name="connsiteY134" fmla="*/ 876232 h 924159"/>
                <a:gd name="connsiteX135" fmla="*/ 2243218 w 2558247"/>
                <a:gd name="connsiteY135" fmla="*/ 869010 h 924159"/>
                <a:gd name="connsiteX136" fmla="*/ 2232662 w 2558247"/>
                <a:gd name="connsiteY136" fmla="*/ 847896 h 924159"/>
                <a:gd name="connsiteX137" fmla="*/ 2471017 w 2558247"/>
                <a:gd name="connsiteY137" fmla="*/ 716773 h 924159"/>
                <a:gd name="connsiteX138" fmla="*/ 2477684 w 2558247"/>
                <a:gd name="connsiteY138" fmla="*/ 685659 h 92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2558247" h="924159">
                  <a:moveTo>
                    <a:pt x="1014214" y="906166"/>
                  </a:moveTo>
                  <a:cubicBezTo>
                    <a:pt x="1020882" y="905680"/>
                    <a:pt x="1027549" y="910402"/>
                    <a:pt x="1034772" y="922348"/>
                  </a:cubicBezTo>
                  <a:cubicBezTo>
                    <a:pt x="1019771" y="924015"/>
                    <a:pt x="1007548" y="925682"/>
                    <a:pt x="993657" y="921237"/>
                  </a:cubicBezTo>
                  <a:cubicBezTo>
                    <a:pt x="1000880" y="912347"/>
                    <a:pt x="1007547" y="906652"/>
                    <a:pt x="1014214" y="906166"/>
                  </a:cubicBezTo>
                  <a:close/>
                  <a:moveTo>
                    <a:pt x="1683166" y="887901"/>
                  </a:moveTo>
                  <a:cubicBezTo>
                    <a:pt x="1692055" y="891235"/>
                    <a:pt x="1703724" y="896791"/>
                    <a:pt x="1703724" y="910125"/>
                  </a:cubicBezTo>
                  <a:cubicBezTo>
                    <a:pt x="1692055" y="918459"/>
                    <a:pt x="1681500" y="933460"/>
                    <a:pt x="1665387" y="916237"/>
                  </a:cubicBezTo>
                  <a:cubicBezTo>
                    <a:pt x="1661497" y="911792"/>
                    <a:pt x="1643162" y="917904"/>
                    <a:pt x="1653719" y="903458"/>
                  </a:cubicBezTo>
                  <a:cubicBezTo>
                    <a:pt x="1659831" y="895124"/>
                    <a:pt x="1669831" y="882345"/>
                    <a:pt x="1683166" y="887901"/>
                  </a:cubicBezTo>
                  <a:close/>
                  <a:moveTo>
                    <a:pt x="38013" y="849563"/>
                  </a:moveTo>
                  <a:cubicBezTo>
                    <a:pt x="78017" y="849563"/>
                    <a:pt x="117465" y="849563"/>
                    <a:pt x="157469" y="849563"/>
                  </a:cubicBezTo>
                  <a:cubicBezTo>
                    <a:pt x="202473" y="849563"/>
                    <a:pt x="246921" y="849563"/>
                    <a:pt x="291925" y="849563"/>
                  </a:cubicBezTo>
                  <a:cubicBezTo>
                    <a:pt x="300815" y="849563"/>
                    <a:pt x="309705" y="847341"/>
                    <a:pt x="314705" y="859564"/>
                  </a:cubicBezTo>
                  <a:cubicBezTo>
                    <a:pt x="318594" y="870676"/>
                    <a:pt x="317483" y="877899"/>
                    <a:pt x="311927" y="887900"/>
                  </a:cubicBezTo>
                  <a:cubicBezTo>
                    <a:pt x="306371" y="897345"/>
                    <a:pt x="286925" y="901234"/>
                    <a:pt x="297481" y="918458"/>
                  </a:cubicBezTo>
                  <a:cubicBezTo>
                    <a:pt x="298593" y="920125"/>
                    <a:pt x="293592" y="922904"/>
                    <a:pt x="289703" y="922348"/>
                  </a:cubicBezTo>
                  <a:cubicBezTo>
                    <a:pt x="264145" y="919569"/>
                    <a:pt x="237476" y="928460"/>
                    <a:pt x="212474" y="916236"/>
                  </a:cubicBezTo>
                  <a:cubicBezTo>
                    <a:pt x="209140" y="914569"/>
                    <a:pt x="204139" y="914013"/>
                    <a:pt x="200250" y="915125"/>
                  </a:cubicBezTo>
                  <a:cubicBezTo>
                    <a:pt x="145246" y="930681"/>
                    <a:pt x="89685" y="919014"/>
                    <a:pt x="34124" y="921792"/>
                  </a:cubicBezTo>
                  <a:cubicBezTo>
                    <a:pt x="11899" y="922904"/>
                    <a:pt x="-1990" y="915125"/>
                    <a:pt x="232" y="886789"/>
                  </a:cubicBezTo>
                  <a:cubicBezTo>
                    <a:pt x="3566" y="849563"/>
                    <a:pt x="1343" y="849563"/>
                    <a:pt x="38013" y="849563"/>
                  </a:cubicBezTo>
                  <a:close/>
                  <a:moveTo>
                    <a:pt x="340402" y="849355"/>
                  </a:moveTo>
                  <a:cubicBezTo>
                    <a:pt x="345263" y="850674"/>
                    <a:pt x="349986" y="854008"/>
                    <a:pt x="354708" y="857342"/>
                  </a:cubicBezTo>
                  <a:cubicBezTo>
                    <a:pt x="358597" y="860120"/>
                    <a:pt x="365265" y="855675"/>
                    <a:pt x="368598" y="865676"/>
                  </a:cubicBezTo>
                  <a:cubicBezTo>
                    <a:pt x="364709" y="867899"/>
                    <a:pt x="361375" y="870120"/>
                    <a:pt x="357486" y="871232"/>
                  </a:cubicBezTo>
                  <a:cubicBezTo>
                    <a:pt x="345819" y="875121"/>
                    <a:pt x="334707" y="873455"/>
                    <a:pt x="325261" y="865120"/>
                  </a:cubicBezTo>
                  <a:cubicBezTo>
                    <a:pt x="321928" y="861787"/>
                    <a:pt x="321928" y="856231"/>
                    <a:pt x="325261" y="853452"/>
                  </a:cubicBezTo>
                  <a:cubicBezTo>
                    <a:pt x="330540" y="848730"/>
                    <a:pt x="335540" y="848035"/>
                    <a:pt x="340402" y="849355"/>
                  </a:cubicBezTo>
                  <a:close/>
                  <a:moveTo>
                    <a:pt x="1677054" y="849008"/>
                  </a:moveTo>
                  <a:cubicBezTo>
                    <a:pt x="1681499" y="849008"/>
                    <a:pt x="1687055" y="851231"/>
                    <a:pt x="1684277" y="855675"/>
                  </a:cubicBezTo>
                  <a:cubicBezTo>
                    <a:pt x="1681499" y="861231"/>
                    <a:pt x="1675387" y="864566"/>
                    <a:pt x="1670943" y="868455"/>
                  </a:cubicBezTo>
                  <a:cubicBezTo>
                    <a:pt x="1664275" y="866787"/>
                    <a:pt x="1663164" y="864010"/>
                    <a:pt x="1663720" y="859010"/>
                  </a:cubicBezTo>
                  <a:cubicBezTo>
                    <a:pt x="1664831" y="850675"/>
                    <a:pt x="1670387" y="848453"/>
                    <a:pt x="1677054" y="849008"/>
                  </a:cubicBezTo>
                  <a:close/>
                  <a:moveTo>
                    <a:pt x="888647" y="849008"/>
                  </a:moveTo>
                  <a:cubicBezTo>
                    <a:pt x="903649" y="849008"/>
                    <a:pt x="902538" y="860676"/>
                    <a:pt x="909760" y="865120"/>
                  </a:cubicBezTo>
                  <a:cubicBezTo>
                    <a:pt x="928095" y="876233"/>
                    <a:pt x="911983" y="896235"/>
                    <a:pt x="924206" y="911792"/>
                  </a:cubicBezTo>
                  <a:cubicBezTo>
                    <a:pt x="931985" y="920682"/>
                    <a:pt x="913094" y="922904"/>
                    <a:pt x="903649" y="922904"/>
                  </a:cubicBezTo>
                  <a:cubicBezTo>
                    <a:pt x="825864" y="922904"/>
                    <a:pt x="748079" y="922904"/>
                    <a:pt x="670294" y="922904"/>
                  </a:cubicBezTo>
                  <a:cubicBezTo>
                    <a:pt x="646403" y="922904"/>
                    <a:pt x="622511" y="921793"/>
                    <a:pt x="599176" y="922904"/>
                  </a:cubicBezTo>
                  <a:cubicBezTo>
                    <a:pt x="565284" y="924571"/>
                    <a:pt x="533614" y="919570"/>
                    <a:pt x="503612" y="903458"/>
                  </a:cubicBezTo>
                  <a:cubicBezTo>
                    <a:pt x="498056" y="900679"/>
                    <a:pt x="490832" y="898458"/>
                    <a:pt x="484721" y="902902"/>
                  </a:cubicBezTo>
                  <a:cubicBezTo>
                    <a:pt x="474164" y="910125"/>
                    <a:pt x="490277" y="915126"/>
                    <a:pt x="486387" y="922349"/>
                  </a:cubicBezTo>
                  <a:cubicBezTo>
                    <a:pt x="431383" y="922349"/>
                    <a:pt x="376377" y="922349"/>
                    <a:pt x="320817" y="922349"/>
                  </a:cubicBezTo>
                  <a:cubicBezTo>
                    <a:pt x="324706" y="914570"/>
                    <a:pt x="328596" y="906791"/>
                    <a:pt x="331929" y="899013"/>
                  </a:cubicBezTo>
                  <a:cubicBezTo>
                    <a:pt x="334152" y="894012"/>
                    <a:pt x="336373" y="887345"/>
                    <a:pt x="341929" y="890123"/>
                  </a:cubicBezTo>
                  <a:cubicBezTo>
                    <a:pt x="371377" y="905125"/>
                    <a:pt x="381934" y="885123"/>
                    <a:pt x="393046" y="863454"/>
                  </a:cubicBezTo>
                  <a:cubicBezTo>
                    <a:pt x="388045" y="855120"/>
                    <a:pt x="374155" y="864010"/>
                    <a:pt x="369155" y="849564"/>
                  </a:cubicBezTo>
                  <a:cubicBezTo>
                    <a:pt x="381934" y="851231"/>
                    <a:pt x="391935" y="845119"/>
                    <a:pt x="400825" y="862343"/>
                  </a:cubicBezTo>
                  <a:cubicBezTo>
                    <a:pt x="411937" y="884011"/>
                    <a:pt x="463608" y="880678"/>
                    <a:pt x="474164" y="859564"/>
                  </a:cubicBezTo>
                  <a:cubicBezTo>
                    <a:pt x="479720" y="849008"/>
                    <a:pt x="486944" y="849564"/>
                    <a:pt x="495277" y="849564"/>
                  </a:cubicBezTo>
                  <a:cubicBezTo>
                    <a:pt x="626401" y="849564"/>
                    <a:pt x="757524" y="850119"/>
                    <a:pt x="888647" y="849008"/>
                  </a:cubicBezTo>
                  <a:close/>
                  <a:moveTo>
                    <a:pt x="1643457" y="848487"/>
                  </a:moveTo>
                  <a:cubicBezTo>
                    <a:pt x="1649273" y="848730"/>
                    <a:pt x="1653441" y="849425"/>
                    <a:pt x="1654274" y="850675"/>
                  </a:cubicBezTo>
                  <a:cubicBezTo>
                    <a:pt x="1659275" y="857342"/>
                    <a:pt x="1655941" y="865120"/>
                    <a:pt x="1649273" y="867343"/>
                  </a:cubicBezTo>
                  <a:cubicBezTo>
                    <a:pt x="1627605" y="879567"/>
                    <a:pt x="1612048" y="896790"/>
                    <a:pt x="1598158" y="917903"/>
                  </a:cubicBezTo>
                  <a:cubicBezTo>
                    <a:pt x="1599269" y="909569"/>
                    <a:pt x="1604270" y="899012"/>
                    <a:pt x="1600936" y="893456"/>
                  </a:cubicBezTo>
                  <a:cubicBezTo>
                    <a:pt x="1597602" y="887345"/>
                    <a:pt x="1585934" y="886234"/>
                    <a:pt x="1578711" y="882900"/>
                  </a:cubicBezTo>
                  <a:cubicBezTo>
                    <a:pt x="1570378" y="894567"/>
                    <a:pt x="1594824" y="897902"/>
                    <a:pt x="1583156" y="906235"/>
                  </a:cubicBezTo>
                  <a:cubicBezTo>
                    <a:pt x="1570378" y="915681"/>
                    <a:pt x="1557598" y="905124"/>
                    <a:pt x="1543152" y="899012"/>
                  </a:cubicBezTo>
                  <a:cubicBezTo>
                    <a:pt x="1544819" y="906791"/>
                    <a:pt x="1546486" y="913459"/>
                    <a:pt x="1548153" y="921237"/>
                  </a:cubicBezTo>
                  <a:cubicBezTo>
                    <a:pt x="1492592" y="921237"/>
                    <a:pt x="1438143" y="921237"/>
                    <a:pt x="1383693" y="921237"/>
                  </a:cubicBezTo>
                  <a:cubicBezTo>
                    <a:pt x="1383693" y="899568"/>
                    <a:pt x="1357579" y="872343"/>
                    <a:pt x="1334244" y="872343"/>
                  </a:cubicBezTo>
                  <a:cubicBezTo>
                    <a:pt x="1319798" y="872343"/>
                    <a:pt x="1311464" y="885678"/>
                    <a:pt x="1302019" y="894012"/>
                  </a:cubicBezTo>
                  <a:cubicBezTo>
                    <a:pt x="1292574" y="902346"/>
                    <a:pt x="1302575" y="908458"/>
                    <a:pt x="1305908" y="915126"/>
                  </a:cubicBezTo>
                  <a:cubicBezTo>
                    <a:pt x="1305352" y="916236"/>
                    <a:pt x="1305352" y="917347"/>
                    <a:pt x="1306464" y="918459"/>
                  </a:cubicBezTo>
                  <a:cubicBezTo>
                    <a:pt x="1287573" y="925682"/>
                    <a:pt x="1268127" y="921792"/>
                    <a:pt x="1248681" y="921792"/>
                  </a:cubicBezTo>
                  <a:cubicBezTo>
                    <a:pt x="1198121" y="922348"/>
                    <a:pt x="1147004" y="921792"/>
                    <a:pt x="1096444" y="922348"/>
                  </a:cubicBezTo>
                  <a:cubicBezTo>
                    <a:pt x="1079776" y="922348"/>
                    <a:pt x="1065886" y="923459"/>
                    <a:pt x="1066997" y="900679"/>
                  </a:cubicBezTo>
                  <a:cubicBezTo>
                    <a:pt x="1066997" y="896235"/>
                    <a:pt x="1062552" y="891790"/>
                    <a:pt x="1060330" y="887345"/>
                  </a:cubicBezTo>
                  <a:cubicBezTo>
                    <a:pt x="1066441" y="880678"/>
                    <a:pt x="1084221" y="881788"/>
                    <a:pt x="1076998" y="871232"/>
                  </a:cubicBezTo>
                  <a:cubicBezTo>
                    <a:pt x="1073665" y="866232"/>
                    <a:pt x="1065331" y="850675"/>
                    <a:pt x="1051996" y="855675"/>
                  </a:cubicBezTo>
                  <a:cubicBezTo>
                    <a:pt x="1042551" y="859564"/>
                    <a:pt x="1036439" y="865676"/>
                    <a:pt x="1039773" y="877344"/>
                  </a:cubicBezTo>
                  <a:cubicBezTo>
                    <a:pt x="1041995" y="885123"/>
                    <a:pt x="1030327" y="891234"/>
                    <a:pt x="1021437" y="886789"/>
                  </a:cubicBezTo>
                  <a:cubicBezTo>
                    <a:pt x="1008659" y="880122"/>
                    <a:pt x="997546" y="877899"/>
                    <a:pt x="981989" y="881788"/>
                  </a:cubicBezTo>
                  <a:cubicBezTo>
                    <a:pt x="963654" y="886234"/>
                    <a:pt x="964766" y="858453"/>
                    <a:pt x="949764" y="849008"/>
                  </a:cubicBezTo>
                  <a:cubicBezTo>
                    <a:pt x="1004769" y="849008"/>
                    <a:pt x="1060330" y="849008"/>
                    <a:pt x="1115335" y="849008"/>
                  </a:cubicBezTo>
                  <a:cubicBezTo>
                    <a:pt x="1137560" y="849008"/>
                    <a:pt x="1159228" y="848452"/>
                    <a:pt x="1181452" y="849008"/>
                  </a:cubicBezTo>
                  <a:cubicBezTo>
                    <a:pt x="1187286" y="849008"/>
                    <a:pt x="1193398" y="847619"/>
                    <a:pt x="1198676" y="848730"/>
                  </a:cubicBezTo>
                  <a:cubicBezTo>
                    <a:pt x="1203954" y="849841"/>
                    <a:pt x="1208399" y="853453"/>
                    <a:pt x="1210899" y="863454"/>
                  </a:cubicBezTo>
                  <a:cubicBezTo>
                    <a:pt x="1212567" y="869565"/>
                    <a:pt x="1238679" y="877344"/>
                    <a:pt x="1246459" y="872343"/>
                  </a:cubicBezTo>
                  <a:cubicBezTo>
                    <a:pt x="1258126" y="865676"/>
                    <a:pt x="1262016" y="877344"/>
                    <a:pt x="1269794" y="874566"/>
                  </a:cubicBezTo>
                  <a:cubicBezTo>
                    <a:pt x="1275906" y="864564"/>
                    <a:pt x="1262571" y="860676"/>
                    <a:pt x="1262571" y="849008"/>
                  </a:cubicBezTo>
                  <a:cubicBezTo>
                    <a:pt x="1280906" y="849008"/>
                    <a:pt x="1299796" y="849008"/>
                    <a:pt x="1318687" y="849008"/>
                  </a:cubicBezTo>
                  <a:cubicBezTo>
                    <a:pt x="1395916" y="849008"/>
                    <a:pt x="1472590" y="849008"/>
                    <a:pt x="1549819" y="849008"/>
                  </a:cubicBezTo>
                  <a:cubicBezTo>
                    <a:pt x="1554820" y="849008"/>
                    <a:pt x="1559821" y="849008"/>
                    <a:pt x="1564822" y="849564"/>
                  </a:cubicBezTo>
                  <a:cubicBezTo>
                    <a:pt x="1571488" y="849564"/>
                    <a:pt x="1574266" y="854008"/>
                    <a:pt x="1572599" y="859564"/>
                  </a:cubicBezTo>
                  <a:cubicBezTo>
                    <a:pt x="1570933" y="865120"/>
                    <a:pt x="1566488" y="864009"/>
                    <a:pt x="1562599" y="861787"/>
                  </a:cubicBezTo>
                  <a:cubicBezTo>
                    <a:pt x="1558709" y="859008"/>
                    <a:pt x="1554265" y="856231"/>
                    <a:pt x="1548708" y="857898"/>
                  </a:cubicBezTo>
                  <a:cubicBezTo>
                    <a:pt x="1543708" y="859564"/>
                    <a:pt x="1538152" y="861787"/>
                    <a:pt x="1538152" y="867343"/>
                  </a:cubicBezTo>
                  <a:cubicBezTo>
                    <a:pt x="1538152" y="874010"/>
                    <a:pt x="1543708" y="875677"/>
                    <a:pt x="1549264" y="874566"/>
                  </a:cubicBezTo>
                  <a:cubicBezTo>
                    <a:pt x="1564822" y="871788"/>
                    <a:pt x="1583711" y="876232"/>
                    <a:pt x="1592046" y="855675"/>
                  </a:cubicBezTo>
                  <a:cubicBezTo>
                    <a:pt x="1593712" y="851092"/>
                    <a:pt x="1626007" y="847758"/>
                    <a:pt x="1643457" y="848487"/>
                  </a:cubicBezTo>
                  <a:close/>
                  <a:moveTo>
                    <a:pt x="2459349" y="759555"/>
                  </a:moveTo>
                  <a:cubicBezTo>
                    <a:pt x="2444903" y="769556"/>
                    <a:pt x="2450459" y="782890"/>
                    <a:pt x="2451570" y="795669"/>
                  </a:cubicBezTo>
                  <a:cubicBezTo>
                    <a:pt x="2452681" y="808448"/>
                    <a:pt x="2457682" y="822894"/>
                    <a:pt x="2469350" y="820116"/>
                  </a:cubicBezTo>
                  <a:cubicBezTo>
                    <a:pt x="2482685" y="816782"/>
                    <a:pt x="2493241" y="802892"/>
                    <a:pt x="2491574" y="785113"/>
                  </a:cubicBezTo>
                  <a:cubicBezTo>
                    <a:pt x="2489908" y="764555"/>
                    <a:pt x="2465461" y="773445"/>
                    <a:pt x="2459349" y="759555"/>
                  </a:cubicBezTo>
                  <a:close/>
                  <a:moveTo>
                    <a:pt x="2477298" y="0"/>
                  </a:moveTo>
                  <a:lnTo>
                    <a:pt x="2558247" y="0"/>
                  </a:lnTo>
                  <a:lnTo>
                    <a:pt x="2558247" y="713439"/>
                  </a:lnTo>
                  <a:cubicBezTo>
                    <a:pt x="2558247" y="801225"/>
                    <a:pt x="2500464" y="881233"/>
                    <a:pt x="2417123" y="910125"/>
                  </a:cubicBezTo>
                  <a:cubicBezTo>
                    <a:pt x="2409345" y="912903"/>
                    <a:pt x="2401566" y="916236"/>
                    <a:pt x="2393788" y="919015"/>
                  </a:cubicBezTo>
                  <a:cubicBezTo>
                    <a:pt x="2366562" y="920682"/>
                    <a:pt x="2339894" y="921792"/>
                    <a:pt x="2312114" y="923459"/>
                  </a:cubicBezTo>
                  <a:cubicBezTo>
                    <a:pt x="2313225" y="911791"/>
                    <a:pt x="2334338" y="914570"/>
                    <a:pt x="2328782" y="899568"/>
                  </a:cubicBezTo>
                  <a:cubicBezTo>
                    <a:pt x="2325448" y="891234"/>
                    <a:pt x="2320447" y="886789"/>
                    <a:pt x="2311002" y="890123"/>
                  </a:cubicBezTo>
                  <a:cubicBezTo>
                    <a:pt x="2308224" y="897902"/>
                    <a:pt x="2321003" y="899012"/>
                    <a:pt x="2317670" y="908458"/>
                  </a:cubicBezTo>
                  <a:cubicBezTo>
                    <a:pt x="2310446" y="906235"/>
                    <a:pt x="2303223" y="903458"/>
                    <a:pt x="2296001" y="901235"/>
                  </a:cubicBezTo>
                  <a:cubicBezTo>
                    <a:pt x="2291000" y="899568"/>
                    <a:pt x="2301002" y="885123"/>
                    <a:pt x="2289333" y="891790"/>
                  </a:cubicBezTo>
                  <a:cubicBezTo>
                    <a:pt x="2284888" y="894567"/>
                    <a:pt x="2272109" y="896790"/>
                    <a:pt x="2275442" y="908458"/>
                  </a:cubicBezTo>
                  <a:cubicBezTo>
                    <a:pt x="2279888" y="924015"/>
                    <a:pt x="2269886" y="922348"/>
                    <a:pt x="2259886" y="922348"/>
                  </a:cubicBezTo>
                  <a:cubicBezTo>
                    <a:pt x="2162099" y="921792"/>
                    <a:pt x="2063756" y="921792"/>
                    <a:pt x="1965969" y="922348"/>
                  </a:cubicBezTo>
                  <a:cubicBezTo>
                    <a:pt x="1944301" y="922348"/>
                    <a:pt x="1948190" y="904013"/>
                    <a:pt x="1947635" y="894567"/>
                  </a:cubicBezTo>
                  <a:cubicBezTo>
                    <a:pt x="1947635" y="879011"/>
                    <a:pt x="1939300" y="877899"/>
                    <a:pt x="1929300" y="879011"/>
                  </a:cubicBezTo>
                  <a:cubicBezTo>
                    <a:pt x="1913743" y="880678"/>
                    <a:pt x="1924855" y="889011"/>
                    <a:pt x="1925966" y="895123"/>
                  </a:cubicBezTo>
                  <a:cubicBezTo>
                    <a:pt x="1928188" y="906235"/>
                    <a:pt x="1921521" y="904013"/>
                    <a:pt x="1914298" y="903458"/>
                  </a:cubicBezTo>
                  <a:cubicBezTo>
                    <a:pt x="1894296" y="902347"/>
                    <a:pt x="1888185" y="882344"/>
                    <a:pt x="1874850" y="872899"/>
                  </a:cubicBezTo>
                  <a:cubicBezTo>
                    <a:pt x="1858737" y="861787"/>
                    <a:pt x="1847069" y="862898"/>
                    <a:pt x="1832069" y="868454"/>
                  </a:cubicBezTo>
                  <a:cubicBezTo>
                    <a:pt x="1827068" y="861787"/>
                    <a:pt x="1819845" y="861231"/>
                    <a:pt x="1812622" y="859009"/>
                  </a:cubicBezTo>
                  <a:cubicBezTo>
                    <a:pt x="1814845" y="869010"/>
                    <a:pt x="1800398" y="876788"/>
                    <a:pt x="1806510" y="885678"/>
                  </a:cubicBezTo>
                  <a:cubicBezTo>
                    <a:pt x="1814845" y="897346"/>
                    <a:pt x="1797065" y="905680"/>
                    <a:pt x="1805399" y="917347"/>
                  </a:cubicBezTo>
                  <a:cubicBezTo>
                    <a:pt x="1808177" y="920682"/>
                    <a:pt x="1800398" y="922348"/>
                    <a:pt x="1796509" y="922348"/>
                  </a:cubicBezTo>
                  <a:cubicBezTo>
                    <a:pt x="1769285" y="922348"/>
                    <a:pt x="1741504" y="921792"/>
                    <a:pt x="1713724" y="922348"/>
                  </a:cubicBezTo>
                  <a:cubicBezTo>
                    <a:pt x="1703723" y="922903"/>
                    <a:pt x="1703167" y="917347"/>
                    <a:pt x="1704278" y="910125"/>
                  </a:cubicBezTo>
                  <a:cubicBezTo>
                    <a:pt x="1710946" y="905124"/>
                    <a:pt x="1720391" y="921237"/>
                    <a:pt x="1724836" y="909569"/>
                  </a:cubicBezTo>
                  <a:cubicBezTo>
                    <a:pt x="1728169" y="901235"/>
                    <a:pt x="1722058" y="893456"/>
                    <a:pt x="1714279" y="888456"/>
                  </a:cubicBezTo>
                  <a:cubicBezTo>
                    <a:pt x="1700389" y="879567"/>
                    <a:pt x="1715946" y="861231"/>
                    <a:pt x="1700389" y="851231"/>
                  </a:cubicBezTo>
                  <a:cubicBezTo>
                    <a:pt x="1861515" y="851231"/>
                    <a:pt x="2019308" y="851231"/>
                    <a:pt x="2177656" y="851231"/>
                  </a:cubicBezTo>
                  <a:cubicBezTo>
                    <a:pt x="2167099" y="859564"/>
                    <a:pt x="2152654" y="865676"/>
                    <a:pt x="2158210" y="881233"/>
                  </a:cubicBezTo>
                  <a:cubicBezTo>
                    <a:pt x="2163210" y="894567"/>
                    <a:pt x="2176545" y="898457"/>
                    <a:pt x="2190991" y="899568"/>
                  </a:cubicBezTo>
                  <a:cubicBezTo>
                    <a:pt x="2200436" y="900679"/>
                    <a:pt x="2209326" y="905124"/>
                    <a:pt x="2219882" y="904569"/>
                  </a:cubicBezTo>
                  <a:cubicBezTo>
                    <a:pt x="2209326" y="897346"/>
                    <a:pt x="2198770" y="890123"/>
                    <a:pt x="2188213" y="882900"/>
                  </a:cubicBezTo>
                  <a:cubicBezTo>
                    <a:pt x="2180990" y="878455"/>
                    <a:pt x="2179879" y="869566"/>
                    <a:pt x="2183767" y="865120"/>
                  </a:cubicBezTo>
                  <a:cubicBezTo>
                    <a:pt x="2190991" y="856231"/>
                    <a:pt x="2202658" y="854564"/>
                    <a:pt x="2213215" y="855120"/>
                  </a:cubicBezTo>
                  <a:cubicBezTo>
                    <a:pt x="2224882" y="855120"/>
                    <a:pt x="2217104" y="861787"/>
                    <a:pt x="2215993" y="866787"/>
                  </a:cubicBezTo>
                  <a:cubicBezTo>
                    <a:pt x="2214326" y="878455"/>
                    <a:pt x="2225994" y="872899"/>
                    <a:pt x="2230994" y="876232"/>
                  </a:cubicBezTo>
                  <a:cubicBezTo>
                    <a:pt x="2234328" y="879011"/>
                    <a:pt x="2242106" y="877899"/>
                    <a:pt x="2243218" y="869010"/>
                  </a:cubicBezTo>
                  <a:cubicBezTo>
                    <a:pt x="2243774" y="861787"/>
                    <a:pt x="2239884" y="856231"/>
                    <a:pt x="2232662" y="847896"/>
                  </a:cubicBezTo>
                  <a:cubicBezTo>
                    <a:pt x="2344894" y="858453"/>
                    <a:pt x="2425457" y="817893"/>
                    <a:pt x="2471017" y="716773"/>
                  </a:cubicBezTo>
                  <a:cubicBezTo>
                    <a:pt x="2473240" y="706217"/>
                    <a:pt x="2475461" y="696216"/>
                    <a:pt x="2477684" y="685659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E84DBD63-CE08-4939-9733-225F855B6C1C}"/>
                </a:ext>
              </a:extLst>
            </p:cNvPr>
            <p:cNvSpPr/>
            <p:nvPr/>
          </p:nvSpPr>
          <p:spPr>
            <a:xfrm>
              <a:off x="2927190" y="6465410"/>
              <a:ext cx="3321685" cy="76019"/>
            </a:xfrm>
            <a:custGeom>
              <a:avLst/>
              <a:gdLst>
                <a:gd name="connsiteX0" fmla="*/ 1323163 w 1645441"/>
                <a:gd name="connsiteY0" fmla="*/ 28780 h 37657"/>
                <a:gd name="connsiteX1" fmla="*/ 1333347 w 1645441"/>
                <a:gd name="connsiteY1" fmla="*/ 36796 h 37657"/>
                <a:gd name="connsiteX2" fmla="*/ 1312980 w 1645441"/>
                <a:gd name="connsiteY2" fmla="*/ 36245 h 37657"/>
                <a:gd name="connsiteX3" fmla="*/ 1323163 w 1645441"/>
                <a:gd name="connsiteY3" fmla="*/ 28780 h 37657"/>
                <a:gd name="connsiteX4" fmla="*/ 502405 w 1645441"/>
                <a:gd name="connsiteY4" fmla="*/ 28666 h 37657"/>
                <a:gd name="connsiteX5" fmla="*/ 512589 w 1645441"/>
                <a:gd name="connsiteY5" fmla="*/ 36682 h 37657"/>
                <a:gd name="connsiteX6" fmla="*/ 492222 w 1645441"/>
                <a:gd name="connsiteY6" fmla="*/ 36131 h 37657"/>
                <a:gd name="connsiteX7" fmla="*/ 502405 w 1645441"/>
                <a:gd name="connsiteY7" fmla="*/ 28666 h 37657"/>
                <a:gd name="connsiteX8" fmla="*/ 1645441 w 1645441"/>
                <a:gd name="connsiteY8" fmla="*/ 21503 h 37657"/>
                <a:gd name="connsiteX9" fmla="*/ 1645441 w 1645441"/>
                <a:gd name="connsiteY9" fmla="*/ 33701 h 37657"/>
                <a:gd name="connsiteX10" fmla="*/ 1640157 w 1645441"/>
                <a:gd name="connsiteY10" fmla="*/ 32461 h 37657"/>
                <a:gd name="connsiteX11" fmla="*/ 1639950 w 1645441"/>
                <a:gd name="connsiteY11" fmla="*/ 27438 h 37657"/>
                <a:gd name="connsiteX12" fmla="*/ 833779 w 1645441"/>
                <a:gd name="connsiteY12" fmla="*/ 19618 h 37657"/>
                <a:gd name="connsiteX13" fmla="*/ 843962 w 1645441"/>
                <a:gd name="connsiteY13" fmla="*/ 30627 h 37657"/>
                <a:gd name="connsiteX14" fmla="*/ 824972 w 1645441"/>
                <a:gd name="connsiteY14" fmla="*/ 33655 h 37657"/>
                <a:gd name="connsiteX15" fmla="*/ 819192 w 1645441"/>
                <a:gd name="connsiteY15" fmla="*/ 27324 h 37657"/>
                <a:gd name="connsiteX16" fmla="*/ 833779 w 1645441"/>
                <a:gd name="connsiteY16" fmla="*/ 19618 h 37657"/>
                <a:gd name="connsiteX17" fmla="*/ 1645441 w 1645441"/>
                <a:gd name="connsiteY17" fmla="*/ 5017 h 37657"/>
                <a:gd name="connsiteX18" fmla="*/ 1645441 w 1645441"/>
                <a:gd name="connsiteY18" fmla="*/ 6122 h 37657"/>
                <a:gd name="connsiteX19" fmla="*/ 1644904 w 1645441"/>
                <a:gd name="connsiteY19" fmla="*/ 5420 h 37657"/>
                <a:gd name="connsiteX20" fmla="*/ 18831 w 1645441"/>
                <a:gd name="connsiteY20" fmla="*/ 627 h 37657"/>
                <a:gd name="connsiteX21" fmla="*/ 78005 w 1645441"/>
                <a:gd name="connsiteY21" fmla="*/ 627 h 37657"/>
                <a:gd name="connsiteX22" fmla="*/ 144609 w 1645441"/>
                <a:gd name="connsiteY22" fmla="*/ 627 h 37657"/>
                <a:gd name="connsiteX23" fmla="*/ 155894 w 1645441"/>
                <a:gd name="connsiteY23" fmla="*/ 5580 h 37657"/>
                <a:gd name="connsiteX24" fmla="*/ 154518 w 1645441"/>
                <a:gd name="connsiteY24" fmla="*/ 19617 h 37657"/>
                <a:gd name="connsiteX25" fmla="*/ 147362 w 1645441"/>
                <a:gd name="connsiteY25" fmla="*/ 34754 h 37657"/>
                <a:gd name="connsiteX26" fmla="*/ 143509 w 1645441"/>
                <a:gd name="connsiteY26" fmla="*/ 36681 h 37657"/>
                <a:gd name="connsiteX27" fmla="*/ 105252 w 1645441"/>
                <a:gd name="connsiteY27" fmla="*/ 33653 h 37657"/>
                <a:gd name="connsiteX28" fmla="*/ 99197 w 1645441"/>
                <a:gd name="connsiteY28" fmla="*/ 33103 h 37657"/>
                <a:gd name="connsiteX29" fmla="*/ 16904 w 1645441"/>
                <a:gd name="connsiteY29" fmla="*/ 36406 h 37657"/>
                <a:gd name="connsiteX30" fmla="*/ 115 w 1645441"/>
                <a:gd name="connsiteY30" fmla="*/ 19066 h 37657"/>
                <a:gd name="connsiteX31" fmla="*/ 18831 w 1645441"/>
                <a:gd name="connsiteY31" fmla="*/ 627 h 37657"/>
                <a:gd name="connsiteX32" fmla="*/ 168624 w 1645441"/>
                <a:gd name="connsiteY32" fmla="*/ 524 h 37657"/>
                <a:gd name="connsiteX33" fmla="*/ 175711 w 1645441"/>
                <a:gd name="connsiteY33" fmla="*/ 4480 h 37657"/>
                <a:gd name="connsiteX34" fmla="*/ 182591 w 1645441"/>
                <a:gd name="connsiteY34" fmla="*/ 8609 h 37657"/>
                <a:gd name="connsiteX35" fmla="*/ 177087 w 1645441"/>
                <a:gd name="connsiteY35" fmla="*/ 11361 h 37657"/>
                <a:gd name="connsiteX36" fmla="*/ 161123 w 1645441"/>
                <a:gd name="connsiteY36" fmla="*/ 8334 h 37657"/>
                <a:gd name="connsiteX37" fmla="*/ 161123 w 1645441"/>
                <a:gd name="connsiteY37" fmla="*/ 2554 h 37657"/>
                <a:gd name="connsiteX38" fmla="*/ 168624 w 1645441"/>
                <a:gd name="connsiteY38" fmla="*/ 524 h 37657"/>
                <a:gd name="connsiteX39" fmla="*/ 1260961 w 1645441"/>
                <a:gd name="connsiteY39" fmla="*/ 465 h 37657"/>
                <a:gd name="connsiteX40" fmla="*/ 1271420 w 1645441"/>
                <a:gd name="connsiteY40" fmla="*/ 8447 h 37657"/>
                <a:gd name="connsiteX41" fmla="*/ 1278575 w 1645441"/>
                <a:gd name="connsiteY41" fmla="*/ 31566 h 37657"/>
                <a:gd name="connsiteX42" fmla="*/ 1268392 w 1645441"/>
                <a:gd name="connsiteY42" fmla="*/ 37071 h 37657"/>
                <a:gd name="connsiteX43" fmla="*/ 1152797 w 1645441"/>
                <a:gd name="connsiteY43" fmla="*/ 37071 h 37657"/>
                <a:gd name="connsiteX44" fmla="*/ 1117568 w 1645441"/>
                <a:gd name="connsiteY44" fmla="*/ 37071 h 37657"/>
                <a:gd name="connsiteX45" fmla="*/ 1093176 w 1645441"/>
                <a:gd name="connsiteY45" fmla="*/ 35557 h 37657"/>
                <a:gd name="connsiteX46" fmla="*/ 1092403 w 1645441"/>
                <a:gd name="connsiteY46" fmla="*/ 35283 h 37657"/>
                <a:gd name="connsiteX47" fmla="*/ 1092403 w 1645441"/>
                <a:gd name="connsiteY47" fmla="*/ 36682 h 37657"/>
                <a:gd name="connsiteX48" fmla="*/ 1061686 w 1645441"/>
                <a:gd name="connsiteY48" fmla="*/ 36682 h 37657"/>
                <a:gd name="connsiteX49" fmla="*/ 1061696 w 1645441"/>
                <a:gd name="connsiteY49" fmla="*/ 36795 h 37657"/>
                <a:gd name="connsiteX50" fmla="*/ 1010880 w 1645441"/>
                <a:gd name="connsiteY50" fmla="*/ 36795 h 37657"/>
                <a:gd name="connsiteX51" fmla="*/ 1010880 w 1645441"/>
                <a:gd name="connsiteY51" fmla="*/ 36682 h 37657"/>
                <a:gd name="connsiteX52" fmla="*/ 973870 w 1645441"/>
                <a:gd name="connsiteY52" fmla="*/ 36682 h 37657"/>
                <a:gd name="connsiteX53" fmla="*/ 964787 w 1645441"/>
                <a:gd name="connsiteY53" fmla="*/ 22920 h 37657"/>
                <a:gd name="connsiteX54" fmla="*/ 955705 w 1645441"/>
                <a:gd name="connsiteY54" fmla="*/ 15214 h 37657"/>
                <a:gd name="connsiteX55" fmla="*/ 954054 w 1645441"/>
                <a:gd name="connsiteY55" fmla="*/ 23196 h 37657"/>
                <a:gd name="connsiteX56" fmla="*/ 948273 w 1645441"/>
                <a:gd name="connsiteY56" fmla="*/ 27324 h 37657"/>
                <a:gd name="connsiteX57" fmla="*/ 928732 w 1645441"/>
                <a:gd name="connsiteY57" fmla="*/ 12187 h 37657"/>
                <a:gd name="connsiteX58" fmla="*/ 907540 w 1645441"/>
                <a:gd name="connsiteY58" fmla="*/ 9985 h 37657"/>
                <a:gd name="connsiteX59" fmla="*/ 897907 w 1645441"/>
                <a:gd name="connsiteY59" fmla="*/ 5306 h 37657"/>
                <a:gd name="connsiteX60" fmla="*/ 894880 w 1645441"/>
                <a:gd name="connsiteY60" fmla="*/ 18517 h 37657"/>
                <a:gd name="connsiteX61" fmla="*/ 894329 w 1645441"/>
                <a:gd name="connsiteY61" fmla="*/ 34205 h 37657"/>
                <a:gd name="connsiteX62" fmla="*/ 889925 w 1645441"/>
                <a:gd name="connsiteY62" fmla="*/ 36682 h 37657"/>
                <a:gd name="connsiteX63" fmla="*/ 848916 w 1645441"/>
                <a:gd name="connsiteY63" fmla="*/ 36682 h 37657"/>
                <a:gd name="connsiteX64" fmla="*/ 844238 w 1645441"/>
                <a:gd name="connsiteY64" fmla="*/ 30627 h 37657"/>
                <a:gd name="connsiteX65" fmla="*/ 854421 w 1645441"/>
                <a:gd name="connsiteY65" fmla="*/ 30352 h 37657"/>
                <a:gd name="connsiteX66" fmla="*/ 849192 w 1645441"/>
                <a:gd name="connsiteY66" fmla="*/ 19893 h 37657"/>
                <a:gd name="connsiteX67" fmla="*/ 842311 w 1645441"/>
                <a:gd name="connsiteY67" fmla="*/ 1453 h 37657"/>
                <a:gd name="connsiteX68" fmla="*/ 1010880 w 1645441"/>
                <a:gd name="connsiteY68" fmla="*/ 1453 h 37657"/>
                <a:gd name="connsiteX69" fmla="*/ 1010880 w 1645441"/>
                <a:gd name="connsiteY69" fmla="*/ 973 h 37657"/>
                <a:gd name="connsiteX70" fmla="*/ 1012190 w 1645441"/>
                <a:gd name="connsiteY70" fmla="*/ 1016 h 37657"/>
                <a:gd name="connsiteX71" fmla="*/ 1012704 w 1645441"/>
                <a:gd name="connsiteY71" fmla="*/ 1453 h 37657"/>
                <a:gd name="connsiteX72" fmla="*/ 1060146 w 1645441"/>
                <a:gd name="connsiteY72" fmla="*/ 1453 h 37657"/>
                <a:gd name="connsiteX73" fmla="*/ 1060355 w 1645441"/>
                <a:gd name="connsiteY73" fmla="*/ 1256 h 37657"/>
                <a:gd name="connsiteX74" fmla="*/ 1066100 w 1645441"/>
                <a:gd name="connsiteY74" fmla="*/ 740 h 37657"/>
                <a:gd name="connsiteX75" fmla="*/ 1260961 w 1645441"/>
                <a:gd name="connsiteY75" fmla="*/ 465 h 37657"/>
                <a:gd name="connsiteX76" fmla="*/ 830751 w 1645441"/>
                <a:gd name="connsiteY76" fmla="*/ 352 h 37657"/>
                <a:gd name="connsiteX77" fmla="*/ 834330 w 1645441"/>
                <a:gd name="connsiteY77" fmla="*/ 3654 h 37657"/>
                <a:gd name="connsiteX78" fmla="*/ 827724 w 1645441"/>
                <a:gd name="connsiteY78" fmla="*/ 9984 h 37657"/>
                <a:gd name="connsiteX79" fmla="*/ 824146 w 1645441"/>
                <a:gd name="connsiteY79" fmla="*/ 5306 h 37657"/>
                <a:gd name="connsiteX80" fmla="*/ 830751 w 1645441"/>
                <a:gd name="connsiteY80" fmla="*/ 352 h 37657"/>
                <a:gd name="connsiteX81" fmla="*/ 440203 w 1645441"/>
                <a:gd name="connsiteY81" fmla="*/ 351 h 37657"/>
                <a:gd name="connsiteX82" fmla="*/ 450662 w 1645441"/>
                <a:gd name="connsiteY82" fmla="*/ 8333 h 37657"/>
                <a:gd name="connsiteX83" fmla="*/ 457817 w 1645441"/>
                <a:gd name="connsiteY83" fmla="*/ 31452 h 37657"/>
                <a:gd name="connsiteX84" fmla="*/ 447634 w 1645441"/>
                <a:gd name="connsiteY84" fmla="*/ 36957 h 37657"/>
                <a:gd name="connsiteX85" fmla="*/ 332039 w 1645441"/>
                <a:gd name="connsiteY85" fmla="*/ 36957 h 37657"/>
                <a:gd name="connsiteX86" fmla="*/ 296810 w 1645441"/>
                <a:gd name="connsiteY86" fmla="*/ 36957 h 37657"/>
                <a:gd name="connsiteX87" fmla="*/ 249471 w 1645441"/>
                <a:gd name="connsiteY87" fmla="*/ 27324 h 37657"/>
                <a:gd name="connsiteX88" fmla="*/ 240113 w 1645441"/>
                <a:gd name="connsiteY88" fmla="*/ 27048 h 37657"/>
                <a:gd name="connsiteX89" fmla="*/ 240938 w 1645441"/>
                <a:gd name="connsiteY89" fmla="*/ 36681 h 37657"/>
                <a:gd name="connsiteX90" fmla="*/ 158921 w 1645441"/>
                <a:gd name="connsiteY90" fmla="*/ 36681 h 37657"/>
                <a:gd name="connsiteX91" fmla="*/ 164426 w 1645441"/>
                <a:gd name="connsiteY91" fmla="*/ 25122 h 37657"/>
                <a:gd name="connsiteX92" fmla="*/ 169379 w 1645441"/>
                <a:gd name="connsiteY92" fmla="*/ 20718 h 37657"/>
                <a:gd name="connsiteX93" fmla="*/ 194701 w 1645441"/>
                <a:gd name="connsiteY93" fmla="*/ 7507 h 37657"/>
                <a:gd name="connsiteX94" fmla="*/ 182866 w 1645441"/>
                <a:gd name="connsiteY94" fmla="*/ 626 h 37657"/>
                <a:gd name="connsiteX95" fmla="*/ 198554 w 1645441"/>
                <a:gd name="connsiteY95" fmla="*/ 6957 h 37657"/>
                <a:gd name="connsiteX96" fmla="*/ 234883 w 1645441"/>
                <a:gd name="connsiteY96" fmla="*/ 5580 h 37657"/>
                <a:gd name="connsiteX97" fmla="*/ 245342 w 1645441"/>
                <a:gd name="connsiteY97" fmla="*/ 626 h 37657"/>
                <a:gd name="connsiteX98" fmla="*/ 440203 w 1645441"/>
                <a:gd name="connsiteY98" fmla="*/ 351 h 37657"/>
                <a:gd name="connsiteX99" fmla="*/ 1634867 w 1645441"/>
                <a:gd name="connsiteY99" fmla="*/ 207 h 37657"/>
                <a:gd name="connsiteX100" fmla="*/ 1640226 w 1645441"/>
                <a:gd name="connsiteY100" fmla="*/ 1291 h 37657"/>
                <a:gd name="connsiteX101" fmla="*/ 1637748 w 1645441"/>
                <a:gd name="connsiteY101" fmla="*/ 9548 h 37657"/>
                <a:gd name="connsiteX102" fmla="*/ 1612428 w 1645441"/>
                <a:gd name="connsiteY102" fmla="*/ 34594 h 37657"/>
                <a:gd name="connsiteX103" fmla="*/ 1613804 w 1645441"/>
                <a:gd name="connsiteY103" fmla="*/ 22483 h 37657"/>
                <a:gd name="connsiteX104" fmla="*/ 1602795 w 1645441"/>
                <a:gd name="connsiteY104" fmla="*/ 17254 h 37657"/>
                <a:gd name="connsiteX105" fmla="*/ 1604996 w 1645441"/>
                <a:gd name="connsiteY105" fmla="*/ 28814 h 37657"/>
                <a:gd name="connsiteX106" fmla="*/ 1585180 w 1645441"/>
                <a:gd name="connsiteY106" fmla="*/ 25236 h 37657"/>
                <a:gd name="connsiteX107" fmla="*/ 1587657 w 1645441"/>
                <a:gd name="connsiteY107" fmla="*/ 36245 h 37657"/>
                <a:gd name="connsiteX108" fmla="*/ 1506190 w 1645441"/>
                <a:gd name="connsiteY108" fmla="*/ 36245 h 37657"/>
                <a:gd name="connsiteX109" fmla="*/ 1481695 w 1645441"/>
                <a:gd name="connsiteY109" fmla="*/ 12025 h 37657"/>
                <a:gd name="connsiteX110" fmla="*/ 1465731 w 1645441"/>
                <a:gd name="connsiteY110" fmla="*/ 22759 h 37657"/>
                <a:gd name="connsiteX111" fmla="*/ 1467658 w 1645441"/>
                <a:gd name="connsiteY111" fmla="*/ 33218 h 37657"/>
                <a:gd name="connsiteX112" fmla="*/ 1467933 w 1645441"/>
                <a:gd name="connsiteY112" fmla="*/ 34869 h 37657"/>
                <a:gd name="connsiteX113" fmla="*/ 1439310 w 1645441"/>
                <a:gd name="connsiteY113" fmla="*/ 36520 h 37657"/>
                <a:gd name="connsiteX114" fmla="*/ 1363897 w 1645441"/>
                <a:gd name="connsiteY114" fmla="*/ 36795 h 37657"/>
                <a:gd name="connsiteX115" fmla="*/ 1349310 w 1645441"/>
                <a:gd name="connsiteY115" fmla="*/ 26061 h 37657"/>
                <a:gd name="connsiteX116" fmla="*/ 1346007 w 1645441"/>
                <a:gd name="connsiteY116" fmla="*/ 19456 h 37657"/>
                <a:gd name="connsiteX117" fmla="*/ 1354264 w 1645441"/>
                <a:gd name="connsiteY117" fmla="*/ 11474 h 37657"/>
                <a:gd name="connsiteX118" fmla="*/ 1341879 w 1645441"/>
                <a:gd name="connsiteY118" fmla="*/ 3768 h 37657"/>
                <a:gd name="connsiteX119" fmla="*/ 1335824 w 1645441"/>
                <a:gd name="connsiteY119" fmla="*/ 14502 h 37657"/>
                <a:gd name="connsiteX120" fmla="*/ 1326741 w 1645441"/>
                <a:gd name="connsiteY120" fmla="*/ 19181 h 37657"/>
                <a:gd name="connsiteX121" fmla="*/ 1307200 w 1645441"/>
                <a:gd name="connsiteY121" fmla="*/ 16704 h 37657"/>
                <a:gd name="connsiteX122" fmla="*/ 1291237 w 1645441"/>
                <a:gd name="connsiteY122" fmla="*/ 465 h 37657"/>
                <a:gd name="connsiteX123" fmla="*/ 1373255 w 1645441"/>
                <a:gd name="connsiteY123" fmla="*/ 465 h 37657"/>
                <a:gd name="connsiteX124" fmla="*/ 1406007 w 1645441"/>
                <a:gd name="connsiteY124" fmla="*/ 465 h 37657"/>
                <a:gd name="connsiteX125" fmla="*/ 1414539 w 1645441"/>
                <a:gd name="connsiteY125" fmla="*/ 328 h 37657"/>
                <a:gd name="connsiteX126" fmla="*/ 1420594 w 1645441"/>
                <a:gd name="connsiteY126" fmla="*/ 7621 h 37657"/>
                <a:gd name="connsiteX127" fmla="*/ 1438209 w 1645441"/>
                <a:gd name="connsiteY127" fmla="*/ 12025 h 37657"/>
                <a:gd name="connsiteX128" fmla="*/ 1449768 w 1645441"/>
                <a:gd name="connsiteY128" fmla="*/ 13126 h 37657"/>
                <a:gd name="connsiteX129" fmla="*/ 1446190 w 1645441"/>
                <a:gd name="connsiteY129" fmla="*/ 465 h 37657"/>
                <a:gd name="connsiteX130" fmla="*/ 1473988 w 1645441"/>
                <a:gd name="connsiteY130" fmla="*/ 465 h 37657"/>
                <a:gd name="connsiteX131" fmla="*/ 1588483 w 1645441"/>
                <a:gd name="connsiteY131" fmla="*/ 465 h 37657"/>
                <a:gd name="connsiteX132" fmla="*/ 1595914 w 1645441"/>
                <a:gd name="connsiteY132" fmla="*/ 741 h 37657"/>
                <a:gd name="connsiteX133" fmla="*/ 1599767 w 1645441"/>
                <a:gd name="connsiteY133" fmla="*/ 5694 h 37657"/>
                <a:gd name="connsiteX134" fmla="*/ 1594813 w 1645441"/>
                <a:gd name="connsiteY134" fmla="*/ 6795 h 37657"/>
                <a:gd name="connsiteX135" fmla="*/ 1587932 w 1645441"/>
                <a:gd name="connsiteY135" fmla="*/ 4869 h 37657"/>
                <a:gd name="connsiteX136" fmla="*/ 1582703 w 1645441"/>
                <a:gd name="connsiteY136" fmla="*/ 9548 h 37657"/>
                <a:gd name="connsiteX137" fmla="*/ 1588208 w 1645441"/>
                <a:gd name="connsiteY137" fmla="*/ 13126 h 37657"/>
                <a:gd name="connsiteX138" fmla="*/ 1609400 w 1645441"/>
                <a:gd name="connsiteY138" fmla="*/ 3768 h 37657"/>
                <a:gd name="connsiteX139" fmla="*/ 1634867 w 1645441"/>
                <a:gd name="connsiteY139" fmla="*/ 207 h 37657"/>
                <a:gd name="connsiteX140" fmla="*/ 814109 w 1645441"/>
                <a:gd name="connsiteY140" fmla="*/ 93 h 37657"/>
                <a:gd name="connsiteX141" fmla="*/ 819468 w 1645441"/>
                <a:gd name="connsiteY141" fmla="*/ 1177 h 37657"/>
                <a:gd name="connsiteX142" fmla="*/ 816990 w 1645441"/>
                <a:gd name="connsiteY142" fmla="*/ 9434 h 37657"/>
                <a:gd name="connsiteX143" fmla="*/ 791670 w 1645441"/>
                <a:gd name="connsiteY143" fmla="*/ 34480 h 37657"/>
                <a:gd name="connsiteX144" fmla="*/ 793046 w 1645441"/>
                <a:gd name="connsiteY144" fmla="*/ 22369 h 37657"/>
                <a:gd name="connsiteX145" fmla="*/ 782037 w 1645441"/>
                <a:gd name="connsiteY145" fmla="*/ 17140 h 37657"/>
                <a:gd name="connsiteX146" fmla="*/ 784238 w 1645441"/>
                <a:gd name="connsiteY146" fmla="*/ 28700 h 37657"/>
                <a:gd name="connsiteX147" fmla="*/ 764422 w 1645441"/>
                <a:gd name="connsiteY147" fmla="*/ 25122 h 37657"/>
                <a:gd name="connsiteX148" fmla="*/ 766899 w 1645441"/>
                <a:gd name="connsiteY148" fmla="*/ 36131 h 37657"/>
                <a:gd name="connsiteX149" fmla="*/ 685432 w 1645441"/>
                <a:gd name="connsiteY149" fmla="*/ 36131 h 37657"/>
                <a:gd name="connsiteX150" fmla="*/ 660937 w 1645441"/>
                <a:gd name="connsiteY150" fmla="*/ 11911 h 37657"/>
                <a:gd name="connsiteX151" fmla="*/ 644973 w 1645441"/>
                <a:gd name="connsiteY151" fmla="*/ 22645 h 37657"/>
                <a:gd name="connsiteX152" fmla="*/ 646900 w 1645441"/>
                <a:gd name="connsiteY152" fmla="*/ 33104 h 37657"/>
                <a:gd name="connsiteX153" fmla="*/ 647175 w 1645441"/>
                <a:gd name="connsiteY153" fmla="*/ 34755 h 37657"/>
                <a:gd name="connsiteX154" fmla="*/ 618552 w 1645441"/>
                <a:gd name="connsiteY154" fmla="*/ 36406 h 37657"/>
                <a:gd name="connsiteX155" fmla="*/ 543139 w 1645441"/>
                <a:gd name="connsiteY155" fmla="*/ 36681 h 37657"/>
                <a:gd name="connsiteX156" fmla="*/ 528552 w 1645441"/>
                <a:gd name="connsiteY156" fmla="*/ 25947 h 37657"/>
                <a:gd name="connsiteX157" fmla="*/ 525249 w 1645441"/>
                <a:gd name="connsiteY157" fmla="*/ 19342 h 37657"/>
                <a:gd name="connsiteX158" fmla="*/ 533506 w 1645441"/>
                <a:gd name="connsiteY158" fmla="*/ 11360 h 37657"/>
                <a:gd name="connsiteX159" fmla="*/ 521121 w 1645441"/>
                <a:gd name="connsiteY159" fmla="*/ 3654 h 37657"/>
                <a:gd name="connsiteX160" fmla="*/ 515066 w 1645441"/>
                <a:gd name="connsiteY160" fmla="*/ 14388 h 37657"/>
                <a:gd name="connsiteX161" fmla="*/ 505983 w 1645441"/>
                <a:gd name="connsiteY161" fmla="*/ 19067 h 37657"/>
                <a:gd name="connsiteX162" fmla="*/ 486442 w 1645441"/>
                <a:gd name="connsiteY162" fmla="*/ 16590 h 37657"/>
                <a:gd name="connsiteX163" fmla="*/ 470479 w 1645441"/>
                <a:gd name="connsiteY163" fmla="*/ 351 h 37657"/>
                <a:gd name="connsiteX164" fmla="*/ 552497 w 1645441"/>
                <a:gd name="connsiteY164" fmla="*/ 351 h 37657"/>
                <a:gd name="connsiteX165" fmla="*/ 585249 w 1645441"/>
                <a:gd name="connsiteY165" fmla="*/ 351 h 37657"/>
                <a:gd name="connsiteX166" fmla="*/ 593781 w 1645441"/>
                <a:gd name="connsiteY166" fmla="*/ 214 h 37657"/>
                <a:gd name="connsiteX167" fmla="*/ 599836 w 1645441"/>
                <a:gd name="connsiteY167" fmla="*/ 7507 h 37657"/>
                <a:gd name="connsiteX168" fmla="*/ 617451 w 1645441"/>
                <a:gd name="connsiteY168" fmla="*/ 11911 h 37657"/>
                <a:gd name="connsiteX169" fmla="*/ 629010 w 1645441"/>
                <a:gd name="connsiteY169" fmla="*/ 13012 h 37657"/>
                <a:gd name="connsiteX170" fmla="*/ 625432 w 1645441"/>
                <a:gd name="connsiteY170" fmla="*/ 351 h 37657"/>
                <a:gd name="connsiteX171" fmla="*/ 653230 w 1645441"/>
                <a:gd name="connsiteY171" fmla="*/ 351 h 37657"/>
                <a:gd name="connsiteX172" fmla="*/ 767725 w 1645441"/>
                <a:gd name="connsiteY172" fmla="*/ 351 h 37657"/>
                <a:gd name="connsiteX173" fmla="*/ 775156 w 1645441"/>
                <a:gd name="connsiteY173" fmla="*/ 627 h 37657"/>
                <a:gd name="connsiteX174" fmla="*/ 779009 w 1645441"/>
                <a:gd name="connsiteY174" fmla="*/ 5580 h 37657"/>
                <a:gd name="connsiteX175" fmla="*/ 774055 w 1645441"/>
                <a:gd name="connsiteY175" fmla="*/ 6681 h 37657"/>
                <a:gd name="connsiteX176" fmla="*/ 767174 w 1645441"/>
                <a:gd name="connsiteY176" fmla="*/ 4755 h 37657"/>
                <a:gd name="connsiteX177" fmla="*/ 761945 w 1645441"/>
                <a:gd name="connsiteY177" fmla="*/ 9434 h 37657"/>
                <a:gd name="connsiteX178" fmla="*/ 767450 w 1645441"/>
                <a:gd name="connsiteY178" fmla="*/ 13012 h 37657"/>
                <a:gd name="connsiteX179" fmla="*/ 788642 w 1645441"/>
                <a:gd name="connsiteY179" fmla="*/ 3654 h 37657"/>
                <a:gd name="connsiteX180" fmla="*/ 814109 w 1645441"/>
                <a:gd name="connsiteY180" fmla="*/ 93 h 3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645441" h="37657">
                  <a:moveTo>
                    <a:pt x="1323163" y="28780"/>
                  </a:moveTo>
                  <a:cubicBezTo>
                    <a:pt x="1326466" y="28539"/>
                    <a:pt x="1329769" y="30878"/>
                    <a:pt x="1333347" y="36796"/>
                  </a:cubicBezTo>
                  <a:cubicBezTo>
                    <a:pt x="1325916" y="37621"/>
                    <a:pt x="1319861" y="38447"/>
                    <a:pt x="1312980" y="36245"/>
                  </a:cubicBezTo>
                  <a:cubicBezTo>
                    <a:pt x="1316558" y="31842"/>
                    <a:pt x="1319861" y="29021"/>
                    <a:pt x="1323163" y="28780"/>
                  </a:cubicBezTo>
                  <a:close/>
                  <a:moveTo>
                    <a:pt x="502405" y="28666"/>
                  </a:moveTo>
                  <a:cubicBezTo>
                    <a:pt x="505708" y="28425"/>
                    <a:pt x="509011" y="30764"/>
                    <a:pt x="512589" y="36682"/>
                  </a:cubicBezTo>
                  <a:cubicBezTo>
                    <a:pt x="505158" y="37507"/>
                    <a:pt x="499103" y="38333"/>
                    <a:pt x="492222" y="36131"/>
                  </a:cubicBezTo>
                  <a:cubicBezTo>
                    <a:pt x="495800" y="31728"/>
                    <a:pt x="499103" y="28907"/>
                    <a:pt x="502405" y="28666"/>
                  </a:cubicBezTo>
                  <a:close/>
                  <a:moveTo>
                    <a:pt x="1645441" y="21503"/>
                  </a:moveTo>
                  <a:lnTo>
                    <a:pt x="1645441" y="33701"/>
                  </a:lnTo>
                  <a:lnTo>
                    <a:pt x="1640157" y="32461"/>
                  </a:lnTo>
                  <a:cubicBezTo>
                    <a:pt x="1638299" y="32048"/>
                    <a:pt x="1637336" y="31016"/>
                    <a:pt x="1639950" y="27438"/>
                  </a:cubicBezTo>
                  <a:close/>
                  <a:moveTo>
                    <a:pt x="833779" y="19618"/>
                  </a:moveTo>
                  <a:cubicBezTo>
                    <a:pt x="838182" y="21269"/>
                    <a:pt x="843962" y="24022"/>
                    <a:pt x="843962" y="30627"/>
                  </a:cubicBezTo>
                  <a:cubicBezTo>
                    <a:pt x="838182" y="34755"/>
                    <a:pt x="832953" y="42187"/>
                    <a:pt x="824972" y="33655"/>
                  </a:cubicBezTo>
                  <a:cubicBezTo>
                    <a:pt x="823045" y="31453"/>
                    <a:pt x="813963" y="34480"/>
                    <a:pt x="819192" y="27324"/>
                  </a:cubicBezTo>
                  <a:cubicBezTo>
                    <a:pt x="822219" y="23196"/>
                    <a:pt x="827173" y="16866"/>
                    <a:pt x="833779" y="19618"/>
                  </a:cubicBezTo>
                  <a:close/>
                  <a:moveTo>
                    <a:pt x="1645441" y="5017"/>
                  </a:moveTo>
                  <a:lnTo>
                    <a:pt x="1645441" y="6122"/>
                  </a:lnTo>
                  <a:lnTo>
                    <a:pt x="1644904" y="5420"/>
                  </a:lnTo>
                  <a:close/>
                  <a:moveTo>
                    <a:pt x="18831" y="627"/>
                  </a:moveTo>
                  <a:cubicBezTo>
                    <a:pt x="38647" y="627"/>
                    <a:pt x="58188" y="627"/>
                    <a:pt x="78005" y="627"/>
                  </a:cubicBezTo>
                  <a:cubicBezTo>
                    <a:pt x="100298" y="627"/>
                    <a:pt x="122316" y="627"/>
                    <a:pt x="144609" y="627"/>
                  </a:cubicBezTo>
                  <a:cubicBezTo>
                    <a:pt x="149013" y="627"/>
                    <a:pt x="153417" y="-475"/>
                    <a:pt x="155894" y="5580"/>
                  </a:cubicBezTo>
                  <a:cubicBezTo>
                    <a:pt x="157820" y="11085"/>
                    <a:pt x="157270" y="14663"/>
                    <a:pt x="154518" y="19617"/>
                  </a:cubicBezTo>
                  <a:cubicBezTo>
                    <a:pt x="151765" y="24296"/>
                    <a:pt x="142132" y="26222"/>
                    <a:pt x="147362" y="34754"/>
                  </a:cubicBezTo>
                  <a:cubicBezTo>
                    <a:pt x="147912" y="35580"/>
                    <a:pt x="145435" y="36956"/>
                    <a:pt x="143509" y="36681"/>
                  </a:cubicBezTo>
                  <a:cubicBezTo>
                    <a:pt x="130848" y="35305"/>
                    <a:pt x="117637" y="39708"/>
                    <a:pt x="105252" y="33653"/>
                  </a:cubicBezTo>
                  <a:cubicBezTo>
                    <a:pt x="103601" y="32828"/>
                    <a:pt x="101124" y="32552"/>
                    <a:pt x="99197" y="33103"/>
                  </a:cubicBezTo>
                  <a:cubicBezTo>
                    <a:pt x="71950" y="40809"/>
                    <a:pt x="44427" y="35030"/>
                    <a:pt x="16904" y="36406"/>
                  </a:cubicBezTo>
                  <a:cubicBezTo>
                    <a:pt x="5895" y="36956"/>
                    <a:pt x="-985" y="33103"/>
                    <a:pt x="115" y="19066"/>
                  </a:cubicBezTo>
                  <a:cubicBezTo>
                    <a:pt x="1767" y="627"/>
                    <a:pt x="666" y="627"/>
                    <a:pt x="18831" y="627"/>
                  </a:cubicBezTo>
                  <a:close/>
                  <a:moveTo>
                    <a:pt x="168624" y="524"/>
                  </a:moveTo>
                  <a:cubicBezTo>
                    <a:pt x="171032" y="1178"/>
                    <a:pt x="173372" y="2829"/>
                    <a:pt x="175711" y="4480"/>
                  </a:cubicBezTo>
                  <a:cubicBezTo>
                    <a:pt x="177637" y="5857"/>
                    <a:pt x="180940" y="3655"/>
                    <a:pt x="182591" y="8609"/>
                  </a:cubicBezTo>
                  <a:cubicBezTo>
                    <a:pt x="180665" y="9710"/>
                    <a:pt x="179013" y="10811"/>
                    <a:pt x="177087" y="11361"/>
                  </a:cubicBezTo>
                  <a:cubicBezTo>
                    <a:pt x="171307" y="13288"/>
                    <a:pt x="165803" y="12462"/>
                    <a:pt x="161123" y="8334"/>
                  </a:cubicBezTo>
                  <a:cubicBezTo>
                    <a:pt x="159472" y="6682"/>
                    <a:pt x="159472" y="3930"/>
                    <a:pt x="161123" y="2554"/>
                  </a:cubicBezTo>
                  <a:cubicBezTo>
                    <a:pt x="163738" y="214"/>
                    <a:pt x="166215" y="-130"/>
                    <a:pt x="168624" y="524"/>
                  </a:cubicBezTo>
                  <a:close/>
                  <a:moveTo>
                    <a:pt x="1260961" y="465"/>
                  </a:moveTo>
                  <a:cubicBezTo>
                    <a:pt x="1268392" y="465"/>
                    <a:pt x="1267842" y="6245"/>
                    <a:pt x="1271420" y="8447"/>
                  </a:cubicBezTo>
                  <a:cubicBezTo>
                    <a:pt x="1280502" y="13951"/>
                    <a:pt x="1272521" y="23860"/>
                    <a:pt x="1278575" y="31566"/>
                  </a:cubicBezTo>
                  <a:cubicBezTo>
                    <a:pt x="1282429" y="35970"/>
                    <a:pt x="1273071" y="37071"/>
                    <a:pt x="1268392" y="37071"/>
                  </a:cubicBezTo>
                  <a:cubicBezTo>
                    <a:pt x="1229861" y="37071"/>
                    <a:pt x="1191329" y="37071"/>
                    <a:pt x="1152797" y="37071"/>
                  </a:cubicBezTo>
                  <a:cubicBezTo>
                    <a:pt x="1140962" y="37071"/>
                    <a:pt x="1129127" y="36520"/>
                    <a:pt x="1117568" y="37071"/>
                  </a:cubicBezTo>
                  <a:cubicBezTo>
                    <a:pt x="1109174" y="37484"/>
                    <a:pt x="1101054" y="37071"/>
                    <a:pt x="1093176" y="35557"/>
                  </a:cubicBezTo>
                  <a:lnTo>
                    <a:pt x="1092403" y="35283"/>
                  </a:lnTo>
                  <a:lnTo>
                    <a:pt x="1092403" y="36682"/>
                  </a:lnTo>
                  <a:lnTo>
                    <a:pt x="1061686" y="36682"/>
                  </a:lnTo>
                  <a:lnTo>
                    <a:pt x="1061696" y="36795"/>
                  </a:lnTo>
                  <a:lnTo>
                    <a:pt x="1010880" y="36795"/>
                  </a:lnTo>
                  <a:lnTo>
                    <a:pt x="1010880" y="36682"/>
                  </a:lnTo>
                  <a:lnTo>
                    <a:pt x="973870" y="36682"/>
                  </a:lnTo>
                  <a:cubicBezTo>
                    <a:pt x="963136" y="36682"/>
                    <a:pt x="965063" y="27599"/>
                    <a:pt x="964787" y="22920"/>
                  </a:cubicBezTo>
                  <a:cubicBezTo>
                    <a:pt x="964787" y="15214"/>
                    <a:pt x="960659" y="14663"/>
                    <a:pt x="955705" y="15214"/>
                  </a:cubicBezTo>
                  <a:cubicBezTo>
                    <a:pt x="947998" y="16040"/>
                    <a:pt x="953503" y="20168"/>
                    <a:pt x="954054" y="23196"/>
                  </a:cubicBezTo>
                  <a:cubicBezTo>
                    <a:pt x="955154" y="28700"/>
                    <a:pt x="951852" y="27599"/>
                    <a:pt x="948273" y="27324"/>
                  </a:cubicBezTo>
                  <a:cubicBezTo>
                    <a:pt x="938365" y="26774"/>
                    <a:pt x="935338" y="16865"/>
                    <a:pt x="928732" y="12187"/>
                  </a:cubicBezTo>
                  <a:cubicBezTo>
                    <a:pt x="920751" y="6682"/>
                    <a:pt x="914971" y="7232"/>
                    <a:pt x="907540" y="9985"/>
                  </a:cubicBezTo>
                  <a:cubicBezTo>
                    <a:pt x="905063" y="6682"/>
                    <a:pt x="901485" y="6407"/>
                    <a:pt x="897907" y="5306"/>
                  </a:cubicBezTo>
                  <a:cubicBezTo>
                    <a:pt x="899008" y="10260"/>
                    <a:pt x="891852" y="14113"/>
                    <a:pt x="894880" y="18517"/>
                  </a:cubicBezTo>
                  <a:cubicBezTo>
                    <a:pt x="899008" y="24297"/>
                    <a:pt x="890201" y="28425"/>
                    <a:pt x="894329" y="34205"/>
                  </a:cubicBezTo>
                  <a:cubicBezTo>
                    <a:pt x="895705" y="35856"/>
                    <a:pt x="891852" y="36682"/>
                    <a:pt x="889925" y="36682"/>
                  </a:cubicBezTo>
                  <a:cubicBezTo>
                    <a:pt x="876439" y="36682"/>
                    <a:pt x="862678" y="36407"/>
                    <a:pt x="848916" y="36682"/>
                  </a:cubicBezTo>
                  <a:cubicBezTo>
                    <a:pt x="843963" y="36957"/>
                    <a:pt x="843687" y="34205"/>
                    <a:pt x="844238" y="30627"/>
                  </a:cubicBezTo>
                  <a:cubicBezTo>
                    <a:pt x="847541" y="28150"/>
                    <a:pt x="852219" y="36131"/>
                    <a:pt x="854421" y="30352"/>
                  </a:cubicBezTo>
                  <a:cubicBezTo>
                    <a:pt x="856072" y="26223"/>
                    <a:pt x="853045" y="22370"/>
                    <a:pt x="849192" y="19893"/>
                  </a:cubicBezTo>
                  <a:cubicBezTo>
                    <a:pt x="842311" y="15489"/>
                    <a:pt x="850017" y="6407"/>
                    <a:pt x="842311" y="1453"/>
                  </a:cubicBezTo>
                  <a:lnTo>
                    <a:pt x="1010880" y="1453"/>
                  </a:lnTo>
                  <a:lnTo>
                    <a:pt x="1010880" y="973"/>
                  </a:lnTo>
                  <a:lnTo>
                    <a:pt x="1012190" y="1016"/>
                  </a:lnTo>
                  <a:lnTo>
                    <a:pt x="1012704" y="1453"/>
                  </a:lnTo>
                  <a:lnTo>
                    <a:pt x="1060146" y="1453"/>
                  </a:lnTo>
                  <a:lnTo>
                    <a:pt x="1060355" y="1256"/>
                  </a:lnTo>
                  <a:cubicBezTo>
                    <a:pt x="1062109" y="671"/>
                    <a:pt x="1064036" y="740"/>
                    <a:pt x="1066100" y="740"/>
                  </a:cubicBezTo>
                  <a:cubicBezTo>
                    <a:pt x="1131054" y="740"/>
                    <a:pt x="1196008" y="1015"/>
                    <a:pt x="1260961" y="465"/>
                  </a:cubicBezTo>
                  <a:close/>
                  <a:moveTo>
                    <a:pt x="830751" y="352"/>
                  </a:moveTo>
                  <a:cubicBezTo>
                    <a:pt x="832953" y="352"/>
                    <a:pt x="835706" y="1453"/>
                    <a:pt x="834330" y="3654"/>
                  </a:cubicBezTo>
                  <a:cubicBezTo>
                    <a:pt x="832953" y="6406"/>
                    <a:pt x="829926" y="8058"/>
                    <a:pt x="827724" y="9984"/>
                  </a:cubicBezTo>
                  <a:cubicBezTo>
                    <a:pt x="824421" y="9159"/>
                    <a:pt x="823871" y="7783"/>
                    <a:pt x="824146" y="5306"/>
                  </a:cubicBezTo>
                  <a:cubicBezTo>
                    <a:pt x="824696" y="1177"/>
                    <a:pt x="827449" y="77"/>
                    <a:pt x="830751" y="352"/>
                  </a:cubicBezTo>
                  <a:close/>
                  <a:moveTo>
                    <a:pt x="440203" y="351"/>
                  </a:moveTo>
                  <a:cubicBezTo>
                    <a:pt x="447634" y="351"/>
                    <a:pt x="447084" y="6131"/>
                    <a:pt x="450662" y="8333"/>
                  </a:cubicBezTo>
                  <a:cubicBezTo>
                    <a:pt x="459744" y="13837"/>
                    <a:pt x="451763" y="23746"/>
                    <a:pt x="457817" y="31452"/>
                  </a:cubicBezTo>
                  <a:cubicBezTo>
                    <a:pt x="461671" y="35856"/>
                    <a:pt x="452313" y="36957"/>
                    <a:pt x="447634" y="36957"/>
                  </a:cubicBezTo>
                  <a:cubicBezTo>
                    <a:pt x="409103" y="36957"/>
                    <a:pt x="370571" y="36957"/>
                    <a:pt x="332039" y="36957"/>
                  </a:cubicBezTo>
                  <a:cubicBezTo>
                    <a:pt x="320204" y="36957"/>
                    <a:pt x="308369" y="36406"/>
                    <a:pt x="296810" y="36957"/>
                  </a:cubicBezTo>
                  <a:cubicBezTo>
                    <a:pt x="280021" y="37782"/>
                    <a:pt x="264333" y="35305"/>
                    <a:pt x="249471" y="27324"/>
                  </a:cubicBezTo>
                  <a:cubicBezTo>
                    <a:pt x="246719" y="25947"/>
                    <a:pt x="243140" y="24847"/>
                    <a:pt x="240113" y="27048"/>
                  </a:cubicBezTo>
                  <a:cubicBezTo>
                    <a:pt x="234883" y="30626"/>
                    <a:pt x="242865" y="33103"/>
                    <a:pt x="240938" y="36681"/>
                  </a:cubicBezTo>
                  <a:cubicBezTo>
                    <a:pt x="213691" y="36681"/>
                    <a:pt x="186444" y="36681"/>
                    <a:pt x="158921" y="36681"/>
                  </a:cubicBezTo>
                  <a:cubicBezTo>
                    <a:pt x="160848" y="32828"/>
                    <a:pt x="162774" y="28975"/>
                    <a:pt x="164426" y="25122"/>
                  </a:cubicBezTo>
                  <a:cubicBezTo>
                    <a:pt x="165526" y="22645"/>
                    <a:pt x="166627" y="19342"/>
                    <a:pt x="169379" y="20718"/>
                  </a:cubicBezTo>
                  <a:cubicBezTo>
                    <a:pt x="183967" y="28149"/>
                    <a:pt x="189196" y="18241"/>
                    <a:pt x="194701" y="7507"/>
                  </a:cubicBezTo>
                  <a:cubicBezTo>
                    <a:pt x="192223" y="3379"/>
                    <a:pt x="185343" y="7782"/>
                    <a:pt x="182866" y="626"/>
                  </a:cubicBezTo>
                  <a:cubicBezTo>
                    <a:pt x="189196" y="1452"/>
                    <a:pt x="194150" y="-1576"/>
                    <a:pt x="198554" y="6957"/>
                  </a:cubicBezTo>
                  <a:cubicBezTo>
                    <a:pt x="204058" y="17690"/>
                    <a:pt x="229654" y="16039"/>
                    <a:pt x="234883" y="5580"/>
                  </a:cubicBezTo>
                  <a:cubicBezTo>
                    <a:pt x="237636" y="351"/>
                    <a:pt x="241214" y="626"/>
                    <a:pt x="245342" y="626"/>
                  </a:cubicBezTo>
                  <a:cubicBezTo>
                    <a:pt x="310296" y="626"/>
                    <a:pt x="375250" y="901"/>
                    <a:pt x="440203" y="351"/>
                  </a:cubicBezTo>
                  <a:close/>
                  <a:moveTo>
                    <a:pt x="1634867" y="207"/>
                  </a:moveTo>
                  <a:cubicBezTo>
                    <a:pt x="1637749" y="328"/>
                    <a:pt x="1639813" y="672"/>
                    <a:pt x="1640226" y="1291"/>
                  </a:cubicBezTo>
                  <a:cubicBezTo>
                    <a:pt x="1642703" y="4593"/>
                    <a:pt x="1641051" y="8447"/>
                    <a:pt x="1637748" y="9548"/>
                  </a:cubicBezTo>
                  <a:cubicBezTo>
                    <a:pt x="1627015" y="15603"/>
                    <a:pt x="1619309" y="24135"/>
                    <a:pt x="1612428" y="34594"/>
                  </a:cubicBezTo>
                  <a:cubicBezTo>
                    <a:pt x="1612978" y="30465"/>
                    <a:pt x="1615455" y="25236"/>
                    <a:pt x="1613804" y="22483"/>
                  </a:cubicBezTo>
                  <a:cubicBezTo>
                    <a:pt x="1612152" y="19456"/>
                    <a:pt x="1606373" y="18906"/>
                    <a:pt x="1602795" y="17254"/>
                  </a:cubicBezTo>
                  <a:cubicBezTo>
                    <a:pt x="1598666" y="23034"/>
                    <a:pt x="1610776" y="24685"/>
                    <a:pt x="1604996" y="28814"/>
                  </a:cubicBezTo>
                  <a:cubicBezTo>
                    <a:pt x="1598666" y="33493"/>
                    <a:pt x="1592336" y="28263"/>
                    <a:pt x="1585180" y="25236"/>
                  </a:cubicBezTo>
                  <a:cubicBezTo>
                    <a:pt x="1586006" y="29089"/>
                    <a:pt x="1586831" y="32392"/>
                    <a:pt x="1587657" y="36245"/>
                  </a:cubicBezTo>
                  <a:cubicBezTo>
                    <a:pt x="1560134" y="36245"/>
                    <a:pt x="1533162" y="36245"/>
                    <a:pt x="1506190" y="36245"/>
                  </a:cubicBezTo>
                  <a:cubicBezTo>
                    <a:pt x="1506190" y="25511"/>
                    <a:pt x="1493254" y="12025"/>
                    <a:pt x="1481695" y="12025"/>
                  </a:cubicBezTo>
                  <a:cubicBezTo>
                    <a:pt x="1474538" y="12025"/>
                    <a:pt x="1470410" y="18630"/>
                    <a:pt x="1465731" y="22759"/>
                  </a:cubicBezTo>
                  <a:cubicBezTo>
                    <a:pt x="1461052" y="26887"/>
                    <a:pt x="1466007" y="29915"/>
                    <a:pt x="1467658" y="33218"/>
                  </a:cubicBezTo>
                  <a:cubicBezTo>
                    <a:pt x="1467383" y="33768"/>
                    <a:pt x="1467383" y="34318"/>
                    <a:pt x="1467933" y="34869"/>
                  </a:cubicBezTo>
                  <a:cubicBezTo>
                    <a:pt x="1458576" y="38447"/>
                    <a:pt x="1448942" y="36520"/>
                    <a:pt x="1439310" y="36520"/>
                  </a:cubicBezTo>
                  <a:cubicBezTo>
                    <a:pt x="1414264" y="36795"/>
                    <a:pt x="1388943" y="36520"/>
                    <a:pt x="1363897" y="36795"/>
                  </a:cubicBezTo>
                  <a:cubicBezTo>
                    <a:pt x="1355640" y="36795"/>
                    <a:pt x="1348759" y="37346"/>
                    <a:pt x="1349310" y="26061"/>
                  </a:cubicBezTo>
                  <a:cubicBezTo>
                    <a:pt x="1349310" y="23860"/>
                    <a:pt x="1347108" y="21658"/>
                    <a:pt x="1346007" y="19456"/>
                  </a:cubicBezTo>
                  <a:cubicBezTo>
                    <a:pt x="1349035" y="16153"/>
                    <a:pt x="1357842" y="16704"/>
                    <a:pt x="1354264" y="11474"/>
                  </a:cubicBezTo>
                  <a:cubicBezTo>
                    <a:pt x="1352613" y="8997"/>
                    <a:pt x="1348484" y="1291"/>
                    <a:pt x="1341879" y="3768"/>
                  </a:cubicBezTo>
                  <a:cubicBezTo>
                    <a:pt x="1337200" y="5694"/>
                    <a:pt x="1334173" y="8722"/>
                    <a:pt x="1335824" y="14502"/>
                  </a:cubicBezTo>
                  <a:cubicBezTo>
                    <a:pt x="1336925" y="18355"/>
                    <a:pt x="1331145" y="21382"/>
                    <a:pt x="1326741" y="19181"/>
                  </a:cubicBezTo>
                  <a:cubicBezTo>
                    <a:pt x="1320411" y="15878"/>
                    <a:pt x="1314906" y="14777"/>
                    <a:pt x="1307200" y="16704"/>
                  </a:cubicBezTo>
                  <a:cubicBezTo>
                    <a:pt x="1298118" y="18906"/>
                    <a:pt x="1298669" y="5144"/>
                    <a:pt x="1291237" y="465"/>
                  </a:cubicBezTo>
                  <a:cubicBezTo>
                    <a:pt x="1318485" y="465"/>
                    <a:pt x="1346007" y="465"/>
                    <a:pt x="1373255" y="465"/>
                  </a:cubicBezTo>
                  <a:cubicBezTo>
                    <a:pt x="1384264" y="465"/>
                    <a:pt x="1394998" y="190"/>
                    <a:pt x="1406007" y="465"/>
                  </a:cubicBezTo>
                  <a:cubicBezTo>
                    <a:pt x="1408897" y="465"/>
                    <a:pt x="1411925" y="-223"/>
                    <a:pt x="1414539" y="328"/>
                  </a:cubicBezTo>
                  <a:cubicBezTo>
                    <a:pt x="1417154" y="878"/>
                    <a:pt x="1419355" y="2667"/>
                    <a:pt x="1420594" y="7621"/>
                  </a:cubicBezTo>
                  <a:cubicBezTo>
                    <a:pt x="1421420" y="10649"/>
                    <a:pt x="1434355" y="14502"/>
                    <a:pt x="1438209" y="12025"/>
                  </a:cubicBezTo>
                  <a:cubicBezTo>
                    <a:pt x="1443988" y="8722"/>
                    <a:pt x="1445915" y="14502"/>
                    <a:pt x="1449768" y="13126"/>
                  </a:cubicBezTo>
                  <a:cubicBezTo>
                    <a:pt x="1452796" y="8171"/>
                    <a:pt x="1446190" y="6245"/>
                    <a:pt x="1446190" y="465"/>
                  </a:cubicBezTo>
                  <a:cubicBezTo>
                    <a:pt x="1455273" y="465"/>
                    <a:pt x="1464630" y="465"/>
                    <a:pt x="1473988" y="465"/>
                  </a:cubicBezTo>
                  <a:cubicBezTo>
                    <a:pt x="1512245" y="465"/>
                    <a:pt x="1550226" y="465"/>
                    <a:pt x="1588483" y="465"/>
                  </a:cubicBezTo>
                  <a:cubicBezTo>
                    <a:pt x="1590960" y="465"/>
                    <a:pt x="1593437" y="465"/>
                    <a:pt x="1595914" y="741"/>
                  </a:cubicBezTo>
                  <a:cubicBezTo>
                    <a:pt x="1599217" y="741"/>
                    <a:pt x="1600593" y="2942"/>
                    <a:pt x="1599767" y="5694"/>
                  </a:cubicBezTo>
                  <a:cubicBezTo>
                    <a:pt x="1598941" y="8447"/>
                    <a:pt x="1596739" y="7896"/>
                    <a:pt x="1594813" y="6795"/>
                  </a:cubicBezTo>
                  <a:cubicBezTo>
                    <a:pt x="1592886" y="5419"/>
                    <a:pt x="1590685" y="4043"/>
                    <a:pt x="1587932" y="4869"/>
                  </a:cubicBezTo>
                  <a:cubicBezTo>
                    <a:pt x="1585455" y="5694"/>
                    <a:pt x="1582703" y="6795"/>
                    <a:pt x="1582703" y="9548"/>
                  </a:cubicBezTo>
                  <a:cubicBezTo>
                    <a:pt x="1582703" y="12850"/>
                    <a:pt x="1585455" y="13676"/>
                    <a:pt x="1588208" y="13126"/>
                  </a:cubicBezTo>
                  <a:cubicBezTo>
                    <a:pt x="1595914" y="11750"/>
                    <a:pt x="1605272" y="13951"/>
                    <a:pt x="1609400" y="3768"/>
                  </a:cubicBezTo>
                  <a:cubicBezTo>
                    <a:pt x="1610226" y="1497"/>
                    <a:pt x="1626223" y="-154"/>
                    <a:pt x="1634867" y="207"/>
                  </a:cubicBezTo>
                  <a:close/>
                  <a:moveTo>
                    <a:pt x="814109" y="93"/>
                  </a:moveTo>
                  <a:cubicBezTo>
                    <a:pt x="816991" y="214"/>
                    <a:pt x="819055" y="558"/>
                    <a:pt x="819468" y="1177"/>
                  </a:cubicBezTo>
                  <a:cubicBezTo>
                    <a:pt x="821945" y="4479"/>
                    <a:pt x="820293" y="8333"/>
                    <a:pt x="816990" y="9434"/>
                  </a:cubicBezTo>
                  <a:cubicBezTo>
                    <a:pt x="806257" y="15489"/>
                    <a:pt x="798551" y="24021"/>
                    <a:pt x="791670" y="34480"/>
                  </a:cubicBezTo>
                  <a:cubicBezTo>
                    <a:pt x="792220" y="30351"/>
                    <a:pt x="794697" y="25122"/>
                    <a:pt x="793046" y="22369"/>
                  </a:cubicBezTo>
                  <a:cubicBezTo>
                    <a:pt x="791394" y="19342"/>
                    <a:pt x="785615" y="18792"/>
                    <a:pt x="782037" y="17140"/>
                  </a:cubicBezTo>
                  <a:cubicBezTo>
                    <a:pt x="777908" y="22920"/>
                    <a:pt x="790018" y="24571"/>
                    <a:pt x="784238" y="28700"/>
                  </a:cubicBezTo>
                  <a:cubicBezTo>
                    <a:pt x="777908" y="33379"/>
                    <a:pt x="771578" y="28149"/>
                    <a:pt x="764422" y="25122"/>
                  </a:cubicBezTo>
                  <a:cubicBezTo>
                    <a:pt x="765248" y="28975"/>
                    <a:pt x="766073" y="32278"/>
                    <a:pt x="766899" y="36131"/>
                  </a:cubicBezTo>
                  <a:cubicBezTo>
                    <a:pt x="739376" y="36131"/>
                    <a:pt x="712404" y="36131"/>
                    <a:pt x="685432" y="36131"/>
                  </a:cubicBezTo>
                  <a:cubicBezTo>
                    <a:pt x="685432" y="25397"/>
                    <a:pt x="672496" y="11911"/>
                    <a:pt x="660937" y="11911"/>
                  </a:cubicBezTo>
                  <a:cubicBezTo>
                    <a:pt x="653780" y="11911"/>
                    <a:pt x="649652" y="18516"/>
                    <a:pt x="644973" y="22645"/>
                  </a:cubicBezTo>
                  <a:cubicBezTo>
                    <a:pt x="640294" y="26773"/>
                    <a:pt x="645249" y="29801"/>
                    <a:pt x="646900" y="33104"/>
                  </a:cubicBezTo>
                  <a:cubicBezTo>
                    <a:pt x="646625" y="33654"/>
                    <a:pt x="646625" y="34204"/>
                    <a:pt x="647175" y="34755"/>
                  </a:cubicBezTo>
                  <a:cubicBezTo>
                    <a:pt x="637818" y="38333"/>
                    <a:pt x="628184" y="36406"/>
                    <a:pt x="618552" y="36406"/>
                  </a:cubicBezTo>
                  <a:cubicBezTo>
                    <a:pt x="593506" y="36681"/>
                    <a:pt x="568185" y="36406"/>
                    <a:pt x="543139" y="36681"/>
                  </a:cubicBezTo>
                  <a:cubicBezTo>
                    <a:pt x="534882" y="36681"/>
                    <a:pt x="528001" y="37232"/>
                    <a:pt x="528552" y="25947"/>
                  </a:cubicBezTo>
                  <a:cubicBezTo>
                    <a:pt x="528552" y="23746"/>
                    <a:pt x="526350" y="21544"/>
                    <a:pt x="525249" y="19342"/>
                  </a:cubicBezTo>
                  <a:cubicBezTo>
                    <a:pt x="528277" y="16039"/>
                    <a:pt x="537084" y="16590"/>
                    <a:pt x="533506" y="11360"/>
                  </a:cubicBezTo>
                  <a:cubicBezTo>
                    <a:pt x="531855" y="8883"/>
                    <a:pt x="527726" y="1177"/>
                    <a:pt x="521121" y="3654"/>
                  </a:cubicBezTo>
                  <a:cubicBezTo>
                    <a:pt x="516442" y="5580"/>
                    <a:pt x="513415" y="8608"/>
                    <a:pt x="515066" y="14388"/>
                  </a:cubicBezTo>
                  <a:cubicBezTo>
                    <a:pt x="516167" y="18241"/>
                    <a:pt x="510387" y="21268"/>
                    <a:pt x="505983" y="19067"/>
                  </a:cubicBezTo>
                  <a:cubicBezTo>
                    <a:pt x="499653" y="15764"/>
                    <a:pt x="494148" y="14663"/>
                    <a:pt x="486442" y="16590"/>
                  </a:cubicBezTo>
                  <a:cubicBezTo>
                    <a:pt x="477360" y="18792"/>
                    <a:pt x="477911" y="5030"/>
                    <a:pt x="470479" y="351"/>
                  </a:cubicBezTo>
                  <a:cubicBezTo>
                    <a:pt x="497727" y="351"/>
                    <a:pt x="525249" y="351"/>
                    <a:pt x="552497" y="351"/>
                  </a:cubicBezTo>
                  <a:cubicBezTo>
                    <a:pt x="563506" y="351"/>
                    <a:pt x="574240" y="76"/>
                    <a:pt x="585249" y="351"/>
                  </a:cubicBezTo>
                  <a:cubicBezTo>
                    <a:pt x="588139" y="351"/>
                    <a:pt x="591167" y="-337"/>
                    <a:pt x="593781" y="214"/>
                  </a:cubicBezTo>
                  <a:cubicBezTo>
                    <a:pt x="596396" y="764"/>
                    <a:pt x="598597" y="2553"/>
                    <a:pt x="599836" y="7507"/>
                  </a:cubicBezTo>
                  <a:cubicBezTo>
                    <a:pt x="600662" y="10535"/>
                    <a:pt x="613597" y="14388"/>
                    <a:pt x="617451" y="11911"/>
                  </a:cubicBezTo>
                  <a:cubicBezTo>
                    <a:pt x="623230" y="8608"/>
                    <a:pt x="625157" y="14388"/>
                    <a:pt x="629010" y="13012"/>
                  </a:cubicBezTo>
                  <a:cubicBezTo>
                    <a:pt x="632038" y="8057"/>
                    <a:pt x="625432" y="6131"/>
                    <a:pt x="625432" y="351"/>
                  </a:cubicBezTo>
                  <a:cubicBezTo>
                    <a:pt x="634515" y="351"/>
                    <a:pt x="643872" y="351"/>
                    <a:pt x="653230" y="351"/>
                  </a:cubicBezTo>
                  <a:cubicBezTo>
                    <a:pt x="691487" y="351"/>
                    <a:pt x="729468" y="351"/>
                    <a:pt x="767725" y="351"/>
                  </a:cubicBezTo>
                  <a:cubicBezTo>
                    <a:pt x="770202" y="351"/>
                    <a:pt x="772679" y="351"/>
                    <a:pt x="775156" y="627"/>
                  </a:cubicBezTo>
                  <a:cubicBezTo>
                    <a:pt x="778459" y="627"/>
                    <a:pt x="779835" y="2828"/>
                    <a:pt x="779009" y="5580"/>
                  </a:cubicBezTo>
                  <a:cubicBezTo>
                    <a:pt x="778183" y="8333"/>
                    <a:pt x="775981" y="7782"/>
                    <a:pt x="774055" y="6681"/>
                  </a:cubicBezTo>
                  <a:cubicBezTo>
                    <a:pt x="772128" y="5305"/>
                    <a:pt x="769927" y="3929"/>
                    <a:pt x="767174" y="4755"/>
                  </a:cubicBezTo>
                  <a:cubicBezTo>
                    <a:pt x="764697" y="5580"/>
                    <a:pt x="761945" y="6681"/>
                    <a:pt x="761945" y="9434"/>
                  </a:cubicBezTo>
                  <a:cubicBezTo>
                    <a:pt x="761945" y="12736"/>
                    <a:pt x="764697" y="13562"/>
                    <a:pt x="767450" y="13012"/>
                  </a:cubicBezTo>
                  <a:cubicBezTo>
                    <a:pt x="775156" y="11636"/>
                    <a:pt x="784514" y="13837"/>
                    <a:pt x="788642" y="3654"/>
                  </a:cubicBezTo>
                  <a:cubicBezTo>
                    <a:pt x="789468" y="1383"/>
                    <a:pt x="805465" y="-268"/>
                    <a:pt x="814109" y="93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EE570D85-C7BF-42E7-80F4-A0E0465E4803}"/>
                </a:ext>
              </a:extLst>
            </p:cNvPr>
            <p:cNvSpPr/>
            <p:nvPr/>
          </p:nvSpPr>
          <p:spPr>
            <a:xfrm>
              <a:off x="385763" y="5736193"/>
              <a:ext cx="2558321" cy="805236"/>
            </a:xfrm>
            <a:custGeom>
              <a:avLst/>
              <a:gdLst>
                <a:gd name="connsiteX0" fmla="*/ 2554926 w 2558321"/>
                <a:gd name="connsiteY0" fmla="*/ 776231 h 805236"/>
                <a:gd name="connsiteX1" fmla="*/ 2536591 w 2558321"/>
                <a:gd name="connsiteY1" fmla="*/ 805123 h 805236"/>
                <a:gd name="connsiteX2" fmla="*/ 2554926 w 2558321"/>
                <a:gd name="connsiteY2" fmla="*/ 776231 h 805236"/>
                <a:gd name="connsiteX3" fmla="*/ 281939 w 2558321"/>
                <a:gd name="connsiteY3" fmla="*/ 749007 h 805236"/>
                <a:gd name="connsiteX4" fmla="*/ 276939 w 2558321"/>
                <a:gd name="connsiteY4" fmla="*/ 755119 h 805236"/>
                <a:gd name="connsiteX5" fmla="*/ 282495 w 2558321"/>
                <a:gd name="connsiteY5" fmla="*/ 782899 h 805236"/>
                <a:gd name="connsiteX6" fmla="*/ 289718 w 2558321"/>
                <a:gd name="connsiteY6" fmla="*/ 782343 h 805236"/>
                <a:gd name="connsiteX7" fmla="*/ 285274 w 2558321"/>
                <a:gd name="connsiteY7" fmla="*/ 758452 h 805236"/>
                <a:gd name="connsiteX8" fmla="*/ 281939 w 2558321"/>
                <a:gd name="connsiteY8" fmla="*/ 749007 h 805236"/>
                <a:gd name="connsiteX9" fmla="*/ 207697 w 2558321"/>
                <a:gd name="connsiteY9" fmla="*/ 741158 h 805236"/>
                <a:gd name="connsiteX10" fmla="*/ 182486 w 2558321"/>
                <a:gd name="connsiteY10" fmla="*/ 746228 h 805236"/>
                <a:gd name="connsiteX11" fmla="*/ 169151 w 2558321"/>
                <a:gd name="connsiteY11" fmla="*/ 751228 h 805236"/>
                <a:gd name="connsiteX12" fmla="*/ 178597 w 2558321"/>
                <a:gd name="connsiteY12" fmla="*/ 764563 h 805236"/>
                <a:gd name="connsiteX13" fmla="*/ 204155 w 2558321"/>
                <a:gd name="connsiteY13" fmla="*/ 779009 h 805236"/>
                <a:gd name="connsiteX14" fmla="*/ 221934 w 2558321"/>
                <a:gd name="connsiteY14" fmla="*/ 789566 h 805236"/>
                <a:gd name="connsiteX15" fmla="*/ 231935 w 2558321"/>
                <a:gd name="connsiteY15" fmla="*/ 766786 h 805236"/>
                <a:gd name="connsiteX16" fmla="*/ 227490 w 2558321"/>
                <a:gd name="connsiteY16" fmla="*/ 757340 h 805236"/>
                <a:gd name="connsiteX17" fmla="*/ 207697 w 2558321"/>
                <a:gd name="connsiteY17" fmla="*/ 741158 h 805236"/>
                <a:gd name="connsiteX18" fmla="*/ 247 w 2558321"/>
                <a:gd name="connsiteY18" fmla="*/ 0 h 805236"/>
                <a:gd name="connsiteX19" fmla="*/ 75254 w 2558321"/>
                <a:gd name="connsiteY19" fmla="*/ 0 h 805236"/>
                <a:gd name="connsiteX20" fmla="*/ 75254 w 2558321"/>
                <a:gd name="connsiteY20" fmla="*/ 540653 h 805236"/>
                <a:gd name="connsiteX21" fmla="*/ 78032 w 2558321"/>
                <a:gd name="connsiteY21" fmla="*/ 591214 h 805236"/>
                <a:gd name="connsiteX22" fmla="*/ 293052 w 2558321"/>
                <a:gd name="connsiteY22" fmla="*/ 729560 h 805236"/>
                <a:gd name="connsiteX23" fmla="*/ 771985 w 2558321"/>
                <a:gd name="connsiteY23" fmla="*/ 729004 h 805236"/>
                <a:gd name="connsiteX24" fmla="*/ 794209 w 2558321"/>
                <a:gd name="connsiteY24" fmla="*/ 739006 h 805236"/>
                <a:gd name="connsiteX25" fmla="*/ 790320 w 2558321"/>
                <a:gd name="connsiteY25" fmla="*/ 754563 h 805236"/>
                <a:gd name="connsiteX26" fmla="*/ 840325 w 2558321"/>
                <a:gd name="connsiteY26" fmla="*/ 769008 h 805236"/>
                <a:gd name="connsiteX27" fmla="*/ 832546 w 2558321"/>
                <a:gd name="connsiteY27" fmla="*/ 750118 h 805236"/>
                <a:gd name="connsiteX28" fmla="*/ 807544 w 2558321"/>
                <a:gd name="connsiteY28" fmla="*/ 737895 h 805236"/>
                <a:gd name="connsiteX29" fmla="*/ 795320 w 2558321"/>
                <a:gd name="connsiteY29" fmla="*/ 739006 h 805236"/>
                <a:gd name="connsiteX30" fmla="*/ 828657 w 2558321"/>
                <a:gd name="connsiteY30" fmla="*/ 733449 h 805236"/>
                <a:gd name="connsiteX31" fmla="*/ 855881 w 2558321"/>
                <a:gd name="connsiteY31" fmla="*/ 740116 h 805236"/>
                <a:gd name="connsiteX32" fmla="*/ 885329 w 2558321"/>
                <a:gd name="connsiteY32" fmla="*/ 729560 h 805236"/>
                <a:gd name="connsiteX33" fmla="*/ 1075901 w 2558321"/>
                <a:gd name="connsiteY33" fmla="*/ 729560 h 805236"/>
                <a:gd name="connsiteX34" fmla="*/ 1058678 w 2558321"/>
                <a:gd name="connsiteY34" fmla="*/ 772342 h 805236"/>
                <a:gd name="connsiteX35" fmla="*/ 1063678 w 2558321"/>
                <a:gd name="connsiteY35" fmla="*/ 781787 h 805236"/>
                <a:gd name="connsiteX36" fmla="*/ 1072568 w 2558321"/>
                <a:gd name="connsiteY36" fmla="*/ 775120 h 805236"/>
                <a:gd name="connsiteX37" fmla="*/ 1083680 w 2558321"/>
                <a:gd name="connsiteY37" fmla="*/ 760675 h 805236"/>
                <a:gd name="connsiteX38" fmla="*/ 1094237 w 2558321"/>
                <a:gd name="connsiteY38" fmla="*/ 785121 h 805236"/>
                <a:gd name="connsiteX39" fmla="*/ 1114239 w 2558321"/>
                <a:gd name="connsiteY39" fmla="*/ 780120 h 805236"/>
                <a:gd name="connsiteX40" fmla="*/ 1108682 w 2558321"/>
                <a:gd name="connsiteY40" fmla="*/ 764008 h 805236"/>
                <a:gd name="connsiteX41" fmla="*/ 1130907 w 2558321"/>
                <a:gd name="connsiteY41" fmla="*/ 730116 h 805236"/>
                <a:gd name="connsiteX42" fmla="*/ 1662623 w 2558321"/>
                <a:gd name="connsiteY42" fmla="*/ 730116 h 805236"/>
                <a:gd name="connsiteX43" fmla="*/ 1678735 w 2558321"/>
                <a:gd name="connsiteY43" fmla="*/ 739561 h 805236"/>
                <a:gd name="connsiteX44" fmla="*/ 1649843 w 2558321"/>
                <a:gd name="connsiteY44" fmla="*/ 753451 h 805236"/>
                <a:gd name="connsiteX45" fmla="*/ 1655400 w 2558321"/>
                <a:gd name="connsiteY45" fmla="*/ 789010 h 805236"/>
                <a:gd name="connsiteX46" fmla="*/ 1687624 w 2558321"/>
                <a:gd name="connsiteY46" fmla="*/ 785676 h 805236"/>
                <a:gd name="connsiteX47" fmla="*/ 1685958 w 2558321"/>
                <a:gd name="connsiteY47" fmla="*/ 760675 h 805236"/>
                <a:gd name="connsiteX48" fmla="*/ 1679291 w 2558321"/>
                <a:gd name="connsiteY48" fmla="*/ 739561 h 805236"/>
                <a:gd name="connsiteX49" fmla="*/ 1703737 w 2558321"/>
                <a:gd name="connsiteY49" fmla="*/ 731783 h 805236"/>
                <a:gd name="connsiteX50" fmla="*/ 1705960 w 2558321"/>
                <a:gd name="connsiteY50" fmla="*/ 760119 h 805236"/>
                <a:gd name="connsiteX51" fmla="*/ 1734296 w 2558321"/>
                <a:gd name="connsiteY51" fmla="*/ 789010 h 805236"/>
                <a:gd name="connsiteX52" fmla="*/ 1747075 w 2558321"/>
                <a:gd name="connsiteY52" fmla="*/ 776231 h 805236"/>
                <a:gd name="connsiteX53" fmla="*/ 1757075 w 2558321"/>
                <a:gd name="connsiteY53" fmla="*/ 759007 h 805236"/>
                <a:gd name="connsiteX54" fmla="*/ 1772632 w 2558321"/>
                <a:gd name="connsiteY54" fmla="*/ 742895 h 805236"/>
                <a:gd name="connsiteX55" fmla="*/ 1770966 w 2558321"/>
                <a:gd name="connsiteY55" fmla="*/ 762896 h 805236"/>
                <a:gd name="connsiteX56" fmla="*/ 1778744 w 2558321"/>
                <a:gd name="connsiteY56" fmla="*/ 779565 h 805236"/>
                <a:gd name="connsiteX57" fmla="*/ 1794301 w 2558321"/>
                <a:gd name="connsiteY57" fmla="*/ 775120 h 805236"/>
                <a:gd name="connsiteX58" fmla="*/ 1804302 w 2558321"/>
                <a:gd name="connsiteY58" fmla="*/ 750673 h 805236"/>
                <a:gd name="connsiteX59" fmla="*/ 1792635 w 2558321"/>
                <a:gd name="connsiteY59" fmla="*/ 739561 h 805236"/>
                <a:gd name="connsiteX60" fmla="*/ 1810414 w 2558321"/>
                <a:gd name="connsiteY60" fmla="*/ 730116 h 805236"/>
                <a:gd name="connsiteX61" fmla="*/ 1964317 w 2558321"/>
                <a:gd name="connsiteY61" fmla="*/ 730116 h 805236"/>
                <a:gd name="connsiteX62" fmla="*/ 2011543 w 2558321"/>
                <a:gd name="connsiteY62" fmla="*/ 730116 h 805236"/>
                <a:gd name="connsiteX63" fmla="*/ 2008766 w 2558321"/>
                <a:gd name="connsiteY63" fmla="*/ 770675 h 805236"/>
                <a:gd name="connsiteX64" fmla="*/ 2038768 w 2558321"/>
                <a:gd name="connsiteY64" fmla="*/ 784565 h 805236"/>
                <a:gd name="connsiteX65" fmla="*/ 2071549 w 2558321"/>
                <a:gd name="connsiteY65" fmla="*/ 759563 h 805236"/>
                <a:gd name="connsiteX66" fmla="*/ 2140999 w 2558321"/>
                <a:gd name="connsiteY66" fmla="*/ 730671 h 805236"/>
                <a:gd name="connsiteX67" fmla="*/ 2516590 w 2558321"/>
                <a:gd name="connsiteY67" fmla="*/ 730116 h 805236"/>
                <a:gd name="connsiteX68" fmla="*/ 2536037 w 2558321"/>
                <a:gd name="connsiteY68" fmla="*/ 766231 h 805236"/>
                <a:gd name="connsiteX69" fmla="*/ 2520480 w 2558321"/>
                <a:gd name="connsiteY69" fmla="*/ 800678 h 805236"/>
                <a:gd name="connsiteX70" fmla="*/ 2512145 w 2558321"/>
                <a:gd name="connsiteY70" fmla="*/ 803456 h 805236"/>
                <a:gd name="connsiteX71" fmla="*/ 2446584 w 2558321"/>
                <a:gd name="connsiteY71" fmla="*/ 801234 h 805236"/>
                <a:gd name="connsiteX72" fmla="*/ 2396024 w 2558321"/>
                <a:gd name="connsiteY72" fmla="*/ 803456 h 805236"/>
                <a:gd name="connsiteX73" fmla="*/ 2352130 w 2558321"/>
                <a:gd name="connsiteY73" fmla="*/ 804011 h 805236"/>
                <a:gd name="connsiteX74" fmla="*/ 2298237 w 2558321"/>
                <a:gd name="connsiteY74" fmla="*/ 804011 h 805236"/>
                <a:gd name="connsiteX75" fmla="*/ 2179337 w 2558321"/>
                <a:gd name="connsiteY75" fmla="*/ 804011 h 805236"/>
                <a:gd name="connsiteX76" fmla="*/ 2130443 w 2558321"/>
                <a:gd name="connsiteY76" fmla="*/ 804011 h 805236"/>
                <a:gd name="connsiteX77" fmla="*/ 484181 w 2558321"/>
                <a:gd name="connsiteY77" fmla="*/ 804011 h 805236"/>
                <a:gd name="connsiteX78" fmla="*/ 451400 w 2558321"/>
                <a:gd name="connsiteY78" fmla="*/ 801234 h 805236"/>
                <a:gd name="connsiteX79" fmla="*/ 282495 w 2558321"/>
                <a:gd name="connsiteY79" fmla="*/ 805123 h 805236"/>
                <a:gd name="connsiteX80" fmla="*/ 261382 w 2558321"/>
                <a:gd name="connsiteY80" fmla="*/ 792899 h 805236"/>
                <a:gd name="connsiteX81" fmla="*/ 156928 w 2558321"/>
                <a:gd name="connsiteY81" fmla="*/ 796788 h 805236"/>
                <a:gd name="connsiteX82" fmla="*/ 54697 w 2558321"/>
                <a:gd name="connsiteY82" fmla="*/ 731783 h 805236"/>
                <a:gd name="connsiteX83" fmla="*/ 6914 w 2558321"/>
                <a:gd name="connsiteY83" fmla="*/ 625106 h 805236"/>
                <a:gd name="connsiteX84" fmla="*/ 247 w 2558321"/>
                <a:gd name="connsiteY84" fmla="*/ 601770 h 805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558321" h="805236">
                  <a:moveTo>
                    <a:pt x="2554926" y="776231"/>
                  </a:moveTo>
                  <a:cubicBezTo>
                    <a:pt x="2561038" y="801789"/>
                    <a:pt x="2561038" y="801789"/>
                    <a:pt x="2536591" y="805123"/>
                  </a:cubicBezTo>
                  <a:cubicBezTo>
                    <a:pt x="2546592" y="795122"/>
                    <a:pt x="2551037" y="786787"/>
                    <a:pt x="2554926" y="776231"/>
                  </a:cubicBezTo>
                  <a:close/>
                  <a:moveTo>
                    <a:pt x="281939" y="749007"/>
                  </a:moveTo>
                  <a:cubicBezTo>
                    <a:pt x="279717" y="751784"/>
                    <a:pt x="278606" y="753451"/>
                    <a:pt x="276939" y="755119"/>
                  </a:cubicBezTo>
                  <a:cubicBezTo>
                    <a:pt x="265827" y="766786"/>
                    <a:pt x="279162" y="774008"/>
                    <a:pt x="282495" y="782899"/>
                  </a:cubicBezTo>
                  <a:cubicBezTo>
                    <a:pt x="284162" y="788455"/>
                    <a:pt x="288051" y="784010"/>
                    <a:pt x="289718" y="782343"/>
                  </a:cubicBezTo>
                  <a:cubicBezTo>
                    <a:pt x="298608" y="772898"/>
                    <a:pt x="290274" y="766231"/>
                    <a:pt x="285274" y="758452"/>
                  </a:cubicBezTo>
                  <a:cubicBezTo>
                    <a:pt x="283606" y="756229"/>
                    <a:pt x="283606" y="753451"/>
                    <a:pt x="281939" y="749007"/>
                  </a:cubicBezTo>
                  <a:close/>
                  <a:moveTo>
                    <a:pt x="207697" y="741158"/>
                  </a:moveTo>
                  <a:cubicBezTo>
                    <a:pt x="199710" y="741506"/>
                    <a:pt x="190820" y="745395"/>
                    <a:pt x="182486" y="746228"/>
                  </a:cubicBezTo>
                  <a:cubicBezTo>
                    <a:pt x="177486" y="746784"/>
                    <a:pt x="170818" y="742339"/>
                    <a:pt x="169151" y="751228"/>
                  </a:cubicBezTo>
                  <a:cubicBezTo>
                    <a:pt x="167485" y="759007"/>
                    <a:pt x="174152" y="761230"/>
                    <a:pt x="178597" y="764563"/>
                  </a:cubicBezTo>
                  <a:cubicBezTo>
                    <a:pt x="186931" y="770119"/>
                    <a:pt x="198043" y="769008"/>
                    <a:pt x="204155" y="779009"/>
                  </a:cubicBezTo>
                  <a:cubicBezTo>
                    <a:pt x="208044" y="785121"/>
                    <a:pt x="213045" y="792899"/>
                    <a:pt x="221934" y="789566"/>
                  </a:cubicBezTo>
                  <a:cubicBezTo>
                    <a:pt x="233046" y="785676"/>
                    <a:pt x="224713" y="773453"/>
                    <a:pt x="231935" y="766786"/>
                  </a:cubicBezTo>
                  <a:cubicBezTo>
                    <a:pt x="230268" y="763452"/>
                    <a:pt x="228602" y="760119"/>
                    <a:pt x="227490" y="757340"/>
                  </a:cubicBezTo>
                  <a:cubicBezTo>
                    <a:pt x="222767" y="744006"/>
                    <a:pt x="215683" y="740811"/>
                    <a:pt x="207697" y="741158"/>
                  </a:cubicBezTo>
                  <a:close/>
                  <a:moveTo>
                    <a:pt x="247" y="0"/>
                  </a:moveTo>
                  <a:lnTo>
                    <a:pt x="75254" y="0"/>
                  </a:lnTo>
                  <a:lnTo>
                    <a:pt x="75254" y="540653"/>
                  </a:lnTo>
                  <a:cubicBezTo>
                    <a:pt x="75254" y="557322"/>
                    <a:pt x="76921" y="574545"/>
                    <a:pt x="78032" y="591214"/>
                  </a:cubicBezTo>
                  <a:cubicBezTo>
                    <a:pt x="120258" y="687889"/>
                    <a:pt x="189709" y="730671"/>
                    <a:pt x="293052" y="729560"/>
                  </a:cubicBezTo>
                  <a:cubicBezTo>
                    <a:pt x="453066" y="728449"/>
                    <a:pt x="612526" y="729560"/>
                    <a:pt x="771985" y="729004"/>
                  </a:cubicBezTo>
                  <a:cubicBezTo>
                    <a:pt x="781986" y="729004"/>
                    <a:pt x="788097" y="732339"/>
                    <a:pt x="794209" y="739006"/>
                  </a:cubicBezTo>
                  <a:cubicBezTo>
                    <a:pt x="793653" y="744562"/>
                    <a:pt x="800877" y="751784"/>
                    <a:pt x="790320" y="754563"/>
                  </a:cubicBezTo>
                  <a:cubicBezTo>
                    <a:pt x="799765" y="789010"/>
                    <a:pt x="805321" y="790677"/>
                    <a:pt x="840325" y="769008"/>
                  </a:cubicBezTo>
                  <a:cubicBezTo>
                    <a:pt x="824212" y="763452"/>
                    <a:pt x="824212" y="763452"/>
                    <a:pt x="832546" y="750118"/>
                  </a:cubicBezTo>
                  <a:cubicBezTo>
                    <a:pt x="823656" y="747895"/>
                    <a:pt x="809210" y="756229"/>
                    <a:pt x="807544" y="737895"/>
                  </a:cubicBezTo>
                  <a:cubicBezTo>
                    <a:pt x="807544" y="734005"/>
                    <a:pt x="799765" y="736783"/>
                    <a:pt x="795320" y="739006"/>
                  </a:cubicBezTo>
                  <a:cubicBezTo>
                    <a:pt x="803098" y="720115"/>
                    <a:pt x="820322" y="727338"/>
                    <a:pt x="828657" y="733449"/>
                  </a:cubicBezTo>
                  <a:cubicBezTo>
                    <a:pt x="838102" y="740672"/>
                    <a:pt x="845881" y="740672"/>
                    <a:pt x="855881" y="740116"/>
                  </a:cubicBezTo>
                  <a:cubicBezTo>
                    <a:pt x="863660" y="730116"/>
                    <a:pt x="874217" y="729560"/>
                    <a:pt x="885329" y="729560"/>
                  </a:cubicBezTo>
                  <a:cubicBezTo>
                    <a:pt x="947001" y="729560"/>
                    <a:pt x="1008117" y="729560"/>
                    <a:pt x="1075901" y="729560"/>
                  </a:cubicBezTo>
                  <a:cubicBezTo>
                    <a:pt x="1054233" y="740672"/>
                    <a:pt x="1058678" y="757340"/>
                    <a:pt x="1058678" y="772342"/>
                  </a:cubicBezTo>
                  <a:cubicBezTo>
                    <a:pt x="1058678" y="775675"/>
                    <a:pt x="1057567" y="781231"/>
                    <a:pt x="1063678" y="781787"/>
                  </a:cubicBezTo>
                  <a:cubicBezTo>
                    <a:pt x="1068124" y="782343"/>
                    <a:pt x="1070901" y="780120"/>
                    <a:pt x="1072568" y="775120"/>
                  </a:cubicBezTo>
                  <a:cubicBezTo>
                    <a:pt x="1074235" y="769564"/>
                    <a:pt x="1070901" y="757340"/>
                    <a:pt x="1083680" y="760675"/>
                  </a:cubicBezTo>
                  <a:cubicBezTo>
                    <a:pt x="1095904" y="764008"/>
                    <a:pt x="1095904" y="774564"/>
                    <a:pt x="1094237" y="785121"/>
                  </a:cubicBezTo>
                  <a:cubicBezTo>
                    <a:pt x="1103126" y="792899"/>
                    <a:pt x="1107572" y="782343"/>
                    <a:pt x="1114239" y="780120"/>
                  </a:cubicBezTo>
                  <a:cubicBezTo>
                    <a:pt x="1112572" y="775120"/>
                    <a:pt x="1110905" y="769564"/>
                    <a:pt x="1108682" y="764008"/>
                  </a:cubicBezTo>
                  <a:cubicBezTo>
                    <a:pt x="1100904" y="744562"/>
                    <a:pt x="1109793" y="730116"/>
                    <a:pt x="1130907" y="730116"/>
                  </a:cubicBezTo>
                  <a:cubicBezTo>
                    <a:pt x="1308145" y="730116"/>
                    <a:pt x="1485384" y="730116"/>
                    <a:pt x="1662623" y="730116"/>
                  </a:cubicBezTo>
                  <a:cubicBezTo>
                    <a:pt x="1668734" y="730116"/>
                    <a:pt x="1681513" y="724004"/>
                    <a:pt x="1678735" y="739561"/>
                  </a:cubicBezTo>
                  <a:cubicBezTo>
                    <a:pt x="1666512" y="739006"/>
                    <a:pt x="1651510" y="736783"/>
                    <a:pt x="1649843" y="753451"/>
                  </a:cubicBezTo>
                  <a:cubicBezTo>
                    <a:pt x="1648732" y="765119"/>
                    <a:pt x="1653177" y="777343"/>
                    <a:pt x="1655400" y="789010"/>
                  </a:cubicBezTo>
                  <a:cubicBezTo>
                    <a:pt x="1667623" y="801234"/>
                    <a:pt x="1676512" y="794566"/>
                    <a:pt x="1687624" y="785676"/>
                  </a:cubicBezTo>
                  <a:cubicBezTo>
                    <a:pt x="1699848" y="775120"/>
                    <a:pt x="1692069" y="768452"/>
                    <a:pt x="1685958" y="760675"/>
                  </a:cubicBezTo>
                  <a:cubicBezTo>
                    <a:pt x="1680957" y="754007"/>
                    <a:pt x="1678735" y="747339"/>
                    <a:pt x="1679291" y="739561"/>
                  </a:cubicBezTo>
                  <a:cubicBezTo>
                    <a:pt x="1685958" y="732339"/>
                    <a:pt x="1696515" y="725671"/>
                    <a:pt x="1703737" y="731783"/>
                  </a:cubicBezTo>
                  <a:cubicBezTo>
                    <a:pt x="1708738" y="736227"/>
                    <a:pt x="1708738" y="750118"/>
                    <a:pt x="1705960" y="760119"/>
                  </a:cubicBezTo>
                  <a:cubicBezTo>
                    <a:pt x="1700404" y="782343"/>
                    <a:pt x="1723739" y="781231"/>
                    <a:pt x="1734296" y="789010"/>
                  </a:cubicBezTo>
                  <a:cubicBezTo>
                    <a:pt x="1747075" y="798455"/>
                    <a:pt x="1743741" y="781787"/>
                    <a:pt x="1747075" y="776231"/>
                  </a:cubicBezTo>
                  <a:cubicBezTo>
                    <a:pt x="1750408" y="770675"/>
                    <a:pt x="1752631" y="763452"/>
                    <a:pt x="1757075" y="759007"/>
                  </a:cubicBezTo>
                  <a:cubicBezTo>
                    <a:pt x="1762631" y="753451"/>
                    <a:pt x="1763743" y="739006"/>
                    <a:pt x="1772632" y="742895"/>
                  </a:cubicBezTo>
                  <a:cubicBezTo>
                    <a:pt x="1782633" y="746784"/>
                    <a:pt x="1774299" y="755674"/>
                    <a:pt x="1770966" y="762896"/>
                  </a:cubicBezTo>
                  <a:cubicBezTo>
                    <a:pt x="1767632" y="769564"/>
                    <a:pt x="1773188" y="776231"/>
                    <a:pt x="1778744" y="779565"/>
                  </a:cubicBezTo>
                  <a:cubicBezTo>
                    <a:pt x="1784300" y="782899"/>
                    <a:pt x="1790412" y="780676"/>
                    <a:pt x="1794301" y="775120"/>
                  </a:cubicBezTo>
                  <a:cubicBezTo>
                    <a:pt x="1799302" y="767897"/>
                    <a:pt x="1806524" y="761230"/>
                    <a:pt x="1804302" y="750673"/>
                  </a:cubicBezTo>
                  <a:cubicBezTo>
                    <a:pt x="1798191" y="749562"/>
                    <a:pt x="1789856" y="749562"/>
                    <a:pt x="1792635" y="739561"/>
                  </a:cubicBezTo>
                  <a:cubicBezTo>
                    <a:pt x="1794856" y="731227"/>
                    <a:pt x="1802080" y="730116"/>
                    <a:pt x="1810414" y="730116"/>
                  </a:cubicBezTo>
                  <a:cubicBezTo>
                    <a:pt x="1861530" y="730116"/>
                    <a:pt x="1913201" y="730116"/>
                    <a:pt x="1964317" y="730116"/>
                  </a:cubicBezTo>
                  <a:cubicBezTo>
                    <a:pt x="1979318" y="730116"/>
                    <a:pt x="1994875" y="730116"/>
                    <a:pt x="2011543" y="730116"/>
                  </a:cubicBezTo>
                  <a:cubicBezTo>
                    <a:pt x="2005987" y="744006"/>
                    <a:pt x="2009876" y="757340"/>
                    <a:pt x="2008766" y="770675"/>
                  </a:cubicBezTo>
                  <a:cubicBezTo>
                    <a:pt x="2015432" y="782899"/>
                    <a:pt x="2021544" y="796233"/>
                    <a:pt x="2038768" y="784565"/>
                  </a:cubicBezTo>
                  <a:cubicBezTo>
                    <a:pt x="2044324" y="769008"/>
                    <a:pt x="2066548" y="774008"/>
                    <a:pt x="2071549" y="759563"/>
                  </a:cubicBezTo>
                  <a:cubicBezTo>
                    <a:pt x="2083772" y="722337"/>
                    <a:pt x="2115442" y="730671"/>
                    <a:pt x="2140999" y="730671"/>
                  </a:cubicBezTo>
                  <a:cubicBezTo>
                    <a:pt x="2266011" y="729560"/>
                    <a:pt x="2391578" y="730116"/>
                    <a:pt x="2516590" y="730116"/>
                  </a:cubicBezTo>
                  <a:cubicBezTo>
                    <a:pt x="2538259" y="730116"/>
                    <a:pt x="2546037" y="746228"/>
                    <a:pt x="2536037" y="766231"/>
                  </a:cubicBezTo>
                  <a:cubicBezTo>
                    <a:pt x="2530480" y="776787"/>
                    <a:pt x="2511034" y="782343"/>
                    <a:pt x="2520480" y="800678"/>
                  </a:cubicBezTo>
                  <a:cubicBezTo>
                    <a:pt x="2521590" y="802345"/>
                    <a:pt x="2515479" y="803456"/>
                    <a:pt x="2512145" y="803456"/>
                  </a:cubicBezTo>
                  <a:cubicBezTo>
                    <a:pt x="2490477" y="802345"/>
                    <a:pt x="2468252" y="805678"/>
                    <a:pt x="2446584" y="801234"/>
                  </a:cubicBezTo>
                  <a:cubicBezTo>
                    <a:pt x="2428805" y="789010"/>
                    <a:pt x="2412692" y="802900"/>
                    <a:pt x="2396024" y="803456"/>
                  </a:cubicBezTo>
                  <a:cubicBezTo>
                    <a:pt x="2381578" y="804011"/>
                    <a:pt x="2366577" y="804011"/>
                    <a:pt x="2352130" y="804011"/>
                  </a:cubicBezTo>
                  <a:cubicBezTo>
                    <a:pt x="2334351" y="805678"/>
                    <a:pt x="2316016" y="805123"/>
                    <a:pt x="2298237" y="804011"/>
                  </a:cubicBezTo>
                  <a:cubicBezTo>
                    <a:pt x="2258789" y="804011"/>
                    <a:pt x="2218785" y="804011"/>
                    <a:pt x="2179337" y="804011"/>
                  </a:cubicBezTo>
                  <a:cubicBezTo>
                    <a:pt x="2163224" y="805123"/>
                    <a:pt x="2147111" y="804567"/>
                    <a:pt x="2130443" y="804011"/>
                  </a:cubicBezTo>
                  <a:cubicBezTo>
                    <a:pt x="1581504" y="804011"/>
                    <a:pt x="1033120" y="804011"/>
                    <a:pt x="484181" y="804011"/>
                  </a:cubicBezTo>
                  <a:cubicBezTo>
                    <a:pt x="473069" y="804011"/>
                    <a:pt x="461957" y="806234"/>
                    <a:pt x="451400" y="801234"/>
                  </a:cubicBezTo>
                  <a:cubicBezTo>
                    <a:pt x="395283" y="806790"/>
                    <a:pt x="338611" y="799567"/>
                    <a:pt x="282495" y="805123"/>
                  </a:cubicBezTo>
                  <a:cubicBezTo>
                    <a:pt x="269161" y="806790"/>
                    <a:pt x="279162" y="789566"/>
                    <a:pt x="261382" y="792899"/>
                  </a:cubicBezTo>
                  <a:cubicBezTo>
                    <a:pt x="228046" y="799567"/>
                    <a:pt x="193043" y="811235"/>
                    <a:pt x="156928" y="796788"/>
                  </a:cubicBezTo>
                  <a:cubicBezTo>
                    <a:pt x="118591" y="781231"/>
                    <a:pt x="81922" y="764563"/>
                    <a:pt x="54697" y="731783"/>
                  </a:cubicBezTo>
                  <a:cubicBezTo>
                    <a:pt x="29139" y="700668"/>
                    <a:pt x="11359" y="665665"/>
                    <a:pt x="6914" y="625106"/>
                  </a:cubicBezTo>
                  <a:cubicBezTo>
                    <a:pt x="-1975" y="618994"/>
                    <a:pt x="247" y="610105"/>
                    <a:pt x="247" y="601770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7EF678E8-65C8-4A8B-AF83-8C4B36E353F8}"/>
                </a:ext>
              </a:extLst>
            </p:cNvPr>
            <p:cNvSpPr/>
            <p:nvPr/>
          </p:nvSpPr>
          <p:spPr>
            <a:xfrm>
              <a:off x="385763" y="417483"/>
              <a:ext cx="2558629" cy="806208"/>
            </a:xfrm>
            <a:custGeom>
              <a:avLst/>
              <a:gdLst>
                <a:gd name="connsiteX0" fmla="*/ 9489 w 2558629"/>
                <a:gd name="connsiteY0" fmla="*/ 392327 h 806208"/>
                <a:gd name="connsiteX1" fmla="*/ 29491 w 2558629"/>
                <a:gd name="connsiteY1" fmla="*/ 423441 h 806208"/>
                <a:gd name="connsiteX2" fmla="*/ 40603 w 2558629"/>
                <a:gd name="connsiteY2" fmla="*/ 427331 h 806208"/>
                <a:gd name="connsiteX3" fmla="*/ 37269 w 2558629"/>
                <a:gd name="connsiteY3" fmla="*/ 417885 h 806208"/>
                <a:gd name="connsiteX4" fmla="*/ 31158 w 2558629"/>
                <a:gd name="connsiteY4" fmla="*/ 408440 h 806208"/>
                <a:gd name="connsiteX5" fmla="*/ 9489 w 2558629"/>
                <a:gd name="connsiteY5" fmla="*/ 392327 h 806208"/>
                <a:gd name="connsiteX6" fmla="*/ 32616 w 2558629"/>
                <a:gd name="connsiteY6" fmla="*/ 121955 h 806208"/>
                <a:gd name="connsiteX7" fmla="*/ 64494 w 2558629"/>
                <a:gd name="connsiteY7" fmla="*/ 133414 h 806208"/>
                <a:gd name="connsiteX8" fmla="*/ 101719 w 2558629"/>
                <a:gd name="connsiteY8" fmla="*/ 133414 h 806208"/>
                <a:gd name="connsiteX9" fmla="*/ 123388 w 2558629"/>
                <a:gd name="connsiteY9" fmla="*/ 133970 h 806208"/>
                <a:gd name="connsiteX10" fmla="*/ 63383 w 2558629"/>
                <a:gd name="connsiteY10" fmla="*/ 229534 h 806208"/>
                <a:gd name="connsiteX11" fmla="*/ 64494 w 2558629"/>
                <a:gd name="connsiteY11" fmla="*/ 243980 h 806208"/>
                <a:gd name="connsiteX12" fmla="*/ 76162 w 2558629"/>
                <a:gd name="connsiteY12" fmla="*/ 274538 h 806208"/>
                <a:gd name="connsiteX13" fmla="*/ 75050 w 2558629"/>
                <a:gd name="connsiteY13" fmla="*/ 413440 h 806208"/>
                <a:gd name="connsiteX14" fmla="*/ 67827 w 2558629"/>
                <a:gd name="connsiteY14" fmla="*/ 463445 h 806208"/>
                <a:gd name="connsiteX15" fmla="*/ 73939 w 2558629"/>
                <a:gd name="connsiteY15" fmla="*/ 465112 h 806208"/>
                <a:gd name="connsiteX16" fmla="*/ 73939 w 2558629"/>
                <a:gd name="connsiteY16" fmla="*/ 465668 h 806208"/>
                <a:gd name="connsiteX17" fmla="*/ 73383 w 2558629"/>
                <a:gd name="connsiteY17" fmla="*/ 550675 h 806208"/>
                <a:gd name="connsiteX18" fmla="*/ 75606 w 2558629"/>
                <a:gd name="connsiteY18" fmla="*/ 750694 h 806208"/>
                <a:gd name="connsiteX19" fmla="*/ 75606 w 2558629"/>
                <a:gd name="connsiteY19" fmla="*/ 806208 h 806208"/>
                <a:gd name="connsiteX20" fmla="*/ 599 w 2558629"/>
                <a:gd name="connsiteY20" fmla="*/ 806208 h 806208"/>
                <a:gd name="connsiteX21" fmla="*/ 599 w 2558629"/>
                <a:gd name="connsiteY21" fmla="*/ 542342 h 806208"/>
                <a:gd name="connsiteX22" fmla="*/ 3377 w 2558629"/>
                <a:gd name="connsiteY22" fmla="*/ 525118 h 806208"/>
                <a:gd name="connsiteX23" fmla="*/ 599 w 2558629"/>
                <a:gd name="connsiteY23" fmla="*/ 307320 h 806208"/>
                <a:gd name="connsiteX24" fmla="*/ 10044 w 2558629"/>
                <a:gd name="connsiteY24" fmla="*/ 296208 h 806208"/>
                <a:gd name="connsiteX25" fmla="*/ 26713 w 2558629"/>
                <a:gd name="connsiteY25" fmla="*/ 287317 h 806208"/>
                <a:gd name="connsiteX26" fmla="*/ 20046 w 2558629"/>
                <a:gd name="connsiteY26" fmla="*/ 274538 h 806208"/>
                <a:gd name="connsiteX27" fmla="*/ 1155 w 2558629"/>
                <a:gd name="connsiteY27" fmla="*/ 277872 h 806208"/>
                <a:gd name="connsiteX28" fmla="*/ 12822 w 2558629"/>
                <a:gd name="connsiteY28" fmla="*/ 150082 h 806208"/>
                <a:gd name="connsiteX29" fmla="*/ 32616 w 2558629"/>
                <a:gd name="connsiteY29" fmla="*/ 121955 h 806208"/>
                <a:gd name="connsiteX30" fmla="*/ 150959 w 2558629"/>
                <a:gd name="connsiteY30" fmla="*/ 87854 h 806208"/>
                <a:gd name="connsiteX31" fmla="*/ 157835 w 2558629"/>
                <a:gd name="connsiteY31" fmla="*/ 89521 h 806208"/>
                <a:gd name="connsiteX32" fmla="*/ 160613 w 2558629"/>
                <a:gd name="connsiteY32" fmla="*/ 108412 h 806208"/>
                <a:gd name="connsiteX33" fmla="*/ 125054 w 2558629"/>
                <a:gd name="connsiteY33" fmla="*/ 132858 h 806208"/>
                <a:gd name="connsiteX34" fmla="*/ 144501 w 2558629"/>
                <a:gd name="connsiteY34" fmla="*/ 94522 h 806208"/>
                <a:gd name="connsiteX35" fmla="*/ 150959 w 2558629"/>
                <a:gd name="connsiteY35" fmla="*/ 87854 h 806208"/>
                <a:gd name="connsiteX36" fmla="*/ 2447491 w 2558629"/>
                <a:gd name="connsiteY36" fmla="*/ 64519 h 806208"/>
                <a:gd name="connsiteX37" fmla="*/ 2465271 w 2558629"/>
                <a:gd name="connsiteY37" fmla="*/ 74520 h 806208"/>
                <a:gd name="connsiteX38" fmla="*/ 2443602 w 2558629"/>
                <a:gd name="connsiteY38" fmla="*/ 72297 h 806208"/>
                <a:gd name="connsiteX39" fmla="*/ 2447491 w 2558629"/>
                <a:gd name="connsiteY39" fmla="*/ 64519 h 806208"/>
                <a:gd name="connsiteX40" fmla="*/ 2305257 w 2558629"/>
                <a:gd name="connsiteY40" fmla="*/ 3401 h 806208"/>
                <a:gd name="connsiteX41" fmla="*/ 2506942 w 2558629"/>
                <a:gd name="connsiteY41" fmla="*/ 3401 h 806208"/>
                <a:gd name="connsiteX42" fmla="*/ 2440825 w 2558629"/>
                <a:gd name="connsiteY42" fmla="*/ 58407 h 806208"/>
                <a:gd name="connsiteX43" fmla="*/ 2409710 w 2558629"/>
                <a:gd name="connsiteY43" fmla="*/ 74519 h 806208"/>
                <a:gd name="connsiteX44" fmla="*/ 2318591 w 2558629"/>
                <a:gd name="connsiteY44" fmla="*/ 73963 h 806208"/>
                <a:gd name="connsiteX45" fmla="*/ 2286366 w 2558629"/>
                <a:gd name="connsiteY45" fmla="*/ 50628 h 806208"/>
                <a:gd name="connsiteX46" fmla="*/ 2280254 w 2558629"/>
                <a:gd name="connsiteY46" fmla="*/ 40627 h 806208"/>
                <a:gd name="connsiteX47" fmla="*/ 2324702 w 2558629"/>
                <a:gd name="connsiteY47" fmla="*/ 41183 h 806208"/>
                <a:gd name="connsiteX48" fmla="*/ 2338037 w 2558629"/>
                <a:gd name="connsiteY48" fmla="*/ 27292 h 806208"/>
                <a:gd name="connsiteX49" fmla="*/ 2325258 w 2558629"/>
                <a:gd name="connsiteY49" fmla="*/ 17847 h 806208"/>
                <a:gd name="connsiteX50" fmla="*/ 2305257 w 2558629"/>
                <a:gd name="connsiteY50" fmla="*/ 3401 h 806208"/>
                <a:gd name="connsiteX51" fmla="*/ 800117 w 2558629"/>
                <a:gd name="connsiteY51" fmla="*/ 2291 h 806208"/>
                <a:gd name="connsiteX52" fmla="*/ 1134593 w 2558629"/>
                <a:gd name="connsiteY52" fmla="*/ 2291 h 806208"/>
                <a:gd name="connsiteX53" fmla="*/ 1106257 w 2558629"/>
                <a:gd name="connsiteY53" fmla="*/ 22848 h 806208"/>
                <a:gd name="connsiteX54" fmla="*/ 1096811 w 2558629"/>
                <a:gd name="connsiteY54" fmla="*/ 29515 h 806208"/>
                <a:gd name="connsiteX55" fmla="*/ 1105701 w 2558629"/>
                <a:gd name="connsiteY55" fmla="*/ 43962 h 806208"/>
                <a:gd name="connsiteX56" fmla="*/ 1118480 w 2558629"/>
                <a:gd name="connsiteY56" fmla="*/ 45628 h 806208"/>
                <a:gd name="connsiteX57" fmla="*/ 1150705 w 2558629"/>
                <a:gd name="connsiteY57" fmla="*/ 53407 h 806208"/>
                <a:gd name="connsiteX58" fmla="*/ 1155706 w 2558629"/>
                <a:gd name="connsiteY58" fmla="*/ 61741 h 806208"/>
                <a:gd name="connsiteX59" fmla="*/ 1184597 w 2558629"/>
                <a:gd name="connsiteY59" fmla="*/ 60630 h 806208"/>
                <a:gd name="connsiteX60" fmla="*/ 1201265 w 2558629"/>
                <a:gd name="connsiteY60" fmla="*/ 65630 h 806208"/>
                <a:gd name="connsiteX61" fmla="*/ 1189598 w 2558629"/>
                <a:gd name="connsiteY61" fmla="*/ 76187 h 806208"/>
                <a:gd name="connsiteX62" fmla="*/ 1155706 w 2558629"/>
                <a:gd name="connsiteY62" fmla="*/ 72297 h 806208"/>
                <a:gd name="connsiteX63" fmla="*/ 1067364 w 2558629"/>
                <a:gd name="connsiteY63" fmla="*/ 73408 h 806208"/>
                <a:gd name="connsiteX64" fmla="*/ 1059586 w 2558629"/>
                <a:gd name="connsiteY64" fmla="*/ 52851 h 806208"/>
                <a:gd name="connsiteX65" fmla="*/ 1049029 w 2558629"/>
                <a:gd name="connsiteY65" fmla="*/ 36739 h 806208"/>
                <a:gd name="connsiteX66" fmla="*/ 1001802 w 2558629"/>
                <a:gd name="connsiteY66" fmla="*/ 50073 h 806208"/>
                <a:gd name="connsiteX67" fmla="*/ 1005691 w 2558629"/>
                <a:gd name="connsiteY67" fmla="*/ 75075 h 806208"/>
                <a:gd name="connsiteX68" fmla="*/ 729555 w 2558629"/>
                <a:gd name="connsiteY68" fmla="*/ 75075 h 806208"/>
                <a:gd name="connsiteX69" fmla="*/ 783449 w 2558629"/>
                <a:gd name="connsiteY69" fmla="*/ 17292 h 806208"/>
                <a:gd name="connsiteX70" fmla="*/ 800117 w 2558629"/>
                <a:gd name="connsiteY70" fmla="*/ 2291 h 806208"/>
                <a:gd name="connsiteX71" fmla="*/ 2237471 w 2558629"/>
                <a:gd name="connsiteY71" fmla="*/ 1735 h 806208"/>
                <a:gd name="connsiteX72" fmla="*/ 2257474 w 2558629"/>
                <a:gd name="connsiteY72" fmla="*/ 28404 h 806208"/>
                <a:gd name="connsiteX73" fmla="*/ 2272475 w 2558629"/>
                <a:gd name="connsiteY73" fmla="*/ 58407 h 806208"/>
                <a:gd name="connsiteX74" fmla="*/ 2279142 w 2558629"/>
                <a:gd name="connsiteY74" fmla="*/ 65630 h 806208"/>
                <a:gd name="connsiteX75" fmla="*/ 2271919 w 2558629"/>
                <a:gd name="connsiteY75" fmla="*/ 73964 h 806208"/>
                <a:gd name="connsiteX76" fmla="*/ 2256918 w 2558629"/>
                <a:gd name="connsiteY76" fmla="*/ 73964 h 806208"/>
                <a:gd name="connsiteX77" fmla="*/ 1780207 w 2558629"/>
                <a:gd name="connsiteY77" fmla="*/ 73964 h 806208"/>
                <a:gd name="connsiteX78" fmla="*/ 1757427 w 2558629"/>
                <a:gd name="connsiteY78" fmla="*/ 66185 h 806208"/>
                <a:gd name="connsiteX79" fmla="*/ 1779096 w 2558629"/>
                <a:gd name="connsiteY79" fmla="*/ 54518 h 806208"/>
                <a:gd name="connsiteX80" fmla="*/ 1788541 w 2558629"/>
                <a:gd name="connsiteY80" fmla="*/ 49517 h 806208"/>
                <a:gd name="connsiteX81" fmla="*/ 1777429 w 2558629"/>
                <a:gd name="connsiteY81" fmla="*/ 47295 h 806208"/>
                <a:gd name="connsiteX82" fmla="*/ 1771317 w 2558629"/>
                <a:gd name="connsiteY82" fmla="*/ 40627 h 806208"/>
                <a:gd name="connsiteX83" fmla="*/ 1776318 w 2558629"/>
                <a:gd name="connsiteY83" fmla="*/ 33960 h 806208"/>
                <a:gd name="connsiteX84" fmla="*/ 1809099 w 2558629"/>
                <a:gd name="connsiteY84" fmla="*/ 26737 h 806208"/>
                <a:gd name="connsiteX85" fmla="*/ 1827989 w 2558629"/>
                <a:gd name="connsiteY85" fmla="*/ 18403 h 806208"/>
                <a:gd name="connsiteX86" fmla="*/ 1862992 w 2558629"/>
                <a:gd name="connsiteY86" fmla="*/ 2290 h 806208"/>
                <a:gd name="connsiteX87" fmla="*/ 2033008 w 2558629"/>
                <a:gd name="connsiteY87" fmla="*/ 2290 h 806208"/>
                <a:gd name="connsiteX88" fmla="*/ 2026341 w 2558629"/>
                <a:gd name="connsiteY88" fmla="*/ 32848 h 806208"/>
                <a:gd name="connsiteX89" fmla="*/ 2032452 w 2558629"/>
                <a:gd name="connsiteY89" fmla="*/ 47850 h 806208"/>
                <a:gd name="connsiteX90" fmla="*/ 2047454 w 2558629"/>
                <a:gd name="connsiteY90" fmla="*/ 38960 h 806208"/>
                <a:gd name="connsiteX91" fmla="*/ 2051899 w 2558629"/>
                <a:gd name="connsiteY91" fmla="*/ 30071 h 806208"/>
                <a:gd name="connsiteX92" fmla="*/ 2085235 w 2558629"/>
                <a:gd name="connsiteY92" fmla="*/ 2290 h 806208"/>
                <a:gd name="connsiteX93" fmla="*/ 2237471 w 2558629"/>
                <a:gd name="connsiteY93" fmla="*/ 1735 h 806208"/>
                <a:gd name="connsiteX94" fmla="*/ 223952 w 2558629"/>
                <a:gd name="connsiteY94" fmla="*/ 1735 h 806208"/>
                <a:gd name="connsiteX95" fmla="*/ 538426 w 2558629"/>
                <a:gd name="connsiteY95" fmla="*/ 1735 h 806208"/>
                <a:gd name="connsiteX96" fmla="*/ 563428 w 2558629"/>
                <a:gd name="connsiteY96" fmla="*/ 3402 h 806208"/>
                <a:gd name="connsiteX97" fmla="*/ 573429 w 2558629"/>
                <a:gd name="connsiteY97" fmla="*/ 13403 h 806208"/>
                <a:gd name="connsiteX98" fmla="*/ 512312 w 2558629"/>
                <a:gd name="connsiteY98" fmla="*/ 73965 h 806208"/>
                <a:gd name="connsiteX99" fmla="*/ 289514 w 2558629"/>
                <a:gd name="connsiteY99" fmla="*/ 73965 h 806208"/>
                <a:gd name="connsiteX100" fmla="*/ 184504 w 2558629"/>
                <a:gd name="connsiteY100" fmla="*/ 95633 h 806208"/>
                <a:gd name="connsiteX101" fmla="*/ 163947 w 2558629"/>
                <a:gd name="connsiteY101" fmla="*/ 88410 h 806208"/>
                <a:gd name="connsiteX102" fmla="*/ 136722 w 2558629"/>
                <a:gd name="connsiteY102" fmla="*/ 77298 h 806208"/>
                <a:gd name="connsiteX103" fmla="*/ 85606 w 2558629"/>
                <a:gd name="connsiteY103" fmla="*/ 80632 h 806208"/>
                <a:gd name="connsiteX104" fmla="*/ 73383 w 2558629"/>
                <a:gd name="connsiteY104" fmla="*/ 68964 h 806208"/>
                <a:gd name="connsiteX105" fmla="*/ 90052 w 2558629"/>
                <a:gd name="connsiteY105" fmla="*/ 41739 h 806208"/>
                <a:gd name="connsiteX106" fmla="*/ 105608 w 2558629"/>
                <a:gd name="connsiteY106" fmla="*/ 44517 h 806208"/>
                <a:gd name="connsiteX107" fmla="*/ 142834 w 2558629"/>
                <a:gd name="connsiteY107" fmla="*/ 53407 h 806208"/>
                <a:gd name="connsiteX108" fmla="*/ 142834 w 2558629"/>
                <a:gd name="connsiteY108" fmla="*/ 18403 h 806208"/>
                <a:gd name="connsiteX109" fmla="*/ 142278 w 2558629"/>
                <a:gd name="connsiteY109" fmla="*/ 13958 h 806208"/>
                <a:gd name="connsiteX110" fmla="*/ 223952 w 2558629"/>
                <a:gd name="connsiteY110" fmla="*/ 1735 h 806208"/>
                <a:gd name="connsiteX111" fmla="*/ 651214 w 2558629"/>
                <a:gd name="connsiteY111" fmla="*/ 1179 h 806208"/>
                <a:gd name="connsiteX112" fmla="*/ 682328 w 2558629"/>
                <a:gd name="connsiteY112" fmla="*/ 1179 h 806208"/>
                <a:gd name="connsiteX113" fmla="*/ 691218 w 2558629"/>
                <a:gd name="connsiteY113" fmla="*/ 40627 h 806208"/>
                <a:gd name="connsiteX114" fmla="*/ 687328 w 2558629"/>
                <a:gd name="connsiteY114" fmla="*/ 27292 h 806208"/>
                <a:gd name="connsiteX115" fmla="*/ 686772 w 2558629"/>
                <a:gd name="connsiteY115" fmla="*/ 18403 h 806208"/>
                <a:gd name="connsiteX116" fmla="*/ 697329 w 2558629"/>
                <a:gd name="connsiteY116" fmla="*/ 20070 h 806208"/>
                <a:gd name="connsiteX117" fmla="*/ 718998 w 2558629"/>
                <a:gd name="connsiteY117" fmla="*/ 57851 h 806208"/>
                <a:gd name="connsiteX118" fmla="*/ 704552 w 2558629"/>
                <a:gd name="connsiteY118" fmla="*/ 74519 h 806208"/>
                <a:gd name="connsiteX119" fmla="*/ 593431 w 2558629"/>
                <a:gd name="connsiteY119" fmla="*/ 73963 h 806208"/>
                <a:gd name="connsiteX120" fmla="*/ 578984 w 2558629"/>
                <a:gd name="connsiteY120" fmla="*/ 68407 h 806208"/>
                <a:gd name="connsiteX121" fmla="*/ 588985 w 2558629"/>
                <a:gd name="connsiteY121" fmla="*/ 57295 h 806208"/>
                <a:gd name="connsiteX122" fmla="*/ 599542 w 2558629"/>
                <a:gd name="connsiteY122" fmla="*/ 45072 h 806208"/>
                <a:gd name="connsiteX123" fmla="*/ 651214 w 2558629"/>
                <a:gd name="connsiteY123" fmla="*/ 1179 h 806208"/>
                <a:gd name="connsiteX124" fmla="*/ 2535763 w 2558629"/>
                <a:gd name="connsiteY124" fmla="*/ 1178 h 806208"/>
                <a:gd name="connsiteX125" fmla="*/ 2556390 w 2558629"/>
                <a:gd name="connsiteY125" fmla="*/ 4512 h 806208"/>
                <a:gd name="connsiteX126" fmla="*/ 2555834 w 2558629"/>
                <a:gd name="connsiteY126" fmla="*/ 58406 h 806208"/>
                <a:gd name="connsiteX127" fmla="*/ 2529721 w 2558629"/>
                <a:gd name="connsiteY127" fmla="*/ 51739 h 806208"/>
                <a:gd name="connsiteX128" fmla="*/ 2490273 w 2558629"/>
                <a:gd name="connsiteY128" fmla="*/ 74518 h 806208"/>
                <a:gd name="connsiteX129" fmla="*/ 2509720 w 2558629"/>
                <a:gd name="connsiteY129" fmla="*/ 15069 h 806208"/>
                <a:gd name="connsiteX130" fmla="*/ 2514720 w 2558629"/>
                <a:gd name="connsiteY130" fmla="*/ 2845 h 806208"/>
                <a:gd name="connsiteX131" fmla="*/ 2535763 w 2558629"/>
                <a:gd name="connsiteY131" fmla="*/ 1178 h 806208"/>
                <a:gd name="connsiteX132" fmla="*/ 1370030 w 2558629"/>
                <a:gd name="connsiteY132" fmla="*/ 693 h 806208"/>
                <a:gd name="connsiteX133" fmla="*/ 1381837 w 2558629"/>
                <a:gd name="connsiteY133" fmla="*/ 1735 h 806208"/>
                <a:gd name="connsiteX134" fmla="*/ 1359057 w 2558629"/>
                <a:gd name="connsiteY134" fmla="*/ 5069 h 806208"/>
                <a:gd name="connsiteX135" fmla="*/ 1370030 w 2558629"/>
                <a:gd name="connsiteY135" fmla="*/ 693 h 806208"/>
                <a:gd name="connsiteX136" fmla="*/ 1250158 w 2558629"/>
                <a:gd name="connsiteY136" fmla="*/ 68 h 806208"/>
                <a:gd name="connsiteX137" fmla="*/ 1308497 w 2558629"/>
                <a:gd name="connsiteY137" fmla="*/ 68 h 806208"/>
                <a:gd name="connsiteX138" fmla="*/ 1320720 w 2558629"/>
                <a:gd name="connsiteY138" fmla="*/ 9514 h 806208"/>
                <a:gd name="connsiteX139" fmla="*/ 1360168 w 2558629"/>
                <a:gd name="connsiteY139" fmla="*/ 35071 h 806208"/>
                <a:gd name="connsiteX140" fmla="*/ 1408507 w 2558629"/>
                <a:gd name="connsiteY140" fmla="*/ 36183 h 806208"/>
                <a:gd name="connsiteX141" fmla="*/ 1416284 w 2558629"/>
                <a:gd name="connsiteY141" fmla="*/ 30071 h 806208"/>
                <a:gd name="connsiteX142" fmla="*/ 1418507 w 2558629"/>
                <a:gd name="connsiteY142" fmla="*/ 14514 h 806208"/>
                <a:gd name="connsiteX143" fmla="*/ 1406839 w 2558629"/>
                <a:gd name="connsiteY143" fmla="*/ 16736 h 806208"/>
                <a:gd name="connsiteX144" fmla="*/ 1392949 w 2558629"/>
                <a:gd name="connsiteY144" fmla="*/ 22292 h 806208"/>
                <a:gd name="connsiteX145" fmla="*/ 1446287 w 2558629"/>
                <a:gd name="connsiteY145" fmla="*/ 15070 h 806208"/>
                <a:gd name="connsiteX146" fmla="*/ 1491847 w 2558629"/>
                <a:gd name="connsiteY146" fmla="*/ 65074 h 806208"/>
                <a:gd name="connsiteX147" fmla="*/ 1481847 w 2558629"/>
                <a:gd name="connsiteY147" fmla="*/ 30071 h 806208"/>
                <a:gd name="connsiteX148" fmla="*/ 1478512 w 2558629"/>
                <a:gd name="connsiteY148" fmla="*/ 18403 h 806208"/>
                <a:gd name="connsiteX149" fmla="*/ 1491292 w 2558629"/>
                <a:gd name="connsiteY149" fmla="*/ 17292 h 806208"/>
                <a:gd name="connsiteX150" fmla="*/ 1534073 w 2558629"/>
                <a:gd name="connsiteY150" fmla="*/ 35071 h 806208"/>
                <a:gd name="connsiteX151" fmla="*/ 1542963 w 2558629"/>
                <a:gd name="connsiteY151" fmla="*/ 38961 h 806208"/>
                <a:gd name="connsiteX152" fmla="*/ 1550186 w 2558629"/>
                <a:gd name="connsiteY152" fmla="*/ 40627 h 806208"/>
                <a:gd name="connsiteX153" fmla="*/ 1534629 w 2558629"/>
                <a:gd name="connsiteY153" fmla="*/ 3402 h 806208"/>
                <a:gd name="connsiteX154" fmla="*/ 1512960 w 2558629"/>
                <a:gd name="connsiteY154" fmla="*/ 15625 h 806208"/>
                <a:gd name="connsiteX155" fmla="*/ 1507404 w 2558629"/>
                <a:gd name="connsiteY155" fmla="*/ 5068 h 806208"/>
                <a:gd name="connsiteX156" fmla="*/ 1517405 w 2558629"/>
                <a:gd name="connsiteY156" fmla="*/ 623 h 806208"/>
                <a:gd name="connsiteX157" fmla="*/ 1759094 w 2558629"/>
                <a:gd name="connsiteY157" fmla="*/ 623 h 806208"/>
                <a:gd name="connsiteX158" fmla="*/ 1697422 w 2558629"/>
                <a:gd name="connsiteY158" fmla="*/ 16180 h 806208"/>
                <a:gd name="connsiteX159" fmla="*/ 1672419 w 2558629"/>
                <a:gd name="connsiteY159" fmla="*/ 18959 h 806208"/>
                <a:gd name="connsiteX160" fmla="*/ 1671864 w 2558629"/>
                <a:gd name="connsiteY160" fmla="*/ 42294 h 806208"/>
                <a:gd name="connsiteX161" fmla="*/ 1723535 w 2558629"/>
                <a:gd name="connsiteY161" fmla="*/ 63407 h 806208"/>
                <a:gd name="connsiteX162" fmla="*/ 1734092 w 2558629"/>
                <a:gd name="connsiteY162" fmla="*/ 71742 h 806208"/>
                <a:gd name="connsiteX163" fmla="*/ 1219600 w 2558629"/>
                <a:gd name="connsiteY163" fmla="*/ 70630 h 806208"/>
                <a:gd name="connsiteX164" fmla="*/ 1234601 w 2558629"/>
                <a:gd name="connsiteY164" fmla="*/ 11180 h 806208"/>
                <a:gd name="connsiteX165" fmla="*/ 1250158 w 2558629"/>
                <a:gd name="connsiteY165" fmla="*/ 68 h 80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2558629" h="806208">
                  <a:moveTo>
                    <a:pt x="9489" y="392327"/>
                  </a:moveTo>
                  <a:cubicBezTo>
                    <a:pt x="21157" y="400106"/>
                    <a:pt x="20601" y="415107"/>
                    <a:pt x="29491" y="423441"/>
                  </a:cubicBezTo>
                  <a:cubicBezTo>
                    <a:pt x="32824" y="426219"/>
                    <a:pt x="35047" y="433443"/>
                    <a:pt x="40603" y="427331"/>
                  </a:cubicBezTo>
                  <a:cubicBezTo>
                    <a:pt x="43937" y="423441"/>
                    <a:pt x="41714" y="420108"/>
                    <a:pt x="37269" y="417885"/>
                  </a:cubicBezTo>
                  <a:cubicBezTo>
                    <a:pt x="33380" y="416219"/>
                    <a:pt x="30046" y="413440"/>
                    <a:pt x="31158" y="408440"/>
                  </a:cubicBezTo>
                  <a:cubicBezTo>
                    <a:pt x="36158" y="388438"/>
                    <a:pt x="21712" y="391216"/>
                    <a:pt x="9489" y="392327"/>
                  </a:cubicBezTo>
                  <a:close/>
                  <a:moveTo>
                    <a:pt x="32616" y="121955"/>
                  </a:moveTo>
                  <a:cubicBezTo>
                    <a:pt x="40881" y="119107"/>
                    <a:pt x="51159" y="122858"/>
                    <a:pt x="64494" y="133414"/>
                  </a:cubicBezTo>
                  <a:cubicBezTo>
                    <a:pt x="78384" y="143970"/>
                    <a:pt x="89496" y="147860"/>
                    <a:pt x="101719" y="133414"/>
                  </a:cubicBezTo>
                  <a:cubicBezTo>
                    <a:pt x="109498" y="123969"/>
                    <a:pt x="116166" y="136193"/>
                    <a:pt x="123388" y="133970"/>
                  </a:cubicBezTo>
                  <a:cubicBezTo>
                    <a:pt x="101164" y="165084"/>
                    <a:pt x="90607" y="202865"/>
                    <a:pt x="63383" y="229534"/>
                  </a:cubicBezTo>
                  <a:cubicBezTo>
                    <a:pt x="55049" y="237313"/>
                    <a:pt x="58938" y="240646"/>
                    <a:pt x="64494" y="243980"/>
                  </a:cubicBezTo>
                  <a:cubicBezTo>
                    <a:pt x="77273" y="251203"/>
                    <a:pt x="76162" y="262871"/>
                    <a:pt x="76162" y="274538"/>
                  </a:cubicBezTo>
                  <a:cubicBezTo>
                    <a:pt x="75606" y="320654"/>
                    <a:pt x="77273" y="367325"/>
                    <a:pt x="75050" y="413440"/>
                  </a:cubicBezTo>
                  <a:cubicBezTo>
                    <a:pt x="73939" y="429553"/>
                    <a:pt x="78939" y="447888"/>
                    <a:pt x="67827" y="463445"/>
                  </a:cubicBezTo>
                  <a:cubicBezTo>
                    <a:pt x="69494" y="464000"/>
                    <a:pt x="71717" y="464556"/>
                    <a:pt x="73939" y="465112"/>
                  </a:cubicBezTo>
                  <a:cubicBezTo>
                    <a:pt x="73939" y="465112"/>
                    <a:pt x="73939" y="465668"/>
                    <a:pt x="73939" y="465668"/>
                  </a:cubicBezTo>
                  <a:cubicBezTo>
                    <a:pt x="76718" y="494004"/>
                    <a:pt x="77273" y="522340"/>
                    <a:pt x="73383" y="550675"/>
                  </a:cubicBezTo>
                  <a:cubicBezTo>
                    <a:pt x="74495" y="617349"/>
                    <a:pt x="75606" y="684021"/>
                    <a:pt x="75606" y="750694"/>
                  </a:cubicBezTo>
                  <a:lnTo>
                    <a:pt x="75606" y="806208"/>
                  </a:lnTo>
                  <a:lnTo>
                    <a:pt x="599" y="806208"/>
                  </a:lnTo>
                  <a:lnTo>
                    <a:pt x="599" y="542342"/>
                  </a:lnTo>
                  <a:cubicBezTo>
                    <a:pt x="599" y="536230"/>
                    <a:pt x="-1068" y="530118"/>
                    <a:pt x="3377" y="525118"/>
                  </a:cubicBezTo>
                  <a:cubicBezTo>
                    <a:pt x="-3290" y="452888"/>
                    <a:pt x="2266" y="380104"/>
                    <a:pt x="599" y="307320"/>
                  </a:cubicBezTo>
                  <a:cubicBezTo>
                    <a:pt x="599" y="301208"/>
                    <a:pt x="1155" y="295652"/>
                    <a:pt x="10044" y="296208"/>
                  </a:cubicBezTo>
                  <a:cubicBezTo>
                    <a:pt x="17267" y="296208"/>
                    <a:pt x="24490" y="293985"/>
                    <a:pt x="26713" y="287317"/>
                  </a:cubicBezTo>
                  <a:cubicBezTo>
                    <a:pt x="28379" y="282317"/>
                    <a:pt x="23379" y="278428"/>
                    <a:pt x="20046" y="274538"/>
                  </a:cubicBezTo>
                  <a:cubicBezTo>
                    <a:pt x="10600" y="263426"/>
                    <a:pt x="10044" y="284540"/>
                    <a:pt x="1155" y="277872"/>
                  </a:cubicBezTo>
                  <a:cubicBezTo>
                    <a:pt x="43" y="235646"/>
                    <a:pt x="-1623" y="192309"/>
                    <a:pt x="12822" y="150082"/>
                  </a:cubicBezTo>
                  <a:cubicBezTo>
                    <a:pt x="18101" y="134248"/>
                    <a:pt x="24351" y="124802"/>
                    <a:pt x="32616" y="121955"/>
                  </a:cubicBezTo>
                  <a:close/>
                  <a:moveTo>
                    <a:pt x="150959" y="87854"/>
                  </a:moveTo>
                  <a:cubicBezTo>
                    <a:pt x="153390" y="86743"/>
                    <a:pt x="155891" y="87021"/>
                    <a:pt x="157835" y="89521"/>
                  </a:cubicBezTo>
                  <a:cubicBezTo>
                    <a:pt x="161169" y="93966"/>
                    <a:pt x="170058" y="102856"/>
                    <a:pt x="160613" y="108412"/>
                  </a:cubicBezTo>
                  <a:cubicBezTo>
                    <a:pt x="148390" y="116190"/>
                    <a:pt x="140611" y="130636"/>
                    <a:pt x="125054" y="132858"/>
                  </a:cubicBezTo>
                  <a:cubicBezTo>
                    <a:pt x="128388" y="118413"/>
                    <a:pt x="137833" y="107301"/>
                    <a:pt x="144501" y="94522"/>
                  </a:cubicBezTo>
                  <a:cubicBezTo>
                    <a:pt x="146167" y="91466"/>
                    <a:pt x="148529" y="88966"/>
                    <a:pt x="150959" y="87854"/>
                  </a:cubicBezTo>
                  <a:close/>
                  <a:moveTo>
                    <a:pt x="2447491" y="64519"/>
                  </a:moveTo>
                  <a:cubicBezTo>
                    <a:pt x="2457492" y="60074"/>
                    <a:pt x="2459715" y="68408"/>
                    <a:pt x="2465271" y="74520"/>
                  </a:cubicBezTo>
                  <a:cubicBezTo>
                    <a:pt x="2455826" y="78409"/>
                    <a:pt x="2448603" y="78965"/>
                    <a:pt x="2443602" y="72297"/>
                  </a:cubicBezTo>
                  <a:cubicBezTo>
                    <a:pt x="2440824" y="68964"/>
                    <a:pt x="2444713" y="65630"/>
                    <a:pt x="2447491" y="64519"/>
                  </a:cubicBezTo>
                  <a:close/>
                  <a:moveTo>
                    <a:pt x="2305257" y="3401"/>
                  </a:moveTo>
                  <a:cubicBezTo>
                    <a:pt x="2371929" y="3401"/>
                    <a:pt x="2435824" y="3401"/>
                    <a:pt x="2506942" y="3401"/>
                  </a:cubicBezTo>
                  <a:cubicBezTo>
                    <a:pt x="2479161" y="21181"/>
                    <a:pt x="2452492" y="31181"/>
                    <a:pt x="2440825" y="58407"/>
                  </a:cubicBezTo>
                  <a:cubicBezTo>
                    <a:pt x="2435269" y="71741"/>
                    <a:pt x="2424156" y="75075"/>
                    <a:pt x="2409710" y="74519"/>
                  </a:cubicBezTo>
                  <a:cubicBezTo>
                    <a:pt x="2379152" y="73408"/>
                    <a:pt x="2349149" y="73408"/>
                    <a:pt x="2318591" y="73963"/>
                  </a:cubicBezTo>
                  <a:cubicBezTo>
                    <a:pt x="2301367" y="74519"/>
                    <a:pt x="2283588" y="77298"/>
                    <a:pt x="2286366" y="50628"/>
                  </a:cubicBezTo>
                  <a:cubicBezTo>
                    <a:pt x="2286366" y="49517"/>
                    <a:pt x="2280810" y="47295"/>
                    <a:pt x="2280254" y="40627"/>
                  </a:cubicBezTo>
                  <a:cubicBezTo>
                    <a:pt x="2295255" y="40627"/>
                    <a:pt x="2310257" y="39516"/>
                    <a:pt x="2324702" y="41183"/>
                  </a:cubicBezTo>
                  <a:cubicBezTo>
                    <a:pt x="2337482" y="42849"/>
                    <a:pt x="2336370" y="32848"/>
                    <a:pt x="2338037" y="27292"/>
                  </a:cubicBezTo>
                  <a:cubicBezTo>
                    <a:pt x="2340815" y="17292"/>
                    <a:pt x="2329147" y="16736"/>
                    <a:pt x="2325258" y="17847"/>
                  </a:cubicBezTo>
                  <a:cubicBezTo>
                    <a:pt x="2310257" y="22848"/>
                    <a:pt x="2309146" y="13402"/>
                    <a:pt x="2305257" y="3401"/>
                  </a:cubicBezTo>
                  <a:close/>
                  <a:moveTo>
                    <a:pt x="800117" y="2291"/>
                  </a:moveTo>
                  <a:cubicBezTo>
                    <a:pt x="910683" y="2291"/>
                    <a:pt x="1020693" y="2291"/>
                    <a:pt x="1134593" y="2291"/>
                  </a:cubicBezTo>
                  <a:cubicBezTo>
                    <a:pt x="1125703" y="13403"/>
                    <a:pt x="1121258" y="25071"/>
                    <a:pt x="1106257" y="22848"/>
                  </a:cubicBezTo>
                  <a:cubicBezTo>
                    <a:pt x="1101256" y="21738"/>
                    <a:pt x="1096811" y="25627"/>
                    <a:pt x="1096811" y="29515"/>
                  </a:cubicBezTo>
                  <a:cubicBezTo>
                    <a:pt x="1097367" y="35072"/>
                    <a:pt x="1099589" y="41183"/>
                    <a:pt x="1105701" y="43962"/>
                  </a:cubicBezTo>
                  <a:cubicBezTo>
                    <a:pt x="1110146" y="46184"/>
                    <a:pt x="1114035" y="51740"/>
                    <a:pt x="1118480" y="45628"/>
                  </a:cubicBezTo>
                  <a:cubicBezTo>
                    <a:pt x="1136259" y="20071"/>
                    <a:pt x="1140704" y="47851"/>
                    <a:pt x="1150705" y="53407"/>
                  </a:cubicBezTo>
                  <a:cubicBezTo>
                    <a:pt x="1152927" y="54518"/>
                    <a:pt x="1154038" y="58963"/>
                    <a:pt x="1155706" y="61741"/>
                  </a:cubicBezTo>
                  <a:cubicBezTo>
                    <a:pt x="1165706" y="72297"/>
                    <a:pt x="1175152" y="66741"/>
                    <a:pt x="1184597" y="60630"/>
                  </a:cubicBezTo>
                  <a:cubicBezTo>
                    <a:pt x="1192376" y="55629"/>
                    <a:pt x="1199043" y="58963"/>
                    <a:pt x="1201265" y="65630"/>
                  </a:cubicBezTo>
                  <a:cubicBezTo>
                    <a:pt x="1205154" y="75631"/>
                    <a:pt x="1196265" y="76187"/>
                    <a:pt x="1189598" y="76187"/>
                  </a:cubicBezTo>
                  <a:cubicBezTo>
                    <a:pt x="1178485" y="75631"/>
                    <a:pt x="1166262" y="80076"/>
                    <a:pt x="1155706" y="72297"/>
                  </a:cubicBezTo>
                  <a:cubicBezTo>
                    <a:pt x="1126258" y="72853"/>
                    <a:pt x="1096811" y="73964"/>
                    <a:pt x="1067364" y="73408"/>
                  </a:cubicBezTo>
                  <a:cubicBezTo>
                    <a:pt x="1052362" y="72853"/>
                    <a:pt x="1055696" y="60630"/>
                    <a:pt x="1059586" y="52851"/>
                  </a:cubicBezTo>
                  <a:cubicBezTo>
                    <a:pt x="1066809" y="38961"/>
                    <a:pt x="1061808" y="36183"/>
                    <a:pt x="1049029" y="36739"/>
                  </a:cubicBezTo>
                  <a:cubicBezTo>
                    <a:pt x="1031805" y="37294"/>
                    <a:pt x="1012359" y="25627"/>
                    <a:pt x="1001802" y="50073"/>
                  </a:cubicBezTo>
                  <a:cubicBezTo>
                    <a:pt x="997913" y="59519"/>
                    <a:pt x="997913" y="66741"/>
                    <a:pt x="1005691" y="75075"/>
                  </a:cubicBezTo>
                  <a:cubicBezTo>
                    <a:pt x="915127" y="75075"/>
                    <a:pt x="825675" y="75075"/>
                    <a:pt x="729555" y="75075"/>
                  </a:cubicBezTo>
                  <a:cubicBezTo>
                    <a:pt x="760114" y="62296"/>
                    <a:pt x="772336" y="40072"/>
                    <a:pt x="783449" y="17292"/>
                  </a:cubicBezTo>
                  <a:cubicBezTo>
                    <a:pt x="786783" y="9514"/>
                    <a:pt x="788450" y="2291"/>
                    <a:pt x="800117" y="2291"/>
                  </a:cubicBezTo>
                  <a:close/>
                  <a:moveTo>
                    <a:pt x="2237471" y="1735"/>
                  </a:moveTo>
                  <a:cubicBezTo>
                    <a:pt x="2259696" y="1179"/>
                    <a:pt x="2265252" y="8958"/>
                    <a:pt x="2257474" y="28404"/>
                  </a:cubicBezTo>
                  <a:cubicBezTo>
                    <a:pt x="2251362" y="43961"/>
                    <a:pt x="2250806" y="56740"/>
                    <a:pt x="2272475" y="58407"/>
                  </a:cubicBezTo>
                  <a:cubicBezTo>
                    <a:pt x="2278031" y="58407"/>
                    <a:pt x="2279142" y="60629"/>
                    <a:pt x="2279142" y="65630"/>
                  </a:cubicBezTo>
                  <a:cubicBezTo>
                    <a:pt x="2279142" y="70630"/>
                    <a:pt x="2277475" y="73964"/>
                    <a:pt x="2271919" y="73964"/>
                  </a:cubicBezTo>
                  <a:cubicBezTo>
                    <a:pt x="2266919" y="73964"/>
                    <a:pt x="2261918" y="73964"/>
                    <a:pt x="2256918" y="73964"/>
                  </a:cubicBezTo>
                  <a:cubicBezTo>
                    <a:pt x="2098015" y="73964"/>
                    <a:pt x="1939111" y="74519"/>
                    <a:pt x="1780207" y="73964"/>
                  </a:cubicBezTo>
                  <a:cubicBezTo>
                    <a:pt x="1771873" y="73964"/>
                    <a:pt x="1757983" y="78964"/>
                    <a:pt x="1757427" y="66185"/>
                  </a:cubicBezTo>
                  <a:cubicBezTo>
                    <a:pt x="1756872" y="55628"/>
                    <a:pt x="1769095" y="54518"/>
                    <a:pt x="1779096" y="54518"/>
                  </a:cubicBezTo>
                  <a:cubicBezTo>
                    <a:pt x="1782985" y="54518"/>
                    <a:pt x="1790764" y="56740"/>
                    <a:pt x="1788541" y="49517"/>
                  </a:cubicBezTo>
                  <a:cubicBezTo>
                    <a:pt x="1787430" y="45072"/>
                    <a:pt x="1782985" y="40627"/>
                    <a:pt x="1777429" y="47295"/>
                  </a:cubicBezTo>
                  <a:cubicBezTo>
                    <a:pt x="1775207" y="45072"/>
                    <a:pt x="1772428" y="43405"/>
                    <a:pt x="1771317" y="40627"/>
                  </a:cubicBezTo>
                  <a:cubicBezTo>
                    <a:pt x="1769651" y="36738"/>
                    <a:pt x="1772428" y="33404"/>
                    <a:pt x="1776318" y="33960"/>
                  </a:cubicBezTo>
                  <a:cubicBezTo>
                    <a:pt x="1788541" y="36183"/>
                    <a:pt x="1795764" y="20070"/>
                    <a:pt x="1809099" y="26737"/>
                  </a:cubicBezTo>
                  <a:cubicBezTo>
                    <a:pt x="1817433" y="30627"/>
                    <a:pt x="1825767" y="23959"/>
                    <a:pt x="1827989" y="18403"/>
                  </a:cubicBezTo>
                  <a:cubicBezTo>
                    <a:pt x="1834656" y="68"/>
                    <a:pt x="1848547" y="2290"/>
                    <a:pt x="1862992" y="2290"/>
                  </a:cubicBezTo>
                  <a:cubicBezTo>
                    <a:pt x="1919664" y="2290"/>
                    <a:pt x="1976336" y="2290"/>
                    <a:pt x="2033008" y="2290"/>
                  </a:cubicBezTo>
                  <a:cubicBezTo>
                    <a:pt x="2036342" y="16180"/>
                    <a:pt x="2021896" y="22848"/>
                    <a:pt x="2026341" y="32848"/>
                  </a:cubicBezTo>
                  <a:cubicBezTo>
                    <a:pt x="2028563" y="37294"/>
                    <a:pt x="2019674" y="46183"/>
                    <a:pt x="2032452" y="47850"/>
                  </a:cubicBezTo>
                  <a:cubicBezTo>
                    <a:pt x="2041343" y="48961"/>
                    <a:pt x="2044676" y="46183"/>
                    <a:pt x="2047454" y="38960"/>
                  </a:cubicBezTo>
                  <a:cubicBezTo>
                    <a:pt x="2049120" y="35627"/>
                    <a:pt x="2052455" y="32293"/>
                    <a:pt x="2051899" y="30071"/>
                  </a:cubicBezTo>
                  <a:cubicBezTo>
                    <a:pt x="2043009" y="-3821"/>
                    <a:pt x="2066344" y="2290"/>
                    <a:pt x="2085235" y="2290"/>
                  </a:cubicBezTo>
                  <a:cubicBezTo>
                    <a:pt x="2136351" y="2290"/>
                    <a:pt x="2186911" y="2846"/>
                    <a:pt x="2237471" y="1735"/>
                  </a:cubicBezTo>
                  <a:close/>
                  <a:moveTo>
                    <a:pt x="223952" y="1735"/>
                  </a:moveTo>
                  <a:cubicBezTo>
                    <a:pt x="328962" y="1735"/>
                    <a:pt x="433416" y="1735"/>
                    <a:pt x="538426" y="1735"/>
                  </a:cubicBezTo>
                  <a:cubicBezTo>
                    <a:pt x="546760" y="1735"/>
                    <a:pt x="555094" y="1735"/>
                    <a:pt x="563428" y="3402"/>
                  </a:cubicBezTo>
                  <a:cubicBezTo>
                    <a:pt x="568428" y="4514"/>
                    <a:pt x="573429" y="7847"/>
                    <a:pt x="573429" y="13403"/>
                  </a:cubicBezTo>
                  <a:cubicBezTo>
                    <a:pt x="573984" y="43962"/>
                    <a:pt x="543427" y="73965"/>
                    <a:pt x="512312" y="73965"/>
                  </a:cubicBezTo>
                  <a:cubicBezTo>
                    <a:pt x="437861" y="74520"/>
                    <a:pt x="363965" y="75075"/>
                    <a:pt x="289514" y="73965"/>
                  </a:cubicBezTo>
                  <a:cubicBezTo>
                    <a:pt x="252844" y="73965"/>
                    <a:pt x="217285" y="78409"/>
                    <a:pt x="184504" y="95633"/>
                  </a:cubicBezTo>
                  <a:cubicBezTo>
                    <a:pt x="173948" y="101189"/>
                    <a:pt x="168948" y="100078"/>
                    <a:pt x="163947" y="88410"/>
                  </a:cubicBezTo>
                  <a:cubicBezTo>
                    <a:pt x="159502" y="76742"/>
                    <a:pt x="145612" y="73965"/>
                    <a:pt x="136722" y="77298"/>
                  </a:cubicBezTo>
                  <a:cubicBezTo>
                    <a:pt x="119498" y="83965"/>
                    <a:pt x="102830" y="70075"/>
                    <a:pt x="85606" y="80632"/>
                  </a:cubicBezTo>
                  <a:cubicBezTo>
                    <a:pt x="80050" y="83965"/>
                    <a:pt x="75605" y="76742"/>
                    <a:pt x="73383" y="68964"/>
                  </a:cubicBezTo>
                  <a:cubicBezTo>
                    <a:pt x="70049" y="53407"/>
                    <a:pt x="80606" y="48406"/>
                    <a:pt x="90052" y="41739"/>
                  </a:cubicBezTo>
                  <a:cubicBezTo>
                    <a:pt x="95608" y="37850"/>
                    <a:pt x="103385" y="38961"/>
                    <a:pt x="105608" y="44517"/>
                  </a:cubicBezTo>
                  <a:cubicBezTo>
                    <a:pt x="113942" y="65074"/>
                    <a:pt x="134500" y="57851"/>
                    <a:pt x="142834" y="53407"/>
                  </a:cubicBezTo>
                  <a:cubicBezTo>
                    <a:pt x="152279" y="48406"/>
                    <a:pt x="154501" y="30627"/>
                    <a:pt x="142834" y="18403"/>
                  </a:cubicBezTo>
                  <a:cubicBezTo>
                    <a:pt x="142278" y="17292"/>
                    <a:pt x="142278" y="15626"/>
                    <a:pt x="142278" y="13958"/>
                  </a:cubicBezTo>
                  <a:cubicBezTo>
                    <a:pt x="168392" y="4514"/>
                    <a:pt x="195616" y="1735"/>
                    <a:pt x="223952" y="1735"/>
                  </a:cubicBezTo>
                  <a:close/>
                  <a:moveTo>
                    <a:pt x="651214" y="1179"/>
                  </a:moveTo>
                  <a:cubicBezTo>
                    <a:pt x="661215" y="1179"/>
                    <a:pt x="671215" y="1179"/>
                    <a:pt x="682328" y="1179"/>
                  </a:cubicBezTo>
                  <a:cubicBezTo>
                    <a:pt x="667327" y="21736"/>
                    <a:pt x="669548" y="28959"/>
                    <a:pt x="691218" y="40627"/>
                  </a:cubicBezTo>
                  <a:cubicBezTo>
                    <a:pt x="694551" y="34515"/>
                    <a:pt x="688439" y="31738"/>
                    <a:pt x="687328" y="27292"/>
                  </a:cubicBezTo>
                  <a:cubicBezTo>
                    <a:pt x="686217" y="24515"/>
                    <a:pt x="683439" y="21181"/>
                    <a:pt x="686772" y="18403"/>
                  </a:cubicBezTo>
                  <a:cubicBezTo>
                    <a:pt x="690662" y="14514"/>
                    <a:pt x="693995" y="17292"/>
                    <a:pt x="697329" y="20070"/>
                  </a:cubicBezTo>
                  <a:cubicBezTo>
                    <a:pt x="709552" y="30071"/>
                    <a:pt x="715664" y="43405"/>
                    <a:pt x="718998" y="57851"/>
                  </a:cubicBezTo>
                  <a:cubicBezTo>
                    <a:pt x="721220" y="68407"/>
                    <a:pt x="718442" y="75075"/>
                    <a:pt x="704552" y="74519"/>
                  </a:cubicBezTo>
                  <a:cubicBezTo>
                    <a:pt x="667327" y="73408"/>
                    <a:pt x="630656" y="73963"/>
                    <a:pt x="593431" y="73963"/>
                  </a:cubicBezTo>
                  <a:cubicBezTo>
                    <a:pt x="587875" y="73963"/>
                    <a:pt x="580652" y="75075"/>
                    <a:pt x="578984" y="68407"/>
                  </a:cubicBezTo>
                  <a:cubicBezTo>
                    <a:pt x="576207" y="59518"/>
                    <a:pt x="584541" y="60073"/>
                    <a:pt x="588985" y="57295"/>
                  </a:cubicBezTo>
                  <a:cubicBezTo>
                    <a:pt x="592875" y="53962"/>
                    <a:pt x="598431" y="52851"/>
                    <a:pt x="599542" y="45072"/>
                  </a:cubicBezTo>
                  <a:cubicBezTo>
                    <a:pt x="603431" y="18959"/>
                    <a:pt x="625100" y="1179"/>
                    <a:pt x="651214" y="1179"/>
                  </a:cubicBezTo>
                  <a:close/>
                  <a:moveTo>
                    <a:pt x="2535763" y="1178"/>
                  </a:moveTo>
                  <a:cubicBezTo>
                    <a:pt x="2542778" y="1039"/>
                    <a:pt x="2549723" y="1734"/>
                    <a:pt x="2556390" y="4512"/>
                  </a:cubicBezTo>
                  <a:cubicBezTo>
                    <a:pt x="2559724" y="5624"/>
                    <a:pt x="2559168" y="54517"/>
                    <a:pt x="2555834" y="58406"/>
                  </a:cubicBezTo>
                  <a:cubicBezTo>
                    <a:pt x="2543611" y="71185"/>
                    <a:pt x="2540277" y="50628"/>
                    <a:pt x="2529721" y="51739"/>
                  </a:cubicBezTo>
                  <a:cubicBezTo>
                    <a:pt x="2533054" y="83964"/>
                    <a:pt x="2509720" y="71741"/>
                    <a:pt x="2490273" y="74518"/>
                  </a:cubicBezTo>
                  <a:cubicBezTo>
                    <a:pt x="2503608" y="53961"/>
                    <a:pt x="2519165" y="37849"/>
                    <a:pt x="2509720" y="15069"/>
                  </a:cubicBezTo>
                  <a:cubicBezTo>
                    <a:pt x="2508052" y="10624"/>
                    <a:pt x="2508608" y="3401"/>
                    <a:pt x="2514720" y="2845"/>
                  </a:cubicBezTo>
                  <a:cubicBezTo>
                    <a:pt x="2521665" y="2290"/>
                    <a:pt x="2528749" y="1317"/>
                    <a:pt x="2535763" y="1178"/>
                  </a:cubicBezTo>
                  <a:close/>
                  <a:moveTo>
                    <a:pt x="1370030" y="693"/>
                  </a:moveTo>
                  <a:cubicBezTo>
                    <a:pt x="1373780" y="624"/>
                    <a:pt x="1377670" y="1457"/>
                    <a:pt x="1381837" y="1735"/>
                  </a:cubicBezTo>
                  <a:cubicBezTo>
                    <a:pt x="1374614" y="19515"/>
                    <a:pt x="1367391" y="16181"/>
                    <a:pt x="1359057" y="5069"/>
                  </a:cubicBezTo>
                  <a:cubicBezTo>
                    <a:pt x="1362668" y="1735"/>
                    <a:pt x="1366280" y="763"/>
                    <a:pt x="1370030" y="693"/>
                  </a:cubicBezTo>
                  <a:close/>
                  <a:moveTo>
                    <a:pt x="1250158" y="68"/>
                  </a:moveTo>
                  <a:cubicBezTo>
                    <a:pt x="1269604" y="623"/>
                    <a:pt x="1289051" y="623"/>
                    <a:pt x="1308497" y="68"/>
                  </a:cubicBezTo>
                  <a:cubicBezTo>
                    <a:pt x="1316276" y="-488"/>
                    <a:pt x="1316831" y="2290"/>
                    <a:pt x="1320720" y="9514"/>
                  </a:cubicBezTo>
                  <a:cubicBezTo>
                    <a:pt x="1328499" y="23959"/>
                    <a:pt x="1340722" y="37294"/>
                    <a:pt x="1360168" y="35071"/>
                  </a:cubicBezTo>
                  <a:cubicBezTo>
                    <a:pt x="1376281" y="33405"/>
                    <a:pt x="1392394" y="26182"/>
                    <a:pt x="1408507" y="36183"/>
                  </a:cubicBezTo>
                  <a:cubicBezTo>
                    <a:pt x="1416840" y="41183"/>
                    <a:pt x="1415173" y="34515"/>
                    <a:pt x="1416284" y="30071"/>
                  </a:cubicBezTo>
                  <a:cubicBezTo>
                    <a:pt x="1417396" y="25070"/>
                    <a:pt x="1424619" y="20626"/>
                    <a:pt x="1418507" y="14514"/>
                  </a:cubicBezTo>
                  <a:cubicBezTo>
                    <a:pt x="1413507" y="9514"/>
                    <a:pt x="1410173" y="11736"/>
                    <a:pt x="1406839" y="16736"/>
                  </a:cubicBezTo>
                  <a:cubicBezTo>
                    <a:pt x="1405172" y="18959"/>
                    <a:pt x="1401283" y="18959"/>
                    <a:pt x="1392949" y="22292"/>
                  </a:cubicBezTo>
                  <a:cubicBezTo>
                    <a:pt x="1411284" y="-4933"/>
                    <a:pt x="1425175" y="-6044"/>
                    <a:pt x="1446287" y="15070"/>
                  </a:cubicBezTo>
                  <a:cubicBezTo>
                    <a:pt x="1461289" y="30071"/>
                    <a:pt x="1475179" y="46739"/>
                    <a:pt x="1491847" y="65074"/>
                  </a:cubicBezTo>
                  <a:cubicBezTo>
                    <a:pt x="1499626" y="45072"/>
                    <a:pt x="1494625" y="36183"/>
                    <a:pt x="1481847" y="30071"/>
                  </a:cubicBezTo>
                  <a:cubicBezTo>
                    <a:pt x="1475735" y="27293"/>
                    <a:pt x="1474623" y="23403"/>
                    <a:pt x="1478512" y="18403"/>
                  </a:cubicBezTo>
                  <a:cubicBezTo>
                    <a:pt x="1482402" y="13403"/>
                    <a:pt x="1490180" y="12847"/>
                    <a:pt x="1491292" y="17292"/>
                  </a:cubicBezTo>
                  <a:cubicBezTo>
                    <a:pt x="1498515" y="41183"/>
                    <a:pt x="1515183" y="39516"/>
                    <a:pt x="1534073" y="35071"/>
                  </a:cubicBezTo>
                  <a:cubicBezTo>
                    <a:pt x="1536296" y="34515"/>
                    <a:pt x="1539630" y="37850"/>
                    <a:pt x="1542963" y="38961"/>
                  </a:cubicBezTo>
                  <a:cubicBezTo>
                    <a:pt x="1545186" y="39516"/>
                    <a:pt x="1547408" y="40071"/>
                    <a:pt x="1550186" y="40627"/>
                  </a:cubicBezTo>
                  <a:cubicBezTo>
                    <a:pt x="1557964" y="23959"/>
                    <a:pt x="1544630" y="16180"/>
                    <a:pt x="1534629" y="3402"/>
                  </a:cubicBezTo>
                  <a:cubicBezTo>
                    <a:pt x="1531295" y="16736"/>
                    <a:pt x="1525739" y="25626"/>
                    <a:pt x="1512960" y="15625"/>
                  </a:cubicBezTo>
                  <a:cubicBezTo>
                    <a:pt x="1509627" y="12847"/>
                    <a:pt x="1506848" y="9514"/>
                    <a:pt x="1507404" y="5068"/>
                  </a:cubicBezTo>
                  <a:cubicBezTo>
                    <a:pt x="1508515" y="-1044"/>
                    <a:pt x="1513516" y="623"/>
                    <a:pt x="1517405" y="623"/>
                  </a:cubicBezTo>
                  <a:cubicBezTo>
                    <a:pt x="1597412" y="623"/>
                    <a:pt x="1677420" y="623"/>
                    <a:pt x="1759094" y="623"/>
                  </a:cubicBezTo>
                  <a:cubicBezTo>
                    <a:pt x="1737981" y="28959"/>
                    <a:pt x="1725202" y="31738"/>
                    <a:pt x="1697422" y="16180"/>
                  </a:cubicBezTo>
                  <a:cubicBezTo>
                    <a:pt x="1687976" y="11180"/>
                    <a:pt x="1679642" y="10624"/>
                    <a:pt x="1672419" y="18959"/>
                  </a:cubicBezTo>
                  <a:cubicBezTo>
                    <a:pt x="1666308" y="26182"/>
                    <a:pt x="1662419" y="31738"/>
                    <a:pt x="1671864" y="42294"/>
                  </a:cubicBezTo>
                  <a:cubicBezTo>
                    <a:pt x="1685754" y="57296"/>
                    <a:pt x="1694644" y="63963"/>
                    <a:pt x="1723535" y="63407"/>
                  </a:cubicBezTo>
                  <a:cubicBezTo>
                    <a:pt x="1727980" y="63407"/>
                    <a:pt x="1730758" y="65630"/>
                    <a:pt x="1734092" y="71742"/>
                  </a:cubicBezTo>
                  <a:cubicBezTo>
                    <a:pt x="1562409" y="71742"/>
                    <a:pt x="1391283" y="71742"/>
                    <a:pt x="1219600" y="70630"/>
                  </a:cubicBezTo>
                  <a:cubicBezTo>
                    <a:pt x="1228489" y="52295"/>
                    <a:pt x="1237935" y="33405"/>
                    <a:pt x="1234601" y="11180"/>
                  </a:cubicBezTo>
                  <a:cubicBezTo>
                    <a:pt x="1232935" y="1179"/>
                    <a:pt x="1241824" y="68"/>
                    <a:pt x="1250158" y="68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021379B2-C3D1-436E-A0B6-02D5E522558E}"/>
                </a:ext>
              </a:extLst>
            </p:cNvPr>
            <p:cNvSpPr/>
            <p:nvPr/>
          </p:nvSpPr>
          <p:spPr>
            <a:xfrm>
              <a:off x="507673" y="533609"/>
              <a:ext cx="2436719" cy="712816"/>
            </a:xfrm>
            <a:custGeom>
              <a:avLst/>
              <a:gdLst>
                <a:gd name="connsiteX0" fmla="*/ 173172 w 2436719"/>
                <a:gd name="connsiteY0" fmla="*/ 27346 h 712816"/>
                <a:gd name="connsiteX1" fmla="*/ 159838 w 2436719"/>
                <a:gd name="connsiteY1" fmla="*/ 57348 h 712816"/>
                <a:gd name="connsiteX2" fmla="*/ 174284 w 2436719"/>
                <a:gd name="connsiteY2" fmla="*/ 70129 h 712816"/>
                <a:gd name="connsiteX3" fmla="*/ 192620 w 2436719"/>
                <a:gd name="connsiteY3" fmla="*/ 47347 h 712816"/>
                <a:gd name="connsiteX4" fmla="*/ 173172 w 2436719"/>
                <a:gd name="connsiteY4" fmla="*/ 27346 h 712816"/>
                <a:gd name="connsiteX5" fmla="*/ 908243 w 2436719"/>
                <a:gd name="connsiteY5" fmla="*/ 10677 h 712816"/>
                <a:gd name="connsiteX6" fmla="*/ 891019 w 2436719"/>
                <a:gd name="connsiteY6" fmla="*/ 15122 h 712816"/>
                <a:gd name="connsiteX7" fmla="*/ 881016 w 2436719"/>
                <a:gd name="connsiteY7" fmla="*/ 24568 h 712816"/>
                <a:gd name="connsiteX8" fmla="*/ 901575 w 2436719"/>
                <a:gd name="connsiteY8" fmla="*/ 49015 h 712816"/>
                <a:gd name="connsiteX9" fmla="*/ 937133 w 2436719"/>
                <a:gd name="connsiteY9" fmla="*/ 35679 h 712816"/>
                <a:gd name="connsiteX10" fmla="*/ 908243 w 2436719"/>
                <a:gd name="connsiteY10" fmla="*/ 10677 h 712816"/>
                <a:gd name="connsiteX11" fmla="*/ 506884 w 2436719"/>
                <a:gd name="connsiteY11" fmla="*/ 2274 h 712816"/>
                <a:gd name="connsiteX12" fmla="*/ 519316 w 2436719"/>
                <a:gd name="connsiteY12" fmla="*/ 2899 h 712816"/>
                <a:gd name="connsiteX13" fmla="*/ 929354 w 2436719"/>
                <a:gd name="connsiteY13" fmla="*/ 2899 h 712816"/>
                <a:gd name="connsiteX14" fmla="*/ 958802 w 2436719"/>
                <a:gd name="connsiteY14" fmla="*/ 7899 h 712816"/>
                <a:gd name="connsiteX15" fmla="*/ 942688 w 2436719"/>
                <a:gd name="connsiteY15" fmla="*/ 10122 h 712816"/>
                <a:gd name="connsiteX16" fmla="*/ 964359 w 2436719"/>
                <a:gd name="connsiteY16" fmla="*/ 37346 h 712816"/>
                <a:gd name="connsiteX17" fmla="*/ 983248 w 2436719"/>
                <a:gd name="connsiteY17" fmla="*/ 88463 h 712816"/>
                <a:gd name="connsiteX18" fmla="*/ 825457 w 2436719"/>
                <a:gd name="connsiteY18" fmla="*/ 89575 h 712816"/>
                <a:gd name="connsiteX19" fmla="*/ 801565 w 2436719"/>
                <a:gd name="connsiteY19" fmla="*/ 80684 h 712816"/>
                <a:gd name="connsiteX20" fmla="*/ 793230 w 2436719"/>
                <a:gd name="connsiteY20" fmla="*/ 87907 h 712816"/>
                <a:gd name="connsiteX21" fmla="*/ 222065 w 2436719"/>
                <a:gd name="connsiteY21" fmla="*/ 88463 h 712816"/>
                <a:gd name="connsiteX22" fmla="*/ 205399 w 2436719"/>
                <a:gd name="connsiteY22" fmla="*/ 80684 h 712816"/>
                <a:gd name="connsiteX23" fmla="*/ 87053 w 2436719"/>
                <a:gd name="connsiteY23" fmla="*/ 194028 h 712816"/>
                <a:gd name="connsiteX24" fmla="*/ 88166 w 2436719"/>
                <a:gd name="connsiteY24" fmla="*/ 676294 h 712816"/>
                <a:gd name="connsiteX25" fmla="*/ 88166 w 2436719"/>
                <a:gd name="connsiteY25" fmla="*/ 712816 h 712816"/>
                <a:gd name="connsiteX26" fmla="*/ 3157 w 2436719"/>
                <a:gd name="connsiteY26" fmla="*/ 712816 h 712816"/>
                <a:gd name="connsiteX27" fmla="*/ 3157 w 2436719"/>
                <a:gd name="connsiteY27" fmla="*/ 319596 h 712816"/>
                <a:gd name="connsiteX28" fmla="*/ 5380 w 2436719"/>
                <a:gd name="connsiteY28" fmla="*/ 294592 h 712816"/>
                <a:gd name="connsiteX29" fmla="*/ 1490 w 2436719"/>
                <a:gd name="connsiteY29" fmla="*/ 178471 h 712816"/>
                <a:gd name="connsiteX30" fmla="*/ 31494 w 2436719"/>
                <a:gd name="connsiteY30" fmla="*/ 164025 h 712816"/>
                <a:gd name="connsiteX31" fmla="*/ 19271 w 2436719"/>
                <a:gd name="connsiteY31" fmla="*/ 142912 h 712816"/>
                <a:gd name="connsiteX32" fmla="*/ 10936 w 2436719"/>
                <a:gd name="connsiteY32" fmla="*/ 137356 h 712816"/>
                <a:gd name="connsiteX33" fmla="*/ 56496 w 2436719"/>
                <a:gd name="connsiteY33" fmla="*/ 60683 h 712816"/>
                <a:gd name="connsiteX34" fmla="*/ 53718 w 2436719"/>
                <a:gd name="connsiteY34" fmla="*/ 84017 h 712816"/>
                <a:gd name="connsiteX35" fmla="*/ 63164 w 2436719"/>
                <a:gd name="connsiteY35" fmla="*/ 51237 h 712816"/>
                <a:gd name="connsiteX36" fmla="*/ 155948 w 2436719"/>
                <a:gd name="connsiteY36" fmla="*/ 9012 h 712816"/>
                <a:gd name="connsiteX37" fmla="*/ 318187 w 2436719"/>
                <a:gd name="connsiteY37" fmla="*/ 6789 h 712816"/>
                <a:gd name="connsiteX38" fmla="*/ 386527 w 2436719"/>
                <a:gd name="connsiteY38" fmla="*/ 6789 h 712816"/>
                <a:gd name="connsiteX39" fmla="*/ 392639 w 2436719"/>
                <a:gd name="connsiteY39" fmla="*/ 21790 h 712816"/>
                <a:gd name="connsiteX40" fmla="*/ 369303 w 2436719"/>
                <a:gd name="connsiteY40" fmla="*/ 32901 h 712816"/>
                <a:gd name="connsiteX41" fmla="*/ 344856 w 2436719"/>
                <a:gd name="connsiteY41" fmla="*/ 28456 h 712816"/>
                <a:gd name="connsiteX42" fmla="*/ 336521 w 2436719"/>
                <a:gd name="connsiteY42" fmla="*/ 36236 h 712816"/>
                <a:gd name="connsiteX43" fmla="*/ 345411 w 2436719"/>
                <a:gd name="connsiteY43" fmla="*/ 43459 h 712816"/>
                <a:gd name="connsiteX44" fmla="*/ 379304 w 2436719"/>
                <a:gd name="connsiteY44" fmla="*/ 35124 h 712816"/>
                <a:gd name="connsiteX45" fmla="*/ 418751 w 2436719"/>
                <a:gd name="connsiteY45" fmla="*/ 19568 h 712816"/>
                <a:gd name="connsiteX46" fmla="*/ 433752 w 2436719"/>
                <a:gd name="connsiteY46" fmla="*/ 30123 h 712816"/>
                <a:gd name="connsiteX47" fmla="*/ 449866 w 2436719"/>
                <a:gd name="connsiteY47" fmla="*/ 27903 h 712816"/>
                <a:gd name="connsiteX48" fmla="*/ 453199 w 2436719"/>
                <a:gd name="connsiteY48" fmla="*/ 25680 h 712816"/>
                <a:gd name="connsiteX49" fmla="*/ 494869 w 2436719"/>
                <a:gd name="connsiteY49" fmla="*/ 6232 h 712816"/>
                <a:gd name="connsiteX50" fmla="*/ 506884 w 2436719"/>
                <a:gd name="connsiteY50" fmla="*/ 2274 h 712816"/>
                <a:gd name="connsiteX51" fmla="*/ 2394162 w 2436719"/>
                <a:gd name="connsiteY51" fmla="*/ 1241 h 712816"/>
                <a:gd name="connsiteX52" fmla="*/ 2413383 w 2436719"/>
                <a:gd name="connsiteY52" fmla="*/ 16788 h 712816"/>
                <a:gd name="connsiteX53" fmla="*/ 2431717 w 2436719"/>
                <a:gd name="connsiteY53" fmla="*/ 10122 h 712816"/>
                <a:gd name="connsiteX54" fmla="*/ 2435607 w 2436719"/>
                <a:gd name="connsiteY54" fmla="*/ 26233 h 712816"/>
                <a:gd name="connsiteX55" fmla="*/ 2436719 w 2436719"/>
                <a:gd name="connsiteY55" fmla="*/ 81795 h 712816"/>
                <a:gd name="connsiteX56" fmla="*/ 2414493 w 2436719"/>
                <a:gd name="connsiteY56" fmla="*/ 88461 h 712816"/>
                <a:gd name="connsiteX57" fmla="*/ 2270035 w 2436719"/>
                <a:gd name="connsiteY57" fmla="*/ 89573 h 712816"/>
                <a:gd name="connsiteX58" fmla="*/ 2237811 w 2436719"/>
                <a:gd name="connsiteY58" fmla="*/ 80682 h 712816"/>
                <a:gd name="connsiteX59" fmla="*/ 2189472 w 2436719"/>
                <a:gd name="connsiteY59" fmla="*/ 89573 h 712816"/>
                <a:gd name="connsiteX60" fmla="*/ 2060571 w 2436719"/>
                <a:gd name="connsiteY60" fmla="*/ 90128 h 712816"/>
                <a:gd name="connsiteX61" fmla="*/ 1837773 w 2436719"/>
                <a:gd name="connsiteY61" fmla="*/ 87905 h 712816"/>
                <a:gd name="connsiteX62" fmla="*/ 1787212 w 2436719"/>
                <a:gd name="connsiteY62" fmla="*/ 86238 h 712816"/>
                <a:gd name="connsiteX63" fmla="*/ 1782767 w 2436719"/>
                <a:gd name="connsiteY63" fmla="*/ 87350 h 712816"/>
                <a:gd name="connsiteX64" fmla="*/ 1784434 w 2436719"/>
                <a:gd name="connsiteY64" fmla="*/ 79572 h 712816"/>
                <a:gd name="connsiteX65" fmla="*/ 1815549 w 2436719"/>
                <a:gd name="connsiteY65" fmla="*/ 49570 h 712816"/>
                <a:gd name="connsiteX66" fmla="*/ 1774989 w 2436719"/>
                <a:gd name="connsiteY66" fmla="*/ 20123 h 712816"/>
                <a:gd name="connsiteX67" fmla="*/ 1718872 w 2436719"/>
                <a:gd name="connsiteY67" fmla="*/ 6787 h 712816"/>
                <a:gd name="connsiteX68" fmla="*/ 1743042 w 2436719"/>
                <a:gd name="connsiteY68" fmla="*/ 1926 h 712816"/>
                <a:gd name="connsiteX69" fmla="*/ 1767210 w 2436719"/>
                <a:gd name="connsiteY69" fmla="*/ 2899 h 712816"/>
                <a:gd name="connsiteX70" fmla="*/ 2164470 w 2436719"/>
                <a:gd name="connsiteY70" fmla="*/ 2344 h 712816"/>
                <a:gd name="connsiteX71" fmla="*/ 2181694 w 2436719"/>
                <a:gd name="connsiteY71" fmla="*/ 5120 h 712816"/>
                <a:gd name="connsiteX72" fmla="*/ 2355599 w 2436719"/>
                <a:gd name="connsiteY72" fmla="*/ 2899 h 712816"/>
                <a:gd name="connsiteX73" fmla="*/ 2367267 w 2436719"/>
                <a:gd name="connsiteY73" fmla="*/ 6232 h 712816"/>
                <a:gd name="connsiteX74" fmla="*/ 2388936 w 2436719"/>
                <a:gd name="connsiteY74" fmla="*/ 5677 h 712816"/>
                <a:gd name="connsiteX75" fmla="*/ 2394162 w 2436719"/>
                <a:gd name="connsiteY75" fmla="*/ 1241 h 712816"/>
                <a:gd name="connsiteX76" fmla="*/ 987623 w 2436719"/>
                <a:gd name="connsiteY76" fmla="*/ 51 h 712816"/>
                <a:gd name="connsiteX77" fmla="*/ 997957 w 2436719"/>
                <a:gd name="connsiteY77" fmla="*/ 9302 h 712816"/>
                <a:gd name="connsiteX78" fmla="*/ 998249 w 2436719"/>
                <a:gd name="connsiteY78" fmla="*/ 9010 h 712816"/>
                <a:gd name="connsiteX79" fmla="*/ 1024364 w 2436719"/>
                <a:gd name="connsiteY79" fmla="*/ 2899 h 712816"/>
                <a:gd name="connsiteX80" fmla="*/ 1017141 w 2436719"/>
                <a:gd name="connsiteY80" fmla="*/ 24011 h 712816"/>
                <a:gd name="connsiteX81" fmla="*/ 1037697 w 2436719"/>
                <a:gd name="connsiteY81" fmla="*/ 29011 h 712816"/>
                <a:gd name="connsiteX82" fmla="*/ 1051588 w 2436719"/>
                <a:gd name="connsiteY82" fmla="*/ 40679 h 712816"/>
                <a:gd name="connsiteX83" fmla="*/ 1071034 w 2436719"/>
                <a:gd name="connsiteY83" fmla="*/ 5120 h 712816"/>
                <a:gd name="connsiteX84" fmla="*/ 1123818 w 2436719"/>
                <a:gd name="connsiteY84" fmla="*/ 8455 h 712816"/>
                <a:gd name="connsiteX85" fmla="*/ 1133887 w 2436719"/>
                <a:gd name="connsiteY85" fmla="*/ 1926 h 712816"/>
                <a:gd name="connsiteX86" fmla="*/ 1146042 w 2436719"/>
                <a:gd name="connsiteY86" fmla="*/ 2899 h 712816"/>
                <a:gd name="connsiteX87" fmla="*/ 1626643 w 2436719"/>
                <a:gd name="connsiteY87" fmla="*/ 2899 h 712816"/>
                <a:gd name="connsiteX88" fmla="*/ 1689425 w 2436719"/>
                <a:gd name="connsiteY88" fmla="*/ 3454 h 712816"/>
                <a:gd name="connsiteX89" fmla="*/ 1691093 w 2436719"/>
                <a:gd name="connsiteY89" fmla="*/ 4564 h 712816"/>
                <a:gd name="connsiteX90" fmla="*/ 1687758 w 2436719"/>
                <a:gd name="connsiteY90" fmla="*/ 10122 h 712816"/>
                <a:gd name="connsiteX91" fmla="*/ 1729430 w 2436719"/>
                <a:gd name="connsiteY91" fmla="*/ 40124 h 712816"/>
                <a:gd name="connsiteX92" fmla="*/ 1747209 w 2436719"/>
                <a:gd name="connsiteY92" fmla="*/ 47902 h 712816"/>
                <a:gd name="connsiteX93" fmla="*/ 1745542 w 2436719"/>
                <a:gd name="connsiteY93" fmla="*/ 56236 h 712816"/>
                <a:gd name="connsiteX94" fmla="*/ 1727208 w 2436719"/>
                <a:gd name="connsiteY94" fmla="*/ 56236 h 712816"/>
                <a:gd name="connsiteX95" fmla="*/ 1697760 w 2436719"/>
                <a:gd name="connsiteY95" fmla="*/ 60126 h 712816"/>
                <a:gd name="connsiteX96" fmla="*/ 1717762 w 2436719"/>
                <a:gd name="connsiteY96" fmla="*/ 70126 h 712816"/>
                <a:gd name="connsiteX97" fmla="*/ 1727208 w 2436719"/>
                <a:gd name="connsiteY97" fmla="*/ 77905 h 712816"/>
                <a:gd name="connsiteX98" fmla="*/ 1716650 w 2436719"/>
                <a:gd name="connsiteY98" fmla="*/ 87350 h 712816"/>
                <a:gd name="connsiteX99" fmla="*/ 1698871 w 2436719"/>
                <a:gd name="connsiteY99" fmla="*/ 87905 h 712816"/>
                <a:gd name="connsiteX100" fmla="*/ 1024919 w 2436719"/>
                <a:gd name="connsiteY100" fmla="*/ 87905 h 712816"/>
                <a:gd name="connsiteX101" fmla="*/ 1004917 w 2436719"/>
                <a:gd name="connsiteY101" fmla="*/ 87350 h 712816"/>
                <a:gd name="connsiteX102" fmla="*/ 992694 w 2436719"/>
                <a:gd name="connsiteY102" fmla="*/ 81240 h 712816"/>
                <a:gd name="connsiteX103" fmla="*/ 1002139 w 2436719"/>
                <a:gd name="connsiteY103" fmla="*/ 70682 h 712816"/>
                <a:gd name="connsiteX104" fmla="*/ 997731 w 2436719"/>
                <a:gd name="connsiteY104" fmla="*/ 10084 h 712816"/>
                <a:gd name="connsiteX105" fmla="*/ 997694 w 2436719"/>
                <a:gd name="connsiteY105" fmla="*/ 10122 h 712816"/>
                <a:gd name="connsiteX106" fmla="*/ 992694 w 2436719"/>
                <a:gd name="connsiteY106" fmla="*/ 10122 h 712816"/>
                <a:gd name="connsiteX107" fmla="*/ 969915 w 2436719"/>
                <a:gd name="connsiteY107" fmla="*/ 9565 h 712816"/>
                <a:gd name="connsiteX108" fmla="*/ 973248 w 2436719"/>
                <a:gd name="connsiteY108" fmla="*/ 1787 h 712816"/>
                <a:gd name="connsiteX109" fmla="*/ 987623 w 2436719"/>
                <a:gd name="connsiteY109" fmla="*/ 51 h 71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436719" h="712816">
                  <a:moveTo>
                    <a:pt x="173172" y="27346"/>
                  </a:moveTo>
                  <a:cubicBezTo>
                    <a:pt x="157616" y="29568"/>
                    <a:pt x="167616" y="47904"/>
                    <a:pt x="159838" y="57348"/>
                  </a:cubicBezTo>
                  <a:cubicBezTo>
                    <a:pt x="157616" y="59571"/>
                    <a:pt x="163728" y="69016"/>
                    <a:pt x="174284" y="70129"/>
                  </a:cubicBezTo>
                  <a:cubicBezTo>
                    <a:pt x="178174" y="61238"/>
                    <a:pt x="194843" y="61793"/>
                    <a:pt x="192620" y="47347"/>
                  </a:cubicBezTo>
                  <a:cubicBezTo>
                    <a:pt x="190953" y="36791"/>
                    <a:pt x="183175" y="26233"/>
                    <a:pt x="173172" y="27346"/>
                  </a:cubicBezTo>
                  <a:close/>
                  <a:moveTo>
                    <a:pt x="908243" y="10677"/>
                  </a:moveTo>
                  <a:cubicBezTo>
                    <a:pt x="903240" y="15122"/>
                    <a:pt x="898240" y="20123"/>
                    <a:pt x="891019" y="15122"/>
                  </a:cubicBezTo>
                  <a:cubicBezTo>
                    <a:pt x="888796" y="20123"/>
                    <a:pt x="878239" y="20123"/>
                    <a:pt x="881016" y="24568"/>
                  </a:cubicBezTo>
                  <a:cubicBezTo>
                    <a:pt x="887129" y="33458"/>
                    <a:pt x="889907" y="47347"/>
                    <a:pt x="901575" y="49015"/>
                  </a:cubicBezTo>
                  <a:cubicBezTo>
                    <a:pt x="913243" y="50680"/>
                    <a:pt x="930467" y="58460"/>
                    <a:pt x="937133" y="35679"/>
                  </a:cubicBezTo>
                  <a:cubicBezTo>
                    <a:pt x="918799" y="37346"/>
                    <a:pt x="913798" y="23458"/>
                    <a:pt x="908243" y="10677"/>
                  </a:cubicBezTo>
                  <a:close/>
                  <a:moveTo>
                    <a:pt x="506884" y="2274"/>
                  </a:moveTo>
                  <a:cubicBezTo>
                    <a:pt x="510982" y="2205"/>
                    <a:pt x="515149" y="2899"/>
                    <a:pt x="519316" y="2899"/>
                  </a:cubicBezTo>
                  <a:cubicBezTo>
                    <a:pt x="655995" y="2899"/>
                    <a:pt x="792675" y="2899"/>
                    <a:pt x="929354" y="2899"/>
                  </a:cubicBezTo>
                  <a:cubicBezTo>
                    <a:pt x="939355" y="2899"/>
                    <a:pt x="949356" y="2899"/>
                    <a:pt x="958802" y="7899"/>
                  </a:cubicBezTo>
                  <a:cubicBezTo>
                    <a:pt x="954356" y="17345"/>
                    <a:pt x="947133" y="5122"/>
                    <a:pt x="942688" y="10122"/>
                  </a:cubicBezTo>
                  <a:cubicBezTo>
                    <a:pt x="942135" y="25123"/>
                    <a:pt x="955469" y="30679"/>
                    <a:pt x="964359" y="37346"/>
                  </a:cubicBezTo>
                  <a:cubicBezTo>
                    <a:pt x="982138" y="51237"/>
                    <a:pt x="968247" y="72351"/>
                    <a:pt x="983248" y="88463"/>
                  </a:cubicBezTo>
                  <a:cubicBezTo>
                    <a:pt x="927687" y="88463"/>
                    <a:pt x="876571" y="87352"/>
                    <a:pt x="825457" y="89575"/>
                  </a:cubicBezTo>
                  <a:cubicBezTo>
                    <a:pt x="813789" y="90130"/>
                    <a:pt x="812677" y="74017"/>
                    <a:pt x="801565" y="80684"/>
                  </a:cubicBezTo>
                  <a:cubicBezTo>
                    <a:pt x="803788" y="89575"/>
                    <a:pt x="798231" y="87907"/>
                    <a:pt x="793230" y="87907"/>
                  </a:cubicBezTo>
                  <a:cubicBezTo>
                    <a:pt x="602657" y="87907"/>
                    <a:pt x="412641" y="88463"/>
                    <a:pt x="222065" y="88463"/>
                  </a:cubicBezTo>
                  <a:cubicBezTo>
                    <a:pt x="215400" y="88463"/>
                    <a:pt x="208177" y="89018"/>
                    <a:pt x="205399" y="80684"/>
                  </a:cubicBezTo>
                  <a:cubicBezTo>
                    <a:pt x="151505" y="85130"/>
                    <a:pt x="85388" y="136246"/>
                    <a:pt x="87053" y="194028"/>
                  </a:cubicBezTo>
                  <a:cubicBezTo>
                    <a:pt x="90943" y="354599"/>
                    <a:pt x="88166" y="515725"/>
                    <a:pt x="88166" y="676294"/>
                  </a:cubicBezTo>
                  <a:lnTo>
                    <a:pt x="88166" y="712816"/>
                  </a:lnTo>
                  <a:lnTo>
                    <a:pt x="3157" y="712816"/>
                  </a:lnTo>
                  <a:lnTo>
                    <a:pt x="3157" y="319596"/>
                  </a:lnTo>
                  <a:cubicBezTo>
                    <a:pt x="3157" y="311261"/>
                    <a:pt x="1490" y="302928"/>
                    <a:pt x="5380" y="294592"/>
                  </a:cubicBezTo>
                  <a:cubicBezTo>
                    <a:pt x="-4621" y="256257"/>
                    <a:pt x="2602" y="217364"/>
                    <a:pt x="1490" y="178471"/>
                  </a:cubicBezTo>
                  <a:cubicBezTo>
                    <a:pt x="18158" y="189027"/>
                    <a:pt x="22604" y="169026"/>
                    <a:pt x="31494" y="164025"/>
                  </a:cubicBezTo>
                  <a:cubicBezTo>
                    <a:pt x="38160" y="160135"/>
                    <a:pt x="27049" y="148467"/>
                    <a:pt x="19271" y="142912"/>
                  </a:cubicBezTo>
                  <a:cubicBezTo>
                    <a:pt x="16491" y="140691"/>
                    <a:pt x="13713" y="139023"/>
                    <a:pt x="10936" y="137356"/>
                  </a:cubicBezTo>
                  <a:cubicBezTo>
                    <a:pt x="12603" y="103464"/>
                    <a:pt x="34827" y="82352"/>
                    <a:pt x="56496" y="60683"/>
                  </a:cubicBezTo>
                  <a:cubicBezTo>
                    <a:pt x="59829" y="68461"/>
                    <a:pt x="47606" y="74574"/>
                    <a:pt x="53718" y="84017"/>
                  </a:cubicBezTo>
                  <a:cubicBezTo>
                    <a:pt x="64829" y="74574"/>
                    <a:pt x="73720" y="65683"/>
                    <a:pt x="63164" y="51237"/>
                  </a:cubicBezTo>
                  <a:cubicBezTo>
                    <a:pt x="93721" y="35679"/>
                    <a:pt x="118723" y="9567"/>
                    <a:pt x="155948" y="9012"/>
                  </a:cubicBezTo>
                  <a:cubicBezTo>
                    <a:pt x="209844" y="4009"/>
                    <a:pt x="264293" y="7899"/>
                    <a:pt x="318187" y="6789"/>
                  </a:cubicBezTo>
                  <a:cubicBezTo>
                    <a:pt x="340966" y="6232"/>
                    <a:pt x="363747" y="6789"/>
                    <a:pt x="386527" y="6789"/>
                  </a:cubicBezTo>
                  <a:cubicBezTo>
                    <a:pt x="395972" y="8455"/>
                    <a:pt x="396527" y="15122"/>
                    <a:pt x="392639" y="21790"/>
                  </a:cubicBezTo>
                  <a:cubicBezTo>
                    <a:pt x="387637" y="30679"/>
                    <a:pt x="379859" y="34569"/>
                    <a:pt x="369303" y="32901"/>
                  </a:cubicBezTo>
                  <a:cubicBezTo>
                    <a:pt x="360968" y="31791"/>
                    <a:pt x="353745" y="26233"/>
                    <a:pt x="344856" y="28456"/>
                  </a:cubicBezTo>
                  <a:cubicBezTo>
                    <a:pt x="340966" y="29568"/>
                    <a:pt x="336521" y="31236"/>
                    <a:pt x="336521" y="36236"/>
                  </a:cubicBezTo>
                  <a:cubicBezTo>
                    <a:pt x="336521" y="41792"/>
                    <a:pt x="340966" y="42904"/>
                    <a:pt x="345411" y="43459"/>
                  </a:cubicBezTo>
                  <a:cubicBezTo>
                    <a:pt x="357635" y="45125"/>
                    <a:pt x="368746" y="41237"/>
                    <a:pt x="379304" y="35124"/>
                  </a:cubicBezTo>
                  <a:cubicBezTo>
                    <a:pt x="391527" y="27903"/>
                    <a:pt x="403750" y="20123"/>
                    <a:pt x="418751" y="19568"/>
                  </a:cubicBezTo>
                  <a:cubicBezTo>
                    <a:pt x="426530" y="19012"/>
                    <a:pt x="429864" y="25123"/>
                    <a:pt x="433752" y="30123"/>
                  </a:cubicBezTo>
                  <a:cubicBezTo>
                    <a:pt x="438198" y="33458"/>
                    <a:pt x="446531" y="31791"/>
                    <a:pt x="449866" y="27903"/>
                  </a:cubicBezTo>
                  <a:cubicBezTo>
                    <a:pt x="450976" y="27346"/>
                    <a:pt x="452644" y="25680"/>
                    <a:pt x="453199" y="25680"/>
                  </a:cubicBezTo>
                  <a:cubicBezTo>
                    <a:pt x="477646" y="40681"/>
                    <a:pt x="483758" y="18457"/>
                    <a:pt x="494869" y="6232"/>
                  </a:cubicBezTo>
                  <a:cubicBezTo>
                    <a:pt x="498758" y="3177"/>
                    <a:pt x="502787" y="2343"/>
                    <a:pt x="506884" y="2274"/>
                  </a:cubicBezTo>
                  <a:close/>
                  <a:moveTo>
                    <a:pt x="2394162" y="1241"/>
                  </a:moveTo>
                  <a:cubicBezTo>
                    <a:pt x="2400569" y="17"/>
                    <a:pt x="2409632" y="7622"/>
                    <a:pt x="2413383" y="16788"/>
                  </a:cubicBezTo>
                  <a:cubicBezTo>
                    <a:pt x="2418383" y="11787"/>
                    <a:pt x="2418938" y="-4324"/>
                    <a:pt x="2431717" y="10122"/>
                  </a:cubicBezTo>
                  <a:cubicBezTo>
                    <a:pt x="2436719" y="15678"/>
                    <a:pt x="2435607" y="20678"/>
                    <a:pt x="2435607" y="26233"/>
                  </a:cubicBezTo>
                  <a:cubicBezTo>
                    <a:pt x="2436162" y="44567"/>
                    <a:pt x="2436719" y="63459"/>
                    <a:pt x="2436719" y="81795"/>
                  </a:cubicBezTo>
                  <a:cubicBezTo>
                    <a:pt x="2431717" y="92351"/>
                    <a:pt x="2422271" y="88461"/>
                    <a:pt x="2414493" y="88461"/>
                  </a:cubicBezTo>
                  <a:cubicBezTo>
                    <a:pt x="2366157" y="89018"/>
                    <a:pt x="2317818" y="87905"/>
                    <a:pt x="2270035" y="89573"/>
                  </a:cubicBezTo>
                  <a:cubicBezTo>
                    <a:pt x="2257812" y="89573"/>
                    <a:pt x="2247811" y="84017"/>
                    <a:pt x="2237811" y="80682"/>
                  </a:cubicBezTo>
                  <a:cubicBezTo>
                    <a:pt x="2218919" y="74572"/>
                    <a:pt x="2206696" y="90683"/>
                    <a:pt x="2189472" y="89573"/>
                  </a:cubicBezTo>
                  <a:cubicBezTo>
                    <a:pt x="2146692" y="87350"/>
                    <a:pt x="2103354" y="89573"/>
                    <a:pt x="2060571" y="90128"/>
                  </a:cubicBezTo>
                  <a:cubicBezTo>
                    <a:pt x="1986121" y="85683"/>
                    <a:pt x="1912223" y="89018"/>
                    <a:pt x="1837773" y="87905"/>
                  </a:cubicBezTo>
                  <a:cubicBezTo>
                    <a:pt x="1820549" y="87905"/>
                    <a:pt x="1803881" y="86795"/>
                    <a:pt x="1787212" y="86238"/>
                  </a:cubicBezTo>
                  <a:cubicBezTo>
                    <a:pt x="1785547" y="86795"/>
                    <a:pt x="1783879" y="87905"/>
                    <a:pt x="1782767" y="87350"/>
                  </a:cubicBezTo>
                  <a:cubicBezTo>
                    <a:pt x="1776656" y="83462"/>
                    <a:pt x="1780544" y="81795"/>
                    <a:pt x="1784434" y="79572"/>
                  </a:cubicBezTo>
                  <a:cubicBezTo>
                    <a:pt x="1797770" y="72904"/>
                    <a:pt x="1807771" y="61793"/>
                    <a:pt x="1815549" y="49570"/>
                  </a:cubicBezTo>
                  <a:cubicBezTo>
                    <a:pt x="1808326" y="30679"/>
                    <a:pt x="1796102" y="19568"/>
                    <a:pt x="1774989" y="20123"/>
                  </a:cubicBezTo>
                  <a:cubicBezTo>
                    <a:pt x="1758877" y="5677"/>
                    <a:pt x="1737763" y="10677"/>
                    <a:pt x="1718872" y="6787"/>
                  </a:cubicBezTo>
                  <a:cubicBezTo>
                    <a:pt x="1726929" y="2899"/>
                    <a:pt x="1734986" y="1926"/>
                    <a:pt x="1743042" y="1926"/>
                  </a:cubicBezTo>
                  <a:cubicBezTo>
                    <a:pt x="1751097" y="1926"/>
                    <a:pt x="1759154" y="2899"/>
                    <a:pt x="1767210" y="2899"/>
                  </a:cubicBezTo>
                  <a:cubicBezTo>
                    <a:pt x="1899445" y="2344"/>
                    <a:pt x="2032234" y="2344"/>
                    <a:pt x="2164470" y="2344"/>
                  </a:cubicBezTo>
                  <a:cubicBezTo>
                    <a:pt x="2170581" y="2344"/>
                    <a:pt x="2176139" y="4009"/>
                    <a:pt x="2181694" y="5120"/>
                  </a:cubicBezTo>
                  <a:cubicBezTo>
                    <a:pt x="2239476" y="-991"/>
                    <a:pt x="2297815" y="4566"/>
                    <a:pt x="2355599" y="2899"/>
                  </a:cubicBezTo>
                  <a:cubicBezTo>
                    <a:pt x="2359489" y="2899"/>
                    <a:pt x="2364489" y="3454"/>
                    <a:pt x="2367267" y="6232"/>
                  </a:cubicBezTo>
                  <a:cubicBezTo>
                    <a:pt x="2375045" y="14010"/>
                    <a:pt x="2378935" y="26233"/>
                    <a:pt x="2388936" y="5677"/>
                  </a:cubicBezTo>
                  <a:cubicBezTo>
                    <a:pt x="2390186" y="3038"/>
                    <a:pt x="2392027" y="1649"/>
                    <a:pt x="2394162" y="1241"/>
                  </a:cubicBezTo>
                  <a:close/>
                  <a:moveTo>
                    <a:pt x="987623" y="51"/>
                  </a:moveTo>
                  <a:lnTo>
                    <a:pt x="997957" y="9302"/>
                  </a:lnTo>
                  <a:lnTo>
                    <a:pt x="998249" y="9010"/>
                  </a:lnTo>
                  <a:cubicBezTo>
                    <a:pt x="1005472" y="1232"/>
                    <a:pt x="1014363" y="1232"/>
                    <a:pt x="1024364" y="2899"/>
                  </a:cubicBezTo>
                  <a:cubicBezTo>
                    <a:pt x="1026586" y="12345"/>
                    <a:pt x="1011583" y="15122"/>
                    <a:pt x="1017141" y="24011"/>
                  </a:cubicBezTo>
                  <a:cubicBezTo>
                    <a:pt x="1021586" y="31789"/>
                    <a:pt x="1032697" y="31234"/>
                    <a:pt x="1037697" y="29011"/>
                  </a:cubicBezTo>
                  <a:cubicBezTo>
                    <a:pt x="1052700" y="22343"/>
                    <a:pt x="1041587" y="41235"/>
                    <a:pt x="1051588" y="40679"/>
                  </a:cubicBezTo>
                  <a:cubicBezTo>
                    <a:pt x="1071590" y="39567"/>
                    <a:pt x="1081035" y="23456"/>
                    <a:pt x="1071034" y="5120"/>
                  </a:cubicBezTo>
                  <a:cubicBezTo>
                    <a:pt x="1089368" y="-4881"/>
                    <a:pt x="1106037" y="8455"/>
                    <a:pt x="1123818" y="8455"/>
                  </a:cubicBezTo>
                  <a:cubicBezTo>
                    <a:pt x="1126317" y="3454"/>
                    <a:pt x="1129928" y="2065"/>
                    <a:pt x="1133887" y="1926"/>
                  </a:cubicBezTo>
                  <a:cubicBezTo>
                    <a:pt x="1137846" y="1787"/>
                    <a:pt x="1142152" y="2899"/>
                    <a:pt x="1146042" y="2899"/>
                  </a:cubicBezTo>
                  <a:cubicBezTo>
                    <a:pt x="1306056" y="2899"/>
                    <a:pt x="1466627" y="2899"/>
                    <a:pt x="1626643" y="2899"/>
                  </a:cubicBezTo>
                  <a:cubicBezTo>
                    <a:pt x="1647755" y="2899"/>
                    <a:pt x="1668311" y="2899"/>
                    <a:pt x="1689425" y="3454"/>
                  </a:cubicBezTo>
                  <a:cubicBezTo>
                    <a:pt x="1689980" y="3454"/>
                    <a:pt x="1691093" y="4009"/>
                    <a:pt x="1691093" y="4564"/>
                  </a:cubicBezTo>
                  <a:cubicBezTo>
                    <a:pt x="1692203" y="7899"/>
                    <a:pt x="1689980" y="9010"/>
                    <a:pt x="1687758" y="10122"/>
                  </a:cubicBezTo>
                  <a:cubicBezTo>
                    <a:pt x="1695538" y="29011"/>
                    <a:pt x="1709427" y="40124"/>
                    <a:pt x="1729430" y="40124"/>
                  </a:cubicBezTo>
                  <a:cubicBezTo>
                    <a:pt x="1737208" y="40124"/>
                    <a:pt x="1741653" y="44567"/>
                    <a:pt x="1747209" y="47902"/>
                  </a:cubicBezTo>
                  <a:cubicBezTo>
                    <a:pt x="1749987" y="49570"/>
                    <a:pt x="1748321" y="53458"/>
                    <a:pt x="1745542" y="56236"/>
                  </a:cubicBezTo>
                  <a:cubicBezTo>
                    <a:pt x="1739431" y="62348"/>
                    <a:pt x="1733320" y="59015"/>
                    <a:pt x="1727208" y="56236"/>
                  </a:cubicBezTo>
                  <a:cubicBezTo>
                    <a:pt x="1716650" y="50680"/>
                    <a:pt x="1707206" y="54013"/>
                    <a:pt x="1697760" y="60126"/>
                  </a:cubicBezTo>
                  <a:cubicBezTo>
                    <a:pt x="1703316" y="66236"/>
                    <a:pt x="1709982" y="69014"/>
                    <a:pt x="1717762" y="70126"/>
                  </a:cubicBezTo>
                  <a:cubicBezTo>
                    <a:pt x="1721652" y="70682"/>
                    <a:pt x="1728875" y="69571"/>
                    <a:pt x="1727208" y="77905"/>
                  </a:cubicBezTo>
                  <a:cubicBezTo>
                    <a:pt x="1726097" y="82905"/>
                    <a:pt x="1722207" y="86795"/>
                    <a:pt x="1716650" y="87350"/>
                  </a:cubicBezTo>
                  <a:cubicBezTo>
                    <a:pt x="1710539" y="87905"/>
                    <a:pt x="1704983" y="87905"/>
                    <a:pt x="1698871" y="87905"/>
                  </a:cubicBezTo>
                  <a:cubicBezTo>
                    <a:pt x="1474405" y="87905"/>
                    <a:pt x="1249384" y="87905"/>
                    <a:pt x="1024919" y="87905"/>
                  </a:cubicBezTo>
                  <a:cubicBezTo>
                    <a:pt x="1018251" y="87905"/>
                    <a:pt x="1011583" y="87905"/>
                    <a:pt x="1004917" y="87350"/>
                  </a:cubicBezTo>
                  <a:cubicBezTo>
                    <a:pt x="999917" y="86795"/>
                    <a:pt x="993249" y="87905"/>
                    <a:pt x="992694" y="81240"/>
                  </a:cubicBezTo>
                  <a:cubicBezTo>
                    <a:pt x="992139" y="76239"/>
                    <a:pt x="997694" y="72904"/>
                    <a:pt x="1002139" y="70682"/>
                  </a:cubicBezTo>
                  <a:lnTo>
                    <a:pt x="997731" y="10084"/>
                  </a:lnTo>
                  <a:lnTo>
                    <a:pt x="997694" y="10122"/>
                  </a:lnTo>
                  <a:cubicBezTo>
                    <a:pt x="996027" y="10122"/>
                    <a:pt x="993804" y="9565"/>
                    <a:pt x="992694" y="10122"/>
                  </a:cubicBezTo>
                  <a:cubicBezTo>
                    <a:pt x="984916" y="13455"/>
                    <a:pt x="977138" y="21788"/>
                    <a:pt x="969915" y="9565"/>
                  </a:cubicBezTo>
                  <a:cubicBezTo>
                    <a:pt x="967692" y="5677"/>
                    <a:pt x="970470" y="2342"/>
                    <a:pt x="973248" y="1787"/>
                  </a:cubicBezTo>
                  <a:cubicBezTo>
                    <a:pt x="977971" y="1232"/>
                    <a:pt x="983109" y="-297"/>
                    <a:pt x="987623" y="51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B5A8442D-3DD0-4B0A-9A2E-027F0FBC97C1}"/>
                </a:ext>
              </a:extLst>
            </p:cNvPr>
            <p:cNvSpPr/>
            <p:nvPr/>
          </p:nvSpPr>
          <p:spPr>
            <a:xfrm>
              <a:off x="9310959" y="417483"/>
              <a:ext cx="2558238" cy="686763"/>
            </a:xfrm>
            <a:custGeom>
              <a:avLst/>
              <a:gdLst>
                <a:gd name="connsiteX0" fmla="*/ 2450305 w 2558238"/>
                <a:gd name="connsiteY0" fmla="*/ 147307 h 686763"/>
                <a:gd name="connsiteX1" fmla="*/ 2519757 w 2558238"/>
                <a:gd name="connsiteY1" fmla="*/ 178422 h 686763"/>
                <a:gd name="connsiteX2" fmla="*/ 2509755 w 2558238"/>
                <a:gd name="connsiteY2" fmla="*/ 204535 h 686763"/>
                <a:gd name="connsiteX3" fmla="*/ 2494199 w 2558238"/>
                <a:gd name="connsiteY3" fmla="*/ 211758 h 686763"/>
                <a:gd name="connsiteX4" fmla="*/ 2554759 w 2558238"/>
                <a:gd name="connsiteY4" fmla="*/ 207869 h 686763"/>
                <a:gd name="connsiteX5" fmla="*/ 2556982 w 2558238"/>
                <a:gd name="connsiteY5" fmla="*/ 275653 h 686763"/>
                <a:gd name="connsiteX6" fmla="*/ 2556982 w 2558238"/>
                <a:gd name="connsiteY6" fmla="*/ 686763 h 686763"/>
                <a:gd name="connsiteX7" fmla="*/ 2476033 w 2558238"/>
                <a:gd name="connsiteY7" fmla="*/ 686763 h 686763"/>
                <a:gd name="connsiteX8" fmla="*/ 2475864 w 2558238"/>
                <a:gd name="connsiteY8" fmla="*/ 386774 h 686763"/>
                <a:gd name="connsiteX9" fmla="*/ 2476419 w 2558238"/>
                <a:gd name="connsiteY9" fmla="*/ 234538 h 686763"/>
                <a:gd name="connsiteX10" fmla="*/ 2469197 w 2558238"/>
                <a:gd name="connsiteY10" fmla="*/ 204535 h 686763"/>
                <a:gd name="connsiteX11" fmla="*/ 2441416 w 2558238"/>
                <a:gd name="connsiteY11" fmla="*/ 153419 h 686763"/>
                <a:gd name="connsiteX12" fmla="*/ 2450305 w 2558238"/>
                <a:gd name="connsiteY12" fmla="*/ 147307 h 686763"/>
                <a:gd name="connsiteX13" fmla="*/ 1414655 w 2558238"/>
                <a:gd name="connsiteY13" fmla="*/ 28963 h 686763"/>
                <a:gd name="connsiteX14" fmla="*/ 1404653 w 2558238"/>
                <a:gd name="connsiteY14" fmla="*/ 37853 h 686763"/>
                <a:gd name="connsiteX15" fmla="*/ 1424656 w 2558238"/>
                <a:gd name="connsiteY15" fmla="*/ 57855 h 686763"/>
                <a:gd name="connsiteX16" fmla="*/ 1439656 w 2558238"/>
                <a:gd name="connsiteY16" fmla="*/ 45076 h 686763"/>
                <a:gd name="connsiteX17" fmla="*/ 1414655 w 2558238"/>
                <a:gd name="connsiteY17" fmla="*/ 28963 h 686763"/>
                <a:gd name="connsiteX18" fmla="*/ 343999 w 2558238"/>
                <a:gd name="connsiteY18" fmla="*/ 8962 h 686763"/>
                <a:gd name="connsiteX19" fmla="*/ 333997 w 2558238"/>
                <a:gd name="connsiteY19" fmla="*/ 25074 h 686763"/>
                <a:gd name="connsiteX20" fmla="*/ 358444 w 2558238"/>
                <a:gd name="connsiteY20" fmla="*/ 30074 h 686763"/>
                <a:gd name="connsiteX21" fmla="*/ 343999 w 2558238"/>
                <a:gd name="connsiteY21" fmla="*/ 8962 h 686763"/>
                <a:gd name="connsiteX22" fmla="*/ 1370205 w 2558238"/>
                <a:gd name="connsiteY22" fmla="*/ 8406 h 686763"/>
                <a:gd name="connsiteX23" fmla="*/ 1351871 w 2558238"/>
                <a:gd name="connsiteY23" fmla="*/ 24518 h 686763"/>
                <a:gd name="connsiteX24" fmla="*/ 1342425 w 2558238"/>
                <a:gd name="connsiteY24" fmla="*/ 45076 h 686763"/>
                <a:gd name="connsiteX25" fmla="*/ 1365760 w 2558238"/>
                <a:gd name="connsiteY25" fmla="*/ 45076 h 686763"/>
                <a:gd name="connsiteX26" fmla="*/ 1382428 w 2558238"/>
                <a:gd name="connsiteY26" fmla="*/ 30630 h 686763"/>
                <a:gd name="connsiteX27" fmla="*/ 1370205 w 2558238"/>
                <a:gd name="connsiteY27" fmla="*/ 8406 h 686763"/>
                <a:gd name="connsiteX28" fmla="*/ 19525 w 2558238"/>
                <a:gd name="connsiteY28" fmla="*/ 1183 h 686763"/>
                <a:gd name="connsiteX29" fmla="*/ 36193 w 2558238"/>
                <a:gd name="connsiteY29" fmla="*/ 17296 h 686763"/>
                <a:gd name="connsiteX30" fmla="*/ 35081 w 2558238"/>
                <a:gd name="connsiteY30" fmla="*/ 24519 h 686763"/>
                <a:gd name="connsiteX31" fmla="*/ 58417 w 2558238"/>
                <a:gd name="connsiteY31" fmla="*/ 58967 h 686763"/>
                <a:gd name="connsiteX32" fmla="*/ 40637 w 2558238"/>
                <a:gd name="connsiteY32" fmla="*/ 73968 h 686763"/>
                <a:gd name="connsiteX33" fmla="*/ 633 w 2558238"/>
                <a:gd name="connsiteY33" fmla="*/ 72856 h 686763"/>
                <a:gd name="connsiteX34" fmla="*/ 78 w 2558238"/>
                <a:gd name="connsiteY34" fmla="*/ 15074 h 686763"/>
                <a:gd name="connsiteX35" fmla="*/ 19525 w 2558238"/>
                <a:gd name="connsiteY35" fmla="*/ 1183 h 686763"/>
                <a:gd name="connsiteX36" fmla="*/ 772789 w 2558238"/>
                <a:gd name="connsiteY36" fmla="*/ 627 h 686763"/>
                <a:gd name="connsiteX37" fmla="*/ 809042 w 2558238"/>
                <a:gd name="connsiteY37" fmla="*/ 2849 h 686763"/>
                <a:gd name="connsiteX38" fmla="*/ 1014617 w 2558238"/>
                <a:gd name="connsiteY38" fmla="*/ 2294 h 686763"/>
                <a:gd name="connsiteX39" fmla="*/ 1036841 w 2558238"/>
                <a:gd name="connsiteY39" fmla="*/ 17296 h 686763"/>
                <a:gd name="connsiteX40" fmla="*/ 1059066 w 2558238"/>
                <a:gd name="connsiteY40" fmla="*/ 36742 h 686763"/>
                <a:gd name="connsiteX41" fmla="*/ 1068510 w 2558238"/>
                <a:gd name="connsiteY41" fmla="*/ 3405 h 686763"/>
                <a:gd name="connsiteX42" fmla="*/ 1611895 w 2558238"/>
                <a:gd name="connsiteY42" fmla="*/ 3405 h 686763"/>
                <a:gd name="connsiteX43" fmla="*/ 2172503 w 2558238"/>
                <a:gd name="connsiteY43" fmla="*/ 2294 h 686763"/>
                <a:gd name="connsiteX44" fmla="*/ 2213062 w 2558238"/>
                <a:gd name="connsiteY44" fmla="*/ 13406 h 686763"/>
                <a:gd name="connsiteX45" fmla="*/ 2221396 w 2558238"/>
                <a:gd name="connsiteY45" fmla="*/ 12850 h 686763"/>
                <a:gd name="connsiteX46" fmla="*/ 2290847 w 2558238"/>
                <a:gd name="connsiteY46" fmla="*/ 2294 h 686763"/>
                <a:gd name="connsiteX47" fmla="*/ 2311960 w 2558238"/>
                <a:gd name="connsiteY47" fmla="*/ 3405 h 686763"/>
                <a:gd name="connsiteX48" fmla="*/ 2294736 w 2558238"/>
                <a:gd name="connsiteY48" fmla="*/ 35075 h 686763"/>
                <a:gd name="connsiteX49" fmla="*/ 2309182 w 2558238"/>
                <a:gd name="connsiteY49" fmla="*/ 47298 h 686763"/>
                <a:gd name="connsiteX50" fmla="*/ 2340851 w 2558238"/>
                <a:gd name="connsiteY50" fmla="*/ 22852 h 686763"/>
                <a:gd name="connsiteX51" fmla="*/ 2373077 w 2558238"/>
                <a:gd name="connsiteY51" fmla="*/ 2849 h 686763"/>
                <a:gd name="connsiteX52" fmla="*/ 2558094 w 2558238"/>
                <a:gd name="connsiteY52" fmla="*/ 184533 h 686763"/>
                <a:gd name="connsiteX53" fmla="*/ 2555871 w 2558238"/>
                <a:gd name="connsiteY53" fmla="*/ 197868 h 686763"/>
                <a:gd name="connsiteX54" fmla="*/ 2528091 w 2558238"/>
                <a:gd name="connsiteY54" fmla="*/ 165087 h 686763"/>
                <a:gd name="connsiteX55" fmla="*/ 2458085 w 2558238"/>
                <a:gd name="connsiteY55" fmla="*/ 97303 h 686763"/>
                <a:gd name="connsiteX56" fmla="*/ 2441417 w 2558238"/>
                <a:gd name="connsiteY56" fmla="*/ 104526 h 686763"/>
                <a:gd name="connsiteX57" fmla="*/ 2385856 w 2558238"/>
                <a:gd name="connsiteY57" fmla="*/ 106193 h 686763"/>
                <a:gd name="connsiteX58" fmla="*/ 2275845 w 2558238"/>
                <a:gd name="connsiteY58" fmla="*/ 73412 h 686763"/>
                <a:gd name="connsiteX59" fmla="*/ 1836361 w 2558238"/>
                <a:gd name="connsiteY59" fmla="*/ 73412 h 686763"/>
                <a:gd name="connsiteX60" fmla="*/ 1806913 w 2558238"/>
                <a:gd name="connsiteY60" fmla="*/ 58410 h 686763"/>
                <a:gd name="connsiteX61" fmla="*/ 1764131 w 2558238"/>
                <a:gd name="connsiteY61" fmla="*/ 31741 h 686763"/>
                <a:gd name="connsiteX62" fmla="*/ 1761909 w 2558238"/>
                <a:gd name="connsiteY62" fmla="*/ 50632 h 686763"/>
                <a:gd name="connsiteX63" fmla="*/ 1745796 w 2558238"/>
                <a:gd name="connsiteY63" fmla="*/ 73412 h 686763"/>
                <a:gd name="connsiteX64" fmla="*/ 1527999 w 2558238"/>
                <a:gd name="connsiteY64" fmla="*/ 73412 h 686763"/>
                <a:gd name="connsiteX65" fmla="*/ 789040 w 2558238"/>
                <a:gd name="connsiteY65" fmla="*/ 72856 h 686763"/>
                <a:gd name="connsiteX66" fmla="*/ 771817 w 2558238"/>
                <a:gd name="connsiteY66" fmla="*/ 60633 h 686763"/>
                <a:gd name="connsiteX67" fmla="*/ 760705 w 2558238"/>
                <a:gd name="connsiteY67" fmla="*/ 60077 h 686763"/>
                <a:gd name="connsiteX68" fmla="*/ 737924 w 2558238"/>
                <a:gd name="connsiteY68" fmla="*/ 49521 h 686763"/>
                <a:gd name="connsiteX69" fmla="*/ 742369 w 2558238"/>
                <a:gd name="connsiteY69" fmla="*/ 25074 h 686763"/>
                <a:gd name="connsiteX70" fmla="*/ 772789 w 2558238"/>
                <a:gd name="connsiteY70" fmla="*/ 627 h 686763"/>
                <a:gd name="connsiteX71" fmla="*/ 303995 w 2558238"/>
                <a:gd name="connsiteY71" fmla="*/ 627 h 686763"/>
                <a:gd name="connsiteX72" fmla="*/ 494012 w 2558238"/>
                <a:gd name="connsiteY72" fmla="*/ 2294 h 686763"/>
                <a:gd name="connsiteX73" fmla="*/ 660695 w 2558238"/>
                <a:gd name="connsiteY73" fmla="*/ 627 h 686763"/>
                <a:gd name="connsiteX74" fmla="*/ 687364 w 2558238"/>
                <a:gd name="connsiteY74" fmla="*/ 23407 h 686763"/>
                <a:gd name="connsiteX75" fmla="*/ 714589 w 2558238"/>
                <a:gd name="connsiteY75" fmla="*/ 68967 h 686763"/>
                <a:gd name="connsiteX76" fmla="*/ 695698 w 2558238"/>
                <a:gd name="connsiteY76" fmla="*/ 72857 h 686763"/>
                <a:gd name="connsiteX77" fmla="*/ 379001 w 2558238"/>
                <a:gd name="connsiteY77" fmla="*/ 73412 h 686763"/>
                <a:gd name="connsiteX78" fmla="*/ 352888 w 2558238"/>
                <a:gd name="connsiteY78" fmla="*/ 63966 h 686763"/>
                <a:gd name="connsiteX79" fmla="*/ 337331 w 2558238"/>
                <a:gd name="connsiteY79" fmla="*/ 57855 h 686763"/>
                <a:gd name="connsiteX80" fmla="*/ 306772 w 2558238"/>
                <a:gd name="connsiteY80" fmla="*/ 47854 h 686763"/>
                <a:gd name="connsiteX81" fmla="*/ 300661 w 2558238"/>
                <a:gd name="connsiteY81" fmla="*/ 73412 h 686763"/>
                <a:gd name="connsiteX82" fmla="*/ 268436 w 2558238"/>
                <a:gd name="connsiteY82" fmla="*/ 73412 h 686763"/>
                <a:gd name="connsiteX83" fmla="*/ 276769 w 2558238"/>
                <a:gd name="connsiteY83" fmla="*/ 52854 h 686763"/>
                <a:gd name="connsiteX84" fmla="*/ 287326 w 2558238"/>
                <a:gd name="connsiteY84" fmla="*/ 21185 h 686763"/>
                <a:gd name="connsiteX85" fmla="*/ 303995 w 2558238"/>
                <a:gd name="connsiteY85" fmla="*/ 627 h 686763"/>
                <a:gd name="connsiteX86" fmla="*/ 90433 w 2558238"/>
                <a:gd name="connsiteY86" fmla="*/ 2 h 686763"/>
                <a:gd name="connsiteX87" fmla="*/ 101198 w 2558238"/>
                <a:gd name="connsiteY87" fmla="*/ 1739 h 686763"/>
                <a:gd name="connsiteX88" fmla="*/ 240100 w 2558238"/>
                <a:gd name="connsiteY88" fmla="*/ 1739 h 686763"/>
                <a:gd name="connsiteX89" fmla="*/ 261213 w 2558238"/>
                <a:gd name="connsiteY89" fmla="*/ 8406 h 686763"/>
                <a:gd name="connsiteX90" fmla="*/ 245101 w 2558238"/>
                <a:gd name="connsiteY90" fmla="*/ 25630 h 686763"/>
                <a:gd name="connsiteX91" fmla="*/ 234544 w 2558238"/>
                <a:gd name="connsiteY91" fmla="*/ 32297 h 686763"/>
                <a:gd name="connsiteX92" fmla="*/ 225654 w 2558238"/>
                <a:gd name="connsiteY92" fmla="*/ 46187 h 686763"/>
                <a:gd name="connsiteX93" fmla="*/ 175649 w 2558238"/>
                <a:gd name="connsiteY93" fmla="*/ 74523 h 686763"/>
                <a:gd name="connsiteX94" fmla="*/ 85085 w 2558238"/>
                <a:gd name="connsiteY94" fmla="*/ 73968 h 686763"/>
                <a:gd name="connsiteX95" fmla="*/ 60639 w 2558238"/>
                <a:gd name="connsiteY95" fmla="*/ 58966 h 686763"/>
                <a:gd name="connsiteX96" fmla="*/ 72862 w 2558238"/>
                <a:gd name="connsiteY96" fmla="*/ 42298 h 686763"/>
                <a:gd name="connsiteX97" fmla="*/ 100087 w 2558238"/>
                <a:gd name="connsiteY97" fmla="*/ 41187 h 686763"/>
                <a:gd name="connsiteX98" fmla="*/ 115088 w 2558238"/>
                <a:gd name="connsiteY98" fmla="*/ 25630 h 686763"/>
                <a:gd name="connsiteX99" fmla="*/ 100643 w 2558238"/>
                <a:gd name="connsiteY99" fmla="*/ 17851 h 686763"/>
                <a:gd name="connsiteX100" fmla="*/ 83419 w 2558238"/>
                <a:gd name="connsiteY100" fmla="*/ 7850 h 686763"/>
                <a:gd name="connsiteX101" fmla="*/ 90433 w 2558238"/>
                <a:gd name="connsiteY101" fmla="*/ 2 h 68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2558238" h="686763">
                  <a:moveTo>
                    <a:pt x="2450305" y="147307"/>
                  </a:moveTo>
                  <a:cubicBezTo>
                    <a:pt x="2460862" y="144530"/>
                    <a:pt x="2518645" y="168976"/>
                    <a:pt x="2519757" y="178422"/>
                  </a:cubicBezTo>
                  <a:cubicBezTo>
                    <a:pt x="2520868" y="186755"/>
                    <a:pt x="2536425" y="204535"/>
                    <a:pt x="2509755" y="204535"/>
                  </a:cubicBezTo>
                  <a:cubicBezTo>
                    <a:pt x="2504755" y="204535"/>
                    <a:pt x="2499199" y="209535"/>
                    <a:pt x="2494199" y="211758"/>
                  </a:cubicBezTo>
                  <a:cubicBezTo>
                    <a:pt x="2511423" y="236760"/>
                    <a:pt x="2529757" y="235650"/>
                    <a:pt x="2554759" y="207869"/>
                  </a:cubicBezTo>
                  <a:cubicBezTo>
                    <a:pt x="2560315" y="231760"/>
                    <a:pt x="2557538" y="253984"/>
                    <a:pt x="2556982" y="275653"/>
                  </a:cubicBezTo>
                  <a:lnTo>
                    <a:pt x="2556982" y="686763"/>
                  </a:lnTo>
                  <a:lnTo>
                    <a:pt x="2476033" y="686763"/>
                  </a:lnTo>
                  <a:lnTo>
                    <a:pt x="2475864" y="386774"/>
                  </a:lnTo>
                  <a:cubicBezTo>
                    <a:pt x="2475864" y="336214"/>
                    <a:pt x="2476419" y="285098"/>
                    <a:pt x="2476419" y="234538"/>
                  </a:cubicBezTo>
                  <a:cubicBezTo>
                    <a:pt x="2474196" y="224537"/>
                    <a:pt x="2471419" y="214536"/>
                    <a:pt x="2469197" y="204535"/>
                  </a:cubicBezTo>
                  <a:cubicBezTo>
                    <a:pt x="2460307" y="187867"/>
                    <a:pt x="2450861" y="170643"/>
                    <a:pt x="2441416" y="153419"/>
                  </a:cubicBezTo>
                  <a:cubicBezTo>
                    <a:pt x="2441416" y="147863"/>
                    <a:pt x="2446972" y="148419"/>
                    <a:pt x="2450305" y="147307"/>
                  </a:cubicBezTo>
                  <a:close/>
                  <a:moveTo>
                    <a:pt x="1414655" y="28963"/>
                  </a:moveTo>
                  <a:cubicBezTo>
                    <a:pt x="1412987" y="26185"/>
                    <a:pt x="1404653" y="33408"/>
                    <a:pt x="1404653" y="37853"/>
                  </a:cubicBezTo>
                  <a:cubicBezTo>
                    <a:pt x="1405765" y="48965"/>
                    <a:pt x="1415210" y="55077"/>
                    <a:pt x="1424656" y="57855"/>
                  </a:cubicBezTo>
                  <a:cubicBezTo>
                    <a:pt x="1431878" y="59521"/>
                    <a:pt x="1436323" y="52854"/>
                    <a:pt x="1439656" y="45076"/>
                  </a:cubicBezTo>
                  <a:cubicBezTo>
                    <a:pt x="1435768" y="34520"/>
                    <a:pt x="1420766" y="38964"/>
                    <a:pt x="1414655" y="28963"/>
                  </a:cubicBezTo>
                  <a:close/>
                  <a:moveTo>
                    <a:pt x="343999" y="8962"/>
                  </a:moveTo>
                  <a:cubicBezTo>
                    <a:pt x="334553" y="12851"/>
                    <a:pt x="329552" y="18407"/>
                    <a:pt x="333997" y="25074"/>
                  </a:cubicBezTo>
                  <a:cubicBezTo>
                    <a:pt x="338442" y="32853"/>
                    <a:pt x="346777" y="34519"/>
                    <a:pt x="358444" y="30074"/>
                  </a:cubicBezTo>
                  <a:cubicBezTo>
                    <a:pt x="343999" y="28964"/>
                    <a:pt x="343443" y="18962"/>
                    <a:pt x="343999" y="8962"/>
                  </a:cubicBezTo>
                  <a:close/>
                  <a:moveTo>
                    <a:pt x="1370205" y="8406"/>
                  </a:moveTo>
                  <a:cubicBezTo>
                    <a:pt x="1362427" y="7294"/>
                    <a:pt x="1352982" y="12295"/>
                    <a:pt x="1351871" y="24518"/>
                  </a:cubicBezTo>
                  <a:cubicBezTo>
                    <a:pt x="1351315" y="31185"/>
                    <a:pt x="1346315" y="37853"/>
                    <a:pt x="1342425" y="45076"/>
                  </a:cubicBezTo>
                  <a:cubicBezTo>
                    <a:pt x="1351871" y="45076"/>
                    <a:pt x="1359093" y="46187"/>
                    <a:pt x="1365760" y="45076"/>
                  </a:cubicBezTo>
                  <a:cubicBezTo>
                    <a:pt x="1374095" y="43965"/>
                    <a:pt x="1384651" y="41186"/>
                    <a:pt x="1382428" y="30630"/>
                  </a:cubicBezTo>
                  <a:cubicBezTo>
                    <a:pt x="1380762" y="22852"/>
                    <a:pt x="1380207" y="10073"/>
                    <a:pt x="1370205" y="8406"/>
                  </a:cubicBezTo>
                  <a:close/>
                  <a:moveTo>
                    <a:pt x="19525" y="1183"/>
                  </a:moveTo>
                  <a:cubicBezTo>
                    <a:pt x="31192" y="628"/>
                    <a:pt x="36748" y="5628"/>
                    <a:pt x="36193" y="17296"/>
                  </a:cubicBezTo>
                  <a:cubicBezTo>
                    <a:pt x="36193" y="19519"/>
                    <a:pt x="35637" y="22296"/>
                    <a:pt x="35081" y="24519"/>
                  </a:cubicBezTo>
                  <a:cubicBezTo>
                    <a:pt x="27303" y="54522"/>
                    <a:pt x="27858" y="55633"/>
                    <a:pt x="58417" y="58967"/>
                  </a:cubicBezTo>
                  <a:cubicBezTo>
                    <a:pt x="56749" y="68967"/>
                    <a:pt x="52861" y="75079"/>
                    <a:pt x="40637" y="73968"/>
                  </a:cubicBezTo>
                  <a:cubicBezTo>
                    <a:pt x="27303" y="72856"/>
                    <a:pt x="13969" y="73412"/>
                    <a:pt x="633" y="72856"/>
                  </a:cubicBezTo>
                  <a:cubicBezTo>
                    <a:pt x="633" y="53966"/>
                    <a:pt x="1189" y="34520"/>
                    <a:pt x="78" y="15074"/>
                  </a:cubicBezTo>
                  <a:cubicBezTo>
                    <a:pt x="-1033" y="-1594"/>
                    <a:pt x="10079" y="1739"/>
                    <a:pt x="19525" y="1183"/>
                  </a:cubicBezTo>
                  <a:close/>
                  <a:moveTo>
                    <a:pt x="772789" y="627"/>
                  </a:moveTo>
                  <a:cubicBezTo>
                    <a:pt x="784735" y="-345"/>
                    <a:pt x="797653" y="3127"/>
                    <a:pt x="809042" y="2849"/>
                  </a:cubicBezTo>
                  <a:cubicBezTo>
                    <a:pt x="877383" y="1183"/>
                    <a:pt x="946277" y="2849"/>
                    <a:pt x="1014617" y="2294"/>
                  </a:cubicBezTo>
                  <a:cubicBezTo>
                    <a:pt x="1025729" y="2294"/>
                    <a:pt x="1035174" y="1183"/>
                    <a:pt x="1036841" y="17296"/>
                  </a:cubicBezTo>
                  <a:cubicBezTo>
                    <a:pt x="1037952" y="27852"/>
                    <a:pt x="1055177" y="38409"/>
                    <a:pt x="1059066" y="36742"/>
                  </a:cubicBezTo>
                  <a:cubicBezTo>
                    <a:pt x="1072956" y="31741"/>
                    <a:pt x="1077957" y="18407"/>
                    <a:pt x="1068510" y="3405"/>
                  </a:cubicBezTo>
                  <a:cubicBezTo>
                    <a:pt x="1251861" y="3405"/>
                    <a:pt x="1431878" y="3405"/>
                    <a:pt x="1611895" y="3405"/>
                  </a:cubicBezTo>
                  <a:cubicBezTo>
                    <a:pt x="1798579" y="3405"/>
                    <a:pt x="1985819" y="2294"/>
                    <a:pt x="2172503" y="2294"/>
                  </a:cubicBezTo>
                  <a:cubicBezTo>
                    <a:pt x="2186393" y="2294"/>
                    <a:pt x="2203616" y="-5484"/>
                    <a:pt x="2213062" y="13406"/>
                  </a:cubicBezTo>
                  <a:cubicBezTo>
                    <a:pt x="2214729" y="17296"/>
                    <a:pt x="2219174" y="14517"/>
                    <a:pt x="2221396" y="12850"/>
                  </a:cubicBezTo>
                  <a:cubicBezTo>
                    <a:pt x="2242509" y="-4373"/>
                    <a:pt x="2268623" y="13406"/>
                    <a:pt x="2290847" y="2294"/>
                  </a:cubicBezTo>
                  <a:cubicBezTo>
                    <a:pt x="2296403" y="-484"/>
                    <a:pt x="2304181" y="1738"/>
                    <a:pt x="2311960" y="3405"/>
                  </a:cubicBezTo>
                  <a:cubicBezTo>
                    <a:pt x="2297515" y="10073"/>
                    <a:pt x="2295847" y="22852"/>
                    <a:pt x="2294736" y="35075"/>
                  </a:cubicBezTo>
                  <a:cubicBezTo>
                    <a:pt x="2294181" y="42298"/>
                    <a:pt x="2303071" y="45076"/>
                    <a:pt x="2309182" y="47298"/>
                  </a:cubicBezTo>
                  <a:cubicBezTo>
                    <a:pt x="2331407" y="55632"/>
                    <a:pt x="2339740" y="37853"/>
                    <a:pt x="2340851" y="22852"/>
                  </a:cubicBezTo>
                  <a:cubicBezTo>
                    <a:pt x="2342519" y="-2151"/>
                    <a:pt x="2356408" y="627"/>
                    <a:pt x="2373077" y="2849"/>
                  </a:cubicBezTo>
                  <a:cubicBezTo>
                    <a:pt x="2468086" y="15073"/>
                    <a:pt x="2543648" y="88413"/>
                    <a:pt x="2558094" y="184533"/>
                  </a:cubicBezTo>
                  <a:cubicBezTo>
                    <a:pt x="2558650" y="188422"/>
                    <a:pt x="2557538" y="192868"/>
                    <a:pt x="2555871" y="197868"/>
                  </a:cubicBezTo>
                  <a:cubicBezTo>
                    <a:pt x="2558650" y="176199"/>
                    <a:pt x="2534758" y="178421"/>
                    <a:pt x="2528091" y="165087"/>
                  </a:cubicBezTo>
                  <a:cubicBezTo>
                    <a:pt x="2512534" y="135084"/>
                    <a:pt x="2488087" y="113416"/>
                    <a:pt x="2458085" y="97303"/>
                  </a:cubicBezTo>
                  <a:cubicBezTo>
                    <a:pt x="2448639" y="92302"/>
                    <a:pt x="2443639" y="102859"/>
                    <a:pt x="2441417" y="104526"/>
                  </a:cubicBezTo>
                  <a:cubicBezTo>
                    <a:pt x="2422526" y="121194"/>
                    <a:pt x="2408080" y="122861"/>
                    <a:pt x="2385856" y="106193"/>
                  </a:cubicBezTo>
                  <a:cubicBezTo>
                    <a:pt x="2354186" y="82301"/>
                    <a:pt x="2315849" y="73412"/>
                    <a:pt x="2275845" y="73412"/>
                  </a:cubicBezTo>
                  <a:cubicBezTo>
                    <a:pt x="2129165" y="73412"/>
                    <a:pt x="1983041" y="73412"/>
                    <a:pt x="1836361" y="73412"/>
                  </a:cubicBezTo>
                  <a:cubicBezTo>
                    <a:pt x="1823581" y="73412"/>
                    <a:pt x="1814136" y="74523"/>
                    <a:pt x="1806913" y="58410"/>
                  </a:cubicBezTo>
                  <a:cubicBezTo>
                    <a:pt x="1799690" y="42853"/>
                    <a:pt x="1778022" y="41742"/>
                    <a:pt x="1764131" y="31741"/>
                  </a:cubicBezTo>
                  <a:cubicBezTo>
                    <a:pt x="1758575" y="38964"/>
                    <a:pt x="1759686" y="45632"/>
                    <a:pt x="1761909" y="50632"/>
                  </a:cubicBezTo>
                  <a:cubicBezTo>
                    <a:pt x="1770798" y="71745"/>
                    <a:pt x="1770243" y="73412"/>
                    <a:pt x="1745796" y="73412"/>
                  </a:cubicBezTo>
                  <a:cubicBezTo>
                    <a:pt x="1673011" y="73412"/>
                    <a:pt x="1600783" y="73412"/>
                    <a:pt x="1527999" y="73412"/>
                  </a:cubicBezTo>
                  <a:cubicBezTo>
                    <a:pt x="1281309" y="73412"/>
                    <a:pt x="1035174" y="73412"/>
                    <a:pt x="789040" y="72856"/>
                  </a:cubicBezTo>
                  <a:cubicBezTo>
                    <a:pt x="784595" y="72856"/>
                    <a:pt x="762927" y="86746"/>
                    <a:pt x="771817" y="60633"/>
                  </a:cubicBezTo>
                  <a:cubicBezTo>
                    <a:pt x="774039" y="55077"/>
                    <a:pt x="764039" y="57855"/>
                    <a:pt x="760705" y="60077"/>
                  </a:cubicBezTo>
                  <a:cubicBezTo>
                    <a:pt x="746815" y="67856"/>
                    <a:pt x="741814" y="60633"/>
                    <a:pt x="737924" y="49521"/>
                  </a:cubicBezTo>
                  <a:cubicBezTo>
                    <a:pt x="731812" y="38409"/>
                    <a:pt x="738480" y="34520"/>
                    <a:pt x="742369" y="25074"/>
                  </a:cubicBezTo>
                  <a:cubicBezTo>
                    <a:pt x="749870" y="7017"/>
                    <a:pt x="760844" y="1600"/>
                    <a:pt x="772789" y="627"/>
                  </a:cubicBezTo>
                  <a:close/>
                  <a:moveTo>
                    <a:pt x="303995" y="627"/>
                  </a:moveTo>
                  <a:cubicBezTo>
                    <a:pt x="367334" y="1738"/>
                    <a:pt x="430673" y="2294"/>
                    <a:pt x="494012" y="2294"/>
                  </a:cubicBezTo>
                  <a:cubicBezTo>
                    <a:pt x="549573" y="2294"/>
                    <a:pt x="605134" y="2294"/>
                    <a:pt x="660695" y="627"/>
                  </a:cubicBezTo>
                  <a:cubicBezTo>
                    <a:pt x="678474" y="72"/>
                    <a:pt x="687364" y="3406"/>
                    <a:pt x="687364" y="23407"/>
                  </a:cubicBezTo>
                  <a:cubicBezTo>
                    <a:pt x="686809" y="42854"/>
                    <a:pt x="695698" y="58966"/>
                    <a:pt x="714589" y="68967"/>
                  </a:cubicBezTo>
                  <a:cubicBezTo>
                    <a:pt x="708477" y="76190"/>
                    <a:pt x="701254" y="72857"/>
                    <a:pt x="695698" y="72857"/>
                  </a:cubicBezTo>
                  <a:cubicBezTo>
                    <a:pt x="590133" y="73412"/>
                    <a:pt x="484567" y="73412"/>
                    <a:pt x="379001" y="73412"/>
                  </a:cubicBezTo>
                  <a:cubicBezTo>
                    <a:pt x="369001" y="73412"/>
                    <a:pt x="360111" y="73968"/>
                    <a:pt x="352888" y="63966"/>
                  </a:cubicBezTo>
                  <a:cubicBezTo>
                    <a:pt x="350110" y="60077"/>
                    <a:pt x="340109" y="56189"/>
                    <a:pt x="337331" y="57855"/>
                  </a:cubicBezTo>
                  <a:cubicBezTo>
                    <a:pt x="323440" y="67301"/>
                    <a:pt x="316218" y="56189"/>
                    <a:pt x="306772" y="47854"/>
                  </a:cubicBezTo>
                  <a:cubicBezTo>
                    <a:pt x="303995" y="57855"/>
                    <a:pt x="307328" y="67301"/>
                    <a:pt x="300661" y="73412"/>
                  </a:cubicBezTo>
                  <a:cubicBezTo>
                    <a:pt x="290104" y="73412"/>
                    <a:pt x="279548" y="73412"/>
                    <a:pt x="268436" y="73412"/>
                  </a:cubicBezTo>
                  <a:cubicBezTo>
                    <a:pt x="267880" y="65078"/>
                    <a:pt x="280104" y="61745"/>
                    <a:pt x="276769" y="52854"/>
                  </a:cubicBezTo>
                  <a:cubicBezTo>
                    <a:pt x="295660" y="47298"/>
                    <a:pt x="288993" y="31186"/>
                    <a:pt x="287326" y="21185"/>
                  </a:cubicBezTo>
                  <a:cubicBezTo>
                    <a:pt x="283993" y="4517"/>
                    <a:pt x="287882" y="72"/>
                    <a:pt x="303995" y="627"/>
                  </a:cubicBezTo>
                  <a:close/>
                  <a:moveTo>
                    <a:pt x="90433" y="2"/>
                  </a:moveTo>
                  <a:cubicBezTo>
                    <a:pt x="94114" y="72"/>
                    <a:pt x="98420" y="1739"/>
                    <a:pt x="101198" y="1739"/>
                  </a:cubicBezTo>
                  <a:cubicBezTo>
                    <a:pt x="147314" y="1183"/>
                    <a:pt x="193985" y="1183"/>
                    <a:pt x="240100" y="1739"/>
                  </a:cubicBezTo>
                  <a:cubicBezTo>
                    <a:pt x="247323" y="1739"/>
                    <a:pt x="258436" y="-4373"/>
                    <a:pt x="261213" y="8406"/>
                  </a:cubicBezTo>
                  <a:cubicBezTo>
                    <a:pt x="263992" y="21185"/>
                    <a:pt x="254545" y="23407"/>
                    <a:pt x="245101" y="25630"/>
                  </a:cubicBezTo>
                  <a:cubicBezTo>
                    <a:pt x="241212" y="26186"/>
                    <a:pt x="237877" y="30075"/>
                    <a:pt x="234544" y="32297"/>
                  </a:cubicBezTo>
                  <a:cubicBezTo>
                    <a:pt x="227877" y="33964"/>
                    <a:pt x="228432" y="41742"/>
                    <a:pt x="225654" y="46187"/>
                  </a:cubicBezTo>
                  <a:cubicBezTo>
                    <a:pt x="214542" y="65634"/>
                    <a:pt x="200652" y="76746"/>
                    <a:pt x="175649" y="74523"/>
                  </a:cubicBezTo>
                  <a:cubicBezTo>
                    <a:pt x="145647" y="71746"/>
                    <a:pt x="115088" y="73413"/>
                    <a:pt x="85085" y="73968"/>
                  </a:cubicBezTo>
                  <a:cubicBezTo>
                    <a:pt x="73418" y="73968"/>
                    <a:pt x="63417" y="73413"/>
                    <a:pt x="60639" y="58966"/>
                  </a:cubicBezTo>
                  <a:cubicBezTo>
                    <a:pt x="55638" y="46743"/>
                    <a:pt x="55083" y="38964"/>
                    <a:pt x="72862" y="42298"/>
                  </a:cubicBezTo>
                  <a:cubicBezTo>
                    <a:pt x="81197" y="43965"/>
                    <a:pt x="91198" y="40075"/>
                    <a:pt x="100087" y="41187"/>
                  </a:cubicBezTo>
                  <a:cubicBezTo>
                    <a:pt x="113422" y="43410"/>
                    <a:pt x="113977" y="31186"/>
                    <a:pt x="115088" y="25630"/>
                  </a:cubicBezTo>
                  <a:cubicBezTo>
                    <a:pt x="116756" y="17851"/>
                    <a:pt x="104532" y="16740"/>
                    <a:pt x="100643" y="17851"/>
                  </a:cubicBezTo>
                  <a:cubicBezTo>
                    <a:pt x="90086" y="21185"/>
                    <a:pt x="83419" y="17295"/>
                    <a:pt x="83419" y="7850"/>
                  </a:cubicBezTo>
                  <a:cubicBezTo>
                    <a:pt x="83697" y="1460"/>
                    <a:pt x="86752" y="-67"/>
                    <a:pt x="90433" y="2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BB934370-44F9-4355-B964-347D22FCD181}"/>
                </a:ext>
              </a:extLst>
            </p:cNvPr>
            <p:cNvSpPr/>
            <p:nvPr/>
          </p:nvSpPr>
          <p:spPr>
            <a:xfrm>
              <a:off x="9311020" y="533609"/>
              <a:ext cx="2436185" cy="608575"/>
            </a:xfrm>
            <a:custGeom>
              <a:avLst/>
              <a:gdLst>
                <a:gd name="connsiteX0" fmla="*/ 140973 w 2436185"/>
                <a:gd name="connsiteY0" fmla="*/ 48058 h 608575"/>
                <a:gd name="connsiteX1" fmla="*/ 134306 w 2436185"/>
                <a:gd name="connsiteY1" fmla="*/ 56948 h 608575"/>
                <a:gd name="connsiteX2" fmla="*/ 143752 w 2436185"/>
                <a:gd name="connsiteY2" fmla="*/ 75839 h 608575"/>
                <a:gd name="connsiteX3" fmla="*/ 151530 w 2436185"/>
                <a:gd name="connsiteY3" fmla="*/ 65282 h 608575"/>
                <a:gd name="connsiteX4" fmla="*/ 140973 w 2436185"/>
                <a:gd name="connsiteY4" fmla="*/ 48058 h 608575"/>
                <a:gd name="connsiteX5" fmla="*/ 879384 w 2436185"/>
                <a:gd name="connsiteY5" fmla="*/ 12716 h 608575"/>
                <a:gd name="connsiteX6" fmla="*/ 865485 w 2436185"/>
                <a:gd name="connsiteY6" fmla="*/ 19166 h 608575"/>
                <a:gd name="connsiteX7" fmla="*/ 854373 w 2436185"/>
                <a:gd name="connsiteY7" fmla="*/ 36945 h 608575"/>
                <a:gd name="connsiteX8" fmla="*/ 881042 w 2436185"/>
                <a:gd name="connsiteY8" fmla="*/ 49169 h 608575"/>
                <a:gd name="connsiteX9" fmla="*/ 919935 w 2436185"/>
                <a:gd name="connsiteY9" fmla="*/ 21388 h 608575"/>
                <a:gd name="connsiteX10" fmla="*/ 879384 w 2436185"/>
                <a:gd name="connsiteY10" fmla="*/ 12716 h 608575"/>
                <a:gd name="connsiteX11" fmla="*/ 1254757 w 2436185"/>
                <a:gd name="connsiteY11" fmla="*/ 2428 h 608575"/>
                <a:gd name="connsiteX12" fmla="*/ 1257188 w 2436185"/>
                <a:gd name="connsiteY12" fmla="*/ 15277 h 608575"/>
                <a:gd name="connsiteX13" fmla="*/ 1277745 w 2436185"/>
                <a:gd name="connsiteY13" fmla="*/ 14721 h 608575"/>
                <a:gd name="connsiteX14" fmla="*/ 1274967 w 2436185"/>
                <a:gd name="connsiteY14" fmla="*/ 5275 h 608575"/>
                <a:gd name="connsiteX15" fmla="*/ 1287190 w 2436185"/>
                <a:gd name="connsiteY15" fmla="*/ 4165 h 608575"/>
                <a:gd name="connsiteX16" fmla="*/ 1732232 w 2436185"/>
                <a:gd name="connsiteY16" fmla="*/ 5831 h 608575"/>
                <a:gd name="connsiteX17" fmla="*/ 1745567 w 2436185"/>
                <a:gd name="connsiteY17" fmla="*/ 32501 h 608575"/>
                <a:gd name="connsiteX18" fmla="*/ 1758345 w 2436185"/>
                <a:gd name="connsiteY18" fmla="*/ 41946 h 608575"/>
                <a:gd name="connsiteX19" fmla="*/ 1780014 w 2436185"/>
                <a:gd name="connsiteY19" fmla="*/ 25833 h 608575"/>
                <a:gd name="connsiteX20" fmla="*/ 1798904 w 2436185"/>
                <a:gd name="connsiteY20" fmla="*/ 7498 h 608575"/>
                <a:gd name="connsiteX21" fmla="*/ 2276171 w 2436185"/>
                <a:gd name="connsiteY21" fmla="*/ 8609 h 608575"/>
                <a:gd name="connsiteX22" fmla="*/ 2278394 w 2436185"/>
                <a:gd name="connsiteY22" fmla="*/ 9165 h 608575"/>
                <a:gd name="connsiteX23" fmla="*/ 2415628 w 2436185"/>
                <a:gd name="connsiteY23" fmla="*/ 109174 h 608575"/>
                <a:gd name="connsiteX24" fmla="*/ 2436185 w 2436185"/>
                <a:gd name="connsiteY24" fmla="*/ 175848 h 608575"/>
                <a:gd name="connsiteX25" fmla="*/ 2435961 w 2436185"/>
                <a:gd name="connsiteY25" fmla="*/ 608575 h 608575"/>
                <a:gd name="connsiteX26" fmla="*/ 2349369 w 2436185"/>
                <a:gd name="connsiteY26" fmla="*/ 608575 h 608575"/>
                <a:gd name="connsiteX27" fmla="*/ 2348400 w 2436185"/>
                <a:gd name="connsiteY27" fmla="*/ 229185 h 608575"/>
                <a:gd name="connsiteX28" fmla="*/ 2348400 w 2436185"/>
                <a:gd name="connsiteY28" fmla="*/ 165846 h 608575"/>
                <a:gd name="connsiteX29" fmla="*/ 2219498 w 2436185"/>
                <a:gd name="connsiteY29" fmla="*/ 86394 h 608575"/>
                <a:gd name="connsiteX30" fmla="*/ 2108934 w 2436185"/>
                <a:gd name="connsiteY30" fmla="*/ 84728 h 608575"/>
                <a:gd name="connsiteX31" fmla="*/ 2020592 w 2436185"/>
                <a:gd name="connsiteY31" fmla="*/ 88061 h 608575"/>
                <a:gd name="connsiteX32" fmla="*/ 1870578 w 2436185"/>
                <a:gd name="connsiteY32" fmla="*/ 89173 h 608575"/>
                <a:gd name="connsiteX33" fmla="*/ 1841130 w 2436185"/>
                <a:gd name="connsiteY33" fmla="*/ 84728 h 608575"/>
                <a:gd name="connsiteX34" fmla="*/ 1782791 w 2436185"/>
                <a:gd name="connsiteY34" fmla="*/ 85283 h 608575"/>
                <a:gd name="connsiteX35" fmla="*/ 1694450 w 2436185"/>
                <a:gd name="connsiteY35" fmla="*/ 85283 h 608575"/>
                <a:gd name="connsiteX36" fmla="*/ 1472764 w 2436185"/>
                <a:gd name="connsiteY36" fmla="*/ 86950 h 608575"/>
                <a:gd name="connsiteX37" fmla="*/ 1461652 w 2436185"/>
                <a:gd name="connsiteY37" fmla="*/ 80838 h 608575"/>
                <a:gd name="connsiteX38" fmla="*/ 1470541 w 2436185"/>
                <a:gd name="connsiteY38" fmla="*/ 76393 h 608575"/>
                <a:gd name="connsiteX39" fmla="*/ 1480542 w 2436185"/>
                <a:gd name="connsiteY39" fmla="*/ 66948 h 608575"/>
                <a:gd name="connsiteX40" fmla="*/ 1470541 w 2436185"/>
                <a:gd name="connsiteY40" fmla="*/ 37501 h 608575"/>
                <a:gd name="connsiteX41" fmla="*/ 1451095 w 2436185"/>
                <a:gd name="connsiteY41" fmla="*/ 46946 h 608575"/>
                <a:gd name="connsiteX42" fmla="*/ 1423870 w 2436185"/>
                <a:gd name="connsiteY42" fmla="*/ 66948 h 608575"/>
                <a:gd name="connsiteX43" fmla="*/ 1398312 w 2436185"/>
                <a:gd name="connsiteY43" fmla="*/ 79171 h 608575"/>
                <a:gd name="connsiteX44" fmla="*/ 1380532 w 2436185"/>
                <a:gd name="connsiteY44" fmla="*/ 86950 h 608575"/>
                <a:gd name="connsiteX45" fmla="*/ 741585 w 2436185"/>
                <a:gd name="connsiteY45" fmla="*/ 87505 h 608575"/>
                <a:gd name="connsiteX46" fmla="*/ 718249 w 2436185"/>
                <a:gd name="connsiteY46" fmla="*/ 73060 h 608575"/>
                <a:gd name="connsiteX47" fmla="*/ 663799 w 2436185"/>
                <a:gd name="connsiteY47" fmla="*/ 86950 h 608575"/>
                <a:gd name="connsiteX48" fmla="*/ 659355 w 2436185"/>
                <a:gd name="connsiteY48" fmla="*/ 76393 h 608575"/>
                <a:gd name="connsiteX49" fmla="*/ 631575 w 2436185"/>
                <a:gd name="connsiteY49" fmla="*/ 49169 h 608575"/>
                <a:gd name="connsiteX50" fmla="*/ 609906 w 2436185"/>
                <a:gd name="connsiteY50" fmla="*/ 75838 h 608575"/>
                <a:gd name="connsiteX51" fmla="*/ 573791 w 2436185"/>
                <a:gd name="connsiteY51" fmla="*/ 81949 h 608575"/>
                <a:gd name="connsiteX52" fmla="*/ 549344 w 2436185"/>
                <a:gd name="connsiteY52" fmla="*/ 89728 h 608575"/>
                <a:gd name="connsiteX53" fmla="*/ 548234 w 2436185"/>
                <a:gd name="connsiteY53" fmla="*/ 89173 h 608575"/>
                <a:gd name="connsiteX54" fmla="*/ 547122 w 2436185"/>
                <a:gd name="connsiteY54" fmla="*/ 90284 h 608575"/>
                <a:gd name="connsiteX55" fmla="*/ 404887 w 2436185"/>
                <a:gd name="connsiteY55" fmla="*/ 90284 h 608575"/>
                <a:gd name="connsiteX56" fmla="*/ 416554 w 2436185"/>
                <a:gd name="connsiteY56" fmla="*/ 68059 h 608575"/>
                <a:gd name="connsiteX57" fmla="*/ 394330 w 2436185"/>
                <a:gd name="connsiteY57" fmla="*/ 62503 h 608575"/>
                <a:gd name="connsiteX58" fmla="*/ 382662 w 2436185"/>
                <a:gd name="connsiteY58" fmla="*/ 84728 h 608575"/>
                <a:gd name="connsiteX59" fmla="*/ 341547 w 2436185"/>
                <a:gd name="connsiteY59" fmla="*/ 86394 h 608575"/>
                <a:gd name="connsiteX60" fmla="*/ 341547 w 2436185"/>
                <a:gd name="connsiteY60" fmla="*/ 54169 h 608575"/>
                <a:gd name="connsiteX61" fmla="*/ 338770 w 2436185"/>
                <a:gd name="connsiteY61" fmla="*/ 40279 h 608575"/>
                <a:gd name="connsiteX62" fmla="*/ 342659 w 2436185"/>
                <a:gd name="connsiteY62" fmla="*/ 39168 h 608575"/>
                <a:gd name="connsiteX63" fmla="*/ 340436 w 2436185"/>
                <a:gd name="connsiteY63" fmla="*/ 30834 h 608575"/>
                <a:gd name="connsiteX64" fmla="*/ 364328 w 2436185"/>
                <a:gd name="connsiteY64" fmla="*/ 6942 h 608575"/>
                <a:gd name="connsiteX65" fmla="*/ 676578 w 2436185"/>
                <a:gd name="connsiteY65" fmla="*/ 6942 h 608575"/>
                <a:gd name="connsiteX66" fmla="*/ 719360 w 2436185"/>
                <a:gd name="connsiteY66" fmla="*/ 19722 h 608575"/>
                <a:gd name="connsiteX67" fmla="*/ 736029 w 2436185"/>
                <a:gd name="connsiteY67" fmla="*/ 9721 h 608575"/>
                <a:gd name="connsiteX68" fmla="*/ 758808 w 2436185"/>
                <a:gd name="connsiteY68" fmla="*/ 3609 h 608575"/>
                <a:gd name="connsiteX69" fmla="*/ 1242742 w 2436185"/>
                <a:gd name="connsiteY69" fmla="*/ 4165 h 608575"/>
                <a:gd name="connsiteX70" fmla="*/ 1254757 w 2436185"/>
                <a:gd name="connsiteY70" fmla="*/ 2428 h 608575"/>
                <a:gd name="connsiteX71" fmla="*/ 25963 w 2436185"/>
                <a:gd name="connsiteY71" fmla="*/ 276 h 608575"/>
                <a:gd name="connsiteX72" fmla="*/ 52632 w 2436185"/>
                <a:gd name="connsiteY72" fmla="*/ 4165 h 608575"/>
                <a:gd name="connsiteX73" fmla="*/ 212091 w 2436185"/>
                <a:gd name="connsiteY73" fmla="*/ 3054 h 608575"/>
                <a:gd name="connsiteX74" fmla="*/ 225426 w 2436185"/>
                <a:gd name="connsiteY74" fmla="*/ 8610 h 608575"/>
                <a:gd name="connsiteX75" fmla="*/ 243761 w 2436185"/>
                <a:gd name="connsiteY75" fmla="*/ 6388 h 608575"/>
                <a:gd name="connsiteX76" fmla="*/ 252095 w 2436185"/>
                <a:gd name="connsiteY76" fmla="*/ 3054 h 608575"/>
                <a:gd name="connsiteX77" fmla="*/ 285987 w 2436185"/>
                <a:gd name="connsiteY77" fmla="*/ 9721 h 608575"/>
                <a:gd name="connsiteX78" fmla="*/ 312101 w 2436185"/>
                <a:gd name="connsiteY78" fmla="*/ 49170 h 608575"/>
                <a:gd name="connsiteX79" fmla="*/ 329880 w 2436185"/>
                <a:gd name="connsiteY79" fmla="*/ 86395 h 608575"/>
                <a:gd name="connsiteX80" fmla="*/ 295988 w 2436185"/>
                <a:gd name="connsiteY80" fmla="*/ 90285 h 608575"/>
                <a:gd name="connsiteX81" fmla="*/ 169309 w 2436185"/>
                <a:gd name="connsiteY81" fmla="*/ 88618 h 608575"/>
                <a:gd name="connsiteX82" fmla="*/ 97637 w 2436185"/>
                <a:gd name="connsiteY82" fmla="*/ 81950 h 608575"/>
                <a:gd name="connsiteX83" fmla="*/ 28186 w 2436185"/>
                <a:gd name="connsiteY83" fmla="*/ 90285 h 608575"/>
                <a:gd name="connsiteX84" fmla="*/ 961 w 2436185"/>
                <a:gd name="connsiteY84" fmla="*/ 63060 h 608575"/>
                <a:gd name="connsiteX85" fmla="*/ 4294 w 2436185"/>
                <a:gd name="connsiteY85" fmla="*/ 9721 h 608575"/>
                <a:gd name="connsiteX86" fmla="*/ 25963 w 2436185"/>
                <a:gd name="connsiteY86" fmla="*/ 276 h 60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436185" h="608575">
                  <a:moveTo>
                    <a:pt x="140973" y="48058"/>
                  </a:moveTo>
                  <a:cubicBezTo>
                    <a:pt x="137085" y="48058"/>
                    <a:pt x="128750" y="49725"/>
                    <a:pt x="134306" y="56948"/>
                  </a:cubicBezTo>
                  <a:cubicBezTo>
                    <a:pt x="138751" y="63060"/>
                    <a:pt x="130973" y="75283"/>
                    <a:pt x="143752" y="75839"/>
                  </a:cubicBezTo>
                  <a:cubicBezTo>
                    <a:pt x="150974" y="76394"/>
                    <a:pt x="153753" y="71950"/>
                    <a:pt x="151530" y="65282"/>
                  </a:cubicBezTo>
                  <a:cubicBezTo>
                    <a:pt x="148197" y="58615"/>
                    <a:pt x="153197" y="47503"/>
                    <a:pt x="140973" y="48058"/>
                  </a:cubicBezTo>
                  <a:close/>
                  <a:moveTo>
                    <a:pt x="879384" y="12716"/>
                  </a:moveTo>
                  <a:cubicBezTo>
                    <a:pt x="874826" y="13471"/>
                    <a:pt x="870208" y="15416"/>
                    <a:pt x="865485" y="19166"/>
                  </a:cubicBezTo>
                  <a:cubicBezTo>
                    <a:pt x="861040" y="24722"/>
                    <a:pt x="847149" y="24722"/>
                    <a:pt x="854373" y="36945"/>
                  </a:cubicBezTo>
                  <a:cubicBezTo>
                    <a:pt x="860485" y="46946"/>
                    <a:pt x="869374" y="54725"/>
                    <a:pt x="881042" y="49169"/>
                  </a:cubicBezTo>
                  <a:cubicBezTo>
                    <a:pt x="895488" y="42501"/>
                    <a:pt x="912711" y="38612"/>
                    <a:pt x="919935" y="21388"/>
                  </a:cubicBezTo>
                  <a:cubicBezTo>
                    <a:pt x="906183" y="18888"/>
                    <a:pt x="893057" y="10450"/>
                    <a:pt x="879384" y="12716"/>
                  </a:cubicBezTo>
                  <a:close/>
                  <a:moveTo>
                    <a:pt x="1254757" y="2428"/>
                  </a:moveTo>
                  <a:cubicBezTo>
                    <a:pt x="1258577" y="2775"/>
                    <a:pt x="1260800" y="5553"/>
                    <a:pt x="1257188" y="15277"/>
                  </a:cubicBezTo>
                  <a:cubicBezTo>
                    <a:pt x="1264411" y="30834"/>
                    <a:pt x="1271078" y="29722"/>
                    <a:pt x="1277745" y="14721"/>
                  </a:cubicBezTo>
                  <a:cubicBezTo>
                    <a:pt x="1272745" y="12498"/>
                    <a:pt x="1271078" y="8054"/>
                    <a:pt x="1274967" y="5275"/>
                  </a:cubicBezTo>
                  <a:cubicBezTo>
                    <a:pt x="1277745" y="3053"/>
                    <a:pt x="1282745" y="4165"/>
                    <a:pt x="1287190" y="4165"/>
                  </a:cubicBezTo>
                  <a:cubicBezTo>
                    <a:pt x="1435537" y="4720"/>
                    <a:pt x="1583885" y="5275"/>
                    <a:pt x="1732232" y="5831"/>
                  </a:cubicBezTo>
                  <a:cubicBezTo>
                    <a:pt x="1758901" y="5831"/>
                    <a:pt x="1758901" y="6942"/>
                    <a:pt x="1745567" y="32501"/>
                  </a:cubicBezTo>
                  <a:cubicBezTo>
                    <a:pt x="1743344" y="44724"/>
                    <a:pt x="1750011" y="45279"/>
                    <a:pt x="1758345" y="41946"/>
                  </a:cubicBezTo>
                  <a:cubicBezTo>
                    <a:pt x="1767235" y="38612"/>
                    <a:pt x="1775013" y="33611"/>
                    <a:pt x="1780014" y="25833"/>
                  </a:cubicBezTo>
                  <a:cubicBezTo>
                    <a:pt x="1782236" y="15277"/>
                    <a:pt x="1784459" y="7498"/>
                    <a:pt x="1798904" y="7498"/>
                  </a:cubicBezTo>
                  <a:cubicBezTo>
                    <a:pt x="1957808" y="8609"/>
                    <a:pt x="2117267" y="6387"/>
                    <a:pt x="2276171" y="8609"/>
                  </a:cubicBezTo>
                  <a:cubicBezTo>
                    <a:pt x="2279505" y="8609"/>
                    <a:pt x="2275060" y="8609"/>
                    <a:pt x="2278394" y="9165"/>
                  </a:cubicBezTo>
                  <a:cubicBezTo>
                    <a:pt x="2342288" y="18054"/>
                    <a:pt x="2383959" y="56947"/>
                    <a:pt x="2415628" y="109174"/>
                  </a:cubicBezTo>
                  <a:cubicBezTo>
                    <a:pt x="2429518" y="129176"/>
                    <a:pt x="2436185" y="151401"/>
                    <a:pt x="2436185" y="175848"/>
                  </a:cubicBezTo>
                  <a:lnTo>
                    <a:pt x="2435961" y="608575"/>
                  </a:lnTo>
                  <a:lnTo>
                    <a:pt x="2349369" y="608575"/>
                  </a:lnTo>
                  <a:lnTo>
                    <a:pt x="2348400" y="229185"/>
                  </a:lnTo>
                  <a:cubicBezTo>
                    <a:pt x="2348400" y="208072"/>
                    <a:pt x="2348400" y="186960"/>
                    <a:pt x="2348400" y="165846"/>
                  </a:cubicBezTo>
                  <a:cubicBezTo>
                    <a:pt x="2324509" y="108618"/>
                    <a:pt x="2280616" y="84728"/>
                    <a:pt x="2219498" y="86394"/>
                  </a:cubicBezTo>
                  <a:cubicBezTo>
                    <a:pt x="2182829" y="87505"/>
                    <a:pt x="2145603" y="89728"/>
                    <a:pt x="2108934" y="84728"/>
                  </a:cubicBezTo>
                  <a:cubicBezTo>
                    <a:pt x="2080042" y="93617"/>
                    <a:pt x="2050038" y="86950"/>
                    <a:pt x="2020592" y="88061"/>
                  </a:cubicBezTo>
                  <a:cubicBezTo>
                    <a:pt x="1970587" y="90284"/>
                    <a:pt x="1920583" y="88061"/>
                    <a:pt x="1870578" y="89173"/>
                  </a:cubicBezTo>
                  <a:cubicBezTo>
                    <a:pt x="1860022" y="89173"/>
                    <a:pt x="1850576" y="86950"/>
                    <a:pt x="1841130" y="84728"/>
                  </a:cubicBezTo>
                  <a:cubicBezTo>
                    <a:pt x="1821684" y="88617"/>
                    <a:pt x="1802238" y="88061"/>
                    <a:pt x="1782791" y="85283"/>
                  </a:cubicBezTo>
                  <a:cubicBezTo>
                    <a:pt x="1753345" y="86394"/>
                    <a:pt x="1723898" y="91950"/>
                    <a:pt x="1694450" y="85283"/>
                  </a:cubicBezTo>
                  <a:cubicBezTo>
                    <a:pt x="1620555" y="85838"/>
                    <a:pt x="1546659" y="86394"/>
                    <a:pt x="1472764" y="86950"/>
                  </a:cubicBezTo>
                  <a:cubicBezTo>
                    <a:pt x="1468318" y="86950"/>
                    <a:pt x="1461652" y="88061"/>
                    <a:pt x="1461652" y="80838"/>
                  </a:cubicBezTo>
                  <a:cubicBezTo>
                    <a:pt x="1461652" y="75838"/>
                    <a:pt x="1466096" y="74171"/>
                    <a:pt x="1470541" y="76393"/>
                  </a:cubicBezTo>
                  <a:cubicBezTo>
                    <a:pt x="1483319" y="83061"/>
                    <a:pt x="1479986" y="71949"/>
                    <a:pt x="1480542" y="66948"/>
                  </a:cubicBezTo>
                  <a:cubicBezTo>
                    <a:pt x="1482764" y="55281"/>
                    <a:pt x="1480542" y="43613"/>
                    <a:pt x="1470541" y="37501"/>
                  </a:cubicBezTo>
                  <a:cubicBezTo>
                    <a:pt x="1461652" y="31389"/>
                    <a:pt x="1460540" y="49725"/>
                    <a:pt x="1451095" y="46946"/>
                  </a:cubicBezTo>
                  <a:cubicBezTo>
                    <a:pt x="1455539" y="71393"/>
                    <a:pt x="1433871" y="61948"/>
                    <a:pt x="1423870" y="66948"/>
                  </a:cubicBezTo>
                  <a:cubicBezTo>
                    <a:pt x="1415536" y="70837"/>
                    <a:pt x="1403313" y="68059"/>
                    <a:pt x="1398312" y="79171"/>
                  </a:cubicBezTo>
                  <a:cubicBezTo>
                    <a:pt x="1396645" y="91394"/>
                    <a:pt x="1386645" y="86950"/>
                    <a:pt x="1380532" y="86950"/>
                  </a:cubicBezTo>
                  <a:cubicBezTo>
                    <a:pt x="1167735" y="86950"/>
                    <a:pt x="954382" y="86394"/>
                    <a:pt x="741585" y="87505"/>
                  </a:cubicBezTo>
                  <a:cubicBezTo>
                    <a:pt x="728250" y="87505"/>
                    <a:pt x="724916" y="79171"/>
                    <a:pt x="718249" y="73060"/>
                  </a:cubicBezTo>
                  <a:cubicBezTo>
                    <a:pt x="703248" y="89728"/>
                    <a:pt x="682690" y="86394"/>
                    <a:pt x="663799" y="86950"/>
                  </a:cubicBezTo>
                  <a:cubicBezTo>
                    <a:pt x="656022" y="87505"/>
                    <a:pt x="660466" y="80282"/>
                    <a:pt x="659355" y="76393"/>
                  </a:cubicBezTo>
                  <a:cubicBezTo>
                    <a:pt x="655465" y="62503"/>
                    <a:pt x="649909" y="49725"/>
                    <a:pt x="631575" y="49169"/>
                  </a:cubicBezTo>
                  <a:cubicBezTo>
                    <a:pt x="612128" y="48613"/>
                    <a:pt x="611572" y="61392"/>
                    <a:pt x="609906" y="75838"/>
                  </a:cubicBezTo>
                  <a:cubicBezTo>
                    <a:pt x="608238" y="89728"/>
                    <a:pt x="585459" y="94173"/>
                    <a:pt x="573791" y="81949"/>
                  </a:cubicBezTo>
                  <a:cubicBezTo>
                    <a:pt x="558234" y="65281"/>
                    <a:pt x="551011" y="68059"/>
                    <a:pt x="549344" y="89728"/>
                  </a:cubicBezTo>
                  <a:lnTo>
                    <a:pt x="548234" y="89173"/>
                  </a:lnTo>
                  <a:cubicBezTo>
                    <a:pt x="548234" y="89173"/>
                    <a:pt x="547122" y="90284"/>
                    <a:pt x="547122" y="90284"/>
                  </a:cubicBezTo>
                  <a:cubicBezTo>
                    <a:pt x="500451" y="90284"/>
                    <a:pt x="453780" y="90284"/>
                    <a:pt x="404887" y="90284"/>
                  </a:cubicBezTo>
                  <a:cubicBezTo>
                    <a:pt x="408776" y="79727"/>
                    <a:pt x="424333" y="78061"/>
                    <a:pt x="416554" y="68059"/>
                  </a:cubicBezTo>
                  <a:cubicBezTo>
                    <a:pt x="412110" y="61948"/>
                    <a:pt x="399886" y="61948"/>
                    <a:pt x="394330" y="62503"/>
                  </a:cubicBezTo>
                  <a:cubicBezTo>
                    <a:pt x="386552" y="63059"/>
                    <a:pt x="378773" y="73060"/>
                    <a:pt x="382662" y="84728"/>
                  </a:cubicBezTo>
                  <a:cubicBezTo>
                    <a:pt x="369327" y="94729"/>
                    <a:pt x="352659" y="93617"/>
                    <a:pt x="341547" y="86394"/>
                  </a:cubicBezTo>
                  <a:cubicBezTo>
                    <a:pt x="333214" y="80838"/>
                    <a:pt x="337103" y="65281"/>
                    <a:pt x="341547" y="54169"/>
                  </a:cubicBezTo>
                  <a:cubicBezTo>
                    <a:pt x="343770" y="49169"/>
                    <a:pt x="340436" y="44724"/>
                    <a:pt x="338770" y="40279"/>
                  </a:cubicBezTo>
                  <a:cubicBezTo>
                    <a:pt x="339881" y="39723"/>
                    <a:pt x="341547" y="39723"/>
                    <a:pt x="342659" y="39168"/>
                  </a:cubicBezTo>
                  <a:cubicBezTo>
                    <a:pt x="341547" y="36390"/>
                    <a:pt x="340992" y="33611"/>
                    <a:pt x="340436" y="30834"/>
                  </a:cubicBezTo>
                  <a:cubicBezTo>
                    <a:pt x="337103" y="11943"/>
                    <a:pt x="345437" y="6942"/>
                    <a:pt x="364328" y="6942"/>
                  </a:cubicBezTo>
                  <a:cubicBezTo>
                    <a:pt x="468226" y="8054"/>
                    <a:pt x="572680" y="8054"/>
                    <a:pt x="676578" y="6942"/>
                  </a:cubicBezTo>
                  <a:cubicBezTo>
                    <a:pt x="693247" y="6942"/>
                    <a:pt x="704914" y="16388"/>
                    <a:pt x="719360" y="19722"/>
                  </a:cubicBezTo>
                  <a:cubicBezTo>
                    <a:pt x="727694" y="21388"/>
                    <a:pt x="727694" y="8609"/>
                    <a:pt x="736029" y="9721"/>
                  </a:cubicBezTo>
                  <a:cubicBezTo>
                    <a:pt x="741585" y="275"/>
                    <a:pt x="751030" y="3609"/>
                    <a:pt x="758808" y="3609"/>
                  </a:cubicBezTo>
                  <a:cubicBezTo>
                    <a:pt x="920490" y="3609"/>
                    <a:pt x="1081616" y="3609"/>
                    <a:pt x="1242742" y="4165"/>
                  </a:cubicBezTo>
                  <a:cubicBezTo>
                    <a:pt x="1245520" y="4165"/>
                    <a:pt x="1250937" y="2081"/>
                    <a:pt x="1254757" y="2428"/>
                  </a:cubicBezTo>
                  <a:close/>
                  <a:moveTo>
                    <a:pt x="25963" y="276"/>
                  </a:moveTo>
                  <a:cubicBezTo>
                    <a:pt x="34853" y="1248"/>
                    <a:pt x="44576" y="4443"/>
                    <a:pt x="52632" y="4165"/>
                  </a:cubicBezTo>
                  <a:cubicBezTo>
                    <a:pt x="105415" y="1943"/>
                    <a:pt x="158753" y="3054"/>
                    <a:pt x="212091" y="3054"/>
                  </a:cubicBezTo>
                  <a:cubicBezTo>
                    <a:pt x="217092" y="3054"/>
                    <a:pt x="221536" y="4165"/>
                    <a:pt x="225426" y="8610"/>
                  </a:cubicBezTo>
                  <a:cubicBezTo>
                    <a:pt x="232093" y="15833"/>
                    <a:pt x="239317" y="26390"/>
                    <a:pt x="243761" y="6388"/>
                  </a:cubicBezTo>
                  <a:cubicBezTo>
                    <a:pt x="243761" y="4720"/>
                    <a:pt x="249872" y="1943"/>
                    <a:pt x="252095" y="3054"/>
                  </a:cubicBezTo>
                  <a:cubicBezTo>
                    <a:pt x="262652" y="8610"/>
                    <a:pt x="274319" y="8055"/>
                    <a:pt x="285987" y="9721"/>
                  </a:cubicBezTo>
                  <a:cubicBezTo>
                    <a:pt x="306545" y="13055"/>
                    <a:pt x="304322" y="35279"/>
                    <a:pt x="312101" y="49170"/>
                  </a:cubicBezTo>
                  <a:cubicBezTo>
                    <a:pt x="296544" y="71394"/>
                    <a:pt x="325435" y="71950"/>
                    <a:pt x="329880" y="86395"/>
                  </a:cubicBezTo>
                  <a:cubicBezTo>
                    <a:pt x="318212" y="88062"/>
                    <a:pt x="307100" y="89174"/>
                    <a:pt x="295988" y="90285"/>
                  </a:cubicBezTo>
                  <a:cubicBezTo>
                    <a:pt x="253762" y="89729"/>
                    <a:pt x="211536" y="89729"/>
                    <a:pt x="169309" y="88618"/>
                  </a:cubicBezTo>
                  <a:cubicBezTo>
                    <a:pt x="145418" y="88062"/>
                    <a:pt x="121528" y="90841"/>
                    <a:pt x="97637" y="81950"/>
                  </a:cubicBezTo>
                  <a:cubicBezTo>
                    <a:pt x="74856" y="74172"/>
                    <a:pt x="52632" y="92507"/>
                    <a:pt x="28186" y="90285"/>
                  </a:cubicBezTo>
                  <a:cubicBezTo>
                    <a:pt x="7628" y="88618"/>
                    <a:pt x="-1262" y="84173"/>
                    <a:pt x="961" y="63060"/>
                  </a:cubicBezTo>
                  <a:cubicBezTo>
                    <a:pt x="2628" y="45280"/>
                    <a:pt x="-4040" y="24723"/>
                    <a:pt x="4294" y="9721"/>
                  </a:cubicBezTo>
                  <a:cubicBezTo>
                    <a:pt x="9017" y="554"/>
                    <a:pt x="17074" y="-697"/>
                    <a:pt x="25963" y="276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7CA4202D-208E-468A-8D3A-23EF25675240}"/>
                </a:ext>
              </a:extLst>
            </p:cNvPr>
            <p:cNvSpPr/>
            <p:nvPr/>
          </p:nvSpPr>
          <p:spPr>
            <a:xfrm>
              <a:off x="6216244" y="6453479"/>
              <a:ext cx="3121205" cy="87950"/>
            </a:xfrm>
            <a:custGeom>
              <a:avLst/>
              <a:gdLst>
                <a:gd name="connsiteX0" fmla="*/ 934228 w 1546130"/>
                <a:gd name="connsiteY0" fmla="*/ 26457 h 43567"/>
                <a:gd name="connsiteX1" fmla="*/ 929274 w 1546130"/>
                <a:gd name="connsiteY1" fmla="*/ 30586 h 43567"/>
                <a:gd name="connsiteX2" fmla="*/ 939182 w 1546130"/>
                <a:gd name="connsiteY2" fmla="*/ 40494 h 43567"/>
                <a:gd name="connsiteX3" fmla="*/ 941935 w 1546130"/>
                <a:gd name="connsiteY3" fmla="*/ 35540 h 43567"/>
                <a:gd name="connsiteX4" fmla="*/ 934228 w 1546130"/>
                <a:gd name="connsiteY4" fmla="*/ 26457 h 43567"/>
                <a:gd name="connsiteX5" fmla="*/ 1074600 w 1546130"/>
                <a:gd name="connsiteY5" fmla="*/ 5885 h 43567"/>
                <a:gd name="connsiteX6" fmla="*/ 1074325 w 1546130"/>
                <a:gd name="connsiteY6" fmla="*/ 6160 h 43567"/>
                <a:gd name="connsiteX7" fmla="*/ 1074325 w 1546130"/>
                <a:gd name="connsiteY7" fmla="*/ 6435 h 43567"/>
                <a:gd name="connsiteX8" fmla="*/ 1074049 w 1546130"/>
                <a:gd name="connsiteY8" fmla="*/ 6435 h 43567"/>
                <a:gd name="connsiteX9" fmla="*/ 1074049 w 1546130"/>
                <a:gd name="connsiteY9" fmla="*/ 6160 h 43567"/>
                <a:gd name="connsiteX10" fmla="*/ 1073774 w 1546130"/>
                <a:gd name="connsiteY10" fmla="*/ 6435 h 43567"/>
                <a:gd name="connsiteX11" fmla="*/ 1075976 w 1546130"/>
                <a:gd name="connsiteY11" fmla="*/ 29004 h 43567"/>
                <a:gd name="connsiteX12" fmla="*/ 1078728 w 1546130"/>
                <a:gd name="connsiteY12" fmla="*/ 30655 h 43567"/>
                <a:gd name="connsiteX13" fmla="*/ 1094416 w 1546130"/>
                <a:gd name="connsiteY13" fmla="*/ 24876 h 43567"/>
                <a:gd name="connsiteX14" fmla="*/ 1084783 w 1546130"/>
                <a:gd name="connsiteY14" fmla="*/ 9738 h 43567"/>
                <a:gd name="connsiteX15" fmla="*/ 1075150 w 1546130"/>
                <a:gd name="connsiteY15" fmla="*/ 6435 h 43567"/>
                <a:gd name="connsiteX16" fmla="*/ 1074600 w 1546130"/>
                <a:gd name="connsiteY16" fmla="*/ 5885 h 43567"/>
                <a:gd name="connsiteX17" fmla="*/ 22951 w 1546130"/>
                <a:gd name="connsiteY17" fmla="*/ 5815 h 43567"/>
                <a:gd name="connsiteX18" fmla="*/ 22676 w 1546130"/>
                <a:gd name="connsiteY18" fmla="*/ 6090 h 43567"/>
                <a:gd name="connsiteX19" fmla="*/ 22676 w 1546130"/>
                <a:gd name="connsiteY19" fmla="*/ 6365 h 43567"/>
                <a:gd name="connsiteX20" fmla="*/ 22400 w 1546130"/>
                <a:gd name="connsiteY20" fmla="*/ 6365 h 43567"/>
                <a:gd name="connsiteX21" fmla="*/ 22400 w 1546130"/>
                <a:gd name="connsiteY21" fmla="*/ 6090 h 43567"/>
                <a:gd name="connsiteX22" fmla="*/ 22125 w 1546130"/>
                <a:gd name="connsiteY22" fmla="*/ 6365 h 43567"/>
                <a:gd name="connsiteX23" fmla="*/ 24327 w 1546130"/>
                <a:gd name="connsiteY23" fmla="*/ 28934 h 43567"/>
                <a:gd name="connsiteX24" fmla="*/ 27079 w 1546130"/>
                <a:gd name="connsiteY24" fmla="*/ 30585 h 43567"/>
                <a:gd name="connsiteX25" fmla="*/ 42767 w 1546130"/>
                <a:gd name="connsiteY25" fmla="*/ 24806 h 43567"/>
                <a:gd name="connsiteX26" fmla="*/ 33134 w 1546130"/>
                <a:gd name="connsiteY26" fmla="*/ 9668 h 43567"/>
                <a:gd name="connsiteX27" fmla="*/ 23501 w 1546130"/>
                <a:gd name="connsiteY27" fmla="*/ 6365 h 43567"/>
                <a:gd name="connsiteX28" fmla="*/ 22951 w 1546130"/>
                <a:gd name="connsiteY28" fmla="*/ 5815 h 43567"/>
                <a:gd name="connsiteX29" fmla="*/ 1440377 w 1546130"/>
                <a:gd name="connsiteY29" fmla="*/ 380 h 43567"/>
                <a:gd name="connsiteX30" fmla="*/ 1453313 w 1546130"/>
                <a:gd name="connsiteY30" fmla="*/ 11940 h 43567"/>
                <a:gd name="connsiteX31" fmla="*/ 1470652 w 1546130"/>
                <a:gd name="connsiteY31" fmla="*/ 656 h 43567"/>
                <a:gd name="connsiteX32" fmla="*/ 1546130 w 1546130"/>
                <a:gd name="connsiteY32" fmla="*/ 656 h 43567"/>
                <a:gd name="connsiteX33" fmla="*/ 1546130 w 1546130"/>
                <a:gd name="connsiteY33" fmla="*/ 42765 h 43567"/>
                <a:gd name="connsiteX34" fmla="*/ 1509184 w 1546130"/>
                <a:gd name="connsiteY34" fmla="*/ 42765 h 43567"/>
                <a:gd name="connsiteX35" fmla="*/ 1500101 w 1546130"/>
                <a:gd name="connsiteY35" fmla="*/ 38637 h 43567"/>
                <a:gd name="connsiteX36" fmla="*/ 1492670 w 1546130"/>
                <a:gd name="connsiteY36" fmla="*/ 38086 h 43567"/>
                <a:gd name="connsiteX37" fmla="*/ 1473129 w 1546130"/>
                <a:gd name="connsiteY37" fmla="*/ 42765 h 43567"/>
                <a:gd name="connsiteX38" fmla="*/ 1288176 w 1546130"/>
                <a:gd name="connsiteY38" fmla="*/ 43040 h 43567"/>
                <a:gd name="connsiteX39" fmla="*/ 1274965 w 1546130"/>
                <a:gd name="connsiteY39" fmla="*/ 34233 h 43567"/>
                <a:gd name="connsiteX40" fmla="*/ 1285699 w 1546130"/>
                <a:gd name="connsiteY40" fmla="*/ 24876 h 43567"/>
                <a:gd name="connsiteX41" fmla="*/ 1304690 w 1546130"/>
                <a:gd name="connsiteY41" fmla="*/ 10013 h 43567"/>
                <a:gd name="connsiteX42" fmla="*/ 1322580 w 1546130"/>
                <a:gd name="connsiteY42" fmla="*/ 15793 h 43567"/>
                <a:gd name="connsiteX43" fmla="*/ 1328910 w 1546130"/>
                <a:gd name="connsiteY43" fmla="*/ 13316 h 43567"/>
                <a:gd name="connsiteX44" fmla="*/ 1353680 w 1546130"/>
                <a:gd name="connsiteY44" fmla="*/ 656 h 43567"/>
                <a:gd name="connsiteX45" fmla="*/ 1440377 w 1546130"/>
                <a:gd name="connsiteY45" fmla="*/ 380 h 43567"/>
                <a:gd name="connsiteX46" fmla="*/ 388728 w 1546130"/>
                <a:gd name="connsiteY46" fmla="*/ 310 h 43567"/>
                <a:gd name="connsiteX47" fmla="*/ 401664 w 1546130"/>
                <a:gd name="connsiteY47" fmla="*/ 11870 h 43567"/>
                <a:gd name="connsiteX48" fmla="*/ 419003 w 1546130"/>
                <a:gd name="connsiteY48" fmla="*/ 586 h 43567"/>
                <a:gd name="connsiteX49" fmla="*/ 566250 w 1546130"/>
                <a:gd name="connsiteY49" fmla="*/ 586 h 43567"/>
                <a:gd name="connsiteX50" fmla="*/ 580011 w 1546130"/>
                <a:gd name="connsiteY50" fmla="*/ 8017 h 43567"/>
                <a:gd name="connsiteX51" fmla="*/ 553314 w 1546130"/>
                <a:gd name="connsiteY51" fmla="*/ 20677 h 43567"/>
                <a:gd name="connsiteX52" fmla="*/ 560194 w 1546130"/>
                <a:gd name="connsiteY52" fmla="*/ 24531 h 43567"/>
                <a:gd name="connsiteX53" fmla="*/ 583864 w 1546130"/>
                <a:gd name="connsiteY53" fmla="*/ 28934 h 43567"/>
                <a:gd name="connsiteX54" fmla="*/ 588818 w 1546130"/>
                <a:gd name="connsiteY54" fmla="*/ 38842 h 43567"/>
                <a:gd name="connsiteX55" fmla="*/ 580836 w 1546130"/>
                <a:gd name="connsiteY55" fmla="*/ 42695 h 43567"/>
                <a:gd name="connsiteX56" fmla="*/ 457535 w 1546130"/>
                <a:gd name="connsiteY56" fmla="*/ 42695 h 43567"/>
                <a:gd name="connsiteX57" fmla="*/ 448452 w 1546130"/>
                <a:gd name="connsiteY57" fmla="*/ 38567 h 43567"/>
                <a:gd name="connsiteX58" fmla="*/ 441021 w 1546130"/>
                <a:gd name="connsiteY58" fmla="*/ 38016 h 43567"/>
                <a:gd name="connsiteX59" fmla="*/ 421480 w 1546130"/>
                <a:gd name="connsiteY59" fmla="*/ 42695 h 43567"/>
                <a:gd name="connsiteX60" fmla="*/ 236527 w 1546130"/>
                <a:gd name="connsiteY60" fmla="*/ 42970 h 43567"/>
                <a:gd name="connsiteX61" fmla="*/ 223316 w 1546130"/>
                <a:gd name="connsiteY61" fmla="*/ 34163 h 43567"/>
                <a:gd name="connsiteX62" fmla="*/ 234050 w 1546130"/>
                <a:gd name="connsiteY62" fmla="*/ 24806 h 43567"/>
                <a:gd name="connsiteX63" fmla="*/ 253041 w 1546130"/>
                <a:gd name="connsiteY63" fmla="*/ 9943 h 43567"/>
                <a:gd name="connsiteX64" fmla="*/ 270931 w 1546130"/>
                <a:gd name="connsiteY64" fmla="*/ 15723 h 43567"/>
                <a:gd name="connsiteX65" fmla="*/ 277261 w 1546130"/>
                <a:gd name="connsiteY65" fmla="*/ 13246 h 43567"/>
                <a:gd name="connsiteX66" fmla="*/ 302031 w 1546130"/>
                <a:gd name="connsiteY66" fmla="*/ 586 h 43567"/>
                <a:gd name="connsiteX67" fmla="*/ 388728 w 1546130"/>
                <a:gd name="connsiteY67" fmla="*/ 310 h 43567"/>
                <a:gd name="connsiteX68" fmla="*/ 1066309 w 1546130"/>
                <a:gd name="connsiteY68" fmla="*/ 71 h 43567"/>
                <a:gd name="connsiteX69" fmla="*/ 1080930 w 1546130"/>
                <a:gd name="connsiteY69" fmla="*/ 381 h 43567"/>
                <a:gd name="connsiteX70" fmla="*/ 1116710 w 1546130"/>
                <a:gd name="connsiteY70" fmla="*/ 381 h 43567"/>
                <a:gd name="connsiteX71" fmla="*/ 1196250 w 1546130"/>
                <a:gd name="connsiteY71" fmla="*/ 655 h 43567"/>
                <a:gd name="connsiteX72" fmla="*/ 1208911 w 1546130"/>
                <a:gd name="connsiteY72" fmla="*/ 8637 h 43567"/>
                <a:gd name="connsiteX73" fmla="*/ 1232580 w 1546130"/>
                <a:gd name="connsiteY73" fmla="*/ 2582 h 43567"/>
                <a:gd name="connsiteX74" fmla="*/ 1245516 w 1546130"/>
                <a:gd name="connsiteY74" fmla="*/ 931 h 43567"/>
                <a:gd name="connsiteX75" fmla="*/ 1265332 w 1546130"/>
                <a:gd name="connsiteY75" fmla="*/ 931 h 43567"/>
                <a:gd name="connsiteX76" fmla="*/ 1238360 w 1546130"/>
                <a:gd name="connsiteY76" fmla="*/ 33683 h 43567"/>
                <a:gd name="connsiteX77" fmla="*/ 1219369 w 1546130"/>
                <a:gd name="connsiteY77" fmla="*/ 43316 h 43567"/>
                <a:gd name="connsiteX78" fmla="*/ 1205333 w 1546130"/>
                <a:gd name="connsiteY78" fmla="*/ 25976 h 43567"/>
                <a:gd name="connsiteX79" fmla="*/ 1200104 w 1546130"/>
                <a:gd name="connsiteY79" fmla="*/ 29279 h 43567"/>
                <a:gd name="connsiteX80" fmla="*/ 1173682 w 1546130"/>
                <a:gd name="connsiteY80" fmla="*/ 43316 h 43567"/>
                <a:gd name="connsiteX81" fmla="*/ 1068584 w 1546130"/>
                <a:gd name="connsiteY81" fmla="*/ 43066 h 43567"/>
                <a:gd name="connsiteX82" fmla="*/ 1068814 w 1546130"/>
                <a:gd name="connsiteY82" fmla="*/ 43246 h 43567"/>
                <a:gd name="connsiteX83" fmla="*/ 1041842 w 1546130"/>
                <a:gd name="connsiteY83" fmla="*/ 43246 h 43567"/>
                <a:gd name="connsiteX84" fmla="*/ 837072 w 1546130"/>
                <a:gd name="connsiteY84" fmla="*/ 43246 h 43567"/>
                <a:gd name="connsiteX85" fmla="*/ 823862 w 1546130"/>
                <a:gd name="connsiteY85" fmla="*/ 41044 h 43567"/>
                <a:gd name="connsiteX86" fmla="*/ 815054 w 1546130"/>
                <a:gd name="connsiteY86" fmla="*/ 42145 h 43567"/>
                <a:gd name="connsiteX87" fmla="*/ 808449 w 1546130"/>
                <a:gd name="connsiteY87" fmla="*/ 43246 h 43567"/>
                <a:gd name="connsiteX88" fmla="*/ 768541 w 1546130"/>
                <a:gd name="connsiteY88" fmla="*/ 42420 h 43567"/>
                <a:gd name="connsiteX89" fmla="*/ 719000 w 1546130"/>
                <a:gd name="connsiteY89" fmla="*/ 42971 h 43567"/>
                <a:gd name="connsiteX90" fmla="*/ 615790 w 1546130"/>
                <a:gd name="connsiteY90" fmla="*/ 42696 h 43567"/>
                <a:gd name="connsiteX91" fmla="*/ 609185 w 1546130"/>
                <a:gd name="connsiteY91" fmla="*/ 33888 h 43567"/>
                <a:gd name="connsiteX92" fmla="*/ 595699 w 1546130"/>
                <a:gd name="connsiteY92" fmla="*/ 11045 h 43567"/>
                <a:gd name="connsiteX93" fmla="*/ 581662 w 1546130"/>
                <a:gd name="connsiteY93" fmla="*/ 586 h 43567"/>
                <a:gd name="connsiteX94" fmla="*/ 604781 w 1546130"/>
                <a:gd name="connsiteY94" fmla="*/ 586 h 43567"/>
                <a:gd name="connsiteX95" fmla="*/ 958448 w 1546130"/>
                <a:gd name="connsiteY95" fmla="*/ 586 h 43567"/>
                <a:gd name="connsiteX96" fmla="*/ 1003310 w 1546130"/>
                <a:gd name="connsiteY96" fmla="*/ 311 h 43567"/>
                <a:gd name="connsiteX97" fmla="*/ 1025603 w 1546130"/>
                <a:gd name="connsiteY97" fmla="*/ 6090 h 43567"/>
                <a:gd name="connsiteX98" fmla="*/ 1029181 w 1546130"/>
                <a:gd name="connsiteY98" fmla="*/ 3889 h 43567"/>
                <a:gd name="connsiteX99" fmla="*/ 1024778 w 1546130"/>
                <a:gd name="connsiteY99" fmla="*/ 1136 h 43567"/>
                <a:gd name="connsiteX100" fmla="*/ 1033310 w 1546130"/>
                <a:gd name="connsiteY100" fmla="*/ 1962 h 43567"/>
                <a:gd name="connsiteX101" fmla="*/ 1044044 w 1546130"/>
                <a:gd name="connsiteY101" fmla="*/ 3614 h 43567"/>
                <a:gd name="connsiteX102" fmla="*/ 1038814 w 1546130"/>
                <a:gd name="connsiteY102" fmla="*/ 12145 h 43567"/>
                <a:gd name="connsiteX103" fmla="*/ 1037163 w 1546130"/>
                <a:gd name="connsiteY103" fmla="*/ 16274 h 43567"/>
                <a:gd name="connsiteX104" fmla="*/ 1046383 w 1546130"/>
                <a:gd name="connsiteY104" fmla="*/ 25081 h 43567"/>
                <a:gd name="connsiteX105" fmla="*/ 1052857 w 1546130"/>
                <a:gd name="connsiteY105" fmla="*/ 30600 h 43567"/>
                <a:gd name="connsiteX106" fmla="*/ 1052857 w 1546130"/>
                <a:gd name="connsiteY106" fmla="*/ 30105 h 43567"/>
                <a:gd name="connsiteX107" fmla="*/ 1054783 w 1546130"/>
                <a:gd name="connsiteY107" fmla="*/ 2857 h 43567"/>
                <a:gd name="connsiteX108" fmla="*/ 1066309 w 1546130"/>
                <a:gd name="connsiteY108" fmla="*/ 71 h 43567"/>
                <a:gd name="connsiteX109" fmla="*/ 14660 w 1546130"/>
                <a:gd name="connsiteY109" fmla="*/ 1 h 43567"/>
                <a:gd name="connsiteX110" fmla="*/ 29281 w 1546130"/>
                <a:gd name="connsiteY110" fmla="*/ 311 h 43567"/>
                <a:gd name="connsiteX111" fmla="*/ 65061 w 1546130"/>
                <a:gd name="connsiteY111" fmla="*/ 311 h 43567"/>
                <a:gd name="connsiteX112" fmla="*/ 144601 w 1546130"/>
                <a:gd name="connsiteY112" fmla="*/ 585 h 43567"/>
                <a:gd name="connsiteX113" fmla="*/ 157262 w 1546130"/>
                <a:gd name="connsiteY113" fmla="*/ 8567 h 43567"/>
                <a:gd name="connsiteX114" fmla="*/ 180931 w 1546130"/>
                <a:gd name="connsiteY114" fmla="*/ 2512 h 43567"/>
                <a:gd name="connsiteX115" fmla="*/ 193867 w 1546130"/>
                <a:gd name="connsiteY115" fmla="*/ 861 h 43567"/>
                <a:gd name="connsiteX116" fmla="*/ 213683 w 1546130"/>
                <a:gd name="connsiteY116" fmla="*/ 861 h 43567"/>
                <a:gd name="connsiteX117" fmla="*/ 186711 w 1546130"/>
                <a:gd name="connsiteY117" fmla="*/ 33613 h 43567"/>
                <a:gd name="connsiteX118" fmla="*/ 167720 w 1546130"/>
                <a:gd name="connsiteY118" fmla="*/ 43246 h 43567"/>
                <a:gd name="connsiteX119" fmla="*/ 153684 w 1546130"/>
                <a:gd name="connsiteY119" fmla="*/ 25906 h 43567"/>
                <a:gd name="connsiteX120" fmla="*/ 148455 w 1546130"/>
                <a:gd name="connsiteY120" fmla="*/ 29209 h 43567"/>
                <a:gd name="connsiteX121" fmla="*/ 122033 w 1546130"/>
                <a:gd name="connsiteY121" fmla="*/ 43246 h 43567"/>
                <a:gd name="connsiteX122" fmla="*/ 6437 w 1546130"/>
                <a:gd name="connsiteY122" fmla="*/ 42971 h 43567"/>
                <a:gd name="connsiteX123" fmla="*/ 1208 w 1546130"/>
                <a:gd name="connsiteY123" fmla="*/ 39943 h 43567"/>
                <a:gd name="connsiteX124" fmla="*/ 1208 w 1546130"/>
                <a:gd name="connsiteY124" fmla="*/ 30035 h 43567"/>
                <a:gd name="connsiteX125" fmla="*/ 3134 w 1546130"/>
                <a:gd name="connsiteY125" fmla="*/ 2787 h 43567"/>
                <a:gd name="connsiteX126" fmla="*/ 14660 w 1546130"/>
                <a:gd name="connsiteY126" fmla="*/ 1 h 4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46130" h="43567">
                  <a:moveTo>
                    <a:pt x="934228" y="26457"/>
                  </a:moveTo>
                  <a:cubicBezTo>
                    <a:pt x="932026" y="26182"/>
                    <a:pt x="928448" y="28108"/>
                    <a:pt x="929274" y="30586"/>
                  </a:cubicBezTo>
                  <a:cubicBezTo>
                    <a:pt x="930650" y="35265"/>
                    <a:pt x="934778" y="38567"/>
                    <a:pt x="939182" y="40494"/>
                  </a:cubicBezTo>
                  <a:cubicBezTo>
                    <a:pt x="940834" y="41319"/>
                    <a:pt x="941659" y="38017"/>
                    <a:pt x="941935" y="35540"/>
                  </a:cubicBezTo>
                  <a:cubicBezTo>
                    <a:pt x="941109" y="31411"/>
                    <a:pt x="939733" y="27008"/>
                    <a:pt x="934228" y="26457"/>
                  </a:cubicBezTo>
                  <a:close/>
                  <a:moveTo>
                    <a:pt x="1074600" y="5885"/>
                  </a:moveTo>
                  <a:cubicBezTo>
                    <a:pt x="1074600" y="5885"/>
                    <a:pt x="1074325" y="6160"/>
                    <a:pt x="1074325" y="6160"/>
                  </a:cubicBezTo>
                  <a:cubicBezTo>
                    <a:pt x="1074325" y="6160"/>
                    <a:pt x="1074325" y="6435"/>
                    <a:pt x="1074325" y="6435"/>
                  </a:cubicBezTo>
                  <a:cubicBezTo>
                    <a:pt x="1074049" y="6435"/>
                    <a:pt x="1074049" y="6435"/>
                    <a:pt x="1074049" y="6435"/>
                  </a:cubicBezTo>
                  <a:cubicBezTo>
                    <a:pt x="1074049" y="6160"/>
                    <a:pt x="1074049" y="6160"/>
                    <a:pt x="1074049" y="6160"/>
                  </a:cubicBezTo>
                  <a:cubicBezTo>
                    <a:pt x="1074049" y="6160"/>
                    <a:pt x="1073774" y="6435"/>
                    <a:pt x="1073774" y="6435"/>
                  </a:cubicBezTo>
                  <a:cubicBezTo>
                    <a:pt x="1070196" y="14142"/>
                    <a:pt x="1077903" y="21298"/>
                    <a:pt x="1075976" y="29004"/>
                  </a:cubicBezTo>
                  <a:cubicBezTo>
                    <a:pt x="1075976" y="29554"/>
                    <a:pt x="1078453" y="30931"/>
                    <a:pt x="1078728" y="30655"/>
                  </a:cubicBezTo>
                  <a:cubicBezTo>
                    <a:pt x="1083407" y="26252"/>
                    <a:pt x="1093591" y="30931"/>
                    <a:pt x="1094416" y="24876"/>
                  </a:cubicBezTo>
                  <a:cubicBezTo>
                    <a:pt x="1094967" y="21573"/>
                    <a:pt x="1091939" y="12215"/>
                    <a:pt x="1084783" y="9738"/>
                  </a:cubicBezTo>
                  <a:cubicBezTo>
                    <a:pt x="1081481" y="8913"/>
                    <a:pt x="1078728" y="6160"/>
                    <a:pt x="1075150" y="6435"/>
                  </a:cubicBezTo>
                  <a:cubicBezTo>
                    <a:pt x="1074875" y="6160"/>
                    <a:pt x="1074600" y="6160"/>
                    <a:pt x="1074600" y="5885"/>
                  </a:cubicBezTo>
                  <a:close/>
                  <a:moveTo>
                    <a:pt x="22951" y="5815"/>
                  </a:moveTo>
                  <a:cubicBezTo>
                    <a:pt x="22951" y="5815"/>
                    <a:pt x="22676" y="6090"/>
                    <a:pt x="22676" y="6090"/>
                  </a:cubicBezTo>
                  <a:cubicBezTo>
                    <a:pt x="22676" y="6090"/>
                    <a:pt x="22676" y="6365"/>
                    <a:pt x="22676" y="6365"/>
                  </a:cubicBezTo>
                  <a:cubicBezTo>
                    <a:pt x="22400" y="6365"/>
                    <a:pt x="22400" y="6365"/>
                    <a:pt x="22400" y="6365"/>
                  </a:cubicBezTo>
                  <a:cubicBezTo>
                    <a:pt x="22400" y="6090"/>
                    <a:pt x="22400" y="6090"/>
                    <a:pt x="22400" y="6090"/>
                  </a:cubicBezTo>
                  <a:cubicBezTo>
                    <a:pt x="22400" y="6090"/>
                    <a:pt x="22125" y="6365"/>
                    <a:pt x="22125" y="6365"/>
                  </a:cubicBezTo>
                  <a:cubicBezTo>
                    <a:pt x="18547" y="14072"/>
                    <a:pt x="26254" y="21228"/>
                    <a:pt x="24327" y="28934"/>
                  </a:cubicBezTo>
                  <a:cubicBezTo>
                    <a:pt x="24327" y="29484"/>
                    <a:pt x="26804" y="30861"/>
                    <a:pt x="27079" y="30585"/>
                  </a:cubicBezTo>
                  <a:cubicBezTo>
                    <a:pt x="31758" y="26182"/>
                    <a:pt x="41942" y="30861"/>
                    <a:pt x="42767" y="24806"/>
                  </a:cubicBezTo>
                  <a:cubicBezTo>
                    <a:pt x="43318" y="21503"/>
                    <a:pt x="40290" y="12145"/>
                    <a:pt x="33134" y="9668"/>
                  </a:cubicBezTo>
                  <a:cubicBezTo>
                    <a:pt x="29832" y="8843"/>
                    <a:pt x="27079" y="6090"/>
                    <a:pt x="23501" y="6365"/>
                  </a:cubicBezTo>
                  <a:cubicBezTo>
                    <a:pt x="23226" y="6090"/>
                    <a:pt x="22951" y="6090"/>
                    <a:pt x="22951" y="5815"/>
                  </a:cubicBezTo>
                  <a:close/>
                  <a:moveTo>
                    <a:pt x="1440377" y="380"/>
                  </a:moveTo>
                  <a:cubicBezTo>
                    <a:pt x="1447808" y="380"/>
                    <a:pt x="1453863" y="105"/>
                    <a:pt x="1453313" y="11940"/>
                  </a:cubicBezTo>
                  <a:cubicBezTo>
                    <a:pt x="1454689" y="-1271"/>
                    <a:pt x="1463221" y="656"/>
                    <a:pt x="1470652" y="656"/>
                  </a:cubicBezTo>
                  <a:lnTo>
                    <a:pt x="1546130" y="656"/>
                  </a:lnTo>
                  <a:lnTo>
                    <a:pt x="1546130" y="42765"/>
                  </a:lnTo>
                  <a:lnTo>
                    <a:pt x="1509184" y="42765"/>
                  </a:lnTo>
                  <a:cubicBezTo>
                    <a:pt x="1505606" y="42765"/>
                    <a:pt x="1502027" y="43591"/>
                    <a:pt x="1500101" y="38637"/>
                  </a:cubicBezTo>
                  <a:cubicBezTo>
                    <a:pt x="1498725" y="35059"/>
                    <a:pt x="1494321" y="35885"/>
                    <a:pt x="1492670" y="38086"/>
                  </a:cubicBezTo>
                  <a:cubicBezTo>
                    <a:pt x="1487166" y="44692"/>
                    <a:pt x="1480009" y="42765"/>
                    <a:pt x="1473129" y="42765"/>
                  </a:cubicBezTo>
                  <a:cubicBezTo>
                    <a:pt x="1411478" y="43040"/>
                    <a:pt x="1349827" y="42765"/>
                    <a:pt x="1288176" y="43040"/>
                  </a:cubicBezTo>
                  <a:cubicBezTo>
                    <a:pt x="1281295" y="43040"/>
                    <a:pt x="1275516" y="42215"/>
                    <a:pt x="1274965" y="34233"/>
                  </a:cubicBezTo>
                  <a:cubicBezTo>
                    <a:pt x="1274415" y="26527"/>
                    <a:pt x="1281021" y="27353"/>
                    <a:pt x="1285699" y="24876"/>
                  </a:cubicBezTo>
                  <a:cubicBezTo>
                    <a:pt x="1292580" y="21022"/>
                    <a:pt x="1306892" y="27353"/>
                    <a:pt x="1304690" y="10013"/>
                  </a:cubicBezTo>
                  <a:cubicBezTo>
                    <a:pt x="1311020" y="13316"/>
                    <a:pt x="1316249" y="16069"/>
                    <a:pt x="1322580" y="15793"/>
                  </a:cubicBezTo>
                  <a:cubicBezTo>
                    <a:pt x="1325332" y="15793"/>
                    <a:pt x="1328359" y="15518"/>
                    <a:pt x="1328910" y="13316"/>
                  </a:cubicBezTo>
                  <a:cubicBezTo>
                    <a:pt x="1331937" y="-1271"/>
                    <a:pt x="1343772" y="931"/>
                    <a:pt x="1353680" y="656"/>
                  </a:cubicBezTo>
                  <a:cubicBezTo>
                    <a:pt x="1382579" y="380"/>
                    <a:pt x="1411478" y="656"/>
                    <a:pt x="1440377" y="380"/>
                  </a:cubicBezTo>
                  <a:close/>
                  <a:moveTo>
                    <a:pt x="388728" y="310"/>
                  </a:moveTo>
                  <a:cubicBezTo>
                    <a:pt x="396159" y="310"/>
                    <a:pt x="402214" y="35"/>
                    <a:pt x="401664" y="11870"/>
                  </a:cubicBezTo>
                  <a:cubicBezTo>
                    <a:pt x="403040" y="-1341"/>
                    <a:pt x="411572" y="586"/>
                    <a:pt x="419003" y="586"/>
                  </a:cubicBezTo>
                  <a:cubicBezTo>
                    <a:pt x="468268" y="586"/>
                    <a:pt x="517259" y="586"/>
                    <a:pt x="566250" y="586"/>
                  </a:cubicBezTo>
                  <a:cubicBezTo>
                    <a:pt x="572029" y="310"/>
                    <a:pt x="578084" y="-515"/>
                    <a:pt x="580011" y="8017"/>
                  </a:cubicBezTo>
                  <a:cubicBezTo>
                    <a:pt x="572029" y="3338"/>
                    <a:pt x="553589" y="12421"/>
                    <a:pt x="553314" y="20677"/>
                  </a:cubicBezTo>
                  <a:cubicBezTo>
                    <a:pt x="553039" y="25356"/>
                    <a:pt x="556892" y="26457"/>
                    <a:pt x="560194" y="24531"/>
                  </a:cubicBezTo>
                  <a:cubicBezTo>
                    <a:pt x="569552" y="19576"/>
                    <a:pt x="575882" y="28108"/>
                    <a:pt x="583864" y="28934"/>
                  </a:cubicBezTo>
                  <a:cubicBezTo>
                    <a:pt x="587717" y="29484"/>
                    <a:pt x="589919" y="34989"/>
                    <a:pt x="588818" y="38842"/>
                  </a:cubicBezTo>
                  <a:cubicBezTo>
                    <a:pt x="588268" y="43245"/>
                    <a:pt x="584139" y="42695"/>
                    <a:pt x="580836" y="42695"/>
                  </a:cubicBezTo>
                  <a:cubicBezTo>
                    <a:pt x="539827" y="42695"/>
                    <a:pt x="498543" y="42695"/>
                    <a:pt x="457535" y="42695"/>
                  </a:cubicBezTo>
                  <a:cubicBezTo>
                    <a:pt x="453957" y="42695"/>
                    <a:pt x="450378" y="43521"/>
                    <a:pt x="448452" y="38567"/>
                  </a:cubicBezTo>
                  <a:cubicBezTo>
                    <a:pt x="447076" y="34989"/>
                    <a:pt x="442672" y="35815"/>
                    <a:pt x="441021" y="38016"/>
                  </a:cubicBezTo>
                  <a:cubicBezTo>
                    <a:pt x="435517" y="44622"/>
                    <a:pt x="428360" y="42695"/>
                    <a:pt x="421480" y="42695"/>
                  </a:cubicBezTo>
                  <a:cubicBezTo>
                    <a:pt x="359829" y="42970"/>
                    <a:pt x="298178" y="42695"/>
                    <a:pt x="236527" y="42970"/>
                  </a:cubicBezTo>
                  <a:cubicBezTo>
                    <a:pt x="229646" y="42970"/>
                    <a:pt x="223867" y="42145"/>
                    <a:pt x="223316" y="34163"/>
                  </a:cubicBezTo>
                  <a:cubicBezTo>
                    <a:pt x="222766" y="26457"/>
                    <a:pt x="229372" y="27283"/>
                    <a:pt x="234050" y="24806"/>
                  </a:cubicBezTo>
                  <a:cubicBezTo>
                    <a:pt x="240931" y="20952"/>
                    <a:pt x="255243" y="27283"/>
                    <a:pt x="253041" y="9943"/>
                  </a:cubicBezTo>
                  <a:cubicBezTo>
                    <a:pt x="259371" y="13246"/>
                    <a:pt x="264600" y="15999"/>
                    <a:pt x="270931" y="15723"/>
                  </a:cubicBezTo>
                  <a:cubicBezTo>
                    <a:pt x="273683" y="15723"/>
                    <a:pt x="276710" y="15448"/>
                    <a:pt x="277261" y="13246"/>
                  </a:cubicBezTo>
                  <a:cubicBezTo>
                    <a:pt x="280288" y="-1341"/>
                    <a:pt x="292123" y="861"/>
                    <a:pt x="302031" y="586"/>
                  </a:cubicBezTo>
                  <a:cubicBezTo>
                    <a:pt x="330930" y="310"/>
                    <a:pt x="359829" y="586"/>
                    <a:pt x="388728" y="310"/>
                  </a:cubicBezTo>
                  <a:close/>
                  <a:moveTo>
                    <a:pt x="1066309" y="71"/>
                  </a:moveTo>
                  <a:cubicBezTo>
                    <a:pt x="1071091" y="105"/>
                    <a:pt x="1076389" y="656"/>
                    <a:pt x="1080930" y="381"/>
                  </a:cubicBezTo>
                  <a:cubicBezTo>
                    <a:pt x="1092765" y="381"/>
                    <a:pt x="1104875" y="381"/>
                    <a:pt x="1116710" y="381"/>
                  </a:cubicBezTo>
                  <a:cubicBezTo>
                    <a:pt x="1143132" y="381"/>
                    <a:pt x="1169828" y="655"/>
                    <a:pt x="1196250" y="655"/>
                  </a:cubicBezTo>
                  <a:cubicBezTo>
                    <a:pt x="1202306" y="655"/>
                    <a:pt x="1208085" y="655"/>
                    <a:pt x="1208911" y="8637"/>
                  </a:cubicBezTo>
                  <a:cubicBezTo>
                    <a:pt x="1217993" y="11114"/>
                    <a:pt x="1226800" y="14967"/>
                    <a:pt x="1232580" y="2582"/>
                  </a:cubicBezTo>
                  <a:cubicBezTo>
                    <a:pt x="1234782" y="-1822"/>
                    <a:pt x="1241112" y="1206"/>
                    <a:pt x="1245516" y="931"/>
                  </a:cubicBezTo>
                  <a:cubicBezTo>
                    <a:pt x="1251571" y="381"/>
                    <a:pt x="1257901" y="655"/>
                    <a:pt x="1265332" y="931"/>
                  </a:cubicBezTo>
                  <a:cubicBezTo>
                    <a:pt x="1254874" y="11665"/>
                    <a:pt x="1245241" y="22399"/>
                    <a:pt x="1238360" y="33683"/>
                  </a:cubicBezTo>
                  <a:cubicBezTo>
                    <a:pt x="1232580" y="43316"/>
                    <a:pt x="1227351" y="43866"/>
                    <a:pt x="1219369" y="43316"/>
                  </a:cubicBezTo>
                  <a:cubicBezTo>
                    <a:pt x="1212214" y="42765"/>
                    <a:pt x="1204507" y="33133"/>
                    <a:pt x="1205333" y="25976"/>
                  </a:cubicBezTo>
                  <a:cubicBezTo>
                    <a:pt x="1203406" y="27077"/>
                    <a:pt x="1200379" y="27903"/>
                    <a:pt x="1200104" y="29279"/>
                  </a:cubicBezTo>
                  <a:cubicBezTo>
                    <a:pt x="1197902" y="46618"/>
                    <a:pt x="1184691" y="43316"/>
                    <a:pt x="1173682" y="43316"/>
                  </a:cubicBezTo>
                  <a:lnTo>
                    <a:pt x="1068584" y="43066"/>
                  </a:lnTo>
                  <a:lnTo>
                    <a:pt x="1068814" y="43246"/>
                  </a:lnTo>
                  <a:cubicBezTo>
                    <a:pt x="1058080" y="43246"/>
                    <a:pt x="1050099" y="43246"/>
                    <a:pt x="1041842" y="43246"/>
                  </a:cubicBezTo>
                  <a:cubicBezTo>
                    <a:pt x="973586" y="43246"/>
                    <a:pt x="905329" y="43246"/>
                    <a:pt x="837072" y="43246"/>
                  </a:cubicBezTo>
                  <a:cubicBezTo>
                    <a:pt x="832669" y="43246"/>
                    <a:pt x="827990" y="44622"/>
                    <a:pt x="823862" y="41044"/>
                  </a:cubicBezTo>
                  <a:cubicBezTo>
                    <a:pt x="821935" y="39393"/>
                    <a:pt x="816155" y="26182"/>
                    <a:pt x="815054" y="42145"/>
                  </a:cubicBezTo>
                  <a:cubicBezTo>
                    <a:pt x="815054" y="42696"/>
                    <a:pt x="810651" y="43246"/>
                    <a:pt x="808449" y="43246"/>
                  </a:cubicBezTo>
                  <a:cubicBezTo>
                    <a:pt x="795238" y="42971"/>
                    <a:pt x="781752" y="42420"/>
                    <a:pt x="768541" y="42420"/>
                  </a:cubicBezTo>
                  <a:cubicBezTo>
                    <a:pt x="752028" y="42420"/>
                    <a:pt x="735514" y="42971"/>
                    <a:pt x="719000" y="42971"/>
                  </a:cubicBezTo>
                  <a:cubicBezTo>
                    <a:pt x="684597" y="42971"/>
                    <a:pt x="650194" y="42971"/>
                    <a:pt x="615790" y="42696"/>
                  </a:cubicBezTo>
                  <a:cubicBezTo>
                    <a:pt x="609735" y="42696"/>
                    <a:pt x="600928" y="44897"/>
                    <a:pt x="609185" y="33888"/>
                  </a:cubicBezTo>
                  <a:cubicBezTo>
                    <a:pt x="600653" y="28934"/>
                    <a:pt x="613588" y="11595"/>
                    <a:pt x="595699" y="11045"/>
                  </a:cubicBezTo>
                  <a:cubicBezTo>
                    <a:pt x="591570" y="10769"/>
                    <a:pt x="585240" y="7191"/>
                    <a:pt x="581662" y="586"/>
                  </a:cubicBezTo>
                  <a:cubicBezTo>
                    <a:pt x="589919" y="586"/>
                    <a:pt x="597350" y="586"/>
                    <a:pt x="604781" y="586"/>
                  </a:cubicBezTo>
                  <a:cubicBezTo>
                    <a:pt x="722853" y="586"/>
                    <a:pt x="840651" y="311"/>
                    <a:pt x="958448" y="586"/>
                  </a:cubicBezTo>
                  <a:cubicBezTo>
                    <a:pt x="973310" y="586"/>
                    <a:pt x="988448" y="2513"/>
                    <a:pt x="1003310" y="311"/>
                  </a:cubicBezTo>
                  <a:cubicBezTo>
                    <a:pt x="1011842" y="-791"/>
                    <a:pt x="1017897" y="4714"/>
                    <a:pt x="1025603" y="6090"/>
                  </a:cubicBezTo>
                  <a:cubicBezTo>
                    <a:pt x="1028080" y="6641"/>
                    <a:pt x="1029456" y="6366"/>
                    <a:pt x="1029181" y="3889"/>
                  </a:cubicBezTo>
                  <a:cubicBezTo>
                    <a:pt x="1028906" y="3338"/>
                    <a:pt x="1026154" y="3063"/>
                    <a:pt x="1024778" y="1136"/>
                  </a:cubicBezTo>
                  <a:cubicBezTo>
                    <a:pt x="1027530" y="1412"/>
                    <a:pt x="1030557" y="1136"/>
                    <a:pt x="1033310" y="1962"/>
                  </a:cubicBezTo>
                  <a:cubicBezTo>
                    <a:pt x="1036888" y="3063"/>
                    <a:pt x="1041567" y="-2442"/>
                    <a:pt x="1044044" y="3614"/>
                  </a:cubicBezTo>
                  <a:cubicBezTo>
                    <a:pt x="1046245" y="8843"/>
                    <a:pt x="1041016" y="9668"/>
                    <a:pt x="1038814" y="12145"/>
                  </a:cubicBezTo>
                  <a:cubicBezTo>
                    <a:pt x="1037989" y="13246"/>
                    <a:pt x="1037163" y="16274"/>
                    <a:pt x="1037163" y="16274"/>
                  </a:cubicBezTo>
                  <a:cubicBezTo>
                    <a:pt x="1040879" y="18201"/>
                    <a:pt x="1043700" y="21779"/>
                    <a:pt x="1046383" y="25081"/>
                  </a:cubicBezTo>
                  <a:lnTo>
                    <a:pt x="1052857" y="30600"/>
                  </a:lnTo>
                  <a:lnTo>
                    <a:pt x="1052857" y="30105"/>
                  </a:lnTo>
                  <a:cubicBezTo>
                    <a:pt x="1053407" y="20747"/>
                    <a:pt x="1048729" y="8362"/>
                    <a:pt x="1054783" y="2857"/>
                  </a:cubicBezTo>
                  <a:cubicBezTo>
                    <a:pt x="1057261" y="518"/>
                    <a:pt x="1061527" y="36"/>
                    <a:pt x="1066309" y="71"/>
                  </a:cubicBezTo>
                  <a:close/>
                  <a:moveTo>
                    <a:pt x="14660" y="1"/>
                  </a:moveTo>
                  <a:cubicBezTo>
                    <a:pt x="19442" y="35"/>
                    <a:pt x="24740" y="586"/>
                    <a:pt x="29281" y="311"/>
                  </a:cubicBezTo>
                  <a:cubicBezTo>
                    <a:pt x="41116" y="311"/>
                    <a:pt x="53226" y="311"/>
                    <a:pt x="65061" y="311"/>
                  </a:cubicBezTo>
                  <a:cubicBezTo>
                    <a:pt x="91483" y="311"/>
                    <a:pt x="118179" y="585"/>
                    <a:pt x="144601" y="585"/>
                  </a:cubicBezTo>
                  <a:cubicBezTo>
                    <a:pt x="150657" y="585"/>
                    <a:pt x="156436" y="585"/>
                    <a:pt x="157262" y="8567"/>
                  </a:cubicBezTo>
                  <a:cubicBezTo>
                    <a:pt x="166344" y="11044"/>
                    <a:pt x="175151" y="14897"/>
                    <a:pt x="180931" y="2512"/>
                  </a:cubicBezTo>
                  <a:cubicBezTo>
                    <a:pt x="183133" y="-1892"/>
                    <a:pt x="189463" y="1136"/>
                    <a:pt x="193867" y="861"/>
                  </a:cubicBezTo>
                  <a:cubicBezTo>
                    <a:pt x="199922" y="311"/>
                    <a:pt x="206252" y="585"/>
                    <a:pt x="213683" y="861"/>
                  </a:cubicBezTo>
                  <a:cubicBezTo>
                    <a:pt x="203225" y="11595"/>
                    <a:pt x="193592" y="22329"/>
                    <a:pt x="186711" y="33613"/>
                  </a:cubicBezTo>
                  <a:cubicBezTo>
                    <a:pt x="180931" y="43246"/>
                    <a:pt x="175702" y="43796"/>
                    <a:pt x="167720" y="43246"/>
                  </a:cubicBezTo>
                  <a:cubicBezTo>
                    <a:pt x="160565" y="42695"/>
                    <a:pt x="152858" y="33063"/>
                    <a:pt x="153684" y="25906"/>
                  </a:cubicBezTo>
                  <a:cubicBezTo>
                    <a:pt x="151757" y="27007"/>
                    <a:pt x="148730" y="27833"/>
                    <a:pt x="148455" y="29209"/>
                  </a:cubicBezTo>
                  <a:cubicBezTo>
                    <a:pt x="146253" y="46548"/>
                    <a:pt x="133042" y="43246"/>
                    <a:pt x="122033" y="43246"/>
                  </a:cubicBezTo>
                  <a:cubicBezTo>
                    <a:pt x="83501" y="43246"/>
                    <a:pt x="44969" y="42971"/>
                    <a:pt x="6437" y="42971"/>
                  </a:cubicBezTo>
                  <a:cubicBezTo>
                    <a:pt x="3685" y="43521"/>
                    <a:pt x="1483" y="43246"/>
                    <a:pt x="1208" y="39943"/>
                  </a:cubicBezTo>
                  <a:cubicBezTo>
                    <a:pt x="1208" y="36640"/>
                    <a:pt x="933" y="33338"/>
                    <a:pt x="1208" y="30035"/>
                  </a:cubicBezTo>
                  <a:cubicBezTo>
                    <a:pt x="1758" y="20677"/>
                    <a:pt x="-2920" y="8292"/>
                    <a:pt x="3134" y="2787"/>
                  </a:cubicBezTo>
                  <a:cubicBezTo>
                    <a:pt x="5612" y="448"/>
                    <a:pt x="9878" y="-34"/>
                    <a:pt x="14660" y="1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6705C204-4E3F-4CF3-89CE-2D10854CB31C}"/>
                </a:ext>
              </a:extLst>
            </p:cNvPr>
            <p:cNvGrpSpPr/>
            <p:nvPr/>
          </p:nvGrpSpPr>
          <p:grpSpPr>
            <a:xfrm>
              <a:off x="2923579" y="533609"/>
              <a:ext cx="6387472" cy="90960"/>
              <a:chOff x="2923579" y="529887"/>
              <a:chExt cx="6387472" cy="90960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xmlns="" id="{078DDEE5-519A-4E12-97C8-E361D32D260E}"/>
                  </a:ext>
                </a:extLst>
              </p:cNvPr>
              <p:cNvSpPr/>
              <p:nvPr/>
            </p:nvSpPr>
            <p:spPr>
              <a:xfrm>
                <a:off x="2923579" y="529887"/>
                <a:ext cx="3121205" cy="87950"/>
              </a:xfrm>
              <a:custGeom>
                <a:avLst/>
                <a:gdLst>
                  <a:gd name="connsiteX0" fmla="*/ 934228 w 1546130"/>
                  <a:gd name="connsiteY0" fmla="*/ 26457 h 43567"/>
                  <a:gd name="connsiteX1" fmla="*/ 929274 w 1546130"/>
                  <a:gd name="connsiteY1" fmla="*/ 30586 h 43567"/>
                  <a:gd name="connsiteX2" fmla="*/ 939182 w 1546130"/>
                  <a:gd name="connsiteY2" fmla="*/ 40494 h 43567"/>
                  <a:gd name="connsiteX3" fmla="*/ 941935 w 1546130"/>
                  <a:gd name="connsiteY3" fmla="*/ 35540 h 43567"/>
                  <a:gd name="connsiteX4" fmla="*/ 934228 w 1546130"/>
                  <a:gd name="connsiteY4" fmla="*/ 26457 h 43567"/>
                  <a:gd name="connsiteX5" fmla="*/ 1074600 w 1546130"/>
                  <a:gd name="connsiteY5" fmla="*/ 5885 h 43567"/>
                  <a:gd name="connsiteX6" fmla="*/ 1074325 w 1546130"/>
                  <a:gd name="connsiteY6" fmla="*/ 6160 h 43567"/>
                  <a:gd name="connsiteX7" fmla="*/ 1074325 w 1546130"/>
                  <a:gd name="connsiteY7" fmla="*/ 6435 h 43567"/>
                  <a:gd name="connsiteX8" fmla="*/ 1074049 w 1546130"/>
                  <a:gd name="connsiteY8" fmla="*/ 6435 h 43567"/>
                  <a:gd name="connsiteX9" fmla="*/ 1074049 w 1546130"/>
                  <a:gd name="connsiteY9" fmla="*/ 6160 h 43567"/>
                  <a:gd name="connsiteX10" fmla="*/ 1073774 w 1546130"/>
                  <a:gd name="connsiteY10" fmla="*/ 6435 h 43567"/>
                  <a:gd name="connsiteX11" fmla="*/ 1075976 w 1546130"/>
                  <a:gd name="connsiteY11" fmla="*/ 29004 h 43567"/>
                  <a:gd name="connsiteX12" fmla="*/ 1078728 w 1546130"/>
                  <a:gd name="connsiteY12" fmla="*/ 30655 h 43567"/>
                  <a:gd name="connsiteX13" fmla="*/ 1094416 w 1546130"/>
                  <a:gd name="connsiteY13" fmla="*/ 24876 h 43567"/>
                  <a:gd name="connsiteX14" fmla="*/ 1084783 w 1546130"/>
                  <a:gd name="connsiteY14" fmla="*/ 9738 h 43567"/>
                  <a:gd name="connsiteX15" fmla="*/ 1075150 w 1546130"/>
                  <a:gd name="connsiteY15" fmla="*/ 6435 h 43567"/>
                  <a:gd name="connsiteX16" fmla="*/ 1074600 w 1546130"/>
                  <a:gd name="connsiteY16" fmla="*/ 5885 h 43567"/>
                  <a:gd name="connsiteX17" fmla="*/ 22951 w 1546130"/>
                  <a:gd name="connsiteY17" fmla="*/ 5815 h 43567"/>
                  <a:gd name="connsiteX18" fmla="*/ 22676 w 1546130"/>
                  <a:gd name="connsiteY18" fmla="*/ 6090 h 43567"/>
                  <a:gd name="connsiteX19" fmla="*/ 22676 w 1546130"/>
                  <a:gd name="connsiteY19" fmla="*/ 6365 h 43567"/>
                  <a:gd name="connsiteX20" fmla="*/ 22400 w 1546130"/>
                  <a:gd name="connsiteY20" fmla="*/ 6365 h 43567"/>
                  <a:gd name="connsiteX21" fmla="*/ 22400 w 1546130"/>
                  <a:gd name="connsiteY21" fmla="*/ 6090 h 43567"/>
                  <a:gd name="connsiteX22" fmla="*/ 22125 w 1546130"/>
                  <a:gd name="connsiteY22" fmla="*/ 6365 h 43567"/>
                  <a:gd name="connsiteX23" fmla="*/ 24327 w 1546130"/>
                  <a:gd name="connsiteY23" fmla="*/ 28934 h 43567"/>
                  <a:gd name="connsiteX24" fmla="*/ 27079 w 1546130"/>
                  <a:gd name="connsiteY24" fmla="*/ 30585 h 43567"/>
                  <a:gd name="connsiteX25" fmla="*/ 42767 w 1546130"/>
                  <a:gd name="connsiteY25" fmla="*/ 24806 h 43567"/>
                  <a:gd name="connsiteX26" fmla="*/ 33134 w 1546130"/>
                  <a:gd name="connsiteY26" fmla="*/ 9668 h 43567"/>
                  <a:gd name="connsiteX27" fmla="*/ 23501 w 1546130"/>
                  <a:gd name="connsiteY27" fmla="*/ 6365 h 43567"/>
                  <a:gd name="connsiteX28" fmla="*/ 22951 w 1546130"/>
                  <a:gd name="connsiteY28" fmla="*/ 5815 h 43567"/>
                  <a:gd name="connsiteX29" fmla="*/ 1440377 w 1546130"/>
                  <a:gd name="connsiteY29" fmla="*/ 380 h 43567"/>
                  <a:gd name="connsiteX30" fmla="*/ 1453313 w 1546130"/>
                  <a:gd name="connsiteY30" fmla="*/ 11940 h 43567"/>
                  <a:gd name="connsiteX31" fmla="*/ 1470652 w 1546130"/>
                  <a:gd name="connsiteY31" fmla="*/ 656 h 43567"/>
                  <a:gd name="connsiteX32" fmla="*/ 1546130 w 1546130"/>
                  <a:gd name="connsiteY32" fmla="*/ 656 h 43567"/>
                  <a:gd name="connsiteX33" fmla="*/ 1546130 w 1546130"/>
                  <a:gd name="connsiteY33" fmla="*/ 42765 h 43567"/>
                  <a:gd name="connsiteX34" fmla="*/ 1509184 w 1546130"/>
                  <a:gd name="connsiteY34" fmla="*/ 42765 h 43567"/>
                  <a:gd name="connsiteX35" fmla="*/ 1500101 w 1546130"/>
                  <a:gd name="connsiteY35" fmla="*/ 38637 h 43567"/>
                  <a:gd name="connsiteX36" fmla="*/ 1492670 w 1546130"/>
                  <a:gd name="connsiteY36" fmla="*/ 38086 h 43567"/>
                  <a:gd name="connsiteX37" fmla="*/ 1473129 w 1546130"/>
                  <a:gd name="connsiteY37" fmla="*/ 42765 h 43567"/>
                  <a:gd name="connsiteX38" fmla="*/ 1288176 w 1546130"/>
                  <a:gd name="connsiteY38" fmla="*/ 43040 h 43567"/>
                  <a:gd name="connsiteX39" fmla="*/ 1274965 w 1546130"/>
                  <a:gd name="connsiteY39" fmla="*/ 34233 h 43567"/>
                  <a:gd name="connsiteX40" fmla="*/ 1285699 w 1546130"/>
                  <a:gd name="connsiteY40" fmla="*/ 24876 h 43567"/>
                  <a:gd name="connsiteX41" fmla="*/ 1304690 w 1546130"/>
                  <a:gd name="connsiteY41" fmla="*/ 10013 h 43567"/>
                  <a:gd name="connsiteX42" fmla="*/ 1322580 w 1546130"/>
                  <a:gd name="connsiteY42" fmla="*/ 15793 h 43567"/>
                  <a:gd name="connsiteX43" fmla="*/ 1328910 w 1546130"/>
                  <a:gd name="connsiteY43" fmla="*/ 13316 h 43567"/>
                  <a:gd name="connsiteX44" fmla="*/ 1353680 w 1546130"/>
                  <a:gd name="connsiteY44" fmla="*/ 656 h 43567"/>
                  <a:gd name="connsiteX45" fmla="*/ 1440377 w 1546130"/>
                  <a:gd name="connsiteY45" fmla="*/ 380 h 43567"/>
                  <a:gd name="connsiteX46" fmla="*/ 388728 w 1546130"/>
                  <a:gd name="connsiteY46" fmla="*/ 310 h 43567"/>
                  <a:gd name="connsiteX47" fmla="*/ 401664 w 1546130"/>
                  <a:gd name="connsiteY47" fmla="*/ 11870 h 43567"/>
                  <a:gd name="connsiteX48" fmla="*/ 419003 w 1546130"/>
                  <a:gd name="connsiteY48" fmla="*/ 586 h 43567"/>
                  <a:gd name="connsiteX49" fmla="*/ 566250 w 1546130"/>
                  <a:gd name="connsiteY49" fmla="*/ 586 h 43567"/>
                  <a:gd name="connsiteX50" fmla="*/ 580011 w 1546130"/>
                  <a:gd name="connsiteY50" fmla="*/ 8017 h 43567"/>
                  <a:gd name="connsiteX51" fmla="*/ 553314 w 1546130"/>
                  <a:gd name="connsiteY51" fmla="*/ 20677 h 43567"/>
                  <a:gd name="connsiteX52" fmla="*/ 560194 w 1546130"/>
                  <a:gd name="connsiteY52" fmla="*/ 24531 h 43567"/>
                  <a:gd name="connsiteX53" fmla="*/ 583864 w 1546130"/>
                  <a:gd name="connsiteY53" fmla="*/ 28934 h 43567"/>
                  <a:gd name="connsiteX54" fmla="*/ 588818 w 1546130"/>
                  <a:gd name="connsiteY54" fmla="*/ 38842 h 43567"/>
                  <a:gd name="connsiteX55" fmla="*/ 580836 w 1546130"/>
                  <a:gd name="connsiteY55" fmla="*/ 42695 h 43567"/>
                  <a:gd name="connsiteX56" fmla="*/ 457535 w 1546130"/>
                  <a:gd name="connsiteY56" fmla="*/ 42695 h 43567"/>
                  <a:gd name="connsiteX57" fmla="*/ 448452 w 1546130"/>
                  <a:gd name="connsiteY57" fmla="*/ 38567 h 43567"/>
                  <a:gd name="connsiteX58" fmla="*/ 441021 w 1546130"/>
                  <a:gd name="connsiteY58" fmla="*/ 38016 h 43567"/>
                  <a:gd name="connsiteX59" fmla="*/ 421480 w 1546130"/>
                  <a:gd name="connsiteY59" fmla="*/ 42695 h 43567"/>
                  <a:gd name="connsiteX60" fmla="*/ 236527 w 1546130"/>
                  <a:gd name="connsiteY60" fmla="*/ 42970 h 43567"/>
                  <a:gd name="connsiteX61" fmla="*/ 223316 w 1546130"/>
                  <a:gd name="connsiteY61" fmla="*/ 34163 h 43567"/>
                  <a:gd name="connsiteX62" fmla="*/ 234050 w 1546130"/>
                  <a:gd name="connsiteY62" fmla="*/ 24806 h 43567"/>
                  <a:gd name="connsiteX63" fmla="*/ 253041 w 1546130"/>
                  <a:gd name="connsiteY63" fmla="*/ 9943 h 43567"/>
                  <a:gd name="connsiteX64" fmla="*/ 270931 w 1546130"/>
                  <a:gd name="connsiteY64" fmla="*/ 15723 h 43567"/>
                  <a:gd name="connsiteX65" fmla="*/ 277261 w 1546130"/>
                  <a:gd name="connsiteY65" fmla="*/ 13246 h 43567"/>
                  <a:gd name="connsiteX66" fmla="*/ 302031 w 1546130"/>
                  <a:gd name="connsiteY66" fmla="*/ 586 h 43567"/>
                  <a:gd name="connsiteX67" fmla="*/ 388728 w 1546130"/>
                  <a:gd name="connsiteY67" fmla="*/ 310 h 43567"/>
                  <a:gd name="connsiteX68" fmla="*/ 1066309 w 1546130"/>
                  <a:gd name="connsiteY68" fmla="*/ 71 h 43567"/>
                  <a:gd name="connsiteX69" fmla="*/ 1080930 w 1546130"/>
                  <a:gd name="connsiteY69" fmla="*/ 381 h 43567"/>
                  <a:gd name="connsiteX70" fmla="*/ 1116710 w 1546130"/>
                  <a:gd name="connsiteY70" fmla="*/ 381 h 43567"/>
                  <a:gd name="connsiteX71" fmla="*/ 1196250 w 1546130"/>
                  <a:gd name="connsiteY71" fmla="*/ 655 h 43567"/>
                  <a:gd name="connsiteX72" fmla="*/ 1208911 w 1546130"/>
                  <a:gd name="connsiteY72" fmla="*/ 8637 h 43567"/>
                  <a:gd name="connsiteX73" fmla="*/ 1232580 w 1546130"/>
                  <a:gd name="connsiteY73" fmla="*/ 2582 h 43567"/>
                  <a:gd name="connsiteX74" fmla="*/ 1245516 w 1546130"/>
                  <a:gd name="connsiteY74" fmla="*/ 931 h 43567"/>
                  <a:gd name="connsiteX75" fmla="*/ 1265332 w 1546130"/>
                  <a:gd name="connsiteY75" fmla="*/ 931 h 43567"/>
                  <a:gd name="connsiteX76" fmla="*/ 1238360 w 1546130"/>
                  <a:gd name="connsiteY76" fmla="*/ 33683 h 43567"/>
                  <a:gd name="connsiteX77" fmla="*/ 1219369 w 1546130"/>
                  <a:gd name="connsiteY77" fmla="*/ 43316 h 43567"/>
                  <a:gd name="connsiteX78" fmla="*/ 1205333 w 1546130"/>
                  <a:gd name="connsiteY78" fmla="*/ 25976 h 43567"/>
                  <a:gd name="connsiteX79" fmla="*/ 1200104 w 1546130"/>
                  <a:gd name="connsiteY79" fmla="*/ 29279 h 43567"/>
                  <a:gd name="connsiteX80" fmla="*/ 1173682 w 1546130"/>
                  <a:gd name="connsiteY80" fmla="*/ 43316 h 43567"/>
                  <a:gd name="connsiteX81" fmla="*/ 1068584 w 1546130"/>
                  <a:gd name="connsiteY81" fmla="*/ 43066 h 43567"/>
                  <a:gd name="connsiteX82" fmla="*/ 1068814 w 1546130"/>
                  <a:gd name="connsiteY82" fmla="*/ 43246 h 43567"/>
                  <a:gd name="connsiteX83" fmla="*/ 1041842 w 1546130"/>
                  <a:gd name="connsiteY83" fmla="*/ 43246 h 43567"/>
                  <a:gd name="connsiteX84" fmla="*/ 837072 w 1546130"/>
                  <a:gd name="connsiteY84" fmla="*/ 43246 h 43567"/>
                  <a:gd name="connsiteX85" fmla="*/ 823862 w 1546130"/>
                  <a:gd name="connsiteY85" fmla="*/ 41044 h 43567"/>
                  <a:gd name="connsiteX86" fmla="*/ 815054 w 1546130"/>
                  <a:gd name="connsiteY86" fmla="*/ 42145 h 43567"/>
                  <a:gd name="connsiteX87" fmla="*/ 808449 w 1546130"/>
                  <a:gd name="connsiteY87" fmla="*/ 43246 h 43567"/>
                  <a:gd name="connsiteX88" fmla="*/ 768541 w 1546130"/>
                  <a:gd name="connsiteY88" fmla="*/ 42420 h 43567"/>
                  <a:gd name="connsiteX89" fmla="*/ 719000 w 1546130"/>
                  <a:gd name="connsiteY89" fmla="*/ 42971 h 43567"/>
                  <a:gd name="connsiteX90" fmla="*/ 615790 w 1546130"/>
                  <a:gd name="connsiteY90" fmla="*/ 42696 h 43567"/>
                  <a:gd name="connsiteX91" fmla="*/ 609185 w 1546130"/>
                  <a:gd name="connsiteY91" fmla="*/ 33888 h 43567"/>
                  <a:gd name="connsiteX92" fmla="*/ 595699 w 1546130"/>
                  <a:gd name="connsiteY92" fmla="*/ 11045 h 43567"/>
                  <a:gd name="connsiteX93" fmla="*/ 581662 w 1546130"/>
                  <a:gd name="connsiteY93" fmla="*/ 586 h 43567"/>
                  <a:gd name="connsiteX94" fmla="*/ 604781 w 1546130"/>
                  <a:gd name="connsiteY94" fmla="*/ 586 h 43567"/>
                  <a:gd name="connsiteX95" fmla="*/ 958448 w 1546130"/>
                  <a:gd name="connsiteY95" fmla="*/ 586 h 43567"/>
                  <a:gd name="connsiteX96" fmla="*/ 1003310 w 1546130"/>
                  <a:gd name="connsiteY96" fmla="*/ 311 h 43567"/>
                  <a:gd name="connsiteX97" fmla="*/ 1025603 w 1546130"/>
                  <a:gd name="connsiteY97" fmla="*/ 6090 h 43567"/>
                  <a:gd name="connsiteX98" fmla="*/ 1029181 w 1546130"/>
                  <a:gd name="connsiteY98" fmla="*/ 3889 h 43567"/>
                  <a:gd name="connsiteX99" fmla="*/ 1024778 w 1546130"/>
                  <a:gd name="connsiteY99" fmla="*/ 1136 h 43567"/>
                  <a:gd name="connsiteX100" fmla="*/ 1033310 w 1546130"/>
                  <a:gd name="connsiteY100" fmla="*/ 1962 h 43567"/>
                  <a:gd name="connsiteX101" fmla="*/ 1044044 w 1546130"/>
                  <a:gd name="connsiteY101" fmla="*/ 3614 h 43567"/>
                  <a:gd name="connsiteX102" fmla="*/ 1038814 w 1546130"/>
                  <a:gd name="connsiteY102" fmla="*/ 12145 h 43567"/>
                  <a:gd name="connsiteX103" fmla="*/ 1037163 w 1546130"/>
                  <a:gd name="connsiteY103" fmla="*/ 16274 h 43567"/>
                  <a:gd name="connsiteX104" fmla="*/ 1046383 w 1546130"/>
                  <a:gd name="connsiteY104" fmla="*/ 25081 h 43567"/>
                  <a:gd name="connsiteX105" fmla="*/ 1052857 w 1546130"/>
                  <a:gd name="connsiteY105" fmla="*/ 30600 h 43567"/>
                  <a:gd name="connsiteX106" fmla="*/ 1052857 w 1546130"/>
                  <a:gd name="connsiteY106" fmla="*/ 30105 h 43567"/>
                  <a:gd name="connsiteX107" fmla="*/ 1054783 w 1546130"/>
                  <a:gd name="connsiteY107" fmla="*/ 2857 h 43567"/>
                  <a:gd name="connsiteX108" fmla="*/ 1066309 w 1546130"/>
                  <a:gd name="connsiteY108" fmla="*/ 71 h 43567"/>
                  <a:gd name="connsiteX109" fmla="*/ 14660 w 1546130"/>
                  <a:gd name="connsiteY109" fmla="*/ 1 h 43567"/>
                  <a:gd name="connsiteX110" fmla="*/ 29281 w 1546130"/>
                  <a:gd name="connsiteY110" fmla="*/ 311 h 43567"/>
                  <a:gd name="connsiteX111" fmla="*/ 65061 w 1546130"/>
                  <a:gd name="connsiteY111" fmla="*/ 311 h 43567"/>
                  <a:gd name="connsiteX112" fmla="*/ 144601 w 1546130"/>
                  <a:gd name="connsiteY112" fmla="*/ 585 h 43567"/>
                  <a:gd name="connsiteX113" fmla="*/ 157262 w 1546130"/>
                  <a:gd name="connsiteY113" fmla="*/ 8567 h 43567"/>
                  <a:gd name="connsiteX114" fmla="*/ 180931 w 1546130"/>
                  <a:gd name="connsiteY114" fmla="*/ 2512 h 43567"/>
                  <a:gd name="connsiteX115" fmla="*/ 193867 w 1546130"/>
                  <a:gd name="connsiteY115" fmla="*/ 861 h 43567"/>
                  <a:gd name="connsiteX116" fmla="*/ 213683 w 1546130"/>
                  <a:gd name="connsiteY116" fmla="*/ 861 h 43567"/>
                  <a:gd name="connsiteX117" fmla="*/ 186711 w 1546130"/>
                  <a:gd name="connsiteY117" fmla="*/ 33613 h 43567"/>
                  <a:gd name="connsiteX118" fmla="*/ 167720 w 1546130"/>
                  <a:gd name="connsiteY118" fmla="*/ 43246 h 43567"/>
                  <a:gd name="connsiteX119" fmla="*/ 153684 w 1546130"/>
                  <a:gd name="connsiteY119" fmla="*/ 25906 h 43567"/>
                  <a:gd name="connsiteX120" fmla="*/ 148455 w 1546130"/>
                  <a:gd name="connsiteY120" fmla="*/ 29209 h 43567"/>
                  <a:gd name="connsiteX121" fmla="*/ 122033 w 1546130"/>
                  <a:gd name="connsiteY121" fmla="*/ 43246 h 43567"/>
                  <a:gd name="connsiteX122" fmla="*/ 6437 w 1546130"/>
                  <a:gd name="connsiteY122" fmla="*/ 42971 h 43567"/>
                  <a:gd name="connsiteX123" fmla="*/ 1208 w 1546130"/>
                  <a:gd name="connsiteY123" fmla="*/ 39943 h 43567"/>
                  <a:gd name="connsiteX124" fmla="*/ 1208 w 1546130"/>
                  <a:gd name="connsiteY124" fmla="*/ 30035 h 43567"/>
                  <a:gd name="connsiteX125" fmla="*/ 3134 w 1546130"/>
                  <a:gd name="connsiteY125" fmla="*/ 2787 h 43567"/>
                  <a:gd name="connsiteX126" fmla="*/ 14660 w 1546130"/>
                  <a:gd name="connsiteY126" fmla="*/ 1 h 4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546130" h="43567">
                    <a:moveTo>
                      <a:pt x="934228" y="26457"/>
                    </a:moveTo>
                    <a:cubicBezTo>
                      <a:pt x="932026" y="26182"/>
                      <a:pt x="928448" y="28108"/>
                      <a:pt x="929274" y="30586"/>
                    </a:cubicBezTo>
                    <a:cubicBezTo>
                      <a:pt x="930650" y="35265"/>
                      <a:pt x="934778" y="38567"/>
                      <a:pt x="939182" y="40494"/>
                    </a:cubicBezTo>
                    <a:cubicBezTo>
                      <a:pt x="940834" y="41319"/>
                      <a:pt x="941659" y="38017"/>
                      <a:pt x="941935" y="35540"/>
                    </a:cubicBezTo>
                    <a:cubicBezTo>
                      <a:pt x="941109" y="31411"/>
                      <a:pt x="939733" y="27008"/>
                      <a:pt x="934228" y="26457"/>
                    </a:cubicBezTo>
                    <a:close/>
                    <a:moveTo>
                      <a:pt x="1074600" y="5885"/>
                    </a:moveTo>
                    <a:cubicBezTo>
                      <a:pt x="1074600" y="5885"/>
                      <a:pt x="1074325" y="6160"/>
                      <a:pt x="1074325" y="6160"/>
                    </a:cubicBezTo>
                    <a:cubicBezTo>
                      <a:pt x="1074325" y="6160"/>
                      <a:pt x="1074325" y="6435"/>
                      <a:pt x="1074325" y="6435"/>
                    </a:cubicBezTo>
                    <a:cubicBezTo>
                      <a:pt x="1074049" y="6435"/>
                      <a:pt x="1074049" y="6435"/>
                      <a:pt x="1074049" y="6435"/>
                    </a:cubicBezTo>
                    <a:cubicBezTo>
                      <a:pt x="1074049" y="6160"/>
                      <a:pt x="1074049" y="6160"/>
                      <a:pt x="1074049" y="6160"/>
                    </a:cubicBezTo>
                    <a:cubicBezTo>
                      <a:pt x="1074049" y="6160"/>
                      <a:pt x="1073774" y="6435"/>
                      <a:pt x="1073774" y="6435"/>
                    </a:cubicBezTo>
                    <a:cubicBezTo>
                      <a:pt x="1070196" y="14142"/>
                      <a:pt x="1077903" y="21298"/>
                      <a:pt x="1075976" y="29004"/>
                    </a:cubicBezTo>
                    <a:cubicBezTo>
                      <a:pt x="1075976" y="29554"/>
                      <a:pt x="1078453" y="30931"/>
                      <a:pt x="1078728" y="30655"/>
                    </a:cubicBezTo>
                    <a:cubicBezTo>
                      <a:pt x="1083407" y="26252"/>
                      <a:pt x="1093591" y="30931"/>
                      <a:pt x="1094416" y="24876"/>
                    </a:cubicBezTo>
                    <a:cubicBezTo>
                      <a:pt x="1094967" y="21573"/>
                      <a:pt x="1091939" y="12215"/>
                      <a:pt x="1084783" y="9738"/>
                    </a:cubicBezTo>
                    <a:cubicBezTo>
                      <a:pt x="1081481" y="8913"/>
                      <a:pt x="1078728" y="6160"/>
                      <a:pt x="1075150" y="6435"/>
                    </a:cubicBezTo>
                    <a:cubicBezTo>
                      <a:pt x="1074875" y="6160"/>
                      <a:pt x="1074600" y="6160"/>
                      <a:pt x="1074600" y="5885"/>
                    </a:cubicBezTo>
                    <a:close/>
                    <a:moveTo>
                      <a:pt x="22951" y="5815"/>
                    </a:moveTo>
                    <a:cubicBezTo>
                      <a:pt x="22951" y="5815"/>
                      <a:pt x="22676" y="6090"/>
                      <a:pt x="22676" y="6090"/>
                    </a:cubicBezTo>
                    <a:cubicBezTo>
                      <a:pt x="22676" y="6090"/>
                      <a:pt x="22676" y="6365"/>
                      <a:pt x="22676" y="6365"/>
                    </a:cubicBezTo>
                    <a:cubicBezTo>
                      <a:pt x="22400" y="6365"/>
                      <a:pt x="22400" y="6365"/>
                      <a:pt x="22400" y="6365"/>
                    </a:cubicBezTo>
                    <a:cubicBezTo>
                      <a:pt x="22400" y="6090"/>
                      <a:pt x="22400" y="6090"/>
                      <a:pt x="22400" y="6090"/>
                    </a:cubicBezTo>
                    <a:cubicBezTo>
                      <a:pt x="22400" y="6090"/>
                      <a:pt x="22125" y="6365"/>
                      <a:pt x="22125" y="6365"/>
                    </a:cubicBezTo>
                    <a:cubicBezTo>
                      <a:pt x="18547" y="14072"/>
                      <a:pt x="26254" y="21228"/>
                      <a:pt x="24327" y="28934"/>
                    </a:cubicBezTo>
                    <a:cubicBezTo>
                      <a:pt x="24327" y="29484"/>
                      <a:pt x="26804" y="30861"/>
                      <a:pt x="27079" y="30585"/>
                    </a:cubicBezTo>
                    <a:cubicBezTo>
                      <a:pt x="31758" y="26182"/>
                      <a:pt x="41942" y="30861"/>
                      <a:pt x="42767" y="24806"/>
                    </a:cubicBezTo>
                    <a:cubicBezTo>
                      <a:pt x="43318" y="21503"/>
                      <a:pt x="40290" y="12145"/>
                      <a:pt x="33134" y="9668"/>
                    </a:cubicBezTo>
                    <a:cubicBezTo>
                      <a:pt x="29832" y="8843"/>
                      <a:pt x="27079" y="6090"/>
                      <a:pt x="23501" y="6365"/>
                    </a:cubicBezTo>
                    <a:cubicBezTo>
                      <a:pt x="23226" y="6090"/>
                      <a:pt x="22951" y="6090"/>
                      <a:pt x="22951" y="5815"/>
                    </a:cubicBezTo>
                    <a:close/>
                    <a:moveTo>
                      <a:pt x="1440377" y="380"/>
                    </a:moveTo>
                    <a:cubicBezTo>
                      <a:pt x="1447808" y="380"/>
                      <a:pt x="1453863" y="105"/>
                      <a:pt x="1453313" y="11940"/>
                    </a:cubicBezTo>
                    <a:cubicBezTo>
                      <a:pt x="1454689" y="-1271"/>
                      <a:pt x="1463221" y="656"/>
                      <a:pt x="1470652" y="656"/>
                    </a:cubicBezTo>
                    <a:lnTo>
                      <a:pt x="1546130" y="656"/>
                    </a:lnTo>
                    <a:lnTo>
                      <a:pt x="1546130" y="42765"/>
                    </a:lnTo>
                    <a:lnTo>
                      <a:pt x="1509184" y="42765"/>
                    </a:lnTo>
                    <a:cubicBezTo>
                      <a:pt x="1505606" y="42765"/>
                      <a:pt x="1502027" y="43591"/>
                      <a:pt x="1500101" y="38637"/>
                    </a:cubicBezTo>
                    <a:cubicBezTo>
                      <a:pt x="1498725" y="35059"/>
                      <a:pt x="1494321" y="35885"/>
                      <a:pt x="1492670" y="38086"/>
                    </a:cubicBezTo>
                    <a:cubicBezTo>
                      <a:pt x="1487166" y="44692"/>
                      <a:pt x="1480009" y="42765"/>
                      <a:pt x="1473129" y="42765"/>
                    </a:cubicBezTo>
                    <a:cubicBezTo>
                      <a:pt x="1411478" y="43040"/>
                      <a:pt x="1349827" y="42765"/>
                      <a:pt x="1288176" y="43040"/>
                    </a:cubicBezTo>
                    <a:cubicBezTo>
                      <a:pt x="1281295" y="43040"/>
                      <a:pt x="1275516" y="42215"/>
                      <a:pt x="1274965" y="34233"/>
                    </a:cubicBezTo>
                    <a:cubicBezTo>
                      <a:pt x="1274415" y="26527"/>
                      <a:pt x="1281021" y="27353"/>
                      <a:pt x="1285699" y="24876"/>
                    </a:cubicBezTo>
                    <a:cubicBezTo>
                      <a:pt x="1292580" y="21022"/>
                      <a:pt x="1306892" y="27353"/>
                      <a:pt x="1304690" y="10013"/>
                    </a:cubicBezTo>
                    <a:cubicBezTo>
                      <a:pt x="1311020" y="13316"/>
                      <a:pt x="1316249" y="16069"/>
                      <a:pt x="1322580" y="15793"/>
                    </a:cubicBezTo>
                    <a:cubicBezTo>
                      <a:pt x="1325332" y="15793"/>
                      <a:pt x="1328359" y="15518"/>
                      <a:pt x="1328910" y="13316"/>
                    </a:cubicBezTo>
                    <a:cubicBezTo>
                      <a:pt x="1331937" y="-1271"/>
                      <a:pt x="1343772" y="931"/>
                      <a:pt x="1353680" y="656"/>
                    </a:cubicBezTo>
                    <a:cubicBezTo>
                      <a:pt x="1382579" y="380"/>
                      <a:pt x="1411478" y="656"/>
                      <a:pt x="1440377" y="380"/>
                    </a:cubicBezTo>
                    <a:close/>
                    <a:moveTo>
                      <a:pt x="388728" y="310"/>
                    </a:moveTo>
                    <a:cubicBezTo>
                      <a:pt x="396159" y="310"/>
                      <a:pt x="402214" y="35"/>
                      <a:pt x="401664" y="11870"/>
                    </a:cubicBezTo>
                    <a:cubicBezTo>
                      <a:pt x="403040" y="-1341"/>
                      <a:pt x="411572" y="586"/>
                      <a:pt x="419003" y="586"/>
                    </a:cubicBezTo>
                    <a:cubicBezTo>
                      <a:pt x="468268" y="586"/>
                      <a:pt x="517259" y="586"/>
                      <a:pt x="566250" y="586"/>
                    </a:cubicBezTo>
                    <a:cubicBezTo>
                      <a:pt x="572029" y="310"/>
                      <a:pt x="578084" y="-515"/>
                      <a:pt x="580011" y="8017"/>
                    </a:cubicBezTo>
                    <a:cubicBezTo>
                      <a:pt x="572029" y="3338"/>
                      <a:pt x="553589" y="12421"/>
                      <a:pt x="553314" y="20677"/>
                    </a:cubicBezTo>
                    <a:cubicBezTo>
                      <a:pt x="553039" y="25356"/>
                      <a:pt x="556892" y="26457"/>
                      <a:pt x="560194" y="24531"/>
                    </a:cubicBezTo>
                    <a:cubicBezTo>
                      <a:pt x="569552" y="19576"/>
                      <a:pt x="575882" y="28108"/>
                      <a:pt x="583864" y="28934"/>
                    </a:cubicBezTo>
                    <a:cubicBezTo>
                      <a:pt x="587717" y="29484"/>
                      <a:pt x="589919" y="34989"/>
                      <a:pt x="588818" y="38842"/>
                    </a:cubicBezTo>
                    <a:cubicBezTo>
                      <a:pt x="588268" y="43245"/>
                      <a:pt x="584139" y="42695"/>
                      <a:pt x="580836" y="42695"/>
                    </a:cubicBezTo>
                    <a:cubicBezTo>
                      <a:pt x="539827" y="42695"/>
                      <a:pt x="498543" y="42695"/>
                      <a:pt x="457535" y="42695"/>
                    </a:cubicBezTo>
                    <a:cubicBezTo>
                      <a:pt x="453957" y="42695"/>
                      <a:pt x="450378" y="43521"/>
                      <a:pt x="448452" y="38567"/>
                    </a:cubicBezTo>
                    <a:cubicBezTo>
                      <a:pt x="447076" y="34989"/>
                      <a:pt x="442672" y="35815"/>
                      <a:pt x="441021" y="38016"/>
                    </a:cubicBezTo>
                    <a:cubicBezTo>
                      <a:pt x="435517" y="44622"/>
                      <a:pt x="428360" y="42695"/>
                      <a:pt x="421480" y="42695"/>
                    </a:cubicBezTo>
                    <a:cubicBezTo>
                      <a:pt x="359829" y="42970"/>
                      <a:pt x="298178" y="42695"/>
                      <a:pt x="236527" y="42970"/>
                    </a:cubicBezTo>
                    <a:cubicBezTo>
                      <a:pt x="229646" y="42970"/>
                      <a:pt x="223867" y="42145"/>
                      <a:pt x="223316" y="34163"/>
                    </a:cubicBezTo>
                    <a:cubicBezTo>
                      <a:pt x="222766" y="26457"/>
                      <a:pt x="229372" y="27283"/>
                      <a:pt x="234050" y="24806"/>
                    </a:cubicBezTo>
                    <a:cubicBezTo>
                      <a:pt x="240931" y="20952"/>
                      <a:pt x="255243" y="27283"/>
                      <a:pt x="253041" y="9943"/>
                    </a:cubicBezTo>
                    <a:cubicBezTo>
                      <a:pt x="259371" y="13246"/>
                      <a:pt x="264600" y="15999"/>
                      <a:pt x="270931" y="15723"/>
                    </a:cubicBezTo>
                    <a:cubicBezTo>
                      <a:pt x="273683" y="15723"/>
                      <a:pt x="276710" y="15448"/>
                      <a:pt x="277261" y="13246"/>
                    </a:cubicBezTo>
                    <a:cubicBezTo>
                      <a:pt x="280288" y="-1341"/>
                      <a:pt x="292123" y="861"/>
                      <a:pt x="302031" y="586"/>
                    </a:cubicBezTo>
                    <a:cubicBezTo>
                      <a:pt x="330930" y="310"/>
                      <a:pt x="359829" y="586"/>
                      <a:pt x="388728" y="310"/>
                    </a:cubicBezTo>
                    <a:close/>
                    <a:moveTo>
                      <a:pt x="1066309" y="71"/>
                    </a:moveTo>
                    <a:cubicBezTo>
                      <a:pt x="1071091" y="105"/>
                      <a:pt x="1076389" y="656"/>
                      <a:pt x="1080930" y="381"/>
                    </a:cubicBezTo>
                    <a:cubicBezTo>
                      <a:pt x="1092765" y="381"/>
                      <a:pt x="1104875" y="381"/>
                      <a:pt x="1116710" y="381"/>
                    </a:cubicBezTo>
                    <a:cubicBezTo>
                      <a:pt x="1143132" y="381"/>
                      <a:pt x="1169828" y="655"/>
                      <a:pt x="1196250" y="655"/>
                    </a:cubicBezTo>
                    <a:cubicBezTo>
                      <a:pt x="1202306" y="655"/>
                      <a:pt x="1208085" y="655"/>
                      <a:pt x="1208911" y="8637"/>
                    </a:cubicBezTo>
                    <a:cubicBezTo>
                      <a:pt x="1217993" y="11114"/>
                      <a:pt x="1226800" y="14967"/>
                      <a:pt x="1232580" y="2582"/>
                    </a:cubicBezTo>
                    <a:cubicBezTo>
                      <a:pt x="1234782" y="-1822"/>
                      <a:pt x="1241112" y="1206"/>
                      <a:pt x="1245516" y="931"/>
                    </a:cubicBezTo>
                    <a:cubicBezTo>
                      <a:pt x="1251571" y="381"/>
                      <a:pt x="1257901" y="655"/>
                      <a:pt x="1265332" y="931"/>
                    </a:cubicBezTo>
                    <a:cubicBezTo>
                      <a:pt x="1254874" y="11665"/>
                      <a:pt x="1245241" y="22399"/>
                      <a:pt x="1238360" y="33683"/>
                    </a:cubicBezTo>
                    <a:cubicBezTo>
                      <a:pt x="1232580" y="43316"/>
                      <a:pt x="1227351" y="43866"/>
                      <a:pt x="1219369" y="43316"/>
                    </a:cubicBezTo>
                    <a:cubicBezTo>
                      <a:pt x="1212214" y="42765"/>
                      <a:pt x="1204507" y="33133"/>
                      <a:pt x="1205333" y="25976"/>
                    </a:cubicBezTo>
                    <a:cubicBezTo>
                      <a:pt x="1203406" y="27077"/>
                      <a:pt x="1200379" y="27903"/>
                      <a:pt x="1200104" y="29279"/>
                    </a:cubicBezTo>
                    <a:cubicBezTo>
                      <a:pt x="1197902" y="46618"/>
                      <a:pt x="1184691" y="43316"/>
                      <a:pt x="1173682" y="43316"/>
                    </a:cubicBezTo>
                    <a:lnTo>
                      <a:pt x="1068584" y="43066"/>
                    </a:lnTo>
                    <a:lnTo>
                      <a:pt x="1068814" y="43246"/>
                    </a:lnTo>
                    <a:cubicBezTo>
                      <a:pt x="1058080" y="43246"/>
                      <a:pt x="1050099" y="43246"/>
                      <a:pt x="1041842" y="43246"/>
                    </a:cubicBezTo>
                    <a:cubicBezTo>
                      <a:pt x="973586" y="43246"/>
                      <a:pt x="905329" y="43246"/>
                      <a:pt x="837072" y="43246"/>
                    </a:cubicBezTo>
                    <a:cubicBezTo>
                      <a:pt x="832669" y="43246"/>
                      <a:pt x="827990" y="44622"/>
                      <a:pt x="823862" y="41044"/>
                    </a:cubicBezTo>
                    <a:cubicBezTo>
                      <a:pt x="821935" y="39393"/>
                      <a:pt x="816155" y="26182"/>
                      <a:pt x="815054" y="42145"/>
                    </a:cubicBezTo>
                    <a:cubicBezTo>
                      <a:pt x="815054" y="42696"/>
                      <a:pt x="810651" y="43246"/>
                      <a:pt x="808449" y="43246"/>
                    </a:cubicBezTo>
                    <a:cubicBezTo>
                      <a:pt x="795238" y="42971"/>
                      <a:pt x="781752" y="42420"/>
                      <a:pt x="768541" y="42420"/>
                    </a:cubicBezTo>
                    <a:cubicBezTo>
                      <a:pt x="752028" y="42420"/>
                      <a:pt x="735514" y="42971"/>
                      <a:pt x="719000" y="42971"/>
                    </a:cubicBezTo>
                    <a:cubicBezTo>
                      <a:pt x="684597" y="42971"/>
                      <a:pt x="650194" y="42971"/>
                      <a:pt x="615790" y="42696"/>
                    </a:cubicBezTo>
                    <a:cubicBezTo>
                      <a:pt x="609735" y="42696"/>
                      <a:pt x="600928" y="44897"/>
                      <a:pt x="609185" y="33888"/>
                    </a:cubicBezTo>
                    <a:cubicBezTo>
                      <a:pt x="600653" y="28934"/>
                      <a:pt x="613588" y="11595"/>
                      <a:pt x="595699" y="11045"/>
                    </a:cubicBezTo>
                    <a:cubicBezTo>
                      <a:pt x="591570" y="10769"/>
                      <a:pt x="585240" y="7191"/>
                      <a:pt x="581662" y="586"/>
                    </a:cubicBezTo>
                    <a:cubicBezTo>
                      <a:pt x="589919" y="586"/>
                      <a:pt x="597350" y="586"/>
                      <a:pt x="604781" y="586"/>
                    </a:cubicBezTo>
                    <a:cubicBezTo>
                      <a:pt x="722853" y="586"/>
                      <a:pt x="840651" y="311"/>
                      <a:pt x="958448" y="586"/>
                    </a:cubicBezTo>
                    <a:cubicBezTo>
                      <a:pt x="973310" y="586"/>
                      <a:pt x="988448" y="2513"/>
                      <a:pt x="1003310" y="311"/>
                    </a:cubicBezTo>
                    <a:cubicBezTo>
                      <a:pt x="1011842" y="-791"/>
                      <a:pt x="1017897" y="4714"/>
                      <a:pt x="1025603" y="6090"/>
                    </a:cubicBezTo>
                    <a:cubicBezTo>
                      <a:pt x="1028080" y="6641"/>
                      <a:pt x="1029456" y="6366"/>
                      <a:pt x="1029181" y="3889"/>
                    </a:cubicBezTo>
                    <a:cubicBezTo>
                      <a:pt x="1028906" y="3338"/>
                      <a:pt x="1026154" y="3063"/>
                      <a:pt x="1024778" y="1136"/>
                    </a:cubicBezTo>
                    <a:cubicBezTo>
                      <a:pt x="1027530" y="1412"/>
                      <a:pt x="1030557" y="1136"/>
                      <a:pt x="1033310" y="1962"/>
                    </a:cubicBezTo>
                    <a:cubicBezTo>
                      <a:pt x="1036888" y="3063"/>
                      <a:pt x="1041567" y="-2442"/>
                      <a:pt x="1044044" y="3614"/>
                    </a:cubicBezTo>
                    <a:cubicBezTo>
                      <a:pt x="1046245" y="8843"/>
                      <a:pt x="1041016" y="9668"/>
                      <a:pt x="1038814" y="12145"/>
                    </a:cubicBezTo>
                    <a:cubicBezTo>
                      <a:pt x="1037989" y="13246"/>
                      <a:pt x="1037163" y="16274"/>
                      <a:pt x="1037163" y="16274"/>
                    </a:cubicBezTo>
                    <a:cubicBezTo>
                      <a:pt x="1040879" y="18201"/>
                      <a:pt x="1043700" y="21779"/>
                      <a:pt x="1046383" y="25081"/>
                    </a:cubicBezTo>
                    <a:lnTo>
                      <a:pt x="1052857" y="30600"/>
                    </a:lnTo>
                    <a:lnTo>
                      <a:pt x="1052857" y="30105"/>
                    </a:lnTo>
                    <a:cubicBezTo>
                      <a:pt x="1053407" y="20747"/>
                      <a:pt x="1048729" y="8362"/>
                      <a:pt x="1054783" y="2857"/>
                    </a:cubicBezTo>
                    <a:cubicBezTo>
                      <a:pt x="1057261" y="518"/>
                      <a:pt x="1061527" y="36"/>
                      <a:pt x="1066309" y="71"/>
                    </a:cubicBezTo>
                    <a:close/>
                    <a:moveTo>
                      <a:pt x="14660" y="1"/>
                    </a:moveTo>
                    <a:cubicBezTo>
                      <a:pt x="19442" y="35"/>
                      <a:pt x="24740" y="586"/>
                      <a:pt x="29281" y="311"/>
                    </a:cubicBezTo>
                    <a:cubicBezTo>
                      <a:pt x="41116" y="311"/>
                      <a:pt x="53226" y="311"/>
                      <a:pt x="65061" y="311"/>
                    </a:cubicBezTo>
                    <a:cubicBezTo>
                      <a:pt x="91483" y="311"/>
                      <a:pt x="118179" y="585"/>
                      <a:pt x="144601" y="585"/>
                    </a:cubicBezTo>
                    <a:cubicBezTo>
                      <a:pt x="150657" y="585"/>
                      <a:pt x="156436" y="585"/>
                      <a:pt x="157262" y="8567"/>
                    </a:cubicBezTo>
                    <a:cubicBezTo>
                      <a:pt x="166344" y="11044"/>
                      <a:pt x="175151" y="14897"/>
                      <a:pt x="180931" y="2512"/>
                    </a:cubicBezTo>
                    <a:cubicBezTo>
                      <a:pt x="183133" y="-1892"/>
                      <a:pt x="189463" y="1136"/>
                      <a:pt x="193867" y="861"/>
                    </a:cubicBezTo>
                    <a:cubicBezTo>
                      <a:pt x="199922" y="311"/>
                      <a:pt x="206252" y="585"/>
                      <a:pt x="213683" y="861"/>
                    </a:cubicBezTo>
                    <a:cubicBezTo>
                      <a:pt x="203225" y="11595"/>
                      <a:pt x="193592" y="22329"/>
                      <a:pt x="186711" y="33613"/>
                    </a:cubicBezTo>
                    <a:cubicBezTo>
                      <a:pt x="180931" y="43246"/>
                      <a:pt x="175702" y="43796"/>
                      <a:pt x="167720" y="43246"/>
                    </a:cubicBezTo>
                    <a:cubicBezTo>
                      <a:pt x="160565" y="42695"/>
                      <a:pt x="152858" y="33063"/>
                      <a:pt x="153684" y="25906"/>
                    </a:cubicBezTo>
                    <a:cubicBezTo>
                      <a:pt x="151757" y="27007"/>
                      <a:pt x="148730" y="27833"/>
                      <a:pt x="148455" y="29209"/>
                    </a:cubicBezTo>
                    <a:cubicBezTo>
                      <a:pt x="146253" y="46548"/>
                      <a:pt x="133042" y="43246"/>
                      <a:pt x="122033" y="43246"/>
                    </a:cubicBezTo>
                    <a:cubicBezTo>
                      <a:pt x="83501" y="43246"/>
                      <a:pt x="44969" y="42971"/>
                      <a:pt x="6437" y="42971"/>
                    </a:cubicBezTo>
                    <a:cubicBezTo>
                      <a:pt x="3685" y="43521"/>
                      <a:pt x="1483" y="43246"/>
                      <a:pt x="1208" y="39943"/>
                    </a:cubicBezTo>
                    <a:cubicBezTo>
                      <a:pt x="1208" y="36640"/>
                      <a:pt x="933" y="33338"/>
                      <a:pt x="1208" y="30035"/>
                    </a:cubicBezTo>
                    <a:cubicBezTo>
                      <a:pt x="1758" y="20677"/>
                      <a:pt x="-2920" y="8292"/>
                      <a:pt x="3134" y="2787"/>
                    </a:cubicBezTo>
                    <a:cubicBezTo>
                      <a:pt x="5612" y="448"/>
                      <a:pt x="9878" y="-34"/>
                      <a:pt x="146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xmlns="" id="{C02E572A-1B71-49F2-AE4B-DBB9A8E1DC85}"/>
                  </a:ext>
                </a:extLst>
              </p:cNvPr>
              <p:cNvSpPr/>
              <p:nvPr/>
            </p:nvSpPr>
            <p:spPr>
              <a:xfrm rot="10800000">
                <a:off x="5989366" y="544828"/>
                <a:ext cx="3321685" cy="76019"/>
              </a:xfrm>
              <a:custGeom>
                <a:avLst/>
                <a:gdLst>
                  <a:gd name="connsiteX0" fmla="*/ 1323163 w 1645441"/>
                  <a:gd name="connsiteY0" fmla="*/ 28780 h 37657"/>
                  <a:gd name="connsiteX1" fmla="*/ 1333347 w 1645441"/>
                  <a:gd name="connsiteY1" fmla="*/ 36796 h 37657"/>
                  <a:gd name="connsiteX2" fmla="*/ 1312980 w 1645441"/>
                  <a:gd name="connsiteY2" fmla="*/ 36245 h 37657"/>
                  <a:gd name="connsiteX3" fmla="*/ 1323163 w 1645441"/>
                  <a:gd name="connsiteY3" fmla="*/ 28780 h 37657"/>
                  <a:gd name="connsiteX4" fmla="*/ 502405 w 1645441"/>
                  <a:gd name="connsiteY4" fmla="*/ 28666 h 37657"/>
                  <a:gd name="connsiteX5" fmla="*/ 512589 w 1645441"/>
                  <a:gd name="connsiteY5" fmla="*/ 36682 h 37657"/>
                  <a:gd name="connsiteX6" fmla="*/ 492222 w 1645441"/>
                  <a:gd name="connsiteY6" fmla="*/ 36131 h 37657"/>
                  <a:gd name="connsiteX7" fmla="*/ 502405 w 1645441"/>
                  <a:gd name="connsiteY7" fmla="*/ 28666 h 37657"/>
                  <a:gd name="connsiteX8" fmla="*/ 1645441 w 1645441"/>
                  <a:gd name="connsiteY8" fmla="*/ 21503 h 37657"/>
                  <a:gd name="connsiteX9" fmla="*/ 1645441 w 1645441"/>
                  <a:gd name="connsiteY9" fmla="*/ 33701 h 37657"/>
                  <a:gd name="connsiteX10" fmla="*/ 1640157 w 1645441"/>
                  <a:gd name="connsiteY10" fmla="*/ 32461 h 37657"/>
                  <a:gd name="connsiteX11" fmla="*/ 1639950 w 1645441"/>
                  <a:gd name="connsiteY11" fmla="*/ 27438 h 37657"/>
                  <a:gd name="connsiteX12" fmla="*/ 833779 w 1645441"/>
                  <a:gd name="connsiteY12" fmla="*/ 19618 h 37657"/>
                  <a:gd name="connsiteX13" fmla="*/ 843962 w 1645441"/>
                  <a:gd name="connsiteY13" fmla="*/ 30627 h 37657"/>
                  <a:gd name="connsiteX14" fmla="*/ 824972 w 1645441"/>
                  <a:gd name="connsiteY14" fmla="*/ 33655 h 37657"/>
                  <a:gd name="connsiteX15" fmla="*/ 819192 w 1645441"/>
                  <a:gd name="connsiteY15" fmla="*/ 27324 h 37657"/>
                  <a:gd name="connsiteX16" fmla="*/ 833779 w 1645441"/>
                  <a:gd name="connsiteY16" fmla="*/ 19618 h 37657"/>
                  <a:gd name="connsiteX17" fmla="*/ 1645441 w 1645441"/>
                  <a:gd name="connsiteY17" fmla="*/ 5017 h 37657"/>
                  <a:gd name="connsiteX18" fmla="*/ 1645441 w 1645441"/>
                  <a:gd name="connsiteY18" fmla="*/ 6122 h 37657"/>
                  <a:gd name="connsiteX19" fmla="*/ 1644904 w 1645441"/>
                  <a:gd name="connsiteY19" fmla="*/ 5420 h 37657"/>
                  <a:gd name="connsiteX20" fmla="*/ 18831 w 1645441"/>
                  <a:gd name="connsiteY20" fmla="*/ 627 h 37657"/>
                  <a:gd name="connsiteX21" fmla="*/ 78005 w 1645441"/>
                  <a:gd name="connsiteY21" fmla="*/ 627 h 37657"/>
                  <a:gd name="connsiteX22" fmla="*/ 144609 w 1645441"/>
                  <a:gd name="connsiteY22" fmla="*/ 627 h 37657"/>
                  <a:gd name="connsiteX23" fmla="*/ 155894 w 1645441"/>
                  <a:gd name="connsiteY23" fmla="*/ 5580 h 37657"/>
                  <a:gd name="connsiteX24" fmla="*/ 154518 w 1645441"/>
                  <a:gd name="connsiteY24" fmla="*/ 19617 h 37657"/>
                  <a:gd name="connsiteX25" fmla="*/ 147362 w 1645441"/>
                  <a:gd name="connsiteY25" fmla="*/ 34754 h 37657"/>
                  <a:gd name="connsiteX26" fmla="*/ 143509 w 1645441"/>
                  <a:gd name="connsiteY26" fmla="*/ 36681 h 37657"/>
                  <a:gd name="connsiteX27" fmla="*/ 105252 w 1645441"/>
                  <a:gd name="connsiteY27" fmla="*/ 33653 h 37657"/>
                  <a:gd name="connsiteX28" fmla="*/ 99197 w 1645441"/>
                  <a:gd name="connsiteY28" fmla="*/ 33103 h 37657"/>
                  <a:gd name="connsiteX29" fmla="*/ 16904 w 1645441"/>
                  <a:gd name="connsiteY29" fmla="*/ 36406 h 37657"/>
                  <a:gd name="connsiteX30" fmla="*/ 115 w 1645441"/>
                  <a:gd name="connsiteY30" fmla="*/ 19066 h 37657"/>
                  <a:gd name="connsiteX31" fmla="*/ 18831 w 1645441"/>
                  <a:gd name="connsiteY31" fmla="*/ 627 h 37657"/>
                  <a:gd name="connsiteX32" fmla="*/ 168624 w 1645441"/>
                  <a:gd name="connsiteY32" fmla="*/ 524 h 37657"/>
                  <a:gd name="connsiteX33" fmla="*/ 175711 w 1645441"/>
                  <a:gd name="connsiteY33" fmla="*/ 4480 h 37657"/>
                  <a:gd name="connsiteX34" fmla="*/ 182591 w 1645441"/>
                  <a:gd name="connsiteY34" fmla="*/ 8609 h 37657"/>
                  <a:gd name="connsiteX35" fmla="*/ 177087 w 1645441"/>
                  <a:gd name="connsiteY35" fmla="*/ 11361 h 37657"/>
                  <a:gd name="connsiteX36" fmla="*/ 161123 w 1645441"/>
                  <a:gd name="connsiteY36" fmla="*/ 8334 h 37657"/>
                  <a:gd name="connsiteX37" fmla="*/ 161123 w 1645441"/>
                  <a:gd name="connsiteY37" fmla="*/ 2554 h 37657"/>
                  <a:gd name="connsiteX38" fmla="*/ 168624 w 1645441"/>
                  <a:gd name="connsiteY38" fmla="*/ 524 h 37657"/>
                  <a:gd name="connsiteX39" fmla="*/ 1260961 w 1645441"/>
                  <a:gd name="connsiteY39" fmla="*/ 465 h 37657"/>
                  <a:gd name="connsiteX40" fmla="*/ 1271420 w 1645441"/>
                  <a:gd name="connsiteY40" fmla="*/ 8447 h 37657"/>
                  <a:gd name="connsiteX41" fmla="*/ 1278575 w 1645441"/>
                  <a:gd name="connsiteY41" fmla="*/ 31566 h 37657"/>
                  <a:gd name="connsiteX42" fmla="*/ 1268392 w 1645441"/>
                  <a:gd name="connsiteY42" fmla="*/ 37071 h 37657"/>
                  <a:gd name="connsiteX43" fmla="*/ 1152797 w 1645441"/>
                  <a:gd name="connsiteY43" fmla="*/ 37071 h 37657"/>
                  <a:gd name="connsiteX44" fmla="*/ 1117568 w 1645441"/>
                  <a:gd name="connsiteY44" fmla="*/ 37071 h 37657"/>
                  <a:gd name="connsiteX45" fmla="*/ 1093176 w 1645441"/>
                  <a:gd name="connsiteY45" fmla="*/ 35557 h 37657"/>
                  <a:gd name="connsiteX46" fmla="*/ 1092403 w 1645441"/>
                  <a:gd name="connsiteY46" fmla="*/ 35283 h 37657"/>
                  <a:gd name="connsiteX47" fmla="*/ 1092403 w 1645441"/>
                  <a:gd name="connsiteY47" fmla="*/ 36682 h 37657"/>
                  <a:gd name="connsiteX48" fmla="*/ 1061686 w 1645441"/>
                  <a:gd name="connsiteY48" fmla="*/ 36682 h 37657"/>
                  <a:gd name="connsiteX49" fmla="*/ 1061696 w 1645441"/>
                  <a:gd name="connsiteY49" fmla="*/ 36795 h 37657"/>
                  <a:gd name="connsiteX50" fmla="*/ 1010880 w 1645441"/>
                  <a:gd name="connsiteY50" fmla="*/ 36795 h 37657"/>
                  <a:gd name="connsiteX51" fmla="*/ 1010880 w 1645441"/>
                  <a:gd name="connsiteY51" fmla="*/ 36682 h 37657"/>
                  <a:gd name="connsiteX52" fmla="*/ 973870 w 1645441"/>
                  <a:gd name="connsiteY52" fmla="*/ 36682 h 37657"/>
                  <a:gd name="connsiteX53" fmla="*/ 964787 w 1645441"/>
                  <a:gd name="connsiteY53" fmla="*/ 22920 h 37657"/>
                  <a:gd name="connsiteX54" fmla="*/ 955705 w 1645441"/>
                  <a:gd name="connsiteY54" fmla="*/ 15214 h 37657"/>
                  <a:gd name="connsiteX55" fmla="*/ 954054 w 1645441"/>
                  <a:gd name="connsiteY55" fmla="*/ 23196 h 37657"/>
                  <a:gd name="connsiteX56" fmla="*/ 948273 w 1645441"/>
                  <a:gd name="connsiteY56" fmla="*/ 27324 h 37657"/>
                  <a:gd name="connsiteX57" fmla="*/ 928732 w 1645441"/>
                  <a:gd name="connsiteY57" fmla="*/ 12187 h 37657"/>
                  <a:gd name="connsiteX58" fmla="*/ 907540 w 1645441"/>
                  <a:gd name="connsiteY58" fmla="*/ 9985 h 37657"/>
                  <a:gd name="connsiteX59" fmla="*/ 897907 w 1645441"/>
                  <a:gd name="connsiteY59" fmla="*/ 5306 h 37657"/>
                  <a:gd name="connsiteX60" fmla="*/ 894880 w 1645441"/>
                  <a:gd name="connsiteY60" fmla="*/ 18517 h 37657"/>
                  <a:gd name="connsiteX61" fmla="*/ 894329 w 1645441"/>
                  <a:gd name="connsiteY61" fmla="*/ 34205 h 37657"/>
                  <a:gd name="connsiteX62" fmla="*/ 889925 w 1645441"/>
                  <a:gd name="connsiteY62" fmla="*/ 36682 h 37657"/>
                  <a:gd name="connsiteX63" fmla="*/ 848916 w 1645441"/>
                  <a:gd name="connsiteY63" fmla="*/ 36682 h 37657"/>
                  <a:gd name="connsiteX64" fmla="*/ 844238 w 1645441"/>
                  <a:gd name="connsiteY64" fmla="*/ 30627 h 37657"/>
                  <a:gd name="connsiteX65" fmla="*/ 854421 w 1645441"/>
                  <a:gd name="connsiteY65" fmla="*/ 30352 h 37657"/>
                  <a:gd name="connsiteX66" fmla="*/ 849192 w 1645441"/>
                  <a:gd name="connsiteY66" fmla="*/ 19893 h 37657"/>
                  <a:gd name="connsiteX67" fmla="*/ 842311 w 1645441"/>
                  <a:gd name="connsiteY67" fmla="*/ 1453 h 37657"/>
                  <a:gd name="connsiteX68" fmla="*/ 1010880 w 1645441"/>
                  <a:gd name="connsiteY68" fmla="*/ 1453 h 37657"/>
                  <a:gd name="connsiteX69" fmla="*/ 1010880 w 1645441"/>
                  <a:gd name="connsiteY69" fmla="*/ 973 h 37657"/>
                  <a:gd name="connsiteX70" fmla="*/ 1012190 w 1645441"/>
                  <a:gd name="connsiteY70" fmla="*/ 1016 h 37657"/>
                  <a:gd name="connsiteX71" fmla="*/ 1012704 w 1645441"/>
                  <a:gd name="connsiteY71" fmla="*/ 1453 h 37657"/>
                  <a:gd name="connsiteX72" fmla="*/ 1060146 w 1645441"/>
                  <a:gd name="connsiteY72" fmla="*/ 1453 h 37657"/>
                  <a:gd name="connsiteX73" fmla="*/ 1060355 w 1645441"/>
                  <a:gd name="connsiteY73" fmla="*/ 1256 h 37657"/>
                  <a:gd name="connsiteX74" fmla="*/ 1066100 w 1645441"/>
                  <a:gd name="connsiteY74" fmla="*/ 740 h 37657"/>
                  <a:gd name="connsiteX75" fmla="*/ 1260961 w 1645441"/>
                  <a:gd name="connsiteY75" fmla="*/ 465 h 37657"/>
                  <a:gd name="connsiteX76" fmla="*/ 830751 w 1645441"/>
                  <a:gd name="connsiteY76" fmla="*/ 352 h 37657"/>
                  <a:gd name="connsiteX77" fmla="*/ 834330 w 1645441"/>
                  <a:gd name="connsiteY77" fmla="*/ 3654 h 37657"/>
                  <a:gd name="connsiteX78" fmla="*/ 827724 w 1645441"/>
                  <a:gd name="connsiteY78" fmla="*/ 9984 h 37657"/>
                  <a:gd name="connsiteX79" fmla="*/ 824146 w 1645441"/>
                  <a:gd name="connsiteY79" fmla="*/ 5306 h 37657"/>
                  <a:gd name="connsiteX80" fmla="*/ 830751 w 1645441"/>
                  <a:gd name="connsiteY80" fmla="*/ 352 h 37657"/>
                  <a:gd name="connsiteX81" fmla="*/ 440203 w 1645441"/>
                  <a:gd name="connsiteY81" fmla="*/ 351 h 37657"/>
                  <a:gd name="connsiteX82" fmla="*/ 450662 w 1645441"/>
                  <a:gd name="connsiteY82" fmla="*/ 8333 h 37657"/>
                  <a:gd name="connsiteX83" fmla="*/ 457817 w 1645441"/>
                  <a:gd name="connsiteY83" fmla="*/ 31452 h 37657"/>
                  <a:gd name="connsiteX84" fmla="*/ 447634 w 1645441"/>
                  <a:gd name="connsiteY84" fmla="*/ 36957 h 37657"/>
                  <a:gd name="connsiteX85" fmla="*/ 332039 w 1645441"/>
                  <a:gd name="connsiteY85" fmla="*/ 36957 h 37657"/>
                  <a:gd name="connsiteX86" fmla="*/ 296810 w 1645441"/>
                  <a:gd name="connsiteY86" fmla="*/ 36957 h 37657"/>
                  <a:gd name="connsiteX87" fmla="*/ 249471 w 1645441"/>
                  <a:gd name="connsiteY87" fmla="*/ 27324 h 37657"/>
                  <a:gd name="connsiteX88" fmla="*/ 240113 w 1645441"/>
                  <a:gd name="connsiteY88" fmla="*/ 27048 h 37657"/>
                  <a:gd name="connsiteX89" fmla="*/ 240938 w 1645441"/>
                  <a:gd name="connsiteY89" fmla="*/ 36681 h 37657"/>
                  <a:gd name="connsiteX90" fmla="*/ 158921 w 1645441"/>
                  <a:gd name="connsiteY90" fmla="*/ 36681 h 37657"/>
                  <a:gd name="connsiteX91" fmla="*/ 164426 w 1645441"/>
                  <a:gd name="connsiteY91" fmla="*/ 25122 h 37657"/>
                  <a:gd name="connsiteX92" fmla="*/ 169379 w 1645441"/>
                  <a:gd name="connsiteY92" fmla="*/ 20718 h 37657"/>
                  <a:gd name="connsiteX93" fmla="*/ 194701 w 1645441"/>
                  <a:gd name="connsiteY93" fmla="*/ 7507 h 37657"/>
                  <a:gd name="connsiteX94" fmla="*/ 182866 w 1645441"/>
                  <a:gd name="connsiteY94" fmla="*/ 626 h 37657"/>
                  <a:gd name="connsiteX95" fmla="*/ 198554 w 1645441"/>
                  <a:gd name="connsiteY95" fmla="*/ 6957 h 37657"/>
                  <a:gd name="connsiteX96" fmla="*/ 234883 w 1645441"/>
                  <a:gd name="connsiteY96" fmla="*/ 5580 h 37657"/>
                  <a:gd name="connsiteX97" fmla="*/ 245342 w 1645441"/>
                  <a:gd name="connsiteY97" fmla="*/ 626 h 37657"/>
                  <a:gd name="connsiteX98" fmla="*/ 440203 w 1645441"/>
                  <a:gd name="connsiteY98" fmla="*/ 351 h 37657"/>
                  <a:gd name="connsiteX99" fmla="*/ 1634867 w 1645441"/>
                  <a:gd name="connsiteY99" fmla="*/ 207 h 37657"/>
                  <a:gd name="connsiteX100" fmla="*/ 1640226 w 1645441"/>
                  <a:gd name="connsiteY100" fmla="*/ 1291 h 37657"/>
                  <a:gd name="connsiteX101" fmla="*/ 1637748 w 1645441"/>
                  <a:gd name="connsiteY101" fmla="*/ 9548 h 37657"/>
                  <a:gd name="connsiteX102" fmla="*/ 1612428 w 1645441"/>
                  <a:gd name="connsiteY102" fmla="*/ 34594 h 37657"/>
                  <a:gd name="connsiteX103" fmla="*/ 1613804 w 1645441"/>
                  <a:gd name="connsiteY103" fmla="*/ 22483 h 37657"/>
                  <a:gd name="connsiteX104" fmla="*/ 1602795 w 1645441"/>
                  <a:gd name="connsiteY104" fmla="*/ 17254 h 37657"/>
                  <a:gd name="connsiteX105" fmla="*/ 1604996 w 1645441"/>
                  <a:gd name="connsiteY105" fmla="*/ 28814 h 37657"/>
                  <a:gd name="connsiteX106" fmla="*/ 1585180 w 1645441"/>
                  <a:gd name="connsiteY106" fmla="*/ 25236 h 37657"/>
                  <a:gd name="connsiteX107" fmla="*/ 1587657 w 1645441"/>
                  <a:gd name="connsiteY107" fmla="*/ 36245 h 37657"/>
                  <a:gd name="connsiteX108" fmla="*/ 1506190 w 1645441"/>
                  <a:gd name="connsiteY108" fmla="*/ 36245 h 37657"/>
                  <a:gd name="connsiteX109" fmla="*/ 1481695 w 1645441"/>
                  <a:gd name="connsiteY109" fmla="*/ 12025 h 37657"/>
                  <a:gd name="connsiteX110" fmla="*/ 1465731 w 1645441"/>
                  <a:gd name="connsiteY110" fmla="*/ 22759 h 37657"/>
                  <a:gd name="connsiteX111" fmla="*/ 1467658 w 1645441"/>
                  <a:gd name="connsiteY111" fmla="*/ 33218 h 37657"/>
                  <a:gd name="connsiteX112" fmla="*/ 1467933 w 1645441"/>
                  <a:gd name="connsiteY112" fmla="*/ 34869 h 37657"/>
                  <a:gd name="connsiteX113" fmla="*/ 1439310 w 1645441"/>
                  <a:gd name="connsiteY113" fmla="*/ 36520 h 37657"/>
                  <a:gd name="connsiteX114" fmla="*/ 1363897 w 1645441"/>
                  <a:gd name="connsiteY114" fmla="*/ 36795 h 37657"/>
                  <a:gd name="connsiteX115" fmla="*/ 1349310 w 1645441"/>
                  <a:gd name="connsiteY115" fmla="*/ 26061 h 37657"/>
                  <a:gd name="connsiteX116" fmla="*/ 1346007 w 1645441"/>
                  <a:gd name="connsiteY116" fmla="*/ 19456 h 37657"/>
                  <a:gd name="connsiteX117" fmla="*/ 1354264 w 1645441"/>
                  <a:gd name="connsiteY117" fmla="*/ 11474 h 37657"/>
                  <a:gd name="connsiteX118" fmla="*/ 1341879 w 1645441"/>
                  <a:gd name="connsiteY118" fmla="*/ 3768 h 37657"/>
                  <a:gd name="connsiteX119" fmla="*/ 1335824 w 1645441"/>
                  <a:gd name="connsiteY119" fmla="*/ 14502 h 37657"/>
                  <a:gd name="connsiteX120" fmla="*/ 1326741 w 1645441"/>
                  <a:gd name="connsiteY120" fmla="*/ 19181 h 37657"/>
                  <a:gd name="connsiteX121" fmla="*/ 1307200 w 1645441"/>
                  <a:gd name="connsiteY121" fmla="*/ 16704 h 37657"/>
                  <a:gd name="connsiteX122" fmla="*/ 1291237 w 1645441"/>
                  <a:gd name="connsiteY122" fmla="*/ 465 h 37657"/>
                  <a:gd name="connsiteX123" fmla="*/ 1373255 w 1645441"/>
                  <a:gd name="connsiteY123" fmla="*/ 465 h 37657"/>
                  <a:gd name="connsiteX124" fmla="*/ 1406007 w 1645441"/>
                  <a:gd name="connsiteY124" fmla="*/ 465 h 37657"/>
                  <a:gd name="connsiteX125" fmla="*/ 1414539 w 1645441"/>
                  <a:gd name="connsiteY125" fmla="*/ 328 h 37657"/>
                  <a:gd name="connsiteX126" fmla="*/ 1420594 w 1645441"/>
                  <a:gd name="connsiteY126" fmla="*/ 7621 h 37657"/>
                  <a:gd name="connsiteX127" fmla="*/ 1438209 w 1645441"/>
                  <a:gd name="connsiteY127" fmla="*/ 12025 h 37657"/>
                  <a:gd name="connsiteX128" fmla="*/ 1449768 w 1645441"/>
                  <a:gd name="connsiteY128" fmla="*/ 13126 h 37657"/>
                  <a:gd name="connsiteX129" fmla="*/ 1446190 w 1645441"/>
                  <a:gd name="connsiteY129" fmla="*/ 465 h 37657"/>
                  <a:gd name="connsiteX130" fmla="*/ 1473988 w 1645441"/>
                  <a:gd name="connsiteY130" fmla="*/ 465 h 37657"/>
                  <a:gd name="connsiteX131" fmla="*/ 1588483 w 1645441"/>
                  <a:gd name="connsiteY131" fmla="*/ 465 h 37657"/>
                  <a:gd name="connsiteX132" fmla="*/ 1595914 w 1645441"/>
                  <a:gd name="connsiteY132" fmla="*/ 741 h 37657"/>
                  <a:gd name="connsiteX133" fmla="*/ 1599767 w 1645441"/>
                  <a:gd name="connsiteY133" fmla="*/ 5694 h 37657"/>
                  <a:gd name="connsiteX134" fmla="*/ 1594813 w 1645441"/>
                  <a:gd name="connsiteY134" fmla="*/ 6795 h 37657"/>
                  <a:gd name="connsiteX135" fmla="*/ 1587932 w 1645441"/>
                  <a:gd name="connsiteY135" fmla="*/ 4869 h 37657"/>
                  <a:gd name="connsiteX136" fmla="*/ 1582703 w 1645441"/>
                  <a:gd name="connsiteY136" fmla="*/ 9548 h 37657"/>
                  <a:gd name="connsiteX137" fmla="*/ 1588208 w 1645441"/>
                  <a:gd name="connsiteY137" fmla="*/ 13126 h 37657"/>
                  <a:gd name="connsiteX138" fmla="*/ 1609400 w 1645441"/>
                  <a:gd name="connsiteY138" fmla="*/ 3768 h 37657"/>
                  <a:gd name="connsiteX139" fmla="*/ 1634867 w 1645441"/>
                  <a:gd name="connsiteY139" fmla="*/ 207 h 37657"/>
                  <a:gd name="connsiteX140" fmla="*/ 814109 w 1645441"/>
                  <a:gd name="connsiteY140" fmla="*/ 93 h 37657"/>
                  <a:gd name="connsiteX141" fmla="*/ 819468 w 1645441"/>
                  <a:gd name="connsiteY141" fmla="*/ 1177 h 37657"/>
                  <a:gd name="connsiteX142" fmla="*/ 816990 w 1645441"/>
                  <a:gd name="connsiteY142" fmla="*/ 9434 h 37657"/>
                  <a:gd name="connsiteX143" fmla="*/ 791670 w 1645441"/>
                  <a:gd name="connsiteY143" fmla="*/ 34480 h 37657"/>
                  <a:gd name="connsiteX144" fmla="*/ 793046 w 1645441"/>
                  <a:gd name="connsiteY144" fmla="*/ 22369 h 37657"/>
                  <a:gd name="connsiteX145" fmla="*/ 782037 w 1645441"/>
                  <a:gd name="connsiteY145" fmla="*/ 17140 h 37657"/>
                  <a:gd name="connsiteX146" fmla="*/ 784238 w 1645441"/>
                  <a:gd name="connsiteY146" fmla="*/ 28700 h 37657"/>
                  <a:gd name="connsiteX147" fmla="*/ 764422 w 1645441"/>
                  <a:gd name="connsiteY147" fmla="*/ 25122 h 37657"/>
                  <a:gd name="connsiteX148" fmla="*/ 766899 w 1645441"/>
                  <a:gd name="connsiteY148" fmla="*/ 36131 h 37657"/>
                  <a:gd name="connsiteX149" fmla="*/ 685432 w 1645441"/>
                  <a:gd name="connsiteY149" fmla="*/ 36131 h 37657"/>
                  <a:gd name="connsiteX150" fmla="*/ 660937 w 1645441"/>
                  <a:gd name="connsiteY150" fmla="*/ 11911 h 37657"/>
                  <a:gd name="connsiteX151" fmla="*/ 644973 w 1645441"/>
                  <a:gd name="connsiteY151" fmla="*/ 22645 h 37657"/>
                  <a:gd name="connsiteX152" fmla="*/ 646900 w 1645441"/>
                  <a:gd name="connsiteY152" fmla="*/ 33104 h 37657"/>
                  <a:gd name="connsiteX153" fmla="*/ 647175 w 1645441"/>
                  <a:gd name="connsiteY153" fmla="*/ 34755 h 37657"/>
                  <a:gd name="connsiteX154" fmla="*/ 618552 w 1645441"/>
                  <a:gd name="connsiteY154" fmla="*/ 36406 h 37657"/>
                  <a:gd name="connsiteX155" fmla="*/ 543139 w 1645441"/>
                  <a:gd name="connsiteY155" fmla="*/ 36681 h 37657"/>
                  <a:gd name="connsiteX156" fmla="*/ 528552 w 1645441"/>
                  <a:gd name="connsiteY156" fmla="*/ 25947 h 37657"/>
                  <a:gd name="connsiteX157" fmla="*/ 525249 w 1645441"/>
                  <a:gd name="connsiteY157" fmla="*/ 19342 h 37657"/>
                  <a:gd name="connsiteX158" fmla="*/ 533506 w 1645441"/>
                  <a:gd name="connsiteY158" fmla="*/ 11360 h 37657"/>
                  <a:gd name="connsiteX159" fmla="*/ 521121 w 1645441"/>
                  <a:gd name="connsiteY159" fmla="*/ 3654 h 37657"/>
                  <a:gd name="connsiteX160" fmla="*/ 515066 w 1645441"/>
                  <a:gd name="connsiteY160" fmla="*/ 14388 h 37657"/>
                  <a:gd name="connsiteX161" fmla="*/ 505983 w 1645441"/>
                  <a:gd name="connsiteY161" fmla="*/ 19067 h 37657"/>
                  <a:gd name="connsiteX162" fmla="*/ 486442 w 1645441"/>
                  <a:gd name="connsiteY162" fmla="*/ 16590 h 37657"/>
                  <a:gd name="connsiteX163" fmla="*/ 470479 w 1645441"/>
                  <a:gd name="connsiteY163" fmla="*/ 351 h 37657"/>
                  <a:gd name="connsiteX164" fmla="*/ 552497 w 1645441"/>
                  <a:gd name="connsiteY164" fmla="*/ 351 h 37657"/>
                  <a:gd name="connsiteX165" fmla="*/ 585249 w 1645441"/>
                  <a:gd name="connsiteY165" fmla="*/ 351 h 37657"/>
                  <a:gd name="connsiteX166" fmla="*/ 593781 w 1645441"/>
                  <a:gd name="connsiteY166" fmla="*/ 214 h 37657"/>
                  <a:gd name="connsiteX167" fmla="*/ 599836 w 1645441"/>
                  <a:gd name="connsiteY167" fmla="*/ 7507 h 37657"/>
                  <a:gd name="connsiteX168" fmla="*/ 617451 w 1645441"/>
                  <a:gd name="connsiteY168" fmla="*/ 11911 h 37657"/>
                  <a:gd name="connsiteX169" fmla="*/ 629010 w 1645441"/>
                  <a:gd name="connsiteY169" fmla="*/ 13012 h 37657"/>
                  <a:gd name="connsiteX170" fmla="*/ 625432 w 1645441"/>
                  <a:gd name="connsiteY170" fmla="*/ 351 h 37657"/>
                  <a:gd name="connsiteX171" fmla="*/ 653230 w 1645441"/>
                  <a:gd name="connsiteY171" fmla="*/ 351 h 37657"/>
                  <a:gd name="connsiteX172" fmla="*/ 767725 w 1645441"/>
                  <a:gd name="connsiteY172" fmla="*/ 351 h 37657"/>
                  <a:gd name="connsiteX173" fmla="*/ 775156 w 1645441"/>
                  <a:gd name="connsiteY173" fmla="*/ 627 h 37657"/>
                  <a:gd name="connsiteX174" fmla="*/ 779009 w 1645441"/>
                  <a:gd name="connsiteY174" fmla="*/ 5580 h 37657"/>
                  <a:gd name="connsiteX175" fmla="*/ 774055 w 1645441"/>
                  <a:gd name="connsiteY175" fmla="*/ 6681 h 37657"/>
                  <a:gd name="connsiteX176" fmla="*/ 767174 w 1645441"/>
                  <a:gd name="connsiteY176" fmla="*/ 4755 h 37657"/>
                  <a:gd name="connsiteX177" fmla="*/ 761945 w 1645441"/>
                  <a:gd name="connsiteY177" fmla="*/ 9434 h 37657"/>
                  <a:gd name="connsiteX178" fmla="*/ 767450 w 1645441"/>
                  <a:gd name="connsiteY178" fmla="*/ 13012 h 37657"/>
                  <a:gd name="connsiteX179" fmla="*/ 788642 w 1645441"/>
                  <a:gd name="connsiteY179" fmla="*/ 3654 h 37657"/>
                  <a:gd name="connsiteX180" fmla="*/ 814109 w 1645441"/>
                  <a:gd name="connsiteY180" fmla="*/ 93 h 3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645441" h="37657">
                    <a:moveTo>
                      <a:pt x="1323163" y="28780"/>
                    </a:moveTo>
                    <a:cubicBezTo>
                      <a:pt x="1326466" y="28539"/>
                      <a:pt x="1329769" y="30878"/>
                      <a:pt x="1333347" y="36796"/>
                    </a:cubicBezTo>
                    <a:cubicBezTo>
                      <a:pt x="1325916" y="37621"/>
                      <a:pt x="1319861" y="38447"/>
                      <a:pt x="1312980" y="36245"/>
                    </a:cubicBezTo>
                    <a:cubicBezTo>
                      <a:pt x="1316558" y="31842"/>
                      <a:pt x="1319861" y="29021"/>
                      <a:pt x="1323163" y="28780"/>
                    </a:cubicBezTo>
                    <a:close/>
                    <a:moveTo>
                      <a:pt x="502405" y="28666"/>
                    </a:moveTo>
                    <a:cubicBezTo>
                      <a:pt x="505708" y="28425"/>
                      <a:pt x="509011" y="30764"/>
                      <a:pt x="512589" y="36682"/>
                    </a:cubicBezTo>
                    <a:cubicBezTo>
                      <a:pt x="505158" y="37507"/>
                      <a:pt x="499103" y="38333"/>
                      <a:pt x="492222" y="36131"/>
                    </a:cubicBezTo>
                    <a:cubicBezTo>
                      <a:pt x="495800" y="31728"/>
                      <a:pt x="499103" y="28907"/>
                      <a:pt x="502405" y="28666"/>
                    </a:cubicBezTo>
                    <a:close/>
                    <a:moveTo>
                      <a:pt x="1645441" y="21503"/>
                    </a:moveTo>
                    <a:lnTo>
                      <a:pt x="1645441" y="33701"/>
                    </a:lnTo>
                    <a:lnTo>
                      <a:pt x="1640157" y="32461"/>
                    </a:lnTo>
                    <a:cubicBezTo>
                      <a:pt x="1638299" y="32048"/>
                      <a:pt x="1637336" y="31016"/>
                      <a:pt x="1639950" y="27438"/>
                    </a:cubicBezTo>
                    <a:close/>
                    <a:moveTo>
                      <a:pt x="833779" y="19618"/>
                    </a:moveTo>
                    <a:cubicBezTo>
                      <a:pt x="838182" y="21269"/>
                      <a:pt x="843962" y="24022"/>
                      <a:pt x="843962" y="30627"/>
                    </a:cubicBezTo>
                    <a:cubicBezTo>
                      <a:pt x="838182" y="34755"/>
                      <a:pt x="832953" y="42187"/>
                      <a:pt x="824972" y="33655"/>
                    </a:cubicBezTo>
                    <a:cubicBezTo>
                      <a:pt x="823045" y="31453"/>
                      <a:pt x="813963" y="34480"/>
                      <a:pt x="819192" y="27324"/>
                    </a:cubicBezTo>
                    <a:cubicBezTo>
                      <a:pt x="822219" y="23196"/>
                      <a:pt x="827173" y="16866"/>
                      <a:pt x="833779" y="19618"/>
                    </a:cubicBezTo>
                    <a:close/>
                    <a:moveTo>
                      <a:pt x="1645441" y="5017"/>
                    </a:moveTo>
                    <a:lnTo>
                      <a:pt x="1645441" y="6122"/>
                    </a:lnTo>
                    <a:lnTo>
                      <a:pt x="1644904" y="5420"/>
                    </a:lnTo>
                    <a:close/>
                    <a:moveTo>
                      <a:pt x="18831" y="627"/>
                    </a:moveTo>
                    <a:cubicBezTo>
                      <a:pt x="38647" y="627"/>
                      <a:pt x="58188" y="627"/>
                      <a:pt x="78005" y="627"/>
                    </a:cubicBezTo>
                    <a:cubicBezTo>
                      <a:pt x="100298" y="627"/>
                      <a:pt x="122316" y="627"/>
                      <a:pt x="144609" y="627"/>
                    </a:cubicBezTo>
                    <a:cubicBezTo>
                      <a:pt x="149013" y="627"/>
                      <a:pt x="153417" y="-475"/>
                      <a:pt x="155894" y="5580"/>
                    </a:cubicBezTo>
                    <a:cubicBezTo>
                      <a:pt x="157820" y="11085"/>
                      <a:pt x="157270" y="14663"/>
                      <a:pt x="154518" y="19617"/>
                    </a:cubicBezTo>
                    <a:cubicBezTo>
                      <a:pt x="151765" y="24296"/>
                      <a:pt x="142132" y="26222"/>
                      <a:pt x="147362" y="34754"/>
                    </a:cubicBezTo>
                    <a:cubicBezTo>
                      <a:pt x="147912" y="35580"/>
                      <a:pt x="145435" y="36956"/>
                      <a:pt x="143509" y="36681"/>
                    </a:cubicBezTo>
                    <a:cubicBezTo>
                      <a:pt x="130848" y="35305"/>
                      <a:pt x="117637" y="39708"/>
                      <a:pt x="105252" y="33653"/>
                    </a:cubicBezTo>
                    <a:cubicBezTo>
                      <a:pt x="103601" y="32828"/>
                      <a:pt x="101124" y="32552"/>
                      <a:pt x="99197" y="33103"/>
                    </a:cubicBezTo>
                    <a:cubicBezTo>
                      <a:pt x="71950" y="40809"/>
                      <a:pt x="44427" y="35030"/>
                      <a:pt x="16904" y="36406"/>
                    </a:cubicBezTo>
                    <a:cubicBezTo>
                      <a:pt x="5895" y="36956"/>
                      <a:pt x="-985" y="33103"/>
                      <a:pt x="115" y="19066"/>
                    </a:cubicBezTo>
                    <a:cubicBezTo>
                      <a:pt x="1767" y="627"/>
                      <a:pt x="666" y="627"/>
                      <a:pt x="18831" y="627"/>
                    </a:cubicBezTo>
                    <a:close/>
                    <a:moveTo>
                      <a:pt x="168624" y="524"/>
                    </a:moveTo>
                    <a:cubicBezTo>
                      <a:pt x="171032" y="1178"/>
                      <a:pt x="173372" y="2829"/>
                      <a:pt x="175711" y="4480"/>
                    </a:cubicBezTo>
                    <a:cubicBezTo>
                      <a:pt x="177637" y="5857"/>
                      <a:pt x="180940" y="3655"/>
                      <a:pt x="182591" y="8609"/>
                    </a:cubicBezTo>
                    <a:cubicBezTo>
                      <a:pt x="180665" y="9710"/>
                      <a:pt x="179013" y="10811"/>
                      <a:pt x="177087" y="11361"/>
                    </a:cubicBezTo>
                    <a:cubicBezTo>
                      <a:pt x="171307" y="13288"/>
                      <a:pt x="165803" y="12462"/>
                      <a:pt x="161123" y="8334"/>
                    </a:cubicBezTo>
                    <a:cubicBezTo>
                      <a:pt x="159472" y="6682"/>
                      <a:pt x="159472" y="3930"/>
                      <a:pt x="161123" y="2554"/>
                    </a:cubicBezTo>
                    <a:cubicBezTo>
                      <a:pt x="163738" y="214"/>
                      <a:pt x="166215" y="-130"/>
                      <a:pt x="168624" y="524"/>
                    </a:cubicBezTo>
                    <a:close/>
                    <a:moveTo>
                      <a:pt x="1260961" y="465"/>
                    </a:moveTo>
                    <a:cubicBezTo>
                      <a:pt x="1268392" y="465"/>
                      <a:pt x="1267842" y="6245"/>
                      <a:pt x="1271420" y="8447"/>
                    </a:cubicBezTo>
                    <a:cubicBezTo>
                      <a:pt x="1280502" y="13951"/>
                      <a:pt x="1272521" y="23860"/>
                      <a:pt x="1278575" y="31566"/>
                    </a:cubicBezTo>
                    <a:cubicBezTo>
                      <a:pt x="1282429" y="35970"/>
                      <a:pt x="1273071" y="37071"/>
                      <a:pt x="1268392" y="37071"/>
                    </a:cubicBezTo>
                    <a:cubicBezTo>
                      <a:pt x="1229861" y="37071"/>
                      <a:pt x="1191329" y="37071"/>
                      <a:pt x="1152797" y="37071"/>
                    </a:cubicBezTo>
                    <a:cubicBezTo>
                      <a:pt x="1140962" y="37071"/>
                      <a:pt x="1129127" y="36520"/>
                      <a:pt x="1117568" y="37071"/>
                    </a:cubicBezTo>
                    <a:cubicBezTo>
                      <a:pt x="1109174" y="37484"/>
                      <a:pt x="1101054" y="37071"/>
                      <a:pt x="1093176" y="35557"/>
                    </a:cubicBezTo>
                    <a:lnTo>
                      <a:pt x="1092403" y="35283"/>
                    </a:lnTo>
                    <a:lnTo>
                      <a:pt x="1092403" y="36682"/>
                    </a:lnTo>
                    <a:lnTo>
                      <a:pt x="1061686" y="36682"/>
                    </a:lnTo>
                    <a:lnTo>
                      <a:pt x="1061696" y="36795"/>
                    </a:lnTo>
                    <a:lnTo>
                      <a:pt x="1010880" y="36795"/>
                    </a:lnTo>
                    <a:lnTo>
                      <a:pt x="1010880" y="36682"/>
                    </a:lnTo>
                    <a:lnTo>
                      <a:pt x="973870" y="36682"/>
                    </a:lnTo>
                    <a:cubicBezTo>
                      <a:pt x="963136" y="36682"/>
                      <a:pt x="965063" y="27599"/>
                      <a:pt x="964787" y="22920"/>
                    </a:cubicBezTo>
                    <a:cubicBezTo>
                      <a:pt x="964787" y="15214"/>
                      <a:pt x="960659" y="14663"/>
                      <a:pt x="955705" y="15214"/>
                    </a:cubicBezTo>
                    <a:cubicBezTo>
                      <a:pt x="947998" y="16040"/>
                      <a:pt x="953503" y="20168"/>
                      <a:pt x="954054" y="23196"/>
                    </a:cubicBezTo>
                    <a:cubicBezTo>
                      <a:pt x="955154" y="28700"/>
                      <a:pt x="951852" y="27599"/>
                      <a:pt x="948273" y="27324"/>
                    </a:cubicBezTo>
                    <a:cubicBezTo>
                      <a:pt x="938365" y="26774"/>
                      <a:pt x="935338" y="16865"/>
                      <a:pt x="928732" y="12187"/>
                    </a:cubicBezTo>
                    <a:cubicBezTo>
                      <a:pt x="920751" y="6682"/>
                      <a:pt x="914971" y="7232"/>
                      <a:pt x="907540" y="9985"/>
                    </a:cubicBezTo>
                    <a:cubicBezTo>
                      <a:pt x="905063" y="6682"/>
                      <a:pt x="901485" y="6407"/>
                      <a:pt x="897907" y="5306"/>
                    </a:cubicBezTo>
                    <a:cubicBezTo>
                      <a:pt x="899008" y="10260"/>
                      <a:pt x="891852" y="14113"/>
                      <a:pt x="894880" y="18517"/>
                    </a:cubicBezTo>
                    <a:cubicBezTo>
                      <a:pt x="899008" y="24297"/>
                      <a:pt x="890201" y="28425"/>
                      <a:pt x="894329" y="34205"/>
                    </a:cubicBezTo>
                    <a:cubicBezTo>
                      <a:pt x="895705" y="35856"/>
                      <a:pt x="891852" y="36682"/>
                      <a:pt x="889925" y="36682"/>
                    </a:cubicBezTo>
                    <a:cubicBezTo>
                      <a:pt x="876439" y="36682"/>
                      <a:pt x="862678" y="36407"/>
                      <a:pt x="848916" y="36682"/>
                    </a:cubicBezTo>
                    <a:cubicBezTo>
                      <a:pt x="843963" y="36957"/>
                      <a:pt x="843687" y="34205"/>
                      <a:pt x="844238" y="30627"/>
                    </a:cubicBezTo>
                    <a:cubicBezTo>
                      <a:pt x="847541" y="28150"/>
                      <a:pt x="852219" y="36131"/>
                      <a:pt x="854421" y="30352"/>
                    </a:cubicBezTo>
                    <a:cubicBezTo>
                      <a:pt x="856072" y="26223"/>
                      <a:pt x="853045" y="22370"/>
                      <a:pt x="849192" y="19893"/>
                    </a:cubicBezTo>
                    <a:cubicBezTo>
                      <a:pt x="842311" y="15489"/>
                      <a:pt x="850017" y="6407"/>
                      <a:pt x="842311" y="1453"/>
                    </a:cubicBezTo>
                    <a:lnTo>
                      <a:pt x="1010880" y="1453"/>
                    </a:lnTo>
                    <a:lnTo>
                      <a:pt x="1010880" y="973"/>
                    </a:lnTo>
                    <a:lnTo>
                      <a:pt x="1012190" y="1016"/>
                    </a:lnTo>
                    <a:lnTo>
                      <a:pt x="1012704" y="1453"/>
                    </a:lnTo>
                    <a:lnTo>
                      <a:pt x="1060146" y="1453"/>
                    </a:lnTo>
                    <a:lnTo>
                      <a:pt x="1060355" y="1256"/>
                    </a:lnTo>
                    <a:cubicBezTo>
                      <a:pt x="1062109" y="671"/>
                      <a:pt x="1064036" y="740"/>
                      <a:pt x="1066100" y="740"/>
                    </a:cubicBezTo>
                    <a:cubicBezTo>
                      <a:pt x="1131054" y="740"/>
                      <a:pt x="1196008" y="1015"/>
                      <a:pt x="1260961" y="465"/>
                    </a:cubicBezTo>
                    <a:close/>
                    <a:moveTo>
                      <a:pt x="830751" y="352"/>
                    </a:moveTo>
                    <a:cubicBezTo>
                      <a:pt x="832953" y="352"/>
                      <a:pt x="835706" y="1453"/>
                      <a:pt x="834330" y="3654"/>
                    </a:cubicBezTo>
                    <a:cubicBezTo>
                      <a:pt x="832953" y="6406"/>
                      <a:pt x="829926" y="8058"/>
                      <a:pt x="827724" y="9984"/>
                    </a:cubicBezTo>
                    <a:cubicBezTo>
                      <a:pt x="824421" y="9159"/>
                      <a:pt x="823871" y="7783"/>
                      <a:pt x="824146" y="5306"/>
                    </a:cubicBezTo>
                    <a:cubicBezTo>
                      <a:pt x="824696" y="1177"/>
                      <a:pt x="827449" y="77"/>
                      <a:pt x="830751" y="352"/>
                    </a:cubicBezTo>
                    <a:close/>
                    <a:moveTo>
                      <a:pt x="440203" y="351"/>
                    </a:moveTo>
                    <a:cubicBezTo>
                      <a:pt x="447634" y="351"/>
                      <a:pt x="447084" y="6131"/>
                      <a:pt x="450662" y="8333"/>
                    </a:cubicBezTo>
                    <a:cubicBezTo>
                      <a:pt x="459744" y="13837"/>
                      <a:pt x="451763" y="23746"/>
                      <a:pt x="457817" y="31452"/>
                    </a:cubicBezTo>
                    <a:cubicBezTo>
                      <a:pt x="461671" y="35856"/>
                      <a:pt x="452313" y="36957"/>
                      <a:pt x="447634" y="36957"/>
                    </a:cubicBezTo>
                    <a:cubicBezTo>
                      <a:pt x="409103" y="36957"/>
                      <a:pt x="370571" y="36957"/>
                      <a:pt x="332039" y="36957"/>
                    </a:cubicBezTo>
                    <a:cubicBezTo>
                      <a:pt x="320204" y="36957"/>
                      <a:pt x="308369" y="36406"/>
                      <a:pt x="296810" y="36957"/>
                    </a:cubicBezTo>
                    <a:cubicBezTo>
                      <a:pt x="280021" y="37782"/>
                      <a:pt x="264333" y="35305"/>
                      <a:pt x="249471" y="27324"/>
                    </a:cubicBezTo>
                    <a:cubicBezTo>
                      <a:pt x="246719" y="25947"/>
                      <a:pt x="243140" y="24847"/>
                      <a:pt x="240113" y="27048"/>
                    </a:cubicBezTo>
                    <a:cubicBezTo>
                      <a:pt x="234883" y="30626"/>
                      <a:pt x="242865" y="33103"/>
                      <a:pt x="240938" y="36681"/>
                    </a:cubicBezTo>
                    <a:cubicBezTo>
                      <a:pt x="213691" y="36681"/>
                      <a:pt x="186444" y="36681"/>
                      <a:pt x="158921" y="36681"/>
                    </a:cubicBezTo>
                    <a:cubicBezTo>
                      <a:pt x="160848" y="32828"/>
                      <a:pt x="162774" y="28975"/>
                      <a:pt x="164426" y="25122"/>
                    </a:cubicBezTo>
                    <a:cubicBezTo>
                      <a:pt x="165526" y="22645"/>
                      <a:pt x="166627" y="19342"/>
                      <a:pt x="169379" y="20718"/>
                    </a:cubicBezTo>
                    <a:cubicBezTo>
                      <a:pt x="183967" y="28149"/>
                      <a:pt x="189196" y="18241"/>
                      <a:pt x="194701" y="7507"/>
                    </a:cubicBezTo>
                    <a:cubicBezTo>
                      <a:pt x="192223" y="3379"/>
                      <a:pt x="185343" y="7782"/>
                      <a:pt x="182866" y="626"/>
                    </a:cubicBezTo>
                    <a:cubicBezTo>
                      <a:pt x="189196" y="1452"/>
                      <a:pt x="194150" y="-1576"/>
                      <a:pt x="198554" y="6957"/>
                    </a:cubicBezTo>
                    <a:cubicBezTo>
                      <a:pt x="204058" y="17690"/>
                      <a:pt x="229654" y="16039"/>
                      <a:pt x="234883" y="5580"/>
                    </a:cubicBezTo>
                    <a:cubicBezTo>
                      <a:pt x="237636" y="351"/>
                      <a:pt x="241214" y="626"/>
                      <a:pt x="245342" y="626"/>
                    </a:cubicBezTo>
                    <a:cubicBezTo>
                      <a:pt x="310296" y="626"/>
                      <a:pt x="375250" y="901"/>
                      <a:pt x="440203" y="351"/>
                    </a:cubicBezTo>
                    <a:close/>
                    <a:moveTo>
                      <a:pt x="1634867" y="207"/>
                    </a:moveTo>
                    <a:cubicBezTo>
                      <a:pt x="1637749" y="328"/>
                      <a:pt x="1639813" y="672"/>
                      <a:pt x="1640226" y="1291"/>
                    </a:cubicBezTo>
                    <a:cubicBezTo>
                      <a:pt x="1642703" y="4593"/>
                      <a:pt x="1641051" y="8447"/>
                      <a:pt x="1637748" y="9548"/>
                    </a:cubicBezTo>
                    <a:cubicBezTo>
                      <a:pt x="1627015" y="15603"/>
                      <a:pt x="1619309" y="24135"/>
                      <a:pt x="1612428" y="34594"/>
                    </a:cubicBezTo>
                    <a:cubicBezTo>
                      <a:pt x="1612978" y="30465"/>
                      <a:pt x="1615455" y="25236"/>
                      <a:pt x="1613804" y="22483"/>
                    </a:cubicBezTo>
                    <a:cubicBezTo>
                      <a:pt x="1612152" y="19456"/>
                      <a:pt x="1606373" y="18906"/>
                      <a:pt x="1602795" y="17254"/>
                    </a:cubicBezTo>
                    <a:cubicBezTo>
                      <a:pt x="1598666" y="23034"/>
                      <a:pt x="1610776" y="24685"/>
                      <a:pt x="1604996" y="28814"/>
                    </a:cubicBezTo>
                    <a:cubicBezTo>
                      <a:pt x="1598666" y="33493"/>
                      <a:pt x="1592336" y="28263"/>
                      <a:pt x="1585180" y="25236"/>
                    </a:cubicBezTo>
                    <a:cubicBezTo>
                      <a:pt x="1586006" y="29089"/>
                      <a:pt x="1586831" y="32392"/>
                      <a:pt x="1587657" y="36245"/>
                    </a:cubicBezTo>
                    <a:cubicBezTo>
                      <a:pt x="1560134" y="36245"/>
                      <a:pt x="1533162" y="36245"/>
                      <a:pt x="1506190" y="36245"/>
                    </a:cubicBezTo>
                    <a:cubicBezTo>
                      <a:pt x="1506190" y="25511"/>
                      <a:pt x="1493254" y="12025"/>
                      <a:pt x="1481695" y="12025"/>
                    </a:cubicBezTo>
                    <a:cubicBezTo>
                      <a:pt x="1474538" y="12025"/>
                      <a:pt x="1470410" y="18630"/>
                      <a:pt x="1465731" y="22759"/>
                    </a:cubicBezTo>
                    <a:cubicBezTo>
                      <a:pt x="1461052" y="26887"/>
                      <a:pt x="1466007" y="29915"/>
                      <a:pt x="1467658" y="33218"/>
                    </a:cubicBezTo>
                    <a:cubicBezTo>
                      <a:pt x="1467383" y="33768"/>
                      <a:pt x="1467383" y="34318"/>
                      <a:pt x="1467933" y="34869"/>
                    </a:cubicBezTo>
                    <a:cubicBezTo>
                      <a:pt x="1458576" y="38447"/>
                      <a:pt x="1448942" y="36520"/>
                      <a:pt x="1439310" y="36520"/>
                    </a:cubicBezTo>
                    <a:cubicBezTo>
                      <a:pt x="1414264" y="36795"/>
                      <a:pt x="1388943" y="36520"/>
                      <a:pt x="1363897" y="36795"/>
                    </a:cubicBezTo>
                    <a:cubicBezTo>
                      <a:pt x="1355640" y="36795"/>
                      <a:pt x="1348759" y="37346"/>
                      <a:pt x="1349310" y="26061"/>
                    </a:cubicBezTo>
                    <a:cubicBezTo>
                      <a:pt x="1349310" y="23860"/>
                      <a:pt x="1347108" y="21658"/>
                      <a:pt x="1346007" y="19456"/>
                    </a:cubicBezTo>
                    <a:cubicBezTo>
                      <a:pt x="1349035" y="16153"/>
                      <a:pt x="1357842" y="16704"/>
                      <a:pt x="1354264" y="11474"/>
                    </a:cubicBezTo>
                    <a:cubicBezTo>
                      <a:pt x="1352613" y="8997"/>
                      <a:pt x="1348484" y="1291"/>
                      <a:pt x="1341879" y="3768"/>
                    </a:cubicBezTo>
                    <a:cubicBezTo>
                      <a:pt x="1337200" y="5694"/>
                      <a:pt x="1334173" y="8722"/>
                      <a:pt x="1335824" y="14502"/>
                    </a:cubicBezTo>
                    <a:cubicBezTo>
                      <a:pt x="1336925" y="18355"/>
                      <a:pt x="1331145" y="21382"/>
                      <a:pt x="1326741" y="19181"/>
                    </a:cubicBezTo>
                    <a:cubicBezTo>
                      <a:pt x="1320411" y="15878"/>
                      <a:pt x="1314906" y="14777"/>
                      <a:pt x="1307200" y="16704"/>
                    </a:cubicBezTo>
                    <a:cubicBezTo>
                      <a:pt x="1298118" y="18906"/>
                      <a:pt x="1298669" y="5144"/>
                      <a:pt x="1291237" y="465"/>
                    </a:cubicBezTo>
                    <a:cubicBezTo>
                      <a:pt x="1318485" y="465"/>
                      <a:pt x="1346007" y="465"/>
                      <a:pt x="1373255" y="465"/>
                    </a:cubicBezTo>
                    <a:cubicBezTo>
                      <a:pt x="1384264" y="465"/>
                      <a:pt x="1394998" y="190"/>
                      <a:pt x="1406007" y="465"/>
                    </a:cubicBezTo>
                    <a:cubicBezTo>
                      <a:pt x="1408897" y="465"/>
                      <a:pt x="1411925" y="-223"/>
                      <a:pt x="1414539" y="328"/>
                    </a:cubicBezTo>
                    <a:cubicBezTo>
                      <a:pt x="1417154" y="878"/>
                      <a:pt x="1419355" y="2667"/>
                      <a:pt x="1420594" y="7621"/>
                    </a:cubicBezTo>
                    <a:cubicBezTo>
                      <a:pt x="1421420" y="10649"/>
                      <a:pt x="1434355" y="14502"/>
                      <a:pt x="1438209" y="12025"/>
                    </a:cubicBezTo>
                    <a:cubicBezTo>
                      <a:pt x="1443988" y="8722"/>
                      <a:pt x="1445915" y="14502"/>
                      <a:pt x="1449768" y="13126"/>
                    </a:cubicBezTo>
                    <a:cubicBezTo>
                      <a:pt x="1452796" y="8171"/>
                      <a:pt x="1446190" y="6245"/>
                      <a:pt x="1446190" y="465"/>
                    </a:cubicBezTo>
                    <a:cubicBezTo>
                      <a:pt x="1455273" y="465"/>
                      <a:pt x="1464630" y="465"/>
                      <a:pt x="1473988" y="465"/>
                    </a:cubicBezTo>
                    <a:cubicBezTo>
                      <a:pt x="1512245" y="465"/>
                      <a:pt x="1550226" y="465"/>
                      <a:pt x="1588483" y="465"/>
                    </a:cubicBezTo>
                    <a:cubicBezTo>
                      <a:pt x="1590960" y="465"/>
                      <a:pt x="1593437" y="465"/>
                      <a:pt x="1595914" y="741"/>
                    </a:cubicBezTo>
                    <a:cubicBezTo>
                      <a:pt x="1599217" y="741"/>
                      <a:pt x="1600593" y="2942"/>
                      <a:pt x="1599767" y="5694"/>
                    </a:cubicBezTo>
                    <a:cubicBezTo>
                      <a:pt x="1598941" y="8447"/>
                      <a:pt x="1596739" y="7896"/>
                      <a:pt x="1594813" y="6795"/>
                    </a:cubicBezTo>
                    <a:cubicBezTo>
                      <a:pt x="1592886" y="5419"/>
                      <a:pt x="1590685" y="4043"/>
                      <a:pt x="1587932" y="4869"/>
                    </a:cubicBezTo>
                    <a:cubicBezTo>
                      <a:pt x="1585455" y="5694"/>
                      <a:pt x="1582703" y="6795"/>
                      <a:pt x="1582703" y="9548"/>
                    </a:cubicBezTo>
                    <a:cubicBezTo>
                      <a:pt x="1582703" y="12850"/>
                      <a:pt x="1585455" y="13676"/>
                      <a:pt x="1588208" y="13126"/>
                    </a:cubicBezTo>
                    <a:cubicBezTo>
                      <a:pt x="1595914" y="11750"/>
                      <a:pt x="1605272" y="13951"/>
                      <a:pt x="1609400" y="3768"/>
                    </a:cubicBezTo>
                    <a:cubicBezTo>
                      <a:pt x="1610226" y="1497"/>
                      <a:pt x="1626223" y="-154"/>
                      <a:pt x="1634867" y="207"/>
                    </a:cubicBezTo>
                    <a:close/>
                    <a:moveTo>
                      <a:pt x="814109" y="93"/>
                    </a:moveTo>
                    <a:cubicBezTo>
                      <a:pt x="816991" y="214"/>
                      <a:pt x="819055" y="558"/>
                      <a:pt x="819468" y="1177"/>
                    </a:cubicBezTo>
                    <a:cubicBezTo>
                      <a:pt x="821945" y="4479"/>
                      <a:pt x="820293" y="8333"/>
                      <a:pt x="816990" y="9434"/>
                    </a:cubicBezTo>
                    <a:cubicBezTo>
                      <a:pt x="806257" y="15489"/>
                      <a:pt x="798551" y="24021"/>
                      <a:pt x="791670" y="34480"/>
                    </a:cubicBezTo>
                    <a:cubicBezTo>
                      <a:pt x="792220" y="30351"/>
                      <a:pt x="794697" y="25122"/>
                      <a:pt x="793046" y="22369"/>
                    </a:cubicBezTo>
                    <a:cubicBezTo>
                      <a:pt x="791394" y="19342"/>
                      <a:pt x="785615" y="18792"/>
                      <a:pt x="782037" y="17140"/>
                    </a:cubicBezTo>
                    <a:cubicBezTo>
                      <a:pt x="777908" y="22920"/>
                      <a:pt x="790018" y="24571"/>
                      <a:pt x="784238" y="28700"/>
                    </a:cubicBezTo>
                    <a:cubicBezTo>
                      <a:pt x="777908" y="33379"/>
                      <a:pt x="771578" y="28149"/>
                      <a:pt x="764422" y="25122"/>
                    </a:cubicBezTo>
                    <a:cubicBezTo>
                      <a:pt x="765248" y="28975"/>
                      <a:pt x="766073" y="32278"/>
                      <a:pt x="766899" y="36131"/>
                    </a:cubicBezTo>
                    <a:cubicBezTo>
                      <a:pt x="739376" y="36131"/>
                      <a:pt x="712404" y="36131"/>
                      <a:pt x="685432" y="36131"/>
                    </a:cubicBezTo>
                    <a:cubicBezTo>
                      <a:pt x="685432" y="25397"/>
                      <a:pt x="672496" y="11911"/>
                      <a:pt x="660937" y="11911"/>
                    </a:cubicBezTo>
                    <a:cubicBezTo>
                      <a:pt x="653780" y="11911"/>
                      <a:pt x="649652" y="18516"/>
                      <a:pt x="644973" y="22645"/>
                    </a:cubicBezTo>
                    <a:cubicBezTo>
                      <a:pt x="640294" y="26773"/>
                      <a:pt x="645249" y="29801"/>
                      <a:pt x="646900" y="33104"/>
                    </a:cubicBezTo>
                    <a:cubicBezTo>
                      <a:pt x="646625" y="33654"/>
                      <a:pt x="646625" y="34204"/>
                      <a:pt x="647175" y="34755"/>
                    </a:cubicBezTo>
                    <a:cubicBezTo>
                      <a:pt x="637818" y="38333"/>
                      <a:pt x="628184" y="36406"/>
                      <a:pt x="618552" y="36406"/>
                    </a:cubicBezTo>
                    <a:cubicBezTo>
                      <a:pt x="593506" y="36681"/>
                      <a:pt x="568185" y="36406"/>
                      <a:pt x="543139" y="36681"/>
                    </a:cubicBezTo>
                    <a:cubicBezTo>
                      <a:pt x="534882" y="36681"/>
                      <a:pt x="528001" y="37232"/>
                      <a:pt x="528552" y="25947"/>
                    </a:cubicBezTo>
                    <a:cubicBezTo>
                      <a:pt x="528552" y="23746"/>
                      <a:pt x="526350" y="21544"/>
                      <a:pt x="525249" y="19342"/>
                    </a:cubicBezTo>
                    <a:cubicBezTo>
                      <a:pt x="528277" y="16039"/>
                      <a:pt x="537084" y="16590"/>
                      <a:pt x="533506" y="11360"/>
                    </a:cubicBezTo>
                    <a:cubicBezTo>
                      <a:pt x="531855" y="8883"/>
                      <a:pt x="527726" y="1177"/>
                      <a:pt x="521121" y="3654"/>
                    </a:cubicBezTo>
                    <a:cubicBezTo>
                      <a:pt x="516442" y="5580"/>
                      <a:pt x="513415" y="8608"/>
                      <a:pt x="515066" y="14388"/>
                    </a:cubicBezTo>
                    <a:cubicBezTo>
                      <a:pt x="516167" y="18241"/>
                      <a:pt x="510387" y="21268"/>
                      <a:pt x="505983" y="19067"/>
                    </a:cubicBezTo>
                    <a:cubicBezTo>
                      <a:pt x="499653" y="15764"/>
                      <a:pt x="494148" y="14663"/>
                      <a:pt x="486442" y="16590"/>
                    </a:cubicBezTo>
                    <a:cubicBezTo>
                      <a:pt x="477360" y="18792"/>
                      <a:pt x="477911" y="5030"/>
                      <a:pt x="470479" y="351"/>
                    </a:cubicBezTo>
                    <a:cubicBezTo>
                      <a:pt x="497727" y="351"/>
                      <a:pt x="525249" y="351"/>
                      <a:pt x="552497" y="351"/>
                    </a:cubicBezTo>
                    <a:cubicBezTo>
                      <a:pt x="563506" y="351"/>
                      <a:pt x="574240" y="76"/>
                      <a:pt x="585249" y="351"/>
                    </a:cubicBezTo>
                    <a:cubicBezTo>
                      <a:pt x="588139" y="351"/>
                      <a:pt x="591167" y="-337"/>
                      <a:pt x="593781" y="214"/>
                    </a:cubicBezTo>
                    <a:cubicBezTo>
                      <a:pt x="596396" y="764"/>
                      <a:pt x="598597" y="2553"/>
                      <a:pt x="599836" y="7507"/>
                    </a:cubicBezTo>
                    <a:cubicBezTo>
                      <a:pt x="600662" y="10535"/>
                      <a:pt x="613597" y="14388"/>
                      <a:pt x="617451" y="11911"/>
                    </a:cubicBezTo>
                    <a:cubicBezTo>
                      <a:pt x="623230" y="8608"/>
                      <a:pt x="625157" y="14388"/>
                      <a:pt x="629010" y="13012"/>
                    </a:cubicBezTo>
                    <a:cubicBezTo>
                      <a:pt x="632038" y="8057"/>
                      <a:pt x="625432" y="6131"/>
                      <a:pt x="625432" y="351"/>
                    </a:cubicBezTo>
                    <a:cubicBezTo>
                      <a:pt x="634515" y="351"/>
                      <a:pt x="643872" y="351"/>
                      <a:pt x="653230" y="351"/>
                    </a:cubicBezTo>
                    <a:cubicBezTo>
                      <a:pt x="691487" y="351"/>
                      <a:pt x="729468" y="351"/>
                      <a:pt x="767725" y="351"/>
                    </a:cubicBezTo>
                    <a:cubicBezTo>
                      <a:pt x="770202" y="351"/>
                      <a:pt x="772679" y="351"/>
                      <a:pt x="775156" y="627"/>
                    </a:cubicBezTo>
                    <a:cubicBezTo>
                      <a:pt x="778459" y="627"/>
                      <a:pt x="779835" y="2828"/>
                      <a:pt x="779009" y="5580"/>
                    </a:cubicBezTo>
                    <a:cubicBezTo>
                      <a:pt x="778183" y="8333"/>
                      <a:pt x="775981" y="7782"/>
                      <a:pt x="774055" y="6681"/>
                    </a:cubicBezTo>
                    <a:cubicBezTo>
                      <a:pt x="772128" y="5305"/>
                      <a:pt x="769927" y="3929"/>
                      <a:pt x="767174" y="4755"/>
                    </a:cubicBezTo>
                    <a:cubicBezTo>
                      <a:pt x="764697" y="5580"/>
                      <a:pt x="761945" y="6681"/>
                      <a:pt x="761945" y="9434"/>
                    </a:cubicBezTo>
                    <a:cubicBezTo>
                      <a:pt x="761945" y="12736"/>
                      <a:pt x="764697" y="13562"/>
                      <a:pt x="767450" y="13012"/>
                    </a:cubicBezTo>
                    <a:cubicBezTo>
                      <a:pt x="775156" y="11636"/>
                      <a:pt x="784514" y="13837"/>
                      <a:pt x="788642" y="3654"/>
                    </a:cubicBezTo>
                    <a:cubicBezTo>
                      <a:pt x="789468" y="1383"/>
                      <a:pt x="805465" y="-268"/>
                      <a:pt x="814109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B81F38B0-0555-4368-9084-B3EFD3449D67}"/>
                </a:ext>
              </a:extLst>
            </p:cNvPr>
            <p:cNvSpPr/>
            <p:nvPr/>
          </p:nvSpPr>
          <p:spPr>
            <a:xfrm>
              <a:off x="2927190" y="6329712"/>
              <a:ext cx="3121205" cy="87950"/>
            </a:xfrm>
            <a:custGeom>
              <a:avLst/>
              <a:gdLst>
                <a:gd name="connsiteX0" fmla="*/ 934228 w 1546130"/>
                <a:gd name="connsiteY0" fmla="*/ 26457 h 43567"/>
                <a:gd name="connsiteX1" fmla="*/ 929274 w 1546130"/>
                <a:gd name="connsiteY1" fmla="*/ 30586 h 43567"/>
                <a:gd name="connsiteX2" fmla="*/ 939182 w 1546130"/>
                <a:gd name="connsiteY2" fmla="*/ 40494 h 43567"/>
                <a:gd name="connsiteX3" fmla="*/ 941935 w 1546130"/>
                <a:gd name="connsiteY3" fmla="*/ 35540 h 43567"/>
                <a:gd name="connsiteX4" fmla="*/ 934228 w 1546130"/>
                <a:gd name="connsiteY4" fmla="*/ 26457 h 43567"/>
                <a:gd name="connsiteX5" fmla="*/ 1074600 w 1546130"/>
                <a:gd name="connsiteY5" fmla="*/ 5885 h 43567"/>
                <a:gd name="connsiteX6" fmla="*/ 1074325 w 1546130"/>
                <a:gd name="connsiteY6" fmla="*/ 6160 h 43567"/>
                <a:gd name="connsiteX7" fmla="*/ 1074325 w 1546130"/>
                <a:gd name="connsiteY7" fmla="*/ 6435 h 43567"/>
                <a:gd name="connsiteX8" fmla="*/ 1074049 w 1546130"/>
                <a:gd name="connsiteY8" fmla="*/ 6435 h 43567"/>
                <a:gd name="connsiteX9" fmla="*/ 1074049 w 1546130"/>
                <a:gd name="connsiteY9" fmla="*/ 6160 h 43567"/>
                <a:gd name="connsiteX10" fmla="*/ 1073774 w 1546130"/>
                <a:gd name="connsiteY10" fmla="*/ 6435 h 43567"/>
                <a:gd name="connsiteX11" fmla="*/ 1075976 w 1546130"/>
                <a:gd name="connsiteY11" fmla="*/ 29004 h 43567"/>
                <a:gd name="connsiteX12" fmla="*/ 1078728 w 1546130"/>
                <a:gd name="connsiteY12" fmla="*/ 30655 h 43567"/>
                <a:gd name="connsiteX13" fmla="*/ 1094416 w 1546130"/>
                <a:gd name="connsiteY13" fmla="*/ 24876 h 43567"/>
                <a:gd name="connsiteX14" fmla="*/ 1084783 w 1546130"/>
                <a:gd name="connsiteY14" fmla="*/ 9738 h 43567"/>
                <a:gd name="connsiteX15" fmla="*/ 1075150 w 1546130"/>
                <a:gd name="connsiteY15" fmla="*/ 6435 h 43567"/>
                <a:gd name="connsiteX16" fmla="*/ 1074600 w 1546130"/>
                <a:gd name="connsiteY16" fmla="*/ 5885 h 43567"/>
                <a:gd name="connsiteX17" fmla="*/ 22951 w 1546130"/>
                <a:gd name="connsiteY17" fmla="*/ 5815 h 43567"/>
                <a:gd name="connsiteX18" fmla="*/ 22676 w 1546130"/>
                <a:gd name="connsiteY18" fmla="*/ 6090 h 43567"/>
                <a:gd name="connsiteX19" fmla="*/ 22676 w 1546130"/>
                <a:gd name="connsiteY19" fmla="*/ 6365 h 43567"/>
                <a:gd name="connsiteX20" fmla="*/ 22400 w 1546130"/>
                <a:gd name="connsiteY20" fmla="*/ 6365 h 43567"/>
                <a:gd name="connsiteX21" fmla="*/ 22400 w 1546130"/>
                <a:gd name="connsiteY21" fmla="*/ 6090 h 43567"/>
                <a:gd name="connsiteX22" fmla="*/ 22125 w 1546130"/>
                <a:gd name="connsiteY22" fmla="*/ 6365 h 43567"/>
                <a:gd name="connsiteX23" fmla="*/ 24327 w 1546130"/>
                <a:gd name="connsiteY23" fmla="*/ 28934 h 43567"/>
                <a:gd name="connsiteX24" fmla="*/ 27079 w 1546130"/>
                <a:gd name="connsiteY24" fmla="*/ 30585 h 43567"/>
                <a:gd name="connsiteX25" fmla="*/ 42767 w 1546130"/>
                <a:gd name="connsiteY25" fmla="*/ 24806 h 43567"/>
                <a:gd name="connsiteX26" fmla="*/ 33134 w 1546130"/>
                <a:gd name="connsiteY26" fmla="*/ 9668 h 43567"/>
                <a:gd name="connsiteX27" fmla="*/ 23501 w 1546130"/>
                <a:gd name="connsiteY27" fmla="*/ 6365 h 43567"/>
                <a:gd name="connsiteX28" fmla="*/ 22951 w 1546130"/>
                <a:gd name="connsiteY28" fmla="*/ 5815 h 43567"/>
                <a:gd name="connsiteX29" fmla="*/ 1440377 w 1546130"/>
                <a:gd name="connsiteY29" fmla="*/ 380 h 43567"/>
                <a:gd name="connsiteX30" fmla="*/ 1453313 w 1546130"/>
                <a:gd name="connsiteY30" fmla="*/ 11940 h 43567"/>
                <a:gd name="connsiteX31" fmla="*/ 1470652 w 1546130"/>
                <a:gd name="connsiteY31" fmla="*/ 656 h 43567"/>
                <a:gd name="connsiteX32" fmla="*/ 1546130 w 1546130"/>
                <a:gd name="connsiteY32" fmla="*/ 656 h 43567"/>
                <a:gd name="connsiteX33" fmla="*/ 1546130 w 1546130"/>
                <a:gd name="connsiteY33" fmla="*/ 42765 h 43567"/>
                <a:gd name="connsiteX34" fmla="*/ 1509184 w 1546130"/>
                <a:gd name="connsiteY34" fmla="*/ 42765 h 43567"/>
                <a:gd name="connsiteX35" fmla="*/ 1500101 w 1546130"/>
                <a:gd name="connsiteY35" fmla="*/ 38637 h 43567"/>
                <a:gd name="connsiteX36" fmla="*/ 1492670 w 1546130"/>
                <a:gd name="connsiteY36" fmla="*/ 38086 h 43567"/>
                <a:gd name="connsiteX37" fmla="*/ 1473129 w 1546130"/>
                <a:gd name="connsiteY37" fmla="*/ 42765 h 43567"/>
                <a:gd name="connsiteX38" fmla="*/ 1288176 w 1546130"/>
                <a:gd name="connsiteY38" fmla="*/ 43040 h 43567"/>
                <a:gd name="connsiteX39" fmla="*/ 1274965 w 1546130"/>
                <a:gd name="connsiteY39" fmla="*/ 34233 h 43567"/>
                <a:gd name="connsiteX40" fmla="*/ 1285699 w 1546130"/>
                <a:gd name="connsiteY40" fmla="*/ 24876 h 43567"/>
                <a:gd name="connsiteX41" fmla="*/ 1304690 w 1546130"/>
                <a:gd name="connsiteY41" fmla="*/ 10013 h 43567"/>
                <a:gd name="connsiteX42" fmla="*/ 1322580 w 1546130"/>
                <a:gd name="connsiteY42" fmla="*/ 15793 h 43567"/>
                <a:gd name="connsiteX43" fmla="*/ 1328910 w 1546130"/>
                <a:gd name="connsiteY43" fmla="*/ 13316 h 43567"/>
                <a:gd name="connsiteX44" fmla="*/ 1353680 w 1546130"/>
                <a:gd name="connsiteY44" fmla="*/ 656 h 43567"/>
                <a:gd name="connsiteX45" fmla="*/ 1440377 w 1546130"/>
                <a:gd name="connsiteY45" fmla="*/ 380 h 43567"/>
                <a:gd name="connsiteX46" fmla="*/ 388728 w 1546130"/>
                <a:gd name="connsiteY46" fmla="*/ 310 h 43567"/>
                <a:gd name="connsiteX47" fmla="*/ 401664 w 1546130"/>
                <a:gd name="connsiteY47" fmla="*/ 11870 h 43567"/>
                <a:gd name="connsiteX48" fmla="*/ 419003 w 1546130"/>
                <a:gd name="connsiteY48" fmla="*/ 586 h 43567"/>
                <a:gd name="connsiteX49" fmla="*/ 566250 w 1546130"/>
                <a:gd name="connsiteY49" fmla="*/ 586 h 43567"/>
                <a:gd name="connsiteX50" fmla="*/ 580011 w 1546130"/>
                <a:gd name="connsiteY50" fmla="*/ 8017 h 43567"/>
                <a:gd name="connsiteX51" fmla="*/ 553314 w 1546130"/>
                <a:gd name="connsiteY51" fmla="*/ 20677 h 43567"/>
                <a:gd name="connsiteX52" fmla="*/ 560194 w 1546130"/>
                <a:gd name="connsiteY52" fmla="*/ 24531 h 43567"/>
                <a:gd name="connsiteX53" fmla="*/ 583864 w 1546130"/>
                <a:gd name="connsiteY53" fmla="*/ 28934 h 43567"/>
                <a:gd name="connsiteX54" fmla="*/ 588818 w 1546130"/>
                <a:gd name="connsiteY54" fmla="*/ 38842 h 43567"/>
                <a:gd name="connsiteX55" fmla="*/ 580836 w 1546130"/>
                <a:gd name="connsiteY55" fmla="*/ 42695 h 43567"/>
                <a:gd name="connsiteX56" fmla="*/ 457535 w 1546130"/>
                <a:gd name="connsiteY56" fmla="*/ 42695 h 43567"/>
                <a:gd name="connsiteX57" fmla="*/ 448452 w 1546130"/>
                <a:gd name="connsiteY57" fmla="*/ 38567 h 43567"/>
                <a:gd name="connsiteX58" fmla="*/ 441021 w 1546130"/>
                <a:gd name="connsiteY58" fmla="*/ 38016 h 43567"/>
                <a:gd name="connsiteX59" fmla="*/ 421480 w 1546130"/>
                <a:gd name="connsiteY59" fmla="*/ 42695 h 43567"/>
                <a:gd name="connsiteX60" fmla="*/ 236527 w 1546130"/>
                <a:gd name="connsiteY60" fmla="*/ 42970 h 43567"/>
                <a:gd name="connsiteX61" fmla="*/ 223316 w 1546130"/>
                <a:gd name="connsiteY61" fmla="*/ 34163 h 43567"/>
                <a:gd name="connsiteX62" fmla="*/ 234050 w 1546130"/>
                <a:gd name="connsiteY62" fmla="*/ 24806 h 43567"/>
                <a:gd name="connsiteX63" fmla="*/ 253041 w 1546130"/>
                <a:gd name="connsiteY63" fmla="*/ 9943 h 43567"/>
                <a:gd name="connsiteX64" fmla="*/ 270931 w 1546130"/>
                <a:gd name="connsiteY64" fmla="*/ 15723 h 43567"/>
                <a:gd name="connsiteX65" fmla="*/ 277261 w 1546130"/>
                <a:gd name="connsiteY65" fmla="*/ 13246 h 43567"/>
                <a:gd name="connsiteX66" fmla="*/ 302031 w 1546130"/>
                <a:gd name="connsiteY66" fmla="*/ 586 h 43567"/>
                <a:gd name="connsiteX67" fmla="*/ 388728 w 1546130"/>
                <a:gd name="connsiteY67" fmla="*/ 310 h 43567"/>
                <a:gd name="connsiteX68" fmla="*/ 1066309 w 1546130"/>
                <a:gd name="connsiteY68" fmla="*/ 71 h 43567"/>
                <a:gd name="connsiteX69" fmla="*/ 1080930 w 1546130"/>
                <a:gd name="connsiteY69" fmla="*/ 381 h 43567"/>
                <a:gd name="connsiteX70" fmla="*/ 1116710 w 1546130"/>
                <a:gd name="connsiteY70" fmla="*/ 381 h 43567"/>
                <a:gd name="connsiteX71" fmla="*/ 1196250 w 1546130"/>
                <a:gd name="connsiteY71" fmla="*/ 655 h 43567"/>
                <a:gd name="connsiteX72" fmla="*/ 1208911 w 1546130"/>
                <a:gd name="connsiteY72" fmla="*/ 8637 h 43567"/>
                <a:gd name="connsiteX73" fmla="*/ 1232580 w 1546130"/>
                <a:gd name="connsiteY73" fmla="*/ 2582 h 43567"/>
                <a:gd name="connsiteX74" fmla="*/ 1245516 w 1546130"/>
                <a:gd name="connsiteY74" fmla="*/ 931 h 43567"/>
                <a:gd name="connsiteX75" fmla="*/ 1265332 w 1546130"/>
                <a:gd name="connsiteY75" fmla="*/ 931 h 43567"/>
                <a:gd name="connsiteX76" fmla="*/ 1238360 w 1546130"/>
                <a:gd name="connsiteY76" fmla="*/ 33683 h 43567"/>
                <a:gd name="connsiteX77" fmla="*/ 1219369 w 1546130"/>
                <a:gd name="connsiteY77" fmla="*/ 43316 h 43567"/>
                <a:gd name="connsiteX78" fmla="*/ 1205333 w 1546130"/>
                <a:gd name="connsiteY78" fmla="*/ 25976 h 43567"/>
                <a:gd name="connsiteX79" fmla="*/ 1200104 w 1546130"/>
                <a:gd name="connsiteY79" fmla="*/ 29279 h 43567"/>
                <a:gd name="connsiteX80" fmla="*/ 1173682 w 1546130"/>
                <a:gd name="connsiteY80" fmla="*/ 43316 h 43567"/>
                <a:gd name="connsiteX81" fmla="*/ 1068584 w 1546130"/>
                <a:gd name="connsiteY81" fmla="*/ 43066 h 43567"/>
                <a:gd name="connsiteX82" fmla="*/ 1068814 w 1546130"/>
                <a:gd name="connsiteY82" fmla="*/ 43246 h 43567"/>
                <a:gd name="connsiteX83" fmla="*/ 1041842 w 1546130"/>
                <a:gd name="connsiteY83" fmla="*/ 43246 h 43567"/>
                <a:gd name="connsiteX84" fmla="*/ 837072 w 1546130"/>
                <a:gd name="connsiteY84" fmla="*/ 43246 h 43567"/>
                <a:gd name="connsiteX85" fmla="*/ 823862 w 1546130"/>
                <a:gd name="connsiteY85" fmla="*/ 41044 h 43567"/>
                <a:gd name="connsiteX86" fmla="*/ 815054 w 1546130"/>
                <a:gd name="connsiteY86" fmla="*/ 42145 h 43567"/>
                <a:gd name="connsiteX87" fmla="*/ 808449 w 1546130"/>
                <a:gd name="connsiteY87" fmla="*/ 43246 h 43567"/>
                <a:gd name="connsiteX88" fmla="*/ 768541 w 1546130"/>
                <a:gd name="connsiteY88" fmla="*/ 42420 h 43567"/>
                <a:gd name="connsiteX89" fmla="*/ 719000 w 1546130"/>
                <a:gd name="connsiteY89" fmla="*/ 42971 h 43567"/>
                <a:gd name="connsiteX90" fmla="*/ 615790 w 1546130"/>
                <a:gd name="connsiteY90" fmla="*/ 42696 h 43567"/>
                <a:gd name="connsiteX91" fmla="*/ 609185 w 1546130"/>
                <a:gd name="connsiteY91" fmla="*/ 33888 h 43567"/>
                <a:gd name="connsiteX92" fmla="*/ 595699 w 1546130"/>
                <a:gd name="connsiteY92" fmla="*/ 11045 h 43567"/>
                <a:gd name="connsiteX93" fmla="*/ 581662 w 1546130"/>
                <a:gd name="connsiteY93" fmla="*/ 586 h 43567"/>
                <a:gd name="connsiteX94" fmla="*/ 604781 w 1546130"/>
                <a:gd name="connsiteY94" fmla="*/ 586 h 43567"/>
                <a:gd name="connsiteX95" fmla="*/ 958448 w 1546130"/>
                <a:gd name="connsiteY95" fmla="*/ 586 h 43567"/>
                <a:gd name="connsiteX96" fmla="*/ 1003310 w 1546130"/>
                <a:gd name="connsiteY96" fmla="*/ 311 h 43567"/>
                <a:gd name="connsiteX97" fmla="*/ 1025603 w 1546130"/>
                <a:gd name="connsiteY97" fmla="*/ 6090 h 43567"/>
                <a:gd name="connsiteX98" fmla="*/ 1029181 w 1546130"/>
                <a:gd name="connsiteY98" fmla="*/ 3889 h 43567"/>
                <a:gd name="connsiteX99" fmla="*/ 1024778 w 1546130"/>
                <a:gd name="connsiteY99" fmla="*/ 1136 h 43567"/>
                <a:gd name="connsiteX100" fmla="*/ 1033310 w 1546130"/>
                <a:gd name="connsiteY100" fmla="*/ 1962 h 43567"/>
                <a:gd name="connsiteX101" fmla="*/ 1044044 w 1546130"/>
                <a:gd name="connsiteY101" fmla="*/ 3614 h 43567"/>
                <a:gd name="connsiteX102" fmla="*/ 1038814 w 1546130"/>
                <a:gd name="connsiteY102" fmla="*/ 12145 h 43567"/>
                <a:gd name="connsiteX103" fmla="*/ 1037163 w 1546130"/>
                <a:gd name="connsiteY103" fmla="*/ 16274 h 43567"/>
                <a:gd name="connsiteX104" fmla="*/ 1046383 w 1546130"/>
                <a:gd name="connsiteY104" fmla="*/ 25081 h 43567"/>
                <a:gd name="connsiteX105" fmla="*/ 1052857 w 1546130"/>
                <a:gd name="connsiteY105" fmla="*/ 30600 h 43567"/>
                <a:gd name="connsiteX106" fmla="*/ 1052857 w 1546130"/>
                <a:gd name="connsiteY106" fmla="*/ 30105 h 43567"/>
                <a:gd name="connsiteX107" fmla="*/ 1054783 w 1546130"/>
                <a:gd name="connsiteY107" fmla="*/ 2857 h 43567"/>
                <a:gd name="connsiteX108" fmla="*/ 1066309 w 1546130"/>
                <a:gd name="connsiteY108" fmla="*/ 71 h 43567"/>
                <a:gd name="connsiteX109" fmla="*/ 14660 w 1546130"/>
                <a:gd name="connsiteY109" fmla="*/ 1 h 43567"/>
                <a:gd name="connsiteX110" fmla="*/ 29281 w 1546130"/>
                <a:gd name="connsiteY110" fmla="*/ 311 h 43567"/>
                <a:gd name="connsiteX111" fmla="*/ 65061 w 1546130"/>
                <a:gd name="connsiteY111" fmla="*/ 311 h 43567"/>
                <a:gd name="connsiteX112" fmla="*/ 144601 w 1546130"/>
                <a:gd name="connsiteY112" fmla="*/ 585 h 43567"/>
                <a:gd name="connsiteX113" fmla="*/ 157262 w 1546130"/>
                <a:gd name="connsiteY113" fmla="*/ 8567 h 43567"/>
                <a:gd name="connsiteX114" fmla="*/ 180931 w 1546130"/>
                <a:gd name="connsiteY114" fmla="*/ 2512 h 43567"/>
                <a:gd name="connsiteX115" fmla="*/ 193867 w 1546130"/>
                <a:gd name="connsiteY115" fmla="*/ 861 h 43567"/>
                <a:gd name="connsiteX116" fmla="*/ 213683 w 1546130"/>
                <a:gd name="connsiteY116" fmla="*/ 861 h 43567"/>
                <a:gd name="connsiteX117" fmla="*/ 186711 w 1546130"/>
                <a:gd name="connsiteY117" fmla="*/ 33613 h 43567"/>
                <a:gd name="connsiteX118" fmla="*/ 167720 w 1546130"/>
                <a:gd name="connsiteY118" fmla="*/ 43246 h 43567"/>
                <a:gd name="connsiteX119" fmla="*/ 153684 w 1546130"/>
                <a:gd name="connsiteY119" fmla="*/ 25906 h 43567"/>
                <a:gd name="connsiteX120" fmla="*/ 148455 w 1546130"/>
                <a:gd name="connsiteY120" fmla="*/ 29209 h 43567"/>
                <a:gd name="connsiteX121" fmla="*/ 122033 w 1546130"/>
                <a:gd name="connsiteY121" fmla="*/ 43246 h 43567"/>
                <a:gd name="connsiteX122" fmla="*/ 6437 w 1546130"/>
                <a:gd name="connsiteY122" fmla="*/ 42971 h 43567"/>
                <a:gd name="connsiteX123" fmla="*/ 1208 w 1546130"/>
                <a:gd name="connsiteY123" fmla="*/ 39943 h 43567"/>
                <a:gd name="connsiteX124" fmla="*/ 1208 w 1546130"/>
                <a:gd name="connsiteY124" fmla="*/ 30035 h 43567"/>
                <a:gd name="connsiteX125" fmla="*/ 3134 w 1546130"/>
                <a:gd name="connsiteY125" fmla="*/ 2787 h 43567"/>
                <a:gd name="connsiteX126" fmla="*/ 14660 w 1546130"/>
                <a:gd name="connsiteY126" fmla="*/ 1 h 4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46130" h="43567">
                  <a:moveTo>
                    <a:pt x="934228" y="26457"/>
                  </a:moveTo>
                  <a:cubicBezTo>
                    <a:pt x="932026" y="26182"/>
                    <a:pt x="928448" y="28108"/>
                    <a:pt x="929274" y="30586"/>
                  </a:cubicBezTo>
                  <a:cubicBezTo>
                    <a:pt x="930650" y="35265"/>
                    <a:pt x="934778" y="38567"/>
                    <a:pt x="939182" y="40494"/>
                  </a:cubicBezTo>
                  <a:cubicBezTo>
                    <a:pt x="940834" y="41319"/>
                    <a:pt x="941659" y="38017"/>
                    <a:pt x="941935" y="35540"/>
                  </a:cubicBezTo>
                  <a:cubicBezTo>
                    <a:pt x="941109" y="31411"/>
                    <a:pt x="939733" y="27008"/>
                    <a:pt x="934228" y="26457"/>
                  </a:cubicBezTo>
                  <a:close/>
                  <a:moveTo>
                    <a:pt x="1074600" y="5885"/>
                  </a:moveTo>
                  <a:cubicBezTo>
                    <a:pt x="1074600" y="5885"/>
                    <a:pt x="1074325" y="6160"/>
                    <a:pt x="1074325" y="6160"/>
                  </a:cubicBezTo>
                  <a:cubicBezTo>
                    <a:pt x="1074325" y="6160"/>
                    <a:pt x="1074325" y="6435"/>
                    <a:pt x="1074325" y="6435"/>
                  </a:cubicBezTo>
                  <a:cubicBezTo>
                    <a:pt x="1074049" y="6435"/>
                    <a:pt x="1074049" y="6435"/>
                    <a:pt x="1074049" y="6435"/>
                  </a:cubicBezTo>
                  <a:cubicBezTo>
                    <a:pt x="1074049" y="6160"/>
                    <a:pt x="1074049" y="6160"/>
                    <a:pt x="1074049" y="6160"/>
                  </a:cubicBezTo>
                  <a:cubicBezTo>
                    <a:pt x="1074049" y="6160"/>
                    <a:pt x="1073774" y="6435"/>
                    <a:pt x="1073774" y="6435"/>
                  </a:cubicBezTo>
                  <a:cubicBezTo>
                    <a:pt x="1070196" y="14142"/>
                    <a:pt x="1077903" y="21298"/>
                    <a:pt x="1075976" y="29004"/>
                  </a:cubicBezTo>
                  <a:cubicBezTo>
                    <a:pt x="1075976" y="29554"/>
                    <a:pt x="1078453" y="30931"/>
                    <a:pt x="1078728" y="30655"/>
                  </a:cubicBezTo>
                  <a:cubicBezTo>
                    <a:pt x="1083407" y="26252"/>
                    <a:pt x="1093591" y="30931"/>
                    <a:pt x="1094416" y="24876"/>
                  </a:cubicBezTo>
                  <a:cubicBezTo>
                    <a:pt x="1094967" y="21573"/>
                    <a:pt x="1091939" y="12215"/>
                    <a:pt x="1084783" y="9738"/>
                  </a:cubicBezTo>
                  <a:cubicBezTo>
                    <a:pt x="1081481" y="8913"/>
                    <a:pt x="1078728" y="6160"/>
                    <a:pt x="1075150" y="6435"/>
                  </a:cubicBezTo>
                  <a:cubicBezTo>
                    <a:pt x="1074875" y="6160"/>
                    <a:pt x="1074600" y="6160"/>
                    <a:pt x="1074600" y="5885"/>
                  </a:cubicBezTo>
                  <a:close/>
                  <a:moveTo>
                    <a:pt x="22951" y="5815"/>
                  </a:moveTo>
                  <a:cubicBezTo>
                    <a:pt x="22951" y="5815"/>
                    <a:pt x="22676" y="6090"/>
                    <a:pt x="22676" y="6090"/>
                  </a:cubicBezTo>
                  <a:cubicBezTo>
                    <a:pt x="22676" y="6090"/>
                    <a:pt x="22676" y="6365"/>
                    <a:pt x="22676" y="6365"/>
                  </a:cubicBezTo>
                  <a:cubicBezTo>
                    <a:pt x="22400" y="6365"/>
                    <a:pt x="22400" y="6365"/>
                    <a:pt x="22400" y="6365"/>
                  </a:cubicBezTo>
                  <a:cubicBezTo>
                    <a:pt x="22400" y="6090"/>
                    <a:pt x="22400" y="6090"/>
                    <a:pt x="22400" y="6090"/>
                  </a:cubicBezTo>
                  <a:cubicBezTo>
                    <a:pt x="22400" y="6090"/>
                    <a:pt x="22125" y="6365"/>
                    <a:pt x="22125" y="6365"/>
                  </a:cubicBezTo>
                  <a:cubicBezTo>
                    <a:pt x="18547" y="14072"/>
                    <a:pt x="26254" y="21228"/>
                    <a:pt x="24327" y="28934"/>
                  </a:cubicBezTo>
                  <a:cubicBezTo>
                    <a:pt x="24327" y="29484"/>
                    <a:pt x="26804" y="30861"/>
                    <a:pt x="27079" y="30585"/>
                  </a:cubicBezTo>
                  <a:cubicBezTo>
                    <a:pt x="31758" y="26182"/>
                    <a:pt x="41942" y="30861"/>
                    <a:pt x="42767" y="24806"/>
                  </a:cubicBezTo>
                  <a:cubicBezTo>
                    <a:pt x="43318" y="21503"/>
                    <a:pt x="40290" y="12145"/>
                    <a:pt x="33134" y="9668"/>
                  </a:cubicBezTo>
                  <a:cubicBezTo>
                    <a:pt x="29832" y="8843"/>
                    <a:pt x="27079" y="6090"/>
                    <a:pt x="23501" y="6365"/>
                  </a:cubicBezTo>
                  <a:cubicBezTo>
                    <a:pt x="23226" y="6090"/>
                    <a:pt x="22951" y="6090"/>
                    <a:pt x="22951" y="5815"/>
                  </a:cubicBezTo>
                  <a:close/>
                  <a:moveTo>
                    <a:pt x="1440377" y="380"/>
                  </a:moveTo>
                  <a:cubicBezTo>
                    <a:pt x="1447808" y="380"/>
                    <a:pt x="1453863" y="105"/>
                    <a:pt x="1453313" y="11940"/>
                  </a:cubicBezTo>
                  <a:cubicBezTo>
                    <a:pt x="1454689" y="-1271"/>
                    <a:pt x="1463221" y="656"/>
                    <a:pt x="1470652" y="656"/>
                  </a:cubicBezTo>
                  <a:lnTo>
                    <a:pt x="1546130" y="656"/>
                  </a:lnTo>
                  <a:lnTo>
                    <a:pt x="1546130" y="42765"/>
                  </a:lnTo>
                  <a:lnTo>
                    <a:pt x="1509184" y="42765"/>
                  </a:lnTo>
                  <a:cubicBezTo>
                    <a:pt x="1505606" y="42765"/>
                    <a:pt x="1502027" y="43591"/>
                    <a:pt x="1500101" y="38637"/>
                  </a:cubicBezTo>
                  <a:cubicBezTo>
                    <a:pt x="1498725" y="35059"/>
                    <a:pt x="1494321" y="35885"/>
                    <a:pt x="1492670" y="38086"/>
                  </a:cubicBezTo>
                  <a:cubicBezTo>
                    <a:pt x="1487166" y="44692"/>
                    <a:pt x="1480009" y="42765"/>
                    <a:pt x="1473129" y="42765"/>
                  </a:cubicBezTo>
                  <a:cubicBezTo>
                    <a:pt x="1411478" y="43040"/>
                    <a:pt x="1349827" y="42765"/>
                    <a:pt x="1288176" y="43040"/>
                  </a:cubicBezTo>
                  <a:cubicBezTo>
                    <a:pt x="1281295" y="43040"/>
                    <a:pt x="1275516" y="42215"/>
                    <a:pt x="1274965" y="34233"/>
                  </a:cubicBezTo>
                  <a:cubicBezTo>
                    <a:pt x="1274415" y="26527"/>
                    <a:pt x="1281021" y="27353"/>
                    <a:pt x="1285699" y="24876"/>
                  </a:cubicBezTo>
                  <a:cubicBezTo>
                    <a:pt x="1292580" y="21022"/>
                    <a:pt x="1306892" y="27353"/>
                    <a:pt x="1304690" y="10013"/>
                  </a:cubicBezTo>
                  <a:cubicBezTo>
                    <a:pt x="1311020" y="13316"/>
                    <a:pt x="1316249" y="16069"/>
                    <a:pt x="1322580" y="15793"/>
                  </a:cubicBezTo>
                  <a:cubicBezTo>
                    <a:pt x="1325332" y="15793"/>
                    <a:pt x="1328359" y="15518"/>
                    <a:pt x="1328910" y="13316"/>
                  </a:cubicBezTo>
                  <a:cubicBezTo>
                    <a:pt x="1331937" y="-1271"/>
                    <a:pt x="1343772" y="931"/>
                    <a:pt x="1353680" y="656"/>
                  </a:cubicBezTo>
                  <a:cubicBezTo>
                    <a:pt x="1382579" y="380"/>
                    <a:pt x="1411478" y="656"/>
                    <a:pt x="1440377" y="380"/>
                  </a:cubicBezTo>
                  <a:close/>
                  <a:moveTo>
                    <a:pt x="388728" y="310"/>
                  </a:moveTo>
                  <a:cubicBezTo>
                    <a:pt x="396159" y="310"/>
                    <a:pt x="402214" y="35"/>
                    <a:pt x="401664" y="11870"/>
                  </a:cubicBezTo>
                  <a:cubicBezTo>
                    <a:pt x="403040" y="-1341"/>
                    <a:pt x="411572" y="586"/>
                    <a:pt x="419003" y="586"/>
                  </a:cubicBezTo>
                  <a:cubicBezTo>
                    <a:pt x="468268" y="586"/>
                    <a:pt x="517259" y="586"/>
                    <a:pt x="566250" y="586"/>
                  </a:cubicBezTo>
                  <a:cubicBezTo>
                    <a:pt x="572029" y="310"/>
                    <a:pt x="578084" y="-515"/>
                    <a:pt x="580011" y="8017"/>
                  </a:cubicBezTo>
                  <a:cubicBezTo>
                    <a:pt x="572029" y="3338"/>
                    <a:pt x="553589" y="12421"/>
                    <a:pt x="553314" y="20677"/>
                  </a:cubicBezTo>
                  <a:cubicBezTo>
                    <a:pt x="553039" y="25356"/>
                    <a:pt x="556892" y="26457"/>
                    <a:pt x="560194" y="24531"/>
                  </a:cubicBezTo>
                  <a:cubicBezTo>
                    <a:pt x="569552" y="19576"/>
                    <a:pt x="575882" y="28108"/>
                    <a:pt x="583864" y="28934"/>
                  </a:cubicBezTo>
                  <a:cubicBezTo>
                    <a:pt x="587717" y="29484"/>
                    <a:pt x="589919" y="34989"/>
                    <a:pt x="588818" y="38842"/>
                  </a:cubicBezTo>
                  <a:cubicBezTo>
                    <a:pt x="588268" y="43245"/>
                    <a:pt x="584139" y="42695"/>
                    <a:pt x="580836" y="42695"/>
                  </a:cubicBezTo>
                  <a:cubicBezTo>
                    <a:pt x="539827" y="42695"/>
                    <a:pt x="498543" y="42695"/>
                    <a:pt x="457535" y="42695"/>
                  </a:cubicBezTo>
                  <a:cubicBezTo>
                    <a:pt x="453957" y="42695"/>
                    <a:pt x="450378" y="43521"/>
                    <a:pt x="448452" y="38567"/>
                  </a:cubicBezTo>
                  <a:cubicBezTo>
                    <a:pt x="447076" y="34989"/>
                    <a:pt x="442672" y="35815"/>
                    <a:pt x="441021" y="38016"/>
                  </a:cubicBezTo>
                  <a:cubicBezTo>
                    <a:pt x="435517" y="44622"/>
                    <a:pt x="428360" y="42695"/>
                    <a:pt x="421480" y="42695"/>
                  </a:cubicBezTo>
                  <a:cubicBezTo>
                    <a:pt x="359829" y="42970"/>
                    <a:pt x="298178" y="42695"/>
                    <a:pt x="236527" y="42970"/>
                  </a:cubicBezTo>
                  <a:cubicBezTo>
                    <a:pt x="229646" y="42970"/>
                    <a:pt x="223867" y="42145"/>
                    <a:pt x="223316" y="34163"/>
                  </a:cubicBezTo>
                  <a:cubicBezTo>
                    <a:pt x="222766" y="26457"/>
                    <a:pt x="229372" y="27283"/>
                    <a:pt x="234050" y="24806"/>
                  </a:cubicBezTo>
                  <a:cubicBezTo>
                    <a:pt x="240931" y="20952"/>
                    <a:pt x="255243" y="27283"/>
                    <a:pt x="253041" y="9943"/>
                  </a:cubicBezTo>
                  <a:cubicBezTo>
                    <a:pt x="259371" y="13246"/>
                    <a:pt x="264600" y="15999"/>
                    <a:pt x="270931" y="15723"/>
                  </a:cubicBezTo>
                  <a:cubicBezTo>
                    <a:pt x="273683" y="15723"/>
                    <a:pt x="276710" y="15448"/>
                    <a:pt x="277261" y="13246"/>
                  </a:cubicBezTo>
                  <a:cubicBezTo>
                    <a:pt x="280288" y="-1341"/>
                    <a:pt x="292123" y="861"/>
                    <a:pt x="302031" y="586"/>
                  </a:cubicBezTo>
                  <a:cubicBezTo>
                    <a:pt x="330930" y="310"/>
                    <a:pt x="359829" y="586"/>
                    <a:pt x="388728" y="310"/>
                  </a:cubicBezTo>
                  <a:close/>
                  <a:moveTo>
                    <a:pt x="1066309" y="71"/>
                  </a:moveTo>
                  <a:cubicBezTo>
                    <a:pt x="1071091" y="105"/>
                    <a:pt x="1076389" y="656"/>
                    <a:pt x="1080930" y="381"/>
                  </a:cubicBezTo>
                  <a:cubicBezTo>
                    <a:pt x="1092765" y="381"/>
                    <a:pt x="1104875" y="381"/>
                    <a:pt x="1116710" y="381"/>
                  </a:cubicBezTo>
                  <a:cubicBezTo>
                    <a:pt x="1143132" y="381"/>
                    <a:pt x="1169828" y="655"/>
                    <a:pt x="1196250" y="655"/>
                  </a:cubicBezTo>
                  <a:cubicBezTo>
                    <a:pt x="1202306" y="655"/>
                    <a:pt x="1208085" y="655"/>
                    <a:pt x="1208911" y="8637"/>
                  </a:cubicBezTo>
                  <a:cubicBezTo>
                    <a:pt x="1217993" y="11114"/>
                    <a:pt x="1226800" y="14967"/>
                    <a:pt x="1232580" y="2582"/>
                  </a:cubicBezTo>
                  <a:cubicBezTo>
                    <a:pt x="1234782" y="-1822"/>
                    <a:pt x="1241112" y="1206"/>
                    <a:pt x="1245516" y="931"/>
                  </a:cubicBezTo>
                  <a:cubicBezTo>
                    <a:pt x="1251571" y="381"/>
                    <a:pt x="1257901" y="655"/>
                    <a:pt x="1265332" y="931"/>
                  </a:cubicBezTo>
                  <a:cubicBezTo>
                    <a:pt x="1254874" y="11665"/>
                    <a:pt x="1245241" y="22399"/>
                    <a:pt x="1238360" y="33683"/>
                  </a:cubicBezTo>
                  <a:cubicBezTo>
                    <a:pt x="1232580" y="43316"/>
                    <a:pt x="1227351" y="43866"/>
                    <a:pt x="1219369" y="43316"/>
                  </a:cubicBezTo>
                  <a:cubicBezTo>
                    <a:pt x="1212214" y="42765"/>
                    <a:pt x="1204507" y="33133"/>
                    <a:pt x="1205333" y="25976"/>
                  </a:cubicBezTo>
                  <a:cubicBezTo>
                    <a:pt x="1203406" y="27077"/>
                    <a:pt x="1200379" y="27903"/>
                    <a:pt x="1200104" y="29279"/>
                  </a:cubicBezTo>
                  <a:cubicBezTo>
                    <a:pt x="1197902" y="46618"/>
                    <a:pt x="1184691" y="43316"/>
                    <a:pt x="1173682" y="43316"/>
                  </a:cubicBezTo>
                  <a:lnTo>
                    <a:pt x="1068584" y="43066"/>
                  </a:lnTo>
                  <a:lnTo>
                    <a:pt x="1068814" y="43246"/>
                  </a:lnTo>
                  <a:cubicBezTo>
                    <a:pt x="1058080" y="43246"/>
                    <a:pt x="1050099" y="43246"/>
                    <a:pt x="1041842" y="43246"/>
                  </a:cubicBezTo>
                  <a:cubicBezTo>
                    <a:pt x="973586" y="43246"/>
                    <a:pt x="905329" y="43246"/>
                    <a:pt x="837072" y="43246"/>
                  </a:cubicBezTo>
                  <a:cubicBezTo>
                    <a:pt x="832669" y="43246"/>
                    <a:pt x="827990" y="44622"/>
                    <a:pt x="823862" y="41044"/>
                  </a:cubicBezTo>
                  <a:cubicBezTo>
                    <a:pt x="821935" y="39393"/>
                    <a:pt x="816155" y="26182"/>
                    <a:pt x="815054" y="42145"/>
                  </a:cubicBezTo>
                  <a:cubicBezTo>
                    <a:pt x="815054" y="42696"/>
                    <a:pt x="810651" y="43246"/>
                    <a:pt x="808449" y="43246"/>
                  </a:cubicBezTo>
                  <a:cubicBezTo>
                    <a:pt x="795238" y="42971"/>
                    <a:pt x="781752" y="42420"/>
                    <a:pt x="768541" y="42420"/>
                  </a:cubicBezTo>
                  <a:cubicBezTo>
                    <a:pt x="752028" y="42420"/>
                    <a:pt x="735514" y="42971"/>
                    <a:pt x="719000" y="42971"/>
                  </a:cubicBezTo>
                  <a:cubicBezTo>
                    <a:pt x="684597" y="42971"/>
                    <a:pt x="650194" y="42971"/>
                    <a:pt x="615790" y="42696"/>
                  </a:cubicBezTo>
                  <a:cubicBezTo>
                    <a:pt x="609735" y="42696"/>
                    <a:pt x="600928" y="44897"/>
                    <a:pt x="609185" y="33888"/>
                  </a:cubicBezTo>
                  <a:cubicBezTo>
                    <a:pt x="600653" y="28934"/>
                    <a:pt x="613588" y="11595"/>
                    <a:pt x="595699" y="11045"/>
                  </a:cubicBezTo>
                  <a:cubicBezTo>
                    <a:pt x="591570" y="10769"/>
                    <a:pt x="585240" y="7191"/>
                    <a:pt x="581662" y="586"/>
                  </a:cubicBezTo>
                  <a:cubicBezTo>
                    <a:pt x="589919" y="586"/>
                    <a:pt x="597350" y="586"/>
                    <a:pt x="604781" y="586"/>
                  </a:cubicBezTo>
                  <a:cubicBezTo>
                    <a:pt x="722853" y="586"/>
                    <a:pt x="840651" y="311"/>
                    <a:pt x="958448" y="586"/>
                  </a:cubicBezTo>
                  <a:cubicBezTo>
                    <a:pt x="973310" y="586"/>
                    <a:pt x="988448" y="2513"/>
                    <a:pt x="1003310" y="311"/>
                  </a:cubicBezTo>
                  <a:cubicBezTo>
                    <a:pt x="1011842" y="-791"/>
                    <a:pt x="1017897" y="4714"/>
                    <a:pt x="1025603" y="6090"/>
                  </a:cubicBezTo>
                  <a:cubicBezTo>
                    <a:pt x="1028080" y="6641"/>
                    <a:pt x="1029456" y="6366"/>
                    <a:pt x="1029181" y="3889"/>
                  </a:cubicBezTo>
                  <a:cubicBezTo>
                    <a:pt x="1028906" y="3338"/>
                    <a:pt x="1026154" y="3063"/>
                    <a:pt x="1024778" y="1136"/>
                  </a:cubicBezTo>
                  <a:cubicBezTo>
                    <a:pt x="1027530" y="1412"/>
                    <a:pt x="1030557" y="1136"/>
                    <a:pt x="1033310" y="1962"/>
                  </a:cubicBezTo>
                  <a:cubicBezTo>
                    <a:pt x="1036888" y="3063"/>
                    <a:pt x="1041567" y="-2442"/>
                    <a:pt x="1044044" y="3614"/>
                  </a:cubicBezTo>
                  <a:cubicBezTo>
                    <a:pt x="1046245" y="8843"/>
                    <a:pt x="1041016" y="9668"/>
                    <a:pt x="1038814" y="12145"/>
                  </a:cubicBezTo>
                  <a:cubicBezTo>
                    <a:pt x="1037989" y="13246"/>
                    <a:pt x="1037163" y="16274"/>
                    <a:pt x="1037163" y="16274"/>
                  </a:cubicBezTo>
                  <a:cubicBezTo>
                    <a:pt x="1040879" y="18201"/>
                    <a:pt x="1043700" y="21779"/>
                    <a:pt x="1046383" y="25081"/>
                  </a:cubicBezTo>
                  <a:lnTo>
                    <a:pt x="1052857" y="30600"/>
                  </a:lnTo>
                  <a:lnTo>
                    <a:pt x="1052857" y="30105"/>
                  </a:lnTo>
                  <a:cubicBezTo>
                    <a:pt x="1053407" y="20747"/>
                    <a:pt x="1048729" y="8362"/>
                    <a:pt x="1054783" y="2857"/>
                  </a:cubicBezTo>
                  <a:cubicBezTo>
                    <a:pt x="1057261" y="518"/>
                    <a:pt x="1061527" y="36"/>
                    <a:pt x="1066309" y="71"/>
                  </a:cubicBezTo>
                  <a:close/>
                  <a:moveTo>
                    <a:pt x="14660" y="1"/>
                  </a:moveTo>
                  <a:cubicBezTo>
                    <a:pt x="19442" y="35"/>
                    <a:pt x="24740" y="586"/>
                    <a:pt x="29281" y="311"/>
                  </a:cubicBezTo>
                  <a:cubicBezTo>
                    <a:pt x="41116" y="311"/>
                    <a:pt x="53226" y="311"/>
                    <a:pt x="65061" y="311"/>
                  </a:cubicBezTo>
                  <a:cubicBezTo>
                    <a:pt x="91483" y="311"/>
                    <a:pt x="118179" y="585"/>
                    <a:pt x="144601" y="585"/>
                  </a:cubicBezTo>
                  <a:cubicBezTo>
                    <a:pt x="150657" y="585"/>
                    <a:pt x="156436" y="585"/>
                    <a:pt x="157262" y="8567"/>
                  </a:cubicBezTo>
                  <a:cubicBezTo>
                    <a:pt x="166344" y="11044"/>
                    <a:pt x="175151" y="14897"/>
                    <a:pt x="180931" y="2512"/>
                  </a:cubicBezTo>
                  <a:cubicBezTo>
                    <a:pt x="183133" y="-1892"/>
                    <a:pt x="189463" y="1136"/>
                    <a:pt x="193867" y="861"/>
                  </a:cubicBezTo>
                  <a:cubicBezTo>
                    <a:pt x="199922" y="311"/>
                    <a:pt x="206252" y="585"/>
                    <a:pt x="213683" y="861"/>
                  </a:cubicBezTo>
                  <a:cubicBezTo>
                    <a:pt x="203225" y="11595"/>
                    <a:pt x="193592" y="22329"/>
                    <a:pt x="186711" y="33613"/>
                  </a:cubicBezTo>
                  <a:cubicBezTo>
                    <a:pt x="180931" y="43246"/>
                    <a:pt x="175702" y="43796"/>
                    <a:pt x="167720" y="43246"/>
                  </a:cubicBezTo>
                  <a:cubicBezTo>
                    <a:pt x="160565" y="42695"/>
                    <a:pt x="152858" y="33063"/>
                    <a:pt x="153684" y="25906"/>
                  </a:cubicBezTo>
                  <a:cubicBezTo>
                    <a:pt x="151757" y="27007"/>
                    <a:pt x="148730" y="27833"/>
                    <a:pt x="148455" y="29209"/>
                  </a:cubicBezTo>
                  <a:cubicBezTo>
                    <a:pt x="146253" y="46548"/>
                    <a:pt x="133042" y="43246"/>
                    <a:pt x="122033" y="43246"/>
                  </a:cubicBezTo>
                  <a:cubicBezTo>
                    <a:pt x="83501" y="43246"/>
                    <a:pt x="44969" y="42971"/>
                    <a:pt x="6437" y="42971"/>
                  </a:cubicBezTo>
                  <a:cubicBezTo>
                    <a:pt x="3685" y="43521"/>
                    <a:pt x="1483" y="43246"/>
                    <a:pt x="1208" y="39943"/>
                  </a:cubicBezTo>
                  <a:cubicBezTo>
                    <a:pt x="1208" y="36640"/>
                    <a:pt x="933" y="33338"/>
                    <a:pt x="1208" y="30035"/>
                  </a:cubicBezTo>
                  <a:cubicBezTo>
                    <a:pt x="1758" y="20677"/>
                    <a:pt x="-2920" y="8292"/>
                    <a:pt x="3134" y="2787"/>
                  </a:cubicBezTo>
                  <a:cubicBezTo>
                    <a:pt x="5612" y="448"/>
                    <a:pt x="9878" y="-34"/>
                    <a:pt x="14660" y="1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6FAB5AA4-5C87-4AC9-A65E-AED92AFF16F0}"/>
                </a:ext>
              </a:extLst>
            </p:cNvPr>
            <p:cNvSpPr/>
            <p:nvPr/>
          </p:nvSpPr>
          <p:spPr>
            <a:xfrm rot="10800000">
              <a:off x="6050127" y="6341642"/>
              <a:ext cx="3321685" cy="76019"/>
            </a:xfrm>
            <a:custGeom>
              <a:avLst/>
              <a:gdLst>
                <a:gd name="connsiteX0" fmla="*/ 1323163 w 1645441"/>
                <a:gd name="connsiteY0" fmla="*/ 28780 h 37657"/>
                <a:gd name="connsiteX1" fmla="*/ 1333347 w 1645441"/>
                <a:gd name="connsiteY1" fmla="*/ 36796 h 37657"/>
                <a:gd name="connsiteX2" fmla="*/ 1312980 w 1645441"/>
                <a:gd name="connsiteY2" fmla="*/ 36245 h 37657"/>
                <a:gd name="connsiteX3" fmla="*/ 1323163 w 1645441"/>
                <a:gd name="connsiteY3" fmla="*/ 28780 h 37657"/>
                <a:gd name="connsiteX4" fmla="*/ 502405 w 1645441"/>
                <a:gd name="connsiteY4" fmla="*/ 28666 h 37657"/>
                <a:gd name="connsiteX5" fmla="*/ 512589 w 1645441"/>
                <a:gd name="connsiteY5" fmla="*/ 36682 h 37657"/>
                <a:gd name="connsiteX6" fmla="*/ 492222 w 1645441"/>
                <a:gd name="connsiteY6" fmla="*/ 36131 h 37657"/>
                <a:gd name="connsiteX7" fmla="*/ 502405 w 1645441"/>
                <a:gd name="connsiteY7" fmla="*/ 28666 h 37657"/>
                <a:gd name="connsiteX8" fmla="*/ 1645441 w 1645441"/>
                <a:gd name="connsiteY8" fmla="*/ 21503 h 37657"/>
                <a:gd name="connsiteX9" fmla="*/ 1645441 w 1645441"/>
                <a:gd name="connsiteY9" fmla="*/ 33701 h 37657"/>
                <a:gd name="connsiteX10" fmla="*/ 1640157 w 1645441"/>
                <a:gd name="connsiteY10" fmla="*/ 32461 h 37657"/>
                <a:gd name="connsiteX11" fmla="*/ 1639950 w 1645441"/>
                <a:gd name="connsiteY11" fmla="*/ 27438 h 37657"/>
                <a:gd name="connsiteX12" fmla="*/ 833779 w 1645441"/>
                <a:gd name="connsiteY12" fmla="*/ 19618 h 37657"/>
                <a:gd name="connsiteX13" fmla="*/ 843962 w 1645441"/>
                <a:gd name="connsiteY13" fmla="*/ 30627 h 37657"/>
                <a:gd name="connsiteX14" fmla="*/ 824972 w 1645441"/>
                <a:gd name="connsiteY14" fmla="*/ 33655 h 37657"/>
                <a:gd name="connsiteX15" fmla="*/ 819192 w 1645441"/>
                <a:gd name="connsiteY15" fmla="*/ 27324 h 37657"/>
                <a:gd name="connsiteX16" fmla="*/ 833779 w 1645441"/>
                <a:gd name="connsiteY16" fmla="*/ 19618 h 37657"/>
                <a:gd name="connsiteX17" fmla="*/ 1645441 w 1645441"/>
                <a:gd name="connsiteY17" fmla="*/ 5017 h 37657"/>
                <a:gd name="connsiteX18" fmla="*/ 1645441 w 1645441"/>
                <a:gd name="connsiteY18" fmla="*/ 6122 h 37657"/>
                <a:gd name="connsiteX19" fmla="*/ 1644904 w 1645441"/>
                <a:gd name="connsiteY19" fmla="*/ 5420 h 37657"/>
                <a:gd name="connsiteX20" fmla="*/ 18831 w 1645441"/>
                <a:gd name="connsiteY20" fmla="*/ 627 h 37657"/>
                <a:gd name="connsiteX21" fmla="*/ 78005 w 1645441"/>
                <a:gd name="connsiteY21" fmla="*/ 627 h 37657"/>
                <a:gd name="connsiteX22" fmla="*/ 144609 w 1645441"/>
                <a:gd name="connsiteY22" fmla="*/ 627 h 37657"/>
                <a:gd name="connsiteX23" fmla="*/ 155894 w 1645441"/>
                <a:gd name="connsiteY23" fmla="*/ 5580 h 37657"/>
                <a:gd name="connsiteX24" fmla="*/ 154518 w 1645441"/>
                <a:gd name="connsiteY24" fmla="*/ 19617 h 37657"/>
                <a:gd name="connsiteX25" fmla="*/ 147362 w 1645441"/>
                <a:gd name="connsiteY25" fmla="*/ 34754 h 37657"/>
                <a:gd name="connsiteX26" fmla="*/ 143509 w 1645441"/>
                <a:gd name="connsiteY26" fmla="*/ 36681 h 37657"/>
                <a:gd name="connsiteX27" fmla="*/ 105252 w 1645441"/>
                <a:gd name="connsiteY27" fmla="*/ 33653 h 37657"/>
                <a:gd name="connsiteX28" fmla="*/ 99197 w 1645441"/>
                <a:gd name="connsiteY28" fmla="*/ 33103 h 37657"/>
                <a:gd name="connsiteX29" fmla="*/ 16904 w 1645441"/>
                <a:gd name="connsiteY29" fmla="*/ 36406 h 37657"/>
                <a:gd name="connsiteX30" fmla="*/ 115 w 1645441"/>
                <a:gd name="connsiteY30" fmla="*/ 19066 h 37657"/>
                <a:gd name="connsiteX31" fmla="*/ 18831 w 1645441"/>
                <a:gd name="connsiteY31" fmla="*/ 627 h 37657"/>
                <a:gd name="connsiteX32" fmla="*/ 168624 w 1645441"/>
                <a:gd name="connsiteY32" fmla="*/ 524 h 37657"/>
                <a:gd name="connsiteX33" fmla="*/ 175711 w 1645441"/>
                <a:gd name="connsiteY33" fmla="*/ 4480 h 37657"/>
                <a:gd name="connsiteX34" fmla="*/ 182591 w 1645441"/>
                <a:gd name="connsiteY34" fmla="*/ 8609 h 37657"/>
                <a:gd name="connsiteX35" fmla="*/ 177087 w 1645441"/>
                <a:gd name="connsiteY35" fmla="*/ 11361 h 37657"/>
                <a:gd name="connsiteX36" fmla="*/ 161123 w 1645441"/>
                <a:gd name="connsiteY36" fmla="*/ 8334 h 37657"/>
                <a:gd name="connsiteX37" fmla="*/ 161123 w 1645441"/>
                <a:gd name="connsiteY37" fmla="*/ 2554 h 37657"/>
                <a:gd name="connsiteX38" fmla="*/ 168624 w 1645441"/>
                <a:gd name="connsiteY38" fmla="*/ 524 h 37657"/>
                <a:gd name="connsiteX39" fmla="*/ 1260961 w 1645441"/>
                <a:gd name="connsiteY39" fmla="*/ 465 h 37657"/>
                <a:gd name="connsiteX40" fmla="*/ 1271420 w 1645441"/>
                <a:gd name="connsiteY40" fmla="*/ 8447 h 37657"/>
                <a:gd name="connsiteX41" fmla="*/ 1278575 w 1645441"/>
                <a:gd name="connsiteY41" fmla="*/ 31566 h 37657"/>
                <a:gd name="connsiteX42" fmla="*/ 1268392 w 1645441"/>
                <a:gd name="connsiteY42" fmla="*/ 37071 h 37657"/>
                <a:gd name="connsiteX43" fmla="*/ 1152797 w 1645441"/>
                <a:gd name="connsiteY43" fmla="*/ 37071 h 37657"/>
                <a:gd name="connsiteX44" fmla="*/ 1117568 w 1645441"/>
                <a:gd name="connsiteY44" fmla="*/ 37071 h 37657"/>
                <a:gd name="connsiteX45" fmla="*/ 1093176 w 1645441"/>
                <a:gd name="connsiteY45" fmla="*/ 35557 h 37657"/>
                <a:gd name="connsiteX46" fmla="*/ 1092403 w 1645441"/>
                <a:gd name="connsiteY46" fmla="*/ 35283 h 37657"/>
                <a:gd name="connsiteX47" fmla="*/ 1092403 w 1645441"/>
                <a:gd name="connsiteY47" fmla="*/ 36682 h 37657"/>
                <a:gd name="connsiteX48" fmla="*/ 1061686 w 1645441"/>
                <a:gd name="connsiteY48" fmla="*/ 36682 h 37657"/>
                <a:gd name="connsiteX49" fmla="*/ 1061696 w 1645441"/>
                <a:gd name="connsiteY49" fmla="*/ 36795 h 37657"/>
                <a:gd name="connsiteX50" fmla="*/ 1010880 w 1645441"/>
                <a:gd name="connsiteY50" fmla="*/ 36795 h 37657"/>
                <a:gd name="connsiteX51" fmla="*/ 1010880 w 1645441"/>
                <a:gd name="connsiteY51" fmla="*/ 36682 h 37657"/>
                <a:gd name="connsiteX52" fmla="*/ 973870 w 1645441"/>
                <a:gd name="connsiteY52" fmla="*/ 36682 h 37657"/>
                <a:gd name="connsiteX53" fmla="*/ 964787 w 1645441"/>
                <a:gd name="connsiteY53" fmla="*/ 22920 h 37657"/>
                <a:gd name="connsiteX54" fmla="*/ 955705 w 1645441"/>
                <a:gd name="connsiteY54" fmla="*/ 15214 h 37657"/>
                <a:gd name="connsiteX55" fmla="*/ 954054 w 1645441"/>
                <a:gd name="connsiteY55" fmla="*/ 23196 h 37657"/>
                <a:gd name="connsiteX56" fmla="*/ 948273 w 1645441"/>
                <a:gd name="connsiteY56" fmla="*/ 27324 h 37657"/>
                <a:gd name="connsiteX57" fmla="*/ 928732 w 1645441"/>
                <a:gd name="connsiteY57" fmla="*/ 12187 h 37657"/>
                <a:gd name="connsiteX58" fmla="*/ 907540 w 1645441"/>
                <a:gd name="connsiteY58" fmla="*/ 9985 h 37657"/>
                <a:gd name="connsiteX59" fmla="*/ 897907 w 1645441"/>
                <a:gd name="connsiteY59" fmla="*/ 5306 h 37657"/>
                <a:gd name="connsiteX60" fmla="*/ 894880 w 1645441"/>
                <a:gd name="connsiteY60" fmla="*/ 18517 h 37657"/>
                <a:gd name="connsiteX61" fmla="*/ 894329 w 1645441"/>
                <a:gd name="connsiteY61" fmla="*/ 34205 h 37657"/>
                <a:gd name="connsiteX62" fmla="*/ 889925 w 1645441"/>
                <a:gd name="connsiteY62" fmla="*/ 36682 h 37657"/>
                <a:gd name="connsiteX63" fmla="*/ 848916 w 1645441"/>
                <a:gd name="connsiteY63" fmla="*/ 36682 h 37657"/>
                <a:gd name="connsiteX64" fmla="*/ 844238 w 1645441"/>
                <a:gd name="connsiteY64" fmla="*/ 30627 h 37657"/>
                <a:gd name="connsiteX65" fmla="*/ 854421 w 1645441"/>
                <a:gd name="connsiteY65" fmla="*/ 30352 h 37657"/>
                <a:gd name="connsiteX66" fmla="*/ 849192 w 1645441"/>
                <a:gd name="connsiteY66" fmla="*/ 19893 h 37657"/>
                <a:gd name="connsiteX67" fmla="*/ 842311 w 1645441"/>
                <a:gd name="connsiteY67" fmla="*/ 1453 h 37657"/>
                <a:gd name="connsiteX68" fmla="*/ 1010880 w 1645441"/>
                <a:gd name="connsiteY68" fmla="*/ 1453 h 37657"/>
                <a:gd name="connsiteX69" fmla="*/ 1010880 w 1645441"/>
                <a:gd name="connsiteY69" fmla="*/ 973 h 37657"/>
                <a:gd name="connsiteX70" fmla="*/ 1012190 w 1645441"/>
                <a:gd name="connsiteY70" fmla="*/ 1016 h 37657"/>
                <a:gd name="connsiteX71" fmla="*/ 1012704 w 1645441"/>
                <a:gd name="connsiteY71" fmla="*/ 1453 h 37657"/>
                <a:gd name="connsiteX72" fmla="*/ 1060146 w 1645441"/>
                <a:gd name="connsiteY72" fmla="*/ 1453 h 37657"/>
                <a:gd name="connsiteX73" fmla="*/ 1060355 w 1645441"/>
                <a:gd name="connsiteY73" fmla="*/ 1256 h 37657"/>
                <a:gd name="connsiteX74" fmla="*/ 1066100 w 1645441"/>
                <a:gd name="connsiteY74" fmla="*/ 740 h 37657"/>
                <a:gd name="connsiteX75" fmla="*/ 1260961 w 1645441"/>
                <a:gd name="connsiteY75" fmla="*/ 465 h 37657"/>
                <a:gd name="connsiteX76" fmla="*/ 830751 w 1645441"/>
                <a:gd name="connsiteY76" fmla="*/ 352 h 37657"/>
                <a:gd name="connsiteX77" fmla="*/ 834330 w 1645441"/>
                <a:gd name="connsiteY77" fmla="*/ 3654 h 37657"/>
                <a:gd name="connsiteX78" fmla="*/ 827724 w 1645441"/>
                <a:gd name="connsiteY78" fmla="*/ 9984 h 37657"/>
                <a:gd name="connsiteX79" fmla="*/ 824146 w 1645441"/>
                <a:gd name="connsiteY79" fmla="*/ 5306 h 37657"/>
                <a:gd name="connsiteX80" fmla="*/ 830751 w 1645441"/>
                <a:gd name="connsiteY80" fmla="*/ 352 h 37657"/>
                <a:gd name="connsiteX81" fmla="*/ 440203 w 1645441"/>
                <a:gd name="connsiteY81" fmla="*/ 351 h 37657"/>
                <a:gd name="connsiteX82" fmla="*/ 450662 w 1645441"/>
                <a:gd name="connsiteY82" fmla="*/ 8333 h 37657"/>
                <a:gd name="connsiteX83" fmla="*/ 457817 w 1645441"/>
                <a:gd name="connsiteY83" fmla="*/ 31452 h 37657"/>
                <a:gd name="connsiteX84" fmla="*/ 447634 w 1645441"/>
                <a:gd name="connsiteY84" fmla="*/ 36957 h 37657"/>
                <a:gd name="connsiteX85" fmla="*/ 332039 w 1645441"/>
                <a:gd name="connsiteY85" fmla="*/ 36957 h 37657"/>
                <a:gd name="connsiteX86" fmla="*/ 296810 w 1645441"/>
                <a:gd name="connsiteY86" fmla="*/ 36957 h 37657"/>
                <a:gd name="connsiteX87" fmla="*/ 249471 w 1645441"/>
                <a:gd name="connsiteY87" fmla="*/ 27324 h 37657"/>
                <a:gd name="connsiteX88" fmla="*/ 240113 w 1645441"/>
                <a:gd name="connsiteY88" fmla="*/ 27048 h 37657"/>
                <a:gd name="connsiteX89" fmla="*/ 240938 w 1645441"/>
                <a:gd name="connsiteY89" fmla="*/ 36681 h 37657"/>
                <a:gd name="connsiteX90" fmla="*/ 158921 w 1645441"/>
                <a:gd name="connsiteY90" fmla="*/ 36681 h 37657"/>
                <a:gd name="connsiteX91" fmla="*/ 164426 w 1645441"/>
                <a:gd name="connsiteY91" fmla="*/ 25122 h 37657"/>
                <a:gd name="connsiteX92" fmla="*/ 169379 w 1645441"/>
                <a:gd name="connsiteY92" fmla="*/ 20718 h 37657"/>
                <a:gd name="connsiteX93" fmla="*/ 194701 w 1645441"/>
                <a:gd name="connsiteY93" fmla="*/ 7507 h 37657"/>
                <a:gd name="connsiteX94" fmla="*/ 182866 w 1645441"/>
                <a:gd name="connsiteY94" fmla="*/ 626 h 37657"/>
                <a:gd name="connsiteX95" fmla="*/ 198554 w 1645441"/>
                <a:gd name="connsiteY95" fmla="*/ 6957 h 37657"/>
                <a:gd name="connsiteX96" fmla="*/ 234883 w 1645441"/>
                <a:gd name="connsiteY96" fmla="*/ 5580 h 37657"/>
                <a:gd name="connsiteX97" fmla="*/ 245342 w 1645441"/>
                <a:gd name="connsiteY97" fmla="*/ 626 h 37657"/>
                <a:gd name="connsiteX98" fmla="*/ 440203 w 1645441"/>
                <a:gd name="connsiteY98" fmla="*/ 351 h 37657"/>
                <a:gd name="connsiteX99" fmla="*/ 1634867 w 1645441"/>
                <a:gd name="connsiteY99" fmla="*/ 207 h 37657"/>
                <a:gd name="connsiteX100" fmla="*/ 1640226 w 1645441"/>
                <a:gd name="connsiteY100" fmla="*/ 1291 h 37657"/>
                <a:gd name="connsiteX101" fmla="*/ 1637748 w 1645441"/>
                <a:gd name="connsiteY101" fmla="*/ 9548 h 37657"/>
                <a:gd name="connsiteX102" fmla="*/ 1612428 w 1645441"/>
                <a:gd name="connsiteY102" fmla="*/ 34594 h 37657"/>
                <a:gd name="connsiteX103" fmla="*/ 1613804 w 1645441"/>
                <a:gd name="connsiteY103" fmla="*/ 22483 h 37657"/>
                <a:gd name="connsiteX104" fmla="*/ 1602795 w 1645441"/>
                <a:gd name="connsiteY104" fmla="*/ 17254 h 37657"/>
                <a:gd name="connsiteX105" fmla="*/ 1604996 w 1645441"/>
                <a:gd name="connsiteY105" fmla="*/ 28814 h 37657"/>
                <a:gd name="connsiteX106" fmla="*/ 1585180 w 1645441"/>
                <a:gd name="connsiteY106" fmla="*/ 25236 h 37657"/>
                <a:gd name="connsiteX107" fmla="*/ 1587657 w 1645441"/>
                <a:gd name="connsiteY107" fmla="*/ 36245 h 37657"/>
                <a:gd name="connsiteX108" fmla="*/ 1506190 w 1645441"/>
                <a:gd name="connsiteY108" fmla="*/ 36245 h 37657"/>
                <a:gd name="connsiteX109" fmla="*/ 1481695 w 1645441"/>
                <a:gd name="connsiteY109" fmla="*/ 12025 h 37657"/>
                <a:gd name="connsiteX110" fmla="*/ 1465731 w 1645441"/>
                <a:gd name="connsiteY110" fmla="*/ 22759 h 37657"/>
                <a:gd name="connsiteX111" fmla="*/ 1467658 w 1645441"/>
                <a:gd name="connsiteY111" fmla="*/ 33218 h 37657"/>
                <a:gd name="connsiteX112" fmla="*/ 1467933 w 1645441"/>
                <a:gd name="connsiteY112" fmla="*/ 34869 h 37657"/>
                <a:gd name="connsiteX113" fmla="*/ 1439310 w 1645441"/>
                <a:gd name="connsiteY113" fmla="*/ 36520 h 37657"/>
                <a:gd name="connsiteX114" fmla="*/ 1363897 w 1645441"/>
                <a:gd name="connsiteY114" fmla="*/ 36795 h 37657"/>
                <a:gd name="connsiteX115" fmla="*/ 1349310 w 1645441"/>
                <a:gd name="connsiteY115" fmla="*/ 26061 h 37657"/>
                <a:gd name="connsiteX116" fmla="*/ 1346007 w 1645441"/>
                <a:gd name="connsiteY116" fmla="*/ 19456 h 37657"/>
                <a:gd name="connsiteX117" fmla="*/ 1354264 w 1645441"/>
                <a:gd name="connsiteY117" fmla="*/ 11474 h 37657"/>
                <a:gd name="connsiteX118" fmla="*/ 1341879 w 1645441"/>
                <a:gd name="connsiteY118" fmla="*/ 3768 h 37657"/>
                <a:gd name="connsiteX119" fmla="*/ 1335824 w 1645441"/>
                <a:gd name="connsiteY119" fmla="*/ 14502 h 37657"/>
                <a:gd name="connsiteX120" fmla="*/ 1326741 w 1645441"/>
                <a:gd name="connsiteY120" fmla="*/ 19181 h 37657"/>
                <a:gd name="connsiteX121" fmla="*/ 1307200 w 1645441"/>
                <a:gd name="connsiteY121" fmla="*/ 16704 h 37657"/>
                <a:gd name="connsiteX122" fmla="*/ 1291237 w 1645441"/>
                <a:gd name="connsiteY122" fmla="*/ 465 h 37657"/>
                <a:gd name="connsiteX123" fmla="*/ 1373255 w 1645441"/>
                <a:gd name="connsiteY123" fmla="*/ 465 h 37657"/>
                <a:gd name="connsiteX124" fmla="*/ 1406007 w 1645441"/>
                <a:gd name="connsiteY124" fmla="*/ 465 h 37657"/>
                <a:gd name="connsiteX125" fmla="*/ 1414539 w 1645441"/>
                <a:gd name="connsiteY125" fmla="*/ 328 h 37657"/>
                <a:gd name="connsiteX126" fmla="*/ 1420594 w 1645441"/>
                <a:gd name="connsiteY126" fmla="*/ 7621 h 37657"/>
                <a:gd name="connsiteX127" fmla="*/ 1438209 w 1645441"/>
                <a:gd name="connsiteY127" fmla="*/ 12025 h 37657"/>
                <a:gd name="connsiteX128" fmla="*/ 1449768 w 1645441"/>
                <a:gd name="connsiteY128" fmla="*/ 13126 h 37657"/>
                <a:gd name="connsiteX129" fmla="*/ 1446190 w 1645441"/>
                <a:gd name="connsiteY129" fmla="*/ 465 h 37657"/>
                <a:gd name="connsiteX130" fmla="*/ 1473988 w 1645441"/>
                <a:gd name="connsiteY130" fmla="*/ 465 h 37657"/>
                <a:gd name="connsiteX131" fmla="*/ 1588483 w 1645441"/>
                <a:gd name="connsiteY131" fmla="*/ 465 h 37657"/>
                <a:gd name="connsiteX132" fmla="*/ 1595914 w 1645441"/>
                <a:gd name="connsiteY132" fmla="*/ 741 h 37657"/>
                <a:gd name="connsiteX133" fmla="*/ 1599767 w 1645441"/>
                <a:gd name="connsiteY133" fmla="*/ 5694 h 37657"/>
                <a:gd name="connsiteX134" fmla="*/ 1594813 w 1645441"/>
                <a:gd name="connsiteY134" fmla="*/ 6795 h 37657"/>
                <a:gd name="connsiteX135" fmla="*/ 1587932 w 1645441"/>
                <a:gd name="connsiteY135" fmla="*/ 4869 h 37657"/>
                <a:gd name="connsiteX136" fmla="*/ 1582703 w 1645441"/>
                <a:gd name="connsiteY136" fmla="*/ 9548 h 37657"/>
                <a:gd name="connsiteX137" fmla="*/ 1588208 w 1645441"/>
                <a:gd name="connsiteY137" fmla="*/ 13126 h 37657"/>
                <a:gd name="connsiteX138" fmla="*/ 1609400 w 1645441"/>
                <a:gd name="connsiteY138" fmla="*/ 3768 h 37657"/>
                <a:gd name="connsiteX139" fmla="*/ 1634867 w 1645441"/>
                <a:gd name="connsiteY139" fmla="*/ 207 h 37657"/>
                <a:gd name="connsiteX140" fmla="*/ 814109 w 1645441"/>
                <a:gd name="connsiteY140" fmla="*/ 93 h 37657"/>
                <a:gd name="connsiteX141" fmla="*/ 819468 w 1645441"/>
                <a:gd name="connsiteY141" fmla="*/ 1177 h 37657"/>
                <a:gd name="connsiteX142" fmla="*/ 816990 w 1645441"/>
                <a:gd name="connsiteY142" fmla="*/ 9434 h 37657"/>
                <a:gd name="connsiteX143" fmla="*/ 791670 w 1645441"/>
                <a:gd name="connsiteY143" fmla="*/ 34480 h 37657"/>
                <a:gd name="connsiteX144" fmla="*/ 793046 w 1645441"/>
                <a:gd name="connsiteY144" fmla="*/ 22369 h 37657"/>
                <a:gd name="connsiteX145" fmla="*/ 782037 w 1645441"/>
                <a:gd name="connsiteY145" fmla="*/ 17140 h 37657"/>
                <a:gd name="connsiteX146" fmla="*/ 784238 w 1645441"/>
                <a:gd name="connsiteY146" fmla="*/ 28700 h 37657"/>
                <a:gd name="connsiteX147" fmla="*/ 764422 w 1645441"/>
                <a:gd name="connsiteY147" fmla="*/ 25122 h 37657"/>
                <a:gd name="connsiteX148" fmla="*/ 766899 w 1645441"/>
                <a:gd name="connsiteY148" fmla="*/ 36131 h 37657"/>
                <a:gd name="connsiteX149" fmla="*/ 685432 w 1645441"/>
                <a:gd name="connsiteY149" fmla="*/ 36131 h 37657"/>
                <a:gd name="connsiteX150" fmla="*/ 660937 w 1645441"/>
                <a:gd name="connsiteY150" fmla="*/ 11911 h 37657"/>
                <a:gd name="connsiteX151" fmla="*/ 644973 w 1645441"/>
                <a:gd name="connsiteY151" fmla="*/ 22645 h 37657"/>
                <a:gd name="connsiteX152" fmla="*/ 646900 w 1645441"/>
                <a:gd name="connsiteY152" fmla="*/ 33104 h 37657"/>
                <a:gd name="connsiteX153" fmla="*/ 647175 w 1645441"/>
                <a:gd name="connsiteY153" fmla="*/ 34755 h 37657"/>
                <a:gd name="connsiteX154" fmla="*/ 618552 w 1645441"/>
                <a:gd name="connsiteY154" fmla="*/ 36406 h 37657"/>
                <a:gd name="connsiteX155" fmla="*/ 543139 w 1645441"/>
                <a:gd name="connsiteY155" fmla="*/ 36681 h 37657"/>
                <a:gd name="connsiteX156" fmla="*/ 528552 w 1645441"/>
                <a:gd name="connsiteY156" fmla="*/ 25947 h 37657"/>
                <a:gd name="connsiteX157" fmla="*/ 525249 w 1645441"/>
                <a:gd name="connsiteY157" fmla="*/ 19342 h 37657"/>
                <a:gd name="connsiteX158" fmla="*/ 533506 w 1645441"/>
                <a:gd name="connsiteY158" fmla="*/ 11360 h 37657"/>
                <a:gd name="connsiteX159" fmla="*/ 521121 w 1645441"/>
                <a:gd name="connsiteY159" fmla="*/ 3654 h 37657"/>
                <a:gd name="connsiteX160" fmla="*/ 515066 w 1645441"/>
                <a:gd name="connsiteY160" fmla="*/ 14388 h 37657"/>
                <a:gd name="connsiteX161" fmla="*/ 505983 w 1645441"/>
                <a:gd name="connsiteY161" fmla="*/ 19067 h 37657"/>
                <a:gd name="connsiteX162" fmla="*/ 486442 w 1645441"/>
                <a:gd name="connsiteY162" fmla="*/ 16590 h 37657"/>
                <a:gd name="connsiteX163" fmla="*/ 470479 w 1645441"/>
                <a:gd name="connsiteY163" fmla="*/ 351 h 37657"/>
                <a:gd name="connsiteX164" fmla="*/ 552497 w 1645441"/>
                <a:gd name="connsiteY164" fmla="*/ 351 h 37657"/>
                <a:gd name="connsiteX165" fmla="*/ 585249 w 1645441"/>
                <a:gd name="connsiteY165" fmla="*/ 351 h 37657"/>
                <a:gd name="connsiteX166" fmla="*/ 593781 w 1645441"/>
                <a:gd name="connsiteY166" fmla="*/ 214 h 37657"/>
                <a:gd name="connsiteX167" fmla="*/ 599836 w 1645441"/>
                <a:gd name="connsiteY167" fmla="*/ 7507 h 37657"/>
                <a:gd name="connsiteX168" fmla="*/ 617451 w 1645441"/>
                <a:gd name="connsiteY168" fmla="*/ 11911 h 37657"/>
                <a:gd name="connsiteX169" fmla="*/ 629010 w 1645441"/>
                <a:gd name="connsiteY169" fmla="*/ 13012 h 37657"/>
                <a:gd name="connsiteX170" fmla="*/ 625432 w 1645441"/>
                <a:gd name="connsiteY170" fmla="*/ 351 h 37657"/>
                <a:gd name="connsiteX171" fmla="*/ 653230 w 1645441"/>
                <a:gd name="connsiteY171" fmla="*/ 351 h 37657"/>
                <a:gd name="connsiteX172" fmla="*/ 767725 w 1645441"/>
                <a:gd name="connsiteY172" fmla="*/ 351 h 37657"/>
                <a:gd name="connsiteX173" fmla="*/ 775156 w 1645441"/>
                <a:gd name="connsiteY173" fmla="*/ 627 h 37657"/>
                <a:gd name="connsiteX174" fmla="*/ 779009 w 1645441"/>
                <a:gd name="connsiteY174" fmla="*/ 5580 h 37657"/>
                <a:gd name="connsiteX175" fmla="*/ 774055 w 1645441"/>
                <a:gd name="connsiteY175" fmla="*/ 6681 h 37657"/>
                <a:gd name="connsiteX176" fmla="*/ 767174 w 1645441"/>
                <a:gd name="connsiteY176" fmla="*/ 4755 h 37657"/>
                <a:gd name="connsiteX177" fmla="*/ 761945 w 1645441"/>
                <a:gd name="connsiteY177" fmla="*/ 9434 h 37657"/>
                <a:gd name="connsiteX178" fmla="*/ 767450 w 1645441"/>
                <a:gd name="connsiteY178" fmla="*/ 13012 h 37657"/>
                <a:gd name="connsiteX179" fmla="*/ 788642 w 1645441"/>
                <a:gd name="connsiteY179" fmla="*/ 3654 h 37657"/>
                <a:gd name="connsiteX180" fmla="*/ 814109 w 1645441"/>
                <a:gd name="connsiteY180" fmla="*/ 93 h 3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645441" h="37657">
                  <a:moveTo>
                    <a:pt x="1323163" y="28780"/>
                  </a:moveTo>
                  <a:cubicBezTo>
                    <a:pt x="1326466" y="28539"/>
                    <a:pt x="1329769" y="30878"/>
                    <a:pt x="1333347" y="36796"/>
                  </a:cubicBezTo>
                  <a:cubicBezTo>
                    <a:pt x="1325916" y="37621"/>
                    <a:pt x="1319861" y="38447"/>
                    <a:pt x="1312980" y="36245"/>
                  </a:cubicBezTo>
                  <a:cubicBezTo>
                    <a:pt x="1316558" y="31842"/>
                    <a:pt x="1319861" y="29021"/>
                    <a:pt x="1323163" y="28780"/>
                  </a:cubicBezTo>
                  <a:close/>
                  <a:moveTo>
                    <a:pt x="502405" y="28666"/>
                  </a:moveTo>
                  <a:cubicBezTo>
                    <a:pt x="505708" y="28425"/>
                    <a:pt x="509011" y="30764"/>
                    <a:pt x="512589" y="36682"/>
                  </a:cubicBezTo>
                  <a:cubicBezTo>
                    <a:pt x="505158" y="37507"/>
                    <a:pt x="499103" y="38333"/>
                    <a:pt x="492222" y="36131"/>
                  </a:cubicBezTo>
                  <a:cubicBezTo>
                    <a:pt x="495800" y="31728"/>
                    <a:pt x="499103" y="28907"/>
                    <a:pt x="502405" y="28666"/>
                  </a:cubicBezTo>
                  <a:close/>
                  <a:moveTo>
                    <a:pt x="1645441" y="21503"/>
                  </a:moveTo>
                  <a:lnTo>
                    <a:pt x="1645441" y="33701"/>
                  </a:lnTo>
                  <a:lnTo>
                    <a:pt x="1640157" y="32461"/>
                  </a:lnTo>
                  <a:cubicBezTo>
                    <a:pt x="1638299" y="32048"/>
                    <a:pt x="1637336" y="31016"/>
                    <a:pt x="1639950" y="27438"/>
                  </a:cubicBezTo>
                  <a:close/>
                  <a:moveTo>
                    <a:pt x="833779" y="19618"/>
                  </a:moveTo>
                  <a:cubicBezTo>
                    <a:pt x="838182" y="21269"/>
                    <a:pt x="843962" y="24022"/>
                    <a:pt x="843962" y="30627"/>
                  </a:cubicBezTo>
                  <a:cubicBezTo>
                    <a:pt x="838182" y="34755"/>
                    <a:pt x="832953" y="42187"/>
                    <a:pt x="824972" y="33655"/>
                  </a:cubicBezTo>
                  <a:cubicBezTo>
                    <a:pt x="823045" y="31453"/>
                    <a:pt x="813963" y="34480"/>
                    <a:pt x="819192" y="27324"/>
                  </a:cubicBezTo>
                  <a:cubicBezTo>
                    <a:pt x="822219" y="23196"/>
                    <a:pt x="827173" y="16866"/>
                    <a:pt x="833779" y="19618"/>
                  </a:cubicBezTo>
                  <a:close/>
                  <a:moveTo>
                    <a:pt x="1645441" y="5017"/>
                  </a:moveTo>
                  <a:lnTo>
                    <a:pt x="1645441" y="6122"/>
                  </a:lnTo>
                  <a:lnTo>
                    <a:pt x="1644904" y="5420"/>
                  </a:lnTo>
                  <a:close/>
                  <a:moveTo>
                    <a:pt x="18831" y="627"/>
                  </a:moveTo>
                  <a:cubicBezTo>
                    <a:pt x="38647" y="627"/>
                    <a:pt x="58188" y="627"/>
                    <a:pt x="78005" y="627"/>
                  </a:cubicBezTo>
                  <a:cubicBezTo>
                    <a:pt x="100298" y="627"/>
                    <a:pt x="122316" y="627"/>
                    <a:pt x="144609" y="627"/>
                  </a:cubicBezTo>
                  <a:cubicBezTo>
                    <a:pt x="149013" y="627"/>
                    <a:pt x="153417" y="-475"/>
                    <a:pt x="155894" y="5580"/>
                  </a:cubicBezTo>
                  <a:cubicBezTo>
                    <a:pt x="157820" y="11085"/>
                    <a:pt x="157270" y="14663"/>
                    <a:pt x="154518" y="19617"/>
                  </a:cubicBezTo>
                  <a:cubicBezTo>
                    <a:pt x="151765" y="24296"/>
                    <a:pt x="142132" y="26222"/>
                    <a:pt x="147362" y="34754"/>
                  </a:cubicBezTo>
                  <a:cubicBezTo>
                    <a:pt x="147912" y="35580"/>
                    <a:pt x="145435" y="36956"/>
                    <a:pt x="143509" y="36681"/>
                  </a:cubicBezTo>
                  <a:cubicBezTo>
                    <a:pt x="130848" y="35305"/>
                    <a:pt x="117637" y="39708"/>
                    <a:pt x="105252" y="33653"/>
                  </a:cubicBezTo>
                  <a:cubicBezTo>
                    <a:pt x="103601" y="32828"/>
                    <a:pt x="101124" y="32552"/>
                    <a:pt x="99197" y="33103"/>
                  </a:cubicBezTo>
                  <a:cubicBezTo>
                    <a:pt x="71950" y="40809"/>
                    <a:pt x="44427" y="35030"/>
                    <a:pt x="16904" y="36406"/>
                  </a:cubicBezTo>
                  <a:cubicBezTo>
                    <a:pt x="5895" y="36956"/>
                    <a:pt x="-985" y="33103"/>
                    <a:pt x="115" y="19066"/>
                  </a:cubicBezTo>
                  <a:cubicBezTo>
                    <a:pt x="1767" y="627"/>
                    <a:pt x="666" y="627"/>
                    <a:pt x="18831" y="627"/>
                  </a:cubicBezTo>
                  <a:close/>
                  <a:moveTo>
                    <a:pt x="168624" y="524"/>
                  </a:moveTo>
                  <a:cubicBezTo>
                    <a:pt x="171032" y="1178"/>
                    <a:pt x="173372" y="2829"/>
                    <a:pt x="175711" y="4480"/>
                  </a:cubicBezTo>
                  <a:cubicBezTo>
                    <a:pt x="177637" y="5857"/>
                    <a:pt x="180940" y="3655"/>
                    <a:pt x="182591" y="8609"/>
                  </a:cubicBezTo>
                  <a:cubicBezTo>
                    <a:pt x="180665" y="9710"/>
                    <a:pt x="179013" y="10811"/>
                    <a:pt x="177087" y="11361"/>
                  </a:cubicBezTo>
                  <a:cubicBezTo>
                    <a:pt x="171307" y="13288"/>
                    <a:pt x="165803" y="12462"/>
                    <a:pt x="161123" y="8334"/>
                  </a:cubicBezTo>
                  <a:cubicBezTo>
                    <a:pt x="159472" y="6682"/>
                    <a:pt x="159472" y="3930"/>
                    <a:pt x="161123" y="2554"/>
                  </a:cubicBezTo>
                  <a:cubicBezTo>
                    <a:pt x="163738" y="214"/>
                    <a:pt x="166215" y="-130"/>
                    <a:pt x="168624" y="524"/>
                  </a:cubicBezTo>
                  <a:close/>
                  <a:moveTo>
                    <a:pt x="1260961" y="465"/>
                  </a:moveTo>
                  <a:cubicBezTo>
                    <a:pt x="1268392" y="465"/>
                    <a:pt x="1267842" y="6245"/>
                    <a:pt x="1271420" y="8447"/>
                  </a:cubicBezTo>
                  <a:cubicBezTo>
                    <a:pt x="1280502" y="13951"/>
                    <a:pt x="1272521" y="23860"/>
                    <a:pt x="1278575" y="31566"/>
                  </a:cubicBezTo>
                  <a:cubicBezTo>
                    <a:pt x="1282429" y="35970"/>
                    <a:pt x="1273071" y="37071"/>
                    <a:pt x="1268392" y="37071"/>
                  </a:cubicBezTo>
                  <a:cubicBezTo>
                    <a:pt x="1229861" y="37071"/>
                    <a:pt x="1191329" y="37071"/>
                    <a:pt x="1152797" y="37071"/>
                  </a:cubicBezTo>
                  <a:cubicBezTo>
                    <a:pt x="1140962" y="37071"/>
                    <a:pt x="1129127" y="36520"/>
                    <a:pt x="1117568" y="37071"/>
                  </a:cubicBezTo>
                  <a:cubicBezTo>
                    <a:pt x="1109174" y="37484"/>
                    <a:pt x="1101054" y="37071"/>
                    <a:pt x="1093176" y="35557"/>
                  </a:cubicBezTo>
                  <a:lnTo>
                    <a:pt x="1092403" y="35283"/>
                  </a:lnTo>
                  <a:lnTo>
                    <a:pt x="1092403" y="36682"/>
                  </a:lnTo>
                  <a:lnTo>
                    <a:pt x="1061686" y="36682"/>
                  </a:lnTo>
                  <a:lnTo>
                    <a:pt x="1061696" y="36795"/>
                  </a:lnTo>
                  <a:lnTo>
                    <a:pt x="1010880" y="36795"/>
                  </a:lnTo>
                  <a:lnTo>
                    <a:pt x="1010880" y="36682"/>
                  </a:lnTo>
                  <a:lnTo>
                    <a:pt x="973870" y="36682"/>
                  </a:lnTo>
                  <a:cubicBezTo>
                    <a:pt x="963136" y="36682"/>
                    <a:pt x="965063" y="27599"/>
                    <a:pt x="964787" y="22920"/>
                  </a:cubicBezTo>
                  <a:cubicBezTo>
                    <a:pt x="964787" y="15214"/>
                    <a:pt x="960659" y="14663"/>
                    <a:pt x="955705" y="15214"/>
                  </a:cubicBezTo>
                  <a:cubicBezTo>
                    <a:pt x="947998" y="16040"/>
                    <a:pt x="953503" y="20168"/>
                    <a:pt x="954054" y="23196"/>
                  </a:cubicBezTo>
                  <a:cubicBezTo>
                    <a:pt x="955154" y="28700"/>
                    <a:pt x="951852" y="27599"/>
                    <a:pt x="948273" y="27324"/>
                  </a:cubicBezTo>
                  <a:cubicBezTo>
                    <a:pt x="938365" y="26774"/>
                    <a:pt x="935338" y="16865"/>
                    <a:pt x="928732" y="12187"/>
                  </a:cubicBezTo>
                  <a:cubicBezTo>
                    <a:pt x="920751" y="6682"/>
                    <a:pt x="914971" y="7232"/>
                    <a:pt x="907540" y="9985"/>
                  </a:cubicBezTo>
                  <a:cubicBezTo>
                    <a:pt x="905063" y="6682"/>
                    <a:pt x="901485" y="6407"/>
                    <a:pt x="897907" y="5306"/>
                  </a:cubicBezTo>
                  <a:cubicBezTo>
                    <a:pt x="899008" y="10260"/>
                    <a:pt x="891852" y="14113"/>
                    <a:pt x="894880" y="18517"/>
                  </a:cubicBezTo>
                  <a:cubicBezTo>
                    <a:pt x="899008" y="24297"/>
                    <a:pt x="890201" y="28425"/>
                    <a:pt x="894329" y="34205"/>
                  </a:cubicBezTo>
                  <a:cubicBezTo>
                    <a:pt x="895705" y="35856"/>
                    <a:pt x="891852" y="36682"/>
                    <a:pt x="889925" y="36682"/>
                  </a:cubicBezTo>
                  <a:cubicBezTo>
                    <a:pt x="876439" y="36682"/>
                    <a:pt x="862678" y="36407"/>
                    <a:pt x="848916" y="36682"/>
                  </a:cubicBezTo>
                  <a:cubicBezTo>
                    <a:pt x="843963" y="36957"/>
                    <a:pt x="843687" y="34205"/>
                    <a:pt x="844238" y="30627"/>
                  </a:cubicBezTo>
                  <a:cubicBezTo>
                    <a:pt x="847541" y="28150"/>
                    <a:pt x="852219" y="36131"/>
                    <a:pt x="854421" y="30352"/>
                  </a:cubicBezTo>
                  <a:cubicBezTo>
                    <a:pt x="856072" y="26223"/>
                    <a:pt x="853045" y="22370"/>
                    <a:pt x="849192" y="19893"/>
                  </a:cubicBezTo>
                  <a:cubicBezTo>
                    <a:pt x="842311" y="15489"/>
                    <a:pt x="850017" y="6407"/>
                    <a:pt x="842311" y="1453"/>
                  </a:cubicBezTo>
                  <a:lnTo>
                    <a:pt x="1010880" y="1453"/>
                  </a:lnTo>
                  <a:lnTo>
                    <a:pt x="1010880" y="973"/>
                  </a:lnTo>
                  <a:lnTo>
                    <a:pt x="1012190" y="1016"/>
                  </a:lnTo>
                  <a:lnTo>
                    <a:pt x="1012704" y="1453"/>
                  </a:lnTo>
                  <a:lnTo>
                    <a:pt x="1060146" y="1453"/>
                  </a:lnTo>
                  <a:lnTo>
                    <a:pt x="1060355" y="1256"/>
                  </a:lnTo>
                  <a:cubicBezTo>
                    <a:pt x="1062109" y="671"/>
                    <a:pt x="1064036" y="740"/>
                    <a:pt x="1066100" y="740"/>
                  </a:cubicBezTo>
                  <a:cubicBezTo>
                    <a:pt x="1131054" y="740"/>
                    <a:pt x="1196008" y="1015"/>
                    <a:pt x="1260961" y="465"/>
                  </a:cubicBezTo>
                  <a:close/>
                  <a:moveTo>
                    <a:pt x="830751" y="352"/>
                  </a:moveTo>
                  <a:cubicBezTo>
                    <a:pt x="832953" y="352"/>
                    <a:pt x="835706" y="1453"/>
                    <a:pt x="834330" y="3654"/>
                  </a:cubicBezTo>
                  <a:cubicBezTo>
                    <a:pt x="832953" y="6406"/>
                    <a:pt x="829926" y="8058"/>
                    <a:pt x="827724" y="9984"/>
                  </a:cubicBezTo>
                  <a:cubicBezTo>
                    <a:pt x="824421" y="9159"/>
                    <a:pt x="823871" y="7783"/>
                    <a:pt x="824146" y="5306"/>
                  </a:cubicBezTo>
                  <a:cubicBezTo>
                    <a:pt x="824696" y="1177"/>
                    <a:pt x="827449" y="77"/>
                    <a:pt x="830751" y="352"/>
                  </a:cubicBezTo>
                  <a:close/>
                  <a:moveTo>
                    <a:pt x="440203" y="351"/>
                  </a:moveTo>
                  <a:cubicBezTo>
                    <a:pt x="447634" y="351"/>
                    <a:pt x="447084" y="6131"/>
                    <a:pt x="450662" y="8333"/>
                  </a:cubicBezTo>
                  <a:cubicBezTo>
                    <a:pt x="459744" y="13837"/>
                    <a:pt x="451763" y="23746"/>
                    <a:pt x="457817" y="31452"/>
                  </a:cubicBezTo>
                  <a:cubicBezTo>
                    <a:pt x="461671" y="35856"/>
                    <a:pt x="452313" y="36957"/>
                    <a:pt x="447634" y="36957"/>
                  </a:cubicBezTo>
                  <a:cubicBezTo>
                    <a:pt x="409103" y="36957"/>
                    <a:pt x="370571" y="36957"/>
                    <a:pt x="332039" y="36957"/>
                  </a:cubicBezTo>
                  <a:cubicBezTo>
                    <a:pt x="320204" y="36957"/>
                    <a:pt x="308369" y="36406"/>
                    <a:pt x="296810" y="36957"/>
                  </a:cubicBezTo>
                  <a:cubicBezTo>
                    <a:pt x="280021" y="37782"/>
                    <a:pt x="264333" y="35305"/>
                    <a:pt x="249471" y="27324"/>
                  </a:cubicBezTo>
                  <a:cubicBezTo>
                    <a:pt x="246719" y="25947"/>
                    <a:pt x="243140" y="24847"/>
                    <a:pt x="240113" y="27048"/>
                  </a:cubicBezTo>
                  <a:cubicBezTo>
                    <a:pt x="234883" y="30626"/>
                    <a:pt x="242865" y="33103"/>
                    <a:pt x="240938" y="36681"/>
                  </a:cubicBezTo>
                  <a:cubicBezTo>
                    <a:pt x="213691" y="36681"/>
                    <a:pt x="186444" y="36681"/>
                    <a:pt x="158921" y="36681"/>
                  </a:cubicBezTo>
                  <a:cubicBezTo>
                    <a:pt x="160848" y="32828"/>
                    <a:pt x="162774" y="28975"/>
                    <a:pt x="164426" y="25122"/>
                  </a:cubicBezTo>
                  <a:cubicBezTo>
                    <a:pt x="165526" y="22645"/>
                    <a:pt x="166627" y="19342"/>
                    <a:pt x="169379" y="20718"/>
                  </a:cubicBezTo>
                  <a:cubicBezTo>
                    <a:pt x="183967" y="28149"/>
                    <a:pt x="189196" y="18241"/>
                    <a:pt x="194701" y="7507"/>
                  </a:cubicBezTo>
                  <a:cubicBezTo>
                    <a:pt x="192223" y="3379"/>
                    <a:pt x="185343" y="7782"/>
                    <a:pt x="182866" y="626"/>
                  </a:cubicBezTo>
                  <a:cubicBezTo>
                    <a:pt x="189196" y="1452"/>
                    <a:pt x="194150" y="-1576"/>
                    <a:pt x="198554" y="6957"/>
                  </a:cubicBezTo>
                  <a:cubicBezTo>
                    <a:pt x="204058" y="17690"/>
                    <a:pt x="229654" y="16039"/>
                    <a:pt x="234883" y="5580"/>
                  </a:cubicBezTo>
                  <a:cubicBezTo>
                    <a:pt x="237636" y="351"/>
                    <a:pt x="241214" y="626"/>
                    <a:pt x="245342" y="626"/>
                  </a:cubicBezTo>
                  <a:cubicBezTo>
                    <a:pt x="310296" y="626"/>
                    <a:pt x="375250" y="901"/>
                    <a:pt x="440203" y="351"/>
                  </a:cubicBezTo>
                  <a:close/>
                  <a:moveTo>
                    <a:pt x="1634867" y="207"/>
                  </a:moveTo>
                  <a:cubicBezTo>
                    <a:pt x="1637749" y="328"/>
                    <a:pt x="1639813" y="672"/>
                    <a:pt x="1640226" y="1291"/>
                  </a:cubicBezTo>
                  <a:cubicBezTo>
                    <a:pt x="1642703" y="4593"/>
                    <a:pt x="1641051" y="8447"/>
                    <a:pt x="1637748" y="9548"/>
                  </a:cubicBezTo>
                  <a:cubicBezTo>
                    <a:pt x="1627015" y="15603"/>
                    <a:pt x="1619309" y="24135"/>
                    <a:pt x="1612428" y="34594"/>
                  </a:cubicBezTo>
                  <a:cubicBezTo>
                    <a:pt x="1612978" y="30465"/>
                    <a:pt x="1615455" y="25236"/>
                    <a:pt x="1613804" y="22483"/>
                  </a:cubicBezTo>
                  <a:cubicBezTo>
                    <a:pt x="1612152" y="19456"/>
                    <a:pt x="1606373" y="18906"/>
                    <a:pt x="1602795" y="17254"/>
                  </a:cubicBezTo>
                  <a:cubicBezTo>
                    <a:pt x="1598666" y="23034"/>
                    <a:pt x="1610776" y="24685"/>
                    <a:pt x="1604996" y="28814"/>
                  </a:cubicBezTo>
                  <a:cubicBezTo>
                    <a:pt x="1598666" y="33493"/>
                    <a:pt x="1592336" y="28263"/>
                    <a:pt x="1585180" y="25236"/>
                  </a:cubicBezTo>
                  <a:cubicBezTo>
                    <a:pt x="1586006" y="29089"/>
                    <a:pt x="1586831" y="32392"/>
                    <a:pt x="1587657" y="36245"/>
                  </a:cubicBezTo>
                  <a:cubicBezTo>
                    <a:pt x="1560134" y="36245"/>
                    <a:pt x="1533162" y="36245"/>
                    <a:pt x="1506190" y="36245"/>
                  </a:cubicBezTo>
                  <a:cubicBezTo>
                    <a:pt x="1506190" y="25511"/>
                    <a:pt x="1493254" y="12025"/>
                    <a:pt x="1481695" y="12025"/>
                  </a:cubicBezTo>
                  <a:cubicBezTo>
                    <a:pt x="1474538" y="12025"/>
                    <a:pt x="1470410" y="18630"/>
                    <a:pt x="1465731" y="22759"/>
                  </a:cubicBezTo>
                  <a:cubicBezTo>
                    <a:pt x="1461052" y="26887"/>
                    <a:pt x="1466007" y="29915"/>
                    <a:pt x="1467658" y="33218"/>
                  </a:cubicBezTo>
                  <a:cubicBezTo>
                    <a:pt x="1467383" y="33768"/>
                    <a:pt x="1467383" y="34318"/>
                    <a:pt x="1467933" y="34869"/>
                  </a:cubicBezTo>
                  <a:cubicBezTo>
                    <a:pt x="1458576" y="38447"/>
                    <a:pt x="1448942" y="36520"/>
                    <a:pt x="1439310" y="36520"/>
                  </a:cubicBezTo>
                  <a:cubicBezTo>
                    <a:pt x="1414264" y="36795"/>
                    <a:pt x="1388943" y="36520"/>
                    <a:pt x="1363897" y="36795"/>
                  </a:cubicBezTo>
                  <a:cubicBezTo>
                    <a:pt x="1355640" y="36795"/>
                    <a:pt x="1348759" y="37346"/>
                    <a:pt x="1349310" y="26061"/>
                  </a:cubicBezTo>
                  <a:cubicBezTo>
                    <a:pt x="1349310" y="23860"/>
                    <a:pt x="1347108" y="21658"/>
                    <a:pt x="1346007" y="19456"/>
                  </a:cubicBezTo>
                  <a:cubicBezTo>
                    <a:pt x="1349035" y="16153"/>
                    <a:pt x="1357842" y="16704"/>
                    <a:pt x="1354264" y="11474"/>
                  </a:cubicBezTo>
                  <a:cubicBezTo>
                    <a:pt x="1352613" y="8997"/>
                    <a:pt x="1348484" y="1291"/>
                    <a:pt x="1341879" y="3768"/>
                  </a:cubicBezTo>
                  <a:cubicBezTo>
                    <a:pt x="1337200" y="5694"/>
                    <a:pt x="1334173" y="8722"/>
                    <a:pt x="1335824" y="14502"/>
                  </a:cubicBezTo>
                  <a:cubicBezTo>
                    <a:pt x="1336925" y="18355"/>
                    <a:pt x="1331145" y="21382"/>
                    <a:pt x="1326741" y="19181"/>
                  </a:cubicBezTo>
                  <a:cubicBezTo>
                    <a:pt x="1320411" y="15878"/>
                    <a:pt x="1314906" y="14777"/>
                    <a:pt x="1307200" y="16704"/>
                  </a:cubicBezTo>
                  <a:cubicBezTo>
                    <a:pt x="1298118" y="18906"/>
                    <a:pt x="1298669" y="5144"/>
                    <a:pt x="1291237" y="465"/>
                  </a:cubicBezTo>
                  <a:cubicBezTo>
                    <a:pt x="1318485" y="465"/>
                    <a:pt x="1346007" y="465"/>
                    <a:pt x="1373255" y="465"/>
                  </a:cubicBezTo>
                  <a:cubicBezTo>
                    <a:pt x="1384264" y="465"/>
                    <a:pt x="1394998" y="190"/>
                    <a:pt x="1406007" y="465"/>
                  </a:cubicBezTo>
                  <a:cubicBezTo>
                    <a:pt x="1408897" y="465"/>
                    <a:pt x="1411925" y="-223"/>
                    <a:pt x="1414539" y="328"/>
                  </a:cubicBezTo>
                  <a:cubicBezTo>
                    <a:pt x="1417154" y="878"/>
                    <a:pt x="1419355" y="2667"/>
                    <a:pt x="1420594" y="7621"/>
                  </a:cubicBezTo>
                  <a:cubicBezTo>
                    <a:pt x="1421420" y="10649"/>
                    <a:pt x="1434355" y="14502"/>
                    <a:pt x="1438209" y="12025"/>
                  </a:cubicBezTo>
                  <a:cubicBezTo>
                    <a:pt x="1443988" y="8722"/>
                    <a:pt x="1445915" y="14502"/>
                    <a:pt x="1449768" y="13126"/>
                  </a:cubicBezTo>
                  <a:cubicBezTo>
                    <a:pt x="1452796" y="8171"/>
                    <a:pt x="1446190" y="6245"/>
                    <a:pt x="1446190" y="465"/>
                  </a:cubicBezTo>
                  <a:cubicBezTo>
                    <a:pt x="1455273" y="465"/>
                    <a:pt x="1464630" y="465"/>
                    <a:pt x="1473988" y="465"/>
                  </a:cubicBezTo>
                  <a:cubicBezTo>
                    <a:pt x="1512245" y="465"/>
                    <a:pt x="1550226" y="465"/>
                    <a:pt x="1588483" y="465"/>
                  </a:cubicBezTo>
                  <a:cubicBezTo>
                    <a:pt x="1590960" y="465"/>
                    <a:pt x="1593437" y="465"/>
                    <a:pt x="1595914" y="741"/>
                  </a:cubicBezTo>
                  <a:cubicBezTo>
                    <a:pt x="1599217" y="741"/>
                    <a:pt x="1600593" y="2942"/>
                    <a:pt x="1599767" y="5694"/>
                  </a:cubicBezTo>
                  <a:cubicBezTo>
                    <a:pt x="1598941" y="8447"/>
                    <a:pt x="1596739" y="7896"/>
                    <a:pt x="1594813" y="6795"/>
                  </a:cubicBezTo>
                  <a:cubicBezTo>
                    <a:pt x="1592886" y="5419"/>
                    <a:pt x="1590685" y="4043"/>
                    <a:pt x="1587932" y="4869"/>
                  </a:cubicBezTo>
                  <a:cubicBezTo>
                    <a:pt x="1585455" y="5694"/>
                    <a:pt x="1582703" y="6795"/>
                    <a:pt x="1582703" y="9548"/>
                  </a:cubicBezTo>
                  <a:cubicBezTo>
                    <a:pt x="1582703" y="12850"/>
                    <a:pt x="1585455" y="13676"/>
                    <a:pt x="1588208" y="13126"/>
                  </a:cubicBezTo>
                  <a:cubicBezTo>
                    <a:pt x="1595914" y="11750"/>
                    <a:pt x="1605272" y="13951"/>
                    <a:pt x="1609400" y="3768"/>
                  </a:cubicBezTo>
                  <a:cubicBezTo>
                    <a:pt x="1610226" y="1497"/>
                    <a:pt x="1626223" y="-154"/>
                    <a:pt x="1634867" y="207"/>
                  </a:cubicBezTo>
                  <a:close/>
                  <a:moveTo>
                    <a:pt x="814109" y="93"/>
                  </a:moveTo>
                  <a:cubicBezTo>
                    <a:pt x="816991" y="214"/>
                    <a:pt x="819055" y="558"/>
                    <a:pt x="819468" y="1177"/>
                  </a:cubicBezTo>
                  <a:cubicBezTo>
                    <a:pt x="821945" y="4479"/>
                    <a:pt x="820293" y="8333"/>
                    <a:pt x="816990" y="9434"/>
                  </a:cubicBezTo>
                  <a:cubicBezTo>
                    <a:pt x="806257" y="15489"/>
                    <a:pt x="798551" y="24021"/>
                    <a:pt x="791670" y="34480"/>
                  </a:cubicBezTo>
                  <a:cubicBezTo>
                    <a:pt x="792220" y="30351"/>
                    <a:pt x="794697" y="25122"/>
                    <a:pt x="793046" y="22369"/>
                  </a:cubicBezTo>
                  <a:cubicBezTo>
                    <a:pt x="791394" y="19342"/>
                    <a:pt x="785615" y="18792"/>
                    <a:pt x="782037" y="17140"/>
                  </a:cubicBezTo>
                  <a:cubicBezTo>
                    <a:pt x="777908" y="22920"/>
                    <a:pt x="790018" y="24571"/>
                    <a:pt x="784238" y="28700"/>
                  </a:cubicBezTo>
                  <a:cubicBezTo>
                    <a:pt x="777908" y="33379"/>
                    <a:pt x="771578" y="28149"/>
                    <a:pt x="764422" y="25122"/>
                  </a:cubicBezTo>
                  <a:cubicBezTo>
                    <a:pt x="765248" y="28975"/>
                    <a:pt x="766073" y="32278"/>
                    <a:pt x="766899" y="36131"/>
                  </a:cubicBezTo>
                  <a:cubicBezTo>
                    <a:pt x="739376" y="36131"/>
                    <a:pt x="712404" y="36131"/>
                    <a:pt x="685432" y="36131"/>
                  </a:cubicBezTo>
                  <a:cubicBezTo>
                    <a:pt x="685432" y="25397"/>
                    <a:pt x="672496" y="11911"/>
                    <a:pt x="660937" y="11911"/>
                  </a:cubicBezTo>
                  <a:cubicBezTo>
                    <a:pt x="653780" y="11911"/>
                    <a:pt x="649652" y="18516"/>
                    <a:pt x="644973" y="22645"/>
                  </a:cubicBezTo>
                  <a:cubicBezTo>
                    <a:pt x="640294" y="26773"/>
                    <a:pt x="645249" y="29801"/>
                    <a:pt x="646900" y="33104"/>
                  </a:cubicBezTo>
                  <a:cubicBezTo>
                    <a:pt x="646625" y="33654"/>
                    <a:pt x="646625" y="34204"/>
                    <a:pt x="647175" y="34755"/>
                  </a:cubicBezTo>
                  <a:cubicBezTo>
                    <a:pt x="637818" y="38333"/>
                    <a:pt x="628184" y="36406"/>
                    <a:pt x="618552" y="36406"/>
                  </a:cubicBezTo>
                  <a:cubicBezTo>
                    <a:pt x="593506" y="36681"/>
                    <a:pt x="568185" y="36406"/>
                    <a:pt x="543139" y="36681"/>
                  </a:cubicBezTo>
                  <a:cubicBezTo>
                    <a:pt x="534882" y="36681"/>
                    <a:pt x="528001" y="37232"/>
                    <a:pt x="528552" y="25947"/>
                  </a:cubicBezTo>
                  <a:cubicBezTo>
                    <a:pt x="528552" y="23746"/>
                    <a:pt x="526350" y="21544"/>
                    <a:pt x="525249" y="19342"/>
                  </a:cubicBezTo>
                  <a:cubicBezTo>
                    <a:pt x="528277" y="16039"/>
                    <a:pt x="537084" y="16590"/>
                    <a:pt x="533506" y="11360"/>
                  </a:cubicBezTo>
                  <a:cubicBezTo>
                    <a:pt x="531855" y="8883"/>
                    <a:pt x="527726" y="1177"/>
                    <a:pt x="521121" y="3654"/>
                  </a:cubicBezTo>
                  <a:cubicBezTo>
                    <a:pt x="516442" y="5580"/>
                    <a:pt x="513415" y="8608"/>
                    <a:pt x="515066" y="14388"/>
                  </a:cubicBezTo>
                  <a:cubicBezTo>
                    <a:pt x="516167" y="18241"/>
                    <a:pt x="510387" y="21268"/>
                    <a:pt x="505983" y="19067"/>
                  </a:cubicBezTo>
                  <a:cubicBezTo>
                    <a:pt x="499653" y="15764"/>
                    <a:pt x="494148" y="14663"/>
                    <a:pt x="486442" y="16590"/>
                  </a:cubicBezTo>
                  <a:cubicBezTo>
                    <a:pt x="477360" y="18792"/>
                    <a:pt x="477911" y="5030"/>
                    <a:pt x="470479" y="351"/>
                  </a:cubicBezTo>
                  <a:cubicBezTo>
                    <a:pt x="497727" y="351"/>
                    <a:pt x="525249" y="351"/>
                    <a:pt x="552497" y="351"/>
                  </a:cubicBezTo>
                  <a:cubicBezTo>
                    <a:pt x="563506" y="351"/>
                    <a:pt x="574240" y="76"/>
                    <a:pt x="585249" y="351"/>
                  </a:cubicBezTo>
                  <a:cubicBezTo>
                    <a:pt x="588139" y="351"/>
                    <a:pt x="591167" y="-337"/>
                    <a:pt x="593781" y="214"/>
                  </a:cubicBezTo>
                  <a:cubicBezTo>
                    <a:pt x="596396" y="764"/>
                    <a:pt x="598597" y="2553"/>
                    <a:pt x="599836" y="7507"/>
                  </a:cubicBezTo>
                  <a:cubicBezTo>
                    <a:pt x="600662" y="10535"/>
                    <a:pt x="613597" y="14388"/>
                    <a:pt x="617451" y="11911"/>
                  </a:cubicBezTo>
                  <a:cubicBezTo>
                    <a:pt x="623230" y="8608"/>
                    <a:pt x="625157" y="14388"/>
                    <a:pt x="629010" y="13012"/>
                  </a:cubicBezTo>
                  <a:cubicBezTo>
                    <a:pt x="632038" y="8057"/>
                    <a:pt x="625432" y="6131"/>
                    <a:pt x="625432" y="351"/>
                  </a:cubicBezTo>
                  <a:cubicBezTo>
                    <a:pt x="634515" y="351"/>
                    <a:pt x="643872" y="351"/>
                    <a:pt x="653230" y="351"/>
                  </a:cubicBezTo>
                  <a:cubicBezTo>
                    <a:pt x="691487" y="351"/>
                    <a:pt x="729468" y="351"/>
                    <a:pt x="767725" y="351"/>
                  </a:cubicBezTo>
                  <a:cubicBezTo>
                    <a:pt x="770202" y="351"/>
                    <a:pt x="772679" y="351"/>
                    <a:pt x="775156" y="627"/>
                  </a:cubicBezTo>
                  <a:cubicBezTo>
                    <a:pt x="778459" y="627"/>
                    <a:pt x="779835" y="2828"/>
                    <a:pt x="779009" y="5580"/>
                  </a:cubicBezTo>
                  <a:cubicBezTo>
                    <a:pt x="778183" y="8333"/>
                    <a:pt x="775981" y="7782"/>
                    <a:pt x="774055" y="6681"/>
                  </a:cubicBezTo>
                  <a:cubicBezTo>
                    <a:pt x="772128" y="5305"/>
                    <a:pt x="769927" y="3929"/>
                    <a:pt x="767174" y="4755"/>
                  </a:cubicBezTo>
                  <a:cubicBezTo>
                    <a:pt x="764697" y="5580"/>
                    <a:pt x="761945" y="6681"/>
                    <a:pt x="761945" y="9434"/>
                  </a:cubicBezTo>
                  <a:cubicBezTo>
                    <a:pt x="761945" y="12736"/>
                    <a:pt x="764697" y="13562"/>
                    <a:pt x="767450" y="13012"/>
                  </a:cubicBezTo>
                  <a:cubicBezTo>
                    <a:pt x="775156" y="11636"/>
                    <a:pt x="784514" y="13837"/>
                    <a:pt x="788642" y="3654"/>
                  </a:cubicBezTo>
                  <a:cubicBezTo>
                    <a:pt x="789468" y="1383"/>
                    <a:pt x="805465" y="-268"/>
                    <a:pt x="814109" y="93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1693B034-2C01-42CB-B891-7B60156CCA32}"/>
                </a:ext>
              </a:extLst>
            </p:cNvPr>
            <p:cNvSpPr/>
            <p:nvPr/>
          </p:nvSpPr>
          <p:spPr>
            <a:xfrm>
              <a:off x="2923579" y="417483"/>
              <a:ext cx="3321685" cy="76019"/>
            </a:xfrm>
            <a:custGeom>
              <a:avLst/>
              <a:gdLst>
                <a:gd name="connsiteX0" fmla="*/ 1323163 w 1645441"/>
                <a:gd name="connsiteY0" fmla="*/ 28780 h 37657"/>
                <a:gd name="connsiteX1" fmla="*/ 1333347 w 1645441"/>
                <a:gd name="connsiteY1" fmla="*/ 36796 h 37657"/>
                <a:gd name="connsiteX2" fmla="*/ 1312980 w 1645441"/>
                <a:gd name="connsiteY2" fmla="*/ 36245 h 37657"/>
                <a:gd name="connsiteX3" fmla="*/ 1323163 w 1645441"/>
                <a:gd name="connsiteY3" fmla="*/ 28780 h 37657"/>
                <a:gd name="connsiteX4" fmla="*/ 502405 w 1645441"/>
                <a:gd name="connsiteY4" fmla="*/ 28666 h 37657"/>
                <a:gd name="connsiteX5" fmla="*/ 512589 w 1645441"/>
                <a:gd name="connsiteY5" fmla="*/ 36682 h 37657"/>
                <a:gd name="connsiteX6" fmla="*/ 492222 w 1645441"/>
                <a:gd name="connsiteY6" fmla="*/ 36131 h 37657"/>
                <a:gd name="connsiteX7" fmla="*/ 502405 w 1645441"/>
                <a:gd name="connsiteY7" fmla="*/ 28666 h 37657"/>
                <a:gd name="connsiteX8" fmla="*/ 1645441 w 1645441"/>
                <a:gd name="connsiteY8" fmla="*/ 21503 h 37657"/>
                <a:gd name="connsiteX9" fmla="*/ 1645441 w 1645441"/>
                <a:gd name="connsiteY9" fmla="*/ 33701 h 37657"/>
                <a:gd name="connsiteX10" fmla="*/ 1640157 w 1645441"/>
                <a:gd name="connsiteY10" fmla="*/ 32461 h 37657"/>
                <a:gd name="connsiteX11" fmla="*/ 1639950 w 1645441"/>
                <a:gd name="connsiteY11" fmla="*/ 27438 h 37657"/>
                <a:gd name="connsiteX12" fmla="*/ 833779 w 1645441"/>
                <a:gd name="connsiteY12" fmla="*/ 19618 h 37657"/>
                <a:gd name="connsiteX13" fmla="*/ 843962 w 1645441"/>
                <a:gd name="connsiteY13" fmla="*/ 30627 h 37657"/>
                <a:gd name="connsiteX14" fmla="*/ 824972 w 1645441"/>
                <a:gd name="connsiteY14" fmla="*/ 33655 h 37657"/>
                <a:gd name="connsiteX15" fmla="*/ 819192 w 1645441"/>
                <a:gd name="connsiteY15" fmla="*/ 27324 h 37657"/>
                <a:gd name="connsiteX16" fmla="*/ 833779 w 1645441"/>
                <a:gd name="connsiteY16" fmla="*/ 19618 h 37657"/>
                <a:gd name="connsiteX17" fmla="*/ 1645441 w 1645441"/>
                <a:gd name="connsiteY17" fmla="*/ 5017 h 37657"/>
                <a:gd name="connsiteX18" fmla="*/ 1645441 w 1645441"/>
                <a:gd name="connsiteY18" fmla="*/ 6122 h 37657"/>
                <a:gd name="connsiteX19" fmla="*/ 1644904 w 1645441"/>
                <a:gd name="connsiteY19" fmla="*/ 5420 h 37657"/>
                <a:gd name="connsiteX20" fmla="*/ 18831 w 1645441"/>
                <a:gd name="connsiteY20" fmla="*/ 627 h 37657"/>
                <a:gd name="connsiteX21" fmla="*/ 78005 w 1645441"/>
                <a:gd name="connsiteY21" fmla="*/ 627 h 37657"/>
                <a:gd name="connsiteX22" fmla="*/ 144609 w 1645441"/>
                <a:gd name="connsiteY22" fmla="*/ 627 h 37657"/>
                <a:gd name="connsiteX23" fmla="*/ 155894 w 1645441"/>
                <a:gd name="connsiteY23" fmla="*/ 5580 h 37657"/>
                <a:gd name="connsiteX24" fmla="*/ 154518 w 1645441"/>
                <a:gd name="connsiteY24" fmla="*/ 19617 h 37657"/>
                <a:gd name="connsiteX25" fmla="*/ 147362 w 1645441"/>
                <a:gd name="connsiteY25" fmla="*/ 34754 h 37657"/>
                <a:gd name="connsiteX26" fmla="*/ 143509 w 1645441"/>
                <a:gd name="connsiteY26" fmla="*/ 36681 h 37657"/>
                <a:gd name="connsiteX27" fmla="*/ 105252 w 1645441"/>
                <a:gd name="connsiteY27" fmla="*/ 33653 h 37657"/>
                <a:gd name="connsiteX28" fmla="*/ 99197 w 1645441"/>
                <a:gd name="connsiteY28" fmla="*/ 33103 h 37657"/>
                <a:gd name="connsiteX29" fmla="*/ 16904 w 1645441"/>
                <a:gd name="connsiteY29" fmla="*/ 36406 h 37657"/>
                <a:gd name="connsiteX30" fmla="*/ 115 w 1645441"/>
                <a:gd name="connsiteY30" fmla="*/ 19066 h 37657"/>
                <a:gd name="connsiteX31" fmla="*/ 18831 w 1645441"/>
                <a:gd name="connsiteY31" fmla="*/ 627 h 37657"/>
                <a:gd name="connsiteX32" fmla="*/ 168624 w 1645441"/>
                <a:gd name="connsiteY32" fmla="*/ 524 h 37657"/>
                <a:gd name="connsiteX33" fmla="*/ 175711 w 1645441"/>
                <a:gd name="connsiteY33" fmla="*/ 4480 h 37657"/>
                <a:gd name="connsiteX34" fmla="*/ 182591 w 1645441"/>
                <a:gd name="connsiteY34" fmla="*/ 8609 h 37657"/>
                <a:gd name="connsiteX35" fmla="*/ 177087 w 1645441"/>
                <a:gd name="connsiteY35" fmla="*/ 11361 h 37657"/>
                <a:gd name="connsiteX36" fmla="*/ 161123 w 1645441"/>
                <a:gd name="connsiteY36" fmla="*/ 8334 h 37657"/>
                <a:gd name="connsiteX37" fmla="*/ 161123 w 1645441"/>
                <a:gd name="connsiteY37" fmla="*/ 2554 h 37657"/>
                <a:gd name="connsiteX38" fmla="*/ 168624 w 1645441"/>
                <a:gd name="connsiteY38" fmla="*/ 524 h 37657"/>
                <a:gd name="connsiteX39" fmla="*/ 1260961 w 1645441"/>
                <a:gd name="connsiteY39" fmla="*/ 465 h 37657"/>
                <a:gd name="connsiteX40" fmla="*/ 1271420 w 1645441"/>
                <a:gd name="connsiteY40" fmla="*/ 8447 h 37657"/>
                <a:gd name="connsiteX41" fmla="*/ 1278575 w 1645441"/>
                <a:gd name="connsiteY41" fmla="*/ 31566 h 37657"/>
                <a:gd name="connsiteX42" fmla="*/ 1268392 w 1645441"/>
                <a:gd name="connsiteY42" fmla="*/ 37071 h 37657"/>
                <a:gd name="connsiteX43" fmla="*/ 1152797 w 1645441"/>
                <a:gd name="connsiteY43" fmla="*/ 37071 h 37657"/>
                <a:gd name="connsiteX44" fmla="*/ 1117568 w 1645441"/>
                <a:gd name="connsiteY44" fmla="*/ 37071 h 37657"/>
                <a:gd name="connsiteX45" fmla="*/ 1093176 w 1645441"/>
                <a:gd name="connsiteY45" fmla="*/ 35557 h 37657"/>
                <a:gd name="connsiteX46" fmla="*/ 1092403 w 1645441"/>
                <a:gd name="connsiteY46" fmla="*/ 35283 h 37657"/>
                <a:gd name="connsiteX47" fmla="*/ 1092403 w 1645441"/>
                <a:gd name="connsiteY47" fmla="*/ 36682 h 37657"/>
                <a:gd name="connsiteX48" fmla="*/ 1061686 w 1645441"/>
                <a:gd name="connsiteY48" fmla="*/ 36682 h 37657"/>
                <a:gd name="connsiteX49" fmla="*/ 1061696 w 1645441"/>
                <a:gd name="connsiteY49" fmla="*/ 36795 h 37657"/>
                <a:gd name="connsiteX50" fmla="*/ 1010880 w 1645441"/>
                <a:gd name="connsiteY50" fmla="*/ 36795 h 37657"/>
                <a:gd name="connsiteX51" fmla="*/ 1010880 w 1645441"/>
                <a:gd name="connsiteY51" fmla="*/ 36682 h 37657"/>
                <a:gd name="connsiteX52" fmla="*/ 973870 w 1645441"/>
                <a:gd name="connsiteY52" fmla="*/ 36682 h 37657"/>
                <a:gd name="connsiteX53" fmla="*/ 964787 w 1645441"/>
                <a:gd name="connsiteY53" fmla="*/ 22920 h 37657"/>
                <a:gd name="connsiteX54" fmla="*/ 955705 w 1645441"/>
                <a:gd name="connsiteY54" fmla="*/ 15214 h 37657"/>
                <a:gd name="connsiteX55" fmla="*/ 954054 w 1645441"/>
                <a:gd name="connsiteY55" fmla="*/ 23196 h 37657"/>
                <a:gd name="connsiteX56" fmla="*/ 948273 w 1645441"/>
                <a:gd name="connsiteY56" fmla="*/ 27324 h 37657"/>
                <a:gd name="connsiteX57" fmla="*/ 928732 w 1645441"/>
                <a:gd name="connsiteY57" fmla="*/ 12187 h 37657"/>
                <a:gd name="connsiteX58" fmla="*/ 907540 w 1645441"/>
                <a:gd name="connsiteY58" fmla="*/ 9985 h 37657"/>
                <a:gd name="connsiteX59" fmla="*/ 897907 w 1645441"/>
                <a:gd name="connsiteY59" fmla="*/ 5306 h 37657"/>
                <a:gd name="connsiteX60" fmla="*/ 894880 w 1645441"/>
                <a:gd name="connsiteY60" fmla="*/ 18517 h 37657"/>
                <a:gd name="connsiteX61" fmla="*/ 894329 w 1645441"/>
                <a:gd name="connsiteY61" fmla="*/ 34205 h 37657"/>
                <a:gd name="connsiteX62" fmla="*/ 889925 w 1645441"/>
                <a:gd name="connsiteY62" fmla="*/ 36682 h 37657"/>
                <a:gd name="connsiteX63" fmla="*/ 848916 w 1645441"/>
                <a:gd name="connsiteY63" fmla="*/ 36682 h 37657"/>
                <a:gd name="connsiteX64" fmla="*/ 844238 w 1645441"/>
                <a:gd name="connsiteY64" fmla="*/ 30627 h 37657"/>
                <a:gd name="connsiteX65" fmla="*/ 854421 w 1645441"/>
                <a:gd name="connsiteY65" fmla="*/ 30352 h 37657"/>
                <a:gd name="connsiteX66" fmla="*/ 849192 w 1645441"/>
                <a:gd name="connsiteY66" fmla="*/ 19893 h 37657"/>
                <a:gd name="connsiteX67" fmla="*/ 842311 w 1645441"/>
                <a:gd name="connsiteY67" fmla="*/ 1453 h 37657"/>
                <a:gd name="connsiteX68" fmla="*/ 1010880 w 1645441"/>
                <a:gd name="connsiteY68" fmla="*/ 1453 h 37657"/>
                <a:gd name="connsiteX69" fmla="*/ 1010880 w 1645441"/>
                <a:gd name="connsiteY69" fmla="*/ 973 h 37657"/>
                <a:gd name="connsiteX70" fmla="*/ 1012190 w 1645441"/>
                <a:gd name="connsiteY70" fmla="*/ 1016 h 37657"/>
                <a:gd name="connsiteX71" fmla="*/ 1012704 w 1645441"/>
                <a:gd name="connsiteY71" fmla="*/ 1453 h 37657"/>
                <a:gd name="connsiteX72" fmla="*/ 1060146 w 1645441"/>
                <a:gd name="connsiteY72" fmla="*/ 1453 h 37657"/>
                <a:gd name="connsiteX73" fmla="*/ 1060355 w 1645441"/>
                <a:gd name="connsiteY73" fmla="*/ 1256 h 37657"/>
                <a:gd name="connsiteX74" fmla="*/ 1066100 w 1645441"/>
                <a:gd name="connsiteY74" fmla="*/ 740 h 37657"/>
                <a:gd name="connsiteX75" fmla="*/ 1260961 w 1645441"/>
                <a:gd name="connsiteY75" fmla="*/ 465 h 37657"/>
                <a:gd name="connsiteX76" fmla="*/ 830751 w 1645441"/>
                <a:gd name="connsiteY76" fmla="*/ 352 h 37657"/>
                <a:gd name="connsiteX77" fmla="*/ 834330 w 1645441"/>
                <a:gd name="connsiteY77" fmla="*/ 3654 h 37657"/>
                <a:gd name="connsiteX78" fmla="*/ 827724 w 1645441"/>
                <a:gd name="connsiteY78" fmla="*/ 9984 h 37657"/>
                <a:gd name="connsiteX79" fmla="*/ 824146 w 1645441"/>
                <a:gd name="connsiteY79" fmla="*/ 5306 h 37657"/>
                <a:gd name="connsiteX80" fmla="*/ 830751 w 1645441"/>
                <a:gd name="connsiteY80" fmla="*/ 352 h 37657"/>
                <a:gd name="connsiteX81" fmla="*/ 440203 w 1645441"/>
                <a:gd name="connsiteY81" fmla="*/ 351 h 37657"/>
                <a:gd name="connsiteX82" fmla="*/ 450662 w 1645441"/>
                <a:gd name="connsiteY82" fmla="*/ 8333 h 37657"/>
                <a:gd name="connsiteX83" fmla="*/ 457817 w 1645441"/>
                <a:gd name="connsiteY83" fmla="*/ 31452 h 37657"/>
                <a:gd name="connsiteX84" fmla="*/ 447634 w 1645441"/>
                <a:gd name="connsiteY84" fmla="*/ 36957 h 37657"/>
                <a:gd name="connsiteX85" fmla="*/ 332039 w 1645441"/>
                <a:gd name="connsiteY85" fmla="*/ 36957 h 37657"/>
                <a:gd name="connsiteX86" fmla="*/ 296810 w 1645441"/>
                <a:gd name="connsiteY86" fmla="*/ 36957 h 37657"/>
                <a:gd name="connsiteX87" fmla="*/ 249471 w 1645441"/>
                <a:gd name="connsiteY87" fmla="*/ 27324 h 37657"/>
                <a:gd name="connsiteX88" fmla="*/ 240113 w 1645441"/>
                <a:gd name="connsiteY88" fmla="*/ 27048 h 37657"/>
                <a:gd name="connsiteX89" fmla="*/ 240938 w 1645441"/>
                <a:gd name="connsiteY89" fmla="*/ 36681 h 37657"/>
                <a:gd name="connsiteX90" fmla="*/ 158921 w 1645441"/>
                <a:gd name="connsiteY90" fmla="*/ 36681 h 37657"/>
                <a:gd name="connsiteX91" fmla="*/ 164426 w 1645441"/>
                <a:gd name="connsiteY91" fmla="*/ 25122 h 37657"/>
                <a:gd name="connsiteX92" fmla="*/ 169379 w 1645441"/>
                <a:gd name="connsiteY92" fmla="*/ 20718 h 37657"/>
                <a:gd name="connsiteX93" fmla="*/ 194701 w 1645441"/>
                <a:gd name="connsiteY93" fmla="*/ 7507 h 37657"/>
                <a:gd name="connsiteX94" fmla="*/ 182866 w 1645441"/>
                <a:gd name="connsiteY94" fmla="*/ 626 h 37657"/>
                <a:gd name="connsiteX95" fmla="*/ 198554 w 1645441"/>
                <a:gd name="connsiteY95" fmla="*/ 6957 h 37657"/>
                <a:gd name="connsiteX96" fmla="*/ 234883 w 1645441"/>
                <a:gd name="connsiteY96" fmla="*/ 5580 h 37657"/>
                <a:gd name="connsiteX97" fmla="*/ 245342 w 1645441"/>
                <a:gd name="connsiteY97" fmla="*/ 626 h 37657"/>
                <a:gd name="connsiteX98" fmla="*/ 440203 w 1645441"/>
                <a:gd name="connsiteY98" fmla="*/ 351 h 37657"/>
                <a:gd name="connsiteX99" fmla="*/ 1634867 w 1645441"/>
                <a:gd name="connsiteY99" fmla="*/ 207 h 37657"/>
                <a:gd name="connsiteX100" fmla="*/ 1640226 w 1645441"/>
                <a:gd name="connsiteY100" fmla="*/ 1291 h 37657"/>
                <a:gd name="connsiteX101" fmla="*/ 1637748 w 1645441"/>
                <a:gd name="connsiteY101" fmla="*/ 9548 h 37657"/>
                <a:gd name="connsiteX102" fmla="*/ 1612428 w 1645441"/>
                <a:gd name="connsiteY102" fmla="*/ 34594 h 37657"/>
                <a:gd name="connsiteX103" fmla="*/ 1613804 w 1645441"/>
                <a:gd name="connsiteY103" fmla="*/ 22483 h 37657"/>
                <a:gd name="connsiteX104" fmla="*/ 1602795 w 1645441"/>
                <a:gd name="connsiteY104" fmla="*/ 17254 h 37657"/>
                <a:gd name="connsiteX105" fmla="*/ 1604996 w 1645441"/>
                <a:gd name="connsiteY105" fmla="*/ 28814 h 37657"/>
                <a:gd name="connsiteX106" fmla="*/ 1585180 w 1645441"/>
                <a:gd name="connsiteY106" fmla="*/ 25236 h 37657"/>
                <a:gd name="connsiteX107" fmla="*/ 1587657 w 1645441"/>
                <a:gd name="connsiteY107" fmla="*/ 36245 h 37657"/>
                <a:gd name="connsiteX108" fmla="*/ 1506190 w 1645441"/>
                <a:gd name="connsiteY108" fmla="*/ 36245 h 37657"/>
                <a:gd name="connsiteX109" fmla="*/ 1481695 w 1645441"/>
                <a:gd name="connsiteY109" fmla="*/ 12025 h 37657"/>
                <a:gd name="connsiteX110" fmla="*/ 1465731 w 1645441"/>
                <a:gd name="connsiteY110" fmla="*/ 22759 h 37657"/>
                <a:gd name="connsiteX111" fmla="*/ 1467658 w 1645441"/>
                <a:gd name="connsiteY111" fmla="*/ 33218 h 37657"/>
                <a:gd name="connsiteX112" fmla="*/ 1467933 w 1645441"/>
                <a:gd name="connsiteY112" fmla="*/ 34869 h 37657"/>
                <a:gd name="connsiteX113" fmla="*/ 1439310 w 1645441"/>
                <a:gd name="connsiteY113" fmla="*/ 36520 h 37657"/>
                <a:gd name="connsiteX114" fmla="*/ 1363897 w 1645441"/>
                <a:gd name="connsiteY114" fmla="*/ 36795 h 37657"/>
                <a:gd name="connsiteX115" fmla="*/ 1349310 w 1645441"/>
                <a:gd name="connsiteY115" fmla="*/ 26061 h 37657"/>
                <a:gd name="connsiteX116" fmla="*/ 1346007 w 1645441"/>
                <a:gd name="connsiteY116" fmla="*/ 19456 h 37657"/>
                <a:gd name="connsiteX117" fmla="*/ 1354264 w 1645441"/>
                <a:gd name="connsiteY117" fmla="*/ 11474 h 37657"/>
                <a:gd name="connsiteX118" fmla="*/ 1341879 w 1645441"/>
                <a:gd name="connsiteY118" fmla="*/ 3768 h 37657"/>
                <a:gd name="connsiteX119" fmla="*/ 1335824 w 1645441"/>
                <a:gd name="connsiteY119" fmla="*/ 14502 h 37657"/>
                <a:gd name="connsiteX120" fmla="*/ 1326741 w 1645441"/>
                <a:gd name="connsiteY120" fmla="*/ 19181 h 37657"/>
                <a:gd name="connsiteX121" fmla="*/ 1307200 w 1645441"/>
                <a:gd name="connsiteY121" fmla="*/ 16704 h 37657"/>
                <a:gd name="connsiteX122" fmla="*/ 1291237 w 1645441"/>
                <a:gd name="connsiteY122" fmla="*/ 465 h 37657"/>
                <a:gd name="connsiteX123" fmla="*/ 1373255 w 1645441"/>
                <a:gd name="connsiteY123" fmla="*/ 465 h 37657"/>
                <a:gd name="connsiteX124" fmla="*/ 1406007 w 1645441"/>
                <a:gd name="connsiteY124" fmla="*/ 465 h 37657"/>
                <a:gd name="connsiteX125" fmla="*/ 1414539 w 1645441"/>
                <a:gd name="connsiteY125" fmla="*/ 328 h 37657"/>
                <a:gd name="connsiteX126" fmla="*/ 1420594 w 1645441"/>
                <a:gd name="connsiteY126" fmla="*/ 7621 h 37657"/>
                <a:gd name="connsiteX127" fmla="*/ 1438209 w 1645441"/>
                <a:gd name="connsiteY127" fmla="*/ 12025 h 37657"/>
                <a:gd name="connsiteX128" fmla="*/ 1449768 w 1645441"/>
                <a:gd name="connsiteY128" fmla="*/ 13126 h 37657"/>
                <a:gd name="connsiteX129" fmla="*/ 1446190 w 1645441"/>
                <a:gd name="connsiteY129" fmla="*/ 465 h 37657"/>
                <a:gd name="connsiteX130" fmla="*/ 1473988 w 1645441"/>
                <a:gd name="connsiteY130" fmla="*/ 465 h 37657"/>
                <a:gd name="connsiteX131" fmla="*/ 1588483 w 1645441"/>
                <a:gd name="connsiteY131" fmla="*/ 465 h 37657"/>
                <a:gd name="connsiteX132" fmla="*/ 1595914 w 1645441"/>
                <a:gd name="connsiteY132" fmla="*/ 741 h 37657"/>
                <a:gd name="connsiteX133" fmla="*/ 1599767 w 1645441"/>
                <a:gd name="connsiteY133" fmla="*/ 5694 h 37657"/>
                <a:gd name="connsiteX134" fmla="*/ 1594813 w 1645441"/>
                <a:gd name="connsiteY134" fmla="*/ 6795 h 37657"/>
                <a:gd name="connsiteX135" fmla="*/ 1587932 w 1645441"/>
                <a:gd name="connsiteY135" fmla="*/ 4869 h 37657"/>
                <a:gd name="connsiteX136" fmla="*/ 1582703 w 1645441"/>
                <a:gd name="connsiteY136" fmla="*/ 9548 h 37657"/>
                <a:gd name="connsiteX137" fmla="*/ 1588208 w 1645441"/>
                <a:gd name="connsiteY137" fmla="*/ 13126 h 37657"/>
                <a:gd name="connsiteX138" fmla="*/ 1609400 w 1645441"/>
                <a:gd name="connsiteY138" fmla="*/ 3768 h 37657"/>
                <a:gd name="connsiteX139" fmla="*/ 1634867 w 1645441"/>
                <a:gd name="connsiteY139" fmla="*/ 207 h 37657"/>
                <a:gd name="connsiteX140" fmla="*/ 814109 w 1645441"/>
                <a:gd name="connsiteY140" fmla="*/ 93 h 37657"/>
                <a:gd name="connsiteX141" fmla="*/ 819468 w 1645441"/>
                <a:gd name="connsiteY141" fmla="*/ 1177 h 37657"/>
                <a:gd name="connsiteX142" fmla="*/ 816990 w 1645441"/>
                <a:gd name="connsiteY142" fmla="*/ 9434 h 37657"/>
                <a:gd name="connsiteX143" fmla="*/ 791670 w 1645441"/>
                <a:gd name="connsiteY143" fmla="*/ 34480 h 37657"/>
                <a:gd name="connsiteX144" fmla="*/ 793046 w 1645441"/>
                <a:gd name="connsiteY144" fmla="*/ 22369 h 37657"/>
                <a:gd name="connsiteX145" fmla="*/ 782037 w 1645441"/>
                <a:gd name="connsiteY145" fmla="*/ 17140 h 37657"/>
                <a:gd name="connsiteX146" fmla="*/ 784238 w 1645441"/>
                <a:gd name="connsiteY146" fmla="*/ 28700 h 37657"/>
                <a:gd name="connsiteX147" fmla="*/ 764422 w 1645441"/>
                <a:gd name="connsiteY147" fmla="*/ 25122 h 37657"/>
                <a:gd name="connsiteX148" fmla="*/ 766899 w 1645441"/>
                <a:gd name="connsiteY148" fmla="*/ 36131 h 37657"/>
                <a:gd name="connsiteX149" fmla="*/ 685432 w 1645441"/>
                <a:gd name="connsiteY149" fmla="*/ 36131 h 37657"/>
                <a:gd name="connsiteX150" fmla="*/ 660937 w 1645441"/>
                <a:gd name="connsiteY150" fmla="*/ 11911 h 37657"/>
                <a:gd name="connsiteX151" fmla="*/ 644973 w 1645441"/>
                <a:gd name="connsiteY151" fmla="*/ 22645 h 37657"/>
                <a:gd name="connsiteX152" fmla="*/ 646900 w 1645441"/>
                <a:gd name="connsiteY152" fmla="*/ 33104 h 37657"/>
                <a:gd name="connsiteX153" fmla="*/ 647175 w 1645441"/>
                <a:gd name="connsiteY153" fmla="*/ 34755 h 37657"/>
                <a:gd name="connsiteX154" fmla="*/ 618552 w 1645441"/>
                <a:gd name="connsiteY154" fmla="*/ 36406 h 37657"/>
                <a:gd name="connsiteX155" fmla="*/ 543139 w 1645441"/>
                <a:gd name="connsiteY155" fmla="*/ 36681 h 37657"/>
                <a:gd name="connsiteX156" fmla="*/ 528552 w 1645441"/>
                <a:gd name="connsiteY156" fmla="*/ 25947 h 37657"/>
                <a:gd name="connsiteX157" fmla="*/ 525249 w 1645441"/>
                <a:gd name="connsiteY157" fmla="*/ 19342 h 37657"/>
                <a:gd name="connsiteX158" fmla="*/ 533506 w 1645441"/>
                <a:gd name="connsiteY158" fmla="*/ 11360 h 37657"/>
                <a:gd name="connsiteX159" fmla="*/ 521121 w 1645441"/>
                <a:gd name="connsiteY159" fmla="*/ 3654 h 37657"/>
                <a:gd name="connsiteX160" fmla="*/ 515066 w 1645441"/>
                <a:gd name="connsiteY160" fmla="*/ 14388 h 37657"/>
                <a:gd name="connsiteX161" fmla="*/ 505983 w 1645441"/>
                <a:gd name="connsiteY161" fmla="*/ 19067 h 37657"/>
                <a:gd name="connsiteX162" fmla="*/ 486442 w 1645441"/>
                <a:gd name="connsiteY162" fmla="*/ 16590 h 37657"/>
                <a:gd name="connsiteX163" fmla="*/ 470479 w 1645441"/>
                <a:gd name="connsiteY163" fmla="*/ 351 h 37657"/>
                <a:gd name="connsiteX164" fmla="*/ 552497 w 1645441"/>
                <a:gd name="connsiteY164" fmla="*/ 351 h 37657"/>
                <a:gd name="connsiteX165" fmla="*/ 585249 w 1645441"/>
                <a:gd name="connsiteY165" fmla="*/ 351 h 37657"/>
                <a:gd name="connsiteX166" fmla="*/ 593781 w 1645441"/>
                <a:gd name="connsiteY166" fmla="*/ 214 h 37657"/>
                <a:gd name="connsiteX167" fmla="*/ 599836 w 1645441"/>
                <a:gd name="connsiteY167" fmla="*/ 7507 h 37657"/>
                <a:gd name="connsiteX168" fmla="*/ 617451 w 1645441"/>
                <a:gd name="connsiteY168" fmla="*/ 11911 h 37657"/>
                <a:gd name="connsiteX169" fmla="*/ 629010 w 1645441"/>
                <a:gd name="connsiteY169" fmla="*/ 13012 h 37657"/>
                <a:gd name="connsiteX170" fmla="*/ 625432 w 1645441"/>
                <a:gd name="connsiteY170" fmla="*/ 351 h 37657"/>
                <a:gd name="connsiteX171" fmla="*/ 653230 w 1645441"/>
                <a:gd name="connsiteY171" fmla="*/ 351 h 37657"/>
                <a:gd name="connsiteX172" fmla="*/ 767725 w 1645441"/>
                <a:gd name="connsiteY172" fmla="*/ 351 h 37657"/>
                <a:gd name="connsiteX173" fmla="*/ 775156 w 1645441"/>
                <a:gd name="connsiteY173" fmla="*/ 627 h 37657"/>
                <a:gd name="connsiteX174" fmla="*/ 779009 w 1645441"/>
                <a:gd name="connsiteY174" fmla="*/ 5580 h 37657"/>
                <a:gd name="connsiteX175" fmla="*/ 774055 w 1645441"/>
                <a:gd name="connsiteY175" fmla="*/ 6681 h 37657"/>
                <a:gd name="connsiteX176" fmla="*/ 767174 w 1645441"/>
                <a:gd name="connsiteY176" fmla="*/ 4755 h 37657"/>
                <a:gd name="connsiteX177" fmla="*/ 761945 w 1645441"/>
                <a:gd name="connsiteY177" fmla="*/ 9434 h 37657"/>
                <a:gd name="connsiteX178" fmla="*/ 767450 w 1645441"/>
                <a:gd name="connsiteY178" fmla="*/ 13012 h 37657"/>
                <a:gd name="connsiteX179" fmla="*/ 788642 w 1645441"/>
                <a:gd name="connsiteY179" fmla="*/ 3654 h 37657"/>
                <a:gd name="connsiteX180" fmla="*/ 814109 w 1645441"/>
                <a:gd name="connsiteY180" fmla="*/ 93 h 3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645441" h="37657">
                  <a:moveTo>
                    <a:pt x="1323163" y="28780"/>
                  </a:moveTo>
                  <a:cubicBezTo>
                    <a:pt x="1326466" y="28539"/>
                    <a:pt x="1329769" y="30878"/>
                    <a:pt x="1333347" y="36796"/>
                  </a:cubicBezTo>
                  <a:cubicBezTo>
                    <a:pt x="1325916" y="37621"/>
                    <a:pt x="1319861" y="38447"/>
                    <a:pt x="1312980" y="36245"/>
                  </a:cubicBezTo>
                  <a:cubicBezTo>
                    <a:pt x="1316558" y="31842"/>
                    <a:pt x="1319861" y="29021"/>
                    <a:pt x="1323163" y="28780"/>
                  </a:cubicBezTo>
                  <a:close/>
                  <a:moveTo>
                    <a:pt x="502405" y="28666"/>
                  </a:moveTo>
                  <a:cubicBezTo>
                    <a:pt x="505708" y="28425"/>
                    <a:pt x="509011" y="30764"/>
                    <a:pt x="512589" y="36682"/>
                  </a:cubicBezTo>
                  <a:cubicBezTo>
                    <a:pt x="505158" y="37507"/>
                    <a:pt x="499103" y="38333"/>
                    <a:pt x="492222" y="36131"/>
                  </a:cubicBezTo>
                  <a:cubicBezTo>
                    <a:pt x="495800" y="31728"/>
                    <a:pt x="499103" y="28907"/>
                    <a:pt x="502405" y="28666"/>
                  </a:cubicBezTo>
                  <a:close/>
                  <a:moveTo>
                    <a:pt x="1645441" y="21503"/>
                  </a:moveTo>
                  <a:lnTo>
                    <a:pt x="1645441" y="33701"/>
                  </a:lnTo>
                  <a:lnTo>
                    <a:pt x="1640157" y="32461"/>
                  </a:lnTo>
                  <a:cubicBezTo>
                    <a:pt x="1638299" y="32048"/>
                    <a:pt x="1637336" y="31016"/>
                    <a:pt x="1639950" y="27438"/>
                  </a:cubicBezTo>
                  <a:close/>
                  <a:moveTo>
                    <a:pt x="833779" y="19618"/>
                  </a:moveTo>
                  <a:cubicBezTo>
                    <a:pt x="838182" y="21269"/>
                    <a:pt x="843962" y="24022"/>
                    <a:pt x="843962" y="30627"/>
                  </a:cubicBezTo>
                  <a:cubicBezTo>
                    <a:pt x="838182" y="34755"/>
                    <a:pt x="832953" y="42187"/>
                    <a:pt x="824972" y="33655"/>
                  </a:cubicBezTo>
                  <a:cubicBezTo>
                    <a:pt x="823045" y="31453"/>
                    <a:pt x="813963" y="34480"/>
                    <a:pt x="819192" y="27324"/>
                  </a:cubicBezTo>
                  <a:cubicBezTo>
                    <a:pt x="822219" y="23196"/>
                    <a:pt x="827173" y="16866"/>
                    <a:pt x="833779" y="19618"/>
                  </a:cubicBezTo>
                  <a:close/>
                  <a:moveTo>
                    <a:pt x="1645441" y="5017"/>
                  </a:moveTo>
                  <a:lnTo>
                    <a:pt x="1645441" y="6122"/>
                  </a:lnTo>
                  <a:lnTo>
                    <a:pt x="1644904" y="5420"/>
                  </a:lnTo>
                  <a:close/>
                  <a:moveTo>
                    <a:pt x="18831" y="627"/>
                  </a:moveTo>
                  <a:cubicBezTo>
                    <a:pt x="38647" y="627"/>
                    <a:pt x="58188" y="627"/>
                    <a:pt x="78005" y="627"/>
                  </a:cubicBezTo>
                  <a:cubicBezTo>
                    <a:pt x="100298" y="627"/>
                    <a:pt x="122316" y="627"/>
                    <a:pt x="144609" y="627"/>
                  </a:cubicBezTo>
                  <a:cubicBezTo>
                    <a:pt x="149013" y="627"/>
                    <a:pt x="153417" y="-475"/>
                    <a:pt x="155894" y="5580"/>
                  </a:cubicBezTo>
                  <a:cubicBezTo>
                    <a:pt x="157820" y="11085"/>
                    <a:pt x="157270" y="14663"/>
                    <a:pt x="154518" y="19617"/>
                  </a:cubicBezTo>
                  <a:cubicBezTo>
                    <a:pt x="151765" y="24296"/>
                    <a:pt x="142132" y="26222"/>
                    <a:pt x="147362" y="34754"/>
                  </a:cubicBezTo>
                  <a:cubicBezTo>
                    <a:pt x="147912" y="35580"/>
                    <a:pt x="145435" y="36956"/>
                    <a:pt x="143509" y="36681"/>
                  </a:cubicBezTo>
                  <a:cubicBezTo>
                    <a:pt x="130848" y="35305"/>
                    <a:pt x="117637" y="39708"/>
                    <a:pt x="105252" y="33653"/>
                  </a:cubicBezTo>
                  <a:cubicBezTo>
                    <a:pt x="103601" y="32828"/>
                    <a:pt x="101124" y="32552"/>
                    <a:pt x="99197" y="33103"/>
                  </a:cubicBezTo>
                  <a:cubicBezTo>
                    <a:pt x="71950" y="40809"/>
                    <a:pt x="44427" y="35030"/>
                    <a:pt x="16904" y="36406"/>
                  </a:cubicBezTo>
                  <a:cubicBezTo>
                    <a:pt x="5895" y="36956"/>
                    <a:pt x="-985" y="33103"/>
                    <a:pt x="115" y="19066"/>
                  </a:cubicBezTo>
                  <a:cubicBezTo>
                    <a:pt x="1767" y="627"/>
                    <a:pt x="666" y="627"/>
                    <a:pt x="18831" y="627"/>
                  </a:cubicBezTo>
                  <a:close/>
                  <a:moveTo>
                    <a:pt x="168624" y="524"/>
                  </a:moveTo>
                  <a:cubicBezTo>
                    <a:pt x="171032" y="1178"/>
                    <a:pt x="173372" y="2829"/>
                    <a:pt x="175711" y="4480"/>
                  </a:cubicBezTo>
                  <a:cubicBezTo>
                    <a:pt x="177637" y="5857"/>
                    <a:pt x="180940" y="3655"/>
                    <a:pt x="182591" y="8609"/>
                  </a:cubicBezTo>
                  <a:cubicBezTo>
                    <a:pt x="180665" y="9710"/>
                    <a:pt x="179013" y="10811"/>
                    <a:pt x="177087" y="11361"/>
                  </a:cubicBezTo>
                  <a:cubicBezTo>
                    <a:pt x="171307" y="13288"/>
                    <a:pt x="165803" y="12462"/>
                    <a:pt x="161123" y="8334"/>
                  </a:cubicBezTo>
                  <a:cubicBezTo>
                    <a:pt x="159472" y="6682"/>
                    <a:pt x="159472" y="3930"/>
                    <a:pt x="161123" y="2554"/>
                  </a:cubicBezTo>
                  <a:cubicBezTo>
                    <a:pt x="163738" y="214"/>
                    <a:pt x="166215" y="-130"/>
                    <a:pt x="168624" y="524"/>
                  </a:cubicBezTo>
                  <a:close/>
                  <a:moveTo>
                    <a:pt x="1260961" y="465"/>
                  </a:moveTo>
                  <a:cubicBezTo>
                    <a:pt x="1268392" y="465"/>
                    <a:pt x="1267842" y="6245"/>
                    <a:pt x="1271420" y="8447"/>
                  </a:cubicBezTo>
                  <a:cubicBezTo>
                    <a:pt x="1280502" y="13951"/>
                    <a:pt x="1272521" y="23860"/>
                    <a:pt x="1278575" y="31566"/>
                  </a:cubicBezTo>
                  <a:cubicBezTo>
                    <a:pt x="1282429" y="35970"/>
                    <a:pt x="1273071" y="37071"/>
                    <a:pt x="1268392" y="37071"/>
                  </a:cubicBezTo>
                  <a:cubicBezTo>
                    <a:pt x="1229861" y="37071"/>
                    <a:pt x="1191329" y="37071"/>
                    <a:pt x="1152797" y="37071"/>
                  </a:cubicBezTo>
                  <a:cubicBezTo>
                    <a:pt x="1140962" y="37071"/>
                    <a:pt x="1129127" y="36520"/>
                    <a:pt x="1117568" y="37071"/>
                  </a:cubicBezTo>
                  <a:cubicBezTo>
                    <a:pt x="1109174" y="37484"/>
                    <a:pt x="1101054" y="37071"/>
                    <a:pt x="1093176" y="35557"/>
                  </a:cubicBezTo>
                  <a:lnTo>
                    <a:pt x="1092403" y="35283"/>
                  </a:lnTo>
                  <a:lnTo>
                    <a:pt x="1092403" y="36682"/>
                  </a:lnTo>
                  <a:lnTo>
                    <a:pt x="1061686" y="36682"/>
                  </a:lnTo>
                  <a:lnTo>
                    <a:pt x="1061696" y="36795"/>
                  </a:lnTo>
                  <a:lnTo>
                    <a:pt x="1010880" y="36795"/>
                  </a:lnTo>
                  <a:lnTo>
                    <a:pt x="1010880" y="36682"/>
                  </a:lnTo>
                  <a:lnTo>
                    <a:pt x="973870" y="36682"/>
                  </a:lnTo>
                  <a:cubicBezTo>
                    <a:pt x="963136" y="36682"/>
                    <a:pt x="965063" y="27599"/>
                    <a:pt x="964787" y="22920"/>
                  </a:cubicBezTo>
                  <a:cubicBezTo>
                    <a:pt x="964787" y="15214"/>
                    <a:pt x="960659" y="14663"/>
                    <a:pt x="955705" y="15214"/>
                  </a:cubicBezTo>
                  <a:cubicBezTo>
                    <a:pt x="947998" y="16040"/>
                    <a:pt x="953503" y="20168"/>
                    <a:pt x="954054" y="23196"/>
                  </a:cubicBezTo>
                  <a:cubicBezTo>
                    <a:pt x="955154" y="28700"/>
                    <a:pt x="951852" y="27599"/>
                    <a:pt x="948273" y="27324"/>
                  </a:cubicBezTo>
                  <a:cubicBezTo>
                    <a:pt x="938365" y="26774"/>
                    <a:pt x="935338" y="16865"/>
                    <a:pt x="928732" y="12187"/>
                  </a:cubicBezTo>
                  <a:cubicBezTo>
                    <a:pt x="920751" y="6682"/>
                    <a:pt x="914971" y="7232"/>
                    <a:pt x="907540" y="9985"/>
                  </a:cubicBezTo>
                  <a:cubicBezTo>
                    <a:pt x="905063" y="6682"/>
                    <a:pt x="901485" y="6407"/>
                    <a:pt x="897907" y="5306"/>
                  </a:cubicBezTo>
                  <a:cubicBezTo>
                    <a:pt x="899008" y="10260"/>
                    <a:pt x="891852" y="14113"/>
                    <a:pt x="894880" y="18517"/>
                  </a:cubicBezTo>
                  <a:cubicBezTo>
                    <a:pt x="899008" y="24297"/>
                    <a:pt x="890201" y="28425"/>
                    <a:pt x="894329" y="34205"/>
                  </a:cubicBezTo>
                  <a:cubicBezTo>
                    <a:pt x="895705" y="35856"/>
                    <a:pt x="891852" y="36682"/>
                    <a:pt x="889925" y="36682"/>
                  </a:cubicBezTo>
                  <a:cubicBezTo>
                    <a:pt x="876439" y="36682"/>
                    <a:pt x="862678" y="36407"/>
                    <a:pt x="848916" y="36682"/>
                  </a:cubicBezTo>
                  <a:cubicBezTo>
                    <a:pt x="843963" y="36957"/>
                    <a:pt x="843687" y="34205"/>
                    <a:pt x="844238" y="30627"/>
                  </a:cubicBezTo>
                  <a:cubicBezTo>
                    <a:pt x="847541" y="28150"/>
                    <a:pt x="852219" y="36131"/>
                    <a:pt x="854421" y="30352"/>
                  </a:cubicBezTo>
                  <a:cubicBezTo>
                    <a:pt x="856072" y="26223"/>
                    <a:pt x="853045" y="22370"/>
                    <a:pt x="849192" y="19893"/>
                  </a:cubicBezTo>
                  <a:cubicBezTo>
                    <a:pt x="842311" y="15489"/>
                    <a:pt x="850017" y="6407"/>
                    <a:pt x="842311" y="1453"/>
                  </a:cubicBezTo>
                  <a:lnTo>
                    <a:pt x="1010880" y="1453"/>
                  </a:lnTo>
                  <a:lnTo>
                    <a:pt x="1010880" y="973"/>
                  </a:lnTo>
                  <a:lnTo>
                    <a:pt x="1012190" y="1016"/>
                  </a:lnTo>
                  <a:lnTo>
                    <a:pt x="1012704" y="1453"/>
                  </a:lnTo>
                  <a:lnTo>
                    <a:pt x="1060146" y="1453"/>
                  </a:lnTo>
                  <a:lnTo>
                    <a:pt x="1060355" y="1256"/>
                  </a:lnTo>
                  <a:cubicBezTo>
                    <a:pt x="1062109" y="671"/>
                    <a:pt x="1064036" y="740"/>
                    <a:pt x="1066100" y="740"/>
                  </a:cubicBezTo>
                  <a:cubicBezTo>
                    <a:pt x="1131054" y="740"/>
                    <a:pt x="1196008" y="1015"/>
                    <a:pt x="1260961" y="465"/>
                  </a:cubicBezTo>
                  <a:close/>
                  <a:moveTo>
                    <a:pt x="830751" y="352"/>
                  </a:moveTo>
                  <a:cubicBezTo>
                    <a:pt x="832953" y="352"/>
                    <a:pt x="835706" y="1453"/>
                    <a:pt x="834330" y="3654"/>
                  </a:cubicBezTo>
                  <a:cubicBezTo>
                    <a:pt x="832953" y="6406"/>
                    <a:pt x="829926" y="8058"/>
                    <a:pt x="827724" y="9984"/>
                  </a:cubicBezTo>
                  <a:cubicBezTo>
                    <a:pt x="824421" y="9159"/>
                    <a:pt x="823871" y="7783"/>
                    <a:pt x="824146" y="5306"/>
                  </a:cubicBezTo>
                  <a:cubicBezTo>
                    <a:pt x="824696" y="1177"/>
                    <a:pt x="827449" y="77"/>
                    <a:pt x="830751" y="352"/>
                  </a:cubicBezTo>
                  <a:close/>
                  <a:moveTo>
                    <a:pt x="440203" y="351"/>
                  </a:moveTo>
                  <a:cubicBezTo>
                    <a:pt x="447634" y="351"/>
                    <a:pt x="447084" y="6131"/>
                    <a:pt x="450662" y="8333"/>
                  </a:cubicBezTo>
                  <a:cubicBezTo>
                    <a:pt x="459744" y="13837"/>
                    <a:pt x="451763" y="23746"/>
                    <a:pt x="457817" y="31452"/>
                  </a:cubicBezTo>
                  <a:cubicBezTo>
                    <a:pt x="461671" y="35856"/>
                    <a:pt x="452313" y="36957"/>
                    <a:pt x="447634" y="36957"/>
                  </a:cubicBezTo>
                  <a:cubicBezTo>
                    <a:pt x="409103" y="36957"/>
                    <a:pt x="370571" y="36957"/>
                    <a:pt x="332039" y="36957"/>
                  </a:cubicBezTo>
                  <a:cubicBezTo>
                    <a:pt x="320204" y="36957"/>
                    <a:pt x="308369" y="36406"/>
                    <a:pt x="296810" y="36957"/>
                  </a:cubicBezTo>
                  <a:cubicBezTo>
                    <a:pt x="280021" y="37782"/>
                    <a:pt x="264333" y="35305"/>
                    <a:pt x="249471" y="27324"/>
                  </a:cubicBezTo>
                  <a:cubicBezTo>
                    <a:pt x="246719" y="25947"/>
                    <a:pt x="243140" y="24847"/>
                    <a:pt x="240113" y="27048"/>
                  </a:cubicBezTo>
                  <a:cubicBezTo>
                    <a:pt x="234883" y="30626"/>
                    <a:pt x="242865" y="33103"/>
                    <a:pt x="240938" y="36681"/>
                  </a:cubicBezTo>
                  <a:cubicBezTo>
                    <a:pt x="213691" y="36681"/>
                    <a:pt x="186444" y="36681"/>
                    <a:pt x="158921" y="36681"/>
                  </a:cubicBezTo>
                  <a:cubicBezTo>
                    <a:pt x="160848" y="32828"/>
                    <a:pt x="162774" y="28975"/>
                    <a:pt x="164426" y="25122"/>
                  </a:cubicBezTo>
                  <a:cubicBezTo>
                    <a:pt x="165526" y="22645"/>
                    <a:pt x="166627" y="19342"/>
                    <a:pt x="169379" y="20718"/>
                  </a:cubicBezTo>
                  <a:cubicBezTo>
                    <a:pt x="183967" y="28149"/>
                    <a:pt x="189196" y="18241"/>
                    <a:pt x="194701" y="7507"/>
                  </a:cubicBezTo>
                  <a:cubicBezTo>
                    <a:pt x="192223" y="3379"/>
                    <a:pt x="185343" y="7782"/>
                    <a:pt x="182866" y="626"/>
                  </a:cubicBezTo>
                  <a:cubicBezTo>
                    <a:pt x="189196" y="1452"/>
                    <a:pt x="194150" y="-1576"/>
                    <a:pt x="198554" y="6957"/>
                  </a:cubicBezTo>
                  <a:cubicBezTo>
                    <a:pt x="204058" y="17690"/>
                    <a:pt x="229654" y="16039"/>
                    <a:pt x="234883" y="5580"/>
                  </a:cubicBezTo>
                  <a:cubicBezTo>
                    <a:pt x="237636" y="351"/>
                    <a:pt x="241214" y="626"/>
                    <a:pt x="245342" y="626"/>
                  </a:cubicBezTo>
                  <a:cubicBezTo>
                    <a:pt x="310296" y="626"/>
                    <a:pt x="375250" y="901"/>
                    <a:pt x="440203" y="351"/>
                  </a:cubicBezTo>
                  <a:close/>
                  <a:moveTo>
                    <a:pt x="1634867" y="207"/>
                  </a:moveTo>
                  <a:cubicBezTo>
                    <a:pt x="1637749" y="328"/>
                    <a:pt x="1639813" y="672"/>
                    <a:pt x="1640226" y="1291"/>
                  </a:cubicBezTo>
                  <a:cubicBezTo>
                    <a:pt x="1642703" y="4593"/>
                    <a:pt x="1641051" y="8447"/>
                    <a:pt x="1637748" y="9548"/>
                  </a:cubicBezTo>
                  <a:cubicBezTo>
                    <a:pt x="1627015" y="15603"/>
                    <a:pt x="1619309" y="24135"/>
                    <a:pt x="1612428" y="34594"/>
                  </a:cubicBezTo>
                  <a:cubicBezTo>
                    <a:pt x="1612978" y="30465"/>
                    <a:pt x="1615455" y="25236"/>
                    <a:pt x="1613804" y="22483"/>
                  </a:cubicBezTo>
                  <a:cubicBezTo>
                    <a:pt x="1612152" y="19456"/>
                    <a:pt x="1606373" y="18906"/>
                    <a:pt x="1602795" y="17254"/>
                  </a:cubicBezTo>
                  <a:cubicBezTo>
                    <a:pt x="1598666" y="23034"/>
                    <a:pt x="1610776" y="24685"/>
                    <a:pt x="1604996" y="28814"/>
                  </a:cubicBezTo>
                  <a:cubicBezTo>
                    <a:pt x="1598666" y="33493"/>
                    <a:pt x="1592336" y="28263"/>
                    <a:pt x="1585180" y="25236"/>
                  </a:cubicBezTo>
                  <a:cubicBezTo>
                    <a:pt x="1586006" y="29089"/>
                    <a:pt x="1586831" y="32392"/>
                    <a:pt x="1587657" y="36245"/>
                  </a:cubicBezTo>
                  <a:cubicBezTo>
                    <a:pt x="1560134" y="36245"/>
                    <a:pt x="1533162" y="36245"/>
                    <a:pt x="1506190" y="36245"/>
                  </a:cubicBezTo>
                  <a:cubicBezTo>
                    <a:pt x="1506190" y="25511"/>
                    <a:pt x="1493254" y="12025"/>
                    <a:pt x="1481695" y="12025"/>
                  </a:cubicBezTo>
                  <a:cubicBezTo>
                    <a:pt x="1474538" y="12025"/>
                    <a:pt x="1470410" y="18630"/>
                    <a:pt x="1465731" y="22759"/>
                  </a:cubicBezTo>
                  <a:cubicBezTo>
                    <a:pt x="1461052" y="26887"/>
                    <a:pt x="1466007" y="29915"/>
                    <a:pt x="1467658" y="33218"/>
                  </a:cubicBezTo>
                  <a:cubicBezTo>
                    <a:pt x="1467383" y="33768"/>
                    <a:pt x="1467383" y="34318"/>
                    <a:pt x="1467933" y="34869"/>
                  </a:cubicBezTo>
                  <a:cubicBezTo>
                    <a:pt x="1458576" y="38447"/>
                    <a:pt x="1448942" y="36520"/>
                    <a:pt x="1439310" y="36520"/>
                  </a:cubicBezTo>
                  <a:cubicBezTo>
                    <a:pt x="1414264" y="36795"/>
                    <a:pt x="1388943" y="36520"/>
                    <a:pt x="1363897" y="36795"/>
                  </a:cubicBezTo>
                  <a:cubicBezTo>
                    <a:pt x="1355640" y="36795"/>
                    <a:pt x="1348759" y="37346"/>
                    <a:pt x="1349310" y="26061"/>
                  </a:cubicBezTo>
                  <a:cubicBezTo>
                    <a:pt x="1349310" y="23860"/>
                    <a:pt x="1347108" y="21658"/>
                    <a:pt x="1346007" y="19456"/>
                  </a:cubicBezTo>
                  <a:cubicBezTo>
                    <a:pt x="1349035" y="16153"/>
                    <a:pt x="1357842" y="16704"/>
                    <a:pt x="1354264" y="11474"/>
                  </a:cubicBezTo>
                  <a:cubicBezTo>
                    <a:pt x="1352613" y="8997"/>
                    <a:pt x="1348484" y="1291"/>
                    <a:pt x="1341879" y="3768"/>
                  </a:cubicBezTo>
                  <a:cubicBezTo>
                    <a:pt x="1337200" y="5694"/>
                    <a:pt x="1334173" y="8722"/>
                    <a:pt x="1335824" y="14502"/>
                  </a:cubicBezTo>
                  <a:cubicBezTo>
                    <a:pt x="1336925" y="18355"/>
                    <a:pt x="1331145" y="21382"/>
                    <a:pt x="1326741" y="19181"/>
                  </a:cubicBezTo>
                  <a:cubicBezTo>
                    <a:pt x="1320411" y="15878"/>
                    <a:pt x="1314906" y="14777"/>
                    <a:pt x="1307200" y="16704"/>
                  </a:cubicBezTo>
                  <a:cubicBezTo>
                    <a:pt x="1298118" y="18906"/>
                    <a:pt x="1298669" y="5144"/>
                    <a:pt x="1291237" y="465"/>
                  </a:cubicBezTo>
                  <a:cubicBezTo>
                    <a:pt x="1318485" y="465"/>
                    <a:pt x="1346007" y="465"/>
                    <a:pt x="1373255" y="465"/>
                  </a:cubicBezTo>
                  <a:cubicBezTo>
                    <a:pt x="1384264" y="465"/>
                    <a:pt x="1394998" y="190"/>
                    <a:pt x="1406007" y="465"/>
                  </a:cubicBezTo>
                  <a:cubicBezTo>
                    <a:pt x="1408897" y="465"/>
                    <a:pt x="1411925" y="-223"/>
                    <a:pt x="1414539" y="328"/>
                  </a:cubicBezTo>
                  <a:cubicBezTo>
                    <a:pt x="1417154" y="878"/>
                    <a:pt x="1419355" y="2667"/>
                    <a:pt x="1420594" y="7621"/>
                  </a:cubicBezTo>
                  <a:cubicBezTo>
                    <a:pt x="1421420" y="10649"/>
                    <a:pt x="1434355" y="14502"/>
                    <a:pt x="1438209" y="12025"/>
                  </a:cubicBezTo>
                  <a:cubicBezTo>
                    <a:pt x="1443988" y="8722"/>
                    <a:pt x="1445915" y="14502"/>
                    <a:pt x="1449768" y="13126"/>
                  </a:cubicBezTo>
                  <a:cubicBezTo>
                    <a:pt x="1452796" y="8171"/>
                    <a:pt x="1446190" y="6245"/>
                    <a:pt x="1446190" y="465"/>
                  </a:cubicBezTo>
                  <a:cubicBezTo>
                    <a:pt x="1455273" y="465"/>
                    <a:pt x="1464630" y="465"/>
                    <a:pt x="1473988" y="465"/>
                  </a:cubicBezTo>
                  <a:cubicBezTo>
                    <a:pt x="1512245" y="465"/>
                    <a:pt x="1550226" y="465"/>
                    <a:pt x="1588483" y="465"/>
                  </a:cubicBezTo>
                  <a:cubicBezTo>
                    <a:pt x="1590960" y="465"/>
                    <a:pt x="1593437" y="465"/>
                    <a:pt x="1595914" y="741"/>
                  </a:cubicBezTo>
                  <a:cubicBezTo>
                    <a:pt x="1599217" y="741"/>
                    <a:pt x="1600593" y="2942"/>
                    <a:pt x="1599767" y="5694"/>
                  </a:cubicBezTo>
                  <a:cubicBezTo>
                    <a:pt x="1598941" y="8447"/>
                    <a:pt x="1596739" y="7896"/>
                    <a:pt x="1594813" y="6795"/>
                  </a:cubicBezTo>
                  <a:cubicBezTo>
                    <a:pt x="1592886" y="5419"/>
                    <a:pt x="1590685" y="4043"/>
                    <a:pt x="1587932" y="4869"/>
                  </a:cubicBezTo>
                  <a:cubicBezTo>
                    <a:pt x="1585455" y="5694"/>
                    <a:pt x="1582703" y="6795"/>
                    <a:pt x="1582703" y="9548"/>
                  </a:cubicBezTo>
                  <a:cubicBezTo>
                    <a:pt x="1582703" y="12850"/>
                    <a:pt x="1585455" y="13676"/>
                    <a:pt x="1588208" y="13126"/>
                  </a:cubicBezTo>
                  <a:cubicBezTo>
                    <a:pt x="1595914" y="11750"/>
                    <a:pt x="1605272" y="13951"/>
                    <a:pt x="1609400" y="3768"/>
                  </a:cubicBezTo>
                  <a:cubicBezTo>
                    <a:pt x="1610226" y="1497"/>
                    <a:pt x="1626223" y="-154"/>
                    <a:pt x="1634867" y="207"/>
                  </a:cubicBezTo>
                  <a:close/>
                  <a:moveTo>
                    <a:pt x="814109" y="93"/>
                  </a:moveTo>
                  <a:cubicBezTo>
                    <a:pt x="816991" y="214"/>
                    <a:pt x="819055" y="558"/>
                    <a:pt x="819468" y="1177"/>
                  </a:cubicBezTo>
                  <a:cubicBezTo>
                    <a:pt x="821945" y="4479"/>
                    <a:pt x="820293" y="8333"/>
                    <a:pt x="816990" y="9434"/>
                  </a:cubicBezTo>
                  <a:cubicBezTo>
                    <a:pt x="806257" y="15489"/>
                    <a:pt x="798551" y="24021"/>
                    <a:pt x="791670" y="34480"/>
                  </a:cubicBezTo>
                  <a:cubicBezTo>
                    <a:pt x="792220" y="30351"/>
                    <a:pt x="794697" y="25122"/>
                    <a:pt x="793046" y="22369"/>
                  </a:cubicBezTo>
                  <a:cubicBezTo>
                    <a:pt x="791394" y="19342"/>
                    <a:pt x="785615" y="18792"/>
                    <a:pt x="782037" y="17140"/>
                  </a:cubicBezTo>
                  <a:cubicBezTo>
                    <a:pt x="777908" y="22920"/>
                    <a:pt x="790018" y="24571"/>
                    <a:pt x="784238" y="28700"/>
                  </a:cubicBezTo>
                  <a:cubicBezTo>
                    <a:pt x="777908" y="33379"/>
                    <a:pt x="771578" y="28149"/>
                    <a:pt x="764422" y="25122"/>
                  </a:cubicBezTo>
                  <a:cubicBezTo>
                    <a:pt x="765248" y="28975"/>
                    <a:pt x="766073" y="32278"/>
                    <a:pt x="766899" y="36131"/>
                  </a:cubicBezTo>
                  <a:cubicBezTo>
                    <a:pt x="739376" y="36131"/>
                    <a:pt x="712404" y="36131"/>
                    <a:pt x="685432" y="36131"/>
                  </a:cubicBezTo>
                  <a:cubicBezTo>
                    <a:pt x="685432" y="25397"/>
                    <a:pt x="672496" y="11911"/>
                    <a:pt x="660937" y="11911"/>
                  </a:cubicBezTo>
                  <a:cubicBezTo>
                    <a:pt x="653780" y="11911"/>
                    <a:pt x="649652" y="18516"/>
                    <a:pt x="644973" y="22645"/>
                  </a:cubicBezTo>
                  <a:cubicBezTo>
                    <a:pt x="640294" y="26773"/>
                    <a:pt x="645249" y="29801"/>
                    <a:pt x="646900" y="33104"/>
                  </a:cubicBezTo>
                  <a:cubicBezTo>
                    <a:pt x="646625" y="33654"/>
                    <a:pt x="646625" y="34204"/>
                    <a:pt x="647175" y="34755"/>
                  </a:cubicBezTo>
                  <a:cubicBezTo>
                    <a:pt x="637818" y="38333"/>
                    <a:pt x="628184" y="36406"/>
                    <a:pt x="618552" y="36406"/>
                  </a:cubicBezTo>
                  <a:cubicBezTo>
                    <a:pt x="593506" y="36681"/>
                    <a:pt x="568185" y="36406"/>
                    <a:pt x="543139" y="36681"/>
                  </a:cubicBezTo>
                  <a:cubicBezTo>
                    <a:pt x="534882" y="36681"/>
                    <a:pt x="528001" y="37232"/>
                    <a:pt x="528552" y="25947"/>
                  </a:cubicBezTo>
                  <a:cubicBezTo>
                    <a:pt x="528552" y="23746"/>
                    <a:pt x="526350" y="21544"/>
                    <a:pt x="525249" y="19342"/>
                  </a:cubicBezTo>
                  <a:cubicBezTo>
                    <a:pt x="528277" y="16039"/>
                    <a:pt x="537084" y="16590"/>
                    <a:pt x="533506" y="11360"/>
                  </a:cubicBezTo>
                  <a:cubicBezTo>
                    <a:pt x="531855" y="8883"/>
                    <a:pt x="527726" y="1177"/>
                    <a:pt x="521121" y="3654"/>
                  </a:cubicBezTo>
                  <a:cubicBezTo>
                    <a:pt x="516442" y="5580"/>
                    <a:pt x="513415" y="8608"/>
                    <a:pt x="515066" y="14388"/>
                  </a:cubicBezTo>
                  <a:cubicBezTo>
                    <a:pt x="516167" y="18241"/>
                    <a:pt x="510387" y="21268"/>
                    <a:pt x="505983" y="19067"/>
                  </a:cubicBezTo>
                  <a:cubicBezTo>
                    <a:pt x="499653" y="15764"/>
                    <a:pt x="494148" y="14663"/>
                    <a:pt x="486442" y="16590"/>
                  </a:cubicBezTo>
                  <a:cubicBezTo>
                    <a:pt x="477360" y="18792"/>
                    <a:pt x="477911" y="5030"/>
                    <a:pt x="470479" y="351"/>
                  </a:cubicBezTo>
                  <a:cubicBezTo>
                    <a:pt x="497727" y="351"/>
                    <a:pt x="525249" y="351"/>
                    <a:pt x="552497" y="351"/>
                  </a:cubicBezTo>
                  <a:cubicBezTo>
                    <a:pt x="563506" y="351"/>
                    <a:pt x="574240" y="76"/>
                    <a:pt x="585249" y="351"/>
                  </a:cubicBezTo>
                  <a:cubicBezTo>
                    <a:pt x="588139" y="351"/>
                    <a:pt x="591167" y="-337"/>
                    <a:pt x="593781" y="214"/>
                  </a:cubicBezTo>
                  <a:cubicBezTo>
                    <a:pt x="596396" y="764"/>
                    <a:pt x="598597" y="2553"/>
                    <a:pt x="599836" y="7507"/>
                  </a:cubicBezTo>
                  <a:cubicBezTo>
                    <a:pt x="600662" y="10535"/>
                    <a:pt x="613597" y="14388"/>
                    <a:pt x="617451" y="11911"/>
                  </a:cubicBezTo>
                  <a:cubicBezTo>
                    <a:pt x="623230" y="8608"/>
                    <a:pt x="625157" y="14388"/>
                    <a:pt x="629010" y="13012"/>
                  </a:cubicBezTo>
                  <a:cubicBezTo>
                    <a:pt x="632038" y="8057"/>
                    <a:pt x="625432" y="6131"/>
                    <a:pt x="625432" y="351"/>
                  </a:cubicBezTo>
                  <a:cubicBezTo>
                    <a:pt x="634515" y="351"/>
                    <a:pt x="643872" y="351"/>
                    <a:pt x="653230" y="351"/>
                  </a:cubicBezTo>
                  <a:cubicBezTo>
                    <a:pt x="691487" y="351"/>
                    <a:pt x="729468" y="351"/>
                    <a:pt x="767725" y="351"/>
                  </a:cubicBezTo>
                  <a:cubicBezTo>
                    <a:pt x="770202" y="351"/>
                    <a:pt x="772679" y="351"/>
                    <a:pt x="775156" y="627"/>
                  </a:cubicBezTo>
                  <a:cubicBezTo>
                    <a:pt x="778459" y="627"/>
                    <a:pt x="779835" y="2828"/>
                    <a:pt x="779009" y="5580"/>
                  </a:cubicBezTo>
                  <a:cubicBezTo>
                    <a:pt x="778183" y="8333"/>
                    <a:pt x="775981" y="7782"/>
                    <a:pt x="774055" y="6681"/>
                  </a:cubicBezTo>
                  <a:cubicBezTo>
                    <a:pt x="772128" y="5305"/>
                    <a:pt x="769927" y="3929"/>
                    <a:pt x="767174" y="4755"/>
                  </a:cubicBezTo>
                  <a:cubicBezTo>
                    <a:pt x="764697" y="5580"/>
                    <a:pt x="761945" y="6681"/>
                    <a:pt x="761945" y="9434"/>
                  </a:cubicBezTo>
                  <a:cubicBezTo>
                    <a:pt x="761945" y="12736"/>
                    <a:pt x="764697" y="13562"/>
                    <a:pt x="767450" y="13012"/>
                  </a:cubicBezTo>
                  <a:cubicBezTo>
                    <a:pt x="775156" y="11636"/>
                    <a:pt x="784514" y="13837"/>
                    <a:pt x="788642" y="3654"/>
                  </a:cubicBezTo>
                  <a:cubicBezTo>
                    <a:pt x="789468" y="1383"/>
                    <a:pt x="805465" y="-268"/>
                    <a:pt x="814109" y="93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8C3027BC-B56D-4021-A501-9A904F5327DB}"/>
                </a:ext>
              </a:extLst>
            </p:cNvPr>
            <p:cNvSpPr/>
            <p:nvPr/>
          </p:nvSpPr>
          <p:spPr>
            <a:xfrm>
              <a:off x="6223195" y="417483"/>
              <a:ext cx="3121205" cy="87950"/>
            </a:xfrm>
            <a:custGeom>
              <a:avLst/>
              <a:gdLst>
                <a:gd name="connsiteX0" fmla="*/ 934228 w 1546130"/>
                <a:gd name="connsiteY0" fmla="*/ 26457 h 43567"/>
                <a:gd name="connsiteX1" fmla="*/ 929274 w 1546130"/>
                <a:gd name="connsiteY1" fmla="*/ 30586 h 43567"/>
                <a:gd name="connsiteX2" fmla="*/ 939182 w 1546130"/>
                <a:gd name="connsiteY2" fmla="*/ 40494 h 43567"/>
                <a:gd name="connsiteX3" fmla="*/ 941935 w 1546130"/>
                <a:gd name="connsiteY3" fmla="*/ 35540 h 43567"/>
                <a:gd name="connsiteX4" fmla="*/ 934228 w 1546130"/>
                <a:gd name="connsiteY4" fmla="*/ 26457 h 43567"/>
                <a:gd name="connsiteX5" fmla="*/ 1074600 w 1546130"/>
                <a:gd name="connsiteY5" fmla="*/ 5885 h 43567"/>
                <a:gd name="connsiteX6" fmla="*/ 1074325 w 1546130"/>
                <a:gd name="connsiteY6" fmla="*/ 6160 h 43567"/>
                <a:gd name="connsiteX7" fmla="*/ 1074325 w 1546130"/>
                <a:gd name="connsiteY7" fmla="*/ 6435 h 43567"/>
                <a:gd name="connsiteX8" fmla="*/ 1074049 w 1546130"/>
                <a:gd name="connsiteY8" fmla="*/ 6435 h 43567"/>
                <a:gd name="connsiteX9" fmla="*/ 1074049 w 1546130"/>
                <a:gd name="connsiteY9" fmla="*/ 6160 h 43567"/>
                <a:gd name="connsiteX10" fmla="*/ 1073774 w 1546130"/>
                <a:gd name="connsiteY10" fmla="*/ 6435 h 43567"/>
                <a:gd name="connsiteX11" fmla="*/ 1075976 w 1546130"/>
                <a:gd name="connsiteY11" fmla="*/ 29004 h 43567"/>
                <a:gd name="connsiteX12" fmla="*/ 1078728 w 1546130"/>
                <a:gd name="connsiteY12" fmla="*/ 30655 h 43567"/>
                <a:gd name="connsiteX13" fmla="*/ 1094416 w 1546130"/>
                <a:gd name="connsiteY13" fmla="*/ 24876 h 43567"/>
                <a:gd name="connsiteX14" fmla="*/ 1084783 w 1546130"/>
                <a:gd name="connsiteY14" fmla="*/ 9738 h 43567"/>
                <a:gd name="connsiteX15" fmla="*/ 1075150 w 1546130"/>
                <a:gd name="connsiteY15" fmla="*/ 6435 h 43567"/>
                <a:gd name="connsiteX16" fmla="*/ 1074600 w 1546130"/>
                <a:gd name="connsiteY16" fmla="*/ 5885 h 43567"/>
                <a:gd name="connsiteX17" fmla="*/ 22951 w 1546130"/>
                <a:gd name="connsiteY17" fmla="*/ 5815 h 43567"/>
                <a:gd name="connsiteX18" fmla="*/ 22676 w 1546130"/>
                <a:gd name="connsiteY18" fmla="*/ 6090 h 43567"/>
                <a:gd name="connsiteX19" fmla="*/ 22676 w 1546130"/>
                <a:gd name="connsiteY19" fmla="*/ 6365 h 43567"/>
                <a:gd name="connsiteX20" fmla="*/ 22400 w 1546130"/>
                <a:gd name="connsiteY20" fmla="*/ 6365 h 43567"/>
                <a:gd name="connsiteX21" fmla="*/ 22400 w 1546130"/>
                <a:gd name="connsiteY21" fmla="*/ 6090 h 43567"/>
                <a:gd name="connsiteX22" fmla="*/ 22125 w 1546130"/>
                <a:gd name="connsiteY22" fmla="*/ 6365 h 43567"/>
                <a:gd name="connsiteX23" fmla="*/ 24327 w 1546130"/>
                <a:gd name="connsiteY23" fmla="*/ 28934 h 43567"/>
                <a:gd name="connsiteX24" fmla="*/ 27079 w 1546130"/>
                <a:gd name="connsiteY24" fmla="*/ 30585 h 43567"/>
                <a:gd name="connsiteX25" fmla="*/ 42767 w 1546130"/>
                <a:gd name="connsiteY25" fmla="*/ 24806 h 43567"/>
                <a:gd name="connsiteX26" fmla="*/ 33134 w 1546130"/>
                <a:gd name="connsiteY26" fmla="*/ 9668 h 43567"/>
                <a:gd name="connsiteX27" fmla="*/ 23501 w 1546130"/>
                <a:gd name="connsiteY27" fmla="*/ 6365 h 43567"/>
                <a:gd name="connsiteX28" fmla="*/ 22951 w 1546130"/>
                <a:gd name="connsiteY28" fmla="*/ 5815 h 43567"/>
                <a:gd name="connsiteX29" fmla="*/ 1440377 w 1546130"/>
                <a:gd name="connsiteY29" fmla="*/ 380 h 43567"/>
                <a:gd name="connsiteX30" fmla="*/ 1453313 w 1546130"/>
                <a:gd name="connsiteY30" fmla="*/ 11940 h 43567"/>
                <a:gd name="connsiteX31" fmla="*/ 1470652 w 1546130"/>
                <a:gd name="connsiteY31" fmla="*/ 656 h 43567"/>
                <a:gd name="connsiteX32" fmla="*/ 1546130 w 1546130"/>
                <a:gd name="connsiteY32" fmla="*/ 656 h 43567"/>
                <a:gd name="connsiteX33" fmla="*/ 1546130 w 1546130"/>
                <a:gd name="connsiteY33" fmla="*/ 42765 h 43567"/>
                <a:gd name="connsiteX34" fmla="*/ 1509184 w 1546130"/>
                <a:gd name="connsiteY34" fmla="*/ 42765 h 43567"/>
                <a:gd name="connsiteX35" fmla="*/ 1500101 w 1546130"/>
                <a:gd name="connsiteY35" fmla="*/ 38637 h 43567"/>
                <a:gd name="connsiteX36" fmla="*/ 1492670 w 1546130"/>
                <a:gd name="connsiteY36" fmla="*/ 38086 h 43567"/>
                <a:gd name="connsiteX37" fmla="*/ 1473129 w 1546130"/>
                <a:gd name="connsiteY37" fmla="*/ 42765 h 43567"/>
                <a:gd name="connsiteX38" fmla="*/ 1288176 w 1546130"/>
                <a:gd name="connsiteY38" fmla="*/ 43040 h 43567"/>
                <a:gd name="connsiteX39" fmla="*/ 1274965 w 1546130"/>
                <a:gd name="connsiteY39" fmla="*/ 34233 h 43567"/>
                <a:gd name="connsiteX40" fmla="*/ 1285699 w 1546130"/>
                <a:gd name="connsiteY40" fmla="*/ 24876 h 43567"/>
                <a:gd name="connsiteX41" fmla="*/ 1304690 w 1546130"/>
                <a:gd name="connsiteY41" fmla="*/ 10013 h 43567"/>
                <a:gd name="connsiteX42" fmla="*/ 1322580 w 1546130"/>
                <a:gd name="connsiteY42" fmla="*/ 15793 h 43567"/>
                <a:gd name="connsiteX43" fmla="*/ 1328910 w 1546130"/>
                <a:gd name="connsiteY43" fmla="*/ 13316 h 43567"/>
                <a:gd name="connsiteX44" fmla="*/ 1353680 w 1546130"/>
                <a:gd name="connsiteY44" fmla="*/ 656 h 43567"/>
                <a:gd name="connsiteX45" fmla="*/ 1440377 w 1546130"/>
                <a:gd name="connsiteY45" fmla="*/ 380 h 43567"/>
                <a:gd name="connsiteX46" fmla="*/ 388728 w 1546130"/>
                <a:gd name="connsiteY46" fmla="*/ 310 h 43567"/>
                <a:gd name="connsiteX47" fmla="*/ 401664 w 1546130"/>
                <a:gd name="connsiteY47" fmla="*/ 11870 h 43567"/>
                <a:gd name="connsiteX48" fmla="*/ 419003 w 1546130"/>
                <a:gd name="connsiteY48" fmla="*/ 586 h 43567"/>
                <a:gd name="connsiteX49" fmla="*/ 566250 w 1546130"/>
                <a:gd name="connsiteY49" fmla="*/ 586 h 43567"/>
                <a:gd name="connsiteX50" fmla="*/ 580011 w 1546130"/>
                <a:gd name="connsiteY50" fmla="*/ 8017 h 43567"/>
                <a:gd name="connsiteX51" fmla="*/ 553314 w 1546130"/>
                <a:gd name="connsiteY51" fmla="*/ 20677 h 43567"/>
                <a:gd name="connsiteX52" fmla="*/ 560194 w 1546130"/>
                <a:gd name="connsiteY52" fmla="*/ 24531 h 43567"/>
                <a:gd name="connsiteX53" fmla="*/ 583864 w 1546130"/>
                <a:gd name="connsiteY53" fmla="*/ 28934 h 43567"/>
                <a:gd name="connsiteX54" fmla="*/ 588818 w 1546130"/>
                <a:gd name="connsiteY54" fmla="*/ 38842 h 43567"/>
                <a:gd name="connsiteX55" fmla="*/ 580836 w 1546130"/>
                <a:gd name="connsiteY55" fmla="*/ 42695 h 43567"/>
                <a:gd name="connsiteX56" fmla="*/ 457535 w 1546130"/>
                <a:gd name="connsiteY56" fmla="*/ 42695 h 43567"/>
                <a:gd name="connsiteX57" fmla="*/ 448452 w 1546130"/>
                <a:gd name="connsiteY57" fmla="*/ 38567 h 43567"/>
                <a:gd name="connsiteX58" fmla="*/ 441021 w 1546130"/>
                <a:gd name="connsiteY58" fmla="*/ 38016 h 43567"/>
                <a:gd name="connsiteX59" fmla="*/ 421480 w 1546130"/>
                <a:gd name="connsiteY59" fmla="*/ 42695 h 43567"/>
                <a:gd name="connsiteX60" fmla="*/ 236527 w 1546130"/>
                <a:gd name="connsiteY60" fmla="*/ 42970 h 43567"/>
                <a:gd name="connsiteX61" fmla="*/ 223316 w 1546130"/>
                <a:gd name="connsiteY61" fmla="*/ 34163 h 43567"/>
                <a:gd name="connsiteX62" fmla="*/ 234050 w 1546130"/>
                <a:gd name="connsiteY62" fmla="*/ 24806 h 43567"/>
                <a:gd name="connsiteX63" fmla="*/ 253041 w 1546130"/>
                <a:gd name="connsiteY63" fmla="*/ 9943 h 43567"/>
                <a:gd name="connsiteX64" fmla="*/ 270931 w 1546130"/>
                <a:gd name="connsiteY64" fmla="*/ 15723 h 43567"/>
                <a:gd name="connsiteX65" fmla="*/ 277261 w 1546130"/>
                <a:gd name="connsiteY65" fmla="*/ 13246 h 43567"/>
                <a:gd name="connsiteX66" fmla="*/ 302031 w 1546130"/>
                <a:gd name="connsiteY66" fmla="*/ 586 h 43567"/>
                <a:gd name="connsiteX67" fmla="*/ 388728 w 1546130"/>
                <a:gd name="connsiteY67" fmla="*/ 310 h 43567"/>
                <a:gd name="connsiteX68" fmla="*/ 1066309 w 1546130"/>
                <a:gd name="connsiteY68" fmla="*/ 71 h 43567"/>
                <a:gd name="connsiteX69" fmla="*/ 1080930 w 1546130"/>
                <a:gd name="connsiteY69" fmla="*/ 381 h 43567"/>
                <a:gd name="connsiteX70" fmla="*/ 1116710 w 1546130"/>
                <a:gd name="connsiteY70" fmla="*/ 381 h 43567"/>
                <a:gd name="connsiteX71" fmla="*/ 1196250 w 1546130"/>
                <a:gd name="connsiteY71" fmla="*/ 655 h 43567"/>
                <a:gd name="connsiteX72" fmla="*/ 1208911 w 1546130"/>
                <a:gd name="connsiteY72" fmla="*/ 8637 h 43567"/>
                <a:gd name="connsiteX73" fmla="*/ 1232580 w 1546130"/>
                <a:gd name="connsiteY73" fmla="*/ 2582 h 43567"/>
                <a:gd name="connsiteX74" fmla="*/ 1245516 w 1546130"/>
                <a:gd name="connsiteY74" fmla="*/ 931 h 43567"/>
                <a:gd name="connsiteX75" fmla="*/ 1265332 w 1546130"/>
                <a:gd name="connsiteY75" fmla="*/ 931 h 43567"/>
                <a:gd name="connsiteX76" fmla="*/ 1238360 w 1546130"/>
                <a:gd name="connsiteY76" fmla="*/ 33683 h 43567"/>
                <a:gd name="connsiteX77" fmla="*/ 1219369 w 1546130"/>
                <a:gd name="connsiteY77" fmla="*/ 43316 h 43567"/>
                <a:gd name="connsiteX78" fmla="*/ 1205333 w 1546130"/>
                <a:gd name="connsiteY78" fmla="*/ 25976 h 43567"/>
                <a:gd name="connsiteX79" fmla="*/ 1200104 w 1546130"/>
                <a:gd name="connsiteY79" fmla="*/ 29279 h 43567"/>
                <a:gd name="connsiteX80" fmla="*/ 1173682 w 1546130"/>
                <a:gd name="connsiteY80" fmla="*/ 43316 h 43567"/>
                <a:gd name="connsiteX81" fmla="*/ 1068584 w 1546130"/>
                <a:gd name="connsiteY81" fmla="*/ 43066 h 43567"/>
                <a:gd name="connsiteX82" fmla="*/ 1068814 w 1546130"/>
                <a:gd name="connsiteY82" fmla="*/ 43246 h 43567"/>
                <a:gd name="connsiteX83" fmla="*/ 1041842 w 1546130"/>
                <a:gd name="connsiteY83" fmla="*/ 43246 h 43567"/>
                <a:gd name="connsiteX84" fmla="*/ 837072 w 1546130"/>
                <a:gd name="connsiteY84" fmla="*/ 43246 h 43567"/>
                <a:gd name="connsiteX85" fmla="*/ 823862 w 1546130"/>
                <a:gd name="connsiteY85" fmla="*/ 41044 h 43567"/>
                <a:gd name="connsiteX86" fmla="*/ 815054 w 1546130"/>
                <a:gd name="connsiteY86" fmla="*/ 42145 h 43567"/>
                <a:gd name="connsiteX87" fmla="*/ 808449 w 1546130"/>
                <a:gd name="connsiteY87" fmla="*/ 43246 h 43567"/>
                <a:gd name="connsiteX88" fmla="*/ 768541 w 1546130"/>
                <a:gd name="connsiteY88" fmla="*/ 42420 h 43567"/>
                <a:gd name="connsiteX89" fmla="*/ 719000 w 1546130"/>
                <a:gd name="connsiteY89" fmla="*/ 42971 h 43567"/>
                <a:gd name="connsiteX90" fmla="*/ 615790 w 1546130"/>
                <a:gd name="connsiteY90" fmla="*/ 42696 h 43567"/>
                <a:gd name="connsiteX91" fmla="*/ 609185 w 1546130"/>
                <a:gd name="connsiteY91" fmla="*/ 33888 h 43567"/>
                <a:gd name="connsiteX92" fmla="*/ 595699 w 1546130"/>
                <a:gd name="connsiteY92" fmla="*/ 11045 h 43567"/>
                <a:gd name="connsiteX93" fmla="*/ 581662 w 1546130"/>
                <a:gd name="connsiteY93" fmla="*/ 586 h 43567"/>
                <a:gd name="connsiteX94" fmla="*/ 604781 w 1546130"/>
                <a:gd name="connsiteY94" fmla="*/ 586 h 43567"/>
                <a:gd name="connsiteX95" fmla="*/ 958448 w 1546130"/>
                <a:gd name="connsiteY95" fmla="*/ 586 h 43567"/>
                <a:gd name="connsiteX96" fmla="*/ 1003310 w 1546130"/>
                <a:gd name="connsiteY96" fmla="*/ 311 h 43567"/>
                <a:gd name="connsiteX97" fmla="*/ 1025603 w 1546130"/>
                <a:gd name="connsiteY97" fmla="*/ 6090 h 43567"/>
                <a:gd name="connsiteX98" fmla="*/ 1029181 w 1546130"/>
                <a:gd name="connsiteY98" fmla="*/ 3889 h 43567"/>
                <a:gd name="connsiteX99" fmla="*/ 1024778 w 1546130"/>
                <a:gd name="connsiteY99" fmla="*/ 1136 h 43567"/>
                <a:gd name="connsiteX100" fmla="*/ 1033310 w 1546130"/>
                <a:gd name="connsiteY100" fmla="*/ 1962 h 43567"/>
                <a:gd name="connsiteX101" fmla="*/ 1044044 w 1546130"/>
                <a:gd name="connsiteY101" fmla="*/ 3614 h 43567"/>
                <a:gd name="connsiteX102" fmla="*/ 1038814 w 1546130"/>
                <a:gd name="connsiteY102" fmla="*/ 12145 h 43567"/>
                <a:gd name="connsiteX103" fmla="*/ 1037163 w 1546130"/>
                <a:gd name="connsiteY103" fmla="*/ 16274 h 43567"/>
                <a:gd name="connsiteX104" fmla="*/ 1046383 w 1546130"/>
                <a:gd name="connsiteY104" fmla="*/ 25081 h 43567"/>
                <a:gd name="connsiteX105" fmla="*/ 1052857 w 1546130"/>
                <a:gd name="connsiteY105" fmla="*/ 30600 h 43567"/>
                <a:gd name="connsiteX106" fmla="*/ 1052857 w 1546130"/>
                <a:gd name="connsiteY106" fmla="*/ 30105 h 43567"/>
                <a:gd name="connsiteX107" fmla="*/ 1054783 w 1546130"/>
                <a:gd name="connsiteY107" fmla="*/ 2857 h 43567"/>
                <a:gd name="connsiteX108" fmla="*/ 1066309 w 1546130"/>
                <a:gd name="connsiteY108" fmla="*/ 71 h 43567"/>
                <a:gd name="connsiteX109" fmla="*/ 14660 w 1546130"/>
                <a:gd name="connsiteY109" fmla="*/ 1 h 43567"/>
                <a:gd name="connsiteX110" fmla="*/ 29281 w 1546130"/>
                <a:gd name="connsiteY110" fmla="*/ 311 h 43567"/>
                <a:gd name="connsiteX111" fmla="*/ 65061 w 1546130"/>
                <a:gd name="connsiteY111" fmla="*/ 311 h 43567"/>
                <a:gd name="connsiteX112" fmla="*/ 144601 w 1546130"/>
                <a:gd name="connsiteY112" fmla="*/ 585 h 43567"/>
                <a:gd name="connsiteX113" fmla="*/ 157262 w 1546130"/>
                <a:gd name="connsiteY113" fmla="*/ 8567 h 43567"/>
                <a:gd name="connsiteX114" fmla="*/ 180931 w 1546130"/>
                <a:gd name="connsiteY114" fmla="*/ 2512 h 43567"/>
                <a:gd name="connsiteX115" fmla="*/ 193867 w 1546130"/>
                <a:gd name="connsiteY115" fmla="*/ 861 h 43567"/>
                <a:gd name="connsiteX116" fmla="*/ 213683 w 1546130"/>
                <a:gd name="connsiteY116" fmla="*/ 861 h 43567"/>
                <a:gd name="connsiteX117" fmla="*/ 186711 w 1546130"/>
                <a:gd name="connsiteY117" fmla="*/ 33613 h 43567"/>
                <a:gd name="connsiteX118" fmla="*/ 167720 w 1546130"/>
                <a:gd name="connsiteY118" fmla="*/ 43246 h 43567"/>
                <a:gd name="connsiteX119" fmla="*/ 153684 w 1546130"/>
                <a:gd name="connsiteY119" fmla="*/ 25906 h 43567"/>
                <a:gd name="connsiteX120" fmla="*/ 148455 w 1546130"/>
                <a:gd name="connsiteY120" fmla="*/ 29209 h 43567"/>
                <a:gd name="connsiteX121" fmla="*/ 122033 w 1546130"/>
                <a:gd name="connsiteY121" fmla="*/ 43246 h 43567"/>
                <a:gd name="connsiteX122" fmla="*/ 6437 w 1546130"/>
                <a:gd name="connsiteY122" fmla="*/ 42971 h 43567"/>
                <a:gd name="connsiteX123" fmla="*/ 1208 w 1546130"/>
                <a:gd name="connsiteY123" fmla="*/ 39943 h 43567"/>
                <a:gd name="connsiteX124" fmla="*/ 1208 w 1546130"/>
                <a:gd name="connsiteY124" fmla="*/ 30035 h 43567"/>
                <a:gd name="connsiteX125" fmla="*/ 3134 w 1546130"/>
                <a:gd name="connsiteY125" fmla="*/ 2787 h 43567"/>
                <a:gd name="connsiteX126" fmla="*/ 14660 w 1546130"/>
                <a:gd name="connsiteY126" fmla="*/ 1 h 4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46130" h="43567">
                  <a:moveTo>
                    <a:pt x="934228" y="26457"/>
                  </a:moveTo>
                  <a:cubicBezTo>
                    <a:pt x="932026" y="26182"/>
                    <a:pt x="928448" y="28108"/>
                    <a:pt x="929274" y="30586"/>
                  </a:cubicBezTo>
                  <a:cubicBezTo>
                    <a:pt x="930650" y="35265"/>
                    <a:pt x="934778" y="38567"/>
                    <a:pt x="939182" y="40494"/>
                  </a:cubicBezTo>
                  <a:cubicBezTo>
                    <a:pt x="940834" y="41319"/>
                    <a:pt x="941659" y="38017"/>
                    <a:pt x="941935" y="35540"/>
                  </a:cubicBezTo>
                  <a:cubicBezTo>
                    <a:pt x="941109" y="31411"/>
                    <a:pt x="939733" y="27008"/>
                    <a:pt x="934228" y="26457"/>
                  </a:cubicBezTo>
                  <a:close/>
                  <a:moveTo>
                    <a:pt x="1074600" y="5885"/>
                  </a:moveTo>
                  <a:cubicBezTo>
                    <a:pt x="1074600" y="5885"/>
                    <a:pt x="1074325" y="6160"/>
                    <a:pt x="1074325" y="6160"/>
                  </a:cubicBezTo>
                  <a:cubicBezTo>
                    <a:pt x="1074325" y="6160"/>
                    <a:pt x="1074325" y="6435"/>
                    <a:pt x="1074325" y="6435"/>
                  </a:cubicBezTo>
                  <a:cubicBezTo>
                    <a:pt x="1074049" y="6435"/>
                    <a:pt x="1074049" y="6435"/>
                    <a:pt x="1074049" y="6435"/>
                  </a:cubicBezTo>
                  <a:cubicBezTo>
                    <a:pt x="1074049" y="6160"/>
                    <a:pt x="1074049" y="6160"/>
                    <a:pt x="1074049" y="6160"/>
                  </a:cubicBezTo>
                  <a:cubicBezTo>
                    <a:pt x="1074049" y="6160"/>
                    <a:pt x="1073774" y="6435"/>
                    <a:pt x="1073774" y="6435"/>
                  </a:cubicBezTo>
                  <a:cubicBezTo>
                    <a:pt x="1070196" y="14142"/>
                    <a:pt x="1077903" y="21298"/>
                    <a:pt x="1075976" y="29004"/>
                  </a:cubicBezTo>
                  <a:cubicBezTo>
                    <a:pt x="1075976" y="29554"/>
                    <a:pt x="1078453" y="30931"/>
                    <a:pt x="1078728" y="30655"/>
                  </a:cubicBezTo>
                  <a:cubicBezTo>
                    <a:pt x="1083407" y="26252"/>
                    <a:pt x="1093591" y="30931"/>
                    <a:pt x="1094416" y="24876"/>
                  </a:cubicBezTo>
                  <a:cubicBezTo>
                    <a:pt x="1094967" y="21573"/>
                    <a:pt x="1091939" y="12215"/>
                    <a:pt x="1084783" y="9738"/>
                  </a:cubicBezTo>
                  <a:cubicBezTo>
                    <a:pt x="1081481" y="8913"/>
                    <a:pt x="1078728" y="6160"/>
                    <a:pt x="1075150" y="6435"/>
                  </a:cubicBezTo>
                  <a:cubicBezTo>
                    <a:pt x="1074875" y="6160"/>
                    <a:pt x="1074600" y="6160"/>
                    <a:pt x="1074600" y="5885"/>
                  </a:cubicBezTo>
                  <a:close/>
                  <a:moveTo>
                    <a:pt x="22951" y="5815"/>
                  </a:moveTo>
                  <a:cubicBezTo>
                    <a:pt x="22951" y="5815"/>
                    <a:pt x="22676" y="6090"/>
                    <a:pt x="22676" y="6090"/>
                  </a:cubicBezTo>
                  <a:cubicBezTo>
                    <a:pt x="22676" y="6090"/>
                    <a:pt x="22676" y="6365"/>
                    <a:pt x="22676" y="6365"/>
                  </a:cubicBezTo>
                  <a:cubicBezTo>
                    <a:pt x="22400" y="6365"/>
                    <a:pt x="22400" y="6365"/>
                    <a:pt x="22400" y="6365"/>
                  </a:cubicBezTo>
                  <a:cubicBezTo>
                    <a:pt x="22400" y="6090"/>
                    <a:pt x="22400" y="6090"/>
                    <a:pt x="22400" y="6090"/>
                  </a:cubicBezTo>
                  <a:cubicBezTo>
                    <a:pt x="22400" y="6090"/>
                    <a:pt x="22125" y="6365"/>
                    <a:pt x="22125" y="6365"/>
                  </a:cubicBezTo>
                  <a:cubicBezTo>
                    <a:pt x="18547" y="14072"/>
                    <a:pt x="26254" y="21228"/>
                    <a:pt x="24327" y="28934"/>
                  </a:cubicBezTo>
                  <a:cubicBezTo>
                    <a:pt x="24327" y="29484"/>
                    <a:pt x="26804" y="30861"/>
                    <a:pt x="27079" y="30585"/>
                  </a:cubicBezTo>
                  <a:cubicBezTo>
                    <a:pt x="31758" y="26182"/>
                    <a:pt x="41942" y="30861"/>
                    <a:pt x="42767" y="24806"/>
                  </a:cubicBezTo>
                  <a:cubicBezTo>
                    <a:pt x="43318" y="21503"/>
                    <a:pt x="40290" y="12145"/>
                    <a:pt x="33134" y="9668"/>
                  </a:cubicBezTo>
                  <a:cubicBezTo>
                    <a:pt x="29832" y="8843"/>
                    <a:pt x="27079" y="6090"/>
                    <a:pt x="23501" y="6365"/>
                  </a:cubicBezTo>
                  <a:cubicBezTo>
                    <a:pt x="23226" y="6090"/>
                    <a:pt x="22951" y="6090"/>
                    <a:pt x="22951" y="5815"/>
                  </a:cubicBezTo>
                  <a:close/>
                  <a:moveTo>
                    <a:pt x="1440377" y="380"/>
                  </a:moveTo>
                  <a:cubicBezTo>
                    <a:pt x="1447808" y="380"/>
                    <a:pt x="1453863" y="105"/>
                    <a:pt x="1453313" y="11940"/>
                  </a:cubicBezTo>
                  <a:cubicBezTo>
                    <a:pt x="1454689" y="-1271"/>
                    <a:pt x="1463221" y="656"/>
                    <a:pt x="1470652" y="656"/>
                  </a:cubicBezTo>
                  <a:lnTo>
                    <a:pt x="1546130" y="656"/>
                  </a:lnTo>
                  <a:lnTo>
                    <a:pt x="1546130" y="42765"/>
                  </a:lnTo>
                  <a:lnTo>
                    <a:pt x="1509184" y="42765"/>
                  </a:lnTo>
                  <a:cubicBezTo>
                    <a:pt x="1505606" y="42765"/>
                    <a:pt x="1502027" y="43591"/>
                    <a:pt x="1500101" y="38637"/>
                  </a:cubicBezTo>
                  <a:cubicBezTo>
                    <a:pt x="1498725" y="35059"/>
                    <a:pt x="1494321" y="35885"/>
                    <a:pt x="1492670" y="38086"/>
                  </a:cubicBezTo>
                  <a:cubicBezTo>
                    <a:pt x="1487166" y="44692"/>
                    <a:pt x="1480009" y="42765"/>
                    <a:pt x="1473129" y="42765"/>
                  </a:cubicBezTo>
                  <a:cubicBezTo>
                    <a:pt x="1411478" y="43040"/>
                    <a:pt x="1349827" y="42765"/>
                    <a:pt x="1288176" y="43040"/>
                  </a:cubicBezTo>
                  <a:cubicBezTo>
                    <a:pt x="1281295" y="43040"/>
                    <a:pt x="1275516" y="42215"/>
                    <a:pt x="1274965" y="34233"/>
                  </a:cubicBezTo>
                  <a:cubicBezTo>
                    <a:pt x="1274415" y="26527"/>
                    <a:pt x="1281021" y="27353"/>
                    <a:pt x="1285699" y="24876"/>
                  </a:cubicBezTo>
                  <a:cubicBezTo>
                    <a:pt x="1292580" y="21022"/>
                    <a:pt x="1306892" y="27353"/>
                    <a:pt x="1304690" y="10013"/>
                  </a:cubicBezTo>
                  <a:cubicBezTo>
                    <a:pt x="1311020" y="13316"/>
                    <a:pt x="1316249" y="16069"/>
                    <a:pt x="1322580" y="15793"/>
                  </a:cubicBezTo>
                  <a:cubicBezTo>
                    <a:pt x="1325332" y="15793"/>
                    <a:pt x="1328359" y="15518"/>
                    <a:pt x="1328910" y="13316"/>
                  </a:cubicBezTo>
                  <a:cubicBezTo>
                    <a:pt x="1331937" y="-1271"/>
                    <a:pt x="1343772" y="931"/>
                    <a:pt x="1353680" y="656"/>
                  </a:cubicBezTo>
                  <a:cubicBezTo>
                    <a:pt x="1382579" y="380"/>
                    <a:pt x="1411478" y="656"/>
                    <a:pt x="1440377" y="380"/>
                  </a:cubicBezTo>
                  <a:close/>
                  <a:moveTo>
                    <a:pt x="388728" y="310"/>
                  </a:moveTo>
                  <a:cubicBezTo>
                    <a:pt x="396159" y="310"/>
                    <a:pt x="402214" y="35"/>
                    <a:pt x="401664" y="11870"/>
                  </a:cubicBezTo>
                  <a:cubicBezTo>
                    <a:pt x="403040" y="-1341"/>
                    <a:pt x="411572" y="586"/>
                    <a:pt x="419003" y="586"/>
                  </a:cubicBezTo>
                  <a:cubicBezTo>
                    <a:pt x="468268" y="586"/>
                    <a:pt x="517259" y="586"/>
                    <a:pt x="566250" y="586"/>
                  </a:cubicBezTo>
                  <a:cubicBezTo>
                    <a:pt x="572029" y="310"/>
                    <a:pt x="578084" y="-515"/>
                    <a:pt x="580011" y="8017"/>
                  </a:cubicBezTo>
                  <a:cubicBezTo>
                    <a:pt x="572029" y="3338"/>
                    <a:pt x="553589" y="12421"/>
                    <a:pt x="553314" y="20677"/>
                  </a:cubicBezTo>
                  <a:cubicBezTo>
                    <a:pt x="553039" y="25356"/>
                    <a:pt x="556892" y="26457"/>
                    <a:pt x="560194" y="24531"/>
                  </a:cubicBezTo>
                  <a:cubicBezTo>
                    <a:pt x="569552" y="19576"/>
                    <a:pt x="575882" y="28108"/>
                    <a:pt x="583864" y="28934"/>
                  </a:cubicBezTo>
                  <a:cubicBezTo>
                    <a:pt x="587717" y="29484"/>
                    <a:pt x="589919" y="34989"/>
                    <a:pt x="588818" y="38842"/>
                  </a:cubicBezTo>
                  <a:cubicBezTo>
                    <a:pt x="588268" y="43245"/>
                    <a:pt x="584139" y="42695"/>
                    <a:pt x="580836" y="42695"/>
                  </a:cubicBezTo>
                  <a:cubicBezTo>
                    <a:pt x="539827" y="42695"/>
                    <a:pt x="498543" y="42695"/>
                    <a:pt x="457535" y="42695"/>
                  </a:cubicBezTo>
                  <a:cubicBezTo>
                    <a:pt x="453957" y="42695"/>
                    <a:pt x="450378" y="43521"/>
                    <a:pt x="448452" y="38567"/>
                  </a:cubicBezTo>
                  <a:cubicBezTo>
                    <a:pt x="447076" y="34989"/>
                    <a:pt x="442672" y="35815"/>
                    <a:pt x="441021" y="38016"/>
                  </a:cubicBezTo>
                  <a:cubicBezTo>
                    <a:pt x="435517" y="44622"/>
                    <a:pt x="428360" y="42695"/>
                    <a:pt x="421480" y="42695"/>
                  </a:cubicBezTo>
                  <a:cubicBezTo>
                    <a:pt x="359829" y="42970"/>
                    <a:pt x="298178" y="42695"/>
                    <a:pt x="236527" y="42970"/>
                  </a:cubicBezTo>
                  <a:cubicBezTo>
                    <a:pt x="229646" y="42970"/>
                    <a:pt x="223867" y="42145"/>
                    <a:pt x="223316" y="34163"/>
                  </a:cubicBezTo>
                  <a:cubicBezTo>
                    <a:pt x="222766" y="26457"/>
                    <a:pt x="229372" y="27283"/>
                    <a:pt x="234050" y="24806"/>
                  </a:cubicBezTo>
                  <a:cubicBezTo>
                    <a:pt x="240931" y="20952"/>
                    <a:pt x="255243" y="27283"/>
                    <a:pt x="253041" y="9943"/>
                  </a:cubicBezTo>
                  <a:cubicBezTo>
                    <a:pt x="259371" y="13246"/>
                    <a:pt x="264600" y="15999"/>
                    <a:pt x="270931" y="15723"/>
                  </a:cubicBezTo>
                  <a:cubicBezTo>
                    <a:pt x="273683" y="15723"/>
                    <a:pt x="276710" y="15448"/>
                    <a:pt x="277261" y="13246"/>
                  </a:cubicBezTo>
                  <a:cubicBezTo>
                    <a:pt x="280288" y="-1341"/>
                    <a:pt x="292123" y="861"/>
                    <a:pt x="302031" y="586"/>
                  </a:cubicBezTo>
                  <a:cubicBezTo>
                    <a:pt x="330930" y="310"/>
                    <a:pt x="359829" y="586"/>
                    <a:pt x="388728" y="310"/>
                  </a:cubicBezTo>
                  <a:close/>
                  <a:moveTo>
                    <a:pt x="1066309" y="71"/>
                  </a:moveTo>
                  <a:cubicBezTo>
                    <a:pt x="1071091" y="105"/>
                    <a:pt x="1076389" y="656"/>
                    <a:pt x="1080930" y="381"/>
                  </a:cubicBezTo>
                  <a:cubicBezTo>
                    <a:pt x="1092765" y="381"/>
                    <a:pt x="1104875" y="381"/>
                    <a:pt x="1116710" y="381"/>
                  </a:cubicBezTo>
                  <a:cubicBezTo>
                    <a:pt x="1143132" y="381"/>
                    <a:pt x="1169828" y="655"/>
                    <a:pt x="1196250" y="655"/>
                  </a:cubicBezTo>
                  <a:cubicBezTo>
                    <a:pt x="1202306" y="655"/>
                    <a:pt x="1208085" y="655"/>
                    <a:pt x="1208911" y="8637"/>
                  </a:cubicBezTo>
                  <a:cubicBezTo>
                    <a:pt x="1217993" y="11114"/>
                    <a:pt x="1226800" y="14967"/>
                    <a:pt x="1232580" y="2582"/>
                  </a:cubicBezTo>
                  <a:cubicBezTo>
                    <a:pt x="1234782" y="-1822"/>
                    <a:pt x="1241112" y="1206"/>
                    <a:pt x="1245516" y="931"/>
                  </a:cubicBezTo>
                  <a:cubicBezTo>
                    <a:pt x="1251571" y="381"/>
                    <a:pt x="1257901" y="655"/>
                    <a:pt x="1265332" y="931"/>
                  </a:cubicBezTo>
                  <a:cubicBezTo>
                    <a:pt x="1254874" y="11665"/>
                    <a:pt x="1245241" y="22399"/>
                    <a:pt x="1238360" y="33683"/>
                  </a:cubicBezTo>
                  <a:cubicBezTo>
                    <a:pt x="1232580" y="43316"/>
                    <a:pt x="1227351" y="43866"/>
                    <a:pt x="1219369" y="43316"/>
                  </a:cubicBezTo>
                  <a:cubicBezTo>
                    <a:pt x="1212214" y="42765"/>
                    <a:pt x="1204507" y="33133"/>
                    <a:pt x="1205333" y="25976"/>
                  </a:cubicBezTo>
                  <a:cubicBezTo>
                    <a:pt x="1203406" y="27077"/>
                    <a:pt x="1200379" y="27903"/>
                    <a:pt x="1200104" y="29279"/>
                  </a:cubicBezTo>
                  <a:cubicBezTo>
                    <a:pt x="1197902" y="46618"/>
                    <a:pt x="1184691" y="43316"/>
                    <a:pt x="1173682" y="43316"/>
                  </a:cubicBezTo>
                  <a:lnTo>
                    <a:pt x="1068584" y="43066"/>
                  </a:lnTo>
                  <a:lnTo>
                    <a:pt x="1068814" y="43246"/>
                  </a:lnTo>
                  <a:cubicBezTo>
                    <a:pt x="1058080" y="43246"/>
                    <a:pt x="1050099" y="43246"/>
                    <a:pt x="1041842" y="43246"/>
                  </a:cubicBezTo>
                  <a:cubicBezTo>
                    <a:pt x="973586" y="43246"/>
                    <a:pt x="905329" y="43246"/>
                    <a:pt x="837072" y="43246"/>
                  </a:cubicBezTo>
                  <a:cubicBezTo>
                    <a:pt x="832669" y="43246"/>
                    <a:pt x="827990" y="44622"/>
                    <a:pt x="823862" y="41044"/>
                  </a:cubicBezTo>
                  <a:cubicBezTo>
                    <a:pt x="821935" y="39393"/>
                    <a:pt x="816155" y="26182"/>
                    <a:pt x="815054" y="42145"/>
                  </a:cubicBezTo>
                  <a:cubicBezTo>
                    <a:pt x="815054" y="42696"/>
                    <a:pt x="810651" y="43246"/>
                    <a:pt x="808449" y="43246"/>
                  </a:cubicBezTo>
                  <a:cubicBezTo>
                    <a:pt x="795238" y="42971"/>
                    <a:pt x="781752" y="42420"/>
                    <a:pt x="768541" y="42420"/>
                  </a:cubicBezTo>
                  <a:cubicBezTo>
                    <a:pt x="752028" y="42420"/>
                    <a:pt x="735514" y="42971"/>
                    <a:pt x="719000" y="42971"/>
                  </a:cubicBezTo>
                  <a:cubicBezTo>
                    <a:pt x="684597" y="42971"/>
                    <a:pt x="650194" y="42971"/>
                    <a:pt x="615790" y="42696"/>
                  </a:cubicBezTo>
                  <a:cubicBezTo>
                    <a:pt x="609735" y="42696"/>
                    <a:pt x="600928" y="44897"/>
                    <a:pt x="609185" y="33888"/>
                  </a:cubicBezTo>
                  <a:cubicBezTo>
                    <a:pt x="600653" y="28934"/>
                    <a:pt x="613588" y="11595"/>
                    <a:pt x="595699" y="11045"/>
                  </a:cubicBezTo>
                  <a:cubicBezTo>
                    <a:pt x="591570" y="10769"/>
                    <a:pt x="585240" y="7191"/>
                    <a:pt x="581662" y="586"/>
                  </a:cubicBezTo>
                  <a:cubicBezTo>
                    <a:pt x="589919" y="586"/>
                    <a:pt x="597350" y="586"/>
                    <a:pt x="604781" y="586"/>
                  </a:cubicBezTo>
                  <a:cubicBezTo>
                    <a:pt x="722853" y="586"/>
                    <a:pt x="840651" y="311"/>
                    <a:pt x="958448" y="586"/>
                  </a:cubicBezTo>
                  <a:cubicBezTo>
                    <a:pt x="973310" y="586"/>
                    <a:pt x="988448" y="2513"/>
                    <a:pt x="1003310" y="311"/>
                  </a:cubicBezTo>
                  <a:cubicBezTo>
                    <a:pt x="1011842" y="-791"/>
                    <a:pt x="1017897" y="4714"/>
                    <a:pt x="1025603" y="6090"/>
                  </a:cubicBezTo>
                  <a:cubicBezTo>
                    <a:pt x="1028080" y="6641"/>
                    <a:pt x="1029456" y="6366"/>
                    <a:pt x="1029181" y="3889"/>
                  </a:cubicBezTo>
                  <a:cubicBezTo>
                    <a:pt x="1028906" y="3338"/>
                    <a:pt x="1026154" y="3063"/>
                    <a:pt x="1024778" y="1136"/>
                  </a:cubicBezTo>
                  <a:cubicBezTo>
                    <a:pt x="1027530" y="1412"/>
                    <a:pt x="1030557" y="1136"/>
                    <a:pt x="1033310" y="1962"/>
                  </a:cubicBezTo>
                  <a:cubicBezTo>
                    <a:pt x="1036888" y="3063"/>
                    <a:pt x="1041567" y="-2442"/>
                    <a:pt x="1044044" y="3614"/>
                  </a:cubicBezTo>
                  <a:cubicBezTo>
                    <a:pt x="1046245" y="8843"/>
                    <a:pt x="1041016" y="9668"/>
                    <a:pt x="1038814" y="12145"/>
                  </a:cubicBezTo>
                  <a:cubicBezTo>
                    <a:pt x="1037989" y="13246"/>
                    <a:pt x="1037163" y="16274"/>
                    <a:pt x="1037163" y="16274"/>
                  </a:cubicBezTo>
                  <a:cubicBezTo>
                    <a:pt x="1040879" y="18201"/>
                    <a:pt x="1043700" y="21779"/>
                    <a:pt x="1046383" y="25081"/>
                  </a:cubicBezTo>
                  <a:lnTo>
                    <a:pt x="1052857" y="30600"/>
                  </a:lnTo>
                  <a:lnTo>
                    <a:pt x="1052857" y="30105"/>
                  </a:lnTo>
                  <a:cubicBezTo>
                    <a:pt x="1053407" y="20747"/>
                    <a:pt x="1048729" y="8362"/>
                    <a:pt x="1054783" y="2857"/>
                  </a:cubicBezTo>
                  <a:cubicBezTo>
                    <a:pt x="1057261" y="518"/>
                    <a:pt x="1061527" y="36"/>
                    <a:pt x="1066309" y="71"/>
                  </a:cubicBezTo>
                  <a:close/>
                  <a:moveTo>
                    <a:pt x="14660" y="1"/>
                  </a:moveTo>
                  <a:cubicBezTo>
                    <a:pt x="19442" y="35"/>
                    <a:pt x="24740" y="586"/>
                    <a:pt x="29281" y="311"/>
                  </a:cubicBezTo>
                  <a:cubicBezTo>
                    <a:pt x="41116" y="311"/>
                    <a:pt x="53226" y="311"/>
                    <a:pt x="65061" y="311"/>
                  </a:cubicBezTo>
                  <a:cubicBezTo>
                    <a:pt x="91483" y="311"/>
                    <a:pt x="118179" y="585"/>
                    <a:pt x="144601" y="585"/>
                  </a:cubicBezTo>
                  <a:cubicBezTo>
                    <a:pt x="150657" y="585"/>
                    <a:pt x="156436" y="585"/>
                    <a:pt x="157262" y="8567"/>
                  </a:cubicBezTo>
                  <a:cubicBezTo>
                    <a:pt x="166344" y="11044"/>
                    <a:pt x="175151" y="14897"/>
                    <a:pt x="180931" y="2512"/>
                  </a:cubicBezTo>
                  <a:cubicBezTo>
                    <a:pt x="183133" y="-1892"/>
                    <a:pt x="189463" y="1136"/>
                    <a:pt x="193867" y="861"/>
                  </a:cubicBezTo>
                  <a:cubicBezTo>
                    <a:pt x="199922" y="311"/>
                    <a:pt x="206252" y="585"/>
                    <a:pt x="213683" y="861"/>
                  </a:cubicBezTo>
                  <a:cubicBezTo>
                    <a:pt x="203225" y="11595"/>
                    <a:pt x="193592" y="22329"/>
                    <a:pt x="186711" y="33613"/>
                  </a:cubicBezTo>
                  <a:cubicBezTo>
                    <a:pt x="180931" y="43246"/>
                    <a:pt x="175702" y="43796"/>
                    <a:pt x="167720" y="43246"/>
                  </a:cubicBezTo>
                  <a:cubicBezTo>
                    <a:pt x="160565" y="42695"/>
                    <a:pt x="152858" y="33063"/>
                    <a:pt x="153684" y="25906"/>
                  </a:cubicBezTo>
                  <a:cubicBezTo>
                    <a:pt x="151757" y="27007"/>
                    <a:pt x="148730" y="27833"/>
                    <a:pt x="148455" y="29209"/>
                  </a:cubicBezTo>
                  <a:cubicBezTo>
                    <a:pt x="146253" y="46548"/>
                    <a:pt x="133042" y="43246"/>
                    <a:pt x="122033" y="43246"/>
                  </a:cubicBezTo>
                  <a:cubicBezTo>
                    <a:pt x="83501" y="43246"/>
                    <a:pt x="44969" y="42971"/>
                    <a:pt x="6437" y="42971"/>
                  </a:cubicBezTo>
                  <a:cubicBezTo>
                    <a:pt x="3685" y="43521"/>
                    <a:pt x="1483" y="43246"/>
                    <a:pt x="1208" y="39943"/>
                  </a:cubicBezTo>
                  <a:cubicBezTo>
                    <a:pt x="1208" y="36640"/>
                    <a:pt x="933" y="33338"/>
                    <a:pt x="1208" y="30035"/>
                  </a:cubicBezTo>
                  <a:cubicBezTo>
                    <a:pt x="1758" y="20677"/>
                    <a:pt x="-2920" y="8292"/>
                    <a:pt x="3134" y="2787"/>
                  </a:cubicBezTo>
                  <a:cubicBezTo>
                    <a:pt x="5612" y="448"/>
                    <a:pt x="9878" y="-34"/>
                    <a:pt x="14660" y="1"/>
                  </a:cubicBezTo>
                  <a:close/>
                </a:path>
              </a:pathLst>
            </a:custGeom>
            <a:solidFill>
              <a:schemeClr val="accent3"/>
            </a:solidFill>
            <a:ln w="74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68870CF9-C1A3-43D0-9D9B-9B2BC328EB26}"/>
                </a:ext>
              </a:extLst>
            </p:cNvPr>
            <p:cNvGrpSpPr/>
            <p:nvPr/>
          </p:nvGrpSpPr>
          <p:grpSpPr>
            <a:xfrm rot="5400000">
              <a:off x="-2037637" y="3578070"/>
              <a:ext cx="4937760" cy="90960"/>
              <a:chOff x="2923579" y="529887"/>
              <a:chExt cx="6387472" cy="90960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xmlns="" id="{63D57F73-73EE-49FE-A41D-3A07CEF54445}"/>
                  </a:ext>
                </a:extLst>
              </p:cNvPr>
              <p:cNvSpPr/>
              <p:nvPr/>
            </p:nvSpPr>
            <p:spPr>
              <a:xfrm>
                <a:off x="2923579" y="529887"/>
                <a:ext cx="3121205" cy="87950"/>
              </a:xfrm>
              <a:custGeom>
                <a:avLst/>
                <a:gdLst>
                  <a:gd name="connsiteX0" fmla="*/ 934228 w 1546130"/>
                  <a:gd name="connsiteY0" fmla="*/ 26457 h 43567"/>
                  <a:gd name="connsiteX1" fmla="*/ 929274 w 1546130"/>
                  <a:gd name="connsiteY1" fmla="*/ 30586 h 43567"/>
                  <a:gd name="connsiteX2" fmla="*/ 939182 w 1546130"/>
                  <a:gd name="connsiteY2" fmla="*/ 40494 h 43567"/>
                  <a:gd name="connsiteX3" fmla="*/ 941935 w 1546130"/>
                  <a:gd name="connsiteY3" fmla="*/ 35540 h 43567"/>
                  <a:gd name="connsiteX4" fmla="*/ 934228 w 1546130"/>
                  <a:gd name="connsiteY4" fmla="*/ 26457 h 43567"/>
                  <a:gd name="connsiteX5" fmla="*/ 1074600 w 1546130"/>
                  <a:gd name="connsiteY5" fmla="*/ 5885 h 43567"/>
                  <a:gd name="connsiteX6" fmla="*/ 1074325 w 1546130"/>
                  <a:gd name="connsiteY6" fmla="*/ 6160 h 43567"/>
                  <a:gd name="connsiteX7" fmla="*/ 1074325 w 1546130"/>
                  <a:gd name="connsiteY7" fmla="*/ 6435 h 43567"/>
                  <a:gd name="connsiteX8" fmla="*/ 1074049 w 1546130"/>
                  <a:gd name="connsiteY8" fmla="*/ 6435 h 43567"/>
                  <a:gd name="connsiteX9" fmla="*/ 1074049 w 1546130"/>
                  <a:gd name="connsiteY9" fmla="*/ 6160 h 43567"/>
                  <a:gd name="connsiteX10" fmla="*/ 1073774 w 1546130"/>
                  <a:gd name="connsiteY10" fmla="*/ 6435 h 43567"/>
                  <a:gd name="connsiteX11" fmla="*/ 1075976 w 1546130"/>
                  <a:gd name="connsiteY11" fmla="*/ 29004 h 43567"/>
                  <a:gd name="connsiteX12" fmla="*/ 1078728 w 1546130"/>
                  <a:gd name="connsiteY12" fmla="*/ 30655 h 43567"/>
                  <a:gd name="connsiteX13" fmla="*/ 1094416 w 1546130"/>
                  <a:gd name="connsiteY13" fmla="*/ 24876 h 43567"/>
                  <a:gd name="connsiteX14" fmla="*/ 1084783 w 1546130"/>
                  <a:gd name="connsiteY14" fmla="*/ 9738 h 43567"/>
                  <a:gd name="connsiteX15" fmla="*/ 1075150 w 1546130"/>
                  <a:gd name="connsiteY15" fmla="*/ 6435 h 43567"/>
                  <a:gd name="connsiteX16" fmla="*/ 1074600 w 1546130"/>
                  <a:gd name="connsiteY16" fmla="*/ 5885 h 43567"/>
                  <a:gd name="connsiteX17" fmla="*/ 22951 w 1546130"/>
                  <a:gd name="connsiteY17" fmla="*/ 5815 h 43567"/>
                  <a:gd name="connsiteX18" fmla="*/ 22676 w 1546130"/>
                  <a:gd name="connsiteY18" fmla="*/ 6090 h 43567"/>
                  <a:gd name="connsiteX19" fmla="*/ 22676 w 1546130"/>
                  <a:gd name="connsiteY19" fmla="*/ 6365 h 43567"/>
                  <a:gd name="connsiteX20" fmla="*/ 22400 w 1546130"/>
                  <a:gd name="connsiteY20" fmla="*/ 6365 h 43567"/>
                  <a:gd name="connsiteX21" fmla="*/ 22400 w 1546130"/>
                  <a:gd name="connsiteY21" fmla="*/ 6090 h 43567"/>
                  <a:gd name="connsiteX22" fmla="*/ 22125 w 1546130"/>
                  <a:gd name="connsiteY22" fmla="*/ 6365 h 43567"/>
                  <a:gd name="connsiteX23" fmla="*/ 24327 w 1546130"/>
                  <a:gd name="connsiteY23" fmla="*/ 28934 h 43567"/>
                  <a:gd name="connsiteX24" fmla="*/ 27079 w 1546130"/>
                  <a:gd name="connsiteY24" fmla="*/ 30585 h 43567"/>
                  <a:gd name="connsiteX25" fmla="*/ 42767 w 1546130"/>
                  <a:gd name="connsiteY25" fmla="*/ 24806 h 43567"/>
                  <a:gd name="connsiteX26" fmla="*/ 33134 w 1546130"/>
                  <a:gd name="connsiteY26" fmla="*/ 9668 h 43567"/>
                  <a:gd name="connsiteX27" fmla="*/ 23501 w 1546130"/>
                  <a:gd name="connsiteY27" fmla="*/ 6365 h 43567"/>
                  <a:gd name="connsiteX28" fmla="*/ 22951 w 1546130"/>
                  <a:gd name="connsiteY28" fmla="*/ 5815 h 43567"/>
                  <a:gd name="connsiteX29" fmla="*/ 1440377 w 1546130"/>
                  <a:gd name="connsiteY29" fmla="*/ 380 h 43567"/>
                  <a:gd name="connsiteX30" fmla="*/ 1453313 w 1546130"/>
                  <a:gd name="connsiteY30" fmla="*/ 11940 h 43567"/>
                  <a:gd name="connsiteX31" fmla="*/ 1470652 w 1546130"/>
                  <a:gd name="connsiteY31" fmla="*/ 656 h 43567"/>
                  <a:gd name="connsiteX32" fmla="*/ 1546130 w 1546130"/>
                  <a:gd name="connsiteY32" fmla="*/ 656 h 43567"/>
                  <a:gd name="connsiteX33" fmla="*/ 1546130 w 1546130"/>
                  <a:gd name="connsiteY33" fmla="*/ 42765 h 43567"/>
                  <a:gd name="connsiteX34" fmla="*/ 1509184 w 1546130"/>
                  <a:gd name="connsiteY34" fmla="*/ 42765 h 43567"/>
                  <a:gd name="connsiteX35" fmla="*/ 1500101 w 1546130"/>
                  <a:gd name="connsiteY35" fmla="*/ 38637 h 43567"/>
                  <a:gd name="connsiteX36" fmla="*/ 1492670 w 1546130"/>
                  <a:gd name="connsiteY36" fmla="*/ 38086 h 43567"/>
                  <a:gd name="connsiteX37" fmla="*/ 1473129 w 1546130"/>
                  <a:gd name="connsiteY37" fmla="*/ 42765 h 43567"/>
                  <a:gd name="connsiteX38" fmla="*/ 1288176 w 1546130"/>
                  <a:gd name="connsiteY38" fmla="*/ 43040 h 43567"/>
                  <a:gd name="connsiteX39" fmla="*/ 1274965 w 1546130"/>
                  <a:gd name="connsiteY39" fmla="*/ 34233 h 43567"/>
                  <a:gd name="connsiteX40" fmla="*/ 1285699 w 1546130"/>
                  <a:gd name="connsiteY40" fmla="*/ 24876 h 43567"/>
                  <a:gd name="connsiteX41" fmla="*/ 1304690 w 1546130"/>
                  <a:gd name="connsiteY41" fmla="*/ 10013 h 43567"/>
                  <a:gd name="connsiteX42" fmla="*/ 1322580 w 1546130"/>
                  <a:gd name="connsiteY42" fmla="*/ 15793 h 43567"/>
                  <a:gd name="connsiteX43" fmla="*/ 1328910 w 1546130"/>
                  <a:gd name="connsiteY43" fmla="*/ 13316 h 43567"/>
                  <a:gd name="connsiteX44" fmla="*/ 1353680 w 1546130"/>
                  <a:gd name="connsiteY44" fmla="*/ 656 h 43567"/>
                  <a:gd name="connsiteX45" fmla="*/ 1440377 w 1546130"/>
                  <a:gd name="connsiteY45" fmla="*/ 380 h 43567"/>
                  <a:gd name="connsiteX46" fmla="*/ 388728 w 1546130"/>
                  <a:gd name="connsiteY46" fmla="*/ 310 h 43567"/>
                  <a:gd name="connsiteX47" fmla="*/ 401664 w 1546130"/>
                  <a:gd name="connsiteY47" fmla="*/ 11870 h 43567"/>
                  <a:gd name="connsiteX48" fmla="*/ 419003 w 1546130"/>
                  <a:gd name="connsiteY48" fmla="*/ 586 h 43567"/>
                  <a:gd name="connsiteX49" fmla="*/ 566250 w 1546130"/>
                  <a:gd name="connsiteY49" fmla="*/ 586 h 43567"/>
                  <a:gd name="connsiteX50" fmla="*/ 580011 w 1546130"/>
                  <a:gd name="connsiteY50" fmla="*/ 8017 h 43567"/>
                  <a:gd name="connsiteX51" fmla="*/ 553314 w 1546130"/>
                  <a:gd name="connsiteY51" fmla="*/ 20677 h 43567"/>
                  <a:gd name="connsiteX52" fmla="*/ 560194 w 1546130"/>
                  <a:gd name="connsiteY52" fmla="*/ 24531 h 43567"/>
                  <a:gd name="connsiteX53" fmla="*/ 583864 w 1546130"/>
                  <a:gd name="connsiteY53" fmla="*/ 28934 h 43567"/>
                  <a:gd name="connsiteX54" fmla="*/ 588818 w 1546130"/>
                  <a:gd name="connsiteY54" fmla="*/ 38842 h 43567"/>
                  <a:gd name="connsiteX55" fmla="*/ 580836 w 1546130"/>
                  <a:gd name="connsiteY55" fmla="*/ 42695 h 43567"/>
                  <a:gd name="connsiteX56" fmla="*/ 457535 w 1546130"/>
                  <a:gd name="connsiteY56" fmla="*/ 42695 h 43567"/>
                  <a:gd name="connsiteX57" fmla="*/ 448452 w 1546130"/>
                  <a:gd name="connsiteY57" fmla="*/ 38567 h 43567"/>
                  <a:gd name="connsiteX58" fmla="*/ 441021 w 1546130"/>
                  <a:gd name="connsiteY58" fmla="*/ 38016 h 43567"/>
                  <a:gd name="connsiteX59" fmla="*/ 421480 w 1546130"/>
                  <a:gd name="connsiteY59" fmla="*/ 42695 h 43567"/>
                  <a:gd name="connsiteX60" fmla="*/ 236527 w 1546130"/>
                  <a:gd name="connsiteY60" fmla="*/ 42970 h 43567"/>
                  <a:gd name="connsiteX61" fmla="*/ 223316 w 1546130"/>
                  <a:gd name="connsiteY61" fmla="*/ 34163 h 43567"/>
                  <a:gd name="connsiteX62" fmla="*/ 234050 w 1546130"/>
                  <a:gd name="connsiteY62" fmla="*/ 24806 h 43567"/>
                  <a:gd name="connsiteX63" fmla="*/ 253041 w 1546130"/>
                  <a:gd name="connsiteY63" fmla="*/ 9943 h 43567"/>
                  <a:gd name="connsiteX64" fmla="*/ 270931 w 1546130"/>
                  <a:gd name="connsiteY64" fmla="*/ 15723 h 43567"/>
                  <a:gd name="connsiteX65" fmla="*/ 277261 w 1546130"/>
                  <a:gd name="connsiteY65" fmla="*/ 13246 h 43567"/>
                  <a:gd name="connsiteX66" fmla="*/ 302031 w 1546130"/>
                  <a:gd name="connsiteY66" fmla="*/ 586 h 43567"/>
                  <a:gd name="connsiteX67" fmla="*/ 388728 w 1546130"/>
                  <a:gd name="connsiteY67" fmla="*/ 310 h 43567"/>
                  <a:gd name="connsiteX68" fmla="*/ 1066309 w 1546130"/>
                  <a:gd name="connsiteY68" fmla="*/ 71 h 43567"/>
                  <a:gd name="connsiteX69" fmla="*/ 1080930 w 1546130"/>
                  <a:gd name="connsiteY69" fmla="*/ 381 h 43567"/>
                  <a:gd name="connsiteX70" fmla="*/ 1116710 w 1546130"/>
                  <a:gd name="connsiteY70" fmla="*/ 381 h 43567"/>
                  <a:gd name="connsiteX71" fmla="*/ 1196250 w 1546130"/>
                  <a:gd name="connsiteY71" fmla="*/ 655 h 43567"/>
                  <a:gd name="connsiteX72" fmla="*/ 1208911 w 1546130"/>
                  <a:gd name="connsiteY72" fmla="*/ 8637 h 43567"/>
                  <a:gd name="connsiteX73" fmla="*/ 1232580 w 1546130"/>
                  <a:gd name="connsiteY73" fmla="*/ 2582 h 43567"/>
                  <a:gd name="connsiteX74" fmla="*/ 1245516 w 1546130"/>
                  <a:gd name="connsiteY74" fmla="*/ 931 h 43567"/>
                  <a:gd name="connsiteX75" fmla="*/ 1265332 w 1546130"/>
                  <a:gd name="connsiteY75" fmla="*/ 931 h 43567"/>
                  <a:gd name="connsiteX76" fmla="*/ 1238360 w 1546130"/>
                  <a:gd name="connsiteY76" fmla="*/ 33683 h 43567"/>
                  <a:gd name="connsiteX77" fmla="*/ 1219369 w 1546130"/>
                  <a:gd name="connsiteY77" fmla="*/ 43316 h 43567"/>
                  <a:gd name="connsiteX78" fmla="*/ 1205333 w 1546130"/>
                  <a:gd name="connsiteY78" fmla="*/ 25976 h 43567"/>
                  <a:gd name="connsiteX79" fmla="*/ 1200104 w 1546130"/>
                  <a:gd name="connsiteY79" fmla="*/ 29279 h 43567"/>
                  <a:gd name="connsiteX80" fmla="*/ 1173682 w 1546130"/>
                  <a:gd name="connsiteY80" fmla="*/ 43316 h 43567"/>
                  <a:gd name="connsiteX81" fmla="*/ 1068584 w 1546130"/>
                  <a:gd name="connsiteY81" fmla="*/ 43066 h 43567"/>
                  <a:gd name="connsiteX82" fmla="*/ 1068814 w 1546130"/>
                  <a:gd name="connsiteY82" fmla="*/ 43246 h 43567"/>
                  <a:gd name="connsiteX83" fmla="*/ 1041842 w 1546130"/>
                  <a:gd name="connsiteY83" fmla="*/ 43246 h 43567"/>
                  <a:gd name="connsiteX84" fmla="*/ 837072 w 1546130"/>
                  <a:gd name="connsiteY84" fmla="*/ 43246 h 43567"/>
                  <a:gd name="connsiteX85" fmla="*/ 823862 w 1546130"/>
                  <a:gd name="connsiteY85" fmla="*/ 41044 h 43567"/>
                  <a:gd name="connsiteX86" fmla="*/ 815054 w 1546130"/>
                  <a:gd name="connsiteY86" fmla="*/ 42145 h 43567"/>
                  <a:gd name="connsiteX87" fmla="*/ 808449 w 1546130"/>
                  <a:gd name="connsiteY87" fmla="*/ 43246 h 43567"/>
                  <a:gd name="connsiteX88" fmla="*/ 768541 w 1546130"/>
                  <a:gd name="connsiteY88" fmla="*/ 42420 h 43567"/>
                  <a:gd name="connsiteX89" fmla="*/ 719000 w 1546130"/>
                  <a:gd name="connsiteY89" fmla="*/ 42971 h 43567"/>
                  <a:gd name="connsiteX90" fmla="*/ 615790 w 1546130"/>
                  <a:gd name="connsiteY90" fmla="*/ 42696 h 43567"/>
                  <a:gd name="connsiteX91" fmla="*/ 609185 w 1546130"/>
                  <a:gd name="connsiteY91" fmla="*/ 33888 h 43567"/>
                  <a:gd name="connsiteX92" fmla="*/ 595699 w 1546130"/>
                  <a:gd name="connsiteY92" fmla="*/ 11045 h 43567"/>
                  <a:gd name="connsiteX93" fmla="*/ 581662 w 1546130"/>
                  <a:gd name="connsiteY93" fmla="*/ 586 h 43567"/>
                  <a:gd name="connsiteX94" fmla="*/ 604781 w 1546130"/>
                  <a:gd name="connsiteY94" fmla="*/ 586 h 43567"/>
                  <a:gd name="connsiteX95" fmla="*/ 958448 w 1546130"/>
                  <a:gd name="connsiteY95" fmla="*/ 586 h 43567"/>
                  <a:gd name="connsiteX96" fmla="*/ 1003310 w 1546130"/>
                  <a:gd name="connsiteY96" fmla="*/ 311 h 43567"/>
                  <a:gd name="connsiteX97" fmla="*/ 1025603 w 1546130"/>
                  <a:gd name="connsiteY97" fmla="*/ 6090 h 43567"/>
                  <a:gd name="connsiteX98" fmla="*/ 1029181 w 1546130"/>
                  <a:gd name="connsiteY98" fmla="*/ 3889 h 43567"/>
                  <a:gd name="connsiteX99" fmla="*/ 1024778 w 1546130"/>
                  <a:gd name="connsiteY99" fmla="*/ 1136 h 43567"/>
                  <a:gd name="connsiteX100" fmla="*/ 1033310 w 1546130"/>
                  <a:gd name="connsiteY100" fmla="*/ 1962 h 43567"/>
                  <a:gd name="connsiteX101" fmla="*/ 1044044 w 1546130"/>
                  <a:gd name="connsiteY101" fmla="*/ 3614 h 43567"/>
                  <a:gd name="connsiteX102" fmla="*/ 1038814 w 1546130"/>
                  <a:gd name="connsiteY102" fmla="*/ 12145 h 43567"/>
                  <a:gd name="connsiteX103" fmla="*/ 1037163 w 1546130"/>
                  <a:gd name="connsiteY103" fmla="*/ 16274 h 43567"/>
                  <a:gd name="connsiteX104" fmla="*/ 1046383 w 1546130"/>
                  <a:gd name="connsiteY104" fmla="*/ 25081 h 43567"/>
                  <a:gd name="connsiteX105" fmla="*/ 1052857 w 1546130"/>
                  <a:gd name="connsiteY105" fmla="*/ 30600 h 43567"/>
                  <a:gd name="connsiteX106" fmla="*/ 1052857 w 1546130"/>
                  <a:gd name="connsiteY106" fmla="*/ 30105 h 43567"/>
                  <a:gd name="connsiteX107" fmla="*/ 1054783 w 1546130"/>
                  <a:gd name="connsiteY107" fmla="*/ 2857 h 43567"/>
                  <a:gd name="connsiteX108" fmla="*/ 1066309 w 1546130"/>
                  <a:gd name="connsiteY108" fmla="*/ 71 h 43567"/>
                  <a:gd name="connsiteX109" fmla="*/ 14660 w 1546130"/>
                  <a:gd name="connsiteY109" fmla="*/ 1 h 43567"/>
                  <a:gd name="connsiteX110" fmla="*/ 29281 w 1546130"/>
                  <a:gd name="connsiteY110" fmla="*/ 311 h 43567"/>
                  <a:gd name="connsiteX111" fmla="*/ 65061 w 1546130"/>
                  <a:gd name="connsiteY111" fmla="*/ 311 h 43567"/>
                  <a:gd name="connsiteX112" fmla="*/ 144601 w 1546130"/>
                  <a:gd name="connsiteY112" fmla="*/ 585 h 43567"/>
                  <a:gd name="connsiteX113" fmla="*/ 157262 w 1546130"/>
                  <a:gd name="connsiteY113" fmla="*/ 8567 h 43567"/>
                  <a:gd name="connsiteX114" fmla="*/ 180931 w 1546130"/>
                  <a:gd name="connsiteY114" fmla="*/ 2512 h 43567"/>
                  <a:gd name="connsiteX115" fmla="*/ 193867 w 1546130"/>
                  <a:gd name="connsiteY115" fmla="*/ 861 h 43567"/>
                  <a:gd name="connsiteX116" fmla="*/ 213683 w 1546130"/>
                  <a:gd name="connsiteY116" fmla="*/ 861 h 43567"/>
                  <a:gd name="connsiteX117" fmla="*/ 186711 w 1546130"/>
                  <a:gd name="connsiteY117" fmla="*/ 33613 h 43567"/>
                  <a:gd name="connsiteX118" fmla="*/ 167720 w 1546130"/>
                  <a:gd name="connsiteY118" fmla="*/ 43246 h 43567"/>
                  <a:gd name="connsiteX119" fmla="*/ 153684 w 1546130"/>
                  <a:gd name="connsiteY119" fmla="*/ 25906 h 43567"/>
                  <a:gd name="connsiteX120" fmla="*/ 148455 w 1546130"/>
                  <a:gd name="connsiteY120" fmla="*/ 29209 h 43567"/>
                  <a:gd name="connsiteX121" fmla="*/ 122033 w 1546130"/>
                  <a:gd name="connsiteY121" fmla="*/ 43246 h 43567"/>
                  <a:gd name="connsiteX122" fmla="*/ 6437 w 1546130"/>
                  <a:gd name="connsiteY122" fmla="*/ 42971 h 43567"/>
                  <a:gd name="connsiteX123" fmla="*/ 1208 w 1546130"/>
                  <a:gd name="connsiteY123" fmla="*/ 39943 h 43567"/>
                  <a:gd name="connsiteX124" fmla="*/ 1208 w 1546130"/>
                  <a:gd name="connsiteY124" fmla="*/ 30035 h 43567"/>
                  <a:gd name="connsiteX125" fmla="*/ 3134 w 1546130"/>
                  <a:gd name="connsiteY125" fmla="*/ 2787 h 43567"/>
                  <a:gd name="connsiteX126" fmla="*/ 14660 w 1546130"/>
                  <a:gd name="connsiteY126" fmla="*/ 1 h 4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546130" h="43567">
                    <a:moveTo>
                      <a:pt x="934228" y="26457"/>
                    </a:moveTo>
                    <a:cubicBezTo>
                      <a:pt x="932026" y="26182"/>
                      <a:pt x="928448" y="28108"/>
                      <a:pt x="929274" y="30586"/>
                    </a:cubicBezTo>
                    <a:cubicBezTo>
                      <a:pt x="930650" y="35265"/>
                      <a:pt x="934778" y="38567"/>
                      <a:pt x="939182" y="40494"/>
                    </a:cubicBezTo>
                    <a:cubicBezTo>
                      <a:pt x="940834" y="41319"/>
                      <a:pt x="941659" y="38017"/>
                      <a:pt x="941935" y="35540"/>
                    </a:cubicBezTo>
                    <a:cubicBezTo>
                      <a:pt x="941109" y="31411"/>
                      <a:pt x="939733" y="27008"/>
                      <a:pt x="934228" y="26457"/>
                    </a:cubicBezTo>
                    <a:close/>
                    <a:moveTo>
                      <a:pt x="1074600" y="5885"/>
                    </a:moveTo>
                    <a:cubicBezTo>
                      <a:pt x="1074600" y="5885"/>
                      <a:pt x="1074325" y="6160"/>
                      <a:pt x="1074325" y="6160"/>
                    </a:cubicBezTo>
                    <a:cubicBezTo>
                      <a:pt x="1074325" y="6160"/>
                      <a:pt x="1074325" y="6435"/>
                      <a:pt x="1074325" y="6435"/>
                    </a:cubicBezTo>
                    <a:cubicBezTo>
                      <a:pt x="1074049" y="6435"/>
                      <a:pt x="1074049" y="6435"/>
                      <a:pt x="1074049" y="6435"/>
                    </a:cubicBezTo>
                    <a:cubicBezTo>
                      <a:pt x="1074049" y="6160"/>
                      <a:pt x="1074049" y="6160"/>
                      <a:pt x="1074049" y="6160"/>
                    </a:cubicBezTo>
                    <a:cubicBezTo>
                      <a:pt x="1074049" y="6160"/>
                      <a:pt x="1073774" y="6435"/>
                      <a:pt x="1073774" y="6435"/>
                    </a:cubicBezTo>
                    <a:cubicBezTo>
                      <a:pt x="1070196" y="14142"/>
                      <a:pt x="1077903" y="21298"/>
                      <a:pt x="1075976" y="29004"/>
                    </a:cubicBezTo>
                    <a:cubicBezTo>
                      <a:pt x="1075976" y="29554"/>
                      <a:pt x="1078453" y="30931"/>
                      <a:pt x="1078728" y="30655"/>
                    </a:cubicBezTo>
                    <a:cubicBezTo>
                      <a:pt x="1083407" y="26252"/>
                      <a:pt x="1093591" y="30931"/>
                      <a:pt x="1094416" y="24876"/>
                    </a:cubicBezTo>
                    <a:cubicBezTo>
                      <a:pt x="1094967" y="21573"/>
                      <a:pt x="1091939" y="12215"/>
                      <a:pt x="1084783" y="9738"/>
                    </a:cubicBezTo>
                    <a:cubicBezTo>
                      <a:pt x="1081481" y="8913"/>
                      <a:pt x="1078728" y="6160"/>
                      <a:pt x="1075150" y="6435"/>
                    </a:cubicBezTo>
                    <a:cubicBezTo>
                      <a:pt x="1074875" y="6160"/>
                      <a:pt x="1074600" y="6160"/>
                      <a:pt x="1074600" y="5885"/>
                    </a:cubicBezTo>
                    <a:close/>
                    <a:moveTo>
                      <a:pt x="22951" y="5815"/>
                    </a:moveTo>
                    <a:cubicBezTo>
                      <a:pt x="22951" y="5815"/>
                      <a:pt x="22676" y="6090"/>
                      <a:pt x="22676" y="6090"/>
                    </a:cubicBezTo>
                    <a:cubicBezTo>
                      <a:pt x="22676" y="6090"/>
                      <a:pt x="22676" y="6365"/>
                      <a:pt x="22676" y="6365"/>
                    </a:cubicBezTo>
                    <a:cubicBezTo>
                      <a:pt x="22400" y="6365"/>
                      <a:pt x="22400" y="6365"/>
                      <a:pt x="22400" y="6365"/>
                    </a:cubicBezTo>
                    <a:cubicBezTo>
                      <a:pt x="22400" y="6090"/>
                      <a:pt x="22400" y="6090"/>
                      <a:pt x="22400" y="6090"/>
                    </a:cubicBezTo>
                    <a:cubicBezTo>
                      <a:pt x="22400" y="6090"/>
                      <a:pt x="22125" y="6365"/>
                      <a:pt x="22125" y="6365"/>
                    </a:cubicBezTo>
                    <a:cubicBezTo>
                      <a:pt x="18547" y="14072"/>
                      <a:pt x="26254" y="21228"/>
                      <a:pt x="24327" y="28934"/>
                    </a:cubicBezTo>
                    <a:cubicBezTo>
                      <a:pt x="24327" y="29484"/>
                      <a:pt x="26804" y="30861"/>
                      <a:pt x="27079" y="30585"/>
                    </a:cubicBezTo>
                    <a:cubicBezTo>
                      <a:pt x="31758" y="26182"/>
                      <a:pt x="41942" y="30861"/>
                      <a:pt x="42767" y="24806"/>
                    </a:cubicBezTo>
                    <a:cubicBezTo>
                      <a:pt x="43318" y="21503"/>
                      <a:pt x="40290" y="12145"/>
                      <a:pt x="33134" y="9668"/>
                    </a:cubicBezTo>
                    <a:cubicBezTo>
                      <a:pt x="29832" y="8843"/>
                      <a:pt x="27079" y="6090"/>
                      <a:pt x="23501" y="6365"/>
                    </a:cubicBezTo>
                    <a:cubicBezTo>
                      <a:pt x="23226" y="6090"/>
                      <a:pt x="22951" y="6090"/>
                      <a:pt x="22951" y="5815"/>
                    </a:cubicBezTo>
                    <a:close/>
                    <a:moveTo>
                      <a:pt x="1440377" y="380"/>
                    </a:moveTo>
                    <a:cubicBezTo>
                      <a:pt x="1447808" y="380"/>
                      <a:pt x="1453863" y="105"/>
                      <a:pt x="1453313" y="11940"/>
                    </a:cubicBezTo>
                    <a:cubicBezTo>
                      <a:pt x="1454689" y="-1271"/>
                      <a:pt x="1463221" y="656"/>
                      <a:pt x="1470652" y="656"/>
                    </a:cubicBezTo>
                    <a:lnTo>
                      <a:pt x="1546130" y="656"/>
                    </a:lnTo>
                    <a:lnTo>
                      <a:pt x="1546130" y="42765"/>
                    </a:lnTo>
                    <a:lnTo>
                      <a:pt x="1509184" y="42765"/>
                    </a:lnTo>
                    <a:cubicBezTo>
                      <a:pt x="1505606" y="42765"/>
                      <a:pt x="1502027" y="43591"/>
                      <a:pt x="1500101" y="38637"/>
                    </a:cubicBezTo>
                    <a:cubicBezTo>
                      <a:pt x="1498725" y="35059"/>
                      <a:pt x="1494321" y="35885"/>
                      <a:pt x="1492670" y="38086"/>
                    </a:cubicBezTo>
                    <a:cubicBezTo>
                      <a:pt x="1487166" y="44692"/>
                      <a:pt x="1480009" y="42765"/>
                      <a:pt x="1473129" y="42765"/>
                    </a:cubicBezTo>
                    <a:cubicBezTo>
                      <a:pt x="1411478" y="43040"/>
                      <a:pt x="1349827" y="42765"/>
                      <a:pt x="1288176" y="43040"/>
                    </a:cubicBezTo>
                    <a:cubicBezTo>
                      <a:pt x="1281295" y="43040"/>
                      <a:pt x="1275516" y="42215"/>
                      <a:pt x="1274965" y="34233"/>
                    </a:cubicBezTo>
                    <a:cubicBezTo>
                      <a:pt x="1274415" y="26527"/>
                      <a:pt x="1281021" y="27353"/>
                      <a:pt x="1285699" y="24876"/>
                    </a:cubicBezTo>
                    <a:cubicBezTo>
                      <a:pt x="1292580" y="21022"/>
                      <a:pt x="1306892" y="27353"/>
                      <a:pt x="1304690" y="10013"/>
                    </a:cubicBezTo>
                    <a:cubicBezTo>
                      <a:pt x="1311020" y="13316"/>
                      <a:pt x="1316249" y="16069"/>
                      <a:pt x="1322580" y="15793"/>
                    </a:cubicBezTo>
                    <a:cubicBezTo>
                      <a:pt x="1325332" y="15793"/>
                      <a:pt x="1328359" y="15518"/>
                      <a:pt x="1328910" y="13316"/>
                    </a:cubicBezTo>
                    <a:cubicBezTo>
                      <a:pt x="1331937" y="-1271"/>
                      <a:pt x="1343772" y="931"/>
                      <a:pt x="1353680" y="656"/>
                    </a:cubicBezTo>
                    <a:cubicBezTo>
                      <a:pt x="1382579" y="380"/>
                      <a:pt x="1411478" y="656"/>
                      <a:pt x="1440377" y="380"/>
                    </a:cubicBezTo>
                    <a:close/>
                    <a:moveTo>
                      <a:pt x="388728" y="310"/>
                    </a:moveTo>
                    <a:cubicBezTo>
                      <a:pt x="396159" y="310"/>
                      <a:pt x="402214" y="35"/>
                      <a:pt x="401664" y="11870"/>
                    </a:cubicBezTo>
                    <a:cubicBezTo>
                      <a:pt x="403040" y="-1341"/>
                      <a:pt x="411572" y="586"/>
                      <a:pt x="419003" y="586"/>
                    </a:cubicBezTo>
                    <a:cubicBezTo>
                      <a:pt x="468268" y="586"/>
                      <a:pt x="517259" y="586"/>
                      <a:pt x="566250" y="586"/>
                    </a:cubicBezTo>
                    <a:cubicBezTo>
                      <a:pt x="572029" y="310"/>
                      <a:pt x="578084" y="-515"/>
                      <a:pt x="580011" y="8017"/>
                    </a:cubicBezTo>
                    <a:cubicBezTo>
                      <a:pt x="572029" y="3338"/>
                      <a:pt x="553589" y="12421"/>
                      <a:pt x="553314" y="20677"/>
                    </a:cubicBezTo>
                    <a:cubicBezTo>
                      <a:pt x="553039" y="25356"/>
                      <a:pt x="556892" y="26457"/>
                      <a:pt x="560194" y="24531"/>
                    </a:cubicBezTo>
                    <a:cubicBezTo>
                      <a:pt x="569552" y="19576"/>
                      <a:pt x="575882" y="28108"/>
                      <a:pt x="583864" y="28934"/>
                    </a:cubicBezTo>
                    <a:cubicBezTo>
                      <a:pt x="587717" y="29484"/>
                      <a:pt x="589919" y="34989"/>
                      <a:pt x="588818" y="38842"/>
                    </a:cubicBezTo>
                    <a:cubicBezTo>
                      <a:pt x="588268" y="43245"/>
                      <a:pt x="584139" y="42695"/>
                      <a:pt x="580836" y="42695"/>
                    </a:cubicBezTo>
                    <a:cubicBezTo>
                      <a:pt x="539827" y="42695"/>
                      <a:pt x="498543" y="42695"/>
                      <a:pt x="457535" y="42695"/>
                    </a:cubicBezTo>
                    <a:cubicBezTo>
                      <a:pt x="453957" y="42695"/>
                      <a:pt x="450378" y="43521"/>
                      <a:pt x="448452" y="38567"/>
                    </a:cubicBezTo>
                    <a:cubicBezTo>
                      <a:pt x="447076" y="34989"/>
                      <a:pt x="442672" y="35815"/>
                      <a:pt x="441021" y="38016"/>
                    </a:cubicBezTo>
                    <a:cubicBezTo>
                      <a:pt x="435517" y="44622"/>
                      <a:pt x="428360" y="42695"/>
                      <a:pt x="421480" y="42695"/>
                    </a:cubicBezTo>
                    <a:cubicBezTo>
                      <a:pt x="359829" y="42970"/>
                      <a:pt x="298178" y="42695"/>
                      <a:pt x="236527" y="42970"/>
                    </a:cubicBezTo>
                    <a:cubicBezTo>
                      <a:pt x="229646" y="42970"/>
                      <a:pt x="223867" y="42145"/>
                      <a:pt x="223316" y="34163"/>
                    </a:cubicBezTo>
                    <a:cubicBezTo>
                      <a:pt x="222766" y="26457"/>
                      <a:pt x="229372" y="27283"/>
                      <a:pt x="234050" y="24806"/>
                    </a:cubicBezTo>
                    <a:cubicBezTo>
                      <a:pt x="240931" y="20952"/>
                      <a:pt x="255243" y="27283"/>
                      <a:pt x="253041" y="9943"/>
                    </a:cubicBezTo>
                    <a:cubicBezTo>
                      <a:pt x="259371" y="13246"/>
                      <a:pt x="264600" y="15999"/>
                      <a:pt x="270931" y="15723"/>
                    </a:cubicBezTo>
                    <a:cubicBezTo>
                      <a:pt x="273683" y="15723"/>
                      <a:pt x="276710" y="15448"/>
                      <a:pt x="277261" y="13246"/>
                    </a:cubicBezTo>
                    <a:cubicBezTo>
                      <a:pt x="280288" y="-1341"/>
                      <a:pt x="292123" y="861"/>
                      <a:pt x="302031" y="586"/>
                    </a:cubicBezTo>
                    <a:cubicBezTo>
                      <a:pt x="330930" y="310"/>
                      <a:pt x="359829" y="586"/>
                      <a:pt x="388728" y="310"/>
                    </a:cubicBezTo>
                    <a:close/>
                    <a:moveTo>
                      <a:pt x="1066309" y="71"/>
                    </a:moveTo>
                    <a:cubicBezTo>
                      <a:pt x="1071091" y="105"/>
                      <a:pt x="1076389" y="656"/>
                      <a:pt x="1080930" y="381"/>
                    </a:cubicBezTo>
                    <a:cubicBezTo>
                      <a:pt x="1092765" y="381"/>
                      <a:pt x="1104875" y="381"/>
                      <a:pt x="1116710" y="381"/>
                    </a:cubicBezTo>
                    <a:cubicBezTo>
                      <a:pt x="1143132" y="381"/>
                      <a:pt x="1169828" y="655"/>
                      <a:pt x="1196250" y="655"/>
                    </a:cubicBezTo>
                    <a:cubicBezTo>
                      <a:pt x="1202306" y="655"/>
                      <a:pt x="1208085" y="655"/>
                      <a:pt x="1208911" y="8637"/>
                    </a:cubicBezTo>
                    <a:cubicBezTo>
                      <a:pt x="1217993" y="11114"/>
                      <a:pt x="1226800" y="14967"/>
                      <a:pt x="1232580" y="2582"/>
                    </a:cubicBezTo>
                    <a:cubicBezTo>
                      <a:pt x="1234782" y="-1822"/>
                      <a:pt x="1241112" y="1206"/>
                      <a:pt x="1245516" y="931"/>
                    </a:cubicBezTo>
                    <a:cubicBezTo>
                      <a:pt x="1251571" y="381"/>
                      <a:pt x="1257901" y="655"/>
                      <a:pt x="1265332" y="931"/>
                    </a:cubicBezTo>
                    <a:cubicBezTo>
                      <a:pt x="1254874" y="11665"/>
                      <a:pt x="1245241" y="22399"/>
                      <a:pt x="1238360" y="33683"/>
                    </a:cubicBezTo>
                    <a:cubicBezTo>
                      <a:pt x="1232580" y="43316"/>
                      <a:pt x="1227351" y="43866"/>
                      <a:pt x="1219369" y="43316"/>
                    </a:cubicBezTo>
                    <a:cubicBezTo>
                      <a:pt x="1212214" y="42765"/>
                      <a:pt x="1204507" y="33133"/>
                      <a:pt x="1205333" y="25976"/>
                    </a:cubicBezTo>
                    <a:cubicBezTo>
                      <a:pt x="1203406" y="27077"/>
                      <a:pt x="1200379" y="27903"/>
                      <a:pt x="1200104" y="29279"/>
                    </a:cubicBezTo>
                    <a:cubicBezTo>
                      <a:pt x="1197902" y="46618"/>
                      <a:pt x="1184691" y="43316"/>
                      <a:pt x="1173682" y="43316"/>
                    </a:cubicBezTo>
                    <a:lnTo>
                      <a:pt x="1068584" y="43066"/>
                    </a:lnTo>
                    <a:lnTo>
                      <a:pt x="1068814" y="43246"/>
                    </a:lnTo>
                    <a:cubicBezTo>
                      <a:pt x="1058080" y="43246"/>
                      <a:pt x="1050099" y="43246"/>
                      <a:pt x="1041842" y="43246"/>
                    </a:cubicBezTo>
                    <a:cubicBezTo>
                      <a:pt x="973586" y="43246"/>
                      <a:pt x="905329" y="43246"/>
                      <a:pt x="837072" y="43246"/>
                    </a:cubicBezTo>
                    <a:cubicBezTo>
                      <a:pt x="832669" y="43246"/>
                      <a:pt x="827990" y="44622"/>
                      <a:pt x="823862" y="41044"/>
                    </a:cubicBezTo>
                    <a:cubicBezTo>
                      <a:pt x="821935" y="39393"/>
                      <a:pt x="816155" y="26182"/>
                      <a:pt x="815054" y="42145"/>
                    </a:cubicBezTo>
                    <a:cubicBezTo>
                      <a:pt x="815054" y="42696"/>
                      <a:pt x="810651" y="43246"/>
                      <a:pt x="808449" y="43246"/>
                    </a:cubicBezTo>
                    <a:cubicBezTo>
                      <a:pt x="795238" y="42971"/>
                      <a:pt x="781752" y="42420"/>
                      <a:pt x="768541" y="42420"/>
                    </a:cubicBezTo>
                    <a:cubicBezTo>
                      <a:pt x="752028" y="42420"/>
                      <a:pt x="735514" y="42971"/>
                      <a:pt x="719000" y="42971"/>
                    </a:cubicBezTo>
                    <a:cubicBezTo>
                      <a:pt x="684597" y="42971"/>
                      <a:pt x="650194" y="42971"/>
                      <a:pt x="615790" y="42696"/>
                    </a:cubicBezTo>
                    <a:cubicBezTo>
                      <a:pt x="609735" y="42696"/>
                      <a:pt x="600928" y="44897"/>
                      <a:pt x="609185" y="33888"/>
                    </a:cubicBezTo>
                    <a:cubicBezTo>
                      <a:pt x="600653" y="28934"/>
                      <a:pt x="613588" y="11595"/>
                      <a:pt x="595699" y="11045"/>
                    </a:cubicBezTo>
                    <a:cubicBezTo>
                      <a:pt x="591570" y="10769"/>
                      <a:pt x="585240" y="7191"/>
                      <a:pt x="581662" y="586"/>
                    </a:cubicBezTo>
                    <a:cubicBezTo>
                      <a:pt x="589919" y="586"/>
                      <a:pt x="597350" y="586"/>
                      <a:pt x="604781" y="586"/>
                    </a:cubicBezTo>
                    <a:cubicBezTo>
                      <a:pt x="722853" y="586"/>
                      <a:pt x="840651" y="311"/>
                      <a:pt x="958448" y="586"/>
                    </a:cubicBezTo>
                    <a:cubicBezTo>
                      <a:pt x="973310" y="586"/>
                      <a:pt x="988448" y="2513"/>
                      <a:pt x="1003310" y="311"/>
                    </a:cubicBezTo>
                    <a:cubicBezTo>
                      <a:pt x="1011842" y="-791"/>
                      <a:pt x="1017897" y="4714"/>
                      <a:pt x="1025603" y="6090"/>
                    </a:cubicBezTo>
                    <a:cubicBezTo>
                      <a:pt x="1028080" y="6641"/>
                      <a:pt x="1029456" y="6366"/>
                      <a:pt x="1029181" y="3889"/>
                    </a:cubicBezTo>
                    <a:cubicBezTo>
                      <a:pt x="1028906" y="3338"/>
                      <a:pt x="1026154" y="3063"/>
                      <a:pt x="1024778" y="1136"/>
                    </a:cubicBezTo>
                    <a:cubicBezTo>
                      <a:pt x="1027530" y="1412"/>
                      <a:pt x="1030557" y="1136"/>
                      <a:pt x="1033310" y="1962"/>
                    </a:cubicBezTo>
                    <a:cubicBezTo>
                      <a:pt x="1036888" y="3063"/>
                      <a:pt x="1041567" y="-2442"/>
                      <a:pt x="1044044" y="3614"/>
                    </a:cubicBezTo>
                    <a:cubicBezTo>
                      <a:pt x="1046245" y="8843"/>
                      <a:pt x="1041016" y="9668"/>
                      <a:pt x="1038814" y="12145"/>
                    </a:cubicBezTo>
                    <a:cubicBezTo>
                      <a:pt x="1037989" y="13246"/>
                      <a:pt x="1037163" y="16274"/>
                      <a:pt x="1037163" y="16274"/>
                    </a:cubicBezTo>
                    <a:cubicBezTo>
                      <a:pt x="1040879" y="18201"/>
                      <a:pt x="1043700" y="21779"/>
                      <a:pt x="1046383" y="25081"/>
                    </a:cubicBezTo>
                    <a:lnTo>
                      <a:pt x="1052857" y="30600"/>
                    </a:lnTo>
                    <a:lnTo>
                      <a:pt x="1052857" y="30105"/>
                    </a:lnTo>
                    <a:cubicBezTo>
                      <a:pt x="1053407" y="20747"/>
                      <a:pt x="1048729" y="8362"/>
                      <a:pt x="1054783" y="2857"/>
                    </a:cubicBezTo>
                    <a:cubicBezTo>
                      <a:pt x="1057261" y="518"/>
                      <a:pt x="1061527" y="36"/>
                      <a:pt x="1066309" y="71"/>
                    </a:cubicBezTo>
                    <a:close/>
                    <a:moveTo>
                      <a:pt x="14660" y="1"/>
                    </a:moveTo>
                    <a:cubicBezTo>
                      <a:pt x="19442" y="35"/>
                      <a:pt x="24740" y="586"/>
                      <a:pt x="29281" y="311"/>
                    </a:cubicBezTo>
                    <a:cubicBezTo>
                      <a:pt x="41116" y="311"/>
                      <a:pt x="53226" y="311"/>
                      <a:pt x="65061" y="311"/>
                    </a:cubicBezTo>
                    <a:cubicBezTo>
                      <a:pt x="91483" y="311"/>
                      <a:pt x="118179" y="585"/>
                      <a:pt x="144601" y="585"/>
                    </a:cubicBezTo>
                    <a:cubicBezTo>
                      <a:pt x="150657" y="585"/>
                      <a:pt x="156436" y="585"/>
                      <a:pt x="157262" y="8567"/>
                    </a:cubicBezTo>
                    <a:cubicBezTo>
                      <a:pt x="166344" y="11044"/>
                      <a:pt x="175151" y="14897"/>
                      <a:pt x="180931" y="2512"/>
                    </a:cubicBezTo>
                    <a:cubicBezTo>
                      <a:pt x="183133" y="-1892"/>
                      <a:pt x="189463" y="1136"/>
                      <a:pt x="193867" y="861"/>
                    </a:cubicBezTo>
                    <a:cubicBezTo>
                      <a:pt x="199922" y="311"/>
                      <a:pt x="206252" y="585"/>
                      <a:pt x="213683" y="861"/>
                    </a:cubicBezTo>
                    <a:cubicBezTo>
                      <a:pt x="203225" y="11595"/>
                      <a:pt x="193592" y="22329"/>
                      <a:pt x="186711" y="33613"/>
                    </a:cubicBezTo>
                    <a:cubicBezTo>
                      <a:pt x="180931" y="43246"/>
                      <a:pt x="175702" y="43796"/>
                      <a:pt x="167720" y="43246"/>
                    </a:cubicBezTo>
                    <a:cubicBezTo>
                      <a:pt x="160565" y="42695"/>
                      <a:pt x="152858" y="33063"/>
                      <a:pt x="153684" y="25906"/>
                    </a:cubicBezTo>
                    <a:cubicBezTo>
                      <a:pt x="151757" y="27007"/>
                      <a:pt x="148730" y="27833"/>
                      <a:pt x="148455" y="29209"/>
                    </a:cubicBezTo>
                    <a:cubicBezTo>
                      <a:pt x="146253" y="46548"/>
                      <a:pt x="133042" y="43246"/>
                      <a:pt x="122033" y="43246"/>
                    </a:cubicBezTo>
                    <a:cubicBezTo>
                      <a:pt x="83501" y="43246"/>
                      <a:pt x="44969" y="42971"/>
                      <a:pt x="6437" y="42971"/>
                    </a:cubicBezTo>
                    <a:cubicBezTo>
                      <a:pt x="3685" y="43521"/>
                      <a:pt x="1483" y="43246"/>
                      <a:pt x="1208" y="39943"/>
                    </a:cubicBezTo>
                    <a:cubicBezTo>
                      <a:pt x="1208" y="36640"/>
                      <a:pt x="933" y="33338"/>
                      <a:pt x="1208" y="30035"/>
                    </a:cubicBezTo>
                    <a:cubicBezTo>
                      <a:pt x="1758" y="20677"/>
                      <a:pt x="-2920" y="8292"/>
                      <a:pt x="3134" y="2787"/>
                    </a:cubicBezTo>
                    <a:cubicBezTo>
                      <a:pt x="5612" y="448"/>
                      <a:pt x="9878" y="-34"/>
                      <a:pt x="146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xmlns="" id="{2F1CCBE3-A7F5-430E-AA82-B48D05F08B4C}"/>
                  </a:ext>
                </a:extLst>
              </p:cNvPr>
              <p:cNvSpPr/>
              <p:nvPr/>
            </p:nvSpPr>
            <p:spPr>
              <a:xfrm rot="10800000">
                <a:off x="5989366" y="544828"/>
                <a:ext cx="3321685" cy="76019"/>
              </a:xfrm>
              <a:custGeom>
                <a:avLst/>
                <a:gdLst>
                  <a:gd name="connsiteX0" fmla="*/ 1323163 w 1645441"/>
                  <a:gd name="connsiteY0" fmla="*/ 28780 h 37657"/>
                  <a:gd name="connsiteX1" fmla="*/ 1333347 w 1645441"/>
                  <a:gd name="connsiteY1" fmla="*/ 36796 h 37657"/>
                  <a:gd name="connsiteX2" fmla="*/ 1312980 w 1645441"/>
                  <a:gd name="connsiteY2" fmla="*/ 36245 h 37657"/>
                  <a:gd name="connsiteX3" fmla="*/ 1323163 w 1645441"/>
                  <a:gd name="connsiteY3" fmla="*/ 28780 h 37657"/>
                  <a:gd name="connsiteX4" fmla="*/ 502405 w 1645441"/>
                  <a:gd name="connsiteY4" fmla="*/ 28666 h 37657"/>
                  <a:gd name="connsiteX5" fmla="*/ 512589 w 1645441"/>
                  <a:gd name="connsiteY5" fmla="*/ 36682 h 37657"/>
                  <a:gd name="connsiteX6" fmla="*/ 492222 w 1645441"/>
                  <a:gd name="connsiteY6" fmla="*/ 36131 h 37657"/>
                  <a:gd name="connsiteX7" fmla="*/ 502405 w 1645441"/>
                  <a:gd name="connsiteY7" fmla="*/ 28666 h 37657"/>
                  <a:gd name="connsiteX8" fmla="*/ 1645441 w 1645441"/>
                  <a:gd name="connsiteY8" fmla="*/ 21503 h 37657"/>
                  <a:gd name="connsiteX9" fmla="*/ 1645441 w 1645441"/>
                  <a:gd name="connsiteY9" fmla="*/ 33701 h 37657"/>
                  <a:gd name="connsiteX10" fmla="*/ 1640157 w 1645441"/>
                  <a:gd name="connsiteY10" fmla="*/ 32461 h 37657"/>
                  <a:gd name="connsiteX11" fmla="*/ 1639950 w 1645441"/>
                  <a:gd name="connsiteY11" fmla="*/ 27438 h 37657"/>
                  <a:gd name="connsiteX12" fmla="*/ 833779 w 1645441"/>
                  <a:gd name="connsiteY12" fmla="*/ 19618 h 37657"/>
                  <a:gd name="connsiteX13" fmla="*/ 843962 w 1645441"/>
                  <a:gd name="connsiteY13" fmla="*/ 30627 h 37657"/>
                  <a:gd name="connsiteX14" fmla="*/ 824972 w 1645441"/>
                  <a:gd name="connsiteY14" fmla="*/ 33655 h 37657"/>
                  <a:gd name="connsiteX15" fmla="*/ 819192 w 1645441"/>
                  <a:gd name="connsiteY15" fmla="*/ 27324 h 37657"/>
                  <a:gd name="connsiteX16" fmla="*/ 833779 w 1645441"/>
                  <a:gd name="connsiteY16" fmla="*/ 19618 h 37657"/>
                  <a:gd name="connsiteX17" fmla="*/ 1645441 w 1645441"/>
                  <a:gd name="connsiteY17" fmla="*/ 5017 h 37657"/>
                  <a:gd name="connsiteX18" fmla="*/ 1645441 w 1645441"/>
                  <a:gd name="connsiteY18" fmla="*/ 6122 h 37657"/>
                  <a:gd name="connsiteX19" fmla="*/ 1644904 w 1645441"/>
                  <a:gd name="connsiteY19" fmla="*/ 5420 h 37657"/>
                  <a:gd name="connsiteX20" fmla="*/ 18831 w 1645441"/>
                  <a:gd name="connsiteY20" fmla="*/ 627 h 37657"/>
                  <a:gd name="connsiteX21" fmla="*/ 78005 w 1645441"/>
                  <a:gd name="connsiteY21" fmla="*/ 627 h 37657"/>
                  <a:gd name="connsiteX22" fmla="*/ 144609 w 1645441"/>
                  <a:gd name="connsiteY22" fmla="*/ 627 h 37657"/>
                  <a:gd name="connsiteX23" fmla="*/ 155894 w 1645441"/>
                  <a:gd name="connsiteY23" fmla="*/ 5580 h 37657"/>
                  <a:gd name="connsiteX24" fmla="*/ 154518 w 1645441"/>
                  <a:gd name="connsiteY24" fmla="*/ 19617 h 37657"/>
                  <a:gd name="connsiteX25" fmla="*/ 147362 w 1645441"/>
                  <a:gd name="connsiteY25" fmla="*/ 34754 h 37657"/>
                  <a:gd name="connsiteX26" fmla="*/ 143509 w 1645441"/>
                  <a:gd name="connsiteY26" fmla="*/ 36681 h 37657"/>
                  <a:gd name="connsiteX27" fmla="*/ 105252 w 1645441"/>
                  <a:gd name="connsiteY27" fmla="*/ 33653 h 37657"/>
                  <a:gd name="connsiteX28" fmla="*/ 99197 w 1645441"/>
                  <a:gd name="connsiteY28" fmla="*/ 33103 h 37657"/>
                  <a:gd name="connsiteX29" fmla="*/ 16904 w 1645441"/>
                  <a:gd name="connsiteY29" fmla="*/ 36406 h 37657"/>
                  <a:gd name="connsiteX30" fmla="*/ 115 w 1645441"/>
                  <a:gd name="connsiteY30" fmla="*/ 19066 h 37657"/>
                  <a:gd name="connsiteX31" fmla="*/ 18831 w 1645441"/>
                  <a:gd name="connsiteY31" fmla="*/ 627 h 37657"/>
                  <a:gd name="connsiteX32" fmla="*/ 168624 w 1645441"/>
                  <a:gd name="connsiteY32" fmla="*/ 524 h 37657"/>
                  <a:gd name="connsiteX33" fmla="*/ 175711 w 1645441"/>
                  <a:gd name="connsiteY33" fmla="*/ 4480 h 37657"/>
                  <a:gd name="connsiteX34" fmla="*/ 182591 w 1645441"/>
                  <a:gd name="connsiteY34" fmla="*/ 8609 h 37657"/>
                  <a:gd name="connsiteX35" fmla="*/ 177087 w 1645441"/>
                  <a:gd name="connsiteY35" fmla="*/ 11361 h 37657"/>
                  <a:gd name="connsiteX36" fmla="*/ 161123 w 1645441"/>
                  <a:gd name="connsiteY36" fmla="*/ 8334 h 37657"/>
                  <a:gd name="connsiteX37" fmla="*/ 161123 w 1645441"/>
                  <a:gd name="connsiteY37" fmla="*/ 2554 h 37657"/>
                  <a:gd name="connsiteX38" fmla="*/ 168624 w 1645441"/>
                  <a:gd name="connsiteY38" fmla="*/ 524 h 37657"/>
                  <a:gd name="connsiteX39" fmla="*/ 1260961 w 1645441"/>
                  <a:gd name="connsiteY39" fmla="*/ 465 h 37657"/>
                  <a:gd name="connsiteX40" fmla="*/ 1271420 w 1645441"/>
                  <a:gd name="connsiteY40" fmla="*/ 8447 h 37657"/>
                  <a:gd name="connsiteX41" fmla="*/ 1278575 w 1645441"/>
                  <a:gd name="connsiteY41" fmla="*/ 31566 h 37657"/>
                  <a:gd name="connsiteX42" fmla="*/ 1268392 w 1645441"/>
                  <a:gd name="connsiteY42" fmla="*/ 37071 h 37657"/>
                  <a:gd name="connsiteX43" fmla="*/ 1152797 w 1645441"/>
                  <a:gd name="connsiteY43" fmla="*/ 37071 h 37657"/>
                  <a:gd name="connsiteX44" fmla="*/ 1117568 w 1645441"/>
                  <a:gd name="connsiteY44" fmla="*/ 37071 h 37657"/>
                  <a:gd name="connsiteX45" fmla="*/ 1093176 w 1645441"/>
                  <a:gd name="connsiteY45" fmla="*/ 35557 h 37657"/>
                  <a:gd name="connsiteX46" fmla="*/ 1092403 w 1645441"/>
                  <a:gd name="connsiteY46" fmla="*/ 35283 h 37657"/>
                  <a:gd name="connsiteX47" fmla="*/ 1092403 w 1645441"/>
                  <a:gd name="connsiteY47" fmla="*/ 36682 h 37657"/>
                  <a:gd name="connsiteX48" fmla="*/ 1061686 w 1645441"/>
                  <a:gd name="connsiteY48" fmla="*/ 36682 h 37657"/>
                  <a:gd name="connsiteX49" fmla="*/ 1061696 w 1645441"/>
                  <a:gd name="connsiteY49" fmla="*/ 36795 h 37657"/>
                  <a:gd name="connsiteX50" fmla="*/ 1010880 w 1645441"/>
                  <a:gd name="connsiteY50" fmla="*/ 36795 h 37657"/>
                  <a:gd name="connsiteX51" fmla="*/ 1010880 w 1645441"/>
                  <a:gd name="connsiteY51" fmla="*/ 36682 h 37657"/>
                  <a:gd name="connsiteX52" fmla="*/ 973870 w 1645441"/>
                  <a:gd name="connsiteY52" fmla="*/ 36682 h 37657"/>
                  <a:gd name="connsiteX53" fmla="*/ 964787 w 1645441"/>
                  <a:gd name="connsiteY53" fmla="*/ 22920 h 37657"/>
                  <a:gd name="connsiteX54" fmla="*/ 955705 w 1645441"/>
                  <a:gd name="connsiteY54" fmla="*/ 15214 h 37657"/>
                  <a:gd name="connsiteX55" fmla="*/ 954054 w 1645441"/>
                  <a:gd name="connsiteY55" fmla="*/ 23196 h 37657"/>
                  <a:gd name="connsiteX56" fmla="*/ 948273 w 1645441"/>
                  <a:gd name="connsiteY56" fmla="*/ 27324 h 37657"/>
                  <a:gd name="connsiteX57" fmla="*/ 928732 w 1645441"/>
                  <a:gd name="connsiteY57" fmla="*/ 12187 h 37657"/>
                  <a:gd name="connsiteX58" fmla="*/ 907540 w 1645441"/>
                  <a:gd name="connsiteY58" fmla="*/ 9985 h 37657"/>
                  <a:gd name="connsiteX59" fmla="*/ 897907 w 1645441"/>
                  <a:gd name="connsiteY59" fmla="*/ 5306 h 37657"/>
                  <a:gd name="connsiteX60" fmla="*/ 894880 w 1645441"/>
                  <a:gd name="connsiteY60" fmla="*/ 18517 h 37657"/>
                  <a:gd name="connsiteX61" fmla="*/ 894329 w 1645441"/>
                  <a:gd name="connsiteY61" fmla="*/ 34205 h 37657"/>
                  <a:gd name="connsiteX62" fmla="*/ 889925 w 1645441"/>
                  <a:gd name="connsiteY62" fmla="*/ 36682 h 37657"/>
                  <a:gd name="connsiteX63" fmla="*/ 848916 w 1645441"/>
                  <a:gd name="connsiteY63" fmla="*/ 36682 h 37657"/>
                  <a:gd name="connsiteX64" fmla="*/ 844238 w 1645441"/>
                  <a:gd name="connsiteY64" fmla="*/ 30627 h 37657"/>
                  <a:gd name="connsiteX65" fmla="*/ 854421 w 1645441"/>
                  <a:gd name="connsiteY65" fmla="*/ 30352 h 37657"/>
                  <a:gd name="connsiteX66" fmla="*/ 849192 w 1645441"/>
                  <a:gd name="connsiteY66" fmla="*/ 19893 h 37657"/>
                  <a:gd name="connsiteX67" fmla="*/ 842311 w 1645441"/>
                  <a:gd name="connsiteY67" fmla="*/ 1453 h 37657"/>
                  <a:gd name="connsiteX68" fmla="*/ 1010880 w 1645441"/>
                  <a:gd name="connsiteY68" fmla="*/ 1453 h 37657"/>
                  <a:gd name="connsiteX69" fmla="*/ 1010880 w 1645441"/>
                  <a:gd name="connsiteY69" fmla="*/ 973 h 37657"/>
                  <a:gd name="connsiteX70" fmla="*/ 1012190 w 1645441"/>
                  <a:gd name="connsiteY70" fmla="*/ 1016 h 37657"/>
                  <a:gd name="connsiteX71" fmla="*/ 1012704 w 1645441"/>
                  <a:gd name="connsiteY71" fmla="*/ 1453 h 37657"/>
                  <a:gd name="connsiteX72" fmla="*/ 1060146 w 1645441"/>
                  <a:gd name="connsiteY72" fmla="*/ 1453 h 37657"/>
                  <a:gd name="connsiteX73" fmla="*/ 1060355 w 1645441"/>
                  <a:gd name="connsiteY73" fmla="*/ 1256 h 37657"/>
                  <a:gd name="connsiteX74" fmla="*/ 1066100 w 1645441"/>
                  <a:gd name="connsiteY74" fmla="*/ 740 h 37657"/>
                  <a:gd name="connsiteX75" fmla="*/ 1260961 w 1645441"/>
                  <a:gd name="connsiteY75" fmla="*/ 465 h 37657"/>
                  <a:gd name="connsiteX76" fmla="*/ 830751 w 1645441"/>
                  <a:gd name="connsiteY76" fmla="*/ 352 h 37657"/>
                  <a:gd name="connsiteX77" fmla="*/ 834330 w 1645441"/>
                  <a:gd name="connsiteY77" fmla="*/ 3654 h 37657"/>
                  <a:gd name="connsiteX78" fmla="*/ 827724 w 1645441"/>
                  <a:gd name="connsiteY78" fmla="*/ 9984 h 37657"/>
                  <a:gd name="connsiteX79" fmla="*/ 824146 w 1645441"/>
                  <a:gd name="connsiteY79" fmla="*/ 5306 h 37657"/>
                  <a:gd name="connsiteX80" fmla="*/ 830751 w 1645441"/>
                  <a:gd name="connsiteY80" fmla="*/ 352 h 37657"/>
                  <a:gd name="connsiteX81" fmla="*/ 440203 w 1645441"/>
                  <a:gd name="connsiteY81" fmla="*/ 351 h 37657"/>
                  <a:gd name="connsiteX82" fmla="*/ 450662 w 1645441"/>
                  <a:gd name="connsiteY82" fmla="*/ 8333 h 37657"/>
                  <a:gd name="connsiteX83" fmla="*/ 457817 w 1645441"/>
                  <a:gd name="connsiteY83" fmla="*/ 31452 h 37657"/>
                  <a:gd name="connsiteX84" fmla="*/ 447634 w 1645441"/>
                  <a:gd name="connsiteY84" fmla="*/ 36957 h 37657"/>
                  <a:gd name="connsiteX85" fmla="*/ 332039 w 1645441"/>
                  <a:gd name="connsiteY85" fmla="*/ 36957 h 37657"/>
                  <a:gd name="connsiteX86" fmla="*/ 296810 w 1645441"/>
                  <a:gd name="connsiteY86" fmla="*/ 36957 h 37657"/>
                  <a:gd name="connsiteX87" fmla="*/ 249471 w 1645441"/>
                  <a:gd name="connsiteY87" fmla="*/ 27324 h 37657"/>
                  <a:gd name="connsiteX88" fmla="*/ 240113 w 1645441"/>
                  <a:gd name="connsiteY88" fmla="*/ 27048 h 37657"/>
                  <a:gd name="connsiteX89" fmla="*/ 240938 w 1645441"/>
                  <a:gd name="connsiteY89" fmla="*/ 36681 h 37657"/>
                  <a:gd name="connsiteX90" fmla="*/ 158921 w 1645441"/>
                  <a:gd name="connsiteY90" fmla="*/ 36681 h 37657"/>
                  <a:gd name="connsiteX91" fmla="*/ 164426 w 1645441"/>
                  <a:gd name="connsiteY91" fmla="*/ 25122 h 37657"/>
                  <a:gd name="connsiteX92" fmla="*/ 169379 w 1645441"/>
                  <a:gd name="connsiteY92" fmla="*/ 20718 h 37657"/>
                  <a:gd name="connsiteX93" fmla="*/ 194701 w 1645441"/>
                  <a:gd name="connsiteY93" fmla="*/ 7507 h 37657"/>
                  <a:gd name="connsiteX94" fmla="*/ 182866 w 1645441"/>
                  <a:gd name="connsiteY94" fmla="*/ 626 h 37657"/>
                  <a:gd name="connsiteX95" fmla="*/ 198554 w 1645441"/>
                  <a:gd name="connsiteY95" fmla="*/ 6957 h 37657"/>
                  <a:gd name="connsiteX96" fmla="*/ 234883 w 1645441"/>
                  <a:gd name="connsiteY96" fmla="*/ 5580 h 37657"/>
                  <a:gd name="connsiteX97" fmla="*/ 245342 w 1645441"/>
                  <a:gd name="connsiteY97" fmla="*/ 626 h 37657"/>
                  <a:gd name="connsiteX98" fmla="*/ 440203 w 1645441"/>
                  <a:gd name="connsiteY98" fmla="*/ 351 h 37657"/>
                  <a:gd name="connsiteX99" fmla="*/ 1634867 w 1645441"/>
                  <a:gd name="connsiteY99" fmla="*/ 207 h 37657"/>
                  <a:gd name="connsiteX100" fmla="*/ 1640226 w 1645441"/>
                  <a:gd name="connsiteY100" fmla="*/ 1291 h 37657"/>
                  <a:gd name="connsiteX101" fmla="*/ 1637748 w 1645441"/>
                  <a:gd name="connsiteY101" fmla="*/ 9548 h 37657"/>
                  <a:gd name="connsiteX102" fmla="*/ 1612428 w 1645441"/>
                  <a:gd name="connsiteY102" fmla="*/ 34594 h 37657"/>
                  <a:gd name="connsiteX103" fmla="*/ 1613804 w 1645441"/>
                  <a:gd name="connsiteY103" fmla="*/ 22483 h 37657"/>
                  <a:gd name="connsiteX104" fmla="*/ 1602795 w 1645441"/>
                  <a:gd name="connsiteY104" fmla="*/ 17254 h 37657"/>
                  <a:gd name="connsiteX105" fmla="*/ 1604996 w 1645441"/>
                  <a:gd name="connsiteY105" fmla="*/ 28814 h 37657"/>
                  <a:gd name="connsiteX106" fmla="*/ 1585180 w 1645441"/>
                  <a:gd name="connsiteY106" fmla="*/ 25236 h 37657"/>
                  <a:gd name="connsiteX107" fmla="*/ 1587657 w 1645441"/>
                  <a:gd name="connsiteY107" fmla="*/ 36245 h 37657"/>
                  <a:gd name="connsiteX108" fmla="*/ 1506190 w 1645441"/>
                  <a:gd name="connsiteY108" fmla="*/ 36245 h 37657"/>
                  <a:gd name="connsiteX109" fmla="*/ 1481695 w 1645441"/>
                  <a:gd name="connsiteY109" fmla="*/ 12025 h 37657"/>
                  <a:gd name="connsiteX110" fmla="*/ 1465731 w 1645441"/>
                  <a:gd name="connsiteY110" fmla="*/ 22759 h 37657"/>
                  <a:gd name="connsiteX111" fmla="*/ 1467658 w 1645441"/>
                  <a:gd name="connsiteY111" fmla="*/ 33218 h 37657"/>
                  <a:gd name="connsiteX112" fmla="*/ 1467933 w 1645441"/>
                  <a:gd name="connsiteY112" fmla="*/ 34869 h 37657"/>
                  <a:gd name="connsiteX113" fmla="*/ 1439310 w 1645441"/>
                  <a:gd name="connsiteY113" fmla="*/ 36520 h 37657"/>
                  <a:gd name="connsiteX114" fmla="*/ 1363897 w 1645441"/>
                  <a:gd name="connsiteY114" fmla="*/ 36795 h 37657"/>
                  <a:gd name="connsiteX115" fmla="*/ 1349310 w 1645441"/>
                  <a:gd name="connsiteY115" fmla="*/ 26061 h 37657"/>
                  <a:gd name="connsiteX116" fmla="*/ 1346007 w 1645441"/>
                  <a:gd name="connsiteY116" fmla="*/ 19456 h 37657"/>
                  <a:gd name="connsiteX117" fmla="*/ 1354264 w 1645441"/>
                  <a:gd name="connsiteY117" fmla="*/ 11474 h 37657"/>
                  <a:gd name="connsiteX118" fmla="*/ 1341879 w 1645441"/>
                  <a:gd name="connsiteY118" fmla="*/ 3768 h 37657"/>
                  <a:gd name="connsiteX119" fmla="*/ 1335824 w 1645441"/>
                  <a:gd name="connsiteY119" fmla="*/ 14502 h 37657"/>
                  <a:gd name="connsiteX120" fmla="*/ 1326741 w 1645441"/>
                  <a:gd name="connsiteY120" fmla="*/ 19181 h 37657"/>
                  <a:gd name="connsiteX121" fmla="*/ 1307200 w 1645441"/>
                  <a:gd name="connsiteY121" fmla="*/ 16704 h 37657"/>
                  <a:gd name="connsiteX122" fmla="*/ 1291237 w 1645441"/>
                  <a:gd name="connsiteY122" fmla="*/ 465 h 37657"/>
                  <a:gd name="connsiteX123" fmla="*/ 1373255 w 1645441"/>
                  <a:gd name="connsiteY123" fmla="*/ 465 h 37657"/>
                  <a:gd name="connsiteX124" fmla="*/ 1406007 w 1645441"/>
                  <a:gd name="connsiteY124" fmla="*/ 465 h 37657"/>
                  <a:gd name="connsiteX125" fmla="*/ 1414539 w 1645441"/>
                  <a:gd name="connsiteY125" fmla="*/ 328 h 37657"/>
                  <a:gd name="connsiteX126" fmla="*/ 1420594 w 1645441"/>
                  <a:gd name="connsiteY126" fmla="*/ 7621 h 37657"/>
                  <a:gd name="connsiteX127" fmla="*/ 1438209 w 1645441"/>
                  <a:gd name="connsiteY127" fmla="*/ 12025 h 37657"/>
                  <a:gd name="connsiteX128" fmla="*/ 1449768 w 1645441"/>
                  <a:gd name="connsiteY128" fmla="*/ 13126 h 37657"/>
                  <a:gd name="connsiteX129" fmla="*/ 1446190 w 1645441"/>
                  <a:gd name="connsiteY129" fmla="*/ 465 h 37657"/>
                  <a:gd name="connsiteX130" fmla="*/ 1473988 w 1645441"/>
                  <a:gd name="connsiteY130" fmla="*/ 465 h 37657"/>
                  <a:gd name="connsiteX131" fmla="*/ 1588483 w 1645441"/>
                  <a:gd name="connsiteY131" fmla="*/ 465 h 37657"/>
                  <a:gd name="connsiteX132" fmla="*/ 1595914 w 1645441"/>
                  <a:gd name="connsiteY132" fmla="*/ 741 h 37657"/>
                  <a:gd name="connsiteX133" fmla="*/ 1599767 w 1645441"/>
                  <a:gd name="connsiteY133" fmla="*/ 5694 h 37657"/>
                  <a:gd name="connsiteX134" fmla="*/ 1594813 w 1645441"/>
                  <a:gd name="connsiteY134" fmla="*/ 6795 h 37657"/>
                  <a:gd name="connsiteX135" fmla="*/ 1587932 w 1645441"/>
                  <a:gd name="connsiteY135" fmla="*/ 4869 h 37657"/>
                  <a:gd name="connsiteX136" fmla="*/ 1582703 w 1645441"/>
                  <a:gd name="connsiteY136" fmla="*/ 9548 h 37657"/>
                  <a:gd name="connsiteX137" fmla="*/ 1588208 w 1645441"/>
                  <a:gd name="connsiteY137" fmla="*/ 13126 h 37657"/>
                  <a:gd name="connsiteX138" fmla="*/ 1609400 w 1645441"/>
                  <a:gd name="connsiteY138" fmla="*/ 3768 h 37657"/>
                  <a:gd name="connsiteX139" fmla="*/ 1634867 w 1645441"/>
                  <a:gd name="connsiteY139" fmla="*/ 207 h 37657"/>
                  <a:gd name="connsiteX140" fmla="*/ 814109 w 1645441"/>
                  <a:gd name="connsiteY140" fmla="*/ 93 h 37657"/>
                  <a:gd name="connsiteX141" fmla="*/ 819468 w 1645441"/>
                  <a:gd name="connsiteY141" fmla="*/ 1177 h 37657"/>
                  <a:gd name="connsiteX142" fmla="*/ 816990 w 1645441"/>
                  <a:gd name="connsiteY142" fmla="*/ 9434 h 37657"/>
                  <a:gd name="connsiteX143" fmla="*/ 791670 w 1645441"/>
                  <a:gd name="connsiteY143" fmla="*/ 34480 h 37657"/>
                  <a:gd name="connsiteX144" fmla="*/ 793046 w 1645441"/>
                  <a:gd name="connsiteY144" fmla="*/ 22369 h 37657"/>
                  <a:gd name="connsiteX145" fmla="*/ 782037 w 1645441"/>
                  <a:gd name="connsiteY145" fmla="*/ 17140 h 37657"/>
                  <a:gd name="connsiteX146" fmla="*/ 784238 w 1645441"/>
                  <a:gd name="connsiteY146" fmla="*/ 28700 h 37657"/>
                  <a:gd name="connsiteX147" fmla="*/ 764422 w 1645441"/>
                  <a:gd name="connsiteY147" fmla="*/ 25122 h 37657"/>
                  <a:gd name="connsiteX148" fmla="*/ 766899 w 1645441"/>
                  <a:gd name="connsiteY148" fmla="*/ 36131 h 37657"/>
                  <a:gd name="connsiteX149" fmla="*/ 685432 w 1645441"/>
                  <a:gd name="connsiteY149" fmla="*/ 36131 h 37657"/>
                  <a:gd name="connsiteX150" fmla="*/ 660937 w 1645441"/>
                  <a:gd name="connsiteY150" fmla="*/ 11911 h 37657"/>
                  <a:gd name="connsiteX151" fmla="*/ 644973 w 1645441"/>
                  <a:gd name="connsiteY151" fmla="*/ 22645 h 37657"/>
                  <a:gd name="connsiteX152" fmla="*/ 646900 w 1645441"/>
                  <a:gd name="connsiteY152" fmla="*/ 33104 h 37657"/>
                  <a:gd name="connsiteX153" fmla="*/ 647175 w 1645441"/>
                  <a:gd name="connsiteY153" fmla="*/ 34755 h 37657"/>
                  <a:gd name="connsiteX154" fmla="*/ 618552 w 1645441"/>
                  <a:gd name="connsiteY154" fmla="*/ 36406 h 37657"/>
                  <a:gd name="connsiteX155" fmla="*/ 543139 w 1645441"/>
                  <a:gd name="connsiteY155" fmla="*/ 36681 h 37657"/>
                  <a:gd name="connsiteX156" fmla="*/ 528552 w 1645441"/>
                  <a:gd name="connsiteY156" fmla="*/ 25947 h 37657"/>
                  <a:gd name="connsiteX157" fmla="*/ 525249 w 1645441"/>
                  <a:gd name="connsiteY157" fmla="*/ 19342 h 37657"/>
                  <a:gd name="connsiteX158" fmla="*/ 533506 w 1645441"/>
                  <a:gd name="connsiteY158" fmla="*/ 11360 h 37657"/>
                  <a:gd name="connsiteX159" fmla="*/ 521121 w 1645441"/>
                  <a:gd name="connsiteY159" fmla="*/ 3654 h 37657"/>
                  <a:gd name="connsiteX160" fmla="*/ 515066 w 1645441"/>
                  <a:gd name="connsiteY160" fmla="*/ 14388 h 37657"/>
                  <a:gd name="connsiteX161" fmla="*/ 505983 w 1645441"/>
                  <a:gd name="connsiteY161" fmla="*/ 19067 h 37657"/>
                  <a:gd name="connsiteX162" fmla="*/ 486442 w 1645441"/>
                  <a:gd name="connsiteY162" fmla="*/ 16590 h 37657"/>
                  <a:gd name="connsiteX163" fmla="*/ 470479 w 1645441"/>
                  <a:gd name="connsiteY163" fmla="*/ 351 h 37657"/>
                  <a:gd name="connsiteX164" fmla="*/ 552497 w 1645441"/>
                  <a:gd name="connsiteY164" fmla="*/ 351 h 37657"/>
                  <a:gd name="connsiteX165" fmla="*/ 585249 w 1645441"/>
                  <a:gd name="connsiteY165" fmla="*/ 351 h 37657"/>
                  <a:gd name="connsiteX166" fmla="*/ 593781 w 1645441"/>
                  <a:gd name="connsiteY166" fmla="*/ 214 h 37657"/>
                  <a:gd name="connsiteX167" fmla="*/ 599836 w 1645441"/>
                  <a:gd name="connsiteY167" fmla="*/ 7507 h 37657"/>
                  <a:gd name="connsiteX168" fmla="*/ 617451 w 1645441"/>
                  <a:gd name="connsiteY168" fmla="*/ 11911 h 37657"/>
                  <a:gd name="connsiteX169" fmla="*/ 629010 w 1645441"/>
                  <a:gd name="connsiteY169" fmla="*/ 13012 h 37657"/>
                  <a:gd name="connsiteX170" fmla="*/ 625432 w 1645441"/>
                  <a:gd name="connsiteY170" fmla="*/ 351 h 37657"/>
                  <a:gd name="connsiteX171" fmla="*/ 653230 w 1645441"/>
                  <a:gd name="connsiteY171" fmla="*/ 351 h 37657"/>
                  <a:gd name="connsiteX172" fmla="*/ 767725 w 1645441"/>
                  <a:gd name="connsiteY172" fmla="*/ 351 h 37657"/>
                  <a:gd name="connsiteX173" fmla="*/ 775156 w 1645441"/>
                  <a:gd name="connsiteY173" fmla="*/ 627 h 37657"/>
                  <a:gd name="connsiteX174" fmla="*/ 779009 w 1645441"/>
                  <a:gd name="connsiteY174" fmla="*/ 5580 h 37657"/>
                  <a:gd name="connsiteX175" fmla="*/ 774055 w 1645441"/>
                  <a:gd name="connsiteY175" fmla="*/ 6681 h 37657"/>
                  <a:gd name="connsiteX176" fmla="*/ 767174 w 1645441"/>
                  <a:gd name="connsiteY176" fmla="*/ 4755 h 37657"/>
                  <a:gd name="connsiteX177" fmla="*/ 761945 w 1645441"/>
                  <a:gd name="connsiteY177" fmla="*/ 9434 h 37657"/>
                  <a:gd name="connsiteX178" fmla="*/ 767450 w 1645441"/>
                  <a:gd name="connsiteY178" fmla="*/ 13012 h 37657"/>
                  <a:gd name="connsiteX179" fmla="*/ 788642 w 1645441"/>
                  <a:gd name="connsiteY179" fmla="*/ 3654 h 37657"/>
                  <a:gd name="connsiteX180" fmla="*/ 814109 w 1645441"/>
                  <a:gd name="connsiteY180" fmla="*/ 93 h 3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645441" h="37657">
                    <a:moveTo>
                      <a:pt x="1323163" y="28780"/>
                    </a:moveTo>
                    <a:cubicBezTo>
                      <a:pt x="1326466" y="28539"/>
                      <a:pt x="1329769" y="30878"/>
                      <a:pt x="1333347" y="36796"/>
                    </a:cubicBezTo>
                    <a:cubicBezTo>
                      <a:pt x="1325916" y="37621"/>
                      <a:pt x="1319861" y="38447"/>
                      <a:pt x="1312980" y="36245"/>
                    </a:cubicBezTo>
                    <a:cubicBezTo>
                      <a:pt x="1316558" y="31842"/>
                      <a:pt x="1319861" y="29021"/>
                      <a:pt x="1323163" y="28780"/>
                    </a:cubicBezTo>
                    <a:close/>
                    <a:moveTo>
                      <a:pt x="502405" y="28666"/>
                    </a:moveTo>
                    <a:cubicBezTo>
                      <a:pt x="505708" y="28425"/>
                      <a:pt x="509011" y="30764"/>
                      <a:pt x="512589" y="36682"/>
                    </a:cubicBezTo>
                    <a:cubicBezTo>
                      <a:pt x="505158" y="37507"/>
                      <a:pt x="499103" y="38333"/>
                      <a:pt x="492222" y="36131"/>
                    </a:cubicBezTo>
                    <a:cubicBezTo>
                      <a:pt x="495800" y="31728"/>
                      <a:pt x="499103" y="28907"/>
                      <a:pt x="502405" y="28666"/>
                    </a:cubicBezTo>
                    <a:close/>
                    <a:moveTo>
                      <a:pt x="1645441" y="21503"/>
                    </a:moveTo>
                    <a:lnTo>
                      <a:pt x="1645441" y="33701"/>
                    </a:lnTo>
                    <a:lnTo>
                      <a:pt x="1640157" y="32461"/>
                    </a:lnTo>
                    <a:cubicBezTo>
                      <a:pt x="1638299" y="32048"/>
                      <a:pt x="1637336" y="31016"/>
                      <a:pt x="1639950" y="27438"/>
                    </a:cubicBezTo>
                    <a:close/>
                    <a:moveTo>
                      <a:pt x="833779" y="19618"/>
                    </a:moveTo>
                    <a:cubicBezTo>
                      <a:pt x="838182" y="21269"/>
                      <a:pt x="843962" y="24022"/>
                      <a:pt x="843962" y="30627"/>
                    </a:cubicBezTo>
                    <a:cubicBezTo>
                      <a:pt x="838182" y="34755"/>
                      <a:pt x="832953" y="42187"/>
                      <a:pt x="824972" y="33655"/>
                    </a:cubicBezTo>
                    <a:cubicBezTo>
                      <a:pt x="823045" y="31453"/>
                      <a:pt x="813963" y="34480"/>
                      <a:pt x="819192" y="27324"/>
                    </a:cubicBezTo>
                    <a:cubicBezTo>
                      <a:pt x="822219" y="23196"/>
                      <a:pt x="827173" y="16866"/>
                      <a:pt x="833779" y="19618"/>
                    </a:cubicBezTo>
                    <a:close/>
                    <a:moveTo>
                      <a:pt x="1645441" y="5017"/>
                    </a:moveTo>
                    <a:lnTo>
                      <a:pt x="1645441" y="6122"/>
                    </a:lnTo>
                    <a:lnTo>
                      <a:pt x="1644904" y="5420"/>
                    </a:lnTo>
                    <a:close/>
                    <a:moveTo>
                      <a:pt x="18831" y="627"/>
                    </a:moveTo>
                    <a:cubicBezTo>
                      <a:pt x="38647" y="627"/>
                      <a:pt x="58188" y="627"/>
                      <a:pt x="78005" y="627"/>
                    </a:cubicBezTo>
                    <a:cubicBezTo>
                      <a:pt x="100298" y="627"/>
                      <a:pt x="122316" y="627"/>
                      <a:pt x="144609" y="627"/>
                    </a:cubicBezTo>
                    <a:cubicBezTo>
                      <a:pt x="149013" y="627"/>
                      <a:pt x="153417" y="-475"/>
                      <a:pt x="155894" y="5580"/>
                    </a:cubicBezTo>
                    <a:cubicBezTo>
                      <a:pt x="157820" y="11085"/>
                      <a:pt x="157270" y="14663"/>
                      <a:pt x="154518" y="19617"/>
                    </a:cubicBezTo>
                    <a:cubicBezTo>
                      <a:pt x="151765" y="24296"/>
                      <a:pt x="142132" y="26222"/>
                      <a:pt x="147362" y="34754"/>
                    </a:cubicBezTo>
                    <a:cubicBezTo>
                      <a:pt x="147912" y="35580"/>
                      <a:pt x="145435" y="36956"/>
                      <a:pt x="143509" y="36681"/>
                    </a:cubicBezTo>
                    <a:cubicBezTo>
                      <a:pt x="130848" y="35305"/>
                      <a:pt x="117637" y="39708"/>
                      <a:pt x="105252" y="33653"/>
                    </a:cubicBezTo>
                    <a:cubicBezTo>
                      <a:pt x="103601" y="32828"/>
                      <a:pt x="101124" y="32552"/>
                      <a:pt x="99197" y="33103"/>
                    </a:cubicBezTo>
                    <a:cubicBezTo>
                      <a:pt x="71950" y="40809"/>
                      <a:pt x="44427" y="35030"/>
                      <a:pt x="16904" y="36406"/>
                    </a:cubicBezTo>
                    <a:cubicBezTo>
                      <a:pt x="5895" y="36956"/>
                      <a:pt x="-985" y="33103"/>
                      <a:pt x="115" y="19066"/>
                    </a:cubicBezTo>
                    <a:cubicBezTo>
                      <a:pt x="1767" y="627"/>
                      <a:pt x="666" y="627"/>
                      <a:pt x="18831" y="627"/>
                    </a:cubicBezTo>
                    <a:close/>
                    <a:moveTo>
                      <a:pt x="168624" y="524"/>
                    </a:moveTo>
                    <a:cubicBezTo>
                      <a:pt x="171032" y="1178"/>
                      <a:pt x="173372" y="2829"/>
                      <a:pt x="175711" y="4480"/>
                    </a:cubicBezTo>
                    <a:cubicBezTo>
                      <a:pt x="177637" y="5857"/>
                      <a:pt x="180940" y="3655"/>
                      <a:pt x="182591" y="8609"/>
                    </a:cubicBezTo>
                    <a:cubicBezTo>
                      <a:pt x="180665" y="9710"/>
                      <a:pt x="179013" y="10811"/>
                      <a:pt x="177087" y="11361"/>
                    </a:cubicBezTo>
                    <a:cubicBezTo>
                      <a:pt x="171307" y="13288"/>
                      <a:pt x="165803" y="12462"/>
                      <a:pt x="161123" y="8334"/>
                    </a:cubicBezTo>
                    <a:cubicBezTo>
                      <a:pt x="159472" y="6682"/>
                      <a:pt x="159472" y="3930"/>
                      <a:pt x="161123" y="2554"/>
                    </a:cubicBezTo>
                    <a:cubicBezTo>
                      <a:pt x="163738" y="214"/>
                      <a:pt x="166215" y="-130"/>
                      <a:pt x="168624" y="524"/>
                    </a:cubicBezTo>
                    <a:close/>
                    <a:moveTo>
                      <a:pt x="1260961" y="465"/>
                    </a:moveTo>
                    <a:cubicBezTo>
                      <a:pt x="1268392" y="465"/>
                      <a:pt x="1267842" y="6245"/>
                      <a:pt x="1271420" y="8447"/>
                    </a:cubicBezTo>
                    <a:cubicBezTo>
                      <a:pt x="1280502" y="13951"/>
                      <a:pt x="1272521" y="23860"/>
                      <a:pt x="1278575" y="31566"/>
                    </a:cubicBezTo>
                    <a:cubicBezTo>
                      <a:pt x="1282429" y="35970"/>
                      <a:pt x="1273071" y="37071"/>
                      <a:pt x="1268392" y="37071"/>
                    </a:cubicBezTo>
                    <a:cubicBezTo>
                      <a:pt x="1229861" y="37071"/>
                      <a:pt x="1191329" y="37071"/>
                      <a:pt x="1152797" y="37071"/>
                    </a:cubicBezTo>
                    <a:cubicBezTo>
                      <a:pt x="1140962" y="37071"/>
                      <a:pt x="1129127" y="36520"/>
                      <a:pt x="1117568" y="37071"/>
                    </a:cubicBezTo>
                    <a:cubicBezTo>
                      <a:pt x="1109174" y="37484"/>
                      <a:pt x="1101054" y="37071"/>
                      <a:pt x="1093176" y="35557"/>
                    </a:cubicBezTo>
                    <a:lnTo>
                      <a:pt x="1092403" y="35283"/>
                    </a:lnTo>
                    <a:lnTo>
                      <a:pt x="1092403" y="36682"/>
                    </a:lnTo>
                    <a:lnTo>
                      <a:pt x="1061686" y="36682"/>
                    </a:lnTo>
                    <a:lnTo>
                      <a:pt x="1061696" y="36795"/>
                    </a:lnTo>
                    <a:lnTo>
                      <a:pt x="1010880" y="36795"/>
                    </a:lnTo>
                    <a:lnTo>
                      <a:pt x="1010880" y="36682"/>
                    </a:lnTo>
                    <a:lnTo>
                      <a:pt x="973870" y="36682"/>
                    </a:lnTo>
                    <a:cubicBezTo>
                      <a:pt x="963136" y="36682"/>
                      <a:pt x="965063" y="27599"/>
                      <a:pt x="964787" y="22920"/>
                    </a:cubicBezTo>
                    <a:cubicBezTo>
                      <a:pt x="964787" y="15214"/>
                      <a:pt x="960659" y="14663"/>
                      <a:pt x="955705" y="15214"/>
                    </a:cubicBezTo>
                    <a:cubicBezTo>
                      <a:pt x="947998" y="16040"/>
                      <a:pt x="953503" y="20168"/>
                      <a:pt x="954054" y="23196"/>
                    </a:cubicBezTo>
                    <a:cubicBezTo>
                      <a:pt x="955154" y="28700"/>
                      <a:pt x="951852" y="27599"/>
                      <a:pt x="948273" y="27324"/>
                    </a:cubicBezTo>
                    <a:cubicBezTo>
                      <a:pt x="938365" y="26774"/>
                      <a:pt x="935338" y="16865"/>
                      <a:pt x="928732" y="12187"/>
                    </a:cubicBezTo>
                    <a:cubicBezTo>
                      <a:pt x="920751" y="6682"/>
                      <a:pt x="914971" y="7232"/>
                      <a:pt x="907540" y="9985"/>
                    </a:cubicBezTo>
                    <a:cubicBezTo>
                      <a:pt x="905063" y="6682"/>
                      <a:pt x="901485" y="6407"/>
                      <a:pt x="897907" y="5306"/>
                    </a:cubicBezTo>
                    <a:cubicBezTo>
                      <a:pt x="899008" y="10260"/>
                      <a:pt x="891852" y="14113"/>
                      <a:pt x="894880" y="18517"/>
                    </a:cubicBezTo>
                    <a:cubicBezTo>
                      <a:pt x="899008" y="24297"/>
                      <a:pt x="890201" y="28425"/>
                      <a:pt x="894329" y="34205"/>
                    </a:cubicBezTo>
                    <a:cubicBezTo>
                      <a:pt x="895705" y="35856"/>
                      <a:pt x="891852" y="36682"/>
                      <a:pt x="889925" y="36682"/>
                    </a:cubicBezTo>
                    <a:cubicBezTo>
                      <a:pt x="876439" y="36682"/>
                      <a:pt x="862678" y="36407"/>
                      <a:pt x="848916" y="36682"/>
                    </a:cubicBezTo>
                    <a:cubicBezTo>
                      <a:pt x="843963" y="36957"/>
                      <a:pt x="843687" y="34205"/>
                      <a:pt x="844238" y="30627"/>
                    </a:cubicBezTo>
                    <a:cubicBezTo>
                      <a:pt x="847541" y="28150"/>
                      <a:pt x="852219" y="36131"/>
                      <a:pt x="854421" y="30352"/>
                    </a:cubicBezTo>
                    <a:cubicBezTo>
                      <a:pt x="856072" y="26223"/>
                      <a:pt x="853045" y="22370"/>
                      <a:pt x="849192" y="19893"/>
                    </a:cubicBezTo>
                    <a:cubicBezTo>
                      <a:pt x="842311" y="15489"/>
                      <a:pt x="850017" y="6407"/>
                      <a:pt x="842311" y="1453"/>
                    </a:cubicBezTo>
                    <a:lnTo>
                      <a:pt x="1010880" y="1453"/>
                    </a:lnTo>
                    <a:lnTo>
                      <a:pt x="1010880" y="973"/>
                    </a:lnTo>
                    <a:lnTo>
                      <a:pt x="1012190" y="1016"/>
                    </a:lnTo>
                    <a:lnTo>
                      <a:pt x="1012704" y="1453"/>
                    </a:lnTo>
                    <a:lnTo>
                      <a:pt x="1060146" y="1453"/>
                    </a:lnTo>
                    <a:lnTo>
                      <a:pt x="1060355" y="1256"/>
                    </a:lnTo>
                    <a:cubicBezTo>
                      <a:pt x="1062109" y="671"/>
                      <a:pt x="1064036" y="740"/>
                      <a:pt x="1066100" y="740"/>
                    </a:cubicBezTo>
                    <a:cubicBezTo>
                      <a:pt x="1131054" y="740"/>
                      <a:pt x="1196008" y="1015"/>
                      <a:pt x="1260961" y="465"/>
                    </a:cubicBezTo>
                    <a:close/>
                    <a:moveTo>
                      <a:pt x="830751" y="352"/>
                    </a:moveTo>
                    <a:cubicBezTo>
                      <a:pt x="832953" y="352"/>
                      <a:pt x="835706" y="1453"/>
                      <a:pt x="834330" y="3654"/>
                    </a:cubicBezTo>
                    <a:cubicBezTo>
                      <a:pt x="832953" y="6406"/>
                      <a:pt x="829926" y="8058"/>
                      <a:pt x="827724" y="9984"/>
                    </a:cubicBezTo>
                    <a:cubicBezTo>
                      <a:pt x="824421" y="9159"/>
                      <a:pt x="823871" y="7783"/>
                      <a:pt x="824146" y="5306"/>
                    </a:cubicBezTo>
                    <a:cubicBezTo>
                      <a:pt x="824696" y="1177"/>
                      <a:pt x="827449" y="77"/>
                      <a:pt x="830751" y="352"/>
                    </a:cubicBezTo>
                    <a:close/>
                    <a:moveTo>
                      <a:pt x="440203" y="351"/>
                    </a:moveTo>
                    <a:cubicBezTo>
                      <a:pt x="447634" y="351"/>
                      <a:pt x="447084" y="6131"/>
                      <a:pt x="450662" y="8333"/>
                    </a:cubicBezTo>
                    <a:cubicBezTo>
                      <a:pt x="459744" y="13837"/>
                      <a:pt x="451763" y="23746"/>
                      <a:pt x="457817" y="31452"/>
                    </a:cubicBezTo>
                    <a:cubicBezTo>
                      <a:pt x="461671" y="35856"/>
                      <a:pt x="452313" y="36957"/>
                      <a:pt x="447634" y="36957"/>
                    </a:cubicBezTo>
                    <a:cubicBezTo>
                      <a:pt x="409103" y="36957"/>
                      <a:pt x="370571" y="36957"/>
                      <a:pt x="332039" y="36957"/>
                    </a:cubicBezTo>
                    <a:cubicBezTo>
                      <a:pt x="320204" y="36957"/>
                      <a:pt x="308369" y="36406"/>
                      <a:pt x="296810" y="36957"/>
                    </a:cubicBezTo>
                    <a:cubicBezTo>
                      <a:pt x="280021" y="37782"/>
                      <a:pt x="264333" y="35305"/>
                      <a:pt x="249471" y="27324"/>
                    </a:cubicBezTo>
                    <a:cubicBezTo>
                      <a:pt x="246719" y="25947"/>
                      <a:pt x="243140" y="24847"/>
                      <a:pt x="240113" y="27048"/>
                    </a:cubicBezTo>
                    <a:cubicBezTo>
                      <a:pt x="234883" y="30626"/>
                      <a:pt x="242865" y="33103"/>
                      <a:pt x="240938" y="36681"/>
                    </a:cubicBezTo>
                    <a:cubicBezTo>
                      <a:pt x="213691" y="36681"/>
                      <a:pt x="186444" y="36681"/>
                      <a:pt x="158921" y="36681"/>
                    </a:cubicBezTo>
                    <a:cubicBezTo>
                      <a:pt x="160848" y="32828"/>
                      <a:pt x="162774" y="28975"/>
                      <a:pt x="164426" y="25122"/>
                    </a:cubicBezTo>
                    <a:cubicBezTo>
                      <a:pt x="165526" y="22645"/>
                      <a:pt x="166627" y="19342"/>
                      <a:pt x="169379" y="20718"/>
                    </a:cubicBezTo>
                    <a:cubicBezTo>
                      <a:pt x="183967" y="28149"/>
                      <a:pt x="189196" y="18241"/>
                      <a:pt x="194701" y="7507"/>
                    </a:cubicBezTo>
                    <a:cubicBezTo>
                      <a:pt x="192223" y="3379"/>
                      <a:pt x="185343" y="7782"/>
                      <a:pt x="182866" y="626"/>
                    </a:cubicBezTo>
                    <a:cubicBezTo>
                      <a:pt x="189196" y="1452"/>
                      <a:pt x="194150" y="-1576"/>
                      <a:pt x="198554" y="6957"/>
                    </a:cubicBezTo>
                    <a:cubicBezTo>
                      <a:pt x="204058" y="17690"/>
                      <a:pt x="229654" y="16039"/>
                      <a:pt x="234883" y="5580"/>
                    </a:cubicBezTo>
                    <a:cubicBezTo>
                      <a:pt x="237636" y="351"/>
                      <a:pt x="241214" y="626"/>
                      <a:pt x="245342" y="626"/>
                    </a:cubicBezTo>
                    <a:cubicBezTo>
                      <a:pt x="310296" y="626"/>
                      <a:pt x="375250" y="901"/>
                      <a:pt x="440203" y="351"/>
                    </a:cubicBezTo>
                    <a:close/>
                    <a:moveTo>
                      <a:pt x="1634867" y="207"/>
                    </a:moveTo>
                    <a:cubicBezTo>
                      <a:pt x="1637749" y="328"/>
                      <a:pt x="1639813" y="672"/>
                      <a:pt x="1640226" y="1291"/>
                    </a:cubicBezTo>
                    <a:cubicBezTo>
                      <a:pt x="1642703" y="4593"/>
                      <a:pt x="1641051" y="8447"/>
                      <a:pt x="1637748" y="9548"/>
                    </a:cubicBezTo>
                    <a:cubicBezTo>
                      <a:pt x="1627015" y="15603"/>
                      <a:pt x="1619309" y="24135"/>
                      <a:pt x="1612428" y="34594"/>
                    </a:cubicBezTo>
                    <a:cubicBezTo>
                      <a:pt x="1612978" y="30465"/>
                      <a:pt x="1615455" y="25236"/>
                      <a:pt x="1613804" y="22483"/>
                    </a:cubicBezTo>
                    <a:cubicBezTo>
                      <a:pt x="1612152" y="19456"/>
                      <a:pt x="1606373" y="18906"/>
                      <a:pt x="1602795" y="17254"/>
                    </a:cubicBezTo>
                    <a:cubicBezTo>
                      <a:pt x="1598666" y="23034"/>
                      <a:pt x="1610776" y="24685"/>
                      <a:pt x="1604996" y="28814"/>
                    </a:cubicBezTo>
                    <a:cubicBezTo>
                      <a:pt x="1598666" y="33493"/>
                      <a:pt x="1592336" y="28263"/>
                      <a:pt x="1585180" y="25236"/>
                    </a:cubicBezTo>
                    <a:cubicBezTo>
                      <a:pt x="1586006" y="29089"/>
                      <a:pt x="1586831" y="32392"/>
                      <a:pt x="1587657" y="36245"/>
                    </a:cubicBezTo>
                    <a:cubicBezTo>
                      <a:pt x="1560134" y="36245"/>
                      <a:pt x="1533162" y="36245"/>
                      <a:pt x="1506190" y="36245"/>
                    </a:cubicBezTo>
                    <a:cubicBezTo>
                      <a:pt x="1506190" y="25511"/>
                      <a:pt x="1493254" y="12025"/>
                      <a:pt x="1481695" y="12025"/>
                    </a:cubicBezTo>
                    <a:cubicBezTo>
                      <a:pt x="1474538" y="12025"/>
                      <a:pt x="1470410" y="18630"/>
                      <a:pt x="1465731" y="22759"/>
                    </a:cubicBezTo>
                    <a:cubicBezTo>
                      <a:pt x="1461052" y="26887"/>
                      <a:pt x="1466007" y="29915"/>
                      <a:pt x="1467658" y="33218"/>
                    </a:cubicBezTo>
                    <a:cubicBezTo>
                      <a:pt x="1467383" y="33768"/>
                      <a:pt x="1467383" y="34318"/>
                      <a:pt x="1467933" y="34869"/>
                    </a:cubicBezTo>
                    <a:cubicBezTo>
                      <a:pt x="1458576" y="38447"/>
                      <a:pt x="1448942" y="36520"/>
                      <a:pt x="1439310" y="36520"/>
                    </a:cubicBezTo>
                    <a:cubicBezTo>
                      <a:pt x="1414264" y="36795"/>
                      <a:pt x="1388943" y="36520"/>
                      <a:pt x="1363897" y="36795"/>
                    </a:cubicBezTo>
                    <a:cubicBezTo>
                      <a:pt x="1355640" y="36795"/>
                      <a:pt x="1348759" y="37346"/>
                      <a:pt x="1349310" y="26061"/>
                    </a:cubicBezTo>
                    <a:cubicBezTo>
                      <a:pt x="1349310" y="23860"/>
                      <a:pt x="1347108" y="21658"/>
                      <a:pt x="1346007" y="19456"/>
                    </a:cubicBezTo>
                    <a:cubicBezTo>
                      <a:pt x="1349035" y="16153"/>
                      <a:pt x="1357842" y="16704"/>
                      <a:pt x="1354264" y="11474"/>
                    </a:cubicBezTo>
                    <a:cubicBezTo>
                      <a:pt x="1352613" y="8997"/>
                      <a:pt x="1348484" y="1291"/>
                      <a:pt x="1341879" y="3768"/>
                    </a:cubicBezTo>
                    <a:cubicBezTo>
                      <a:pt x="1337200" y="5694"/>
                      <a:pt x="1334173" y="8722"/>
                      <a:pt x="1335824" y="14502"/>
                    </a:cubicBezTo>
                    <a:cubicBezTo>
                      <a:pt x="1336925" y="18355"/>
                      <a:pt x="1331145" y="21382"/>
                      <a:pt x="1326741" y="19181"/>
                    </a:cubicBezTo>
                    <a:cubicBezTo>
                      <a:pt x="1320411" y="15878"/>
                      <a:pt x="1314906" y="14777"/>
                      <a:pt x="1307200" y="16704"/>
                    </a:cubicBezTo>
                    <a:cubicBezTo>
                      <a:pt x="1298118" y="18906"/>
                      <a:pt x="1298669" y="5144"/>
                      <a:pt x="1291237" y="465"/>
                    </a:cubicBezTo>
                    <a:cubicBezTo>
                      <a:pt x="1318485" y="465"/>
                      <a:pt x="1346007" y="465"/>
                      <a:pt x="1373255" y="465"/>
                    </a:cubicBezTo>
                    <a:cubicBezTo>
                      <a:pt x="1384264" y="465"/>
                      <a:pt x="1394998" y="190"/>
                      <a:pt x="1406007" y="465"/>
                    </a:cubicBezTo>
                    <a:cubicBezTo>
                      <a:pt x="1408897" y="465"/>
                      <a:pt x="1411925" y="-223"/>
                      <a:pt x="1414539" y="328"/>
                    </a:cubicBezTo>
                    <a:cubicBezTo>
                      <a:pt x="1417154" y="878"/>
                      <a:pt x="1419355" y="2667"/>
                      <a:pt x="1420594" y="7621"/>
                    </a:cubicBezTo>
                    <a:cubicBezTo>
                      <a:pt x="1421420" y="10649"/>
                      <a:pt x="1434355" y="14502"/>
                      <a:pt x="1438209" y="12025"/>
                    </a:cubicBezTo>
                    <a:cubicBezTo>
                      <a:pt x="1443988" y="8722"/>
                      <a:pt x="1445915" y="14502"/>
                      <a:pt x="1449768" y="13126"/>
                    </a:cubicBezTo>
                    <a:cubicBezTo>
                      <a:pt x="1452796" y="8171"/>
                      <a:pt x="1446190" y="6245"/>
                      <a:pt x="1446190" y="465"/>
                    </a:cubicBezTo>
                    <a:cubicBezTo>
                      <a:pt x="1455273" y="465"/>
                      <a:pt x="1464630" y="465"/>
                      <a:pt x="1473988" y="465"/>
                    </a:cubicBezTo>
                    <a:cubicBezTo>
                      <a:pt x="1512245" y="465"/>
                      <a:pt x="1550226" y="465"/>
                      <a:pt x="1588483" y="465"/>
                    </a:cubicBezTo>
                    <a:cubicBezTo>
                      <a:pt x="1590960" y="465"/>
                      <a:pt x="1593437" y="465"/>
                      <a:pt x="1595914" y="741"/>
                    </a:cubicBezTo>
                    <a:cubicBezTo>
                      <a:pt x="1599217" y="741"/>
                      <a:pt x="1600593" y="2942"/>
                      <a:pt x="1599767" y="5694"/>
                    </a:cubicBezTo>
                    <a:cubicBezTo>
                      <a:pt x="1598941" y="8447"/>
                      <a:pt x="1596739" y="7896"/>
                      <a:pt x="1594813" y="6795"/>
                    </a:cubicBezTo>
                    <a:cubicBezTo>
                      <a:pt x="1592886" y="5419"/>
                      <a:pt x="1590685" y="4043"/>
                      <a:pt x="1587932" y="4869"/>
                    </a:cubicBezTo>
                    <a:cubicBezTo>
                      <a:pt x="1585455" y="5694"/>
                      <a:pt x="1582703" y="6795"/>
                      <a:pt x="1582703" y="9548"/>
                    </a:cubicBezTo>
                    <a:cubicBezTo>
                      <a:pt x="1582703" y="12850"/>
                      <a:pt x="1585455" y="13676"/>
                      <a:pt x="1588208" y="13126"/>
                    </a:cubicBezTo>
                    <a:cubicBezTo>
                      <a:pt x="1595914" y="11750"/>
                      <a:pt x="1605272" y="13951"/>
                      <a:pt x="1609400" y="3768"/>
                    </a:cubicBezTo>
                    <a:cubicBezTo>
                      <a:pt x="1610226" y="1497"/>
                      <a:pt x="1626223" y="-154"/>
                      <a:pt x="1634867" y="207"/>
                    </a:cubicBezTo>
                    <a:close/>
                    <a:moveTo>
                      <a:pt x="814109" y="93"/>
                    </a:moveTo>
                    <a:cubicBezTo>
                      <a:pt x="816991" y="214"/>
                      <a:pt x="819055" y="558"/>
                      <a:pt x="819468" y="1177"/>
                    </a:cubicBezTo>
                    <a:cubicBezTo>
                      <a:pt x="821945" y="4479"/>
                      <a:pt x="820293" y="8333"/>
                      <a:pt x="816990" y="9434"/>
                    </a:cubicBezTo>
                    <a:cubicBezTo>
                      <a:pt x="806257" y="15489"/>
                      <a:pt x="798551" y="24021"/>
                      <a:pt x="791670" y="34480"/>
                    </a:cubicBezTo>
                    <a:cubicBezTo>
                      <a:pt x="792220" y="30351"/>
                      <a:pt x="794697" y="25122"/>
                      <a:pt x="793046" y="22369"/>
                    </a:cubicBezTo>
                    <a:cubicBezTo>
                      <a:pt x="791394" y="19342"/>
                      <a:pt x="785615" y="18792"/>
                      <a:pt x="782037" y="17140"/>
                    </a:cubicBezTo>
                    <a:cubicBezTo>
                      <a:pt x="777908" y="22920"/>
                      <a:pt x="790018" y="24571"/>
                      <a:pt x="784238" y="28700"/>
                    </a:cubicBezTo>
                    <a:cubicBezTo>
                      <a:pt x="777908" y="33379"/>
                      <a:pt x="771578" y="28149"/>
                      <a:pt x="764422" y="25122"/>
                    </a:cubicBezTo>
                    <a:cubicBezTo>
                      <a:pt x="765248" y="28975"/>
                      <a:pt x="766073" y="32278"/>
                      <a:pt x="766899" y="36131"/>
                    </a:cubicBezTo>
                    <a:cubicBezTo>
                      <a:pt x="739376" y="36131"/>
                      <a:pt x="712404" y="36131"/>
                      <a:pt x="685432" y="36131"/>
                    </a:cubicBezTo>
                    <a:cubicBezTo>
                      <a:pt x="685432" y="25397"/>
                      <a:pt x="672496" y="11911"/>
                      <a:pt x="660937" y="11911"/>
                    </a:cubicBezTo>
                    <a:cubicBezTo>
                      <a:pt x="653780" y="11911"/>
                      <a:pt x="649652" y="18516"/>
                      <a:pt x="644973" y="22645"/>
                    </a:cubicBezTo>
                    <a:cubicBezTo>
                      <a:pt x="640294" y="26773"/>
                      <a:pt x="645249" y="29801"/>
                      <a:pt x="646900" y="33104"/>
                    </a:cubicBezTo>
                    <a:cubicBezTo>
                      <a:pt x="646625" y="33654"/>
                      <a:pt x="646625" y="34204"/>
                      <a:pt x="647175" y="34755"/>
                    </a:cubicBezTo>
                    <a:cubicBezTo>
                      <a:pt x="637818" y="38333"/>
                      <a:pt x="628184" y="36406"/>
                      <a:pt x="618552" y="36406"/>
                    </a:cubicBezTo>
                    <a:cubicBezTo>
                      <a:pt x="593506" y="36681"/>
                      <a:pt x="568185" y="36406"/>
                      <a:pt x="543139" y="36681"/>
                    </a:cubicBezTo>
                    <a:cubicBezTo>
                      <a:pt x="534882" y="36681"/>
                      <a:pt x="528001" y="37232"/>
                      <a:pt x="528552" y="25947"/>
                    </a:cubicBezTo>
                    <a:cubicBezTo>
                      <a:pt x="528552" y="23746"/>
                      <a:pt x="526350" y="21544"/>
                      <a:pt x="525249" y="19342"/>
                    </a:cubicBezTo>
                    <a:cubicBezTo>
                      <a:pt x="528277" y="16039"/>
                      <a:pt x="537084" y="16590"/>
                      <a:pt x="533506" y="11360"/>
                    </a:cubicBezTo>
                    <a:cubicBezTo>
                      <a:pt x="531855" y="8883"/>
                      <a:pt x="527726" y="1177"/>
                      <a:pt x="521121" y="3654"/>
                    </a:cubicBezTo>
                    <a:cubicBezTo>
                      <a:pt x="516442" y="5580"/>
                      <a:pt x="513415" y="8608"/>
                      <a:pt x="515066" y="14388"/>
                    </a:cubicBezTo>
                    <a:cubicBezTo>
                      <a:pt x="516167" y="18241"/>
                      <a:pt x="510387" y="21268"/>
                      <a:pt x="505983" y="19067"/>
                    </a:cubicBezTo>
                    <a:cubicBezTo>
                      <a:pt x="499653" y="15764"/>
                      <a:pt x="494148" y="14663"/>
                      <a:pt x="486442" y="16590"/>
                    </a:cubicBezTo>
                    <a:cubicBezTo>
                      <a:pt x="477360" y="18792"/>
                      <a:pt x="477911" y="5030"/>
                      <a:pt x="470479" y="351"/>
                    </a:cubicBezTo>
                    <a:cubicBezTo>
                      <a:pt x="497727" y="351"/>
                      <a:pt x="525249" y="351"/>
                      <a:pt x="552497" y="351"/>
                    </a:cubicBezTo>
                    <a:cubicBezTo>
                      <a:pt x="563506" y="351"/>
                      <a:pt x="574240" y="76"/>
                      <a:pt x="585249" y="351"/>
                    </a:cubicBezTo>
                    <a:cubicBezTo>
                      <a:pt x="588139" y="351"/>
                      <a:pt x="591167" y="-337"/>
                      <a:pt x="593781" y="214"/>
                    </a:cubicBezTo>
                    <a:cubicBezTo>
                      <a:pt x="596396" y="764"/>
                      <a:pt x="598597" y="2553"/>
                      <a:pt x="599836" y="7507"/>
                    </a:cubicBezTo>
                    <a:cubicBezTo>
                      <a:pt x="600662" y="10535"/>
                      <a:pt x="613597" y="14388"/>
                      <a:pt x="617451" y="11911"/>
                    </a:cubicBezTo>
                    <a:cubicBezTo>
                      <a:pt x="623230" y="8608"/>
                      <a:pt x="625157" y="14388"/>
                      <a:pt x="629010" y="13012"/>
                    </a:cubicBezTo>
                    <a:cubicBezTo>
                      <a:pt x="632038" y="8057"/>
                      <a:pt x="625432" y="6131"/>
                      <a:pt x="625432" y="351"/>
                    </a:cubicBezTo>
                    <a:cubicBezTo>
                      <a:pt x="634515" y="351"/>
                      <a:pt x="643872" y="351"/>
                      <a:pt x="653230" y="351"/>
                    </a:cubicBezTo>
                    <a:cubicBezTo>
                      <a:pt x="691487" y="351"/>
                      <a:pt x="729468" y="351"/>
                      <a:pt x="767725" y="351"/>
                    </a:cubicBezTo>
                    <a:cubicBezTo>
                      <a:pt x="770202" y="351"/>
                      <a:pt x="772679" y="351"/>
                      <a:pt x="775156" y="627"/>
                    </a:cubicBezTo>
                    <a:cubicBezTo>
                      <a:pt x="778459" y="627"/>
                      <a:pt x="779835" y="2828"/>
                      <a:pt x="779009" y="5580"/>
                    </a:cubicBezTo>
                    <a:cubicBezTo>
                      <a:pt x="778183" y="8333"/>
                      <a:pt x="775981" y="7782"/>
                      <a:pt x="774055" y="6681"/>
                    </a:cubicBezTo>
                    <a:cubicBezTo>
                      <a:pt x="772128" y="5305"/>
                      <a:pt x="769927" y="3929"/>
                      <a:pt x="767174" y="4755"/>
                    </a:cubicBezTo>
                    <a:cubicBezTo>
                      <a:pt x="764697" y="5580"/>
                      <a:pt x="761945" y="6681"/>
                      <a:pt x="761945" y="9434"/>
                    </a:cubicBezTo>
                    <a:cubicBezTo>
                      <a:pt x="761945" y="12736"/>
                      <a:pt x="764697" y="13562"/>
                      <a:pt x="767450" y="13012"/>
                    </a:cubicBezTo>
                    <a:cubicBezTo>
                      <a:pt x="775156" y="11636"/>
                      <a:pt x="784514" y="13837"/>
                      <a:pt x="788642" y="3654"/>
                    </a:cubicBezTo>
                    <a:cubicBezTo>
                      <a:pt x="789468" y="1383"/>
                      <a:pt x="805465" y="-268"/>
                      <a:pt x="814109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2A2D7C65-55AA-4669-A90A-5D7EAFC457F0}"/>
                </a:ext>
              </a:extLst>
            </p:cNvPr>
            <p:cNvGrpSpPr/>
            <p:nvPr/>
          </p:nvGrpSpPr>
          <p:grpSpPr>
            <a:xfrm rot="16200000">
              <a:off x="-1915726" y="3578070"/>
              <a:ext cx="4937760" cy="90960"/>
              <a:chOff x="2923579" y="529887"/>
              <a:chExt cx="6387472" cy="90960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xmlns="" id="{887B540B-3544-4CAC-BAD5-1885B27897F2}"/>
                  </a:ext>
                </a:extLst>
              </p:cNvPr>
              <p:cNvSpPr/>
              <p:nvPr/>
            </p:nvSpPr>
            <p:spPr>
              <a:xfrm>
                <a:off x="2923579" y="529887"/>
                <a:ext cx="3121205" cy="87950"/>
              </a:xfrm>
              <a:custGeom>
                <a:avLst/>
                <a:gdLst>
                  <a:gd name="connsiteX0" fmla="*/ 934228 w 1546130"/>
                  <a:gd name="connsiteY0" fmla="*/ 26457 h 43567"/>
                  <a:gd name="connsiteX1" fmla="*/ 929274 w 1546130"/>
                  <a:gd name="connsiteY1" fmla="*/ 30586 h 43567"/>
                  <a:gd name="connsiteX2" fmla="*/ 939182 w 1546130"/>
                  <a:gd name="connsiteY2" fmla="*/ 40494 h 43567"/>
                  <a:gd name="connsiteX3" fmla="*/ 941935 w 1546130"/>
                  <a:gd name="connsiteY3" fmla="*/ 35540 h 43567"/>
                  <a:gd name="connsiteX4" fmla="*/ 934228 w 1546130"/>
                  <a:gd name="connsiteY4" fmla="*/ 26457 h 43567"/>
                  <a:gd name="connsiteX5" fmla="*/ 1074600 w 1546130"/>
                  <a:gd name="connsiteY5" fmla="*/ 5885 h 43567"/>
                  <a:gd name="connsiteX6" fmla="*/ 1074325 w 1546130"/>
                  <a:gd name="connsiteY6" fmla="*/ 6160 h 43567"/>
                  <a:gd name="connsiteX7" fmla="*/ 1074325 w 1546130"/>
                  <a:gd name="connsiteY7" fmla="*/ 6435 h 43567"/>
                  <a:gd name="connsiteX8" fmla="*/ 1074049 w 1546130"/>
                  <a:gd name="connsiteY8" fmla="*/ 6435 h 43567"/>
                  <a:gd name="connsiteX9" fmla="*/ 1074049 w 1546130"/>
                  <a:gd name="connsiteY9" fmla="*/ 6160 h 43567"/>
                  <a:gd name="connsiteX10" fmla="*/ 1073774 w 1546130"/>
                  <a:gd name="connsiteY10" fmla="*/ 6435 h 43567"/>
                  <a:gd name="connsiteX11" fmla="*/ 1075976 w 1546130"/>
                  <a:gd name="connsiteY11" fmla="*/ 29004 h 43567"/>
                  <a:gd name="connsiteX12" fmla="*/ 1078728 w 1546130"/>
                  <a:gd name="connsiteY12" fmla="*/ 30655 h 43567"/>
                  <a:gd name="connsiteX13" fmla="*/ 1094416 w 1546130"/>
                  <a:gd name="connsiteY13" fmla="*/ 24876 h 43567"/>
                  <a:gd name="connsiteX14" fmla="*/ 1084783 w 1546130"/>
                  <a:gd name="connsiteY14" fmla="*/ 9738 h 43567"/>
                  <a:gd name="connsiteX15" fmla="*/ 1075150 w 1546130"/>
                  <a:gd name="connsiteY15" fmla="*/ 6435 h 43567"/>
                  <a:gd name="connsiteX16" fmla="*/ 1074600 w 1546130"/>
                  <a:gd name="connsiteY16" fmla="*/ 5885 h 43567"/>
                  <a:gd name="connsiteX17" fmla="*/ 22951 w 1546130"/>
                  <a:gd name="connsiteY17" fmla="*/ 5815 h 43567"/>
                  <a:gd name="connsiteX18" fmla="*/ 22676 w 1546130"/>
                  <a:gd name="connsiteY18" fmla="*/ 6090 h 43567"/>
                  <a:gd name="connsiteX19" fmla="*/ 22676 w 1546130"/>
                  <a:gd name="connsiteY19" fmla="*/ 6365 h 43567"/>
                  <a:gd name="connsiteX20" fmla="*/ 22400 w 1546130"/>
                  <a:gd name="connsiteY20" fmla="*/ 6365 h 43567"/>
                  <a:gd name="connsiteX21" fmla="*/ 22400 w 1546130"/>
                  <a:gd name="connsiteY21" fmla="*/ 6090 h 43567"/>
                  <a:gd name="connsiteX22" fmla="*/ 22125 w 1546130"/>
                  <a:gd name="connsiteY22" fmla="*/ 6365 h 43567"/>
                  <a:gd name="connsiteX23" fmla="*/ 24327 w 1546130"/>
                  <a:gd name="connsiteY23" fmla="*/ 28934 h 43567"/>
                  <a:gd name="connsiteX24" fmla="*/ 27079 w 1546130"/>
                  <a:gd name="connsiteY24" fmla="*/ 30585 h 43567"/>
                  <a:gd name="connsiteX25" fmla="*/ 42767 w 1546130"/>
                  <a:gd name="connsiteY25" fmla="*/ 24806 h 43567"/>
                  <a:gd name="connsiteX26" fmla="*/ 33134 w 1546130"/>
                  <a:gd name="connsiteY26" fmla="*/ 9668 h 43567"/>
                  <a:gd name="connsiteX27" fmla="*/ 23501 w 1546130"/>
                  <a:gd name="connsiteY27" fmla="*/ 6365 h 43567"/>
                  <a:gd name="connsiteX28" fmla="*/ 22951 w 1546130"/>
                  <a:gd name="connsiteY28" fmla="*/ 5815 h 43567"/>
                  <a:gd name="connsiteX29" fmla="*/ 1440377 w 1546130"/>
                  <a:gd name="connsiteY29" fmla="*/ 380 h 43567"/>
                  <a:gd name="connsiteX30" fmla="*/ 1453313 w 1546130"/>
                  <a:gd name="connsiteY30" fmla="*/ 11940 h 43567"/>
                  <a:gd name="connsiteX31" fmla="*/ 1470652 w 1546130"/>
                  <a:gd name="connsiteY31" fmla="*/ 656 h 43567"/>
                  <a:gd name="connsiteX32" fmla="*/ 1546130 w 1546130"/>
                  <a:gd name="connsiteY32" fmla="*/ 656 h 43567"/>
                  <a:gd name="connsiteX33" fmla="*/ 1546130 w 1546130"/>
                  <a:gd name="connsiteY33" fmla="*/ 42765 h 43567"/>
                  <a:gd name="connsiteX34" fmla="*/ 1509184 w 1546130"/>
                  <a:gd name="connsiteY34" fmla="*/ 42765 h 43567"/>
                  <a:gd name="connsiteX35" fmla="*/ 1500101 w 1546130"/>
                  <a:gd name="connsiteY35" fmla="*/ 38637 h 43567"/>
                  <a:gd name="connsiteX36" fmla="*/ 1492670 w 1546130"/>
                  <a:gd name="connsiteY36" fmla="*/ 38086 h 43567"/>
                  <a:gd name="connsiteX37" fmla="*/ 1473129 w 1546130"/>
                  <a:gd name="connsiteY37" fmla="*/ 42765 h 43567"/>
                  <a:gd name="connsiteX38" fmla="*/ 1288176 w 1546130"/>
                  <a:gd name="connsiteY38" fmla="*/ 43040 h 43567"/>
                  <a:gd name="connsiteX39" fmla="*/ 1274965 w 1546130"/>
                  <a:gd name="connsiteY39" fmla="*/ 34233 h 43567"/>
                  <a:gd name="connsiteX40" fmla="*/ 1285699 w 1546130"/>
                  <a:gd name="connsiteY40" fmla="*/ 24876 h 43567"/>
                  <a:gd name="connsiteX41" fmla="*/ 1304690 w 1546130"/>
                  <a:gd name="connsiteY41" fmla="*/ 10013 h 43567"/>
                  <a:gd name="connsiteX42" fmla="*/ 1322580 w 1546130"/>
                  <a:gd name="connsiteY42" fmla="*/ 15793 h 43567"/>
                  <a:gd name="connsiteX43" fmla="*/ 1328910 w 1546130"/>
                  <a:gd name="connsiteY43" fmla="*/ 13316 h 43567"/>
                  <a:gd name="connsiteX44" fmla="*/ 1353680 w 1546130"/>
                  <a:gd name="connsiteY44" fmla="*/ 656 h 43567"/>
                  <a:gd name="connsiteX45" fmla="*/ 1440377 w 1546130"/>
                  <a:gd name="connsiteY45" fmla="*/ 380 h 43567"/>
                  <a:gd name="connsiteX46" fmla="*/ 388728 w 1546130"/>
                  <a:gd name="connsiteY46" fmla="*/ 310 h 43567"/>
                  <a:gd name="connsiteX47" fmla="*/ 401664 w 1546130"/>
                  <a:gd name="connsiteY47" fmla="*/ 11870 h 43567"/>
                  <a:gd name="connsiteX48" fmla="*/ 419003 w 1546130"/>
                  <a:gd name="connsiteY48" fmla="*/ 586 h 43567"/>
                  <a:gd name="connsiteX49" fmla="*/ 566250 w 1546130"/>
                  <a:gd name="connsiteY49" fmla="*/ 586 h 43567"/>
                  <a:gd name="connsiteX50" fmla="*/ 580011 w 1546130"/>
                  <a:gd name="connsiteY50" fmla="*/ 8017 h 43567"/>
                  <a:gd name="connsiteX51" fmla="*/ 553314 w 1546130"/>
                  <a:gd name="connsiteY51" fmla="*/ 20677 h 43567"/>
                  <a:gd name="connsiteX52" fmla="*/ 560194 w 1546130"/>
                  <a:gd name="connsiteY52" fmla="*/ 24531 h 43567"/>
                  <a:gd name="connsiteX53" fmla="*/ 583864 w 1546130"/>
                  <a:gd name="connsiteY53" fmla="*/ 28934 h 43567"/>
                  <a:gd name="connsiteX54" fmla="*/ 588818 w 1546130"/>
                  <a:gd name="connsiteY54" fmla="*/ 38842 h 43567"/>
                  <a:gd name="connsiteX55" fmla="*/ 580836 w 1546130"/>
                  <a:gd name="connsiteY55" fmla="*/ 42695 h 43567"/>
                  <a:gd name="connsiteX56" fmla="*/ 457535 w 1546130"/>
                  <a:gd name="connsiteY56" fmla="*/ 42695 h 43567"/>
                  <a:gd name="connsiteX57" fmla="*/ 448452 w 1546130"/>
                  <a:gd name="connsiteY57" fmla="*/ 38567 h 43567"/>
                  <a:gd name="connsiteX58" fmla="*/ 441021 w 1546130"/>
                  <a:gd name="connsiteY58" fmla="*/ 38016 h 43567"/>
                  <a:gd name="connsiteX59" fmla="*/ 421480 w 1546130"/>
                  <a:gd name="connsiteY59" fmla="*/ 42695 h 43567"/>
                  <a:gd name="connsiteX60" fmla="*/ 236527 w 1546130"/>
                  <a:gd name="connsiteY60" fmla="*/ 42970 h 43567"/>
                  <a:gd name="connsiteX61" fmla="*/ 223316 w 1546130"/>
                  <a:gd name="connsiteY61" fmla="*/ 34163 h 43567"/>
                  <a:gd name="connsiteX62" fmla="*/ 234050 w 1546130"/>
                  <a:gd name="connsiteY62" fmla="*/ 24806 h 43567"/>
                  <a:gd name="connsiteX63" fmla="*/ 253041 w 1546130"/>
                  <a:gd name="connsiteY63" fmla="*/ 9943 h 43567"/>
                  <a:gd name="connsiteX64" fmla="*/ 270931 w 1546130"/>
                  <a:gd name="connsiteY64" fmla="*/ 15723 h 43567"/>
                  <a:gd name="connsiteX65" fmla="*/ 277261 w 1546130"/>
                  <a:gd name="connsiteY65" fmla="*/ 13246 h 43567"/>
                  <a:gd name="connsiteX66" fmla="*/ 302031 w 1546130"/>
                  <a:gd name="connsiteY66" fmla="*/ 586 h 43567"/>
                  <a:gd name="connsiteX67" fmla="*/ 388728 w 1546130"/>
                  <a:gd name="connsiteY67" fmla="*/ 310 h 43567"/>
                  <a:gd name="connsiteX68" fmla="*/ 1066309 w 1546130"/>
                  <a:gd name="connsiteY68" fmla="*/ 71 h 43567"/>
                  <a:gd name="connsiteX69" fmla="*/ 1080930 w 1546130"/>
                  <a:gd name="connsiteY69" fmla="*/ 381 h 43567"/>
                  <a:gd name="connsiteX70" fmla="*/ 1116710 w 1546130"/>
                  <a:gd name="connsiteY70" fmla="*/ 381 h 43567"/>
                  <a:gd name="connsiteX71" fmla="*/ 1196250 w 1546130"/>
                  <a:gd name="connsiteY71" fmla="*/ 655 h 43567"/>
                  <a:gd name="connsiteX72" fmla="*/ 1208911 w 1546130"/>
                  <a:gd name="connsiteY72" fmla="*/ 8637 h 43567"/>
                  <a:gd name="connsiteX73" fmla="*/ 1232580 w 1546130"/>
                  <a:gd name="connsiteY73" fmla="*/ 2582 h 43567"/>
                  <a:gd name="connsiteX74" fmla="*/ 1245516 w 1546130"/>
                  <a:gd name="connsiteY74" fmla="*/ 931 h 43567"/>
                  <a:gd name="connsiteX75" fmla="*/ 1265332 w 1546130"/>
                  <a:gd name="connsiteY75" fmla="*/ 931 h 43567"/>
                  <a:gd name="connsiteX76" fmla="*/ 1238360 w 1546130"/>
                  <a:gd name="connsiteY76" fmla="*/ 33683 h 43567"/>
                  <a:gd name="connsiteX77" fmla="*/ 1219369 w 1546130"/>
                  <a:gd name="connsiteY77" fmla="*/ 43316 h 43567"/>
                  <a:gd name="connsiteX78" fmla="*/ 1205333 w 1546130"/>
                  <a:gd name="connsiteY78" fmla="*/ 25976 h 43567"/>
                  <a:gd name="connsiteX79" fmla="*/ 1200104 w 1546130"/>
                  <a:gd name="connsiteY79" fmla="*/ 29279 h 43567"/>
                  <a:gd name="connsiteX80" fmla="*/ 1173682 w 1546130"/>
                  <a:gd name="connsiteY80" fmla="*/ 43316 h 43567"/>
                  <a:gd name="connsiteX81" fmla="*/ 1068584 w 1546130"/>
                  <a:gd name="connsiteY81" fmla="*/ 43066 h 43567"/>
                  <a:gd name="connsiteX82" fmla="*/ 1068814 w 1546130"/>
                  <a:gd name="connsiteY82" fmla="*/ 43246 h 43567"/>
                  <a:gd name="connsiteX83" fmla="*/ 1041842 w 1546130"/>
                  <a:gd name="connsiteY83" fmla="*/ 43246 h 43567"/>
                  <a:gd name="connsiteX84" fmla="*/ 837072 w 1546130"/>
                  <a:gd name="connsiteY84" fmla="*/ 43246 h 43567"/>
                  <a:gd name="connsiteX85" fmla="*/ 823862 w 1546130"/>
                  <a:gd name="connsiteY85" fmla="*/ 41044 h 43567"/>
                  <a:gd name="connsiteX86" fmla="*/ 815054 w 1546130"/>
                  <a:gd name="connsiteY86" fmla="*/ 42145 h 43567"/>
                  <a:gd name="connsiteX87" fmla="*/ 808449 w 1546130"/>
                  <a:gd name="connsiteY87" fmla="*/ 43246 h 43567"/>
                  <a:gd name="connsiteX88" fmla="*/ 768541 w 1546130"/>
                  <a:gd name="connsiteY88" fmla="*/ 42420 h 43567"/>
                  <a:gd name="connsiteX89" fmla="*/ 719000 w 1546130"/>
                  <a:gd name="connsiteY89" fmla="*/ 42971 h 43567"/>
                  <a:gd name="connsiteX90" fmla="*/ 615790 w 1546130"/>
                  <a:gd name="connsiteY90" fmla="*/ 42696 h 43567"/>
                  <a:gd name="connsiteX91" fmla="*/ 609185 w 1546130"/>
                  <a:gd name="connsiteY91" fmla="*/ 33888 h 43567"/>
                  <a:gd name="connsiteX92" fmla="*/ 595699 w 1546130"/>
                  <a:gd name="connsiteY92" fmla="*/ 11045 h 43567"/>
                  <a:gd name="connsiteX93" fmla="*/ 581662 w 1546130"/>
                  <a:gd name="connsiteY93" fmla="*/ 586 h 43567"/>
                  <a:gd name="connsiteX94" fmla="*/ 604781 w 1546130"/>
                  <a:gd name="connsiteY94" fmla="*/ 586 h 43567"/>
                  <a:gd name="connsiteX95" fmla="*/ 958448 w 1546130"/>
                  <a:gd name="connsiteY95" fmla="*/ 586 h 43567"/>
                  <a:gd name="connsiteX96" fmla="*/ 1003310 w 1546130"/>
                  <a:gd name="connsiteY96" fmla="*/ 311 h 43567"/>
                  <a:gd name="connsiteX97" fmla="*/ 1025603 w 1546130"/>
                  <a:gd name="connsiteY97" fmla="*/ 6090 h 43567"/>
                  <a:gd name="connsiteX98" fmla="*/ 1029181 w 1546130"/>
                  <a:gd name="connsiteY98" fmla="*/ 3889 h 43567"/>
                  <a:gd name="connsiteX99" fmla="*/ 1024778 w 1546130"/>
                  <a:gd name="connsiteY99" fmla="*/ 1136 h 43567"/>
                  <a:gd name="connsiteX100" fmla="*/ 1033310 w 1546130"/>
                  <a:gd name="connsiteY100" fmla="*/ 1962 h 43567"/>
                  <a:gd name="connsiteX101" fmla="*/ 1044044 w 1546130"/>
                  <a:gd name="connsiteY101" fmla="*/ 3614 h 43567"/>
                  <a:gd name="connsiteX102" fmla="*/ 1038814 w 1546130"/>
                  <a:gd name="connsiteY102" fmla="*/ 12145 h 43567"/>
                  <a:gd name="connsiteX103" fmla="*/ 1037163 w 1546130"/>
                  <a:gd name="connsiteY103" fmla="*/ 16274 h 43567"/>
                  <a:gd name="connsiteX104" fmla="*/ 1046383 w 1546130"/>
                  <a:gd name="connsiteY104" fmla="*/ 25081 h 43567"/>
                  <a:gd name="connsiteX105" fmla="*/ 1052857 w 1546130"/>
                  <a:gd name="connsiteY105" fmla="*/ 30600 h 43567"/>
                  <a:gd name="connsiteX106" fmla="*/ 1052857 w 1546130"/>
                  <a:gd name="connsiteY106" fmla="*/ 30105 h 43567"/>
                  <a:gd name="connsiteX107" fmla="*/ 1054783 w 1546130"/>
                  <a:gd name="connsiteY107" fmla="*/ 2857 h 43567"/>
                  <a:gd name="connsiteX108" fmla="*/ 1066309 w 1546130"/>
                  <a:gd name="connsiteY108" fmla="*/ 71 h 43567"/>
                  <a:gd name="connsiteX109" fmla="*/ 14660 w 1546130"/>
                  <a:gd name="connsiteY109" fmla="*/ 1 h 43567"/>
                  <a:gd name="connsiteX110" fmla="*/ 29281 w 1546130"/>
                  <a:gd name="connsiteY110" fmla="*/ 311 h 43567"/>
                  <a:gd name="connsiteX111" fmla="*/ 65061 w 1546130"/>
                  <a:gd name="connsiteY111" fmla="*/ 311 h 43567"/>
                  <a:gd name="connsiteX112" fmla="*/ 144601 w 1546130"/>
                  <a:gd name="connsiteY112" fmla="*/ 585 h 43567"/>
                  <a:gd name="connsiteX113" fmla="*/ 157262 w 1546130"/>
                  <a:gd name="connsiteY113" fmla="*/ 8567 h 43567"/>
                  <a:gd name="connsiteX114" fmla="*/ 180931 w 1546130"/>
                  <a:gd name="connsiteY114" fmla="*/ 2512 h 43567"/>
                  <a:gd name="connsiteX115" fmla="*/ 193867 w 1546130"/>
                  <a:gd name="connsiteY115" fmla="*/ 861 h 43567"/>
                  <a:gd name="connsiteX116" fmla="*/ 213683 w 1546130"/>
                  <a:gd name="connsiteY116" fmla="*/ 861 h 43567"/>
                  <a:gd name="connsiteX117" fmla="*/ 186711 w 1546130"/>
                  <a:gd name="connsiteY117" fmla="*/ 33613 h 43567"/>
                  <a:gd name="connsiteX118" fmla="*/ 167720 w 1546130"/>
                  <a:gd name="connsiteY118" fmla="*/ 43246 h 43567"/>
                  <a:gd name="connsiteX119" fmla="*/ 153684 w 1546130"/>
                  <a:gd name="connsiteY119" fmla="*/ 25906 h 43567"/>
                  <a:gd name="connsiteX120" fmla="*/ 148455 w 1546130"/>
                  <a:gd name="connsiteY120" fmla="*/ 29209 h 43567"/>
                  <a:gd name="connsiteX121" fmla="*/ 122033 w 1546130"/>
                  <a:gd name="connsiteY121" fmla="*/ 43246 h 43567"/>
                  <a:gd name="connsiteX122" fmla="*/ 6437 w 1546130"/>
                  <a:gd name="connsiteY122" fmla="*/ 42971 h 43567"/>
                  <a:gd name="connsiteX123" fmla="*/ 1208 w 1546130"/>
                  <a:gd name="connsiteY123" fmla="*/ 39943 h 43567"/>
                  <a:gd name="connsiteX124" fmla="*/ 1208 w 1546130"/>
                  <a:gd name="connsiteY124" fmla="*/ 30035 h 43567"/>
                  <a:gd name="connsiteX125" fmla="*/ 3134 w 1546130"/>
                  <a:gd name="connsiteY125" fmla="*/ 2787 h 43567"/>
                  <a:gd name="connsiteX126" fmla="*/ 14660 w 1546130"/>
                  <a:gd name="connsiteY126" fmla="*/ 1 h 4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546130" h="43567">
                    <a:moveTo>
                      <a:pt x="934228" y="26457"/>
                    </a:moveTo>
                    <a:cubicBezTo>
                      <a:pt x="932026" y="26182"/>
                      <a:pt x="928448" y="28108"/>
                      <a:pt x="929274" y="30586"/>
                    </a:cubicBezTo>
                    <a:cubicBezTo>
                      <a:pt x="930650" y="35265"/>
                      <a:pt x="934778" y="38567"/>
                      <a:pt x="939182" y="40494"/>
                    </a:cubicBezTo>
                    <a:cubicBezTo>
                      <a:pt x="940834" y="41319"/>
                      <a:pt x="941659" y="38017"/>
                      <a:pt x="941935" y="35540"/>
                    </a:cubicBezTo>
                    <a:cubicBezTo>
                      <a:pt x="941109" y="31411"/>
                      <a:pt x="939733" y="27008"/>
                      <a:pt x="934228" y="26457"/>
                    </a:cubicBezTo>
                    <a:close/>
                    <a:moveTo>
                      <a:pt x="1074600" y="5885"/>
                    </a:moveTo>
                    <a:cubicBezTo>
                      <a:pt x="1074600" y="5885"/>
                      <a:pt x="1074325" y="6160"/>
                      <a:pt x="1074325" y="6160"/>
                    </a:cubicBezTo>
                    <a:cubicBezTo>
                      <a:pt x="1074325" y="6160"/>
                      <a:pt x="1074325" y="6435"/>
                      <a:pt x="1074325" y="6435"/>
                    </a:cubicBezTo>
                    <a:cubicBezTo>
                      <a:pt x="1074049" y="6435"/>
                      <a:pt x="1074049" y="6435"/>
                      <a:pt x="1074049" y="6435"/>
                    </a:cubicBezTo>
                    <a:cubicBezTo>
                      <a:pt x="1074049" y="6160"/>
                      <a:pt x="1074049" y="6160"/>
                      <a:pt x="1074049" y="6160"/>
                    </a:cubicBezTo>
                    <a:cubicBezTo>
                      <a:pt x="1074049" y="6160"/>
                      <a:pt x="1073774" y="6435"/>
                      <a:pt x="1073774" y="6435"/>
                    </a:cubicBezTo>
                    <a:cubicBezTo>
                      <a:pt x="1070196" y="14142"/>
                      <a:pt x="1077903" y="21298"/>
                      <a:pt x="1075976" y="29004"/>
                    </a:cubicBezTo>
                    <a:cubicBezTo>
                      <a:pt x="1075976" y="29554"/>
                      <a:pt x="1078453" y="30931"/>
                      <a:pt x="1078728" y="30655"/>
                    </a:cubicBezTo>
                    <a:cubicBezTo>
                      <a:pt x="1083407" y="26252"/>
                      <a:pt x="1093591" y="30931"/>
                      <a:pt x="1094416" y="24876"/>
                    </a:cubicBezTo>
                    <a:cubicBezTo>
                      <a:pt x="1094967" y="21573"/>
                      <a:pt x="1091939" y="12215"/>
                      <a:pt x="1084783" y="9738"/>
                    </a:cubicBezTo>
                    <a:cubicBezTo>
                      <a:pt x="1081481" y="8913"/>
                      <a:pt x="1078728" y="6160"/>
                      <a:pt x="1075150" y="6435"/>
                    </a:cubicBezTo>
                    <a:cubicBezTo>
                      <a:pt x="1074875" y="6160"/>
                      <a:pt x="1074600" y="6160"/>
                      <a:pt x="1074600" y="5885"/>
                    </a:cubicBezTo>
                    <a:close/>
                    <a:moveTo>
                      <a:pt x="22951" y="5815"/>
                    </a:moveTo>
                    <a:cubicBezTo>
                      <a:pt x="22951" y="5815"/>
                      <a:pt x="22676" y="6090"/>
                      <a:pt x="22676" y="6090"/>
                    </a:cubicBezTo>
                    <a:cubicBezTo>
                      <a:pt x="22676" y="6090"/>
                      <a:pt x="22676" y="6365"/>
                      <a:pt x="22676" y="6365"/>
                    </a:cubicBezTo>
                    <a:cubicBezTo>
                      <a:pt x="22400" y="6365"/>
                      <a:pt x="22400" y="6365"/>
                      <a:pt x="22400" y="6365"/>
                    </a:cubicBezTo>
                    <a:cubicBezTo>
                      <a:pt x="22400" y="6090"/>
                      <a:pt x="22400" y="6090"/>
                      <a:pt x="22400" y="6090"/>
                    </a:cubicBezTo>
                    <a:cubicBezTo>
                      <a:pt x="22400" y="6090"/>
                      <a:pt x="22125" y="6365"/>
                      <a:pt x="22125" y="6365"/>
                    </a:cubicBezTo>
                    <a:cubicBezTo>
                      <a:pt x="18547" y="14072"/>
                      <a:pt x="26254" y="21228"/>
                      <a:pt x="24327" y="28934"/>
                    </a:cubicBezTo>
                    <a:cubicBezTo>
                      <a:pt x="24327" y="29484"/>
                      <a:pt x="26804" y="30861"/>
                      <a:pt x="27079" y="30585"/>
                    </a:cubicBezTo>
                    <a:cubicBezTo>
                      <a:pt x="31758" y="26182"/>
                      <a:pt x="41942" y="30861"/>
                      <a:pt x="42767" y="24806"/>
                    </a:cubicBezTo>
                    <a:cubicBezTo>
                      <a:pt x="43318" y="21503"/>
                      <a:pt x="40290" y="12145"/>
                      <a:pt x="33134" y="9668"/>
                    </a:cubicBezTo>
                    <a:cubicBezTo>
                      <a:pt x="29832" y="8843"/>
                      <a:pt x="27079" y="6090"/>
                      <a:pt x="23501" y="6365"/>
                    </a:cubicBezTo>
                    <a:cubicBezTo>
                      <a:pt x="23226" y="6090"/>
                      <a:pt x="22951" y="6090"/>
                      <a:pt x="22951" y="5815"/>
                    </a:cubicBezTo>
                    <a:close/>
                    <a:moveTo>
                      <a:pt x="1440377" y="380"/>
                    </a:moveTo>
                    <a:cubicBezTo>
                      <a:pt x="1447808" y="380"/>
                      <a:pt x="1453863" y="105"/>
                      <a:pt x="1453313" y="11940"/>
                    </a:cubicBezTo>
                    <a:cubicBezTo>
                      <a:pt x="1454689" y="-1271"/>
                      <a:pt x="1463221" y="656"/>
                      <a:pt x="1470652" y="656"/>
                    </a:cubicBezTo>
                    <a:lnTo>
                      <a:pt x="1546130" y="656"/>
                    </a:lnTo>
                    <a:lnTo>
                      <a:pt x="1546130" y="42765"/>
                    </a:lnTo>
                    <a:lnTo>
                      <a:pt x="1509184" y="42765"/>
                    </a:lnTo>
                    <a:cubicBezTo>
                      <a:pt x="1505606" y="42765"/>
                      <a:pt x="1502027" y="43591"/>
                      <a:pt x="1500101" y="38637"/>
                    </a:cubicBezTo>
                    <a:cubicBezTo>
                      <a:pt x="1498725" y="35059"/>
                      <a:pt x="1494321" y="35885"/>
                      <a:pt x="1492670" y="38086"/>
                    </a:cubicBezTo>
                    <a:cubicBezTo>
                      <a:pt x="1487166" y="44692"/>
                      <a:pt x="1480009" y="42765"/>
                      <a:pt x="1473129" y="42765"/>
                    </a:cubicBezTo>
                    <a:cubicBezTo>
                      <a:pt x="1411478" y="43040"/>
                      <a:pt x="1349827" y="42765"/>
                      <a:pt x="1288176" y="43040"/>
                    </a:cubicBezTo>
                    <a:cubicBezTo>
                      <a:pt x="1281295" y="43040"/>
                      <a:pt x="1275516" y="42215"/>
                      <a:pt x="1274965" y="34233"/>
                    </a:cubicBezTo>
                    <a:cubicBezTo>
                      <a:pt x="1274415" y="26527"/>
                      <a:pt x="1281021" y="27353"/>
                      <a:pt x="1285699" y="24876"/>
                    </a:cubicBezTo>
                    <a:cubicBezTo>
                      <a:pt x="1292580" y="21022"/>
                      <a:pt x="1306892" y="27353"/>
                      <a:pt x="1304690" y="10013"/>
                    </a:cubicBezTo>
                    <a:cubicBezTo>
                      <a:pt x="1311020" y="13316"/>
                      <a:pt x="1316249" y="16069"/>
                      <a:pt x="1322580" y="15793"/>
                    </a:cubicBezTo>
                    <a:cubicBezTo>
                      <a:pt x="1325332" y="15793"/>
                      <a:pt x="1328359" y="15518"/>
                      <a:pt x="1328910" y="13316"/>
                    </a:cubicBezTo>
                    <a:cubicBezTo>
                      <a:pt x="1331937" y="-1271"/>
                      <a:pt x="1343772" y="931"/>
                      <a:pt x="1353680" y="656"/>
                    </a:cubicBezTo>
                    <a:cubicBezTo>
                      <a:pt x="1382579" y="380"/>
                      <a:pt x="1411478" y="656"/>
                      <a:pt x="1440377" y="380"/>
                    </a:cubicBezTo>
                    <a:close/>
                    <a:moveTo>
                      <a:pt x="388728" y="310"/>
                    </a:moveTo>
                    <a:cubicBezTo>
                      <a:pt x="396159" y="310"/>
                      <a:pt x="402214" y="35"/>
                      <a:pt x="401664" y="11870"/>
                    </a:cubicBezTo>
                    <a:cubicBezTo>
                      <a:pt x="403040" y="-1341"/>
                      <a:pt x="411572" y="586"/>
                      <a:pt x="419003" y="586"/>
                    </a:cubicBezTo>
                    <a:cubicBezTo>
                      <a:pt x="468268" y="586"/>
                      <a:pt x="517259" y="586"/>
                      <a:pt x="566250" y="586"/>
                    </a:cubicBezTo>
                    <a:cubicBezTo>
                      <a:pt x="572029" y="310"/>
                      <a:pt x="578084" y="-515"/>
                      <a:pt x="580011" y="8017"/>
                    </a:cubicBezTo>
                    <a:cubicBezTo>
                      <a:pt x="572029" y="3338"/>
                      <a:pt x="553589" y="12421"/>
                      <a:pt x="553314" y="20677"/>
                    </a:cubicBezTo>
                    <a:cubicBezTo>
                      <a:pt x="553039" y="25356"/>
                      <a:pt x="556892" y="26457"/>
                      <a:pt x="560194" y="24531"/>
                    </a:cubicBezTo>
                    <a:cubicBezTo>
                      <a:pt x="569552" y="19576"/>
                      <a:pt x="575882" y="28108"/>
                      <a:pt x="583864" y="28934"/>
                    </a:cubicBezTo>
                    <a:cubicBezTo>
                      <a:pt x="587717" y="29484"/>
                      <a:pt x="589919" y="34989"/>
                      <a:pt x="588818" y="38842"/>
                    </a:cubicBezTo>
                    <a:cubicBezTo>
                      <a:pt x="588268" y="43245"/>
                      <a:pt x="584139" y="42695"/>
                      <a:pt x="580836" y="42695"/>
                    </a:cubicBezTo>
                    <a:cubicBezTo>
                      <a:pt x="539827" y="42695"/>
                      <a:pt x="498543" y="42695"/>
                      <a:pt x="457535" y="42695"/>
                    </a:cubicBezTo>
                    <a:cubicBezTo>
                      <a:pt x="453957" y="42695"/>
                      <a:pt x="450378" y="43521"/>
                      <a:pt x="448452" y="38567"/>
                    </a:cubicBezTo>
                    <a:cubicBezTo>
                      <a:pt x="447076" y="34989"/>
                      <a:pt x="442672" y="35815"/>
                      <a:pt x="441021" y="38016"/>
                    </a:cubicBezTo>
                    <a:cubicBezTo>
                      <a:pt x="435517" y="44622"/>
                      <a:pt x="428360" y="42695"/>
                      <a:pt x="421480" y="42695"/>
                    </a:cubicBezTo>
                    <a:cubicBezTo>
                      <a:pt x="359829" y="42970"/>
                      <a:pt x="298178" y="42695"/>
                      <a:pt x="236527" y="42970"/>
                    </a:cubicBezTo>
                    <a:cubicBezTo>
                      <a:pt x="229646" y="42970"/>
                      <a:pt x="223867" y="42145"/>
                      <a:pt x="223316" y="34163"/>
                    </a:cubicBezTo>
                    <a:cubicBezTo>
                      <a:pt x="222766" y="26457"/>
                      <a:pt x="229372" y="27283"/>
                      <a:pt x="234050" y="24806"/>
                    </a:cubicBezTo>
                    <a:cubicBezTo>
                      <a:pt x="240931" y="20952"/>
                      <a:pt x="255243" y="27283"/>
                      <a:pt x="253041" y="9943"/>
                    </a:cubicBezTo>
                    <a:cubicBezTo>
                      <a:pt x="259371" y="13246"/>
                      <a:pt x="264600" y="15999"/>
                      <a:pt x="270931" y="15723"/>
                    </a:cubicBezTo>
                    <a:cubicBezTo>
                      <a:pt x="273683" y="15723"/>
                      <a:pt x="276710" y="15448"/>
                      <a:pt x="277261" y="13246"/>
                    </a:cubicBezTo>
                    <a:cubicBezTo>
                      <a:pt x="280288" y="-1341"/>
                      <a:pt x="292123" y="861"/>
                      <a:pt x="302031" y="586"/>
                    </a:cubicBezTo>
                    <a:cubicBezTo>
                      <a:pt x="330930" y="310"/>
                      <a:pt x="359829" y="586"/>
                      <a:pt x="388728" y="310"/>
                    </a:cubicBezTo>
                    <a:close/>
                    <a:moveTo>
                      <a:pt x="1066309" y="71"/>
                    </a:moveTo>
                    <a:cubicBezTo>
                      <a:pt x="1071091" y="105"/>
                      <a:pt x="1076389" y="656"/>
                      <a:pt x="1080930" y="381"/>
                    </a:cubicBezTo>
                    <a:cubicBezTo>
                      <a:pt x="1092765" y="381"/>
                      <a:pt x="1104875" y="381"/>
                      <a:pt x="1116710" y="381"/>
                    </a:cubicBezTo>
                    <a:cubicBezTo>
                      <a:pt x="1143132" y="381"/>
                      <a:pt x="1169828" y="655"/>
                      <a:pt x="1196250" y="655"/>
                    </a:cubicBezTo>
                    <a:cubicBezTo>
                      <a:pt x="1202306" y="655"/>
                      <a:pt x="1208085" y="655"/>
                      <a:pt x="1208911" y="8637"/>
                    </a:cubicBezTo>
                    <a:cubicBezTo>
                      <a:pt x="1217993" y="11114"/>
                      <a:pt x="1226800" y="14967"/>
                      <a:pt x="1232580" y="2582"/>
                    </a:cubicBezTo>
                    <a:cubicBezTo>
                      <a:pt x="1234782" y="-1822"/>
                      <a:pt x="1241112" y="1206"/>
                      <a:pt x="1245516" y="931"/>
                    </a:cubicBezTo>
                    <a:cubicBezTo>
                      <a:pt x="1251571" y="381"/>
                      <a:pt x="1257901" y="655"/>
                      <a:pt x="1265332" y="931"/>
                    </a:cubicBezTo>
                    <a:cubicBezTo>
                      <a:pt x="1254874" y="11665"/>
                      <a:pt x="1245241" y="22399"/>
                      <a:pt x="1238360" y="33683"/>
                    </a:cubicBezTo>
                    <a:cubicBezTo>
                      <a:pt x="1232580" y="43316"/>
                      <a:pt x="1227351" y="43866"/>
                      <a:pt x="1219369" y="43316"/>
                    </a:cubicBezTo>
                    <a:cubicBezTo>
                      <a:pt x="1212214" y="42765"/>
                      <a:pt x="1204507" y="33133"/>
                      <a:pt x="1205333" y="25976"/>
                    </a:cubicBezTo>
                    <a:cubicBezTo>
                      <a:pt x="1203406" y="27077"/>
                      <a:pt x="1200379" y="27903"/>
                      <a:pt x="1200104" y="29279"/>
                    </a:cubicBezTo>
                    <a:cubicBezTo>
                      <a:pt x="1197902" y="46618"/>
                      <a:pt x="1184691" y="43316"/>
                      <a:pt x="1173682" y="43316"/>
                    </a:cubicBezTo>
                    <a:lnTo>
                      <a:pt x="1068584" y="43066"/>
                    </a:lnTo>
                    <a:lnTo>
                      <a:pt x="1068814" y="43246"/>
                    </a:lnTo>
                    <a:cubicBezTo>
                      <a:pt x="1058080" y="43246"/>
                      <a:pt x="1050099" y="43246"/>
                      <a:pt x="1041842" y="43246"/>
                    </a:cubicBezTo>
                    <a:cubicBezTo>
                      <a:pt x="973586" y="43246"/>
                      <a:pt x="905329" y="43246"/>
                      <a:pt x="837072" y="43246"/>
                    </a:cubicBezTo>
                    <a:cubicBezTo>
                      <a:pt x="832669" y="43246"/>
                      <a:pt x="827990" y="44622"/>
                      <a:pt x="823862" y="41044"/>
                    </a:cubicBezTo>
                    <a:cubicBezTo>
                      <a:pt x="821935" y="39393"/>
                      <a:pt x="816155" y="26182"/>
                      <a:pt x="815054" y="42145"/>
                    </a:cubicBezTo>
                    <a:cubicBezTo>
                      <a:pt x="815054" y="42696"/>
                      <a:pt x="810651" y="43246"/>
                      <a:pt x="808449" y="43246"/>
                    </a:cubicBezTo>
                    <a:cubicBezTo>
                      <a:pt x="795238" y="42971"/>
                      <a:pt x="781752" y="42420"/>
                      <a:pt x="768541" y="42420"/>
                    </a:cubicBezTo>
                    <a:cubicBezTo>
                      <a:pt x="752028" y="42420"/>
                      <a:pt x="735514" y="42971"/>
                      <a:pt x="719000" y="42971"/>
                    </a:cubicBezTo>
                    <a:cubicBezTo>
                      <a:pt x="684597" y="42971"/>
                      <a:pt x="650194" y="42971"/>
                      <a:pt x="615790" y="42696"/>
                    </a:cubicBezTo>
                    <a:cubicBezTo>
                      <a:pt x="609735" y="42696"/>
                      <a:pt x="600928" y="44897"/>
                      <a:pt x="609185" y="33888"/>
                    </a:cubicBezTo>
                    <a:cubicBezTo>
                      <a:pt x="600653" y="28934"/>
                      <a:pt x="613588" y="11595"/>
                      <a:pt x="595699" y="11045"/>
                    </a:cubicBezTo>
                    <a:cubicBezTo>
                      <a:pt x="591570" y="10769"/>
                      <a:pt x="585240" y="7191"/>
                      <a:pt x="581662" y="586"/>
                    </a:cubicBezTo>
                    <a:cubicBezTo>
                      <a:pt x="589919" y="586"/>
                      <a:pt x="597350" y="586"/>
                      <a:pt x="604781" y="586"/>
                    </a:cubicBezTo>
                    <a:cubicBezTo>
                      <a:pt x="722853" y="586"/>
                      <a:pt x="840651" y="311"/>
                      <a:pt x="958448" y="586"/>
                    </a:cubicBezTo>
                    <a:cubicBezTo>
                      <a:pt x="973310" y="586"/>
                      <a:pt x="988448" y="2513"/>
                      <a:pt x="1003310" y="311"/>
                    </a:cubicBezTo>
                    <a:cubicBezTo>
                      <a:pt x="1011842" y="-791"/>
                      <a:pt x="1017897" y="4714"/>
                      <a:pt x="1025603" y="6090"/>
                    </a:cubicBezTo>
                    <a:cubicBezTo>
                      <a:pt x="1028080" y="6641"/>
                      <a:pt x="1029456" y="6366"/>
                      <a:pt x="1029181" y="3889"/>
                    </a:cubicBezTo>
                    <a:cubicBezTo>
                      <a:pt x="1028906" y="3338"/>
                      <a:pt x="1026154" y="3063"/>
                      <a:pt x="1024778" y="1136"/>
                    </a:cubicBezTo>
                    <a:cubicBezTo>
                      <a:pt x="1027530" y="1412"/>
                      <a:pt x="1030557" y="1136"/>
                      <a:pt x="1033310" y="1962"/>
                    </a:cubicBezTo>
                    <a:cubicBezTo>
                      <a:pt x="1036888" y="3063"/>
                      <a:pt x="1041567" y="-2442"/>
                      <a:pt x="1044044" y="3614"/>
                    </a:cubicBezTo>
                    <a:cubicBezTo>
                      <a:pt x="1046245" y="8843"/>
                      <a:pt x="1041016" y="9668"/>
                      <a:pt x="1038814" y="12145"/>
                    </a:cubicBezTo>
                    <a:cubicBezTo>
                      <a:pt x="1037989" y="13246"/>
                      <a:pt x="1037163" y="16274"/>
                      <a:pt x="1037163" y="16274"/>
                    </a:cubicBezTo>
                    <a:cubicBezTo>
                      <a:pt x="1040879" y="18201"/>
                      <a:pt x="1043700" y="21779"/>
                      <a:pt x="1046383" y="25081"/>
                    </a:cubicBezTo>
                    <a:lnTo>
                      <a:pt x="1052857" y="30600"/>
                    </a:lnTo>
                    <a:lnTo>
                      <a:pt x="1052857" y="30105"/>
                    </a:lnTo>
                    <a:cubicBezTo>
                      <a:pt x="1053407" y="20747"/>
                      <a:pt x="1048729" y="8362"/>
                      <a:pt x="1054783" y="2857"/>
                    </a:cubicBezTo>
                    <a:cubicBezTo>
                      <a:pt x="1057261" y="518"/>
                      <a:pt x="1061527" y="36"/>
                      <a:pt x="1066309" y="71"/>
                    </a:cubicBezTo>
                    <a:close/>
                    <a:moveTo>
                      <a:pt x="14660" y="1"/>
                    </a:moveTo>
                    <a:cubicBezTo>
                      <a:pt x="19442" y="35"/>
                      <a:pt x="24740" y="586"/>
                      <a:pt x="29281" y="311"/>
                    </a:cubicBezTo>
                    <a:cubicBezTo>
                      <a:pt x="41116" y="311"/>
                      <a:pt x="53226" y="311"/>
                      <a:pt x="65061" y="311"/>
                    </a:cubicBezTo>
                    <a:cubicBezTo>
                      <a:pt x="91483" y="311"/>
                      <a:pt x="118179" y="585"/>
                      <a:pt x="144601" y="585"/>
                    </a:cubicBezTo>
                    <a:cubicBezTo>
                      <a:pt x="150657" y="585"/>
                      <a:pt x="156436" y="585"/>
                      <a:pt x="157262" y="8567"/>
                    </a:cubicBezTo>
                    <a:cubicBezTo>
                      <a:pt x="166344" y="11044"/>
                      <a:pt x="175151" y="14897"/>
                      <a:pt x="180931" y="2512"/>
                    </a:cubicBezTo>
                    <a:cubicBezTo>
                      <a:pt x="183133" y="-1892"/>
                      <a:pt x="189463" y="1136"/>
                      <a:pt x="193867" y="861"/>
                    </a:cubicBezTo>
                    <a:cubicBezTo>
                      <a:pt x="199922" y="311"/>
                      <a:pt x="206252" y="585"/>
                      <a:pt x="213683" y="861"/>
                    </a:cubicBezTo>
                    <a:cubicBezTo>
                      <a:pt x="203225" y="11595"/>
                      <a:pt x="193592" y="22329"/>
                      <a:pt x="186711" y="33613"/>
                    </a:cubicBezTo>
                    <a:cubicBezTo>
                      <a:pt x="180931" y="43246"/>
                      <a:pt x="175702" y="43796"/>
                      <a:pt x="167720" y="43246"/>
                    </a:cubicBezTo>
                    <a:cubicBezTo>
                      <a:pt x="160565" y="42695"/>
                      <a:pt x="152858" y="33063"/>
                      <a:pt x="153684" y="25906"/>
                    </a:cubicBezTo>
                    <a:cubicBezTo>
                      <a:pt x="151757" y="27007"/>
                      <a:pt x="148730" y="27833"/>
                      <a:pt x="148455" y="29209"/>
                    </a:cubicBezTo>
                    <a:cubicBezTo>
                      <a:pt x="146253" y="46548"/>
                      <a:pt x="133042" y="43246"/>
                      <a:pt x="122033" y="43246"/>
                    </a:cubicBezTo>
                    <a:cubicBezTo>
                      <a:pt x="83501" y="43246"/>
                      <a:pt x="44969" y="42971"/>
                      <a:pt x="6437" y="42971"/>
                    </a:cubicBezTo>
                    <a:cubicBezTo>
                      <a:pt x="3685" y="43521"/>
                      <a:pt x="1483" y="43246"/>
                      <a:pt x="1208" y="39943"/>
                    </a:cubicBezTo>
                    <a:cubicBezTo>
                      <a:pt x="1208" y="36640"/>
                      <a:pt x="933" y="33338"/>
                      <a:pt x="1208" y="30035"/>
                    </a:cubicBezTo>
                    <a:cubicBezTo>
                      <a:pt x="1758" y="20677"/>
                      <a:pt x="-2920" y="8292"/>
                      <a:pt x="3134" y="2787"/>
                    </a:cubicBezTo>
                    <a:cubicBezTo>
                      <a:pt x="5612" y="448"/>
                      <a:pt x="9878" y="-34"/>
                      <a:pt x="146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xmlns="" id="{3BD79187-8E78-4684-B560-A02363FAE95A}"/>
                  </a:ext>
                </a:extLst>
              </p:cNvPr>
              <p:cNvSpPr/>
              <p:nvPr/>
            </p:nvSpPr>
            <p:spPr>
              <a:xfrm rot="10800000">
                <a:off x="5989366" y="544828"/>
                <a:ext cx="3321685" cy="76019"/>
              </a:xfrm>
              <a:custGeom>
                <a:avLst/>
                <a:gdLst>
                  <a:gd name="connsiteX0" fmla="*/ 1323163 w 1645441"/>
                  <a:gd name="connsiteY0" fmla="*/ 28780 h 37657"/>
                  <a:gd name="connsiteX1" fmla="*/ 1333347 w 1645441"/>
                  <a:gd name="connsiteY1" fmla="*/ 36796 h 37657"/>
                  <a:gd name="connsiteX2" fmla="*/ 1312980 w 1645441"/>
                  <a:gd name="connsiteY2" fmla="*/ 36245 h 37657"/>
                  <a:gd name="connsiteX3" fmla="*/ 1323163 w 1645441"/>
                  <a:gd name="connsiteY3" fmla="*/ 28780 h 37657"/>
                  <a:gd name="connsiteX4" fmla="*/ 502405 w 1645441"/>
                  <a:gd name="connsiteY4" fmla="*/ 28666 h 37657"/>
                  <a:gd name="connsiteX5" fmla="*/ 512589 w 1645441"/>
                  <a:gd name="connsiteY5" fmla="*/ 36682 h 37657"/>
                  <a:gd name="connsiteX6" fmla="*/ 492222 w 1645441"/>
                  <a:gd name="connsiteY6" fmla="*/ 36131 h 37657"/>
                  <a:gd name="connsiteX7" fmla="*/ 502405 w 1645441"/>
                  <a:gd name="connsiteY7" fmla="*/ 28666 h 37657"/>
                  <a:gd name="connsiteX8" fmla="*/ 1645441 w 1645441"/>
                  <a:gd name="connsiteY8" fmla="*/ 21503 h 37657"/>
                  <a:gd name="connsiteX9" fmla="*/ 1645441 w 1645441"/>
                  <a:gd name="connsiteY9" fmla="*/ 33701 h 37657"/>
                  <a:gd name="connsiteX10" fmla="*/ 1640157 w 1645441"/>
                  <a:gd name="connsiteY10" fmla="*/ 32461 h 37657"/>
                  <a:gd name="connsiteX11" fmla="*/ 1639950 w 1645441"/>
                  <a:gd name="connsiteY11" fmla="*/ 27438 h 37657"/>
                  <a:gd name="connsiteX12" fmla="*/ 833779 w 1645441"/>
                  <a:gd name="connsiteY12" fmla="*/ 19618 h 37657"/>
                  <a:gd name="connsiteX13" fmla="*/ 843962 w 1645441"/>
                  <a:gd name="connsiteY13" fmla="*/ 30627 h 37657"/>
                  <a:gd name="connsiteX14" fmla="*/ 824972 w 1645441"/>
                  <a:gd name="connsiteY14" fmla="*/ 33655 h 37657"/>
                  <a:gd name="connsiteX15" fmla="*/ 819192 w 1645441"/>
                  <a:gd name="connsiteY15" fmla="*/ 27324 h 37657"/>
                  <a:gd name="connsiteX16" fmla="*/ 833779 w 1645441"/>
                  <a:gd name="connsiteY16" fmla="*/ 19618 h 37657"/>
                  <a:gd name="connsiteX17" fmla="*/ 1645441 w 1645441"/>
                  <a:gd name="connsiteY17" fmla="*/ 5017 h 37657"/>
                  <a:gd name="connsiteX18" fmla="*/ 1645441 w 1645441"/>
                  <a:gd name="connsiteY18" fmla="*/ 6122 h 37657"/>
                  <a:gd name="connsiteX19" fmla="*/ 1644904 w 1645441"/>
                  <a:gd name="connsiteY19" fmla="*/ 5420 h 37657"/>
                  <a:gd name="connsiteX20" fmla="*/ 18831 w 1645441"/>
                  <a:gd name="connsiteY20" fmla="*/ 627 h 37657"/>
                  <a:gd name="connsiteX21" fmla="*/ 78005 w 1645441"/>
                  <a:gd name="connsiteY21" fmla="*/ 627 h 37657"/>
                  <a:gd name="connsiteX22" fmla="*/ 144609 w 1645441"/>
                  <a:gd name="connsiteY22" fmla="*/ 627 h 37657"/>
                  <a:gd name="connsiteX23" fmla="*/ 155894 w 1645441"/>
                  <a:gd name="connsiteY23" fmla="*/ 5580 h 37657"/>
                  <a:gd name="connsiteX24" fmla="*/ 154518 w 1645441"/>
                  <a:gd name="connsiteY24" fmla="*/ 19617 h 37657"/>
                  <a:gd name="connsiteX25" fmla="*/ 147362 w 1645441"/>
                  <a:gd name="connsiteY25" fmla="*/ 34754 h 37657"/>
                  <a:gd name="connsiteX26" fmla="*/ 143509 w 1645441"/>
                  <a:gd name="connsiteY26" fmla="*/ 36681 h 37657"/>
                  <a:gd name="connsiteX27" fmla="*/ 105252 w 1645441"/>
                  <a:gd name="connsiteY27" fmla="*/ 33653 h 37657"/>
                  <a:gd name="connsiteX28" fmla="*/ 99197 w 1645441"/>
                  <a:gd name="connsiteY28" fmla="*/ 33103 h 37657"/>
                  <a:gd name="connsiteX29" fmla="*/ 16904 w 1645441"/>
                  <a:gd name="connsiteY29" fmla="*/ 36406 h 37657"/>
                  <a:gd name="connsiteX30" fmla="*/ 115 w 1645441"/>
                  <a:gd name="connsiteY30" fmla="*/ 19066 h 37657"/>
                  <a:gd name="connsiteX31" fmla="*/ 18831 w 1645441"/>
                  <a:gd name="connsiteY31" fmla="*/ 627 h 37657"/>
                  <a:gd name="connsiteX32" fmla="*/ 168624 w 1645441"/>
                  <a:gd name="connsiteY32" fmla="*/ 524 h 37657"/>
                  <a:gd name="connsiteX33" fmla="*/ 175711 w 1645441"/>
                  <a:gd name="connsiteY33" fmla="*/ 4480 h 37657"/>
                  <a:gd name="connsiteX34" fmla="*/ 182591 w 1645441"/>
                  <a:gd name="connsiteY34" fmla="*/ 8609 h 37657"/>
                  <a:gd name="connsiteX35" fmla="*/ 177087 w 1645441"/>
                  <a:gd name="connsiteY35" fmla="*/ 11361 h 37657"/>
                  <a:gd name="connsiteX36" fmla="*/ 161123 w 1645441"/>
                  <a:gd name="connsiteY36" fmla="*/ 8334 h 37657"/>
                  <a:gd name="connsiteX37" fmla="*/ 161123 w 1645441"/>
                  <a:gd name="connsiteY37" fmla="*/ 2554 h 37657"/>
                  <a:gd name="connsiteX38" fmla="*/ 168624 w 1645441"/>
                  <a:gd name="connsiteY38" fmla="*/ 524 h 37657"/>
                  <a:gd name="connsiteX39" fmla="*/ 1260961 w 1645441"/>
                  <a:gd name="connsiteY39" fmla="*/ 465 h 37657"/>
                  <a:gd name="connsiteX40" fmla="*/ 1271420 w 1645441"/>
                  <a:gd name="connsiteY40" fmla="*/ 8447 h 37657"/>
                  <a:gd name="connsiteX41" fmla="*/ 1278575 w 1645441"/>
                  <a:gd name="connsiteY41" fmla="*/ 31566 h 37657"/>
                  <a:gd name="connsiteX42" fmla="*/ 1268392 w 1645441"/>
                  <a:gd name="connsiteY42" fmla="*/ 37071 h 37657"/>
                  <a:gd name="connsiteX43" fmla="*/ 1152797 w 1645441"/>
                  <a:gd name="connsiteY43" fmla="*/ 37071 h 37657"/>
                  <a:gd name="connsiteX44" fmla="*/ 1117568 w 1645441"/>
                  <a:gd name="connsiteY44" fmla="*/ 37071 h 37657"/>
                  <a:gd name="connsiteX45" fmla="*/ 1093176 w 1645441"/>
                  <a:gd name="connsiteY45" fmla="*/ 35557 h 37657"/>
                  <a:gd name="connsiteX46" fmla="*/ 1092403 w 1645441"/>
                  <a:gd name="connsiteY46" fmla="*/ 35283 h 37657"/>
                  <a:gd name="connsiteX47" fmla="*/ 1092403 w 1645441"/>
                  <a:gd name="connsiteY47" fmla="*/ 36682 h 37657"/>
                  <a:gd name="connsiteX48" fmla="*/ 1061686 w 1645441"/>
                  <a:gd name="connsiteY48" fmla="*/ 36682 h 37657"/>
                  <a:gd name="connsiteX49" fmla="*/ 1061696 w 1645441"/>
                  <a:gd name="connsiteY49" fmla="*/ 36795 h 37657"/>
                  <a:gd name="connsiteX50" fmla="*/ 1010880 w 1645441"/>
                  <a:gd name="connsiteY50" fmla="*/ 36795 h 37657"/>
                  <a:gd name="connsiteX51" fmla="*/ 1010880 w 1645441"/>
                  <a:gd name="connsiteY51" fmla="*/ 36682 h 37657"/>
                  <a:gd name="connsiteX52" fmla="*/ 973870 w 1645441"/>
                  <a:gd name="connsiteY52" fmla="*/ 36682 h 37657"/>
                  <a:gd name="connsiteX53" fmla="*/ 964787 w 1645441"/>
                  <a:gd name="connsiteY53" fmla="*/ 22920 h 37657"/>
                  <a:gd name="connsiteX54" fmla="*/ 955705 w 1645441"/>
                  <a:gd name="connsiteY54" fmla="*/ 15214 h 37657"/>
                  <a:gd name="connsiteX55" fmla="*/ 954054 w 1645441"/>
                  <a:gd name="connsiteY55" fmla="*/ 23196 h 37657"/>
                  <a:gd name="connsiteX56" fmla="*/ 948273 w 1645441"/>
                  <a:gd name="connsiteY56" fmla="*/ 27324 h 37657"/>
                  <a:gd name="connsiteX57" fmla="*/ 928732 w 1645441"/>
                  <a:gd name="connsiteY57" fmla="*/ 12187 h 37657"/>
                  <a:gd name="connsiteX58" fmla="*/ 907540 w 1645441"/>
                  <a:gd name="connsiteY58" fmla="*/ 9985 h 37657"/>
                  <a:gd name="connsiteX59" fmla="*/ 897907 w 1645441"/>
                  <a:gd name="connsiteY59" fmla="*/ 5306 h 37657"/>
                  <a:gd name="connsiteX60" fmla="*/ 894880 w 1645441"/>
                  <a:gd name="connsiteY60" fmla="*/ 18517 h 37657"/>
                  <a:gd name="connsiteX61" fmla="*/ 894329 w 1645441"/>
                  <a:gd name="connsiteY61" fmla="*/ 34205 h 37657"/>
                  <a:gd name="connsiteX62" fmla="*/ 889925 w 1645441"/>
                  <a:gd name="connsiteY62" fmla="*/ 36682 h 37657"/>
                  <a:gd name="connsiteX63" fmla="*/ 848916 w 1645441"/>
                  <a:gd name="connsiteY63" fmla="*/ 36682 h 37657"/>
                  <a:gd name="connsiteX64" fmla="*/ 844238 w 1645441"/>
                  <a:gd name="connsiteY64" fmla="*/ 30627 h 37657"/>
                  <a:gd name="connsiteX65" fmla="*/ 854421 w 1645441"/>
                  <a:gd name="connsiteY65" fmla="*/ 30352 h 37657"/>
                  <a:gd name="connsiteX66" fmla="*/ 849192 w 1645441"/>
                  <a:gd name="connsiteY66" fmla="*/ 19893 h 37657"/>
                  <a:gd name="connsiteX67" fmla="*/ 842311 w 1645441"/>
                  <a:gd name="connsiteY67" fmla="*/ 1453 h 37657"/>
                  <a:gd name="connsiteX68" fmla="*/ 1010880 w 1645441"/>
                  <a:gd name="connsiteY68" fmla="*/ 1453 h 37657"/>
                  <a:gd name="connsiteX69" fmla="*/ 1010880 w 1645441"/>
                  <a:gd name="connsiteY69" fmla="*/ 973 h 37657"/>
                  <a:gd name="connsiteX70" fmla="*/ 1012190 w 1645441"/>
                  <a:gd name="connsiteY70" fmla="*/ 1016 h 37657"/>
                  <a:gd name="connsiteX71" fmla="*/ 1012704 w 1645441"/>
                  <a:gd name="connsiteY71" fmla="*/ 1453 h 37657"/>
                  <a:gd name="connsiteX72" fmla="*/ 1060146 w 1645441"/>
                  <a:gd name="connsiteY72" fmla="*/ 1453 h 37657"/>
                  <a:gd name="connsiteX73" fmla="*/ 1060355 w 1645441"/>
                  <a:gd name="connsiteY73" fmla="*/ 1256 h 37657"/>
                  <a:gd name="connsiteX74" fmla="*/ 1066100 w 1645441"/>
                  <a:gd name="connsiteY74" fmla="*/ 740 h 37657"/>
                  <a:gd name="connsiteX75" fmla="*/ 1260961 w 1645441"/>
                  <a:gd name="connsiteY75" fmla="*/ 465 h 37657"/>
                  <a:gd name="connsiteX76" fmla="*/ 830751 w 1645441"/>
                  <a:gd name="connsiteY76" fmla="*/ 352 h 37657"/>
                  <a:gd name="connsiteX77" fmla="*/ 834330 w 1645441"/>
                  <a:gd name="connsiteY77" fmla="*/ 3654 h 37657"/>
                  <a:gd name="connsiteX78" fmla="*/ 827724 w 1645441"/>
                  <a:gd name="connsiteY78" fmla="*/ 9984 h 37657"/>
                  <a:gd name="connsiteX79" fmla="*/ 824146 w 1645441"/>
                  <a:gd name="connsiteY79" fmla="*/ 5306 h 37657"/>
                  <a:gd name="connsiteX80" fmla="*/ 830751 w 1645441"/>
                  <a:gd name="connsiteY80" fmla="*/ 352 h 37657"/>
                  <a:gd name="connsiteX81" fmla="*/ 440203 w 1645441"/>
                  <a:gd name="connsiteY81" fmla="*/ 351 h 37657"/>
                  <a:gd name="connsiteX82" fmla="*/ 450662 w 1645441"/>
                  <a:gd name="connsiteY82" fmla="*/ 8333 h 37657"/>
                  <a:gd name="connsiteX83" fmla="*/ 457817 w 1645441"/>
                  <a:gd name="connsiteY83" fmla="*/ 31452 h 37657"/>
                  <a:gd name="connsiteX84" fmla="*/ 447634 w 1645441"/>
                  <a:gd name="connsiteY84" fmla="*/ 36957 h 37657"/>
                  <a:gd name="connsiteX85" fmla="*/ 332039 w 1645441"/>
                  <a:gd name="connsiteY85" fmla="*/ 36957 h 37657"/>
                  <a:gd name="connsiteX86" fmla="*/ 296810 w 1645441"/>
                  <a:gd name="connsiteY86" fmla="*/ 36957 h 37657"/>
                  <a:gd name="connsiteX87" fmla="*/ 249471 w 1645441"/>
                  <a:gd name="connsiteY87" fmla="*/ 27324 h 37657"/>
                  <a:gd name="connsiteX88" fmla="*/ 240113 w 1645441"/>
                  <a:gd name="connsiteY88" fmla="*/ 27048 h 37657"/>
                  <a:gd name="connsiteX89" fmla="*/ 240938 w 1645441"/>
                  <a:gd name="connsiteY89" fmla="*/ 36681 h 37657"/>
                  <a:gd name="connsiteX90" fmla="*/ 158921 w 1645441"/>
                  <a:gd name="connsiteY90" fmla="*/ 36681 h 37657"/>
                  <a:gd name="connsiteX91" fmla="*/ 164426 w 1645441"/>
                  <a:gd name="connsiteY91" fmla="*/ 25122 h 37657"/>
                  <a:gd name="connsiteX92" fmla="*/ 169379 w 1645441"/>
                  <a:gd name="connsiteY92" fmla="*/ 20718 h 37657"/>
                  <a:gd name="connsiteX93" fmla="*/ 194701 w 1645441"/>
                  <a:gd name="connsiteY93" fmla="*/ 7507 h 37657"/>
                  <a:gd name="connsiteX94" fmla="*/ 182866 w 1645441"/>
                  <a:gd name="connsiteY94" fmla="*/ 626 h 37657"/>
                  <a:gd name="connsiteX95" fmla="*/ 198554 w 1645441"/>
                  <a:gd name="connsiteY95" fmla="*/ 6957 h 37657"/>
                  <a:gd name="connsiteX96" fmla="*/ 234883 w 1645441"/>
                  <a:gd name="connsiteY96" fmla="*/ 5580 h 37657"/>
                  <a:gd name="connsiteX97" fmla="*/ 245342 w 1645441"/>
                  <a:gd name="connsiteY97" fmla="*/ 626 h 37657"/>
                  <a:gd name="connsiteX98" fmla="*/ 440203 w 1645441"/>
                  <a:gd name="connsiteY98" fmla="*/ 351 h 37657"/>
                  <a:gd name="connsiteX99" fmla="*/ 1634867 w 1645441"/>
                  <a:gd name="connsiteY99" fmla="*/ 207 h 37657"/>
                  <a:gd name="connsiteX100" fmla="*/ 1640226 w 1645441"/>
                  <a:gd name="connsiteY100" fmla="*/ 1291 h 37657"/>
                  <a:gd name="connsiteX101" fmla="*/ 1637748 w 1645441"/>
                  <a:gd name="connsiteY101" fmla="*/ 9548 h 37657"/>
                  <a:gd name="connsiteX102" fmla="*/ 1612428 w 1645441"/>
                  <a:gd name="connsiteY102" fmla="*/ 34594 h 37657"/>
                  <a:gd name="connsiteX103" fmla="*/ 1613804 w 1645441"/>
                  <a:gd name="connsiteY103" fmla="*/ 22483 h 37657"/>
                  <a:gd name="connsiteX104" fmla="*/ 1602795 w 1645441"/>
                  <a:gd name="connsiteY104" fmla="*/ 17254 h 37657"/>
                  <a:gd name="connsiteX105" fmla="*/ 1604996 w 1645441"/>
                  <a:gd name="connsiteY105" fmla="*/ 28814 h 37657"/>
                  <a:gd name="connsiteX106" fmla="*/ 1585180 w 1645441"/>
                  <a:gd name="connsiteY106" fmla="*/ 25236 h 37657"/>
                  <a:gd name="connsiteX107" fmla="*/ 1587657 w 1645441"/>
                  <a:gd name="connsiteY107" fmla="*/ 36245 h 37657"/>
                  <a:gd name="connsiteX108" fmla="*/ 1506190 w 1645441"/>
                  <a:gd name="connsiteY108" fmla="*/ 36245 h 37657"/>
                  <a:gd name="connsiteX109" fmla="*/ 1481695 w 1645441"/>
                  <a:gd name="connsiteY109" fmla="*/ 12025 h 37657"/>
                  <a:gd name="connsiteX110" fmla="*/ 1465731 w 1645441"/>
                  <a:gd name="connsiteY110" fmla="*/ 22759 h 37657"/>
                  <a:gd name="connsiteX111" fmla="*/ 1467658 w 1645441"/>
                  <a:gd name="connsiteY111" fmla="*/ 33218 h 37657"/>
                  <a:gd name="connsiteX112" fmla="*/ 1467933 w 1645441"/>
                  <a:gd name="connsiteY112" fmla="*/ 34869 h 37657"/>
                  <a:gd name="connsiteX113" fmla="*/ 1439310 w 1645441"/>
                  <a:gd name="connsiteY113" fmla="*/ 36520 h 37657"/>
                  <a:gd name="connsiteX114" fmla="*/ 1363897 w 1645441"/>
                  <a:gd name="connsiteY114" fmla="*/ 36795 h 37657"/>
                  <a:gd name="connsiteX115" fmla="*/ 1349310 w 1645441"/>
                  <a:gd name="connsiteY115" fmla="*/ 26061 h 37657"/>
                  <a:gd name="connsiteX116" fmla="*/ 1346007 w 1645441"/>
                  <a:gd name="connsiteY116" fmla="*/ 19456 h 37657"/>
                  <a:gd name="connsiteX117" fmla="*/ 1354264 w 1645441"/>
                  <a:gd name="connsiteY117" fmla="*/ 11474 h 37657"/>
                  <a:gd name="connsiteX118" fmla="*/ 1341879 w 1645441"/>
                  <a:gd name="connsiteY118" fmla="*/ 3768 h 37657"/>
                  <a:gd name="connsiteX119" fmla="*/ 1335824 w 1645441"/>
                  <a:gd name="connsiteY119" fmla="*/ 14502 h 37657"/>
                  <a:gd name="connsiteX120" fmla="*/ 1326741 w 1645441"/>
                  <a:gd name="connsiteY120" fmla="*/ 19181 h 37657"/>
                  <a:gd name="connsiteX121" fmla="*/ 1307200 w 1645441"/>
                  <a:gd name="connsiteY121" fmla="*/ 16704 h 37657"/>
                  <a:gd name="connsiteX122" fmla="*/ 1291237 w 1645441"/>
                  <a:gd name="connsiteY122" fmla="*/ 465 h 37657"/>
                  <a:gd name="connsiteX123" fmla="*/ 1373255 w 1645441"/>
                  <a:gd name="connsiteY123" fmla="*/ 465 h 37657"/>
                  <a:gd name="connsiteX124" fmla="*/ 1406007 w 1645441"/>
                  <a:gd name="connsiteY124" fmla="*/ 465 h 37657"/>
                  <a:gd name="connsiteX125" fmla="*/ 1414539 w 1645441"/>
                  <a:gd name="connsiteY125" fmla="*/ 328 h 37657"/>
                  <a:gd name="connsiteX126" fmla="*/ 1420594 w 1645441"/>
                  <a:gd name="connsiteY126" fmla="*/ 7621 h 37657"/>
                  <a:gd name="connsiteX127" fmla="*/ 1438209 w 1645441"/>
                  <a:gd name="connsiteY127" fmla="*/ 12025 h 37657"/>
                  <a:gd name="connsiteX128" fmla="*/ 1449768 w 1645441"/>
                  <a:gd name="connsiteY128" fmla="*/ 13126 h 37657"/>
                  <a:gd name="connsiteX129" fmla="*/ 1446190 w 1645441"/>
                  <a:gd name="connsiteY129" fmla="*/ 465 h 37657"/>
                  <a:gd name="connsiteX130" fmla="*/ 1473988 w 1645441"/>
                  <a:gd name="connsiteY130" fmla="*/ 465 h 37657"/>
                  <a:gd name="connsiteX131" fmla="*/ 1588483 w 1645441"/>
                  <a:gd name="connsiteY131" fmla="*/ 465 h 37657"/>
                  <a:gd name="connsiteX132" fmla="*/ 1595914 w 1645441"/>
                  <a:gd name="connsiteY132" fmla="*/ 741 h 37657"/>
                  <a:gd name="connsiteX133" fmla="*/ 1599767 w 1645441"/>
                  <a:gd name="connsiteY133" fmla="*/ 5694 h 37657"/>
                  <a:gd name="connsiteX134" fmla="*/ 1594813 w 1645441"/>
                  <a:gd name="connsiteY134" fmla="*/ 6795 h 37657"/>
                  <a:gd name="connsiteX135" fmla="*/ 1587932 w 1645441"/>
                  <a:gd name="connsiteY135" fmla="*/ 4869 h 37657"/>
                  <a:gd name="connsiteX136" fmla="*/ 1582703 w 1645441"/>
                  <a:gd name="connsiteY136" fmla="*/ 9548 h 37657"/>
                  <a:gd name="connsiteX137" fmla="*/ 1588208 w 1645441"/>
                  <a:gd name="connsiteY137" fmla="*/ 13126 h 37657"/>
                  <a:gd name="connsiteX138" fmla="*/ 1609400 w 1645441"/>
                  <a:gd name="connsiteY138" fmla="*/ 3768 h 37657"/>
                  <a:gd name="connsiteX139" fmla="*/ 1634867 w 1645441"/>
                  <a:gd name="connsiteY139" fmla="*/ 207 h 37657"/>
                  <a:gd name="connsiteX140" fmla="*/ 814109 w 1645441"/>
                  <a:gd name="connsiteY140" fmla="*/ 93 h 37657"/>
                  <a:gd name="connsiteX141" fmla="*/ 819468 w 1645441"/>
                  <a:gd name="connsiteY141" fmla="*/ 1177 h 37657"/>
                  <a:gd name="connsiteX142" fmla="*/ 816990 w 1645441"/>
                  <a:gd name="connsiteY142" fmla="*/ 9434 h 37657"/>
                  <a:gd name="connsiteX143" fmla="*/ 791670 w 1645441"/>
                  <a:gd name="connsiteY143" fmla="*/ 34480 h 37657"/>
                  <a:gd name="connsiteX144" fmla="*/ 793046 w 1645441"/>
                  <a:gd name="connsiteY144" fmla="*/ 22369 h 37657"/>
                  <a:gd name="connsiteX145" fmla="*/ 782037 w 1645441"/>
                  <a:gd name="connsiteY145" fmla="*/ 17140 h 37657"/>
                  <a:gd name="connsiteX146" fmla="*/ 784238 w 1645441"/>
                  <a:gd name="connsiteY146" fmla="*/ 28700 h 37657"/>
                  <a:gd name="connsiteX147" fmla="*/ 764422 w 1645441"/>
                  <a:gd name="connsiteY147" fmla="*/ 25122 h 37657"/>
                  <a:gd name="connsiteX148" fmla="*/ 766899 w 1645441"/>
                  <a:gd name="connsiteY148" fmla="*/ 36131 h 37657"/>
                  <a:gd name="connsiteX149" fmla="*/ 685432 w 1645441"/>
                  <a:gd name="connsiteY149" fmla="*/ 36131 h 37657"/>
                  <a:gd name="connsiteX150" fmla="*/ 660937 w 1645441"/>
                  <a:gd name="connsiteY150" fmla="*/ 11911 h 37657"/>
                  <a:gd name="connsiteX151" fmla="*/ 644973 w 1645441"/>
                  <a:gd name="connsiteY151" fmla="*/ 22645 h 37657"/>
                  <a:gd name="connsiteX152" fmla="*/ 646900 w 1645441"/>
                  <a:gd name="connsiteY152" fmla="*/ 33104 h 37657"/>
                  <a:gd name="connsiteX153" fmla="*/ 647175 w 1645441"/>
                  <a:gd name="connsiteY153" fmla="*/ 34755 h 37657"/>
                  <a:gd name="connsiteX154" fmla="*/ 618552 w 1645441"/>
                  <a:gd name="connsiteY154" fmla="*/ 36406 h 37657"/>
                  <a:gd name="connsiteX155" fmla="*/ 543139 w 1645441"/>
                  <a:gd name="connsiteY155" fmla="*/ 36681 h 37657"/>
                  <a:gd name="connsiteX156" fmla="*/ 528552 w 1645441"/>
                  <a:gd name="connsiteY156" fmla="*/ 25947 h 37657"/>
                  <a:gd name="connsiteX157" fmla="*/ 525249 w 1645441"/>
                  <a:gd name="connsiteY157" fmla="*/ 19342 h 37657"/>
                  <a:gd name="connsiteX158" fmla="*/ 533506 w 1645441"/>
                  <a:gd name="connsiteY158" fmla="*/ 11360 h 37657"/>
                  <a:gd name="connsiteX159" fmla="*/ 521121 w 1645441"/>
                  <a:gd name="connsiteY159" fmla="*/ 3654 h 37657"/>
                  <a:gd name="connsiteX160" fmla="*/ 515066 w 1645441"/>
                  <a:gd name="connsiteY160" fmla="*/ 14388 h 37657"/>
                  <a:gd name="connsiteX161" fmla="*/ 505983 w 1645441"/>
                  <a:gd name="connsiteY161" fmla="*/ 19067 h 37657"/>
                  <a:gd name="connsiteX162" fmla="*/ 486442 w 1645441"/>
                  <a:gd name="connsiteY162" fmla="*/ 16590 h 37657"/>
                  <a:gd name="connsiteX163" fmla="*/ 470479 w 1645441"/>
                  <a:gd name="connsiteY163" fmla="*/ 351 h 37657"/>
                  <a:gd name="connsiteX164" fmla="*/ 552497 w 1645441"/>
                  <a:gd name="connsiteY164" fmla="*/ 351 h 37657"/>
                  <a:gd name="connsiteX165" fmla="*/ 585249 w 1645441"/>
                  <a:gd name="connsiteY165" fmla="*/ 351 h 37657"/>
                  <a:gd name="connsiteX166" fmla="*/ 593781 w 1645441"/>
                  <a:gd name="connsiteY166" fmla="*/ 214 h 37657"/>
                  <a:gd name="connsiteX167" fmla="*/ 599836 w 1645441"/>
                  <a:gd name="connsiteY167" fmla="*/ 7507 h 37657"/>
                  <a:gd name="connsiteX168" fmla="*/ 617451 w 1645441"/>
                  <a:gd name="connsiteY168" fmla="*/ 11911 h 37657"/>
                  <a:gd name="connsiteX169" fmla="*/ 629010 w 1645441"/>
                  <a:gd name="connsiteY169" fmla="*/ 13012 h 37657"/>
                  <a:gd name="connsiteX170" fmla="*/ 625432 w 1645441"/>
                  <a:gd name="connsiteY170" fmla="*/ 351 h 37657"/>
                  <a:gd name="connsiteX171" fmla="*/ 653230 w 1645441"/>
                  <a:gd name="connsiteY171" fmla="*/ 351 h 37657"/>
                  <a:gd name="connsiteX172" fmla="*/ 767725 w 1645441"/>
                  <a:gd name="connsiteY172" fmla="*/ 351 h 37657"/>
                  <a:gd name="connsiteX173" fmla="*/ 775156 w 1645441"/>
                  <a:gd name="connsiteY173" fmla="*/ 627 h 37657"/>
                  <a:gd name="connsiteX174" fmla="*/ 779009 w 1645441"/>
                  <a:gd name="connsiteY174" fmla="*/ 5580 h 37657"/>
                  <a:gd name="connsiteX175" fmla="*/ 774055 w 1645441"/>
                  <a:gd name="connsiteY175" fmla="*/ 6681 h 37657"/>
                  <a:gd name="connsiteX176" fmla="*/ 767174 w 1645441"/>
                  <a:gd name="connsiteY176" fmla="*/ 4755 h 37657"/>
                  <a:gd name="connsiteX177" fmla="*/ 761945 w 1645441"/>
                  <a:gd name="connsiteY177" fmla="*/ 9434 h 37657"/>
                  <a:gd name="connsiteX178" fmla="*/ 767450 w 1645441"/>
                  <a:gd name="connsiteY178" fmla="*/ 13012 h 37657"/>
                  <a:gd name="connsiteX179" fmla="*/ 788642 w 1645441"/>
                  <a:gd name="connsiteY179" fmla="*/ 3654 h 37657"/>
                  <a:gd name="connsiteX180" fmla="*/ 814109 w 1645441"/>
                  <a:gd name="connsiteY180" fmla="*/ 93 h 3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645441" h="37657">
                    <a:moveTo>
                      <a:pt x="1323163" y="28780"/>
                    </a:moveTo>
                    <a:cubicBezTo>
                      <a:pt x="1326466" y="28539"/>
                      <a:pt x="1329769" y="30878"/>
                      <a:pt x="1333347" y="36796"/>
                    </a:cubicBezTo>
                    <a:cubicBezTo>
                      <a:pt x="1325916" y="37621"/>
                      <a:pt x="1319861" y="38447"/>
                      <a:pt x="1312980" y="36245"/>
                    </a:cubicBezTo>
                    <a:cubicBezTo>
                      <a:pt x="1316558" y="31842"/>
                      <a:pt x="1319861" y="29021"/>
                      <a:pt x="1323163" y="28780"/>
                    </a:cubicBezTo>
                    <a:close/>
                    <a:moveTo>
                      <a:pt x="502405" y="28666"/>
                    </a:moveTo>
                    <a:cubicBezTo>
                      <a:pt x="505708" y="28425"/>
                      <a:pt x="509011" y="30764"/>
                      <a:pt x="512589" y="36682"/>
                    </a:cubicBezTo>
                    <a:cubicBezTo>
                      <a:pt x="505158" y="37507"/>
                      <a:pt x="499103" y="38333"/>
                      <a:pt x="492222" y="36131"/>
                    </a:cubicBezTo>
                    <a:cubicBezTo>
                      <a:pt x="495800" y="31728"/>
                      <a:pt x="499103" y="28907"/>
                      <a:pt x="502405" y="28666"/>
                    </a:cubicBezTo>
                    <a:close/>
                    <a:moveTo>
                      <a:pt x="1645441" y="21503"/>
                    </a:moveTo>
                    <a:lnTo>
                      <a:pt x="1645441" y="33701"/>
                    </a:lnTo>
                    <a:lnTo>
                      <a:pt x="1640157" y="32461"/>
                    </a:lnTo>
                    <a:cubicBezTo>
                      <a:pt x="1638299" y="32048"/>
                      <a:pt x="1637336" y="31016"/>
                      <a:pt x="1639950" y="27438"/>
                    </a:cubicBezTo>
                    <a:close/>
                    <a:moveTo>
                      <a:pt x="833779" y="19618"/>
                    </a:moveTo>
                    <a:cubicBezTo>
                      <a:pt x="838182" y="21269"/>
                      <a:pt x="843962" y="24022"/>
                      <a:pt x="843962" y="30627"/>
                    </a:cubicBezTo>
                    <a:cubicBezTo>
                      <a:pt x="838182" y="34755"/>
                      <a:pt x="832953" y="42187"/>
                      <a:pt x="824972" y="33655"/>
                    </a:cubicBezTo>
                    <a:cubicBezTo>
                      <a:pt x="823045" y="31453"/>
                      <a:pt x="813963" y="34480"/>
                      <a:pt x="819192" y="27324"/>
                    </a:cubicBezTo>
                    <a:cubicBezTo>
                      <a:pt x="822219" y="23196"/>
                      <a:pt x="827173" y="16866"/>
                      <a:pt x="833779" y="19618"/>
                    </a:cubicBezTo>
                    <a:close/>
                    <a:moveTo>
                      <a:pt x="1645441" y="5017"/>
                    </a:moveTo>
                    <a:lnTo>
                      <a:pt x="1645441" y="6122"/>
                    </a:lnTo>
                    <a:lnTo>
                      <a:pt x="1644904" y="5420"/>
                    </a:lnTo>
                    <a:close/>
                    <a:moveTo>
                      <a:pt x="18831" y="627"/>
                    </a:moveTo>
                    <a:cubicBezTo>
                      <a:pt x="38647" y="627"/>
                      <a:pt x="58188" y="627"/>
                      <a:pt x="78005" y="627"/>
                    </a:cubicBezTo>
                    <a:cubicBezTo>
                      <a:pt x="100298" y="627"/>
                      <a:pt x="122316" y="627"/>
                      <a:pt x="144609" y="627"/>
                    </a:cubicBezTo>
                    <a:cubicBezTo>
                      <a:pt x="149013" y="627"/>
                      <a:pt x="153417" y="-475"/>
                      <a:pt x="155894" y="5580"/>
                    </a:cubicBezTo>
                    <a:cubicBezTo>
                      <a:pt x="157820" y="11085"/>
                      <a:pt x="157270" y="14663"/>
                      <a:pt x="154518" y="19617"/>
                    </a:cubicBezTo>
                    <a:cubicBezTo>
                      <a:pt x="151765" y="24296"/>
                      <a:pt x="142132" y="26222"/>
                      <a:pt x="147362" y="34754"/>
                    </a:cubicBezTo>
                    <a:cubicBezTo>
                      <a:pt x="147912" y="35580"/>
                      <a:pt x="145435" y="36956"/>
                      <a:pt x="143509" y="36681"/>
                    </a:cubicBezTo>
                    <a:cubicBezTo>
                      <a:pt x="130848" y="35305"/>
                      <a:pt x="117637" y="39708"/>
                      <a:pt x="105252" y="33653"/>
                    </a:cubicBezTo>
                    <a:cubicBezTo>
                      <a:pt x="103601" y="32828"/>
                      <a:pt x="101124" y="32552"/>
                      <a:pt x="99197" y="33103"/>
                    </a:cubicBezTo>
                    <a:cubicBezTo>
                      <a:pt x="71950" y="40809"/>
                      <a:pt x="44427" y="35030"/>
                      <a:pt x="16904" y="36406"/>
                    </a:cubicBezTo>
                    <a:cubicBezTo>
                      <a:pt x="5895" y="36956"/>
                      <a:pt x="-985" y="33103"/>
                      <a:pt x="115" y="19066"/>
                    </a:cubicBezTo>
                    <a:cubicBezTo>
                      <a:pt x="1767" y="627"/>
                      <a:pt x="666" y="627"/>
                      <a:pt x="18831" y="627"/>
                    </a:cubicBezTo>
                    <a:close/>
                    <a:moveTo>
                      <a:pt x="168624" y="524"/>
                    </a:moveTo>
                    <a:cubicBezTo>
                      <a:pt x="171032" y="1178"/>
                      <a:pt x="173372" y="2829"/>
                      <a:pt x="175711" y="4480"/>
                    </a:cubicBezTo>
                    <a:cubicBezTo>
                      <a:pt x="177637" y="5857"/>
                      <a:pt x="180940" y="3655"/>
                      <a:pt x="182591" y="8609"/>
                    </a:cubicBezTo>
                    <a:cubicBezTo>
                      <a:pt x="180665" y="9710"/>
                      <a:pt x="179013" y="10811"/>
                      <a:pt x="177087" y="11361"/>
                    </a:cubicBezTo>
                    <a:cubicBezTo>
                      <a:pt x="171307" y="13288"/>
                      <a:pt x="165803" y="12462"/>
                      <a:pt x="161123" y="8334"/>
                    </a:cubicBezTo>
                    <a:cubicBezTo>
                      <a:pt x="159472" y="6682"/>
                      <a:pt x="159472" y="3930"/>
                      <a:pt x="161123" y="2554"/>
                    </a:cubicBezTo>
                    <a:cubicBezTo>
                      <a:pt x="163738" y="214"/>
                      <a:pt x="166215" y="-130"/>
                      <a:pt x="168624" y="524"/>
                    </a:cubicBezTo>
                    <a:close/>
                    <a:moveTo>
                      <a:pt x="1260961" y="465"/>
                    </a:moveTo>
                    <a:cubicBezTo>
                      <a:pt x="1268392" y="465"/>
                      <a:pt x="1267842" y="6245"/>
                      <a:pt x="1271420" y="8447"/>
                    </a:cubicBezTo>
                    <a:cubicBezTo>
                      <a:pt x="1280502" y="13951"/>
                      <a:pt x="1272521" y="23860"/>
                      <a:pt x="1278575" y="31566"/>
                    </a:cubicBezTo>
                    <a:cubicBezTo>
                      <a:pt x="1282429" y="35970"/>
                      <a:pt x="1273071" y="37071"/>
                      <a:pt x="1268392" y="37071"/>
                    </a:cubicBezTo>
                    <a:cubicBezTo>
                      <a:pt x="1229861" y="37071"/>
                      <a:pt x="1191329" y="37071"/>
                      <a:pt x="1152797" y="37071"/>
                    </a:cubicBezTo>
                    <a:cubicBezTo>
                      <a:pt x="1140962" y="37071"/>
                      <a:pt x="1129127" y="36520"/>
                      <a:pt x="1117568" y="37071"/>
                    </a:cubicBezTo>
                    <a:cubicBezTo>
                      <a:pt x="1109174" y="37484"/>
                      <a:pt x="1101054" y="37071"/>
                      <a:pt x="1093176" y="35557"/>
                    </a:cubicBezTo>
                    <a:lnTo>
                      <a:pt x="1092403" y="35283"/>
                    </a:lnTo>
                    <a:lnTo>
                      <a:pt x="1092403" y="36682"/>
                    </a:lnTo>
                    <a:lnTo>
                      <a:pt x="1061686" y="36682"/>
                    </a:lnTo>
                    <a:lnTo>
                      <a:pt x="1061696" y="36795"/>
                    </a:lnTo>
                    <a:lnTo>
                      <a:pt x="1010880" y="36795"/>
                    </a:lnTo>
                    <a:lnTo>
                      <a:pt x="1010880" y="36682"/>
                    </a:lnTo>
                    <a:lnTo>
                      <a:pt x="973870" y="36682"/>
                    </a:lnTo>
                    <a:cubicBezTo>
                      <a:pt x="963136" y="36682"/>
                      <a:pt x="965063" y="27599"/>
                      <a:pt x="964787" y="22920"/>
                    </a:cubicBezTo>
                    <a:cubicBezTo>
                      <a:pt x="964787" y="15214"/>
                      <a:pt x="960659" y="14663"/>
                      <a:pt x="955705" y="15214"/>
                    </a:cubicBezTo>
                    <a:cubicBezTo>
                      <a:pt x="947998" y="16040"/>
                      <a:pt x="953503" y="20168"/>
                      <a:pt x="954054" y="23196"/>
                    </a:cubicBezTo>
                    <a:cubicBezTo>
                      <a:pt x="955154" y="28700"/>
                      <a:pt x="951852" y="27599"/>
                      <a:pt x="948273" y="27324"/>
                    </a:cubicBezTo>
                    <a:cubicBezTo>
                      <a:pt x="938365" y="26774"/>
                      <a:pt x="935338" y="16865"/>
                      <a:pt x="928732" y="12187"/>
                    </a:cubicBezTo>
                    <a:cubicBezTo>
                      <a:pt x="920751" y="6682"/>
                      <a:pt x="914971" y="7232"/>
                      <a:pt x="907540" y="9985"/>
                    </a:cubicBezTo>
                    <a:cubicBezTo>
                      <a:pt x="905063" y="6682"/>
                      <a:pt x="901485" y="6407"/>
                      <a:pt x="897907" y="5306"/>
                    </a:cubicBezTo>
                    <a:cubicBezTo>
                      <a:pt x="899008" y="10260"/>
                      <a:pt x="891852" y="14113"/>
                      <a:pt x="894880" y="18517"/>
                    </a:cubicBezTo>
                    <a:cubicBezTo>
                      <a:pt x="899008" y="24297"/>
                      <a:pt x="890201" y="28425"/>
                      <a:pt x="894329" y="34205"/>
                    </a:cubicBezTo>
                    <a:cubicBezTo>
                      <a:pt x="895705" y="35856"/>
                      <a:pt x="891852" y="36682"/>
                      <a:pt x="889925" y="36682"/>
                    </a:cubicBezTo>
                    <a:cubicBezTo>
                      <a:pt x="876439" y="36682"/>
                      <a:pt x="862678" y="36407"/>
                      <a:pt x="848916" y="36682"/>
                    </a:cubicBezTo>
                    <a:cubicBezTo>
                      <a:pt x="843963" y="36957"/>
                      <a:pt x="843687" y="34205"/>
                      <a:pt x="844238" y="30627"/>
                    </a:cubicBezTo>
                    <a:cubicBezTo>
                      <a:pt x="847541" y="28150"/>
                      <a:pt x="852219" y="36131"/>
                      <a:pt x="854421" y="30352"/>
                    </a:cubicBezTo>
                    <a:cubicBezTo>
                      <a:pt x="856072" y="26223"/>
                      <a:pt x="853045" y="22370"/>
                      <a:pt x="849192" y="19893"/>
                    </a:cubicBezTo>
                    <a:cubicBezTo>
                      <a:pt x="842311" y="15489"/>
                      <a:pt x="850017" y="6407"/>
                      <a:pt x="842311" y="1453"/>
                    </a:cubicBezTo>
                    <a:lnTo>
                      <a:pt x="1010880" y="1453"/>
                    </a:lnTo>
                    <a:lnTo>
                      <a:pt x="1010880" y="973"/>
                    </a:lnTo>
                    <a:lnTo>
                      <a:pt x="1012190" y="1016"/>
                    </a:lnTo>
                    <a:lnTo>
                      <a:pt x="1012704" y="1453"/>
                    </a:lnTo>
                    <a:lnTo>
                      <a:pt x="1060146" y="1453"/>
                    </a:lnTo>
                    <a:lnTo>
                      <a:pt x="1060355" y="1256"/>
                    </a:lnTo>
                    <a:cubicBezTo>
                      <a:pt x="1062109" y="671"/>
                      <a:pt x="1064036" y="740"/>
                      <a:pt x="1066100" y="740"/>
                    </a:cubicBezTo>
                    <a:cubicBezTo>
                      <a:pt x="1131054" y="740"/>
                      <a:pt x="1196008" y="1015"/>
                      <a:pt x="1260961" y="465"/>
                    </a:cubicBezTo>
                    <a:close/>
                    <a:moveTo>
                      <a:pt x="830751" y="352"/>
                    </a:moveTo>
                    <a:cubicBezTo>
                      <a:pt x="832953" y="352"/>
                      <a:pt x="835706" y="1453"/>
                      <a:pt x="834330" y="3654"/>
                    </a:cubicBezTo>
                    <a:cubicBezTo>
                      <a:pt x="832953" y="6406"/>
                      <a:pt x="829926" y="8058"/>
                      <a:pt x="827724" y="9984"/>
                    </a:cubicBezTo>
                    <a:cubicBezTo>
                      <a:pt x="824421" y="9159"/>
                      <a:pt x="823871" y="7783"/>
                      <a:pt x="824146" y="5306"/>
                    </a:cubicBezTo>
                    <a:cubicBezTo>
                      <a:pt x="824696" y="1177"/>
                      <a:pt x="827449" y="77"/>
                      <a:pt x="830751" y="352"/>
                    </a:cubicBezTo>
                    <a:close/>
                    <a:moveTo>
                      <a:pt x="440203" y="351"/>
                    </a:moveTo>
                    <a:cubicBezTo>
                      <a:pt x="447634" y="351"/>
                      <a:pt x="447084" y="6131"/>
                      <a:pt x="450662" y="8333"/>
                    </a:cubicBezTo>
                    <a:cubicBezTo>
                      <a:pt x="459744" y="13837"/>
                      <a:pt x="451763" y="23746"/>
                      <a:pt x="457817" y="31452"/>
                    </a:cubicBezTo>
                    <a:cubicBezTo>
                      <a:pt x="461671" y="35856"/>
                      <a:pt x="452313" y="36957"/>
                      <a:pt x="447634" y="36957"/>
                    </a:cubicBezTo>
                    <a:cubicBezTo>
                      <a:pt x="409103" y="36957"/>
                      <a:pt x="370571" y="36957"/>
                      <a:pt x="332039" y="36957"/>
                    </a:cubicBezTo>
                    <a:cubicBezTo>
                      <a:pt x="320204" y="36957"/>
                      <a:pt x="308369" y="36406"/>
                      <a:pt x="296810" y="36957"/>
                    </a:cubicBezTo>
                    <a:cubicBezTo>
                      <a:pt x="280021" y="37782"/>
                      <a:pt x="264333" y="35305"/>
                      <a:pt x="249471" y="27324"/>
                    </a:cubicBezTo>
                    <a:cubicBezTo>
                      <a:pt x="246719" y="25947"/>
                      <a:pt x="243140" y="24847"/>
                      <a:pt x="240113" y="27048"/>
                    </a:cubicBezTo>
                    <a:cubicBezTo>
                      <a:pt x="234883" y="30626"/>
                      <a:pt x="242865" y="33103"/>
                      <a:pt x="240938" y="36681"/>
                    </a:cubicBezTo>
                    <a:cubicBezTo>
                      <a:pt x="213691" y="36681"/>
                      <a:pt x="186444" y="36681"/>
                      <a:pt x="158921" y="36681"/>
                    </a:cubicBezTo>
                    <a:cubicBezTo>
                      <a:pt x="160848" y="32828"/>
                      <a:pt x="162774" y="28975"/>
                      <a:pt x="164426" y="25122"/>
                    </a:cubicBezTo>
                    <a:cubicBezTo>
                      <a:pt x="165526" y="22645"/>
                      <a:pt x="166627" y="19342"/>
                      <a:pt x="169379" y="20718"/>
                    </a:cubicBezTo>
                    <a:cubicBezTo>
                      <a:pt x="183967" y="28149"/>
                      <a:pt x="189196" y="18241"/>
                      <a:pt x="194701" y="7507"/>
                    </a:cubicBezTo>
                    <a:cubicBezTo>
                      <a:pt x="192223" y="3379"/>
                      <a:pt x="185343" y="7782"/>
                      <a:pt x="182866" y="626"/>
                    </a:cubicBezTo>
                    <a:cubicBezTo>
                      <a:pt x="189196" y="1452"/>
                      <a:pt x="194150" y="-1576"/>
                      <a:pt x="198554" y="6957"/>
                    </a:cubicBezTo>
                    <a:cubicBezTo>
                      <a:pt x="204058" y="17690"/>
                      <a:pt x="229654" y="16039"/>
                      <a:pt x="234883" y="5580"/>
                    </a:cubicBezTo>
                    <a:cubicBezTo>
                      <a:pt x="237636" y="351"/>
                      <a:pt x="241214" y="626"/>
                      <a:pt x="245342" y="626"/>
                    </a:cubicBezTo>
                    <a:cubicBezTo>
                      <a:pt x="310296" y="626"/>
                      <a:pt x="375250" y="901"/>
                      <a:pt x="440203" y="351"/>
                    </a:cubicBezTo>
                    <a:close/>
                    <a:moveTo>
                      <a:pt x="1634867" y="207"/>
                    </a:moveTo>
                    <a:cubicBezTo>
                      <a:pt x="1637749" y="328"/>
                      <a:pt x="1639813" y="672"/>
                      <a:pt x="1640226" y="1291"/>
                    </a:cubicBezTo>
                    <a:cubicBezTo>
                      <a:pt x="1642703" y="4593"/>
                      <a:pt x="1641051" y="8447"/>
                      <a:pt x="1637748" y="9548"/>
                    </a:cubicBezTo>
                    <a:cubicBezTo>
                      <a:pt x="1627015" y="15603"/>
                      <a:pt x="1619309" y="24135"/>
                      <a:pt x="1612428" y="34594"/>
                    </a:cubicBezTo>
                    <a:cubicBezTo>
                      <a:pt x="1612978" y="30465"/>
                      <a:pt x="1615455" y="25236"/>
                      <a:pt x="1613804" y="22483"/>
                    </a:cubicBezTo>
                    <a:cubicBezTo>
                      <a:pt x="1612152" y="19456"/>
                      <a:pt x="1606373" y="18906"/>
                      <a:pt x="1602795" y="17254"/>
                    </a:cubicBezTo>
                    <a:cubicBezTo>
                      <a:pt x="1598666" y="23034"/>
                      <a:pt x="1610776" y="24685"/>
                      <a:pt x="1604996" y="28814"/>
                    </a:cubicBezTo>
                    <a:cubicBezTo>
                      <a:pt x="1598666" y="33493"/>
                      <a:pt x="1592336" y="28263"/>
                      <a:pt x="1585180" y="25236"/>
                    </a:cubicBezTo>
                    <a:cubicBezTo>
                      <a:pt x="1586006" y="29089"/>
                      <a:pt x="1586831" y="32392"/>
                      <a:pt x="1587657" y="36245"/>
                    </a:cubicBezTo>
                    <a:cubicBezTo>
                      <a:pt x="1560134" y="36245"/>
                      <a:pt x="1533162" y="36245"/>
                      <a:pt x="1506190" y="36245"/>
                    </a:cubicBezTo>
                    <a:cubicBezTo>
                      <a:pt x="1506190" y="25511"/>
                      <a:pt x="1493254" y="12025"/>
                      <a:pt x="1481695" y="12025"/>
                    </a:cubicBezTo>
                    <a:cubicBezTo>
                      <a:pt x="1474538" y="12025"/>
                      <a:pt x="1470410" y="18630"/>
                      <a:pt x="1465731" y="22759"/>
                    </a:cubicBezTo>
                    <a:cubicBezTo>
                      <a:pt x="1461052" y="26887"/>
                      <a:pt x="1466007" y="29915"/>
                      <a:pt x="1467658" y="33218"/>
                    </a:cubicBezTo>
                    <a:cubicBezTo>
                      <a:pt x="1467383" y="33768"/>
                      <a:pt x="1467383" y="34318"/>
                      <a:pt x="1467933" y="34869"/>
                    </a:cubicBezTo>
                    <a:cubicBezTo>
                      <a:pt x="1458576" y="38447"/>
                      <a:pt x="1448942" y="36520"/>
                      <a:pt x="1439310" y="36520"/>
                    </a:cubicBezTo>
                    <a:cubicBezTo>
                      <a:pt x="1414264" y="36795"/>
                      <a:pt x="1388943" y="36520"/>
                      <a:pt x="1363897" y="36795"/>
                    </a:cubicBezTo>
                    <a:cubicBezTo>
                      <a:pt x="1355640" y="36795"/>
                      <a:pt x="1348759" y="37346"/>
                      <a:pt x="1349310" y="26061"/>
                    </a:cubicBezTo>
                    <a:cubicBezTo>
                      <a:pt x="1349310" y="23860"/>
                      <a:pt x="1347108" y="21658"/>
                      <a:pt x="1346007" y="19456"/>
                    </a:cubicBezTo>
                    <a:cubicBezTo>
                      <a:pt x="1349035" y="16153"/>
                      <a:pt x="1357842" y="16704"/>
                      <a:pt x="1354264" y="11474"/>
                    </a:cubicBezTo>
                    <a:cubicBezTo>
                      <a:pt x="1352613" y="8997"/>
                      <a:pt x="1348484" y="1291"/>
                      <a:pt x="1341879" y="3768"/>
                    </a:cubicBezTo>
                    <a:cubicBezTo>
                      <a:pt x="1337200" y="5694"/>
                      <a:pt x="1334173" y="8722"/>
                      <a:pt x="1335824" y="14502"/>
                    </a:cubicBezTo>
                    <a:cubicBezTo>
                      <a:pt x="1336925" y="18355"/>
                      <a:pt x="1331145" y="21382"/>
                      <a:pt x="1326741" y="19181"/>
                    </a:cubicBezTo>
                    <a:cubicBezTo>
                      <a:pt x="1320411" y="15878"/>
                      <a:pt x="1314906" y="14777"/>
                      <a:pt x="1307200" y="16704"/>
                    </a:cubicBezTo>
                    <a:cubicBezTo>
                      <a:pt x="1298118" y="18906"/>
                      <a:pt x="1298669" y="5144"/>
                      <a:pt x="1291237" y="465"/>
                    </a:cubicBezTo>
                    <a:cubicBezTo>
                      <a:pt x="1318485" y="465"/>
                      <a:pt x="1346007" y="465"/>
                      <a:pt x="1373255" y="465"/>
                    </a:cubicBezTo>
                    <a:cubicBezTo>
                      <a:pt x="1384264" y="465"/>
                      <a:pt x="1394998" y="190"/>
                      <a:pt x="1406007" y="465"/>
                    </a:cubicBezTo>
                    <a:cubicBezTo>
                      <a:pt x="1408897" y="465"/>
                      <a:pt x="1411925" y="-223"/>
                      <a:pt x="1414539" y="328"/>
                    </a:cubicBezTo>
                    <a:cubicBezTo>
                      <a:pt x="1417154" y="878"/>
                      <a:pt x="1419355" y="2667"/>
                      <a:pt x="1420594" y="7621"/>
                    </a:cubicBezTo>
                    <a:cubicBezTo>
                      <a:pt x="1421420" y="10649"/>
                      <a:pt x="1434355" y="14502"/>
                      <a:pt x="1438209" y="12025"/>
                    </a:cubicBezTo>
                    <a:cubicBezTo>
                      <a:pt x="1443988" y="8722"/>
                      <a:pt x="1445915" y="14502"/>
                      <a:pt x="1449768" y="13126"/>
                    </a:cubicBezTo>
                    <a:cubicBezTo>
                      <a:pt x="1452796" y="8171"/>
                      <a:pt x="1446190" y="6245"/>
                      <a:pt x="1446190" y="465"/>
                    </a:cubicBezTo>
                    <a:cubicBezTo>
                      <a:pt x="1455273" y="465"/>
                      <a:pt x="1464630" y="465"/>
                      <a:pt x="1473988" y="465"/>
                    </a:cubicBezTo>
                    <a:cubicBezTo>
                      <a:pt x="1512245" y="465"/>
                      <a:pt x="1550226" y="465"/>
                      <a:pt x="1588483" y="465"/>
                    </a:cubicBezTo>
                    <a:cubicBezTo>
                      <a:pt x="1590960" y="465"/>
                      <a:pt x="1593437" y="465"/>
                      <a:pt x="1595914" y="741"/>
                    </a:cubicBezTo>
                    <a:cubicBezTo>
                      <a:pt x="1599217" y="741"/>
                      <a:pt x="1600593" y="2942"/>
                      <a:pt x="1599767" y="5694"/>
                    </a:cubicBezTo>
                    <a:cubicBezTo>
                      <a:pt x="1598941" y="8447"/>
                      <a:pt x="1596739" y="7896"/>
                      <a:pt x="1594813" y="6795"/>
                    </a:cubicBezTo>
                    <a:cubicBezTo>
                      <a:pt x="1592886" y="5419"/>
                      <a:pt x="1590685" y="4043"/>
                      <a:pt x="1587932" y="4869"/>
                    </a:cubicBezTo>
                    <a:cubicBezTo>
                      <a:pt x="1585455" y="5694"/>
                      <a:pt x="1582703" y="6795"/>
                      <a:pt x="1582703" y="9548"/>
                    </a:cubicBezTo>
                    <a:cubicBezTo>
                      <a:pt x="1582703" y="12850"/>
                      <a:pt x="1585455" y="13676"/>
                      <a:pt x="1588208" y="13126"/>
                    </a:cubicBezTo>
                    <a:cubicBezTo>
                      <a:pt x="1595914" y="11750"/>
                      <a:pt x="1605272" y="13951"/>
                      <a:pt x="1609400" y="3768"/>
                    </a:cubicBezTo>
                    <a:cubicBezTo>
                      <a:pt x="1610226" y="1497"/>
                      <a:pt x="1626223" y="-154"/>
                      <a:pt x="1634867" y="207"/>
                    </a:cubicBezTo>
                    <a:close/>
                    <a:moveTo>
                      <a:pt x="814109" y="93"/>
                    </a:moveTo>
                    <a:cubicBezTo>
                      <a:pt x="816991" y="214"/>
                      <a:pt x="819055" y="558"/>
                      <a:pt x="819468" y="1177"/>
                    </a:cubicBezTo>
                    <a:cubicBezTo>
                      <a:pt x="821945" y="4479"/>
                      <a:pt x="820293" y="8333"/>
                      <a:pt x="816990" y="9434"/>
                    </a:cubicBezTo>
                    <a:cubicBezTo>
                      <a:pt x="806257" y="15489"/>
                      <a:pt x="798551" y="24021"/>
                      <a:pt x="791670" y="34480"/>
                    </a:cubicBezTo>
                    <a:cubicBezTo>
                      <a:pt x="792220" y="30351"/>
                      <a:pt x="794697" y="25122"/>
                      <a:pt x="793046" y="22369"/>
                    </a:cubicBezTo>
                    <a:cubicBezTo>
                      <a:pt x="791394" y="19342"/>
                      <a:pt x="785615" y="18792"/>
                      <a:pt x="782037" y="17140"/>
                    </a:cubicBezTo>
                    <a:cubicBezTo>
                      <a:pt x="777908" y="22920"/>
                      <a:pt x="790018" y="24571"/>
                      <a:pt x="784238" y="28700"/>
                    </a:cubicBezTo>
                    <a:cubicBezTo>
                      <a:pt x="777908" y="33379"/>
                      <a:pt x="771578" y="28149"/>
                      <a:pt x="764422" y="25122"/>
                    </a:cubicBezTo>
                    <a:cubicBezTo>
                      <a:pt x="765248" y="28975"/>
                      <a:pt x="766073" y="32278"/>
                      <a:pt x="766899" y="36131"/>
                    </a:cubicBezTo>
                    <a:cubicBezTo>
                      <a:pt x="739376" y="36131"/>
                      <a:pt x="712404" y="36131"/>
                      <a:pt x="685432" y="36131"/>
                    </a:cubicBezTo>
                    <a:cubicBezTo>
                      <a:pt x="685432" y="25397"/>
                      <a:pt x="672496" y="11911"/>
                      <a:pt x="660937" y="11911"/>
                    </a:cubicBezTo>
                    <a:cubicBezTo>
                      <a:pt x="653780" y="11911"/>
                      <a:pt x="649652" y="18516"/>
                      <a:pt x="644973" y="22645"/>
                    </a:cubicBezTo>
                    <a:cubicBezTo>
                      <a:pt x="640294" y="26773"/>
                      <a:pt x="645249" y="29801"/>
                      <a:pt x="646900" y="33104"/>
                    </a:cubicBezTo>
                    <a:cubicBezTo>
                      <a:pt x="646625" y="33654"/>
                      <a:pt x="646625" y="34204"/>
                      <a:pt x="647175" y="34755"/>
                    </a:cubicBezTo>
                    <a:cubicBezTo>
                      <a:pt x="637818" y="38333"/>
                      <a:pt x="628184" y="36406"/>
                      <a:pt x="618552" y="36406"/>
                    </a:cubicBezTo>
                    <a:cubicBezTo>
                      <a:pt x="593506" y="36681"/>
                      <a:pt x="568185" y="36406"/>
                      <a:pt x="543139" y="36681"/>
                    </a:cubicBezTo>
                    <a:cubicBezTo>
                      <a:pt x="534882" y="36681"/>
                      <a:pt x="528001" y="37232"/>
                      <a:pt x="528552" y="25947"/>
                    </a:cubicBezTo>
                    <a:cubicBezTo>
                      <a:pt x="528552" y="23746"/>
                      <a:pt x="526350" y="21544"/>
                      <a:pt x="525249" y="19342"/>
                    </a:cubicBezTo>
                    <a:cubicBezTo>
                      <a:pt x="528277" y="16039"/>
                      <a:pt x="537084" y="16590"/>
                      <a:pt x="533506" y="11360"/>
                    </a:cubicBezTo>
                    <a:cubicBezTo>
                      <a:pt x="531855" y="8883"/>
                      <a:pt x="527726" y="1177"/>
                      <a:pt x="521121" y="3654"/>
                    </a:cubicBezTo>
                    <a:cubicBezTo>
                      <a:pt x="516442" y="5580"/>
                      <a:pt x="513415" y="8608"/>
                      <a:pt x="515066" y="14388"/>
                    </a:cubicBezTo>
                    <a:cubicBezTo>
                      <a:pt x="516167" y="18241"/>
                      <a:pt x="510387" y="21268"/>
                      <a:pt x="505983" y="19067"/>
                    </a:cubicBezTo>
                    <a:cubicBezTo>
                      <a:pt x="499653" y="15764"/>
                      <a:pt x="494148" y="14663"/>
                      <a:pt x="486442" y="16590"/>
                    </a:cubicBezTo>
                    <a:cubicBezTo>
                      <a:pt x="477360" y="18792"/>
                      <a:pt x="477911" y="5030"/>
                      <a:pt x="470479" y="351"/>
                    </a:cubicBezTo>
                    <a:cubicBezTo>
                      <a:pt x="497727" y="351"/>
                      <a:pt x="525249" y="351"/>
                      <a:pt x="552497" y="351"/>
                    </a:cubicBezTo>
                    <a:cubicBezTo>
                      <a:pt x="563506" y="351"/>
                      <a:pt x="574240" y="76"/>
                      <a:pt x="585249" y="351"/>
                    </a:cubicBezTo>
                    <a:cubicBezTo>
                      <a:pt x="588139" y="351"/>
                      <a:pt x="591167" y="-337"/>
                      <a:pt x="593781" y="214"/>
                    </a:cubicBezTo>
                    <a:cubicBezTo>
                      <a:pt x="596396" y="764"/>
                      <a:pt x="598597" y="2553"/>
                      <a:pt x="599836" y="7507"/>
                    </a:cubicBezTo>
                    <a:cubicBezTo>
                      <a:pt x="600662" y="10535"/>
                      <a:pt x="613597" y="14388"/>
                      <a:pt x="617451" y="11911"/>
                    </a:cubicBezTo>
                    <a:cubicBezTo>
                      <a:pt x="623230" y="8608"/>
                      <a:pt x="625157" y="14388"/>
                      <a:pt x="629010" y="13012"/>
                    </a:cubicBezTo>
                    <a:cubicBezTo>
                      <a:pt x="632038" y="8057"/>
                      <a:pt x="625432" y="6131"/>
                      <a:pt x="625432" y="351"/>
                    </a:cubicBezTo>
                    <a:cubicBezTo>
                      <a:pt x="634515" y="351"/>
                      <a:pt x="643872" y="351"/>
                      <a:pt x="653230" y="351"/>
                    </a:cubicBezTo>
                    <a:cubicBezTo>
                      <a:pt x="691487" y="351"/>
                      <a:pt x="729468" y="351"/>
                      <a:pt x="767725" y="351"/>
                    </a:cubicBezTo>
                    <a:cubicBezTo>
                      <a:pt x="770202" y="351"/>
                      <a:pt x="772679" y="351"/>
                      <a:pt x="775156" y="627"/>
                    </a:cubicBezTo>
                    <a:cubicBezTo>
                      <a:pt x="778459" y="627"/>
                      <a:pt x="779835" y="2828"/>
                      <a:pt x="779009" y="5580"/>
                    </a:cubicBezTo>
                    <a:cubicBezTo>
                      <a:pt x="778183" y="8333"/>
                      <a:pt x="775981" y="7782"/>
                      <a:pt x="774055" y="6681"/>
                    </a:cubicBezTo>
                    <a:cubicBezTo>
                      <a:pt x="772128" y="5305"/>
                      <a:pt x="769927" y="3929"/>
                      <a:pt x="767174" y="4755"/>
                    </a:cubicBezTo>
                    <a:cubicBezTo>
                      <a:pt x="764697" y="5580"/>
                      <a:pt x="761945" y="6681"/>
                      <a:pt x="761945" y="9434"/>
                    </a:cubicBezTo>
                    <a:cubicBezTo>
                      <a:pt x="761945" y="12736"/>
                      <a:pt x="764697" y="13562"/>
                      <a:pt x="767450" y="13012"/>
                    </a:cubicBezTo>
                    <a:cubicBezTo>
                      <a:pt x="775156" y="11636"/>
                      <a:pt x="784514" y="13837"/>
                      <a:pt x="788642" y="3654"/>
                    </a:cubicBezTo>
                    <a:cubicBezTo>
                      <a:pt x="789468" y="1383"/>
                      <a:pt x="805465" y="-268"/>
                      <a:pt x="814109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A2D10865-DA1E-41A9-A031-3C18B10AB9A6}"/>
                </a:ext>
              </a:extLst>
            </p:cNvPr>
            <p:cNvGrpSpPr/>
            <p:nvPr/>
          </p:nvGrpSpPr>
          <p:grpSpPr>
            <a:xfrm rot="5400000">
              <a:off x="9354837" y="3479161"/>
              <a:ext cx="4937760" cy="90960"/>
              <a:chOff x="2923579" y="529887"/>
              <a:chExt cx="6387472" cy="90960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xmlns="" id="{EC54E5B7-2518-497A-B02F-CE7A59B0BB91}"/>
                  </a:ext>
                </a:extLst>
              </p:cNvPr>
              <p:cNvSpPr/>
              <p:nvPr/>
            </p:nvSpPr>
            <p:spPr>
              <a:xfrm>
                <a:off x="2923579" y="529887"/>
                <a:ext cx="3121205" cy="87950"/>
              </a:xfrm>
              <a:custGeom>
                <a:avLst/>
                <a:gdLst>
                  <a:gd name="connsiteX0" fmla="*/ 934228 w 1546130"/>
                  <a:gd name="connsiteY0" fmla="*/ 26457 h 43567"/>
                  <a:gd name="connsiteX1" fmla="*/ 929274 w 1546130"/>
                  <a:gd name="connsiteY1" fmla="*/ 30586 h 43567"/>
                  <a:gd name="connsiteX2" fmla="*/ 939182 w 1546130"/>
                  <a:gd name="connsiteY2" fmla="*/ 40494 h 43567"/>
                  <a:gd name="connsiteX3" fmla="*/ 941935 w 1546130"/>
                  <a:gd name="connsiteY3" fmla="*/ 35540 h 43567"/>
                  <a:gd name="connsiteX4" fmla="*/ 934228 w 1546130"/>
                  <a:gd name="connsiteY4" fmla="*/ 26457 h 43567"/>
                  <a:gd name="connsiteX5" fmla="*/ 1074600 w 1546130"/>
                  <a:gd name="connsiteY5" fmla="*/ 5885 h 43567"/>
                  <a:gd name="connsiteX6" fmla="*/ 1074325 w 1546130"/>
                  <a:gd name="connsiteY6" fmla="*/ 6160 h 43567"/>
                  <a:gd name="connsiteX7" fmla="*/ 1074325 w 1546130"/>
                  <a:gd name="connsiteY7" fmla="*/ 6435 h 43567"/>
                  <a:gd name="connsiteX8" fmla="*/ 1074049 w 1546130"/>
                  <a:gd name="connsiteY8" fmla="*/ 6435 h 43567"/>
                  <a:gd name="connsiteX9" fmla="*/ 1074049 w 1546130"/>
                  <a:gd name="connsiteY9" fmla="*/ 6160 h 43567"/>
                  <a:gd name="connsiteX10" fmla="*/ 1073774 w 1546130"/>
                  <a:gd name="connsiteY10" fmla="*/ 6435 h 43567"/>
                  <a:gd name="connsiteX11" fmla="*/ 1075976 w 1546130"/>
                  <a:gd name="connsiteY11" fmla="*/ 29004 h 43567"/>
                  <a:gd name="connsiteX12" fmla="*/ 1078728 w 1546130"/>
                  <a:gd name="connsiteY12" fmla="*/ 30655 h 43567"/>
                  <a:gd name="connsiteX13" fmla="*/ 1094416 w 1546130"/>
                  <a:gd name="connsiteY13" fmla="*/ 24876 h 43567"/>
                  <a:gd name="connsiteX14" fmla="*/ 1084783 w 1546130"/>
                  <a:gd name="connsiteY14" fmla="*/ 9738 h 43567"/>
                  <a:gd name="connsiteX15" fmla="*/ 1075150 w 1546130"/>
                  <a:gd name="connsiteY15" fmla="*/ 6435 h 43567"/>
                  <a:gd name="connsiteX16" fmla="*/ 1074600 w 1546130"/>
                  <a:gd name="connsiteY16" fmla="*/ 5885 h 43567"/>
                  <a:gd name="connsiteX17" fmla="*/ 22951 w 1546130"/>
                  <a:gd name="connsiteY17" fmla="*/ 5815 h 43567"/>
                  <a:gd name="connsiteX18" fmla="*/ 22676 w 1546130"/>
                  <a:gd name="connsiteY18" fmla="*/ 6090 h 43567"/>
                  <a:gd name="connsiteX19" fmla="*/ 22676 w 1546130"/>
                  <a:gd name="connsiteY19" fmla="*/ 6365 h 43567"/>
                  <a:gd name="connsiteX20" fmla="*/ 22400 w 1546130"/>
                  <a:gd name="connsiteY20" fmla="*/ 6365 h 43567"/>
                  <a:gd name="connsiteX21" fmla="*/ 22400 w 1546130"/>
                  <a:gd name="connsiteY21" fmla="*/ 6090 h 43567"/>
                  <a:gd name="connsiteX22" fmla="*/ 22125 w 1546130"/>
                  <a:gd name="connsiteY22" fmla="*/ 6365 h 43567"/>
                  <a:gd name="connsiteX23" fmla="*/ 24327 w 1546130"/>
                  <a:gd name="connsiteY23" fmla="*/ 28934 h 43567"/>
                  <a:gd name="connsiteX24" fmla="*/ 27079 w 1546130"/>
                  <a:gd name="connsiteY24" fmla="*/ 30585 h 43567"/>
                  <a:gd name="connsiteX25" fmla="*/ 42767 w 1546130"/>
                  <a:gd name="connsiteY25" fmla="*/ 24806 h 43567"/>
                  <a:gd name="connsiteX26" fmla="*/ 33134 w 1546130"/>
                  <a:gd name="connsiteY26" fmla="*/ 9668 h 43567"/>
                  <a:gd name="connsiteX27" fmla="*/ 23501 w 1546130"/>
                  <a:gd name="connsiteY27" fmla="*/ 6365 h 43567"/>
                  <a:gd name="connsiteX28" fmla="*/ 22951 w 1546130"/>
                  <a:gd name="connsiteY28" fmla="*/ 5815 h 43567"/>
                  <a:gd name="connsiteX29" fmla="*/ 1440377 w 1546130"/>
                  <a:gd name="connsiteY29" fmla="*/ 380 h 43567"/>
                  <a:gd name="connsiteX30" fmla="*/ 1453313 w 1546130"/>
                  <a:gd name="connsiteY30" fmla="*/ 11940 h 43567"/>
                  <a:gd name="connsiteX31" fmla="*/ 1470652 w 1546130"/>
                  <a:gd name="connsiteY31" fmla="*/ 656 h 43567"/>
                  <a:gd name="connsiteX32" fmla="*/ 1546130 w 1546130"/>
                  <a:gd name="connsiteY32" fmla="*/ 656 h 43567"/>
                  <a:gd name="connsiteX33" fmla="*/ 1546130 w 1546130"/>
                  <a:gd name="connsiteY33" fmla="*/ 42765 h 43567"/>
                  <a:gd name="connsiteX34" fmla="*/ 1509184 w 1546130"/>
                  <a:gd name="connsiteY34" fmla="*/ 42765 h 43567"/>
                  <a:gd name="connsiteX35" fmla="*/ 1500101 w 1546130"/>
                  <a:gd name="connsiteY35" fmla="*/ 38637 h 43567"/>
                  <a:gd name="connsiteX36" fmla="*/ 1492670 w 1546130"/>
                  <a:gd name="connsiteY36" fmla="*/ 38086 h 43567"/>
                  <a:gd name="connsiteX37" fmla="*/ 1473129 w 1546130"/>
                  <a:gd name="connsiteY37" fmla="*/ 42765 h 43567"/>
                  <a:gd name="connsiteX38" fmla="*/ 1288176 w 1546130"/>
                  <a:gd name="connsiteY38" fmla="*/ 43040 h 43567"/>
                  <a:gd name="connsiteX39" fmla="*/ 1274965 w 1546130"/>
                  <a:gd name="connsiteY39" fmla="*/ 34233 h 43567"/>
                  <a:gd name="connsiteX40" fmla="*/ 1285699 w 1546130"/>
                  <a:gd name="connsiteY40" fmla="*/ 24876 h 43567"/>
                  <a:gd name="connsiteX41" fmla="*/ 1304690 w 1546130"/>
                  <a:gd name="connsiteY41" fmla="*/ 10013 h 43567"/>
                  <a:gd name="connsiteX42" fmla="*/ 1322580 w 1546130"/>
                  <a:gd name="connsiteY42" fmla="*/ 15793 h 43567"/>
                  <a:gd name="connsiteX43" fmla="*/ 1328910 w 1546130"/>
                  <a:gd name="connsiteY43" fmla="*/ 13316 h 43567"/>
                  <a:gd name="connsiteX44" fmla="*/ 1353680 w 1546130"/>
                  <a:gd name="connsiteY44" fmla="*/ 656 h 43567"/>
                  <a:gd name="connsiteX45" fmla="*/ 1440377 w 1546130"/>
                  <a:gd name="connsiteY45" fmla="*/ 380 h 43567"/>
                  <a:gd name="connsiteX46" fmla="*/ 388728 w 1546130"/>
                  <a:gd name="connsiteY46" fmla="*/ 310 h 43567"/>
                  <a:gd name="connsiteX47" fmla="*/ 401664 w 1546130"/>
                  <a:gd name="connsiteY47" fmla="*/ 11870 h 43567"/>
                  <a:gd name="connsiteX48" fmla="*/ 419003 w 1546130"/>
                  <a:gd name="connsiteY48" fmla="*/ 586 h 43567"/>
                  <a:gd name="connsiteX49" fmla="*/ 566250 w 1546130"/>
                  <a:gd name="connsiteY49" fmla="*/ 586 h 43567"/>
                  <a:gd name="connsiteX50" fmla="*/ 580011 w 1546130"/>
                  <a:gd name="connsiteY50" fmla="*/ 8017 h 43567"/>
                  <a:gd name="connsiteX51" fmla="*/ 553314 w 1546130"/>
                  <a:gd name="connsiteY51" fmla="*/ 20677 h 43567"/>
                  <a:gd name="connsiteX52" fmla="*/ 560194 w 1546130"/>
                  <a:gd name="connsiteY52" fmla="*/ 24531 h 43567"/>
                  <a:gd name="connsiteX53" fmla="*/ 583864 w 1546130"/>
                  <a:gd name="connsiteY53" fmla="*/ 28934 h 43567"/>
                  <a:gd name="connsiteX54" fmla="*/ 588818 w 1546130"/>
                  <a:gd name="connsiteY54" fmla="*/ 38842 h 43567"/>
                  <a:gd name="connsiteX55" fmla="*/ 580836 w 1546130"/>
                  <a:gd name="connsiteY55" fmla="*/ 42695 h 43567"/>
                  <a:gd name="connsiteX56" fmla="*/ 457535 w 1546130"/>
                  <a:gd name="connsiteY56" fmla="*/ 42695 h 43567"/>
                  <a:gd name="connsiteX57" fmla="*/ 448452 w 1546130"/>
                  <a:gd name="connsiteY57" fmla="*/ 38567 h 43567"/>
                  <a:gd name="connsiteX58" fmla="*/ 441021 w 1546130"/>
                  <a:gd name="connsiteY58" fmla="*/ 38016 h 43567"/>
                  <a:gd name="connsiteX59" fmla="*/ 421480 w 1546130"/>
                  <a:gd name="connsiteY59" fmla="*/ 42695 h 43567"/>
                  <a:gd name="connsiteX60" fmla="*/ 236527 w 1546130"/>
                  <a:gd name="connsiteY60" fmla="*/ 42970 h 43567"/>
                  <a:gd name="connsiteX61" fmla="*/ 223316 w 1546130"/>
                  <a:gd name="connsiteY61" fmla="*/ 34163 h 43567"/>
                  <a:gd name="connsiteX62" fmla="*/ 234050 w 1546130"/>
                  <a:gd name="connsiteY62" fmla="*/ 24806 h 43567"/>
                  <a:gd name="connsiteX63" fmla="*/ 253041 w 1546130"/>
                  <a:gd name="connsiteY63" fmla="*/ 9943 h 43567"/>
                  <a:gd name="connsiteX64" fmla="*/ 270931 w 1546130"/>
                  <a:gd name="connsiteY64" fmla="*/ 15723 h 43567"/>
                  <a:gd name="connsiteX65" fmla="*/ 277261 w 1546130"/>
                  <a:gd name="connsiteY65" fmla="*/ 13246 h 43567"/>
                  <a:gd name="connsiteX66" fmla="*/ 302031 w 1546130"/>
                  <a:gd name="connsiteY66" fmla="*/ 586 h 43567"/>
                  <a:gd name="connsiteX67" fmla="*/ 388728 w 1546130"/>
                  <a:gd name="connsiteY67" fmla="*/ 310 h 43567"/>
                  <a:gd name="connsiteX68" fmla="*/ 1066309 w 1546130"/>
                  <a:gd name="connsiteY68" fmla="*/ 71 h 43567"/>
                  <a:gd name="connsiteX69" fmla="*/ 1080930 w 1546130"/>
                  <a:gd name="connsiteY69" fmla="*/ 381 h 43567"/>
                  <a:gd name="connsiteX70" fmla="*/ 1116710 w 1546130"/>
                  <a:gd name="connsiteY70" fmla="*/ 381 h 43567"/>
                  <a:gd name="connsiteX71" fmla="*/ 1196250 w 1546130"/>
                  <a:gd name="connsiteY71" fmla="*/ 655 h 43567"/>
                  <a:gd name="connsiteX72" fmla="*/ 1208911 w 1546130"/>
                  <a:gd name="connsiteY72" fmla="*/ 8637 h 43567"/>
                  <a:gd name="connsiteX73" fmla="*/ 1232580 w 1546130"/>
                  <a:gd name="connsiteY73" fmla="*/ 2582 h 43567"/>
                  <a:gd name="connsiteX74" fmla="*/ 1245516 w 1546130"/>
                  <a:gd name="connsiteY74" fmla="*/ 931 h 43567"/>
                  <a:gd name="connsiteX75" fmla="*/ 1265332 w 1546130"/>
                  <a:gd name="connsiteY75" fmla="*/ 931 h 43567"/>
                  <a:gd name="connsiteX76" fmla="*/ 1238360 w 1546130"/>
                  <a:gd name="connsiteY76" fmla="*/ 33683 h 43567"/>
                  <a:gd name="connsiteX77" fmla="*/ 1219369 w 1546130"/>
                  <a:gd name="connsiteY77" fmla="*/ 43316 h 43567"/>
                  <a:gd name="connsiteX78" fmla="*/ 1205333 w 1546130"/>
                  <a:gd name="connsiteY78" fmla="*/ 25976 h 43567"/>
                  <a:gd name="connsiteX79" fmla="*/ 1200104 w 1546130"/>
                  <a:gd name="connsiteY79" fmla="*/ 29279 h 43567"/>
                  <a:gd name="connsiteX80" fmla="*/ 1173682 w 1546130"/>
                  <a:gd name="connsiteY80" fmla="*/ 43316 h 43567"/>
                  <a:gd name="connsiteX81" fmla="*/ 1068584 w 1546130"/>
                  <a:gd name="connsiteY81" fmla="*/ 43066 h 43567"/>
                  <a:gd name="connsiteX82" fmla="*/ 1068814 w 1546130"/>
                  <a:gd name="connsiteY82" fmla="*/ 43246 h 43567"/>
                  <a:gd name="connsiteX83" fmla="*/ 1041842 w 1546130"/>
                  <a:gd name="connsiteY83" fmla="*/ 43246 h 43567"/>
                  <a:gd name="connsiteX84" fmla="*/ 837072 w 1546130"/>
                  <a:gd name="connsiteY84" fmla="*/ 43246 h 43567"/>
                  <a:gd name="connsiteX85" fmla="*/ 823862 w 1546130"/>
                  <a:gd name="connsiteY85" fmla="*/ 41044 h 43567"/>
                  <a:gd name="connsiteX86" fmla="*/ 815054 w 1546130"/>
                  <a:gd name="connsiteY86" fmla="*/ 42145 h 43567"/>
                  <a:gd name="connsiteX87" fmla="*/ 808449 w 1546130"/>
                  <a:gd name="connsiteY87" fmla="*/ 43246 h 43567"/>
                  <a:gd name="connsiteX88" fmla="*/ 768541 w 1546130"/>
                  <a:gd name="connsiteY88" fmla="*/ 42420 h 43567"/>
                  <a:gd name="connsiteX89" fmla="*/ 719000 w 1546130"/>
                  <a:gd name="connsiteY89" fmla="*/ 42971 h 43567"/>
                  <a:gd name="connsiteX90" fmla="*/ 615790 w 1546130"/>
                  <a:gd name="connsiteY90" fmla="*/ 42696 h 43567"/>
                  <a:gd name="connsiteX91" fmla="*/ 609185 w 1546130"/>
                  <a:gd name="connsiteY91" fmla="*/ 33888 h 43567"/>
                  <a:gd name="connsiteX92" fmla="*/ 595699 w 1546130"/>
                  <a:gd name="connsiteY92" fmla="*/ 11045 h 43567"/>
                  <a:gd name="connsiteX93" fmla="*/ 581662 w 1546130"/>
                  <a:gd name="connsiteY93" fmla="*/ 586 h 43567"/>
                  <a:gd name="connsiteX94" fmla="*/ 604781 w 1546130"/>
                  <a:gd name="connsiteY94" fmla="*/ 586 h 43567"/>
                  <a:gd name="connsiteX95" fmla="*/ 958448 w 1546130"/>
                  <a:gd name="connsiteY95" fmla="*/ 586 h 43567"/>
                  <a:gd name="connsiteX96" fmla="*/ 1003310 w 1546130"/>
                  <a:gd name="connsiteY96" fmla="*/ 311 h 43567"/>
                  <a:gd name="connsiteX97" fmla="*/ 1025603 w 1546130"/>
                  <a:gd name="connsiteY97" fmla="*/ 6090 h 43567"/>
                  <a:gd name="connsiteX98" fmla="*/ 1029181 w 1546130"/>
                  <a:gd name="connsiteY98" fmla="*/ 3889 h 43567"/>
                  <a:gd name="connsiteX99" fmla="*/ 1024778 w 1546130"/>
                  <a:gd name="connsiteY99" fmla="*/ 1136 h 43567"/>
                  <a:gd name="connsiteX100" fmla="*/ 1033310 w 1546130"/>
                  <a:gd name="connsiteY100" fmla="*/ 1962 h 43567"/>
                  <a:gd name="connsiteX101" fmla="*/ 1044044 w 1546130"/>
                  <a:gd name="connsiteY101" fmla="*/ 3614 h 43567"/>
                  <a:gd name="connsiteX102" fmla="*/ 1038814 w 1546130"/>
                  <a:gd name="connsiteY102" fmla="*/ 12145 h 43567"/>
                  <a:gd name="connsiteX103" fmla="*/ 1037163 w 1546130"/>
                  <a:gd name="connsiteY103" fmla="*/ 16274 h 43567"/>
                  <a:gd name="connsiteX104" fmla="*/ 1046383 w 1546130"/>
                  <a:gd name="connsiteY104" fmla="*/ 25081 h 43567"/>
                  <a:gd name="connsiteX105" fmla="*/ 1052857 w 1546130"/>
                  <a:gd name="connsiteY105" fmla="*/ 30600 h 43567"/>
                  <a:gd name="connsiteX106" fmla="*/ 1052857 w 1546130"/>
                  <a:gd name="connsiteY106" fmla="*/ 30105 h 43567"/>
                  <a:gd name="connsiteX107" fmla="*/ 1054783 w 1546130"/>
                  <a:gd name="connsiteY107" fmla="*/ 2857 h 43567"/>
                  <a:gd name="connsiteX108" fmla="*/ 1066309 w 1546130"/>
                  <a:gd name="connsiteY108" fmla="*/ 71 h 43567"/>
                  <a:gd name="connsiteX109" fmla="*/ 14660 w 1546130"/>
                  <a:gd name="connsiteY109" fmla="*/ 1 h 43567"/>
                  <a:gd name="connsiteX110" fmla="*/ 29281 w 1546130"/>
                  <a:gd name="connsiteY110" fmla="*/ 311 h 43567"/>
                  <a:gd name="connsiteX111" fmla="*/ 65061 w 1546130"/>
                  <a:gd name="connsiteY111" fmla="*/ 311 h 43567"/>
                  <a:gd name="connsiteX112" fmla="*/ 144601 w 1546130"/>
                  <a:gd name="connsiteY112" fmla="*/ 585 h 43567"/>
                  <a:gd name="connsiteX113" fmla="*/ 157262 w 1546130"/>
                  <a:gd name="connsiteY113" fmla="*/ 8567 h 43567"/>
                  <a:gd name="connsiteX114" fmla="*/ 180931 w 1546130"/>
                  <a:gd name="connsiteY114" fmla="*/ 2512 h 43567"/>
                  <a:gd name="connsiteX115" fmla="*/ 193867 w 1546130"/>
                  <a:gd name="connsiteY115" fmla="*/ 861 h 43567"/>
                  <a:gd name="connsiteX116" fmla="*/ 213683 w 1546130"/>
                  <a:gd name="connsiteY116" fmla="*/ 861 h 43567"/>
                  <a:gd name="connsiteX117" fmla="*/ 186711 w 1546130"/>
                  <a:gd name="connsiteY117" fmla="*/ 33613 h 43567"/>
                  <a:gd name="connsiteX118" fmla="*/ 167720 w 1546130"/>
                  <a:gd name="connsiteY118" fmla="*/ 43246 h 43567"/>
                  <a:gd name="connsiteX119" fmla="*/ 153684 w 1546130"/>
                  <a:gd name="connsiteY119" fmla="*/ 25906 h 43567"/>
                  <a:gd name="connsiteX120" fmla="*/ 148455 w 1546130"/>
                  <a:gd name="connsiteY120" fmla="*/ 29209 h 43567"/>
                  <a:gd name="connsiteX121" fmla="*/ 122033 w 1546130"/>
                  <a:gd name="connsiteY121" fmla="*/ 43246 h 43567"/>
                  <a:gd name="connsiteX122" fmla="*/ 6437 w 1546130"/>
                  <a:gd name="connsiteY122" fmla="*/ 42971 h 43567"/>
                  <a:gd name="connsiteX123" fmla="*/ 1208 w 1546130"/>
                  <a:gd name="connsiteY123" fmla="*/ 39943 h 43567"/>
                  <a:gd name="connsiteX124" fmla="*/ 1208 w 1546130"/>
                  <a:gd name="connsiteY124" fmla="*/ 30035 h 43567"/>
                  <a:gd name="connsiteX125" fmla="*/ 3134 w 1546130"/>
                  <a:gd name="connsiteY125" fmla="*/ 2787 h 43567"/>
                  <a:gd name="connsiteX126" fmla="*/ 14660 w 1546130"/>
                  <a:gd name="connsiteY126" fmla="*/ 1 h 4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546130" h="43567">
                    <a:moveTo>
                      <a:pt x="934228" y="26457"/>
                    </a:moveTo>
                    <a:cubicBezTo>
                      <a:pt x="932026" y="26182"/>
                      <a:pt x="928448" y="28108"/>
                      <a:pt x="929274" y="30586"/>
                    </a:cubicBezTo>
                    <a:cubicBezTo>
                      <a:pt x="930650" y="35265"/>
                      <a:pt x="934778" y="38567"/>
                      <a:pt x="939182" y="40494"/>
                    </a:cubicBezTo>
                    <a:cubicBezTo>
                      <a:pt x="940834" y="41319"/>
                      <a:pt x="941659" y="38017"/>
                      <a:pt x="941935" y="35540"/>
                    </a:cubicBezTo>
                    <a:cubicBezTo>
                      <a:pt x="941109" y="31411"/>
                      <a:pt x="939733" y="27008"/>
                      <a:pt x="934228" y="26457"/>
                    </a:cubicBezTo>
                    <a:close/>
                    <a:moveTo>
                      <a:pt x="1074600" y="5885"/>
                    </a:moveTo>
                    <a:cubicBezTo>
                      <a:pt x="1074600" y="5885"/>
                      <a:pt x="1074325" y="6160"/>
                      <a:pt x="1074325" y="6160"/>
                    </a:cubicBezTo>
                    <a:cubicBezTo>
                      <a:pt x="1074325" y="6160"/>
                      <a:pt x="1074325" y="6435"/>
                      <a:pt x="1074325" y="6435"/>
                    </a:cubicBezTo>
                    <a:cubicBezTo>
                      <a:pt x="1074049" y="6435"/>
                      <a:pt x="1074049" y="6435"/>
                      <a:pt x="1074049" y="6435"/>
                    </a:cubicBezTo>
                    <a:cubicBezTo>
                      <a:pt x="1074049" y="6160"/>
                      <a:pt x="1074049" y="6160"/>
                      <a:pt x="1074049" y="6160"/>
                    </a:cubicBezTo>
                    <a:cubicBezTo>
                      <a:pt x="1074049" y="6160"/>
                      <a:pt x="1073774" y="6435"/>
                      <a:pt x="1073774" y="6435"/>
                    </a:cubicBezTo>
                    <a:cubicBezTo>
                      <a:pt x="1070196" y="14142"/>
                      <a:pt x="1077903" y="21298"/>
                      <a:pt x="1075976" y="29004"/>
                    </a:cubicBezTo>
                    <a:cubicBezTo>
                      <a:pt x="1075976" y="29554"/>
                      <a:pt x="1078453" y="30931"/>
                      <a:pt x="1078728" y="30655"/>
                    </a:cubicBezTo>
                    <a:cubicBezTo>
                      <a:pt x="1083407" y="26252"/>
                      <a:pt x="1093591" y="30931"/>
                      <a:pt x="1094416" y="24876"/>
                    </a:cubicBezTo>
                    <a:cubicBezTo>
                      <a:pt x="1094967" y="21573"/>
                      <a:pt x="1091939" y="12215"/>
                      <a:pt x="1084783" y="9738"/>
                    </a:cubicBezTo>
                    <a:cubicBezTo>
                      <a:pt x="1081481" y="8913"/>
                      <a:pt x="1078728" y="6160"/>
                      <a:pt x="1075150" y="6435"/>
                    </a:cubicBezTo>
                    <a:cubicBezTo>
                      <a:pt x="1074875" y="6160"/>
                      <a:pt x="1074600" y="6160"/>
                      <a:pt x="1074600" y="5885"/>
                    </a:cubicBezTo>
                    <a:close/>
                    <a:moveTo>
                      <a:pt x="22951" y="5815"/>
                    </a:moveTo>
                    <a:cubicBezTo>
                      <a:pt x="22951" y="5815"/>
                      <a:pt x="22676" y="6090"/>
                      <a:pt x="22676" y="6090"/>
                    </a:cubicBezTo>
                    <a:cubicBezTo>
                      <a:pt x="22676" y="6090"/>
                      <a:pt x="22676" y="6365"/>
                      <a:pt x="22676" y="6365"/>
                    </a:cubicBezTo>
                    <a:cubicBezTo>
                      <a:pt x="22400" y="6365"/>
                      <a:pt x="22400" y="6365"/>
                      <a:pt x="22400" y="6365"/>
                    </a:cubicBezTo>
                    <a:cubicBezTo>
                      <a:pt x="22400" y="6090"/>
                      <a:pt x="22400" y="6090"/>
                      <a:pt x="22400" y="6090"/>
                    </a:cubicBezTo>
                    <a:cubicBezTo>
                      <a:pt x="22400" y="6090"/>
                      <a:pt x="22125" y="6365"/>
                      <a:pt x="22125" y="6365"/>
                    </a:cubicBezTo>
                    <a:cubicBezTo>
                      <a:pt x="18547" y="14072"/>
                      <a:pt x="26254" y="21228"/>
                      <a:pt x="24327" y="28934"/>
                    </a:cubicBezTo>
                    <a:cubicBezTo>
                      <a:pt x="24327" y="29484"/>
                      <a:pt x="26804" y="30861"/>
                      <a:pt x="27079" y="30585"/>
                    </a:cubicBezTo>
                    <a:cubicBezTo>
                      <a:pt x="31758" y="26182"/>
                      <a:pt x="41942" y="30861"/>
                      <a:pt x="42767" y="24806"/>
                    </a:cubicBezTo>
                    <a:cubicBezTo>
                      <a:pt x="43318" y="21503"/>
                      <a:pt x="40290" y="12145"/>
                      <a:pt x="33134" y="9668"/>
                    </a:cubicBezTo>
                    <a:cubicBezTo>
                      <a:pt x="29832" y="8843"/>
                      <a:pt x="27079" y="6090"/>
                      <a:pt x="23501" y="6365"/>
                    </a:cubicBezTo>
                    <a:cubicBezTo>
                      <a:pt x="23226" y="6090"/>
                      <a:pt x="22951" y="6090"/>
                      <a:pt x="22951" y="5815"/>
                    </a:cubicBezTo>
                    <a:close/>
                    <a:moveTo>
                      <a:pt x="1440377" y="380"/>
                    </a:moveTo>
                    <a:cubicBezTo>
                      <a:pt x="1447808" y="380"/>
                      <a:pt x="1453863" y="105"/>
                      <a:pt x="1453313" y="11940"/>
                    </a:cubicBezTo>
                    <a:cubicBezTo>
                      <a:pt x="1454689" y="-1271"/>
                      <a:pt x="1463221" y="656"/>
                      <a:pt x="1470652" y="656"/>
                    </a:cubicBezTo>
                    <a:lnTo>
                      <a:pt x="1546130" y="656"/>
                    </a:lnTo>
                    <a:lnTo>
                      <a:pt x="1546130" y="42765"/>
                    </a:lnTo>
                    <a:lnTo>
                      <a:pt x="1509184" y="42765"/>
                    </a:lnTo>
                    <a:cubicBezTo>
                      <a:pt x="1505606" y="42765"/>
                      <a:pt x="1502027" y="43591"/>
                      <a:pt x="1500101" y="38637"/>
                    </a:cubicBezTo>
                    <a:cubicBezTo>
                      <a:pt x="1498725" y="35059"/>
                      <a:pt x="1494321" y="35885"/>
                      <a:pt x="1492670" y="38086"/>
                    </a:cubicBezTo>
                    <a:cubicBezTo>
                      <a:pt x="1487166" y="44692"/>
                      <a:pt x="1480009" y="42765"/>
                      <a:pt x="1473129" y="42765"/>
                    </a:cubicBezTo>
                    <a:cubicBezTo>
                      <a:pt x="1411478" y="43040"/>
                      <a:pt x="1349827" y="42765"/>
                      <a:pt x="1288176" y="43040"/>
                    </a:cubicBezTo>
                    <a:cubicBezTo>
                      <a:pt x="1281295" y="43040"/>
                      <a:pt x="1275516" y="42215"/>
                      <a:pt x="1274965" y="34233"/>
                    </a:cubicBezTo>
                    <a:cubicBezTo>
                      <a:pt x="1274415" y="26527"/>
                      <a:pt x="1281021" y="27353"/>
                      <a:pt x="1285699" y="24876"/>
                    </a:cubicBezTo>
                    <a:cubicBezTo>
                      <a:pt x="1292580" y="21022"/>
                      <a:pt x="1306892" y="27353"/>
                      <a:pt x="1304690" y="10013"/>
                    </a:cubicBezTo>
                    <a:cubicBezTo>
                      <a:pt x="1311020" y="13316"/>
                      <a:pt x="1316249" y="16069"/>
                      <a:pt x="1322580" y="15793"/>
                    </a:cubicBezTo>
                    <a:cubicBezTo>
                      <a:pt x="1325332" y="15793"/>
                      <a:pt x="1328359" y="15518"/>
                      <a:pt x="1328910" y="13316"/>
                    </a:cubicBezTo>
                    <a:cubicBezTo>
                      <a:pt x="1331937" y="-1271"/>
                      <a:pt x="1343772" y="931"/>
                      <a:pt x="1353680" y="656"/>
                    </a:cubicBezTo>
                    <a:cubicBezTo>
                      <a:pt x="1382579" y="380"/>
                      <a:pt x="1411478" y="656"/>
                      <a:pt x="1440377" y="380"/>
                    </a:cubicBezTo>
                    <a:close/>
                    <a:moveTo>
                      <a:pt x="388728" y="310"/>
                    </a:moveTo>
                    <a:cubicBezTo>
                      <a:pt x="396159" y="310"/>
                      <a:pt x="402214" y="35"/>
                      <a:pt x="401664" y="11870"/>
                    </a:cubicBezTo>
                    <a:cubicBezTo>
                      <a:pt x="403040" y="-1341"/>
                      <a:pt x="411572" y="586"/>
                      <a:pt x="419003" y="586"/>
                    </a:cubicBezTo>
                    <a:cubicBezTo>
                      <a:pt x="468268" y="586"/>
                      <a:pt x="517259" y="586"/>
                      <a:pt x="566250" y="586"/>
                    </a:cubicBezTo>
                    <a:cubicBezTo>
                      <a:pt x="572029" y="310"/>
                      <a:pt x="578084" y="-515"/>
                      <a:pt x="580011" y="8017"/>
                    </a:cubicBezTo>
                    <a:cubicBezTo>
                      <a:pt x="572029" y="3338"/>
                      <a:pt x="553589" y="12421"/>
                      <a:pt x="553314" y="20677"/>
                    </a:cubicBezTo>
                    <a:cubicBezTo>
                      <a:pt x="553039" y="25356"/>
                      <a:pt x="556892" y="26457"/>
                      <a:pt x="560194" y="24531"/>
                    </a:cubicBezTo>
                    <a:cubicBezTo>
                      <a:pt x="569552" y="19576"/>
                      <a:pt x="575882" y="28108"/>
                      <a:pt x="583864" y="28934"/>
                    </a:cubicBezTo>
                    <a:cubicBezTo>
                      <a:pt x="587717" y="29484"/>
                      <a:pt x="589919" y="34989"/>
                      <a:pt x="588818" y="38842"/>
                    </a:cubicBezTo>
                    <a:cubicBezTo>
                      <a:pt x="588268" y="43245"/>
                      <a:pt x="584139" y="42695"/>
                      <a:pt x="580836" y="42695"/>
                    </a:cubicBezTo>
                    <a:cubicBezTo>
                      <a:pt x="539827" y="42695"/>
                      <a:pt x="498543" y="42695"/>
                      <a:pt x="457535" y="42695"/>
                    </a:cubicBezTo>
                    <a:cubicBezTo>
                      <a:pt x="453957" y="42695"/>
                      <a:pt x="450378" y="43521"/>
                      <a:pt x="448452" y="38567"/>
                    </a:cubicBezTo>
                    <a:cubicBezTo>
                      <a:pt x="447076" y="34989"/>
                      <a:pt x="442672" y="35815"/>
                      <a:pt x="441021" y="38016"/>
                    </a:cubicBezTo>
                    <a:cubicBezTo>
                      <a:pt x="435517" y="44622"/>
                      <a:pt x="428360" y="42695"/>
                      <a:pt x="421480" y="42695"/>
                    </a:cubicBezTo>
                    <a:cubicBezTo>
                      <a:pt x="359829" y="42970"/>
                      <a:pt x="298178" y="42695"/>
                      <a:pt x="236527" y="42970"/>
                    </a:cubicBezTo>
                    <a:cubicBezTo>
                      <a:pt x="229646" y="42970"/>
                      <a:pt x="223867" y="42145"/>
                      <a:pt x="223316" y="34163"/>
                    </a:cubicBezTo>
                    <a:cubicBezTo>
                      <a:pt x="222766" y="26457"/>
                      <a:pt x="229372" y="27283"/>
                      <a:pt x="234050" y="24806"/>
                    </a:cubicBezTo>
                    <a:cubicBezTo>
                      <a:pt x="240931" y="20952"/>
                      <a:pt x="255243" y="27283"/>
                      <a:pt x="253041" y="9943"/>
                    </a:cubicBezTo>
                    <a:cubicBezTo>
                      <a:pt x="259371" y="13246"/>
                      <a:pt x="264600" y="15999"/>
                      <a:pt x="270931" y="15723"/>
                    </a:cubicBezTo>
                    <a:cubicBezTo>
                      <a:pt x="273683" y="15723"/>
                      <a:pt x="276710" y="15448"/>
                      <a:pt x="277261" y="13246"/>
                    </a:cubicBezTo>
                    <a:cubicBezTo>
                      <a:pt x="280288" y="-1341"/>
                      <a:pt x="292123" y="861"/>
                      <a:pt x="302031" y="586"/>
                    </a:cubicBezTo>
                    <a:cubicBezTo>
                      <a:pt x="330930" y="310"/>
                      <a:pt x="359829" y="586"/>
                      <a:pt x="388728" y="310"/>
                    </a:cubicBezTo>
                    <a:close/>
                    <a:moveTo>
                      <a:pt x="1066309" y="71"/>
                    </a:moveTo>
                    <a:cubicBezTo>
                      <a:pt x="1071091" y="105"/>
                      <a:pt x="1076389" y="656"/>
                      <a:pt x="1080930" y="381"/>
                    </a:cubicBezTo>
                    <a:cubicBezTo>
                      <a:pt x="1092765" y="381"/>
                      <a:pt x="1104875" y="381"/>
                      <a:pt x="1116710" y="381"/>
                    </a:cubicBezTo>
                    <a:cubicBezTo>
                      <a:pt x="1143132" y="381"/>
                      <a:pt x="1169828" y="655"/>
                      <a:pt x="1196250" y="655"/>
                    </a:cubicBezTo>
                    <a:cubicBezTo>
                      <a:pt x="1202306" y="655"/>
                      <a:pt x="1208085" y="655"/>
                      <a:pt x="1208911" y="8637"/>
                    </a:cubicBezTo>
                    <a:cubicBezTo>
                      <a:pt x="1217993" y="11114"/>
                      <a:pt x="1226800" y="14967"/>
                      <a:pt x="1232580" y="2582"/>
                    </a:cubicBezTo>
                    <a:cubicBezTo>
                      <a:pt x="1234782" y="-1822"/>
                      <a:pt x="1241112" y="1206"/>
                      <a:pt x="1245516" y="931"/>
                    </a:cubicBezTo>
                    <a:cubicBezTo>
                      <a:pt x="1251571" y="381"/>
                      <a:pt x="1257901" y="655"/>
                      <a:pt x="1265332" y="931"/>
                    </a:cubicBezTo>
                    <a:cubicBezTo>
                      <a:pt x="1254874" y="11665"/>
                      <a:pt x="1245241" y="22399"/>
                      <a:pt x="1238360" y="33683"/>
                    </a:cubicBezTo>
                    <a:cubicBezTo>
                      <a:pt x="1232580" y="43316"/>
                      <a:pt x="1227351" y="43866"/>
                      <a:pt x="1219369" y="43316"/>
                    </a:cubicBezTo>
                    <a:cubicBezTo>
                      <a:pt x="1212214" y="42765"/>
                      <a:pt x="1204507" y="33133"/>
                      <a:pt x="1205333" y="25976"/>
                    </a:cubicBezTo>
                    <a:cubicBezTo>
                      <a:pt x="1203406" y="27077"/>
                      <a:pt x="1200379" y="27903"/>
                      <a:pt x="1200104" y="29279"/>
                    </a:cubicBezTo>
                    <a:cubicBezTo>
                      <a:pt x="1197902" y="46618"/>
                      <a:pt x="1184691" y="43316"/>
                      <a:pt x="1173682" y="43316"/>
                    </a:cubicBezTo>
                    <a:lnTo>
                      <a:pt x="1068584" y="43066"/>
                    </a:lnTo>
                    <a:lnTo>
                      <a:pt x="1068814" y="43246"/>
                    </a:lnTo>
                    <a:cubicBezTo>
                      <a:pt x="1058080" y="43246"/>
                      <a:pt x="1050099" y="43246"/>
                      <a:pt x="1041842" y="43246"/>
                    </a:cubicBezTo>
                    <a:cubicBezTo>
                      <a:pt x="973586" y="43246"/>
                      <a:pt x="905329" y="43246"/>
                      <a:pt x="837072" y="43246"/>
                    </a:cubicBezTo>
                    <a:cubicBezTo>
                      <a:pt x="832669" y="43246"/>
                      <a:pt x="827990" y="44622"/>
                      <a:pt x="823862" y="41044"/>
                    </a:cubicBezTo>
                    <a:cubicBezTo>
                      <a:pt x="821935" y="39393"/>
                      <a:pt x="816155" y="26182"/>
                      <a:pt x="815054" y="42145"/>
                    </a:cubicBezTo>
                    <a:cubicBezTo>
                      <a:pt x="815054" y="42696"/>
                      <a:pt x="810651" y="43246"/>
                      <a:pt x="808449" y="43246"/>
                    </a:cubicBezTo>
                    <a:cubicBezTo>
                      <a:pt x="795238" y="42971"/>
                      <a:pt x="781752" y="42420"/>
                      <a:pt x="768541" y="42420"/>
                    </a:cubicBezTo>
                    <a:cubicBezTo>
                      <a:pt x="752028" y="42420"/>
                      <a:pt x="735514" y="42971"/>
                      <a:pt x="719000" y="42971"/>
                    </a:cubicBezTo>
                    <a:cubicBezTo>
                      <a:pt x="684597" y="42971"/>
                      <a:pt x="650194" y="42971"/>
                      <a:pt x="615790" y="42696"/>
                    </a:cubicBezTo>
                    <a:cubicBezTo>
                      <a:pt x="609735" y="42696"/>
                      <a:pt x="600928" y="44897"/>
                      <a:pt x="609185" y="33888"/>
                    </a:cubicBezTo>
                    <a:cubicBezTo>
                      <a:pt x="600653" y="28934"/>
                      <a:pt x="613588" y="11595"/>
                      <a:pt x="595699" y="11045"/>
                    </a:cubicBezTo>
                    <a:cubicBezTo>
                      <a:pt x="591570" y="10769"/>
                      <a:pt x="585240" y="7191"/>
                      <a:pt x="581662" y="586"/>
                    </a:cubicBezTo>
                    <a:cubicBezTo>
                      <a:pt x="589919" y="586"/>
                      <a:pt x="597350" y="586"/>
                      <a:pt x="604781" y="586"/>
                    </a:cubicBezTo>
                    <a:cubicBezTo>
                      <a:pt x="722853" y="586"/>
                      <a:pt x="840651" y="311"/>
                      <a:pt x="958448" y="586"/>
                    </a:cubicBezTo>
                    <a:cubicBezTo>
                      <a:pt x="973310" y="586"/>
                      <a:pt x="988448" y="2513"/>
                      <a:pt x="1003310" y="311"/>
                    </a:cubicBezTo>
                    <a:cubicBezTo>
                      <a:pt x="1011842" y="-791"/>
                      <a:pt x="1017897" y="4714"/>
                      <a:pt x="1025603" y="6090"/>
                    </a:cubicBezTo>
                    <a:cubicBezTo>
                      <a:pt x="1028080" y="6641"/>
                      <a:pt x="1029456" y="6366"/>
                      <a:pt x="1029181" y="3889"/>
                    </a:cubicBezTo>
                    <a:cubicBezTo>
                      <a:pt x="1028906" y="3338"/>
                      <a:pt x="1026154" y="3063"/>
                      <a:pt x="1024778" y="1136"/>
                    </a:cubicBezTo>
                    <a:cubicBezTo>
                      <a:pt x="1027530" y="1412"/>
                      <a:pt x="1030557" y="1136"/>
                      <a:pt x="1033310" y="1962"/>
                    </a:cubicBezTo>
                    <a:cubicBezTo>
                      <a:pt x="1036888" y="3063"/>
                      <a:pt x="1041567" y="-2442"/>
                      <a:pt x="1044044" y="3614"/>
                    </a:cubicBezTo>
                    <a:cubicBezTo>
                      <a:pt x="1046245" y="8843"/>
                      <a:pt x="1041016" y="9668"/>
                      <a:pt x="1038814" y="12145"/>
                    </a:cubicBezTo>
                    <a:cubicBezTo>
                      <a:pt x="1037989" y="13246"/>
                      <a:pt x="1037163" y="16274"/>
                      <a:pt x="1037163" y="16274"/>
                    </a:cubicBezTo>
                    <a:cubicBezTo>
                      <a:pt x="1040879" y="18201"/>
                      <a:pt x="1043700" y="21779"/>
                      <a:pt x="1046383" y="25081"/>
                    </a:cubicBezTo>
                    <a:lnTo>
                      <a:pt x="1052857" y="30600"/>
                    </a:lnTo>
                    <a:lnTo>
                      <a:pt x="1052857" y="30105"/>
                    </a:lnTo>
                    <a:cubicBezTo>
                      <a:pt x="1053407" y="20747"/>
                      <a:pt x="1048729" y="8362"/>
                      <a:pt x="1054783" y="2857"/>
                    </a:cubicBezTo>
                    <a:cubicBezTo>
                      <a:pt x="1057261" y="518"/>
                      <a:pt x="1061527" y="36"/>
                      <a:pt x="1066309" y="71"/>
                    </a:cubicBezTo>
                    <a:close/>
                    <a:moveTo>
                      <a:pt x="14660" y="1"/>
                    </a:moveTo>
                    <a:cubicBezTo>
                      <a:pt x="19442" y="35"/>
                      <a:pt x="24740" y="586"/>
                      <a:pt x="29281" y="311"/>
                    </a:cubicBezTo>
                    <a:cubicBezTo>
                      <a:pt x="41116" y="311"/>
                      <a:pt x="53226" y="311"/>
                      <a:pt x="65061" y="311"/>
                    </a:cubicBezTo>
                    <a:cubicBezTo>
                      <a:pt x="91483" y="311"/>
                      <a:pt x="118179" y="585"/>
                      <a:pt x="144601" y="585"/>
                    </a:cubicBezTo>
                    <a:cubicBezTo>
                      <a:pt x="150657" y="585"/>
                      <a:pt x="156436" y="585"/>
                      <a:pt x="157262" y="8567"/>
                    </a:cubicBezTo>
                    <a:cubicBezTo>
                      <a:pt x="166344" y="11044"/>
                      <a:pt x="175151" y="14897"/>
                      <a:pt x="180931" y="2512"/>
                    </a:cubicBezTo>
                    <a:cubicBezTo>
                      <a:pt x="183133" y="-1892"/>
                      <a:pt x="189463" y="1136"/>
                      <a:pt x="193867" y="861"/>
                    </a:cubicBezTo>
                    <a:cubicBezTo>
                      <a:pt x="199922" y="311"/>
                      <a:pt x="206252" y="585"/>
                      <a:pt x="213683" y="861"/>
                    </a:cubicBezTo>
                    <a:cubicBezTo>
                      <a:pt x="203225" y="11595"/>
                      <a:pt x="193592" y="22329"/>
                      <a:pt x="186711" y="33613"/>
                    </a:cubicBezTo>
                    <a:cubicBezTo>
                      <a:pt x="180931" y="43246"/>
                      <a:pt x="175702" y="43796"/>
                      <a:pt x="167720" y="43246"/>
                    </a:cubicBezTo>
                    <a:cubicBezTo>
                      <a:pt x="160565" y="42695"/>
                      <a:pt x="152858" y="33063"/>
                      <a:pt x="153684" y="25906"/>
                    </a:cubicBezTo>
                    <a:cubicBezTo>
                      <a:pt x="151757" y="27007"/>
                      <a:pt x="148730" y="27833"/>
                      <a:pt x="148455" y="29209"/>
                    </a:cubicBezTo>
                    <a:cubicBezTo>
                      <a:pt x="146253" y="46548"/>
                      <a:pt x="133042" y="43246"/>
                      <a:pt x="122033" y="43246"/>
                    </a:cubicBezTo>
                    <a:cubicBezTo>
                      <a:pt x="83501" y="43246"/>
                      <a:pt x="44969" y="42971"/>
                      <a:pt x="6437" y="42971"/>
                    </a:cubicBezTo>
                    <a:cubicBezTo>
                      <a:pt x="3685" y="43521"/>
                      <a:pt x="1483" y="43246"/>
                      <a:pt x="1208" y="39943"/>
                    </a:cubicBezTo>
                    <a:cubicBezTo>
                      <a:pt x="1208" y="36640"/>
                      <a:pt x="933" y="33338"/>
                      <a:pt x="1208" y="30035"/>
                    </a:cubicBezTo>
                    <a:cubicBezTo>
                      <a:pt x="1758" y="20677"/>
                      <a:pt x="-2920" y="8292"/>
                      <a:pt x="3134" y="2787"/>
                    </a:cubicBezTo>
                    <a:cubicBezTo>
                      <a:pt x="5612" y="448"/>
                      <a:pt x="9878" y="-34"/>
                      <a:pt x="146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xmlns="" id="{6DB9C28C-BEDB-45BB-8645-5FB190CC2FBC}"/>
                  </a:ext>
                </a:extLst>
              </p:cNvPr>
              <p:cNvSpPr/>
              <p:nvPr/>
            </p:nvSpPr>
            <p:spPr>
              <a:xfrm rot="10800000">
                <a:off x="5989366" y="544828"/>
                <a:ext cx="3321685" cy="76019"/>
              </a:xfrm>
              <a:custGeom>
                <a:avLst/>
                <a:gdLst>
                  <a:gd name="connsiteX0" fmla="*/ 1323163 w 1645441"/>
                  <a:gd name="connsiteY0" fmla="*/ 28780 h 37657"/>
                  <a:gd name="connsiteX1" fmla="*/ 1333347 w 1645441"/>
                  <a:gd name="connsiteY1" fmla="*/ 36796 h 37657"/>
                  <a:gd name="connsiteX2" fmla="*/ 1312980 w 1645441"/>
                  <a:gd name="connsiteY2" fmla="*/ 36245 h 37657"/>
                  <a:gd name="connsiteX3" fmla="*/ 1323163 w 1645441"/>
                  <a:gd name="connsiteY3" fmla="*/ 28780 h 37657"/>
                  <a:gd name="connsiteX4" fmla="*/ 502405 w 1645441"/>
                  <a:gd name="connsiteY4" fmla="*/ 28666 h 37657"/>
                  <a:gd name="connsiteX5" fmla="*/ 512589 w 1645441"/>
                  <a:gd name="connsiteY5" fmla="*/ 36682 h 37657"/>
                  <a:gd name="connsiteX6" fmla="*/ 492222 w 1645441"/>
                  <a:gd name="connsiteY6" fmla="*/ 36131 h 37657"/>
                  <a:gd name="connsiteX7" fmla="*/ 502405 w 1645441"/>
                  <a:gd name="connsiteY7" fmla="*/ 28666 h 37657"/>
                  <a:gd name="connsiteX8" fmla="*/ 1645441 w 1645441"/>
                  <a:gd name="connsiteY8" fmla="*/ 21503 h 37657"/>
                  <a:gd name="connsiteX9" fmla="*/ 1645441 w 1645441"/>
                  <a:gd name="connsiteY9" fmla="*/ 33701 h 37657"/>
                  <a:gd name="connsiteX10" fmla="*/ 1640157 w 1645441"/>
                  <a:gd name="connsiteY10" fmla="*/ 32461 h 37657"/>
                  <a:gd name="connsiteX11" fmla="*/ 1639950 w 1645441"/>
                  <a:gd name="connsiteY11" fmla="*/ 27438 h 37657"/>
                  <a:gd name="connsiteX12" fmla="*/ 833779 w 1645441"/>
                  <a:gd name="connsiteY12" fmla="*/ 19618 h 37657"/>
                  <a:gd name="connsiteX13" fmla="*/ 843962 w 1645441"/>
                  <a:gd name="connsiteY13" fmla="*/ 30627 h 37657"/>
                  <a:gd name="connsiteX14" fmla="*/ 824972 w 1645441"/>
                  <a:gd name="connsiteY14" fmla="*/ 33655 h 37657"/>
                  <a:gd name="connsiteX15" fmla="*/ 819192 w 1645441"/>
                  <a:gd name="connsiteY15" fmla="*/ 27324 h 37657"/>
                  <a:gd name="connsiteX16" fmla="*/ 833779 w 1645441"/>
                  <a:gd name="connsiteY16" fmla="*/ 19618 h 37657"/>
                  <a:gd name="connsiteX17" fmla="*/ 1645441 w 1645441"/>
                  <a:gd name="connsiteY17" fmla="*/ 5017 h 37657"/>
                  <a:gd name="connsiteX18" fmla="*/ 1645441 w 1645441"/>
                  <a:gd name="connsiteY18" fmla="*/ 6122 h 37657"/>
                  <a:gd name="connsiteX19" fmla="*/ 1644904 w 1645441"/>
                  <a:gd name="connsiteY19" fmla="*/ 5420 h 37657"/>
                  <a:gd name="connsiteX20" fmla="*/ 18831 w 1645441"/>
                  <a:gd name="connsiteY20" fmla="*/ 627 h 37657"/>
                  <a:gd name="connsiteX21" fmla="*/ 78005 w 1645441"/>
                  <a:gd name="connsiteY21" fmla="*/ 627 h 37657"/>
                  <a:gd name="connsiteX22" fmla="*/ 144609 w 1645441"/>
                  <a:gd name="connsiteY22" fmla="*/ 627 h 37657"/>
                  <a:gd name="connsiteX23" fmla="*/ 155894 w 1645441"/>
                  <a:gd name="connsiteY23" fmla="*/ 5580 h 37657"/>
                  <a:gd name="connsiteX24" fmla="*/ 154518 w 1645441"/>
                  <a:gd name="connsiteY24" fmla="*/ 19617 h 37657"/>
                  <a:gd name="connsiteX25" fmla="*/ 147362 w 1645441"/>
                  <a:gd name="connsiteY25" fmla="*/ 34754 h 37657"/>
                  <a:gd name="connsiteX26" fmla="*/ 143509 w 1645441"/>
                  <a:gd name="connsiteY26" fmla="*/ 36681 h 37657"/>
                  <a:gd name="connsiteX27" fmla="*/ 105252 w 1645441"/>
                  <a:gd name="connsiteY27" fmla="*/ 33653 h 37657"/>
                  <a:gd name="connsiteX28" fmla="*/ 99197 w 1645441"/>
                  <a:gd name="connsiteY28" fmla="*/ 33103 h 37657"/>
                  <a:gd name="connsiteX29" fmla="*/ 16904 w 1645441"/>
                  <a:gd name="connsiteY29" fmla="*/ 36406 h 37657"/>
                  <a:gd name="connsiteX30" fmla="*/ 115 w 1645441"/>
                  <a:gd name="connsiteY30" fmla="*/ 19066 h 37657"/>
                  <a:gd name="connsiteX31" fmla="*/ 18831 w 1645441"/>
                  <a:gd name="connsiteY31" fmla="*/ 627 h 37657"/>
                  <a:gd name="connsiteX32" fmla="*/ 168624 w 1645441"/>
                  <a:gd name="connsiteY32" fmla="*/ 524 h 37657"/>
                  <a:gd name="connsiteX33" fmla="*/ 175711 w 1645441"/>
                  <a:gd name="connsiteY33" fmla="*/ 4480 h 37657"/>
                  <a:gd name="connsiteX34" fmla="*/ 182591 w 1645441"/>
                  <a:gd name="connsiteY34" fmla="*/ 8609 h 37657"/>
                  <a:gd name="connsiteX35" fmla="*/ 177087 w 1645441"/>
                  <a:gd name="connsiteY35" fmla="*/ 11361 h 37657"/>
                  <a:gd name="connsiteX36" fmla="*/ 161123 w 1645441"/>
                  <a:gd name="connsiteY36" fmla="*/ 8334 h 37657"/>
                  <a:gd name="connsiteX37" fmla="*/ 161123 w 1645441"/>
                  <a:gd name="connsiteY37" fmla="*/ 2554 h 37657"/>
                  <a:gd name="connsiteX38" fmla="*/ 168624 w 1645441"/>
                  <a:gd name="connsiteY38" fmla="*/ 524 h 37657"/>
                  <a:gd name="connsiteX39" fmla="*/ 1260961 w 1645441"/>
                  <a:gd name="connsiteY39" fmla="*/ 465 h 37657"/>
                  <a:gd name="connsiteX40" fmla="*/ 1271420 w 1645441"/>
                  <a:gd name="connsiteY40" fmla="*/ 8447 h 37657"/>
                  <a:gd name="connsiteX41" fmla="*/ 1278575 w 1645441"/>
                  <a:gd name="connsiteY41" fmla="*/ 31566 h 37657"/>
                  <a:gd name="connsiteX42" fmla="*/ 1268392 w 1645441"/>
                  <a:gd name="connsiteY42" fmla="*/ 37071 h 37657"/>
                  <a:gd name="connsiteX43" fmla="*/ 1152797 w 1645441"/>
                  <a:gd name="connsiteY43" fmla="*/ 37071 h 37657"/>
                  <a:gd name="connsiteX44" fmla="*/ 1117568 w 1645441"/>
                  <a:gd name="connsiteY44" fmla="*/ 37071 h 37657"/>
                  <a:gd name="connsiteX45" fmla="*/ 1093176 w 1645441"/>
                  <a:gd name="connsiteY45" fmla="*/ 35557 h 37657"/>
                  <a:gd name="connsiteX46" fmla="*/ 1092403 w 1645441"/>
                  <a:gd name="connsiteY46" fmla="*/ 35283 h 37657"/>
                  <a:gd name="connsiteX47" fmla="*/ 1092403 w 1645441"/>
                  <a:gd name="connsiteY47" fmla="*/ 36682 h 37657"/>
                  <a:gd name="connsiteX48" fmla="*/ 1061686 w 1645441"/>
                  <a:gd name="connsiteY48" fmla="*/ 36682 h 37657"/>
                  <a:gd name="connsiteX49" fmla="*/ 1061696 w 1645441"/>
                  <a:gd name="connsiteY49" fmla="*/ 36795 h 37657"/>
                  <a:gd name="connsiteX50" fmla="*/ 1010880 w 1645441"/>
                  <a:gd name="connsiteY50" fmla="*/ 36795 h 37657"/>
                  <a:gd name="connsiteX51" fmla="*/ 1010880 w 1645441"/>
                  <a:gd name="connsiteY51" fmla="*/ 36682 h 37657"/>
                  <a:gd name="connsiteX52" fmla="*/ 973870 w 1645441"/>
                  <a:gd name="connsiteY52" fmla="*/ 36682 h 37657"/>
                  <a:gd name="connsiteX53" fmla="*/ 964787 w 1645441"/>
                  <a:gd name="connsiteY53" fmla="*/ 22920 h 37657"/>
                  <a:gd name="connsiteX54" fmla="*/ 955705 w 1645441"/>
                  <a:gd name="connsiteY54" fmla="*/ 15214 h 37657"/>
                  <a:gd name="connsiteX55" fmla="*/ 954054 w 1645441"/>
                  <a:gd name="connsiteY55" fmla="*/ 23196 h 37657"/>
                  <a:gd name="connsiteX56" fmla="*/ 948273 w 1645441"/>
                  <a:gd name="connsiteY56" fmla="*/ 27324 h 37657"/>
                  <a:gd name="connsiteX57" fmla="*/ 928732 w 1645441"/>
                  <a:gd name="connsiteY57" fmla="*/ 12187 h 37657"/>
                  <a:gd name="connsiteX58" fmla="*/ 907540 w 1645441"/>
                  <a:gd name="connsiteY58" fmla="*/ 9985 h 37657"/>
                  <a:gd name="connsiteX59" fmla="*/ 897907 w 1645441"/>
                  <a:gd name="connsiteY59" fmla="*/ 5306 h 37657"/>
                  <a:gd name="connsiteX60" fmla="*/ 894880 w 1645441"/>
                  <a:gd name="connsiteY60" fmla="*/ 18517 h 37657"/>
                  <a:gd name="connsiteX61" fmla="*/ 894329 w 1645441"/>
                  <a:gd name="connsiteY61" fmla="*/ 34205 h 37657"/>
                  <a:gd name="connsiteX62" fmla="*/ 889925 w 1645441"/>
                  <a:gd name="connsiteY62" fmla="*/ 36682 h 37657"/>
                  <a:gd name="connsiteX63" fmla="*/ 848916 w 1645441"/>
                  <a:gd name="connsiteY63" fmla="*/ 36682 h 37657"/>
                  <a:gd name="connsiteX64" fmla="*/ 844238 w 1645441"/>
                  <a:gd name="connsiteY64" fmla="*/ 30627 h 37657"/>
                  <a:gd name="connsiteX65" fmla="*/ 854421 w 1645441"/>
                  <a:gd name="connsiteY65" fmla="*/ 30352 h 37657"/>
                  <a:gd name="connsiteX66" fmla="*/ 849192 w 1645441"/>
                  <a:gd name="connsiteY66" fmla="*/ 19893 h 37657"/>
                  <a:gd name="connsiteX67" fmla="*/ 842311 w 1645441"/>
                  <a:gd name="connsiteY67" fmla="*/ 1453 h 37657"/>
                  <a:gd name="connsiteX68" fmla="*/ 1010880 w 1645441"/>
                  <a:gd name="connsiteY68" fmla="*/ 1453 h 37657"/>
                  <a:gd name="connsiteX69" fmla="*/ 1010880 w 1645441"/>
                  <a:gd name="connsiteY69" fmla="*/ 973 h 37657"/>
                  <a:gd name="connsiteX70" fmla="*/ 1012190 w 1645441"/>
                  <a:gd name="connsiteY70" fmla="*/ 1016 h 37657"/>
                  <a:gd name="connsiteX71" fmla="*/ 1012704 w 1645441"/>
                  <a:gd name="connsiteY71" fmla="*/ 1453 h 37657"/>
                  <a:gd name="connsiteX72" fmla="*/ 1060146 w 1645441"/>
                  <a:gd name="connsiteY72" fmla="*/ 1453 h 37657"/>
                  <a:gd name="connsiteX73" fmla="*/ 1060355 w 1645441"/>
                  <a:gd name="connsiteY73" fmla="*/ 1256 h 37657"/>
                  <a:gd name="connsiteX74" fmla="*/ 1066100 w 1645441"/>
                  <a:gd name="connsiteY74" fmla="*/ 740 h 37657"/>
                  <a:gd name="connsiteX75" fmla="*/ 1260961 w 1645441"/>
                  <a:gd name="connsiteY75" fmla="*/ 465 h 37657"/>
                  <a:gd name="connsiteX76" fmla="*/ 830751 w 1645441"/>
                  <a:gd name="connsiteY76" fmla="*/ 352 h 37657"/>
                  <a:gd name="connsiteX77" fmla="*/ 834330 w 1645441"/>
                  <a:gd name="connsiteY77" fmla="*/ 3654 h 37657"/>
                  <a:gd name="connsiteX78" fmla="*/ 827724 w 1645441"/>
                  <a:gd name="connsiteY78" fmla="*/ 9984 h 37657"/>
                  <a:gd name="connsiteX79" fmla="*/ 824146 w 1645441"/>
                  <a:gd name="connsiteY79" fmla="*/ 5306 h 37657"/>
                  <a:gd name="connsiteX80" fmla="*/ 830751 w 1645441"/>
                  <a:gd name="connsiteY80" fmla="*/ 352 h 37657"/>
                  <a:gd name="connsiteX81" fmla="*/ 440203 w 1645441"/>
                  <a:gd name="connsiteY81" fmla="*/ 351 h 37657"/>
                  <a:gd name="connsiteX82" fmla="*/ 450662 w 1645441"/>
                  <a:gd name="connsiteY82" fmla="*/ 8333 h 37657"/>
                  <a:gd name="connsiteX83" fmla="*/ 457817 w 1645441"/>
                  <a:gd name="connsiteY83" fmla="*/ 31452 h 37657"/>
                  <a:gd name="connsiteX84" fmla="*/ 447634 w 1645441"/>
                  <a:gd name="connsiteY84" fmla="*/ 36957 h 37657"/>
                  <a:gd name="connsiteX85" fmla="*/ 332039 w 1645441"/>
                  <a:gd name="connsiteY85" fmla="*/ 36957 h 37657"/>
                  <a:gd name="connsiteX86" fmla="*/ 296810 w 1645441"/>
                  <a:gd name="connsiteY86" fmla="*/ 36957 h 37657"/>
                  <a:gd name="connsiteX87" fmla="*/ 249471 w 1645441"/>
                  <a:gd name="connsiteY87" fmla="*/ 27324 h 37657"/>
                  <a:gd name="connsiteX88" fmla="*/ 240113 w 1645441"/>
                  <a:gd name="connsiteY88" fmla="*/ 27048 h 37657"/>
                  <a:gd name="connsiteX89" fmla="*/ 240938 w 1645441"/>
                  <a:gd name="connsiteY89" fmla="*/ 36681 h 37657"/>
                  <a:gd name="connsiteX90" fmla="*/ 158921 w 1645441"/>
                  <a:gd name="connsiteY90" fmla="*/ 36681 h 37657"/>
                  <a:gd name="connsiteX91" fmla="*/ 164426 w 1645441"/>
                  <a:gd name="connsiteY91" fmla="*/ 25122 h 37657"/>
                  <a:gd name="connsiteX92" fmla="*/ 169379 w 1645441"/>
                  <a:gd name="connsiteY92" fmla="*/ 20718 h 37657"/>
                  <a:gd name="connsiteX93" fmla="*/ 194701 w 1645441"/>
                  <a:gd name="connsiteY93" fmla="*/ 7507 h 37657"/>
                  <a:gd name="connsiteX94" fmla="*/ 182866 w 1645441"/>
                  <a:gd name="connsiteY94" fmla="*/ 626 h 37657"/>
                  <a:gd name="connsiteX95" fmla="*/ 198554 w 1645441"/>
                  <a:gd name="connsiteY95" fmla="*/ 6957 h 37657"/>
                  <a:gd name="connsiteX96" fmla="*/ 234883 w 1645441"/>
                  <a:gd name="connsiteY96" fmla="*/ 5580 h 37657"/>
                  <a:gd name="connsiteX97" fmla="*/ 245342 w 1645441"/>
                  <a:gd name="connsiteY97" fmla="*/ 626 h 37657"/>
                  <a:gd name="connsiteX98" fmla="*/ 440203 w 1645441"/>
                  <a:gd name="connsiteY98" fmla="*/ 351 h 37657"/>
                  <a:gd name="connsiteX99" fmla="*/ 1634867 w 1645441"/>
                  <a:gd name="connsiteY99" fmla="*/ 207 h 37657"/>
                  <a:gd name="connsiteX100" fmla="*/ 1640226 w 1645441"/>
                  <a:gd name="connsiteY100" fmla="*/ 1291 h 37657"/>
                  <a:gd name="connsiteX101" fmla="*/ 1637748 w 1645441"/>
                  <a:gd name="connsiteY101" fmla="*/ 9548 h 37657"/>
                  <a:gd name="connsiteX102" fmla="*/ 1612428 w 1645441"/>
                  <a:gd name="connsiteY102" fmla="*/ 34594 h 37657"/>
                  <a:gd name="connsiteX103" fmla="*/ 1613804 w 1645441"/>
                  <a:gd name="connsiteY103" fmla="*/ 22483 h 37657"/>
                  <a:gd name="connsiteX104" fmla="*/ 1602795 w 1645441"/>
                  <a:gd name="connsiteY104" fmla="*/ 17254 h 37657"/>
                  <a:gd name="connsiteX105" fmla="*/ 1604996 w 1645441"/>
                  <a:gd name="connsiteY105" fmla="*/ 28814 h 37657"/>
                  <a:gd name="connsiteX106" fmla="*/ 1585180 w 1645441"/>
                  <a:gd name="connsiteY106" fmla="*/ 25236 h 37657"/>
                  <a:gd name="connsiteX107" fmla="*/ 1587657 w 1645441"/>
                  <a:gd name="connsiteY107" fmla="*/ 36245 h 37657"/>
                  <a:gd name="connsiteX108" fmla="*/ 1506190 w 1645441"/>
                  <a:gd name="connsiteY108" fmla="*/ 36245 h 37657"/>
                  <a:gd name="connsiteX109" fmla="*/ 1481695 w 1645441"/>
                  <a:gd name="connsiteY109" fmla="*/ 12025 h 37657"/>
                  <a:gd name="connsiteX110" fmla="*/ 1465731 w 1645441"/>
                  <a:gd name="connsiteY110" fmla="*/ 22759 h 37657"/>
                  <a:gd name="connsiteX111" fmla="*/ 1467658 w 1645441"/>
                  <a:gd name="connsiteY111" fmla="*/ 33218 h 37657"/>
                  <a:gd name="connsiteX112" fmla="*/ 1467933 w 1645441"/>
                  <a:gd name="connsiteY112" fmla="*/ 34869 h 37657"/>
                  <a:gd name="connsiteX113" fmla="*/ 1439310 w 1645441"/>
                  <a:gd name="connsiteY113" fmla="*/ 36520 h 37657"/>
                  <a:gd name="connsiteX114" fmla="*/ 1363897 w 1645441"/>
                  <a:gd name="connsiteY114" fmla="*/ 36795 h 37657"/>
                  <a:gd name="connsiteX115" fmla="*/ 1349310 w 1645441"/>
                  <a:gd name="connsiteY115" fmla="*/ 26061 h 37657"/>
                  <a:gd name="connsiteX116" fmla="*/ 1346007 w 1645441"/>
                  <a:gd name="connsiteY116" fmla="*/ 19456 h 37657"/>
                  <a:gd name="connsiteX117" fmla="*/ 1354264 w 1645441"/>
                  <a:gd name="connsiteY117" fmla="*/ 11474 h 37657"/>
                  <a:gd name="connsiteX118" fmla="*/ 1341879 w 1645441"/>
                  <a:gd name="connsiteY118" fmla="*/ 3768 h 37657"/>
                  <a:gd name="connsiteX119" fmla="*/ 1335824 w 1645441"/>
                  <a:gd name="connsiteY119" fmla="*/ 14502 h 37657"/>
                  <a:gd name="connsiteX120" fmla="*/ 1326741 w 1645441"/>
                  <a:gd name="connsiteY120" fmla="*/ 19181 h 37657"/>
                  <a:gd name="connsiteX121" fmla="*/ 1307200 w 1645441"/>
                  <a:gd name="connsiteY121" fmla="*/ 16704 h 37657"/>
                  <a:gd name="connsiteX122" fmla="*/ 1291237 w 1645441"/>
                  <a:gd name="connsiteY122" fmla="*/ 465 h 37657"/>
                  <a:gd name="connsiteX123" fmla="*/ 1373255 w 1645441"/>
                  <a:gd name="connsiteY123" fmla="*/ 465 h 37657"/>
                  <a:gd name="connsiteX124" fmla="*/ 1406007 w 1645441"/>
                  <a:gd name="connsiteY124" fmla="*/ 465 h 37657"/>
                  <a:gd name="connsiteX125" fmla="*/ 1414539 w 1645441"/>
                  <a:gd name="connsiteY125" fmla="*/ 328 h 37657"/>
                  <a:gd name="connsiteX126" fmla="*/ 1420594 w 1645441"/>
                  <a:gd name="connsiteY126" fmla="*/ 7621 h 37657"/>
                  <a:gd name="connsiteX127" fmla="*/ 1438209 w 1645441"/>
                  <a:gd name="connsiteY127" fmla="*/ 12025 h 37657"/>
                  <a:gd name="connsiteX128" fmla="*/ 1449768 w 1645441"/>
                  <a:gd name="connsiteY128" fmla="*/ 13126 h 37657"/>
                  <a:gd name="connsiteX129" fmla="*/ 1446190 w 1645441"/>
                  <a:gd name="connsiteY129" fmla="*/ 465 h 37657"/>
                  <a:gd name="connsiteX130" fmla="*/ 1473988 w 1645441"/>
                  <a:gd name="connsiteY130" fmla="*/ 465 h 37657"/>
                  <a:gd name="connsiteX131" fmla="*/ 1588483 w 1645441"/>
                  <a:gd name="connsiteY131" fmla="*/ 465 h 37657"/>
                  <a:gd name="connsiteX132" fmla="*/ 1595914 w 1645441"/>
                  <a:gd name="connsiteY132" fmla="*/ 741 h 37657"/>
                  <a:gd name="connsiteX133" fmla="*/ 1599767 w 1645441"/>
                  <a:gd name="connsiteY133" fmla="*/ 5694 h 37657"/>
                  <a:gd name="connsiteX134" fmla="*/ 1594813 w 1645441"/>
                  <a:gd name="connsiteY134" fmla="*/ 6795 h 37657"/>
                  <a:gd name="connsiteX135" fmla="*/ 1587932 w 1645441"/>
                  <a:gd name="connsiteY135" fmla="*/ 4869 h 37657"/>
                  <a:gd name="connsiteX136" fmla="*/ 1582703 w 1645441"/>
                  <a:gd name="connsiteY136" fmla="*/ 9548 h 37657"/>
                  <a:gd name="connsiteX137" fmla="*/ 1588208 w 1645441"/>
                  <a:gd name="connsiteY137" fmla="*/ 13126 h 37657"/>
                  <a:gd name="connsiteX138" fmla="*/ 1609400 w 1645441"/>
                  <a:gd name="connsiteY138" fmla="*/ 3768 h 37657"/>
                  <a:gd name="connsiteX139" fmla="*/ 1634867 w 1645441"/>
                  <a:gd name="connsiteY139" fmla="*/ 207 h 37657"/>
                  <a:gd name="connsiteX140" fmla="*/ 814109 w 1645441"/>
                  <a:gd name="connsiteY140" fmla="*/ 93 h 37657"/>
                  <a:gd name="connsiteX141" fmla="*/ 819468 w 1645441"/>
                  <a:gd name="connsiteY141" fmla="*/ 1177 h 37657"/>
                  <a:gd name="connsiteX142" fmla="*/ 816990 w 1645441"/>
                  <a:gd name="connsiteY142" fmla="*/ 9434 h 37657"/>
                  <a:gd name="connsiteX143" fmla="*/ 791670 w 1645441"/>
                  <a:gd name="connsiteY143" fmla="*/ 34480 h 37657"/>
                  <a:gd name="connsiteX144" fmla="*/ 793046 w 1645441"/>
                  <a:gd name="connsiteY144" fmla="*/ 22369 h 37657"/>
                  <a:gd name="connsiteX145" fmla="*/ 782037 w 1645441"/>
                  <a:gd name="connsiteY145" fmla="*/ 17140 h 37657"/>
                  <a:gd name="connsiteX146" fmla="*/ 784238 w 1645441"/>
                  <a:gd name="connsiteY146" fmla="*/ 28700 h 37657"/>
                  <a:gd name="connsiteX147" fmla="*/ 764422 w 1645441"/>
                  <a:gd name="connsiteY147" fmla="*/ 25122 h 37657"/>
                  <a:gd name="connsiteX148" fmla="*/ 766899 w 1645441"/>
                  <a:gd name="connsiteY148" fmla="*/ 36131 h 37657"/>
                  <a:gd name="connsiteX149" fmla="*/ 685432 w 1645441"/>
                  <a:gd name="connsiteY149" fmla="*/ 36131 h 37657"/>
                  <a:gd name="connsiteX150" fmla="*/ 660937 w 1645441"/>
                  <a:gd name="connsiteY150" fmla="*/ 11911 h 37657"/>
                  <a:gd name="connsiteX151" fmla="*/ 644973 w 1645441"/>
                  <a:gd name="connsiteY151" fmla="*/ 22645 h 37657"/>
                  <a:gd name="connsiteX152" fmla="*/ 646900 w 1645441"/>
                  <a:gd name="connsiteY152" fmla="*/ 33104 h 37657"/>
                  <a:gd name="connsiteX153" fmla="*/ 647175 w 1645441"/>
                  <a:gd name="connsiteY153" fmla="*/ 34755 h 37657"/>
                  <a:gd name="connsiteX154" fmla="*/ 618552 w 1645441"/>
                  <a:gd name="connsiteY154" fmla="*/ 36406 h 37657"/>
                  <a:gd name="connsiteX155" fmla="*/ 543139 w 1645441"/>
                  <a:gd name="connsiteY155" fmla="*/ 36681 h 37657"/>
                  <a:gd name="connsiteX156" fmla="*/ 528552 w 1645441"/>
                  <a:gd name="connsiteY156" fmla="*/ 25947 h 37657"/>
                  <a:gd name="connsiteX157" fmla="*/ 525249 w 1645441"/>
                  <a:gd name="connsiteY157" fmla="*/ 19342 h 37657"/>
                  <a:gd name="connsiteX158" fmla="*/ 533506 w 1645441"/>
                  <a:gd name="connsiteY158" fmla="*/ 11360 h 37657"/>
                  <a:gd name="connsiteX159" fmla="*/ 521121 w 1645441"/>
                  <a:gd name="connsiteY159" fmla="*/ 3654 h 37657"/>
                  <a:gd name="connsiteX160" fmla="*/ 515066 w 1645441"/>
                  <a:gd name="connsiteY160" fmla="*/ 14388 h 37657"/>
                  <a:gd name="connsiteX161" fmla="*/ 505983 w 1645441"/>
                  <a:gd name="connsiteY161" fmla="*/ 19067 h 37657"/>
                  <a:gd name="connsiteX162" fmla="*/ 486442 w 1645441"/>
                  <a:gd name="connsiteY162" fmla="*/ 16590 h 37657"/>
                  <a:gd name="connsiteX163" fmla="*/ 470479 w 1645441"/>
                  <a:gd name="connsiteY163" fmla="*/ 351 h 37657"/>
                  <a:gd name="connsiteX164" fmla="*/ 552497 w 1645441"/>
                  <a:gd name="connsiteY164" fmla="*/ 351 h 37657"/>
                  <a:gd name="connsiteX165" fmla="*/ 585249 w 1645441"/>
                  <a:gd name="connsiteY165" fmla="*/ 351 h 37657"/>
                  <a:gd name="connsiteX166" fmla="*/ 593781 w 1645441"/>
                  <a:gd name="connsiteY166" fmla="*/ 214 h 37657"/>
                  <a:gd name="connsiteX167" fmla="*/ 599836 w 1645441"/>
                  <a:gd name="connsiteY167" fmla="*/ 7507 h 37657"/>
                  <a:gd name="connsiteX168" fmla="*/ 617451 w 1645441"/>
                  <a:gd name="connsiteY168" fmla="*/ 11911 h 37657"/>
                  <a:gd name="connsiteX169" fmla="*/ 629010 w 1645441"/>
                  <a:gd name="connsiteY169" fmla="*/ 13012 h 37657"/>
                  <a:gd name="connsiteX170" fmla="*/ 625432 w 1645441"/>
                  <a:gd name="connsiteY170" fmla="*/ 351 h 37657"/>
                  <a:gd name="connsiteX171" fmla="*/ 653230 w 1645441"/>
                  <a:gd name="connsiteY171" fmla="*/ 351 h 37657"/>
                  <a:gd name="connsiteX172" fmla="*/ 767725 w 1645441"/>
                  <a:gd name="connsiteY172" fmla="*/ 351 h 37657"/>
                  <a:gd name="connsiteX173" fmla="*/ 775156 w 1645441"/>
                  <a:gd name="connsiteY173" fmla="*/ 627 h 37657"/>
                  <a:gd name="connsiteX174" fmla="*/ 779009 w 1645441"/>
                  <a:gd name="connsiteY174" fmla="*/ 5580 h 37657"/>
                  <a:gd name="connsiteX175" fmla="*/ 774055 w 1645441"/>
                  <a:gd name="connsiteY175" fmla="*/ 6681 h 37657"/>
                  <a:gd name="connsiteX176" fmla="*/ 767174 w 1645441"/>
                  <a:gd name="connsiteY176" fmla="*/ 4755 h 37657"/>
                  <a:gd name="connsiteX177" fmla="*/ 761945 w 1645441"/>
                  <a:gd name="connsiteY177" fmla="*/ 9434 h 37657"/>
                  <a:gd name="connsiteX178" fmla="*/ 767450 w 1645441"/>
                  <a:gd name="connsiteY178" fmla="*/ 13012 h 37657"/>
                  <a:gd name="connsiteX179" fmla="*/ 788642 w 1645441"/>
                  <a:gd name="connsiteY179" fmla="*/ 3654 h 37657"/>
                  <a:gd name="connsiteX180" fmla="*/ 814109 w 1645441"/>
                  <a:gd name="connsiteY180" fmla="*/ 93 h 3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645441" h="37657">
                    <a:moveTo>
                      <a:pt x="1323163" y="28780"/>
                    </a:moveTo>
                    <a:cubicBezTo>
                      <a:pt x="1326466" y="28539"/>
                      <a:pt x="1329769" y="30878"/>
                      <a:pt x="1333347" y="36796"/>
                    </a:cubicBezTo>
                    <a:cubicBezTo>
                      <a:pt x="1325916" y="37621"/>
                      <a:pt x="1319861" y="38447"/>
                      <a:pt x="1312980" y="36245"/>
                    </a:cubicBezTo>
                    <a:cubicBezTo>
                      <a:pt x="1316558" y="31842"/>
                      <a:pt x="1319861" y="29021"/>
                      <a:pt x="1323163" y="28780"/>
                    </a:cubicBezTo>
                    <a:close/>
                    <a:moveTo>
                      <a:pt x="502405" y="28666"/>
                    </a:moveTo>
                    <a:cubicBezTo>
                      <a:pt x="505708" y="28425"/>
                      <a:pt x="509011" y="30764"/>
                      <a:pt x="512589" y="36682"/>
                    </a:cubicBezTo>
                    <a:cubicBezTo>
                      <a:pt x="505158" y="37507"/>
                      <a:pt x="499103" y="38333"/>
                      <a:pt x="492222" y="36131"/>
                    </a:cubicBezTo>
                    <a:cubicBezTo>
                      <a:pt x="495800" y="31728"/>
                      <a:pt x="499103" y="28907"/>
                      <a:pt x="502405" y="28666"/>
                    </a:cubicBezTo>
                    <a:close/>
                    <a:moveTo>
                      <a:pt x="1645441" y="21503"/>
                    </a:moveTo>
                    <a:lnTo>
                      <a:pt x="1645441" y="33701"/>
                    </a:lnTo>
                    <a:lnTo>
                      <a:pt x="1640157" y="32461"/>
                    </a:lnTo>
                    <a:cubicBezTo>
                      <a:pt x="1638299" y="32048"/>
                      <a:pt x="1637336" y="31016"/>
                      <a:pt x="1639950" y="27438"/>
                    </a:cubicBezTo>
                    <a:close/>
                    <a:moveTo>
                      <a:pt x="833779" y="19618"/>
                    </a:moveTo>
                    <a:cubicBezTo>
                      <a:pt x="838182" y="21269"/>
                      <a:pt x="843962" y="24022"/>
                      <a:pt x="843962" y="30627"/>
                    </a:cubicBezTo>
                    <a:cubicBezTo>
                      <a:pt x="838182" y="34755"/>
                      <a:pt x="832953" y="42187"/>
                      <a:pt x="824972" y="33655"/>
                    </a:cubicBezTo>
                    <a:cubicBezTo>
                      <a:pt x="823045" y="31453"/>
                      <a:pt x="813963" y="34480"/>
                      <a:pt x="819192" y="27324"/>
                    </a:cubicBezTo>
                    <a:cubicBezTo>
                      <a:pt x="822219" y="23196"/>
                      <a:pt x="827173" y="16866"/>
                      <a:pt x="833779" y="19618"/>
                    </a:cubicBezTo>
                    <a:close/>
                    <a:moveTo>
                      <a:pt x="1645441" y="5017"/>
                    </a:moveTo>
                    <a:lnTo>
                      <a:pt x="1645441" y="6122"/>
                    </a:lnTo>
                    <a:lnTo>
                      <a:pt x="1644904" y="5420"/>
                    </a:lnTo>
                    <a:close/>
                    <a:moveTo>
                      <a:pt x="18831" y="627"/>
                    </a:moveTo>
                    <a:cubicBezTo>
                      <a:pt x="38647" y="627"/>
                      <a:pt x="58188" y="627"/>
                      <a:pt x="78005" y="627"/>
                    </a:cubicBezTo>
                    <a:cubicBezTo>
                      <a:pt x="100298" y="627"/>
                      <a:pt x="122316" y="627"/>
                      <a:pt x="144609" y="627"/>
                    </a:cubicBezTo>
                    <a:cubicBezTo>
                      <a:pt x="149013" y="627"/>
                      <a:pt x="153417" y="-475"/>
                      <a:pt x="155894" y="5580"/>
                    </a:cubicBezTo>
                    <a:cubicBezTo>
                      <a:pt x="157820" y="11085"/>
                      <a:pt x="157270" y="14663"/>
                      <a:pt x="154518" y="19617"/>
                    </a:cubicBezTo>
                    <a:cubicBezTo>
                      <a:pt x="151765" y="24296"/>
                      <a:pt x="142132" y="26222"/>
                      <a:pt x="147362" y="34754"/>
                    </a:cubicBezTo>
                    <a:cubicBezTo>
                      <a:pt x="147912" y="35580"/>
                      <a:pt x="145435" y="36956"/>
                      <a:pt x="143509" y="36681"/>
                    </a:cubicBezTo>
                    <a:cubicBezTo>
                      <a:pt x="130848" y="35305"/>
                      <a:pt x="117637" y="39708"/>
                      <a:pt x="105252" y="33653"/>
                    </a:cubicBezTo>
                    <a:cubicBezTo>
                      <a:pt x="103601" y="32828"/>
                      <a:pt x="101124" y="32552"/>
                      <a:pt x="99197" y="33103"/>
                    </a:cubicBezTo>
                    <a:cubicBezTo>
                      <a:pt x="71950" y="40809"/>
                      <a:pt x="44427" y="35030"/>
                      <a:pt x="16904" y="36406"/>
                    </a:cubicBezTo>
                    <a:cubicBezTo>
                      <a:pt x="5895" y="36956"/>
                      <a:pt x="-985" y="33103"/>
                      <a:pt x="115" y="19066"/>
                    </a:cubicBezTo>
                    <a:cubicBezTo>
                      <a:pt x="1767" y="627"/>
                      <a:pt x="666" y="627"/>
                      <a:pt x="18831" y="627"/>
                    </a:cubicBezTo>
                    <a:close/>
                    <a:moveTo>
                      <a:pt x="168624" y="524"/>
                    </a:moveTo>
                    <a:cubicBezTo>
                      <a:pt x="171032" y="1178"/>
                      <a:pt x="173372" y="2829"/>
                      <a:pt x="175711" y="4480"/>
                    </a:cubicBezTo>
                    <a:cubicBezTo>
                      <a:pt x="177637" y="5857"/>
                      <a:pt x="180940" y="3655"/>
                      <a:pt x="182591" y="8609"/>
                    </a:cubicBezTo>
                    <a:cubicBezTo>
                      <a:pt x="180665" y="9710"/>
                      <a:pt x="179013" y="10811"/>
                      <a:pt x="177087" y="11361"/>
                    </a:cubicBezTo>
                    <a:cubicBezTo>
                      <a:pt x="171307" y="13288"/>
                      <a:pt x="165803" y="12462"/>
                      <a:pt x="161123" y="8334"/>
                    </a:cubicBezTo>
                    <a:cubicBezTo>
                      <a:pt x="159472" y="6682"/>
                      <a:pt x="159472" y="3930"/>
                      <a:pt x="161123" y="2554"/>
                    </a:cubicBezTo>
                    <a:cubicBezTo>
                      <a:pt x="163738" y="214"/>
                      <a:pt x="166215" y="-130"/>
                      <a:pt x="168624" y="524"/>
                    </a:cubicBezTo>
                    <a:close/>
                    <a:moveTo>
                      <a:pt x="1260961" y="465"/>
                    </a:moveTo>
                    <a:cubicBezTo>
                      <a:pt x="1268392" y="465"/>
                      <a:pt x="1267842" y="6245"/>
                      <a:pt x="1271420" y="8447"/>
                    </a:cubicBezTo>
                    <a:cubicBezTo>
                      <a:pt x="1280502" y="13951"/>
                      <a:pt x="1272521" y="23860"/>
                      <a:pt x="1278575" y="31566"/>
                    </a:cubicBezTo>
                    <a:cubicBezTo>
                      <a:pt x="1282429" y="35970"/>
                      <a:pt x="1273071" y="37071"/>
                      <a:pt x="1268392" y="37071"/>
                    </a:cubicBezTo>
                    <a:cubicBezTo>
                      <a:pt x="1229861" y="37071"/>
                      <a:pt x="1191329" y="37071"/>
                      <a:pt x="1152797" y="37071"/>
                    </a:cubicBezTo>
                    <a:cubicBezTo>
                      <a:pt x="1140962" y="37071"/>
                      <a:pt x="1129127" y="36520"/>
                      <a:pt x="1117568" y="37071"/>
                    </a:cubicBezTo>
                    <a:cubicBezTo>
                      <a:pt x="1109174" y="37484"/>
                      <a:pt x="1101054" y="37071"/>
                      <a:pt x="1093176" y="35557"/>
                    </a:cubicBezTo>
                    <a:lnTo>
                      <a:pt x="1092403" y="35283"/>
                    </a:lnTo>
                    <a:lnTo>
                      <a:pt x="1092403" y="36682"/>
                    </a:lnTo>
                    <a:lnTo>
                      <a:pt x="1061686" y="36682"/>
                    </a:lnTo>
                    <a:lnTo>
                      <a:pt x="1061696" y="36795"/>
                    </a:lnTo>
                    <a:lnTo>
                      <a:pt x="1010880" y="36795"/>
                    </a:lnTo>
                    <a:lnTo>
                      <a:pt x="1010880" y="36682"/>
                    </a:lnTo>
                    <a:lnTo>
                      <a:pt x="973870" y="36682"/>
                    </a:lnTo>
                    <a:cubicBezTo>
                      <a:pt x="963136" y="36682"/>
                      <a:pt x="965063" y="27599"/>
                      <a:pt x="964787" y="22920"/>
                    </a:cubicBezTo>
                    <a:cubicBezTo>
                      <a:pt x="964787" y="15214"/>
                      <a:pt x="960659" y="14663"/>
                      <a:pt x="955705" y="15214"/>
                    </a:cubicBezTo>
                    <a:cubicBezTo>
                      <a:pt x="947998" y="16040"/>
                      <a:pt x="953503" y="20168"/>
                      <a:pt x="954054" y="23196"/>
                    </a:cubicBezTo>
                    <a:cubicBezTo>
                      <a:pt x="955154" y="28700"/>
                      <a:pt x="951852" y="27599"/>
                      <a:pt x="948273" y="27324"/>
                    </a:cubicBezTo>
                    <a:cubicBezTo>
                      <a:pt x="938365" y="26774"/>
                      <a:pt x="935338" y="16865"/>
                      <a:pt x="928732" y="12187"/>
                    </a:cubicBezTo>
                    <a:cubicBezTo>
                      <a:pt x="920751" y="6682"/>
                      <a:pt x="914971" y="7232"/>
                      <a:pt x="907540" y="9985"/>
                    </a:cubicBezTo>
                    <a:cubicBezTo>
                      <a:pt x="905063" y="6682"/>
                      <a:pt x="901485" y="6407"/>
                      <a:pt x="897907" y="5306"/>
                    </a:cubicBezTo>
                    <a:cubicBezTo>
                      <a:pt x="899008" y="10260"/>
                      <a:pt x="891852" y="14113"/>
                      <a:pt x="894880" y="18517"/>
                    </a:cubicBezTo>
                    <a:cubicBezTo>
                      <a:pt x="899008" y="24297"/>
                      <a:pt x="890201" y="28425"/>
                      <a:pt x="894329" y="34205"/>
                    </a:cubicBezTo>
                    <a:cubicBezTo>
                      <a:pt x="895705" y="35856"/>
                      <a:pt x="891852" y="36682"/>
                      <a:pt x="889925" y="36682"/>
                    </a:cubicBezTo>
                    <a:cubicBezTo>
                      <a:pt x="876439" y="36682"/>
                      <a:pt x="862678" y="36407"/>
                      <a:pt x="848916" y="36682"/>
                    </a:cubicBezTo>
                    <a:cubicBezTo>
                      <a:pt x="843963" y="36957"/>
                      <a:pt x="843687" y="34205"/>
                      <a:pt x="844238" y="30627"/>
                    </a:cubicBezTo>
                    <a:cubicBezTo>
                      <a:pt x="847541" y="28150"/>
                      <a:pt x="852219" y="36131"/>
                      <a:pt x="854421" y="30352"/>
                    </a:cubicBezTo>
                    <a:cubicBezTo>
                      <a:pt x="856072" y="26223"/>
                      <a:pt x="853045" y="22370"/>
                      <a:pt x="849192" y="19893"/>
                    </a:cubicBezTo>
                    <a:cubicBezTo>
                      <a:pt x="842311" y="15489"/>
                      <a:pt x="850017" y="6407"/>
                      <a:pt x="842311" y="1453"/>
                    </a:cubicBezTo>
                    <a:lnTo>
                      <a:pt x="1010880" y="1453"/>
                    </a:lnTo>
                    <a:lnTo>
                      <a:pt x="1010880" y="973"/>
                    </a:lnTo>
                    <a:lnTo>
                      <a:pt x="1012190" y="1016"/>
                    </a:lnTo>
                    <a:lnTo>
                      <a:pt x="1012704" y="1453"/>
                    </a:lnTo>
                    <a:lnTo>
                      <a:pt x="1060146" y="1453"/>
                    </a:lnTo>
                    <a:lnTo>
                      <a:pt x="1060355" y="1256"/>
                    </a:lnTo>
                    <a:cubicBezTo>
                      <a:pt x="1062109" y="671"/>
                      <a:pt x="1064036" y="740"/>
                      <a:pt x="1066100" y="740"/>
                    </a:cubicBezTo>
                    <a:cubicBezTo>
                      <a:pt x="1131054" y="740"/>
                      <a:pt x="1196008" y="1015"/>
                      <a:pt x="1260961" y="465"/>
                    </a:cubicBezTo>
                    <a:close/>
                    <a:moveTo>
                      <a:pt x="830751" y="352"/>
                    </a:moveTo>
                    <a:cubicBezTo>
                      <a:pt x="832953" y="352"/>
                      <a:pt x="835706" y="1453"/>
                      <a:pt x="834330" y="3654"/>
                    </a:cubicBezTo>
                    <a:cubicBezTo>
                      <a:pt x="832953" y="6406"/>
                      <a:pt x="829926" y="8058"/>
                      <a:pt x="827724" y="9984"/>
                    </a:cubicBezTo>
                    <a:cubicBezTo>
                      <a:pt x="824421" y="9159"/>
                      <a:pt x="823871" y="7783"/>
                      <a:pt x="824146" y="5306"/>
                    </a:cubicBezTo>
                    <a:cubicBezTo>
                      <a:pt x="824696" y="1177"/>
                      <a:pt x="827449" y="77"/>
                      <a:pt x="830751" y="352"/>
                    </a:cubicBezTo>
                    <a:close/>
                    <a:moveTo>
                      <a:pt x="440203" y="351"/>
                    </a:moveTo>
                    <a:cubicBezTo>
                      <a:pt x="447634" y="351"/>
                      <a:pt x="447084" y="6131"/>
                      <a:pt x="450662" y="8333"/>
                    </a:cubicBezTo>
                    <a:cubicBezTo>
                      <a:pt x="459744" y="13837"/>
                      <a:pt x="451763" y="23746"/>
                      <a:pt x="457817" y="31452"/>
                    </a:cubicBezTo>
                    <a:cubicBezTo>
                      <a:pt x="461671" y="35856"/>
                      <a:pt x="452313" y="36957"/>
                      <a:pt x="447634" y="36957"/>
                    </a:cubicBezTo>
                    <a:cubicBezTo>
                      <a:pt x="409103" y="36957"/>
                      <a:pt x="370571" y="36957"/>
                      <a:pt x="332039" y="36957"/>
                    </a:cubicBezTo>
                    <a:cubicBezTo>
                      <a:pt x="320204" y="36957"/>
                      <a:pt x="308369" y="36406"/>
                      <a:pt x="296810" y="36957"/>
                    </a:cubicBezTo>
                    <a:cubicBezTo>
                      <a:pt x="280021" y="37782"/>
                      <a:pt x="264333" y="35305"/>
                      <a:pt x="249471" y="27324"/>
                    </a:cubicBezTo>
                    <a:cubicBezTo>
                      <a:pt x="246719" y="25947"/>
                      <a:pt x="243140" y="24847"/>
                      <a:pt x="240113" y="27048"/>
                    </a:cubicBezTo>
                    <a:cubicBezTo>
                      <a:pt x="234883" y="30626"/>
                      <a:pt x="242865" y="33103"/>
                      <a:pt x="240938" y="36681"/>
                    </a:cubicBezTo>
                    <a:cubicBezTo>
                      <a:pt x="213691" y="36681"/>
                      <a:pt x="186444" y="36681"/>
                      <a:pt x="158921" y="36681"/>
                    </a:cubicBezTo>
                    <a:cubicBezTo>
                      <a:pt x="160848" y="32828"/>
                      <a:pt x="162774" y="28975"/>
                      <a:pt x="164426" y="25122"/>
                    </a:cubicBezTo>
                    <a:cubicBezTo>
                      <a:pt x="165526" y="22645"/>
                      <a:pt x="166627" y="19342"/>
                      <a:pt x="169379" y="20718"/>
                    </a:cubicBezTo>
                    <a:cubicBezTo>
                      <a:pt x="183967" y="28149"/>
                      <a:pt x="189196" y="18241"/>
                      <a:pt x="194701" y="7507"/>
                    </a:cubicBezTo>
                    <a:cubicBezTo>
                      <a:pt x="192223" y="3379"/>
                      <a:pt x="185343" y="7782"/>
                      <a:pt x="182866" y="626"/>
                    </a:cubicBezTo>
                    <a:cubicBezTo>
                      <a:pt x="189196" y="1452"/>
                      <a:pt x="194150" y="-1576"/>
                      <a:pt x="198554" y="6957"/>
                    </a:cubicBezTo>
                    <a:cubicBezTo>
                      <a:pt x="204058" y="17690"/>
                      <a:pt x="229654" y="16039"/>
                      <a:pt x="234883" y="5580"/>
                    </a:cubicBezTo>
                    <a:cubicBezTo>
                      <a:pt x="237636" y="351"/>
                      <a:pt x="241214" y="626"/>
                      <a:pt x="245342" y="626"/>
                    </a:cubicBezTo>
                    <a:cubicBezTo>
                      <a:pt x="310296" y="626"/>
                      <a:pt x="375250" y="901"/>
                      <a:pt x="440203" y="351"/>
                    </a:cubicBezTo>
                    <a:close/>
                    <a:moveTo>
                      <a:pt x="1634867" y="207"/>
                    </a:moveTo>
                    <a:cubicBezTo>
                      <a:pt x="1637749" y="328"/>
                      <a:pt x="1639813" y="672"/>
                      <a:pt x="1640226" y="1291"/>
                    </a:cubicBezTo>
                    <a:cubicBezTo>
                      <a:pt x="1642703" y="4593"/>
                      <a:pt x="1641051" y="8447"/>
                      <a:pt x="1637748" y="9548"/>
                    </a:cubicBezTo>
                    <a:cubicBezTo>
                      <a:pt x="1627015" y="15603"/>
                      <a:pt x="1619309" y="24135"/>
                      <a:pt x="1612428" y="34594"/>
                    </a:cubicBezTo>
                    <a:cubicBezTo>
                      <a:pt x="1612978" y="30465"/>
                      <a:pt x="1615455" y="25236"/>
                      <a:pt x="1613804" y="22483"/>
                    </a:cubicBezTo>
                    <a:cubicBezTo>
                      <a:pt x="1612152" y="19456"/>
                      <a:pt x="1606373" y="18906"/>
                      <a:pt x="1602795" y="17254"/>
                    </a:cubicBezTo>
                    <a:cubicBezTo>
                      <a:pt x="1598666" y="23034"/>
                      <a:pt x="1610776" y="24685"/>
                      <a:pt x="1604996" y="28814"/>
                    </a:cubicBezTo>
                    <a:cubicBezTo>
                      <a:pt x="1598666" y="33493"/>
                      <a:pt x="1592336" y="28263"/>
                      <a:pt x="1585180" y="25236"/>
                    </a:cubicBezTo>
                    <a:cubicBezTo>
                      <a:pt x="1586006" y="29089"/>
                      <a:pt x="1586831" y="32392"/>
                      <a:pt x="1587657" y="36245"/>
                    </a:cubicBezTo>
                    <a:cubicBezTo>
                      <a:pt x="1560134" y="36245"/>
                      <a:pt x="1533162" y="36245"/>
                      <a:pt x="1506190" y="36245"/>
                    </a:cubicBezTo>
                    <a:cubicBezTo>
                      <a:pt x="1506190" y="25511"/>
                      <a:pt x="1493254" y="12025"/>
                      <a:pt x="1481695" y="12025"/>
                    </a:cubicBezTo>
                    <a:cubicBezTo>
                      <a:pt x="1474538" y="12025"/>
                      <a:pt x="1470410" y="18630"/>
                      <a:pt x="1465731" y="22759"/>
                    </a:cubicBezTo>
                    <a:cubicBezTo>
                      <a:pt x="1461052" y="26887"/>
                      <a:pt x="1466007" y="29915"/>
                      <a:pt x="1467658" y="33218"/>
                    </a:cubicBezTo>
                    <a:cubicBezTo>
                      <a:pt x="1467383" y="33768"/>
                      <a:pt x="1467383" y="34318"/>
                      <a:pt x="1467933" y="34869"/>
                    </a:cubicBezTo>
                    <a:cubicBezTo>
                      <a:pt x="1458576" y="38447"/>
                      <a:pt x="1448942" y="36520"/>
                      <a:pt x="1439310" y="36520"/>
                    </a:cubicBezTo>
                    <a:cubicBezTo>
                      <a:pt x="1414264" y="36795"/>
                      <a:pt x="1388943" y="36520"/>
                      <a:pt x="1363897" y="36795"/>
                    </a:cubicBezTo>
                    <a:cubicBezTo>
                      <a:pt x="1355640" y="36795"/>
                      <a:pt x="1348759" y="37346"/>
                      <a:pt x="1349310" y="26061"/>
                    </a:cubicBezTo>
                    <a:cubicBezTo>
                      <a:pt x="1349310" y="23860"/>
                      <a:pt x="1347108" y="21658"/>
                      <a:pt x="1346007" y="19456"/>
                    </a:cubicBezTo>
                    <a:cubicBezTo>
                      <a:pt x="1349035" y="16153"/>
                      <a:pt x="1357842" y="16704"/>
                      <a:pt x="1354264" y="11474"/>
                    </a:cubicBezTo>
                    <a:cubicBezTo>
                      <a:pt x="1352613" y="8997"/>
                      <a:pt x="1348484" y="1291"/>
                      <a:pt x="1341879" y="3768"/>
                    </a:cubicBezTo>
                    <a:cubicBezTo>
                      <a:pt x="1337200" y="5694"/>
                      <a:pt x="1334173" y="8722"/>
                      <a:pt x="1335824" y="14502"/>
                    </a:cubicBezTo>
                    <a:cubicBezTo>
                      <a:pt x="1336925" y="18355"/>
                      <a:pt x="1331145" y="21382"/>
                      <a:pt x="1326741" y="19181"/>
                    </a:cubicBezTo>
                    <a:cubicBezTo>
                      <a:pt x="1320411" y="15878"/>
                      <a:pt x="1314906" y="14777"/>
                      <a:pt x="1307200" y="16704"/>
                    </a:cubicBezTo>
                    <a:cubicBezTo>
                      <a:pt x="1298118" y="18906"/>
                      <a:pt x="1298669" y="5144"/>
                      <a:pt x="1291237" y="465"/>
                    </a:cubicBezTo>
                    <a:cubicBezTo>
                      <a:pt x="1318485" y="465"/>
                      <a:pt x="1346007" y="465"/>
                      <a:pt x="1373255" y="465"/>
                    </a:cubicBezTo>
                    <a:cubicBezTo>
                      <a:pt x="1384264" y="465"/>
                      <a:pt x="1394998" y="190"/>
                      <a:pt x="1406007" y="465"/>
                    </a:cubicBezTo>
                    <a:cubicBezTo>
                      <a:pt x="1408897" y="465"/>
                      <a:pt x="1411925" y="-223"/>
                      <a:pt x="1414539" y="328"/>
                    </a:cubicBezTo>
                    <a:cubicBezTo>
                      <a:pt x="1417154" y="878"/>
                      <a:pt x="1419355" y="2667"/>
                      <a:pt x="1420594" y="7621"/>
                    </a:cubicBezTo>
                    <a:cubicBezTo>
                      <a:pt x="1421420" y="10649"/>
                      <a:pt x="1434355" y="14502"/>
                      <a:pt x="1438209" y="12025"/>
                    </a:cubicBezTo>
                    <a:cubicBezTo>
                      <a:pt x="1443988" y="8722"/>
                      <a:pt x="1445915" y="14502"/>
                      <a:pt x="1449768" y="13126"/>
                    </a:cubicBezTo>
                    <a:cubicBezTo>
                      <a:pt x="1452796" y="8171"/>
                      <a:pt x="1446190" y="6245"/>
                      <a:pt x="1446190" y="465"/>
                    </a:cubicBezTo>
                    <a:cubicBezTo>
                      <a:pt x="1455273" y="465"/>
                      <a:pt x="1464630" y="465"/>
                      <a:pt x="1473988" y="465"/>
                    </a:cubicBezTo>
                    <a:cubicBezTo>
                      <a:pt x="1512245" y="465"/>
                      <a:pt x="1550226" y="465"/>
                      <a:pt x="1588483" y="465"/>
                    </a:cubicBezTo>
                    <a:cubicBezTo>
                      <a:pt x="1590960" y="465"/>
                      <a:pt x="1593437" y="465"/>
                      <a:pt x="1595914" y="741"/>
                    </a:cubicBezTo>
                    <a:cubicBezTo>
                      <a:pt x="1599217" y="741"/>
                      <a:pt x="1600593" y="2942"/>
                      <a:pt x="1599767" y="5694"/>
                    </a:cubicBezTo>
                    <a:cubicBezTo>
                      <a:pt x="1598941" y="8447"/>
                      <a:pt x="1596739" y="7896"/>
                      <a:pt x="1594813" y="6795"/>
                    </a:cubicBezTo>
                    <a:cubicBezTo>
                      <a:pt x="1592886" y="5419"/>
                      <a:pt x="1590685" y="4043"/>
                      <a:pt x="1587932" y="4869"/>
                    </a:cubicBezTo>
                    <a:cubicBezTo>
                      <a:pt x="1585455" y="5694"/>
                      <a:pt x="1582703" y="6795"/>
                      <a:pt x="1582703" y="9548"/>
                    </a:cubicBezTo>
                    <a:cubicBezTo>
                      <a:pt x="1582703" y="12850"/>
                      <a:pt x="1585455" y="13676"/>
                      <a:pt x="1588208" y="13126"/>
                    </a:cubicBezTo>
                    <a:cubicBezTo>
                      <a:pt x="1595914" y="11750"/>
                      <a:pt x="1605272" y="13951"/>
                      <a:pt x="1609400" y="3768"/>
                    </a:cubicBezTo>
                    <a:cubicBezTo>
                      <a:pt x="1610226" y="1497"/>
                      <a:pt x="1626223" y="-154"/>
                      <a:pt x="1634867" y="207"/>
                    </a:cubicBezTo>
                    <a:close/>
                    <a:moveTo>
                      <a:pt x="814109" y="93"/>
                    </a:moveTo>
                    <a:cubicBezTo>
                      <a:pt x="816991" y="214"/>
                      <a:pt x="819055" y="558"/>
                      <a:pt x="819468" y="1177"/>
                    </a:cubicBezTo>
                    <a:cubicBezTo>
                      <a:pt x="821945" y="4479"/>
                      <a:pt x="820293" y="8333"/>
                      <a:pt x="816990" y="9434"/>
                    </a:cubicBezTo>
                    <a:cubicBezTo>
                      <a:pt x="806257" y="15489"/>
                      <a:pt x="798551" y="24021"/>
                      <a:pt x="791670" y="34480"/>
                    </a:cubicBezTo>
                    <a:cubicBezTo>
                      <a:pt x="792220" y="30351"/>
                      <a:pt x="794697" y="25122"/>
                      <a:pt x="793046" y="22369"/>
                    </a:cubicBezTo>
                    <a:cubicBezTo>
                      <a:pt x="791394" y="19342"/>
                      <a:pt x="785615" y="18792"/>
                      <a:pt x="782037" y="17140"/>
                    </a:cubicBezTo>
                    <a:cubicBezTo>
                      <a:pt x="777908" y="22920"/>
                      <a:pt x="790018" y="24571"/>
                      <a:pt x="784238" y="28700"/>
                    </a:cubicBezTo>
                    <a:cubicBezTo>
                      <a:pt x="777908" y="33379"/>
                      <a:pt x="771578" y="28149"/>
                      <a:pt x="764422" y="25122"/>
                    </a:cubicBezTo>
                    <a:cubicBezTo>
                      <a:pt x="765248" y="28975"/>
                      <a:pt x="766073" y="32278"/>
                      <a:pt x="766899" y="36131"/>
                    </a:cubicBezTo>
                    <a:cubicBezTo>
                      <a:pt x="739376" y="36131"/>
                      <a:pt x="712404" y="36131"/>
                      <a:pt x="685432" y="36131"/>
                    </a:cubicBezTo>
                    <a:cubicBezTo>
                      <a:pt x="685432" y="25397"/>
                      <a:pt x="672496" y="11911"/>
                      <a:pt x="660937" y="11911"/>
                    </a:cubicBezTo>
                    <a:cubicBezTo>
                      <a:pt x="653780" y="11911"/>
                      <a:pt x="649652" y="18516"/>
                      <a:pt x="644973" y="22645"/>
                    </a:cubicBezTo>
                    <a:cubicBezTo>
                      <a:pt x="640294" y="26773"/>
                      <a:pt x="645249" y="29801"/>
                      <a:pt x="646900" y="33104"/>
                    </a:cubicBezTo>
                    <a:cubicBezTo>
                      <a:pt x="646625" y="33654"/>
                      <a:pt x="646625" y="34204"/>
                      <a:pt x="647175" y="34755"/>
                    </a:cubicBezTo>
                    <a:cubicBezTo>
                      <a:pt x="637818" y="38333"/>
                      <a:pt x="628184" y="36406"/>
                      <a:pt x="618552" y="36406"/>
                    </a:cubicBezTo>
                    <a:cubicBezTo>
                      <a:pt x="593506" y="36681"/>
                      <a:pt x="568185" y="36406"/>
                      <a:pt x="543139" y="36681"/>
                    </a:cubicBezTo>
                    <a:cubicBezTo>
                      <a:pt x="534882" y="36681"/>
                      <a:pt x="528001" y="37232"/>
                      <a:pt x="528552" y="25947"/>
                    </a:cubicBezTo>
                    <a:cubicBezTo>
                      <a:pt x="528552" y="23746"/>
                      <a:pt x="526350" y="21544"/>
                      <a:pt x="525249" y="19342"/>
                    </a:cubicBezTo>
                    <a:cubicBezTo>
                      <a:pt x="528277" y="16039"/>
                      <a:pt x="537084" y="16590"/>
                      <a:pt x="533506" y="11360"/>
                    </a:cubicBezTo>
                    <a:cubicBezTo>
                      <a:pt x="531855" y="8883"/>
                      <a:pt x="527726" y="1177"/>
                      <a:pt x="521121" y="3654"/>
                    </a:cubicBezTo>
                    <a:cubicBezTo>
                      <a:pt x="516442" y="5580"/>
                      <a:pt x="513415" y="8608"/>
                      <a:pt x="515066" y="14388"/>
                    </a:cubicBezTo>
                    <a:cubicBezTo>
                      <a:pt x="516167" y="18241"/>
                      <a:pt x="510387" y="21268"/>
                      <a:pt x="505983" y="19067"/>
                    </a:cubicBezTo>
                    <a:cubicBezTo>
                      <a:pt x="499653" y="15764"/>
                      <a:pt x="494148" y="14663"/>
                      <a:pt x="486442" y="16590"/>
                    </a:cubicBezTo>
                    <a:cubicBezTo>
                      <a:pt x="477360" y="18792"/>
                      <a:pt x="477911" y="5030"/>
                      <a:pt x="470479" y="351"/>
                    </a:cubicBezTo>
                    <a:cubicBezTo>
                      <a:pt x="497727" y="351"/>
                      <a:pt x="525249" y="351"/>
                      <a:pt x="552497" y="351"/>
                    </a:cubicBezTo>
                    <a:cubicBezTo>
                      <a:pt x="563506" y="351"/>
                      <a:pt x="574240" y="76"/>
                      <a:pt x="585249" y="351"/>
                    </a:cubicBezTo>
                    <a:cubicBezTo>
                      <a:pt x="588139" y="351"/>
                      <a:pt x="591167" y="-337"/>
                      <a:pt x="593781" y="214"/>
                    </a:cubicBezTo>
                    <a:cubicBezTo>
                      <a:pt x="596396" y="764"/>
                      <a:pt x="598597" y="2553"/>
                      <a:pt x="599836" y="7507"/>
                    </a:cubicBezTo>
                    <a:cubicBezTo>
                      <a:pt x="600662" y="10535"/>
                      <a:pt x="613597" y="14388"/>
                      <a:pt x="617451" y="11911"/>
                    </a:cubicBezTo>
                    <a:cubicBezTo>
                      <a:pt x="623230" y="8608"/>
                      <a:pt x="625157" y="14388"/>
                      <a:pt x="629010" y="13012"/>
                    </a:cubicBezTo>
                    <a:cubicBezTo>
                      <a:pt x="632038" y="8057"/>
                      <a:pt x="625432" y="6131"/>
                      <a:pt x="625432" y="351"/>
                    </a:cubicBezTo>
                    <a:cubicBezTo>
                      <a:pt x="634515" y="351"/>
                      <a:pt x="643872" y="351"/>
                      <a:pt x="653230" y="351"/>
                    </a:cubicBezTo>
                    <a:cubicBezTo>
                      <a:pt x="691487" y="351"/>
                      <a:pt x="729468" y="351"/>
                      <a:pt x="767725" y="351"/>
                    </a:cubicBezTo>
                    <a:cubicBezTo>
                      <a:pt x="770202" y="351"/>
                      <a:pt x="772679" y="351"/>
                      <a:pt x="775156" y="627"/>
                    </a:cubicBezTo>
                    <a:cubicBezTo>
                      <a:pt x="778459" y="627"/>
                      <a:pt x="779835" y="2828"/>
                      <a:pt x="779009" y="5580"/>
                    </a:cubicBezTo>
                    <a:cubicBezTo>
                      <a:pt x="778183" y="8333"/>
                      <a:pt x="775981" y="7782"/>
                      <a:pt x="774055" y="6681"/>
                    </a:cubicBezTo>
                    <a:cubicBezTo>
                      <a:pt x="772128" y="5305"/>
                      <a:pt x="769927" y="3929"/>
                      <a:pt x="767174" y="4755"/>
                    </a:cubicBezTo>
                    <a:cubicBezTo>
                      <a:pt x="764697" y="5580"/>
                      <a:pt x="761945" y="6681"/>
                      <a:pt x="761945" y="9434"/>
                    </a:cubicBezTo>
                    <a:cubicBezTo>
                      <a:pt x="761945" y="12736"/>
                      <a:pt x="764697" y="13562"/>
                      <a:pt x="767450" y="13012"/>
                    </a:cubicBezTo>
                    <a:cubicBezTo>
                      <a:pt x="775156" y="11636"/>
                      <a:pt x="784514" y="13837"/>
                      <a:pt x="788642" y="3654"/>
                    </a:cubicBezTo>
                    <a:cubicBezTo>
                      <a:pt x="789468" y="1383"/>
                      <a:pt x="805465" y="-268"/>
                      <a:pt x="814109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xmlns="" id="{4CD239F4-93B9-4334-8AE3-924E7C334DA8}"/>
                </a:ext>
              </a:extLst>
            </p:cNvPr>
            <p:cNvGrpSpPr/>
            <p:nvPr/>
          </p:nvGrpSpPr>
          <p:grpSpPr>
            <a:xfrm rot="16200000">
              <a:off x="9232845" y="3479161"/>
              <a:ext cx="4937760" cy="90960"/>
              <a:chOff x="2923579" y="529887"/>
              <a:chExt cx="6387472" cy="90960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xmlns="" id="{1D82C4A9-75B2-4DF4-B8BC-8FC4EDC985B3}"/>
                  </a:ext>
                </a:extLst>
              </p:cNvPr>
              <p:cNvSpPr/>
              <p:nvPr/>
            </p:nvSpPr>
            <p:spPr>
              <a:xfrm>
                <a:off x="2923579" y="529887"/>
                <a:ext cx="3121205" cy="87950"/>
              </a:xfrm>
              <a:custGeom>
                <a:avLst/>
                <a:gdLst>
                  <a:gd name="connsiteX0" fmla="*/ 934228 w 1546130"/>
                  <a:gd name="connsiteY0" fmla="*/ 26457 h 43567"/>
                  <a:gd name="connsiteX1" fmla="*/ 929274 w 1546130"/>
                  <a:gd name="connsiteY1" fmla="*/ 30586 h 43567"/>
                  <a:gd name="connsiteX2" fmla="*/ 939182 w 1546130"/>
                  <a:gd name="connsiteY2" fmla="*/ 40494 h 43567"/>
                  <a:gd name="connsiteX3" fmla="*/ 941935 w 1546130"/>
                  <a:gd name="connsiteY3" fmla="*/ 35540 h 43567"/>
                  <a:gd name="connsiteX4" fmla="*/ 934228 w 1546130"/>
                  <a:gd name="connsiteY4" fmla="*/ 26457 h 43567"/>
                  <a:gd name="connsiteX5" fmla="*/ 1074600 w 1546130"/>
                  <a:gd name="connsiteY5" fmla="*/ 5885 h 43567"/>
                  <a:gd name="connsiteX6" fmla="*/ 1074325 w 1546130"/>
                  <a:gd name="connsiteY6" fmla="*/ 6160 h 43567"/>
                  <a:gd name="connsiteX7" fmla="*/ 1074325 w 1546130"/>
                  <a:gd name="connsiteY7" fmla="*/ 6435 h 43567"/>
                  <a:gd name="connsiteX8" fmla="*/ 1074049 w 1546130"/>
                  <a:gd name="connsiteY8" fmla="*/ 6435 h 43567"/>
                  <a:gd name="connsiteX9" fmla="*/ 1074049 w 1546130"/>
                  <a:gd name="connsiteY9" fmla="*/ 6160 h 43567"/>
                  <a:gd name="connsiteX10" fmla="*/ 1073774 w 1546130"/>
                  <a:gd name="connsiteY10" fmla="*/ 6435 h 43567"/>
                  <a:gd name="connsiteX11" fmla="*/ 1075976 w 1546130"/>
                  <a:gd name="connsiteY11" fmla="*/ 29004 h 43567"/>
                  <a:gd name="connsiteX12" fmla="*/ 1078728 w 1546130"/>
                  <a:gd name="connsiteY12" fmla="*/ 30655 h 43567"/>
                  <a:gd name="connsiteX13" fmla="*/ 1094416 w 1546130"/>
                  <a:gd name="connsiteY13" fmla="*/ 24876 h 43567"/>
                  <a:gd name="connsiteX14" fmla="*/ 1084783 w 1546130"/>
                  <a:gd name="connsiteY14" fmla="*/ 9738 h 43567"/>
                  <a:gd name="connsiteX15" fmla="*/ 1075150 w 1546130"/>
                  <a:gd name="connsiteY15" fmla="*/ 6435 h 43567"/>
                  <a:gd name="connsiteX16" fmla="*/ 1074600 w 1546130"/>
                  <a:gd name="connsiteY16" fmla="*/ 5885 h 43567"/>
                  <a:gd name="connsiteX17" fmla="*/ 22951 w 1546130"/>
                  <a:gd name="connsiteY17" fmla="*/ 5815 h 43567"/>
                  <a:gd name="connsiteX18" fmla="*/ 22676 w 1546130"/>
                  <a:gd name="connsiteY18" fmla="*/ 6090 h 43567"/>
                  <a:gd name="connsiteX19" fmla="*/ 22676 w 1546130"/>
                  <a:gd name="connsiteY19" fmla="*/ 6365 h 43567"/>
                  <a:gd name="connsiteX20" fmla="*/ 22400 w 1546130"/>
                  <a:gd name="connsiteY20" fmla="*/ 6365 h 43567"/>
                  <a:gd name="connsiteX21" fmla="*/ 22400 w 1546130"/>
                  <a:gd name="connsiteY21" fmla="*/ 6090 h 43567"/>
                  <a:gd name="connsiteX22" fmla="*/ 22125 w 1546130"/>
                  <a:gd name="connsiteY22" fmla="*/ 6365 h 43567"/>
                  <a:gd name="connsiteX23" fmla="*/ 24327 w 1546130"/>
                  <a:gd name="connsiteY23" fmla="*/ 28934 h 43567"/>
                  <a:gd name="connsiteX24" fmla="*/ 27079 w 1546130"/>
                  <a:gd name="connsiteY24" fmla="*/ 30585 h 43567"/>
                  <a:gd name="connsiteX25" fmla="*/ 42767 w 1546130"/>
                  <a:gd name="connsiteY25" fmla="*/ 24806 h 43567"/>
                  <a:gd name="connsiteX26" fmla="*/ 33134 w 1546130"/>
                  <a:gd name="connsiteY26" fmla="*/ 9668 h 43567"/>
                  <a:gd name="connsiteX27" fmla="*/ 23501 w 1546130"/>
                  <a:gd name="connsiteY27" fmla="*/ 6365 h 43567"/>
                  <a:gd name="connsiteX28" fmla="*/ 22951 w 1546130"/>
                  <a:gd name="connsiteY28" fmla="*/ 5815 h 43567"/>
                  <a:gd name="connsiteX29" fmla="*/ 1440377 w 1546130"/>
                  <a:gd name="connsiteY29" fmla="*/ 380 h 43567"/>
                  <a:gd name="connsiteX30" fmla="*/ 1453313 w 1546130"/>
                  <a:gd name="connsiteY30" fmla="*/ 11940 h 43567"/>
                  <a:gd name="connsiteX31" fmla="*/ 1470652 w 1546130"/>
                  <a:gd name="connsiteY31" fmla="*/ 656 h 43567"/>
                  <a:gd name="connsiteX32" fmla="*/ 1546130 w 1546130"/>
                  <a:gd name="connsiteY32" fmla="*/ 656 h 43567"/>
                  <a:gd name="connsiteX33" fmla="*/ 1546130 w 1546130"/>
                  <a:gd name="connsiteY33" fmla="*/ 42765 h 43567"/>
                  <a:gd name="connsiteX34" fmla="*/ 1509184 w 1546130"/>
                  <a:gd name="connsiteY34" fmla="*/ 42765 h 43567"/>
                  <a:gd name="connsiteX35" fmla="*/ 1500101 w 1546130"/>
                  <a:gd name="connsiteY35" fmla="*/ 38637 h 43567"/>
                  <a:gd name="connsiteX36" fmla="*/ 1492670 w 1546130"/>
                  <a:gd name="connsiteY36" fmla="*/ 38086 h 43567"/>
                  <a:gd name="connsiteX37" fmla="*/ 1473129 w 1546130"/>
                  <a:gd name="connsiteY37" fmla="*/ 42765 h 43567"/>
                  <a:gd name="connsiteX38" fmla="*/ 1288176 w 1546130"/>
                  <a:gd name="connsiteY38" fmla="*/ 43040 h 43567"/>
                  <a:gd name="connsiteX39" fmla="*/ 1274965 w 1546130"/>
                  <a:gd name="connsiteY39" fmla="*/ 34233 h 43567"/>
                  <a:gd name="connsiteX40" fmla="*/ 1285699 w 1546130"/>
                  <a:gd name="connsiteY40" fmla="*/ 24876 h 43567"/>
                  <a:gd name="connsiteX41" fmla="*/ 1304690 w 1546130"/>
                  <a:gd name="connsiteY41" fmla="*/ 10013 h 43567"/>
                  <a:gd name="connsiteX42" fmla="*/ 1322580 w 1546130"/>
                  <a:gd name="connsiteY42" fmla="*/ 15793 h 43567"/>
                  <a:gd name="connsiteX43" fmla="*/ 1328910 w 1546130"/>
                  <a:gd name="connsiteY43" fmla="*/ 13316 h 43567"/>
                  <a:gd name="connsiteX44" fmla="*/ 1353680 w 1546130"/>
                  <a:gd name="connsiteY44" fmla="*/ 656 h 43567"/>
                  <a:gd name="connsiteX45" fmla="*/ 1440377 w 1546130"/>
                  <a:gd name="connsiteY45" fmla="*/ 380 h 43567"/>
                  <a:gd name="connsiteX46" fmla="*/ 388728 w 1546130"/>
                  <a:gd name="connsiteY46" fmla="*/ 310 h 43567"/>
                  <a:gd name="connsiteX47" fmla="*/ 401664 w 1546130"/>
                  <a:gd name="connsiteY47" fmla="*/ 11870 h 43567"/>
                  <a:gd name="connsiteX48" fmla="*/ 419003 w 1546130"/>
                  <a:gd name="connsiteY48" fmla="*/ 586 h 43567"/>
                  <a:gd name="connsiteX49" fmla="*/ 566250 w 1546130"/>
                  <a:gd name="connsiteY49" fmla="*/ 586 h 43567"/>
                  <a:gd name="connsiteX50" fmla="*/ 580011 w 1546130"/>
                  <a:gd name="connsiteY50" fmla="*/ 8017 h 43567"/>
                  <a:gd name="connsiteX51" fmla="*/ 553314 w 1546130"/>
                  <a:gd name="connsiteY51" fmla="*/ 20677 h 43567"/>
                  <a:gd name="connsiteX52" fmla="*/ 560194 w 1546130"/>
                  <a:gd name="connsiteY52" fmla="*/ 24531 h 43567"/>
                  <a:gd name="connsiteX53" fmla="*/ 583864 w 1546130"/>
                  <a:gd name="connsiteY53" fmla="*/ 28934 h 43567"/>
                  <a:gd name="connsiteX54" fmla="*/ 588818 w 1546130"/>
                  <a:gd name="connsiteY54" fmla="*/ 38842 h 43567"/>
                  <a:gd name="connsiteX55" fmla="*/ 580836 w 1546130"/>
                  <a:gd name="connsiteY55" fmla="*/ 42695 h 43567"/>
                  <a:gd name="connsiteX56" fmla="*/ 457535 w 1546130"/>
                  <a:gd name="connsiteY56" fmla="*/ 42695 h 43567"/>
                  <a:gd name="connsiteX57" fmla="*/ 448452 w 1546130"/>
                  <a:gd name="connsiteY57" fmla="*/ 38567 h 43567"/>
                  <a:gd name="connsiteX58" fmla="*/ 441021 w 1546130"/>
                  <a:gd name="connsiteY58" fmla="*/ 38016 h 43567"/>
                  <a:gd name="connsiteX59" fmla="*/ 421480 w 1546130"/>
                  <a:gd name="connsiteY59" fmla="*/ 42695 h 43567"/>
                  <a:gd name="connsiteX60" fmla="*/ 236527 w 1546130"/>
                  <a:gd name="connsiteY60" fmla="*/ 42970 h 43567"/>
                  <a:gd name="connsiteX61" fmla="*/ 223316 w 1546130"/>
                  <a:gd name="connsiteY61" fmla="*/ 34163 h 43567"/>
                  <a:gd name="connsiteX62" fmla="*/ 234050 w 1546130"/>
                  <a:gd name="connsiteY62" fmla="*/ 24806 h 43567"/>
                  <a:gd name="connsiteX63" fmla="*/ 253041 w 1546130"/>
                  <a:gd name="connsiteY63" fmla="*/ 9943 h 43567"/>
                  <a:gd name="connsiteX64" fmla="*/ 270931 w 1546130"/>
                  <a:gd name="connsiteY64" fmla="*/ 15723 h 43567"/>
                  <a:gd name="connsiteX65" fmla="*/ 277261 w 1546130"/>
                  <a:gd name="connsiteY65" fmla="*/ 13246 h 43567"/>
                  <a:gd name="connsiteX66" fmla="*/ 302031 w 1546130"/>
                  <a:gd name="connsiteY66" fmla="*/ 586 h 43567"/>
                  <a:gd name="connsiteX67" fmla="*/ 388728 w 1546130"/>
                  <a:gd name="connsiteY67" fmla="*/ 310 h 43567"/>
                  <a:gd name="connsiteX68" fmla="*/ 1066309 w 1546130"/>
                  <a:gd name="connsiteY68" fmla="*/ 71 h 43567"/>
                  <a:gd name="connsiteX69" fmla="*/ 1080930 w 1546130"/>
                  <a:gd name="connsiteY69" fmla="*/ 381 h 43567"/>
                  <a:gd name="connsiteX70" fmla="*/ 1116710 w 1546130"/>
                  <a:gd name="connsiteY70" fmla="*/ 381 h 43567"/>
                  <a:gd name="connsiteX71" fmla="*/ 1196250 w 1546130"/>
                  <a:gd name="connsiteY71" fmla="*/ 655 h 43567"/>
                  <a:gd name="connsiteX72" fmla="*/ 1208911 w 1546130"/>
                  <a:gd name="connsiteY72" fmla="*/ 8637 h 43567"/>
                  <a:gd name="connsiteX73" fmla="*/ 1232580 w 1546130"/>
                  <a:gd name="connsiteY73" fmla="*/ 2582 h 43567"/>
                  <a:gd name="connsiteX74" fmla="*/ 1245516 w 1546130"/>
                  <a:gd name="connsiteY74" fmla="*/ 931 h 43567"/>
                  <a:gd name="connsiteX75" fmla="*/ 1265332 w 1546130"/>
                  <a:gd name="connsiteY75" fmla="*/ 931 h 43567"/>
                  <a:gd name="connsiteX76" fmla="*/ 1238360 w 1546130"/>
                  <a:gd name="connsiteY76" fmla="*/ 33683 h 43567"/>
                  <a:gd name="connsiteX77" fmla="*/ 1219369 w 1546130"/>
                  <a:gd name="connsiteY77" fmla="*/ 43316 h 43567"/>
                  <a:gd name="connsiteX78" fmla="*/ 1205333 w 1546130"/>
                  <a:gd name="connsiteY78" fmla="*/ 25976 h 43567"/>
                  <a:gd name="connsiteX79" fmla="*/ 1200104 w 1546130"/>
                  <a:gd name="connsiteY79" fmla="*/ 29279 h 43567"/>
                  <a:gd name="connsiteX80" fmla="*/ 1173682 w 1546130"/>
                  <a:gd name="connsiteY80" fmla="*/ 43316 h 43567"/>
                  <a:gd name="connsiteX81" fmla="*/ 1068584 w 1546130"/>
                  <a:gd name="connsiteY81" fmla="*/ 43066 h 43567"/>
                  <a:gd name="connsiteX82" fmla="*/ 1068814 w 1546130"/>
                  <a:gd name="connsiteY82" fmla="*/ 43246 h 43567"/>
                  <a:gd name="connsiteX83" fmla="*/ 1041842 w 1546130"/>
                  <a:gd name="connsiteY83" fmla="*/ 43246 h 43567"/>
                  <a:gd name="connsiteX84" fmla="*/ 837072 w 1546130"/>
                  <a:gd name="connsiteY84" fmla="*/ 43246 h 43567"/>
                  <a:gd name="connsiteX85" fmla="*/ 823862 w 1546130"/>
                  <a:gd name="connsiteY85" fmla="*/ 41044 h 43567"/>
                  <a:gd name="connsiteX86" fmla="*/ 815054 w 1546130"/>
                  <a:gd name="connsiteY86" fmla="*/ 42145 h 43567"/>
                  <a:gd name="connsiteX87" fmla="*/ 808449 w 1546130"/>
                  <a:gd name="connsiteY87" fmla="*/ 43246 h 43567"/>
                  <a:gd name="connsiteX88" fmla="*/ 768541 w 1546130"/>
                  <a:gd name="connsiteY88" fmla="*/ 42420 h 43567"/>
                  <a:gd name="connsiteX89" fmla="*/ 719000 w 1546130"/>
                  <a:gd name="connsiteY89" fmla="*/ 42971 h 43567"/>
                  <a:gd name="connsiteX90" fmla="*/ 615790 w 1546130"/>
                  <a:gd name="connsiteY90" fmla="*/ 42696 h 43567"/>
                  <a:gd name="connsiteX91" fmla="*/ 609185 w 1546130"/>
                  <a:gd name="connsiteY91" fmla="*/ 33888 h 43567"/>
                  <a:gd name="connsiteX92" fmla="*/ 595699 w 1546130"/>
                  <a:gd name="connsiteY92" fmla="*/ 11045 h 43567"/>
                  <a:gd name="connsiteX93" fmla="*/ 581662 w 1546130"/>
                  <a:gd name="connsiteY93" fmla="*/ 586 h 43567"/>
                  <a:gd name="connsiteX94" fmla="*/ 604781 w 1546130"/>
                  <a:gd name="connsiteY94" fmla="*/ 586 h 43567"/>
                  <a:gd name="connsiteX95" fmla="*/ 958448 w 1546130"/>
                  <a:gd name="connsiteY95" fmla="*/ 586 h 43567"/>
                  <a:gd name="connsiteX96" fmla="*/ 1003310 w 1546130"/>
                  <a:gd name="connsiteY96" fmla="*/ 311 h 43567"/>
                  <a:gd name="connsiteX97" fmla="*/ 1025603 w 1546130"/>
                  <a:gd name="connsiteY97" fmla="*/ 6090 h 43567"/>
                  <a:gd name="connsiteX98" fmla="*/ 1029181 w 1546130"/>
                  <a:gd name="connsiteY98" fmla="*/ 3889 h 43567"/>
                  <a:gd name="connsiteX99" fmla="*/ 1024778 w 1546130"/>
                  <a:gd name="connsiteY99" fmla="*/ 1136 h 43567"/>
                  <a:gd name="connsiteX100" fmla="*/ 1033310 w 1546130"/>
                  <a:gd name="connsiteY100" fmla="*/ 1962 h 43567"/>
                  <a:gd name="connsiteX101" fmla="*/ 1044044 w 1546130"/>
                  <a:gd name="connsiteY101" fmla="*/ 3614 h 43567"/>
                  <a:gd name="connsiteX102" fmla="*/ 1038814 w 1546130"/>
                  <a:gd name="connsiteY102" fmla="*/ 12145 h 43567"/>
                  <a:gd name="connsiteX103" fmla="*/ 1037163 w 1546130"/>
                  <a:gd name="connsiteY103" fmla="*/ 16274 h 43567"/>
                  <a:gd name="connsiteX104" fmla="*/ 1046383 w 1546130"/>
                  <a:gd name="connsiteY104" fmla="*/ 25081 h 43567"/>
                  <a:gd name="connsiteX105" fmla="*/ 1052857 w 1546130"/>
                  <a:gd name="connsiteY105" fmla="*/ 30600 h 43567"/>
                  <a:gd name="connsiteX106" fmla="*/ 1052857 w 1546130"/>
                  <a:gd name="connsiteY106" fmla="*/ 30105 h 43567"/>
                  <a:gd name="connsiteX107" fmla="*/ 1054783 w 1546130"/>
                  <a:gd name="connsiteY107" fmla="*/ 2857 h 43567"/>
                  <a:gd name="connsiteX108" fmla="*/ 1066309 w 1546130"/>
                  <a:gd name="connsiteY108" fmla="*/ 71 h 43567"/>
                  <a:gd name="connsiteX109" fmla="*/ 14660 w 1546130"/>
                  <a:gd name="connsiteY109" fmla="*/ 1 h 43567"/>
                  <a:gd name="connsiteX110" fmla="*/ 29281 w 1546130"/>
                  <a:gd name="connsiteY110" fmla="*/ 311 h 43567"/>
                  <a:gd name="connsiteX111" fmla="*/ 65061 w 1546130"/>
                  <a:gd name="connsiteY111" fmla="*/ 311 h 43567"/>
                  <a:gd name="connsiteX112" fmla="*/ 144601 w 1546130"/>
                  <a:gd name="connsiteY112" fmla="*/ 585 h 43567"/>
                  <a:gd name="connsiteX113" fmla="*/ 157262 w 1546130"/>
                  <a:gd name="connsiteY113" fmla="*/ 8567 h 43567"/>
                  <a:gd name="connsiteX114" fmla="*/ 180931 w 1546130"/>
                  <a:gd name="connsiteY114" fmla="*/ 2512 h 43567"/>
                  <a:gd name="connsiteX115" fmla="*/ 193867 w 1546130"/>
                  <a:gd name="connsiteY115" fmla="*/ 861 h 43567"/>
                  <a:gd name="connsiteX116" fmla="*/ 213683 w 1546130"/>
                  <a:gd name="connsiteY116" fmla="*/ 861 h 43567"/>
                  <a:gd name="connsiteX117" fmla="*/ 186711 w 1546130"/>
                  <a:gd name="connsiteY117" fmla="*/ 33613 h 43567"/>
                  <a:gd name="connsiteX118" fmla="*/ 167720 w 1546130"/>
                  <a:gd name="connsiteY118" fmla="*/ 43246 h 43567"/>
                  <a:gd name="connsiteX119" fmla="*/ 153684 w 1546130"/>
                  <a:gd name="connsiteY119" fmla="*/ 25906 h 43567"/>
                  <a:gd name="connsiteX120" fmla="*/ 148455 w 1546130"/>
                  <a:gd name="connsiteY120" fmla="*/ 29209 h 43567"/>
                  <a:gd name="connsiteX121" fmla="*/ 122033 w 1546130"/>
                  <a:gd name="connsiteY121" fmla="*/ 43246 h 43567"/>
                  <a:gd name="connsiteX122" fmla="*/ 6437 w 1546130"/>
                  <a:gd name="connsiteY122" fmla="*/ 42971 h 43567"/>
                  <a:gd name="connsiteX123" fmla="*/ 1208 w 1546130"/>
                  <a:gd name="connsiteY123" fmla="*/ 39943 h 43567"/>
                  <a:gd name="connsiteX124" fmla="*/ 1208 w 1546130"/>
                  <a:gd name="connsiteY124" fmla="*/ 30035 h 43567"/>
                  <a:gd name="connsiteX125" fmla="*/ 3134 w 1546130"/>
                  <a:gd name="connsiteY125" fmla="*/ 2787 h 43567"/>
                  <a:gd name="connsiteX126" fmla="*/ 14660 w 1546130"/>
                  <a:gd name="connsiteY126" fmla="*/ 1 h 4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546130" h="43567">
                    <a:moveTo>
                      <a:pt x="934228" y="26457"/>
                    </a:moveTo>
                    <a:cubicBezTo>
                      <a:pt x="932026" y="26182"/>
                      <a:pt x="928448" y="28108"/>
                      <a:pt x="929274" y="30586"/>
                    </a:cubicBezTo>
                    <a:cubicBezTo>
                      <a:pt x="930650" y="35265"/>
                      <a:pt x="934778" y="38567"/>
                      <a:pt x="939182" y="40494"/>
                    </a:cubicBezTo>
                    <a:cubicBezTo>
                      <a:pt x="940834" y="41319"/>
                      <a:pt x="941659" y="38017"/>
                      <a:pt x="941935" y="35540"/>
                    </a:cubicBezTo>
                    <a:cubicBezTo>
                      <a:pt x="941109" y="31411"/>
                      <a:pt x="939733" y="27008"/>
                      <a:pt x="934228" y="26457"/>
                    </a:cubicBezTo>
                    <a:close/>
                    <a:moveTo>
                      <a:pt x="1074600" y="5885"/>
                    </a:moveTo>
                    <a:cubicBezTo>
                      <a:pt x="1074600" y="5885"/>
                      <a:pt x="1074325" y="6160"/>
                      <a:pt x="1074325" y="6160"/>
                    </a:cubicBezTo>
                    <a:cubicBezTo>
                      <a:pt x="1074325" y="6160"/>
                      <a:pt x="1074325" y="6435"/>
                      <a:pt x="1074325" y="6435"/>
                    </a:cubicBezTo>
                    <a:cubicBezTo>
                      <a:pt x="1074049" y="6435"/>
                      <a:pt x="1074049" y="6435"/>
                      <a:pt x="1074049" y="6435"/>
                    </a:cubicBezTo>
                    <a:cubicBezTo>
                      <a:pt x="1074049" y="6160"/>
                      <a:pt x="1074049" y="6160"/>
                      <a:pt x="1074049" y="6160"/>
                    </a:cubicBezTo>
                    <a:cubicBezTo>
                      <a:pt x="1074049" y="6160"/>
                      <a:pt x="1073774" y="6435"/>
                      <a:pt x="1073774" y="6435"/>
                    </a:cubicBezTo>
                    <a:cubicBezTo>
                      <a:pt x="1070196" y="14142"/>
                      <a:pt x="1077903" y="21298"/>
                      <a:pt x="1075976" y="29004"/>
                    </a:cubicBezTo>
                    <a:cubicBezTo>
                      <a:pt x="1075976" y="29554"/>
                      <a:pt x="1078453" y="30931"/>
                      <a:pt x="1078728" y="30655"/>
                    </a:cubicBezTo>
                    <a:cubicBezTo>
                      <a:pt x="1083407" y="26252"/>
                      <a:pt x="1093591" y="30931"/>
                      <a:pt x="1094416" y="24876"/>
                    </a:cubicBezTo>
                    <a:cubicBezTo>
                      <a:pt x="1094967" y="21573"/>
                      <a:pt x="1091939" y="12215"/>
                      <a:pt x="1084783" y="9738"/>
                    </a:cubicBezTo>
                    <a:cubicBezTo>
                      <a:pt x="1081481" y="8913"/>
                      <a:pt x="1078728" y="6160"/>
                      <a:pt x="1075150" y="6435"/>
                    </a:cubicBezTo>
                    <a:cubicBezTo>
                      <a:pt x="1074875" y="6160"/>
                      <a:pt x="1074600" y="6160"/>
                      <a:pt x="1074600" y="5885"/>
                    </a:cubicBezTo>
                    <a:close/>
                    <a:moveTo>
                      <a:pt x="22951" y="5815"/>
                    </a:moveTo>
                    <a:cubicBezTo>
                      <a:pt x="22951" y="5815"/>
                      <a:pt x="22676" y="6090"/>
                      <a:pt x="22676" y="6090"/>
                    </a:cubicBezTo>
                    <a:cubicBezTo>
                      <a:pt x="22676" y="6090"/>
                      <a:pt x="22676" y="6365"/>
                      <a:pt x="22676" y="6365"/>
                    </a:cubicBezTo>
                    <a:cubicBezTo>
                      <a:pt x="22400" y="6365"/>
                      <a:pt x="22400" y="6365"/>
                      <a:pt x="22400" y="6365"/>
                    </a:cubicBezTo>
                    <a:cubicBezTo>
                      <a:pt x="22400" y="6090"/>
                      <a:pt x="22400" y="6090"/>
                      <a:pt x="22400" y="6090"/>
                    </a:cubicBezTo>
                    <a:cubicBezTo>
                      <a:pt x="22400" y="6090"/>
                      <a:pt x="22125" y="6365"/>
                      <a:pt x="22125" y="6365"/>
                    </a:cubicBezTo>
                    <a:cubicBezTo>
                      <a:pt x="18547" y="14072"/>
                      <a:pt x="26254" y="21228"/>
                      <a:pt x="24327" y="28934"/>
                    </a:cubicBezTo>
                    <a:cubicBezTo>
                      <a:pt x="24327" y="29484"/>
                      <a:pt x="26804" y="30861"/>
                      <a:pt x="27079" y="30585"/>
                    </a:cubicBezTo>
                    <a:cubicBezTo>
                      <a:pt x="31758" y="26182"/>
                      <a:pt x="41942" y="30861"/>
                      <a:pt x="42767" y="24806"/>
                    </a:cubicBezTo>
                    <a:cubicBezTo>
                      <a:pt x="43318" y="21503"/>
                      <a:pt x="40290" y="12145"/>
                      <a:pt x="33134" y="9668"/>
                    </a:cubicBezTo>
                    <a:cubicBezTo>
                      <a:pt x="29832" y="8843"/>
                      <a:pt x="27079" y="6090"/>
                      <a:pt x="23501" y="6365"/>
                    </a:cubicBezTo>
                    <a:cubicBezTo>
                      <a:pt x="23226" y="6090"/>
                      <a:pt x="22951" y="6090"/>
                      <a:pt x="22951" y="5815"/>
                    </a:cubicBezTo>
                    <a:close/>
                    <a:moveTo>
                      <a:pt x="1440377" y="380"/>
                    </a:moveTo>
                    <a:cubicBezTo>
                      <a:pt x="1447808" y="380"/>
                      <a:pt x="1453863" y="105"/>
                      <a:pt x="1453313" y="11940"/>
                    </a:cubicBezTo>
                    <a:cubicBezTo>
                      <a:pt x="1454689" y="-1271"/>
                      <a:pt x="1463221" y="656"/>
                      <a:pt x="1470652" y="656"/>
                    </a:cubicBezTo>
                    <a:lnTo>
                      <a:pt x="1546130" y="656"/>
                    </a:lnTo>
                    <a:lnTo>
                      <a:pt x="1546130" y="42765"/>
                    </a:lnTo>
                    <a:lnTo>
                      <a:pt x="1509184" y="42765"/>
                    </a:lnTo>
                    <a:cubicBezTo>
                      <a:pt x="1505606" y="42765"/>
                      <a:pt x="1502027" y="43591"/>
                      <a:pt x="1500101" y="38637"/>
                    </a:cubicBezTo>
                    <a:cubicBezTo>
                      <a:pt x="1498725" y="35059"/>
                      <a:pt x="1494321" y="35885"/>
                      <a:pt x="1492670" y="38086"/>
                    </a:cubicBezTo>
                    <a:cubicBezTo>
                      <a:pt x="1487166" y="44692"/>
                      <a:pt x="1480009" y="42765"/>
                      <a:pt x="1473129" y="42765"/>
                    </a:cubicBezTo>
                    <a:cubicBezTo>
                      <a:pt x="1411478" y="43040"/>
                      <a:pt x="1349827" y="42765"/>
                      <a:pt x="1288176" y="43040"/>
                    </a:cubicBezTo>
                    <a:cubicBezTo>
                      <a:pt x="1281295" y="43040"/>
                      <a:pt x="1275516" y="42215"/>
                      <a:pt x="1274965" y="34233"/>
                    </a:cubicBezTo>
                    <a:cubicBezTo>
                      <a:pt x="1274415" y="26527"/>
                      <a:pt x="1281021" y="27353"/>
                      <a:pt x="1285699" y="24876"/>
                    </a:cubicBezTo>
                    <a:cubicBezTo>
                      <a:pt x="1292580" y="21022"/>
                      <a:pt x="1306892" y="27353"/>
                      <a:pt x="1304690" y="10013"/>
                    </a:cubicBezTo>
                    <a:cubicBezTo>
                      <a:pt x="1311020" y="13316"/>
                      <a:pt x="1316249" y="16069"/>
                      <a:pt x="1322580" y="15793"/>
                    </a:cubicBezTo>
                    <a:cubicBezTo>
                      <a:pt x="1325332" y="15793"/>
                      <a:pt x="1328359" y="15518"/>
                      <a:pt x="1328910" y="13316"/>
                    </a:cubicBezTo>
                    <a:cubicBezTo>
                      <a:pt x="1331937" y="-1271"/>
                      <a:pt x="1343772" y="931"/>
                      <a:pt x="1353680" y="656"/>
                    </a:cubicBezTo>
                    <a:cubicBezTo>
                      <a:pt x="1382579" y="380"/>
                      <a:pt x="1411478" y="656"/>
                      <a:pt x="1440377" y="380"/>
                    </a:cubicBezTo>
                    <a:close/>
                    <a:moveTo>
                      <a:pt x="388728" y="310"/>
                    </a:moveTo>
                    <a:cubicBezTo>
                      <a:pt x="396159" y="310"/>
                      <a:pt x="402214" y="35"/>
                      <a:pt x="401664" y="11870"/>
                    </a:cubicBezTo>
                    <a:cubicBezTo>
                      <a:pt x="403040" y="-1341"/>
                      <a:pt x="411572" y="586"/>
                      <a:pt x="419003" y="586"/>
                    </a:cubicBezTo>
                    <a:cubicBezTo>
                      <a:pt x="468268" y="586"/>
                      <a:pt x="517259" y="586"/>
                      <a:pt x="566250" y="586"/>
                    </a:cubicBezTo>
                    <a:cubicBezTo>
                      <a:pt x="572029" y="310"/>
                      <a:pt x="578084" y="-515"/>
                      <a:pt x="580011" y="8017"/>
                    </a:cubicBezTo>
                    <a:cubicBezTo>
                      <a:pt x="572029" y="3338"/>
                      <a:pt x="553589" y="12421"/>
                      <a:pt x="553314" y="20677"/>
                    </a:cubicBezTo>
                    <a:cubicBezTo>
                      <a:pt x="553039" y="25356"/>
                      <a:pt x="556892" y="26457"/>
                      <a:pt x="560194" y="24531"/>
                    </a:cubicBezTo>
                    <a:cubicBezTo>
                      <a:pt x="569552" y="19576"/>
                      <a:pt x="575882" y="28108"/>
                      <a:pt x="583864" y="28934"/>
                    </a:cubicBezTo>
                    <a:cubicBezTo>
                      <a:pt x="587717" y="29484"/>
                      <a:pt x="589919" y="34989"/>
                      <a:pt x="588818" y="38842"/>
                    </a:cubicBezTo>
                    <a:cubicBezTo>
                      <a:pt x="588268" y="43245"/>
                      <a:pt x="584139" y="42695"/>
                      <a:pt x="580836" y="42695"/>
                    </a:cubicBezTo>
                    <a:cubicBezTo>
                      <a:pt x="539827" y="42695"/>
                      <a:pt x="498543" y="42695"/>
                      <a:pt x="457535" y="42695"/>
                    </a:cubicBezTo>
                    <a:cubicBezTo>
                      <a:pt x="453957" y="42695"/>
                      <a:pt x="450378" y="43521"/>
                      <a:pt x="448452" y="38567"/>
                    </a:cubicBezTo>
                    <a:cubicBezTo>
                      <a:pt x="447076" y="34989"/>
                      <a:pt x="442672" y="35815"/>
                      <a:pt x="441021" y="38016"/>
                    </a:cubicBezTo>
                    <a:cubicBezTo>
                      <a:pt x="435517" y="44622"/>
                      <a:pt x="428360" y="42695"/>
                      <a:pt x="421480" y="42695"/>
                    </a:cubicBezTo>
                    <a:cubicBezTo>
                      <a:pt x="359829" y="42970"/>
                      <a:pt x="298178" y="42695"/>
                      <a:pt x="236527" y="42970"/>
                    </a:cubicBezTo>
                    <a:cubicBezTo>
                      <a:pt x="229646" y="42970"/>
                      <a:pt x="223867" y="42145"/>
                      <a:pt x="223316" y="34163"/>
                    </a:cubicBezTo>
                    <a:cubicBezTo>
                      <a:pt x="222766" y="26457"/>
                      <a:pt x="229372" y="27283"/>
                      <a:pt x="234050" y="24806"/>
                    </a:cubicBezTo>
                    <a:cubicBezTo>
                      <a:pt x="240931" y="20952"/>
                      <a:pt x="255243" y="27283"/>
                      <a:pt x="253041" y="9943"/>
                    </a:cubicBezTo>
                    <a:cubicBezTo>
                      <a:pt x="259371" y="13246"/>
                      <a:pt x="264600" y="15999"/>
                      <a:pt x="270931" y="15723"/>
                    </a:cubicBezTo>
                    <a:cubicBezTo>
                      <a:pt x="273683" y="15723"/>
                      <a:pt x="276710" y="15448"/>
                      <a:pt x="277261" y="13246"/>
                    </a:cubicBezTo>
                    <a:cubicBezTo>
                      <a:pt x="280288" y="-1341"/>
                      <a:pt x="292123" y="861"/>
                      <a:pt x="302031" y="586"/>
                    </a:cubicBezTo>
                    <a:cubicBezTo>
                      <a:pt x="330930" y="310"/>
                      <a:pt x="359829" y="586"/>
                      <a:pt x="388728" y="310"/>
                    </a:cubicBezTo>
                    <a:close/>
                    <a:moveTo>
                      <a:pt x="1066309" y="71"/>
                    </a:moveTo>
                    <a:cubicBezTo>
                      <a:pt x="1071091" y="105"/>
                      <a:pt x="1076389" y="656"/>
                      <a:pt x="1080930" y="381"/>
                    </a:cubicBezTo>
                    <a:cubicBezTo>
                      <a:pt x="1092765" y="381"/>
                      <a:pt x="1104875" y="381"/>
                      <a:pt x="1116710" y="381"/>
                    </a:cubicBezTo>
                    <a:cubicBezTo>
                      <a:pt x="1143132" y="381"/>
                      <a:pt x="1169828" y="655"/>
                      <a:pt x="1196250" y="655"/>
                    </a:cubicBezTo>
                    <a:cubicBezTo>
                      <a:pt x="1202306" y="655"/>
                      <a:pt x="1208085" y="655"/>
                      <a:pt x="1208911" y="8637"/>
                    </a:cubicBezTo>
                    <a:cubicBezTo>
                      <a:pt x="1217993" y="11114"/>
                      <a:pt x="1226800" y="14967"/>
                      <a:pt x="1232580" y="2582"/>
                    </a:cubicBezTo>
                    <a:cubicBezTo>
                      <a:pt x="1234782" y="-1822"/>
                      <a:pt x="1241112" y="1206"/>
                      <a:pt x="1245516" y="931"/>
                    </a:cubicBezTo>
                    <a:cubicBezTo>
                      <a:pt x="1251571" y="381"/>
                      <a:pt x="1257901" y="655"/>
                      <a:pt x="1265332" y="931"/>
                    </a:cubicBezTo>
                    <a:cubicBezTo>
                      <a:pt x="1254874" y="11665"/>
                      <a:pt x="1245241" y="22399"/>
                      <a:pt x="1238360" y="33683"/>
                    </a:cubicBezTo>
                    <a:cubicBezTo>
                      <a:pt x="1232580" y="43316"/>
                      <a:pt x="1227351" y="43866"/>
                      <a:pt x="1219369" y="43316"/>
                    </a:cubicBezTo>
                    <a:cubicBezTo>
                      <a:pt x="1212214" y="42765"/>
                      <a:pt x="1204507" y="33133"/>
                      <a:pt x="1205333" y="25976"/>
                    </a:cubicBezTo>
                    <a:cubicBezTo>
                      <a:pt x="1203406" y="27077"/>
                      <a:pt x="1200379" y="27903"/>
                      <a:pt x="1200104" y="29279"/>
                    </a:cubicBezTo>
                    <a:cubicBezTo>
                      <a:pt x="1197902" y="46618"/>
                      <a:pt x="1184691" y="43316"/>
                      <a:pt x="1173682" y="43316"/>
                    </a:cubicBezTo>
                    <a:lnTo>
                      <a:pt x="1068584" y="43066"/>
                    </a:lnTo>
                    <a:lnTo>
                      <a:pt x="1068814" y="43246"/>
                    </a:lnTo>
                    <a:cubicBezTo>
                      <a:pt x="1058080" y="43246"/>
                      <a:pt x="1050099" y="43246"/>
                      <a:pt x="1041842" y="43246"/>
                    </a:cubicBezTo>
                    <a:cubicBezTo>
                      <a:pt x="973586" y="43246"/>
                      <a:pt x="905329" y="43246"/>
                      <a:pt x="837072" y="43246"/>
                    </a:cubicBezTo>
                    <a:cubicBezTo>
                      <a:pt x="832669" y="43246"/>
                      <a:pt x="827990" y="44622"/>
                      <a:pt x="823862" y="41044"/>
                    </a:cubicBezTo>
                    <a:cubicBezTo>
                      <a:pt x="821935" y="39393"/>
                      <a:pt x="816155" y="26182"/>
                      <a:pt x="815054" y="42145"/>
                    </a:cubicBezTo>
                    <a:cubicBezTo>
                      <a:pt x="815054" y="42696"/>
                      <a:pt x="810651" y="43246"/>
                      <a:pt x="808449" y="43246"/>
                    </a:cubicBezTo>
                    <a:cubicBezTo>
                      <a:pt x="795238" y="42971"/>
                      <a:pt x="781752" y="42420"/>
                      <a:pt x="768541" y="42420"/>
                    </a:cubicBezTo>
                    <a:cubicBezTo>
                      <a:pt x="752028" y="42420"/>
                      <a:pt x="735514" y="42971"/>
                      <a:pt x="719000" y="42971"/>
                    </a:cubicBezTo>
                    <a:cubicBezTo>
                      <a:pt x="684597" y="42971"/>
                      <a:pt x="650194" y="42971"/>
                      <a:pt x="615790" y="42696"/>
                    </a:cubicBezTo>
                    <a:cubicBezTo>
                      <a:pt x="609735" y="42696"/>
                      <a:pt x="600928" y="44897"/>
                      <a:pt x="609185" y="33888"/>
                    </a:cubicBezTo>
                    <a:cubicBezTo>
                      <a:pt x="600653" y="28934"/>
                      <a:pt x="613588" y="11595"/>
                      <a:pt x="595699" y="11045"/>
                    </a:cubicBezTo>
                    <a:cubicBezTo>
                      <a:pt x="591570" y="10769"/>
                      <a:pt x="585240" y="7191"/>
                      <a:pt x="581662" y="586"/>
                    </a:cubicBezTo>
                    <a:cubicBezTo>
                      <a:pt x="589919" y="586"/>
                      <a:pt x="597350" y="586"/>
                      <a:pt x="604781" y="586"/>
                    </a:cubicBezTo>
                    <a:cubicBezTo>
                      <a:pt x="722853" y="586"/>
                      <a:pt x="840651" y="311"/>
                      <a:pt x="958448" y="586"/>
                    </a:cubicBezTo>
                    <a:cubicBezTo>
                      <a:pt x="973310" y="586"/>
                      <a:pt x="988448" y="2513"/>
                      <a:pt x="1003310" y="311"/>
                    </a:cubicBezTo>
                    <a:cubicBezTo>
                      <a:pt x="1011842" y="-791"/>
                      <a:pt x="1017897" y="4714"/>
                      <a:pt x="1025603" y="6090"/>
                    </a:cubicBezTo>
                    <a:cubicBezTo>
                      <a:pt x="1028080" y="6641"/>
                      <a:pt x="1029456" y="6366"/>
                      <a:pt x="1029181" y="3889"/>
                    </a:cubicBezTo>
                    <a:cubicBezTo>
                      <a:pt x="1028906" y="3338"/>
                      <a:pt x="1026154" y="3063"/>
                      <a:pt x="1024778" y="1136"/>
                    </a:cubicBezTo>
                    <a:cubicBezTo>
                      <a:pt x="1027530" y="1412"/>
                      <a:pt x="1030557" y="1136"/>
                      <a:pt x="1033310" y="1962"/>
                    </a:cubicBezTo>
                    <a:cubicBezTo>
                      <a:pt x="1036888" y="3063"/>
                      <a:pt x="1041567" y="-2442"/>
                      <a:pt x="1044044" y="3614"/>
                    </a:cubicBezTo>
                    <a:cubicBezTo>
                      <a:pt x="1046245" y="8843"/>
                      <a:pt x="1041016" y="9668"/>
                      <a:pt x="1038814" y="12145"/>
                    </a:cubicBezTo>
                    <a:cubicBezTo>
                      <a:pt x="1037989" y="13246"/>
                      <a:pt x="1037163" y="16274"/>
                      <a:pt x="1037163" y="16274"/>
                    </a:cubicBezTo>
                    <a:cubicBezTo>
                      <a:pt x="1040879" y="18201"/>
                      <a:pt x="1043700" y="21779"/>
                      <a:pt x="1046383" y="25081"/>
                    </a:cubicBezTo>
                    <a:lnTo>
                      <a:pt x="1052857" y="30600"/>
                    </a:lnTo>
                    <a:lnTo>
                      <a:pt x="1052857" y="30105"/>
                    </a:lnTo>
                    <a:cubicBezTo>
                      <a:pt x="1053407" y="20747"/>
                      <a:pt x="1048729" y="8362"/>
                      <a:pt x="1054783" y="2857"/>
                    </a:cubicBezTo>
                    <a:cubicBezTo>
                      <a:pt x="1057261" y="518"/>
                      <a:pt x="1061527" y="36"/>
                      <a:pt x="1066309" y="71"/>
                    </a:cubicBezTo>
                    <a:close/>
                    <a:moveTo>
                      <a:pt x="14660" y="1"/>
                    </a:moveTo>
                    <a:cubicBezTo>
                      <a:pt x="19442" y="35"/>
                      <a:pt x="24740" y="586"/>
                      <a:pt x="29281" y="311"/>
                    </a:cubicBezTo>
                    <a:cubicBezTo>
                      <a:pt x="41116" y="311"/>
                      <a:pt x="53226" y="311"/>
                      <a:pt x="65061" y="311"/>
                    </a:cubicBezTo>
                    <a:cubicBezTo>
                      <a:pt x="91483" y="311"/>
                      <a:pt x="118179" y="585"/>
                      <a:pt x="144601" y="585"/>
                    </a:cubicBezTo>
                    <a:cubicBezTo>
                      <a:pt x="150657" y="585"/>
                      <a:pt x="156436" y="585"/>
                      <a:pt x="157262" y="8567"/>
                    </a:cubicBezTo>
                    <a:cubicBezTo>
                      <a:pt x="166344" y="11044"/>
                      <a:pt x="175151" y="14897"/>
                      <a:pt x="180931" y="2512"/>
                    </a:cubicBezTo>
                    <a:cubicBezTo>
                      <a:pt x="183133" y="-1892"/>
                      <a:pt x="189463" y="1136"/>
                      <a:pt x="193867" y="861"/>
                    </a:cubicBezTo>
                    <a:cubicBezTo>
                      <a:pt x="199922" y="311"/>
                      <a:pt x="206252" y="585"/>
                      <a:pt x="213683" y="861"/>
                    </a:cubicBezTo>
                    <a:cubicBezTo>
                      <a:pt x="203225" y="11595"/>
                      <a:pt x="193592" y="22329"/>
                      <a:pt x="186711" y="33613"/>
                    </a:cubicBezTo>
                    <a:cubicBezTo>
                      <a:pt x="180931" y="43246"/>
                      <a:pt x="175702" y="43796"/>
                      <a:pt x="167720" y="43246"/>
                    </a:cubicBezTo>
                    <a:cubicBezTo>
                      <a:pt x="160565" y="42695"/>
                      <a:pt x="152858" y="33063"/>
                      <a:pt x="153684" y="25906"/>
                    </a:cubicBezTo>
                    <a:cubicBezTo>
                      <a:pt x="151757" y="27007"/>
                      <a:pt x="148730" y="27833"/>
                      <a:pt x="148455" y="29209"/>
                    </a:cubicBezTo>
                    <a:cubicBezTo>
                      <a:pt x="146253" y="46548"/>
                      <a:pt x="133042" y="43246"/>
                      <a:pt x="122033" y="43246"/>
                    </a:cubicBezTo>
                    <a:cubicBezTo>
                      <a:pt x="83501" y="43246"/>
                      <a:pt x="44969" y="42971"/>
                      <a:pt x="6437" y="42971"/>
                    </a:cubicBezTo>
                    <a:cubicBezTo>
                      <a:pt x="3685" y="43521"/>
                      <a:pt x="1483" y="43246"/>
                      <a:pt x="1208" y="39943"/>
                    </a:cubicBezTo>
                    <a:cubicBezTo>
                      <a:pt x="1208" y="36640"/>
                      <a:pt x="933" y="33338"/>
                      <a:pt x="1208" y="30035"/>
                    </a:cubicBezTo>
                    <a:cubicBezTo>
                      <a:pt x="1758" y="20677"/>
                      <a:pt x="-2920" y="8292"/>
                      <a:pt x="3134" y="2787"/>
                    </a:cubicBezTo>
                    <a:cubicBezTo>
                      <a:pt x="5612" y="448"/>
                      <a:pt x="9878" y="-34"/>
                      <a:pt x="146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xmlns="" id="{2DB8CB62-05C2-405A-9CB3-A3BBEC6D4835}"/>
                  </a:ext>
                </a:extLst>
              </p:cNvPr>
              <p:cNvSpPr/>
              <p:nvPr/>
            </p:nvSpPr>
            <p:spPr>
              <a:xfrm rot="10800000">
                <a:off x="5989366" y="544828"/>
                <a:ext cx="3321685" cy="76019"/>
              </a:xfrm>
              <a:custGeom>
                <a:avLst/>
                <a:gdLst>
                  <a:gd name="connsiteX0" fmla="*/ 1323163 w 1645441"/>
                  <a:gd name="connsiteY0" fmla="*/ 28780 h 37657"/>
                  <a:gd name="connsiteX1" fmla="*/ 1333347 w 1645441"/>
                  <a:gd name="connsiteY1" fmla="*/ 36796 h 37657"/>
                  <a:gd name="connsiteX2" fmla="*/ 1312980 w 1645441"/>
                  <a:gd name="connsiteY2" fmla="*/ 36245 h 37657"/>
                  <a:gd name="connsiteX3" fmla="*/ 1323163 w 1645441"/>
                  <a:gd name="connsiteY3" fmla="*/ 28780 h 37657"/>
                  <a:gd name="connsiteX4" fmla="*/ 502405 w 1645441"/>
                  <a:gd name="connsiteY4" fmla="*/ 28666 h 37657"/>
                  <a:gd name="connsiteX5" fmla="*/ 512589 w 1645441"/>
                  <a:gd name="connsiteY5" fmla="*/ 36682 h 37657"/>
                  <a:gd name="connsiteX6" fmla="*/ 492222 w 1645441"/>
                  <a:gd name="connsiteY6" fmla="*/ 36131 h 37657"/>
                  <a:gd name="connsiteX7" fmla="*/ 502405 w 1645441"/>
                  <a:gd name="connsiteY7" fmla="*/ 28666 h 37657"/>
                  <a:gd name="connsiteX8" fmla="*/ 1645441 w 1645441"/>
                  <a:gd name="connsiteY8" fmla="*/ 21503 h 37657"/>
                  <a:gd name="connsiteX9" fmla="*/ 1645441 w 1645441"/>
                  <a:gd name="connsiteY9" fmla="*/ 33701 h 37657"/>
                  <a:gd name="connsiteX10" fmla="*/ 1640157 w 1645441"/>
                  <a:gd name="connsiteY10" fmla="*/ 32461 h 37657"/>
                  <a:gd name="connsiteX11" fmla="*/ 1639950 w 1645441"/>
                  <a:gd name="connsiteY11" fmla="*/ 27438 h 37657"/>
                  <a:gd name="connsiteX12" fmla="*/ 833779 w 1645441"/>
                  <a:gd name="connsiteY12" fmla="*/ 19618 h 37657"/>
                  <a:gd name="connsiteX13" fmla="*/ 843962 w 1645441"/>
                  <a:gd name="connsiteY13" fmla="*/ 30627 h 37657"/>
                  <a:gd name="connsiteX14" fmla="*/ 824972 w 1645441"/>
                  <a:gd name="connsiteY14" fmla="*/ 33655 h 37657"/>
                  <a:gd name="connsiteX15" fmla="*/ 819192 w 1645441"/>
                  <a:gd name="connsiteY15" fmla="*/ 27324 h 37657"/>
                  <a:gd name="connsiteX16" fmla="*/ 833779 w 1645441"/>
                  <a:gd name="connsiteY16" fmla="*/ 19618 h 37657"/>
                  <a:gd name="connsiteX17" fmla="*/ 1645441 w 1645441"/>
                  <a:gd name="connsiteY17" fmla="*/ 5017 h 37657"/>
                  <a:gd name="connsiteX18" fmla="*/ 1645441 w 1645441"/>
                  <a:gd name="connsiteY18" fmla="*/ 6122 h 37657"/>
                  <a:gd name="connsiteX19" fmla="*/ 1644904 w 1645441"/>
                  <a:gd name="connsiteY19" fmla="*/ 5420 h 37657"/>
                  <a:gd name="connsiteX20" fmla="*/ 18831 w 1645441"/>
                  <a:gd name="connsiteY20" fmla="*/ 627 h 37657"/>
                  <a:gd name="connsiteX21" fmla="*/ 78005 w 1645441"/>
                  <a:gd name="connsiteY21" fmla="*/ 627 h 37657"/>
                  <a:gd name="connsiteX22" fmla="*/ 144609 w 1645441"/>
                  <a:gd name="connsiteY22" fmla="*/ 627 h 37657"/>
                  <a:gd name="connsiteX23" fmla="*/ 155894 w 1645441"/>
                  <a:gd name="connsiteY23" fmla="*/ 5580 h 37657"/>
                  <a:gd name="connsiteX24" fmla="*/ 154518 w 1645441"/>
                  <a:gd name="connsiteY24" fmla="*/ 19617 h 37657"/>
                  <a:gd name="connsiteX25" fmla="*/ 147362 w 1645441"/>
                  <a:gd name="connsiteY25" fmla="*/ 34754 h 37657"/>
                  <a:gd name="connsiteX26" fmla="*/ 143509 w 1645441"/>
                  <a:gd name="connsiteY26" fmla="*/ 36681 h 37657"/>
                  <a:gd name="connsiteX27" fmla="*/ 105252 w 1645441"/>
                  <a:gd name="connsiteY27" fmla="*/ 33653 h 37657"/>
                  <a:gd name="connsiteX28" fmla="*/ 99197 w 1645441"/>
                  <a:gd name="connsiteY28" fmla="*/ 33103 h 37657"/>
                  <a:gd name="connsiteX29" fmla="*/ 16904 w 1645441"/>
                  <a:gd name="connsiteY29" fmla="*/ 36406 h 37657"/>
                  <a:gd name="connsiteX30" fmla="*/ 115 w 1645441"/>
                  <a:gd name="connsiteY30" fmla="*/ 19066 h 37657"/>
                  <a:gd name="connsiteX31" fmla="*/ 18831 w 1645441"/>
                  <a:gd name="connsiteY31" fmla="*/ 627 h 37657"/>
                  <a:gd name="connsiteX32" fmla="*/ 168624 w 1645441"/>
                  <a:gd name="connsiteY32" fmla="*/ 524 h 37657"/>
                  <a:gd name="connsiteX33" fmla="*/ 175711 w 1645441"/>
                  <a:gd name="connsiteY33" fmla="*/ 4480 h 37657"/>
                  <a:gd name="connsiteX34" fmla="*/ 182591 w 1645441"/>
                  <a:gd name="connsiteY34" fmla="*/ 8609 h 37657"/>
                  <a:gd name="connsiteX35" fmla="*/ 177087 w 1645441"/>
                  <a:gd name="connsiteY35" fmla="*/ 11361 h 37657"/>
                  <a:gd name="connsiteX36" fmla="*/ 161123 w 1645441"/>
                  <a:gd name="connsiteY36" fmla="*/ 8334 h 37657"/>
                  <a:gd name="connsiteX37" fmla="*/ 161123 w 1645441"/>
                  <a:gd name="connsiteY37" fmla="*/ 2554 h 37657"/>
                  <a:gd name="connsiteX38" fmla="*/ 168624 w 1645441"/>
                  <a:gd name="connsiteY38" fmla="*/ 524 h 37657"/>
                  <a:gd name="connsiteX39" fmla="*/ 1260961 w 1645441"/>
                  <a:gd name="connsiteY39" fmla="*/ 465 h 37657"/>
                  <a:gd name="connsiteX40" fmla="*/ 1271420 w 1645441"/>
                  <a:gd name="connsiteY40" fmla="*/ 8447 h 37657"/>
                  <a:gd name="connsiteX41" fmla="*/ 1278575 w 1645441"/>
                  <a:gd name="connsiteY41" fmla="*/ 31566 h 37657"/>
                  <a:gd name="connsiteX42" fmla="*/ 1268392 w 1645441"/>
                  <a:gd name="connsiteY42" fmla="*/ 37071 h 37657"/>
                  <a:gd name="connsiteX43" fmla="*/ 1152797 w 1645441"/>
                  <a:gd name="connsiteY43" fmla="*/ 37071 h 37657"/>
                  <a:gd name="connsiteX44" fmla="*/ 1117568 w 1645441"/>
                  <a:gd name="connsiteY44" fmla="*/ 37071 h 37657"/>
                  <a:gd name="connsiteX45" fmla="*/ 1093176 w 1645441"/>
                  <a:gd name="connsiteY45" fmla="*/ 35557 h 37657"/>
                  <a:gd name="connsiteX46" fmla="*/ 1092403 w 1645441"/>
                  <a:gd name="connsiteY46" fmla="*/ 35283 h 37657"/>
                  <a:gd name="connsiteX47" fmla="*/ 1092403 w 1645441"/>
                  <a:gd name="connsiteY47" fmla="*/ 36682 h 37657"/>
                  <a:gd name="connsiteX48" fmla="*/ 1061686 w 1645441"/>
                  <a:gd name="connsiteY48" fmla="*/ 36682 h 37657"/>
                  <a:gd name="connsiteX49" fmla="*/ 1061696 w 1645441"/>
                  <a:gd name="connsiteY49" fmla="*/ 36795 h 37657"/>
                  <a:gd name="connsiteX50" fmla="*/ 1010880 w 1645441"/>
                  <a:gd name="connsiteY50" fmla="*/ 36795 h 37657"/>
                  <a:gd name="connsiteX51" fmla="*/ 1010880 w 1645441"/>
                  <a:gd name="connsiteY51" fmla="*/ 36682 h 37657"/>
                  <a:gd name="connsiteX52" fmla="*/ 973870 w 1645441"/>
                  <a:gd name="connsiteY52" fmla="*/ 36682 h 37657"/>
                  <a:gd name="connsiteX53" fmla="*/ 964787 w 1645441"/>
                  <a:gd name="connsiteY53" fmla="*/ 22920 h 37657"/>
                  <a:gd name="connsiteX54" fmla="*/ 955705 w 1645441"/>
                  <a:gd name="connsiteY54" fmla="*/ 15214 h 37657"/>
                  <a:gd name="connsiteX55" fmla="*/ 954054 w 1645441"/>
                  <a:gd name="connsiteY55" fmla="*/ 23196 h 37657"/>
                  <a:gd name="connsiteX56" fmla="*/ 948273 w 1645441"/>
                  <a:gd name="connsiteY56" fmla="*/ 27324 h 37657"/>
                  <a:gd name="connsiteX57" fmla="*/ 928732 w 1645441"/>
                  <a:gd name="connsiteY57" fmla="*/ 12187 h 37657"/>
                  <a:gd name="connsiteX58" fmla="*/ 907540 w 1645441"/>
                  <a:gd name="connsiteY58" fmla="*/ 9985 h 37657"/>
                  <a:gd name="connsiteX59" fmla="*/ 897907 w 1645441"/>
                  <a:gd name="connsiteY59" fmla="*/ 5306 h 37657"/>
                  <a:gd name="connsiteX60" fmla="*/ 894880 w 1645441"/>
                  <a:gd name="connsiteY60" fmla="*/ 18517 h 37657"/>
                  <a:gd name="connsiteX61" fmla="*/ 894329 w 1645441"/>
                  <a:gd name="connsiteY61" fmla="*/ 34205 h 37657"/>
                  <a:gd name="connsiteX62" fmla="*/ 889925 w 1645441"/>
                  <a:gd name="connsiteY62" fmla="*/ 36682 h 37657"/>
                  <a:gd name="connsiteX63" fmla="*/ 848916 w 1645441"/>
                  <a:gd name="connsiteY63" fmla="*/ 36682 h 37657"/>
                  <a:gd name="connsiteX64" fmla="*/ 844238 w 1645441"/>
                  <a:gd name="connsiteY64" fmla="*/ 30627 h 37657"/>
                  <a:gd name="connsiteX65" fmla="*/ 854421 w 1645441"/>
                  <a:gd name="connsiteY65" fmla="*/ 30352 h 37657"/>
                  <a:gd name="connsiteX66" fmla="*/ 849192 w 1645441"/>
                  <a:gd name="connsiteY66" fmla="*/ 19893 h 37657"/>
                  <a:gd name="connsiteX67" fmla="*/ 842311 w 1645441"/>
                  <a:gd name="connsiteY67" fmla="*/ 1453 h 37657"/>
                  <a:gd name="connsiteX68" fmla="*/ 1010880 w 1645441"/>
                  <a:gd name="connsiteY68" fmla="*/ 1453 h 37657"/>
                  <a:gd name="connsiteX69" fmla="*/ 1010880 w 1645441"/>
                  <a:gd name="connsiteY69" fmla="*/ 973 h 37657"/>
                  <a:gd name="connsiteX70" fmla="*/ 1012190 w 1645441"/>
                  <a:gd name="connsiteY70" fmla="*/ 1016 h 37657"/>
                  <a:gd name="connsiteX71" fmla="*/ 1012704 w 1645441"/>
                  <a:gd name="connsiteY71" fmla="*/ 1453 h 37657"/>
                  <a:gd name="connsiteX72" fmla="*/ 1060146 w 1645441"/>
                  <a:gd name="connsiteY72" fmla="*/ 1453 h 37657"/>
                  <a:gd name="connsiteX73" fmla="*/ 1060355 w 1645441"/>
                  <a:gd name="connsiteY73" fmla="*/ 1256 h 37657"/>
                  <a:gd name="connsiteX74" fmla="*/ 1066100 w 1645441"/>
                  <a:gd name="connsiteY74" fmla="*/ 740 h 37657"/>
                  <a:gd name="connsiteX75" fmla="*/ 1260961 w 1645441"/>
                  <a:gd name="connsiteY75" fmla="*/ 465 h 37657"/>
                  <a:gd name="connsiteX76" fmla="*/ 830751 w 1645441"/>
                  <a:gd name="connsiteY76" fmla="*/ 352 h 37657"/>
                  <a:gd name="connsiteX77" fmla="*/ 834330 w 1645441"/>
                  <a:gd name="connsiteY77" fmla="*/ 3654 h 37657"/>
                  <a:gd name="connsiteX78" fmla="*/ 827724 w 1645441"/>
                  <a:gd name="connsiteY78" fmla="*/ 9984 h 37657"/>
                  <a:gd name="connsiteX79" fmla="*/ 824146 w 1645441"/>
                  <a:gd name="connsiteY79" fmla="*/ 5306 h 37657"/>
                  <a:gd name="connsiteX80" fmla="*/ 830751 w 1645441"/>
                  <a:gd name="connsiteY80" fmla="*/ 352 h 37657"/>
                  <a:gd name="connsiteX81" fmla="*/ 440203 w 1645441"/>
                  <a:gd name="connsiteY81" fmla="*/ 351 h 37657"/>
                  <a:gd name="connsiteX82" fmla="*/ 450662 w 1645441"/>
                  <a:gd name="connsiteY82" fmla="*/ 8333 h 37657"/>
                  <a:gd name="connsiteX83" fmla="*/ 457817 w 1645441"/>
                  <a:gd name="connsiteY83" fmla="*/ 31452 h 37657"/>
                  <a:gd name="connsiteX84" fmla="*/ 447634 w 1645441"/>
                  <a:gd name="connsiteY84" fmla="*/ 36957 h 37657"/>
                  <a:gd name="connsiteX85" fmla="*/ 332039 w 1645441"/>
                  <a:gd name="connsiteY85" fmla="*/ 36957 h 37657"/>
                  <a:gd name="connsiteX86" fmla="*/ 296810 w 1645441"/>
                  <a:gd name="connsiteY86" fmla="*/ 36957 h 37657"/>
                  <a:gd name="connsiteX87" fmla="*/ 249471 w 1645441"/>
                  <a:gd name="connsiteY87" fmla="*/ 27324 h 37657"/>
                  <a:gd name="connsiteX88" fmla="*/ 240113 w 1645441"/>
                  <a:gd name="connsiteY88" fmla="*/ 27048 h 37657"/>
                  <a:gd name="connsiteX89" fmla="*/ 240938 w 1645441"/>
                  <a:gd name="connsiteY89" fmla="*/ 36681 h 37657"/>
                  <a:gd name="connsiteX90" fmla="*/ 158921 w 1645441"/>
                  <a:gd name="connsiteY90" fmla="*/ 36681 h 37657"/>
                  <a:gd name="connsiteX91" fmla="*/ 164426 w 1645441"/>
                  <a:gd name="connsiteY91" fmla="*/ 25122 h 37657"/>
                  <a:gd name="connsiteX92" fmla="*/ 169379 w 1645441"/>
                  <a:gd name="connsiteY92" fmla="*/ 20718 h 37657"/>
                  <a:gd name="connsiteX93" fmla="*/ 194701 w 1645441"/>
                  <a:gd name="connsiteY93" fmla="*/ 7507 h 37657"/>
                  <a:gd name="connsiteX94" fmla="*/ 182866 w 1645441"/>
                  <a:gd name="connsiteY94" fmla="*/ 626 h 37657"/>
                  <a:gd name="connsiteX95" fmla="*/ 198554 w 1645441"/>
                  <a:gd name="connsiteY95" fmla="*/ 6957 h 37657"/>
                  <a:gd name="connsiteX96" fmla="*/ 234883 w 1645441"/>
                  <a:gd name="connsiteY96" fmla="*/ 5580 h 37657"/>
                  <a:gd name="connsiteX97" fmla="*/ 245342 w 1645441"/>
                  <a:gd name="connsiteY97" fmla="*/ 626 h 37657"/>
                  <a:gd name="connsiteX98" fmla="*/ 440203 w 1645441"/>
                  <a:gd name="connsiteY98" fmla="*/ 351 h 37657"/>
                  <a:gd name="connsiteX99" fmla="*/ 1634867 w 1645441"/>
                  <a:gd name="connsiteY99" fmla="*/ 207 h 37657"/>
                  <a:gd name="connsiteX100" fmla="*/ 1640226 w 1645441"/>
                  <a:gd name="connsiteY100" fmla="*/ 1291 h 37657"/>
                  <a:gd name="connsiteX101" fmla="*/ 1637748 w 1645441"/>
                  <a:gd name="connsiteY101" fmla="*/ 9548 h 37657"/>
                  <a:gd name="connsiteX102" fmla="*/ 1612428 w 1645441"/>
                  <a:gd name="connsiteY102" fmla="*/ 34594 h 37657"/>
                  <a:gd name="connsiteX103" fmla="*/ 1613804 w 1645441"/>
                  <a:gd name="connsiteY103" fmla="*/ 22483 h 37657"/>
                  <a:gd name="connsiteX104" fmla="*/ 1602795 w 1645441"/>
                  <a:gd name="connsiteY104" fmla="*/ 17254 h 37657"/>
                  <a:gd name="connsiteX105" fmla="*/ 1604996 w 1645441"/>
                  <a:gd name="connsiteY105" fmla="*/ 28814 h 37657"/>
                  <a:gd name="connsiteX106" fmla="*/ 1585180 w 1645441"/>
                  <a:gd name="connsiteY106" fmla="*/ 25236 h 37657"/>
                  <a:gd name="connsiteX107" fmla="*/ 1587657 w 1645441"/>
                  <a:gd name="connsiteY107" fmla="*/ 36245 h 37657"/>
                  <a:gd name="connsiteX108" fmla="*/ 1506190 w 1645441"/>
                  <a:gd name="connsiteY108" fmla="*/ 36245 h 37657"/>
                  <a:gd name="connsiteX109" fmla="*/ 1481695 w 1645441"/>
                  <a:gd name="connsiteY109" fmla="*/ 12025 h 37657"/>
                  <a:gd name="connsiteX110" fmla="*/ 1465731 w 1645441"/>
                  <a:gd name="connsiteY110" fmla="*/ 22759 h 37657"/>
                  <a:gd name="connsiteX111" fmla="*/ 1467658 w 1645441"/>
                  <a:gd name="connsiteY111" fmla="*/ 33218 h 37657"/>
                  <a:gd name="connsiteX112" fmla="*/ 1467933 w 1645441"/>
                  <a:gd name="connsiteY112" fmla="*/ 34869 h 37657"/>
                  <a:gd name="connsiteX113" fmla="*/ 1439310 w 1645441"/>
                  <a:gd name="connsiteY113" fmla="*/ 36520 h 37657"/>
                  <a:gd name="connsiteX114" fmla="*/ 1363897 w 1645441"/>
                  <a:gd name="connsiteY114" fmla="*/ 36795 h 37657"/>
                  <a:gd name="connsiteX115" fmla="*/ 1349310 w 1645441"/>
                  <a:gd name="connsiteY115" fmla="*/ 26061 h 37657"/>
                  <a:gd name="connsiteX116" fmla="*/ 1346007 w 1645441"/>
                  <a:gd name="connsiteY116" fmla="*/ 19456 h 37657"/>
                  <a:gd name="connsiteX117" fmla="*/ 1354264 w 1645441"/>
                  <a:gd name="connsiteY117" fmla="*/ 11474 h 37657"/>
                  <a:gd name="connsiteX118" fmla="*/ 1341879 w 1645441"/>
                  <a:gd name="connsiteY118" fmla="*/ 3768 h 37657"/>
                  <a:gd name="connsiteX119" fmla="*/ 1335824 w 1645441"/>
                  <a:gd name="connsiteY119" fmla="*/ 14502 h 37657"/>
                  <a:gd name="connsiteX120" fmla="*/ 1326741 w 1645441"/>
                  <a:gd name="connsiteY120" fmla="*/ 19181 h 37657"/>
                  <a:gd name="connsiteX121" fmla="*/ 1307200 w 1645441"/>
                  <a:gd name="connsiteY121" fmla="*/ 16704 h 37657"/>
                  <a:gd name="connsiteX122" fmla="*/ 1291237 w 1645441"/>
                  <a:gd name="connsiteY122" fmla="*/ 465 h 37657"/>
                  <a:gd name="connsiteX123" fmla="*/ 1373255 w 1645441"/>
                  <a:gd name="connsiteY123" fmla="*/ 465 h 37657"/>
                  <a:gd name="connsiteX124" fmla="*/ 1406007 w 1645441"/>
                  <a:gd name="connsiteY124" fmla="*/ 465 h 37657"/>
                  <a:gd name="connsiteX125" fmla="*/ 1414539 w 1645441"/>
                  <a:gd name="connsiteY125" fmla="*/ 328 h 37657"/>
                  <a:gd name="connsiteX126" fmla="*/ 1420594 w 1645441"/>
                  <a:gd name="connsiteY126" fmla="*/ 7621 h 37657"/>
                  <a:gd name="connsiteX127" fmla="*/ 1438209 w 1645441"/>
                  <a:gd name="connsiteY127" fmla="*/ 12025 h 37657"/>
                  <a:gd name="connsiteX128" fmla="*/ 1449768 w 1645441"/>
                  <a:gd name="connsiteY128" fmla="*/ 13126 h 37657"/>
                  <a:gd name="connsiteX129" fmla="*/ 1446190 w 1645441"/>
                  <a:gd name="connsiteY129" fmla="*/ 465 h 37657"/>
                  <a:gd name="connsiteX130" fmla="*/ 1473988 w 1645441"/>
                  <a:gd name="connsiteY130" fmla="*/ 465 h 37657"/>
                  <a:gd name="connsiteX131" fmla="*/ 1588483 w 1645441"/>
                  <a:gd name="connsiteY131" fmla="*/ 465 h 37657"/>
                  <a:gd name="connsiteX132" fmla="*/ 1595914 w 1645441"/>
                  <a:gd name="connsiteY132" fmla="*/ 741 h 37657"/>
                  <a:gd name="connsiteX133" fmla="*/ 1599767 w 1645441"/>
                  <a:gd name="connsiteY133" fmla="*/ 5694 h 37657"/>
                  <a:gd name="connsiteX134" fmla="*/ 1594813 w 1645441"/>
                  <a:gd name="connsiteY134" fmla="*/ 6795 h 37657"/>
                  <a:gd name="connsiteX135" fmla="*/ 1587932 w 1645441"/>
                  <a:gd name="connsiteY135" fmla="*/ 4869 h 37657"/>
                  <a:gd name="connsiteX136" fmla="*/ 1582703 w 1645441"/>
                  <a:gd name="connsiteY136" fmla="*/ 9548 h 37657"/>
                  <a:gd name="connsiteX137" fmla="*/ 1588208 w 1645441"/>
                  <a:gd name="connsiteY137" fmla="*/ 13126 h 37657"/>
                  <a:gd name="connsiteX138" fmla="*/ 1609400 w 1645441"/>
                  <a:gd name="connsiteY138" fmla="*/ 3768 h 37657"/>
                  <a:gd name="connsiteX139" fmla="*/ 1634867 w 1645441"/>
                  <a:gd name="connsiteY139" fmla="*/ 207 h 37657"/>
                  <a:gd name="connsiteX140" fmla="*/ 814109 w 1645441"/>
                  <a:gd name="connsiteY140" fmla="*/ 93 h 37657"/>
                  <a:gd name="connsiteX141" fmla="*/ 819468 w 1645441"/>
                  <a:gd name="connsiteY141" fmla="*/ 1177 h 37657"/>
                  <a:gd name="connsiteX142" fmla="*/ 816990 w 1645441"/>
                  <a:gd name="connsiteY142" fmla="*/ 9434 h 37657"/>
                  <a:gd name="connsiteX143" fmla="*/ 791670 w 1645441"/>
                  <a:gd name="connsiteY143" fmla="*/ 34480 h 37657"/>
                  <a:gd name="connsiteX144" fmla="*/ 793046 w 1645441"/>
                  <a:gd name="connsiteY144" fmla="*/ 22369 h 37657"/>
                  <a:gd name="connsiteX145" fmla="*/ 782037 w 1645441"/>
                  <a:gd name="connsiteY145" fmla="*/ 17140 h 37657"/>
                  <a:gd name="connsiteX146" fmla="*/ 784238 w 1645441"/>
                  <a:gd name="connsiteY146" fmla="*/ 28700 h 37657"/>
                  <a:gd name="connsiteX147" fmla="*/ 764422 w 1645441"/>
                  <a:gd name="connsiteY147" fmla="*/ 25122 h 37657"/>
                  <a:gd name="connsiteX148" fmla="*/ 766899 w 1645441"/>
                  <a:gd name="connsiteY148" fmla="*/ 36131 h 37657"/>
                  <a:gd name="connsiteX149" fmla="*/ 685432 w 1645441"/>
                  <a:gd name="connsiteY149" fmla="*/ 36131 h 37657"/>
                  <a:gd name="connsiteX150" fmla="*/ 660937 w 1645441"/>
                  <a:gd name="connsiteY150" fmla="*/ 11911 h 37657"/>
                  <a:gd name="connsiteX151" fmla="*/ 644973 w 1645441"/>
                  <a:gd name="connsiteY151" fmla="*/ 22645 h 37657"/>
                  <a:gd name="connsiteX152" fmla="*/ 646900 w 1645441"/>
                  <a:gd name="connsiteY152" fmla="*/ 33104 h 37657"/>
                  <a:gd name="connsiteX153" fmla="*/ 647175 w 1645441"/>
                  <a:gd name="connsiteY153" fmla="*/ 34755 h 37657"/>
                  <a:gd name="connsiteX154" fmla="*/ 618552 w 1645441"/>
                  <a:gd name="connsiteY154" fmla="*/ 36406 h 37657"/>
                  <a:gd name="connsiteX155" fmla="*/ 543139 w 1645441"/>
                  <a:gd name="connsiteY155" fmla="*/ 36681 h 37657"/>
                  <a:gd name="connsiteX156" fmla="*/ 528552 w 1645441"/>
                  <a:gd name="connsiteY156" fmla="*/ 25947 h 37657"/>
                  <a:gd name="connsiteX157" fmla="*/ 525249 w 1645441"/>
                  <a:gd name="connsiteY157" fmla="*/ 19342 h 37657"/>
                  <a:gd name="connsiteX158" fmla="*/ 533506 w 1645441"/>
                  <a:gd name="connsiteY158" fmla="*/ 11360 h 37657"/>
                  <a:gd name="connsiteX159" fmla="*/ 521121 w 1645441"/>
                  <a:gd name="connsiteY159" fmla="*/ 3654 h 37657"/>
                  <a:gd name="connsiteX160" fmla="*/ 515066 w 1645441"/>
                  <a:gd name="connsiteY160" fmla="*/ 14388 h 37657"/>
                  <a:gd name="connsiteX161" fmla="*/ 505983 w 1645441"/>
                  <a:gd name="connsiteY161" fmla="*/ 19067 h 37657"/>
                  <a:gd name="connsiteX162" fmla="*/ 486442 w 1645441"/>
                  <a:gd name="connsiteY162" fmla="*/ 16590 h 37657"/>
                  <a:gd name="connsiteX163" fmla="*/ 470479 w 1645441"/>
                  <a:gd name="connsiteY163" fmla="*/ 351 h 37657"/>
                  <a:gd name="connsiteX164" fmla="*/ 552497 w 1645441"/>
                  <a:gd name="connsiteY164" fmla="*/ 351 h 37657"/>
                  <a:gd name="connsiteX165" fmla="*/ 585249 w 1645441"/>
                  <a:gd name="connsiteY165" fmla="*/ 351 h 37657"/>
                  <a:gd name="connsiteX166" fmla="*/ 593781 w 1645441"/>
                  <a:gd name="connsiteY166" fmla="*/ 214 h 37657"/>
                  <a:gd name="connsiteX167" fmla="*/ 599836 w 1645441"/>
                  <a:gd name="connsiteY167" fmla="*/ 7507 h 37657"/>
                  <a:gd name="connsiteX168" fmla="*/ 617451 w 1645441"/>
                  <a:gd name="connsiteY168" fmla="*/ 11911 h 37657"/>
                  <a:gd name="connsiteX169" fmla="*/ 629010 w 1645441"/>
                  <a:gd name="connsiteY169" fmla="*/ 13012 h 37657"/>
                  <a:gd name="connsiteX170" fmla="*/ 625432 w 1645441"/>
                  <a:gd name="connsiteY170" fmla="*/ 351 h 37657"/>
                  <a:gd name="connsiteX171" fmla="*/ 653230 w 1645441"/>
                  <a:gd name="connsiteY171" fmla="*/ 351 h 37657"/>
                  <a:gd name="connsiteX172" fmla="*/ 767725 w 1645441"/>
                  <a:gd name="connsiteY172" fmla="*/ 351 h 37657"/>
                  <a:gd name="connsiteX173" fmla="*/ 775156 w 1645441"/>
                  <a:gd name="connsiteY173" fmla="*/ 627 h 37657"/>
                  <a:gd name="connsiteX174" fmla="*/ 779009 w 1645441"/>
                  <a:gd name="connsiteY174" fmla="*/ 5580 h 37657"/>
                  <a:gd name="connsiteX175" fmla="*/ 774055 w 1645441"/>
                  <a:gd name="connsiteY175" fmla="*/ 6681 h 37657"/>
                  <a:gd name="connsiteX176" fmla="*/ 767174 w 1645441"/>
                  <a:gd name="connsiteY176" fmla="*/ 4755 h 37657"/>
                  <a:gd name="connsiteX177" fmla="*/ 761945 w 1645441"/>
                  <a:gd name="connsiteY177" fmla="*/ 9434 h 37657"/>
                  <a:gd name="connsiteX178" fmla="*/ 767450 w 1645441"/>
                  <a:gd name="connsiteY178" fmla="*/ 13012 h 37657"/>
                  <a:gd name="connsiteX179" fmla="*/ 788642 w 1645441"/>
                  <a:gd name="connsiteY179" fmla="*/ 3654 h 37657"/>
                  <a:gd name="connsiteX180" fmla="*/ 814109 w 1645441"/>
                  <a:gd name="connsiteY180" fmla="*/ 93 h 3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</a:cxnLst>
                <a:rect l="l" t="t" r="r" b="b"/>
                <a:pathLst>
                  <a:path w="1645441" h="37657">
                    <a:moveTo>
                      <a:pt x="1323163" y="28780"/>
                    </a:moveTo>
                    <a:cubicBezTo>
                      <a:pt x="1326466" y="28539"/>
                      <a:pt x="1329769" y="30878"/>
                      <a:pt x="1333347" y="36796"/>
                    </a:cubicBezTo>
                    <a:cubicBezTo>
                      <a:pt x="1325916" y="37621"/>
                      <a:pt x="1319861" y="38447"/>
                      <a:pt x="1312980" y="36245"/>
                    </a:cubicBezTo>
                    <a:cubicBezTo>
                      <a:pt x="1316558" y="31842"/>
                      <a:pt x="1319861" y="29021"/>
                      <a:pt x="1323163" y="28780"/>
                    </a:cubicBezTo>
                    <a:close/>
                    <a:moveTo>
                      <a:pt x="502405" y="28666"/>
                    </a:moveTo>
                    <a:cubicBezTo>
                      <a:pt x="505708" y="28425"/>
                      <a:pt x="509011" y="30764"/>
                      <a:pt x="512589" y="36682"/>
                    </a:cubicBezTo>
                    <a:cubicBezTo>
                      <a:pt x="505158" y="37507"/>
                      <a:pt x="499103" y="38333"/>
                      <a:pt x="492222" y="36131"/>
                    </a:cubicBezTo>
                    <a:cubicBezTo>
                      <a:pt x="495800" y="31728"/>
                      <a:pt x="499103" y="28907"/>
                      <a:pt x="502405" y="28666"/>
                    </a:cubicBezTo>
                    <a:close/>
                    <a:moveTo>
                      <a:pt x="1645441" y="21503"/>
                    </a:moveTo>
                    <a:lnTo>
                      <a:pt x="1645441" y="33701"/>
                    </a:lnTo>
                    <a:lnTo>
                      <a:pt x="1640157" y="32461"/>
                    </a:lnTo>
                    <a:cubicBezTo>
                      <a:pt x="1638299" y="32048"/>
                      <a:pt x="1637336" y="31016"/>
                      <a:pt x="1639950" y="27438"/>
                    </a:cubicBezTo>
                    <a:close/>
                    <a:moveTo>
                      <a:pt x="833779" y="19618"/>
                    </a:moveTo>
                    <a:cubicBezTo>
                      <a:pt x="838182" y="21269"/>
                      <a:pt x="843962" y="24022"/>
                      <a:pt x="843962" y="30627"/>
                    </a:cubicBezTo>
                    <a:cubicBezTo>
                      <a:pt x="838182" y="34755"/>
                      <a:pt x="832953" y="42187"/>
                      <a:pt x="824972" y="33655"/>
                    </a:cubicBezTo>
                    <a:cubicBezTo>
                      <a:pt x="823045" y="31453"/>
                      <a:pt x="813963" y="34480"/>
                      <a:pt x="819192" y="27324"/>
                    </a:cubicBezTo>
                    <a:cubicBezTo>
                      <a:pt x="822219" y="23196"/>
                      <a:pt x="827173" y="16866"/>
                      <a:pt x="833779" y="19618"/>
                    </a:cubicBezTo>
                    <a:close/>
                    <a:moveTo>
                      <a:pt x="1645441" y="5017"/>
                    </a:moveTo>
                    <a:lnTo>
                      <a:pt x="1645441" y="6122"/>
                    </a:lnTo>
                    <a:lnTo>
                      <a:pt x="1644904" y="5420"/>
                    </a:lnTo>
                    <a:close/>
                    <a:moveTo>
                      <a:pt x="18831" y="627"/>
                    </a:moveTo>
                    <a:cubicBezTo>
                      <a:pt x="38647" y="627"/>
                      <a:pt x="58188" y="627"/>
                      <a:pt x="78005" y="627"/>
                    </a:cubicBezTo>
                    <a:cubicBezTo>
                      <a:pt x="100298" y="627"/>
                      <a:pt x="122316" y="627"/>
                      <a:pt x="144609" y="627"/>
                    </a:cubicBezTo>
                    <a:cubicBezTo>
                      <a:pt x="149013" y="627"/>
                      <a:pt x="153417" y="-475"/>
                      <a:pt x="155894" y="5580"/>
                    </a:cubicBezTo>
                    <a:cubicBezTo>
                      <a:pt x="157820" y="11085"/>
                      <a:pt x="157270" y="14663"/>
                      <a:pt x="154518" y="19617"/>
                    </a:cubicBezTo>
                    <a:cubicBezTo>
                      <a:pt x="151765" y="24296"/>
                      <a:pt x="142132" y="26222"/>
                      <a:pt x="147362" y="34754"/>
                    </a:cubicBezTo>
                    <a:cubicBezTo>
                      <a:pt x="147912" y="35580"/>
                      <a:pt x="145435" y="36956"/>
                      <a:pt x="143509" y="36681"/>
                    </a:cubicBezTo>
                    <a:cubicBezTo>
                      <a:pt x="130848" y="35305"/>
                      <a:pt x="117637" y="39708"/>
                      <a:pt x="105252" y="33653"/>
                    </a:cubicBezTo>
                    <a:cubicBezTo>
                      <a:pt x="103601" y="32828"/>
                      <a:pt x="101124" y="32552"/>
                      <a:pt x="99197" y="33103"/>
                    </a:cubicBezTo>
                    <a:cubicBezTo>
                      <a:pt x="71950" y="40809"/>
                      <a:pt x="44427" y="35030"/>
                      <a:pt x="16904" y="36406"/>
                    </a:cubicBezTo>
                    <a:cubicBezTo>
                      <a:pt x="5895" y="36956"/>
                      <a:pt x="-985" y="33103"/>
                      <a:pt x="115" y="19066"/>
                    </a:cubicBezTo>
                    <a:cubicBezTo>
                      <a:pt x="1767" y="627"/>
                      <a:pt x="666" y="627"/>
                      <a:pt x="18831" y="627"/>
                    </a:cubicBezTo>
                    <a:close/>
                    <a:moveTo>
                      <a:pt x="168624" y="524"/>
                    </a:moveTo>
                    <a:cubicBezTo>
                      <a:pt x="171032" y="1178"/>
                      <a:pt x="173372" y="2829"/>
                      <a:pt x="175711" y="4480"/>
                    </a:cubicBezTo>
                    <a:cubicBezTo>
                      <a:pt x="177637" y="5857"/>
                      <a:pt x="180940" y="3655"/>
                      <a:pt x="182591" y="8609"/>
                    </a:cubicBezTo>
                    <a:cubicBezTo>
                      <a:pt x="180665" y="9710"/>
                      <a:pt x="179013" y="10811"/>
                      <a:pt x="177087" y="11361"/>
                    </a:cubicBezTo>
                    <a:cubicBezTo>
                      <a:pt x="171307" y="13288"/>
                      <a:pt x="165803" y="12462"/>
                      <a:pt x="161123" y="8334"/>
                    </a:cubicBezTo>
                    <a:cubicBezTo>
                      <a:pt x="159472" y="6682"/>
                      <a:pt x="159472" y="3930"/>
                      <a:pt x="161123" y="2554"/>
                    </a:cubicBezTo>
                    <a:cubicBezTo>
                      <a:pt x="163738" y="214"/>
                      <a:pt x="166215" y="-130"/>
                      <a:pt x="168624" y="524"/>
                    </a:cubicBezTo>
                    <a:close/>
                    <a:moveTo>
                      <a:pt x="1260961" y="465"/>
                    </a:moveTo>
                    <a:cubicBezTo>
                      <a:pt x="1268392" y="465"/>
                      <a:pt x="1267842" y="6245"/>
                      <a:pt x="1271420" y="8447"/>
                    </a:cubicBezTo>
                    <a:cubicBezTo>
                      <a:pt x="1280502" y="13951"/>
                      <a:pt x="1272521" y="23860"/>
                      <a:pt x="1278575" y="31566"/>
                    </a:cubicBezTo>
                    <a:cubicBezTo>
                      <a:pt x="1282429" y="35970"/>
                      <a:pt x="1273071" y="37071"/>
                      <a:pt x="1268392" y="37071"/>
                    </a:cubicBezTo>
                    <a:cubicBezTo>
                      <a:pt x="1229861" y="37071"/>
                      <a:pt x="1191329" y="37071"/>
                      <a:pt x="1152797" y="37071"/>
                    </a:cubicBezTo>
                    <a:cubicBezTo>
                      <a:pt x="1140962" y="37071"/>
                      <a:pt x="1129127" y="36520"/>
                      <a:pt x="1117568" y="37071"/>
                    </a:cubicBezTo>
                    <a:cubicBezTo>
                      <a:pt x="1109174" y="37484"/>
                      <a:pt x="1101054" y="37071"/>
                      <a:pt x="1093176" y="35557"/>
                    </a:cubicBezTo>
                    <a:lnTo>
                      <a:pt x="1092403" y="35283"/>
                    </a:lnTo>
                    <a:lnTo>
                      <a:pt x="1092403" y="36682"/>
                    </a:lnTo>
                    <a:lnTo>
                      <a:pt x="1061686" y="36682"/>
                    </a:lnTo>
                    <a:lnTo>
                      <a:pt x="1061696" y="36795"/>
                    </a:lnTo>
                    <a:lnTo>
                      <a:pt x="1010880" y="36795"/>
                    </a:lnTo>
                    <a:lnTo>
                      <a:pt x="1010880" y="36682"/>
                    </a:lnTo>
                    <a:lnTo>
                      <a:pt x="973870" y="36682"/>
                    </a:lnTo>
                    <a:cubicBezTo>
                      <a:pt x="963136" y="36682"/>
                      <a:pt x="965063" y="27599"/>
                      <a:pt x="964787" y="22920"/>
                    </a:cubicBezTo>
                    <a:cubicBezTo>
                      <a:pt x="964787" y="15214"/>
                      <a:pt x="960659" y="14663"/>
                      <a:pt x="955705" y="15214"/>
                    </a:cubicBezTo>
                    <a:cubicBezTo>
                      <a:pt x="947998" y="16040"/>
                      <a:pt x="953503" y="20168"/>
                      <a:pt x="954054" y="23196"/>
                    </a:cubicBezTo>
                    <a:cubicBezTo>
                      <a:pt x="955154" y="28700"/>
                      <a:pt x="951852" y="27599"/>
                      <a:pt x="948273" y="27324"/>
                    </a:cubicBezTo>
                    <a:cubicBezTo>
                      <a:pt x="938365" y="26774"/>
                      <a:pt x="935338" y="16865"/>
                      <a:pt x="928732" y="12187"/>
                    </a:cubicBezTo>
                    <a:cubicBezTo>
                      <a:pt x="920751" y="6682"/>
                      <a:pt x="914971" y="7232"/>
                      <a:pt x="907540" y="9985"/>
                    </a:cubicBezTo>
                    <a:cubicBezTo>
                      <a:pt x="905063" y="6682"/>
                      <a:pt x="901485" y="6407"/>
                      <a:pt x="897907" y="5306"/>
                    </a:cubicBezTo>
                    <a:cubicBezTo>
                      <a:pt x="899008" y="10260"/>
                      <a:pt x="891852" y="14113"/>
                      <a:pt x="894880" y="18517"/>
                    </a:cubicBezTo>
                    <a:cubicBezTo>
                      <a:pt x="899008" y="24297"/>
                      <a:pt x="890201" y="28425"/>
                      <a:pt x="894329" y="34205"/>
                    </a:cubicBezTo>
                    <a:cubicBezTo>
                      <a:pt x="895705" y="35856"/>
                      <a:pt x="891852" y="36682"/>
                      <a:pt x="889925" y="36682"/>
                    </a:cubicBezTo>
                    <a:cubicBezTo>
                      <a:pt x="876439" y="36682"/>
                      <a:pt x="862678" y="36407"/>
                      <a:pt x="848916" y="36682"/>
                    </a:cubicBezTo>
                    <a:cubicBezTo>
                      <a:pt x="843963" y="36957"/>
                      <a:pt x="843687" y="34205"/>
                      <a:pt x="844238" y="30627"/>
                    </a:cubicBezTo>
                    <a:cubicBezTo>
                      <a:pt x="847541" y="28150"/>
                      <a:pt x="852219" y="36131"/>
                      <a:pt x="854421" y="30352"/>
                    </a:cubicBezTo>
                    <a:cubicBezTo>
                      <a:pt x="856072" y="26223"/>
                      <a:pt x="853045" y="22370"/>
                      <a:pt x="849192" y="19893"/>
                    </a:cubicBezTo>
                    <a:cubicBezTo>
                      <a:pt x="842311" y="15489"/>
                      <a:pt x="850017" y="6407"/>
                      <a:pt x="842311" y="1453"/>
                    </a:cubicBezTo>
                    <a:lnTo>
                      <a:pt x="1010880" y="1453"/>
                    </a:lnTo>
                    <a:lnTo>
                      <a:pt x="1010880" y="973"/>
                    </a:lnTo>
                    <a:lnTo>
                      <a:pt x="1012190" y="1016"/>
                    </a:lnTo>
                    <a:lnTo>
                      <a:pt x="1012704" y="1453"/>
                    </a:lnTo>
                    <a:lnTo>
                      <a:pt x="1060146" y="1453"/>
                    </a:lnTo>
                    <a:lnTo>
                      <a:pt x="1060355" y="1256"/>
                    </a:lnTo>
                    <a:cubicBezTo>
                      <a:pt x="1062109" y="671"/>
                      <a:pt x="1064036" y="740"/>
                      <a:pt x="1066100" y="740"/>
                    </a:cubicBezTo>
                    <a:cubicBezTo>
                      <a:pt x="1131054" y="740"/>
                      <a:pt x="1196008" y="1015"/>
                      <a:pt x="1260961" y="465"/>
                    </a:cubicBezTo>
                    <a:close/>
                    <a:moveTo>
                      <a:pt x="830751" y="352"/>
                    </a:moveTo>
                    <a:cubicBezTo>
                      <a:pt x="832953" y="352"/>
                      <a:pt x="835706" y="1453"/>
                      <a:pt x="834330" y="3654"/>
                    </a:cubicBezTo>
                    <a:cubicBezTo>
                      <a:pt x="832953" y="6406"/>
                      <a:pt x="829926" y="8058"/>
                      <a:pt x="827724" y="9984"/>
                    </a:cubicBezTo>
                    <a:cubicBezTo>
                      <a:pt x="824421" y="9159"/>
                      <a:pt x="823871" y="7783"/>
                      <a:pt x="824146" y="5306"/>
                    </a:cubicBezTo>
                    <a:cubicBezTo>
                      <a:pt x="824696" y="1177"/>
                      <a:pt x="827449" y="77"/>
                      <a:pt x="830751" y="352"/>
                    </a:cubicBezTo>
                    <a:close/>
                    <a:moveTo>
                      <a:pt x="440203" y="351"/>
                    </a:moveTo>
                    <a:cubicBezTo>
                      <a:pt x="447634" y="351"/>
                      <a:pt x="447084" y="6131"/>
                      <a:pt x="450662" y="8333"/>
                    </a:cubicBezTo>
                    <a:cubicBezTo>
                      <a:pt x="459744" y="13837"/>
                      <a:pt x="451763" y="23746"/>
                      <a:pt x="457817" y="31452"/>
                    </a:cubicBezTo>
                    <a:cubicBezTo>
                      <a:pt x="461671" y="35856"/>
                      <a:pt x="452313" y="36957"/>
                      <a:pt x="447634" y="36957"/>
                    </a:cubicBezTo>
                    <a:cubicBezTo>
                      <a:pt x="409103" y="36957"/>
                      <a:pt x="370571" y="36957"/>
                      <a:pt x="332039" y="36957"/>
                    </a:cubicBezTo>
                    <a:cubicBezTo>
                      <a:pt x="320204" y="36957"/>
                      <a:pt x="308369" y="36406"/>
                      <a:pt x="296810" y="36957"/>
                    </a:cubicBezTo>
                    <a:cubicBezTo>
                      <a:pt x="280021" y="37782"/>
                      <a:pt x="264333" y="35305"/>
                      <a:pt x="249471" y="27324"/>
                    </a:cubicBezTo>
                    <a:cubicBezTo>
                      <a:pt x="246719" y="25947"/>
                      <a:pt x="243140" y="24847"/>
                      <a:pt x="240113" y="27048"/>
                    </a:cubicBezTo>
                    <a:cubicBezTo>
                      <a:pt x="234883" y="30626"/>
                      <a:pt x="242865" y="33103"/>
                      <a:pt x="240938" y="36681"/>
                    </a:cubicBezTo>
                    <a:cubicBezTo>
                      <a:pt x="213691" y="36681"/>
                      <a:pt x="186444" y="36681"/>
                      <a:pt x="158921" y="36681"/>
                    </a:cubicBezTo>
                    <a:cubicBezTo>
                      <a:pt x="160848" y="32828"/>
                      <a:pt x="162774" y="28975"/>
                      <a:pt x="164426" y="25122"/>
                    </a:cubicBezTo>
                    <a:cubicBezTo>
                      <a:pt x="165526" y="22645"/>
                      <a:pt x="166627" y="19342"/>
                      <a:pt x="169379" y="20718"/>
                    </a:cubicBezTo>
                    <a:cubicBezTo>
                      <a:pt x="183967" y="28149"/>
                      <a:pt x="189196" y="18241"/>
                      <a:pt x="194701" y="7507"/>
                    </a:cubicBezTo>
                    <a:cubicBezTo>
                      <a:pt x="192223" y="3379"/>
                      <a:pt x="185343" y="7782"/>
                      <a:pt x="182866" y="626"/>
                    </a:cubicBezTo>
                    <a:cubicBezTo>
                      <a:pt x="189196" y="1452"/>
                      <a:pt x="194150" y="-1576"/>
                      <a:pt x="198554" y="6957"/>
                    </a:cubicBezTo>
                    <a:cubicBezTo>
                      <a:pt x="204058" y="17690"/>
                      <a:pt x="229654" y="16039"/>
                      <a:pt x="234883" y="5580"/>
                    </a:cubicBezTo>
                    <a:cubicBezTo>
                      <a:pt x="237636" y="351"/>
                      <a:pt x="241214" y="626"/>
                      <a:pt x="245342" y="626"/>
                    </a:cubicBezTo>
                    <a:cubicBezTo>
                      <a:pt x="310296" y="626"/>
                      <a:pt x="375250" y="901"/>
                      <a:pt x="440203" y="351"/>
                    </a:cubicBezTo>
                    <a:close/>
                    <a:moveTo>
                      <a:pt x="1634867" y="207"/>
                    </a:moveTo>
                    <a:cubicBezTo>
                      <a:pt x="1637749" y="328"/>
                      <a:pt x="1639813" y="672"/>
                      <a:pt x="1640226" y="1291"/>
                    </a:cubicBezTo>
                    <a:cubicBezTo>
                      <a:pt x="1642703" y="4593"/>
                      <a:pt x="1641051" y="8447"/>
                      <a:pt x="1637748" y="9548"/>
                    </a:cubicBezTo>
                    <a:cubicBezTo>
                      <a:pt x="1627015" y="15603"/>
                      <a:pt x="1619309" y="24135"/>
                      <a:pt x="1612428" y="34594"/>
                    </a:cubicBezTo>
                    <a:cubicBezTo>
                      <a:pt x="1612978" y="30465"/>
                      <a:pt x="1615455" y="25236"/>
                      <a:pt x="1613804" y="22483"/>
                    </a:cubicBezTo>
                    <a:cubicBezTo>
                      <a:pt x="1612152" y="19456"/>
                      <a:pt x="1606373" y="18906"/>
                      <a:pt x="1602795" y="17254"/>
                    </a:cubicBezTo>
                    <a:cubicBezTo>
                      <a:pt x="1598666" y="23034"/>
                      <a:pt x="1610776" y="24685"/>
                      <a:pt x="1604996" y="28814"/>
                    </a:cubicBezTo>
                    <a:cubicBezTo>
                      <a:pt x="1598666" y="33493"/>
                      <a:pt x="1592336" y="28263"/>
                      <a:pt x="1585180" y="25236"/>
                    </a:cubicBezTo>
                    <a:cubicBezTo>
                      <a:pt x="1586006" y="29089"/>
                      <a:pt x="1586831" y="32392"/>
                      <a:pt x="1587657" y="36245"/>
                    </a:cubicBezTo>
                    <a:cubicBezTo>
                      <a:pt x="1560134" y="36245"/>
                      <a:pt x="1533162" y="36245"/>
                      <a:pt x="1506190" y="36245"/>
                    </a:cubicBezTo>
                    <a:cubicBezTo>
                      <a:pt x="1506190" y="25511"/>
                      <a:pt x="1493254" y="12025"/>
                      <a:pt x="1481695" y="12025"/>
                    </a:cubicBezTo>
                    <a:cubicBezTo>
                      <a:pt x="1474538" y="12025"/>
                      <a:pt x="1470410" y="18630"/>
                      <a:pt x="1465731" y="22759"/>
                    </a:cubicBezTo>
                    <a:cubicBezTo>
                      <a:pt x="1461052" y="26887"/>
                      <a:pt x="1466007" y="29915"/>
                      <a:pt x="1467658" y="33218"/>
                    </a:cubicBezTo>
                    <a:cubicBezTo>
                      <a:pt x="1467383" y="33768"/>
                      <a:pt x="1467383" y="34318"/>
                      <a:pt x="1467933" y="34869"/>
                    </a:cubicBezTo>
                    <a:cubicBezTo>
                      <a:pt x="1458576" y="38447"/>
                      <a:pt x="1448942" y="36520"/>
                      <a:pt x="1439310" y="36520"/>
                    </a:cubicBezTo>
                    <a:cubicBezTo>
                      <a:pt x="1414264" y="36795"/>
                      <a:pt x="1388943" y="36520"/>
                      <a:pt x="1363897" y="36795"/>
                    </a:cubicBezTo>
                    <a:cubicBezTo>
                      <a:pt x="1355640" y="36795"/>
                      <a:pt x="1348759" y="37346"/>
                      <a:pt x="1349310" y="26061"/>
                    </a:cubicBezTo>
                    <a:cubicBezTo>
                      <a:pt x="1349310" y="23860"/>
                      <a:pt x="1347108" y="21658"/>
                      <a:pt x="1346007" y="19456"/>
                    </a:cubicBezTo>
                    <a:cubicBezTo>
                      <a:pt x="1349035" y="16153"/>
                      <a:pt x="1357842" y="16704"/>
                      <a:pt x="1354264" y="11474"/>
                    </a:cubicBezTo>
                    <a:cubicBezTo>
                      <a:pt x="1352613" y="8997"/>
                      <a:pt x="1348484" y="1291"/>
                      <a:pt x="1341879" y="3768"/>
                    </a:cubicBezTo>
                    <a:cubicBezTo>
                      <a:pt x="1337200" y="5694"/>
                      <a:pt x="1334173" y="8722"/>
                      <a:pt x="1335824" y="14502"/>
                    </a:cubicBezTo>
                    <a:cubicBezTo>
                      <a:pt x="1336925" y="18355"/>
                      <a:pt x="1331145" y="21382"/>
                      <a:pt x="1326741" y="19181"/>
                    </a:cubicBezTo>
                    <a:cubicBezTo>
                      <a:pt x="1320411" y="15878"/>
                      <a:pt x="1314906" y="14777"/>
                      <a:pt x="1307200" y="16704"/>
                    </a:cubicBezTo>
                    <a:cubicBezTo>
                      <a:pt x="1298118" y="18906"/>
                      <a:pt x="1298669" y="5144"/>
                      <a:pt x="1291237" y="465"/>
                    </a:cubicBezTo>
                    <a:cubicBezTo>
                      <a:pt x="1318485" y="465"/>
                      <a:pt x="1346007" y="465"/>
                      <a:pt x="1373255" y="465"/>
                    </a:cubicBezTo>
                    <a:cubicBezTo>
                      <a:pt x="1384264" y="465"/>
                      <a:pt x="1394998" y="190"/>
                      <a:pt x="1406007" y="465"/>
                    </a:cubicBezTo>
                    <a:cubicBezTo>
                      <a:pt x="1408897" y="465"/>
                      <a:pt x="1411925" y="-223"/>
                      <a:pt x="1414539" y="328"/>
                    </a:cubicBezTo>
                    <a:cubicBezTo>
                      <a:pt x="1417154" y="878"/>
                      <a:pt x="1419355" y="2667"/>
                      <a:pt x="1420594" y="7621"/>
                    </a:cubicBezTo>
                    <a:cubicBezTo>
                      <a:pt x="1421420" y="10649"/>
                      <a:pt x="1434355" y="14502"/>
                      <a:pt x="1438209" y="12025"/>
                    </a:cubicBezTo>
                    <a:cubicBezTo>
                      <a:pt x="1443988" y="8722"/>
                      <a:pt x="1445915" y="14502"/>
                      <a:pt x="1449768" y="13126"/>
                    </a:cubicBezTo>
                    <a:cubicBezTo>
                      <a:pt x="1452796" y="8171"/>
                      <a:pt x="1446190" y="6245"/>
                      <a:pt x="1446190" y="465"/>
                    </a:cubicBezTo>
                    <a:cubicBezTo>
                      <a:pt x="1455273" y="465"/>
                      <a:pt x="1464630" y="465"/>
                      <a:pt x="1473988" y="465"/>
                    </a:cubicBezTo>
                    <a:cubicBezTo>
                      <a:pt x="1512245" y="465"/>
                      <a:pt x="1550226" y="465"/>
                      <a:pt x="1588483" y="465"/>
                    </a:cubicBezTo>
                    <a:cubicBezTo>
                      <a:pt x="1590960" y="465"/>
                      <a:pt x="1593437" y="465"/>
                      <a:pt x="1595914" y="741"/>
                    </a:cubicBezTo>
                    <a:cubicBezTo>
                      <a:pt x="1599217" y="741"/>
                      <a:pt x="1600593" y="2942"/>
                      <a:pt x="1599767" y="5694"/>
                    </a:cubicBezTo>
                    <a:cubicBezTo>
                      <a:pt x="1598941" y="8447"/>
                      <a:pt x="1596739" y="7896"/>
                      <a:pt x="1594813" y="6795"/>
                    </a:cubicBezTo>
                    <a:cubicBezTo>
                      <a:pt x="1592886" y="5419"/>
                      <a:pt x="1590685" y="4043"/>
                      <a:pt x="1587932" y="4869"/>
                    </a:cubicBezTo>
                    <a:cubicBezTo>
                      <a:pt x="1585455" y="5694"/>
                      <a:pt x="1582703" y="6795"/>
                      <a:pt x="1582703" y="9548"/>
                    </a:cubicBezTo>
                    <a:cubicBezTo>
                      <a:pt x="1582703" y="12850"/>
                      <a:pt x="1585455" y="13676"/>
                      <a:pt x="1588208" y="13126"/>
                    </a:cubicBezTo>
                    <a:cubicBezTo>
                      <a:pt x="1595914" y="11750"/>
                      <a:pt x="1605272" y="13951"/>
                      <a:pt x="1609400" y="3768"/>
                    </a:cubicBezTo>
                    <a:cubicBezTo>
                      <a:pt x="1610226" y="1497"/>
                      <a:pt x="1626223" y="-154"/>
                      <a:pt x="1634867" y="207"/>
                    </a:cubicBezTo>
                    <a:close/>
                    <a:moveTo>
                      <a:pt x="814109" y="93"/>
                    </a:moveTo>
                    <a:cubicBezTo>
                      <a:pt x="816991" y="214"/>
                      <a:pt x="819055" y="558"/>
                      <a:pt x="819468" y="1177"/>
                    </a:cubicBezTo>
                    <a:cubicBezTo>
                      <a:pt x="821945" y="4479"/>
                      <a:pt x="820293" y="8333"/>
                      <a:pt x="816990" y="9434"/>
                    </a:cubicBezTo>
                    <a:cubicBezTo>
                      <a:pt x="806257" y="15489"/>
                      <a:pt x="798551" y="24021"/>
                      <a:pt x="791670" y="34480"/>
                    </a:cubicBezTo>
                    <a:cubicBezTo>
                      <a:pt x="792220" y="30351"/>
                      <a:pt x="794697" y="25122"/>
                      <a:pt x="793046" y="22369"/>
                    </a:cubicBezTo>
                    <a:cubicBezTo>
                      <a:pt x="791394" y="19342"/>
                      <a:pt x="785615" y="18792"/>
                      <a:pt x="782037" y="17140"/>
                    </a:cubicBezTo>
                    <a:cubicBezTo>
                      <a:pt x="777908" y="22920"/>
                      <a:pt x="790018" y="24571"/>
                      <a:pt x="784238" y="28700"/>
                    </a:cubicBezTo>
                    <a:cubicBezTo>
                      <a:pt x="777908" y="33379"/>
                      <a:pt x="771578" y="28149"/>
                      <a:pt x="764422" y="25122"/>
                    </a:cubicBezTo>
                    <a:cubicBezTo>
                      <a:pt x="765248" y="28975"/>
                      <a:pt x="766073" y="32278"/>
                      <a:pt x="766899" y="36131"/>
                    </a:cubicBezTo>
                    <a:cubicBezTo>
                      <a:pt x="739376" y="36131"/>
                      <a:pt x="712404" y="36131"/>
                      <a:pt x="685432" y="36131"/>
                    </a:cubicBezTo>
                    <a:cubicBezTo>
                      <a:pt x="685432" y="25397"/>
                      <a:pt x="672496" y="11911"/>
                      <a:pt x="660937" y="11911"/>
                    </a:cubicBezTo>
                    <a:cubicBezTo>
                      <a:pt x="653780" y="11911"/>
                      <a:pt x="649652" y="18516"/>
                      <a:pt x="644973" y="22645"/>
                    </a:cubicBezTo>
                    <a:cubicBezTo>
                      <a:pt x="640294" y="26773"/>
                      <a:pt x="645249" y="29801"/>
                      <a:pt x="646900" y="33104"/>
                    </a:cubicBezTo>
                    <a:cubicBezTo>
                      <a:pt x="646625" y="33654"/>
                      <a:pt x="646625" y="34204"/>
                      <a:pt x="647175" y="34755"/>
                    </a:cubicBezTo>
                    <a:cubicBezTo>
                      <a:pt x="637818" y="38333"/>
                      <a:pt x="628184" y="36406"/>
                      <a:pt x="618552" y="36406"/>
                    </a:cubicBezTo>
                    <a:cubicBezTo>
                      <a:pt x="593506" y="36681"/>
                      <a:pt x="568185" y="36406"/>
                      <a:pt x="543139" y="36681"/>
                    </a:cubicBezTo>
                    <a:cubicBezTo>
                      <a:pt x="534882" y="36681"/>
                      <a:pt x="528001" y="37232"/>
                      <a:pt x="528552" y="25947"/>
                    </a:cubicBezTo>
                    <a:cubicBezTo>
                      <a:pt x="528552" y="23746"/>
                      <a:pt x="526350" y="21544"/>
                      <a:pt x="525249" y="19342"/>
                    </a:cubicBezTo>
                    <a:cubicBezTo>
                      <a:pt x="528277" y="16039"/>
                      <a:pt x="537084" y="16590"/>
                      <a:pt x="533506" y="11360"/>
                    </a:cubicBezTo>
                    <a:cubicBezTo>
                      <a:pt x="531855" y="8883"/>
                      <a:pt x="527726" y="1177"/>
                      <a:pt x="521121" y="3654"/>
                    </a:cubicBezTo>
                    <a:cubicBezTo>
                      <a:pt x="516442" y="5580"/>
                      <a:pt x="513415" y="8608"/>
                      <a:pt x="515066" y="14388"/>
                    </a:cubicBezTo>
                    <a:cubicBezTo>
                      <a:pt x="516167" y="18241"/>
                      <a:pt x="510387" y="21268"/>
                      <a:pt x="505983" y="19067"/>
                    </a:cubicBezTo>
                    <a:cubicBezTo>
                      <a:pt x="499653" y="15764"/>
                      <a:pt x="494148" y="14663"/>
                      <a:pt x="486442" y="16590"/>
                    </a:cubicBezTo>
                    <a:cubicBezTo>
                      <a:pt x="477360" y="18792"/>
                      <a:pt x="477911" y="5030"/>
                      <a:pt x="470479" y="351"/>
                    </a:cubicBezTo>
                    <a:cubicBezTo>
                      <a:pt x="497727" y="351"/>
                      <a:pt x="525249" y="351"/>
                      <a:pt x="552497" y="351"/>
                    </a:cubicBezTo>
                    <a:cubicBezTo>
                      <a:pt x="563506" y="351"/>
                      <a:pt x="574240" y="76"/>
                      <a:pt x="585249" y="351"/>
                    </a:cubicBezTo>
                    <a:cubicBezTo>
                      <a:pt x="588139" y="351"/>
                      <a:pt x="591167" y="-337"/>
                      <a:pt x="593781" y="214"/>
                    </a:cubicBezTo>
                    <a:cubicBezTo>
                      <a:pt x="596396" y="764"/>
                      <a:pt x="598597" y="2553"/>
                      <a:pt x="599836" y="7507"/>
                    </a:cubicBezTo>
                    <a:cubicBezTo>
                      <a:pt x="600662" y="10535"/>
                      <a:pt x="613597" y="14388"/>
                      <a:pt x="617451" y="11911"/>
                    </a:cubicBezTo>
                    <a:cubicBezTo>
                      <a:pt x="623230" y="8608"/>
                      <a:pt x="625157" y="14388"/>
                      <a:pt x="629010" y="13012"/>
                    </a:cubicBezTo>
                    <a:cubicBezTo>
                      <a:pt x="632038" y="8057"/>
                      <a:pt x="625432" y="6131"/>
                      <a:pt x="625432" y="351"/>
                    </a:cubicBezTo>
                    <a:cubicBezTo>
                      <a:pt x="634515" y="351"/>
                      <a:pt x="643872" y="351"/>
                      <a:pt x="653230" y="351"/>
                    </a:cubicBezTo>
                    <a:cubicBezTo>
                      <a:pt x="691487" y="351"/>
                      <a:pt x="729468" y="351"/>
                      <a:pt x="767725" y="351"/>
                    </a:cubicBezTo>
                    <a:cubicBezTo>
                      <a:pt x="770202" y="351"/>
                      <a:pt x="772679" y="351"/>
                      <a:pt x="775156" y="627"/>
                    </a:cubicBezTo>
                    <a:cubicBezTo>
                      <a:pt x="778459" y="627"/>
                      <a:pt x="779835" y="2828"/>
                      <a:pt x="779009" y="5580"/>
                    </a:cubicBezTo>
                    <a:cubicBezTo>
                      <a:pt x="778183" y="8333"/>
                      <a:pt x="775981" y="7782"/>
                      <a:pt x="774055" y="6681"/>
                    </a:cubicBezTo>
                    <a:cubicBezTo>
                      <a:pt x="772128" y="5305"/>
                      <a:pt x="769927" y="3929"/>
                      <a:pt x="767174" y="4755"/>
                    </a:cubicBezTo>
                    <a:cubicBezTo>
                      <a:pt x="764697" y="5580"/>
                      <a:pt x="761945" y="6681"/>
                      <a:pt x="761945" y="9434"/>
                    </a:cubicBezTo>
                    <a:cubicBezTo>
                      <a:pt x="761945" y="12736"/>
                      <a:pt x="764697" y="13562"/>
                      <a:pt x="767450" y="13012"/>
                    </a:cubicBezTo>
                    <a:cubicBezTo>
                      <a:pt x="775156" y="11636"/>
                      <a:pt x="784514" y="13837"/>
                      <a:pt x="788642" y="3654"/>
                    </a:cubicBezTo>
                    <a:cubicBezTo>
                      <a:pt x="789468" y="1383"/>
                      <a:pt x="805465" y="-268"/>
                      <a:pt x="814109" y="9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7407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65ED8F84-D030-4918-95F8-54A1655E933A}"/>
              </a:ext>
            </a:extLst>
          </p:cNvPr>
          <p:cNvSpPr/>
          <p:nvPr userDrawn="1"/>
        </p:nvSpPr>
        <p:spPr>
          <a:xfrm>
            <a:off x="4571834" y="6041974"/>
            <a:ext cx="3231362" cy="643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2B779178-7BD9-4011-B2BC-FEF421E7788F}"/>
              </a:ext>
            </a:extLst>
          </p:cNvPr>
          <p:cNvSpPr/>
          <p:nvPr userDrawn="1"/>
        </p:nvSpPr>
        <p:spPr>
          <a:xfrm>
            <a:off x="4734528" y="6156521"/>
            <a:ext cx="2958511" cy="421370"/>
          </a:xfrm>
          <a:custGeom>
            <a:avLst/>
            <a:gdLst>
              <a:gd name="connsiteX0" fmla="*/ 95530 w 1806696"/>
              <a:gd name="connsiteY0" fmla="*/ 240641 h 257321"/>
              <a:gd name="connsiteX1" fmla="*/ 87507 w 1806696"/>
              <a:gd name="connsiteY1" fmla="*/ 240895 h 257321"/>
              <a:gd name="connsiteX2" fmla="*/ 73922 w 1806696"/>
              <a:gd name="connsiteY2" fmla="*/ 246829 h 257321"/>
              <a:gd name="connsiteX3" fmla="*/ 97501 w 1806696"/>
              <a:gd name="connsiteY3" fmla="*/ 250264 h 257321"/>
              <a:gd name="connsiteX4" fmla="*/ 100624 w 1806696"/>
              <a:gd name="connsiteY4" fmla="*/ 247766 h 257321"/>
              <a:gd name="connsiteX5" fmla="*/ 95530 w 1806696"/>
              <a:gd name="connsiteY5" fmla="*/ 240641 h 257321"/>
              <a:gd name="connsiteX6" fmla="*/ 136696 w 1806696"/>
              <a:gd name="connsiteY6" fmla="*/ 230120 h 257321"/>
              <a:gd name="connsiteX7" fmla="*/ 135291 w 1806696"/>
              <a:gd name="connsiteY7" fmla="*/ 234180 h 257321"/>
              <a:gd name="connsiteX8" fmla="*/ 132324 w 1806696"/>
              <a:gd name="connsiteY8" fmla="*/ 244955 h 257321"/>
              <a:gd name="connsiteX9" fmla="*/ 136228 w 1806696"/>
              <a:gd name="connsiteY9" fmla="*/ 251358 h 257321"/>
              <a:gd name="connsiteX10" fmla="*/ 141849 w 1806696"/>
              <a:gd name="connsiteY10" fmla="*/ 250576 h 257321"/>
              <a:gd name="connsiteX11" fmla="*/ 152312 w 1806696"/>
              <a:gd name="connsiteY11" fmla="*/ 249328 h 257321"/>
              <a:gd name="connsiteX12" fmla="*/ 152156 w 1806696"/>
              <a:gd name="connsiteY12" fmla="*/ 239021 h 257321"/>
              <a:gd name="connsiteX13" fmla="*/ 150282 w 1806696"/>
              <a:gd name="connsiteY13" fmla="*/ 234336 h 257321"/>
              <a:gd name="connsiteX14" fmla="*/ 146846 w 1806696"/>
              <a:gd name="connsiteY14" fmla="*/ 238240 h 257321"/>
              <a:gd name="connsiteX15" fmla="*/ 145910 w 1806696"/>
              <a:gd name="connsiteY15" fmla="*/ 242300 h 257321"/>
              <a:gd name="connsiteX16" fmla="*/ 141538 w 1806696"/>
              <a:gd name="connsiteY16" fmla="*/ 243862 h 257321"/>
              <a:gd name="connsiteX17" fmla="*/ 141225 w 1806696"/>
              <a:gd name="connsiteY17" fmla="*/ 239958 h 257321"/>
              <a:gd name="connsiteX18" fmla="*/ 143098 w 1806696"/>
              <a:gd name="connsiteY18" fmla="*/ 237772 h 257321"/>
              <a:gd name="connsiteX19" fmla="*/ 142318 w 1806696"/>
              <a:gd name="connsiteY19" fmla="*/ 232619 h 257321"/>
              <a:gd name="connsiteX20" fmla="*/ 136696 w 1806696"/>
              <a:gd name="connsiteY20" fmla="*/ 230120 h 257321"/>
              <a:gd name="connsiteX21" fmla="*/ 224671 w 1806696"/>
              <a:gd name="connsiteY21" fmla="*/ 199162 h 257321"/>
              <a:gd name="connsiteX22" fmla="*/ 218991 w 1806696"/>
              <a:gd name="connsiteY22" fmla="*/ 200294 h 257321"/>
              <a:gd name="connsiteX23" fmla="*/ 218991 w 1806696"/>
              <a:gd name="connsiteY23" fmla="*/ 211381 h 257321"/>
              <a:gd name="connsiteX24" fmla="*/ 227892 w 1806696"/>
              <a:gd name="connsiteY24" fmla="*/ 211069 h 257321"/>
              <a:gd name="connsiteX25" fmla="*/ 229297 w 1806696"/>
              <a:gd name="connsiteY25" fmla="*/ 200607 h 257321"/>
              <a:gd name="connsiteX26" fmla="*/ 224671 w 1806696"/>
              <a:gd name="connsiteY26" fmla="*/ 199162 h 257321"/>
              <a:gd name="connsiteX27" fmla="*/ 321395 w 1806696"/>
              <a:gd name="connsiteY27" fmla="*/ 212186 h 257321"/>
              <a:gd name="connsiteX28" fmla="*/ 308912 w 1806696"/>
              <a:gd name="connsiteY28" fmla="*/ 212002 h 257321"/>
              <a:gd name="connsiteX29" fmla="*/ 302120 w 1806696"/>
              <a:gd name="connsiteY29" fmla="*/ 212002 h 257321"/>
              <a:gd name="connsiteX30" fmla="*/ 300835 w 1806696"/>
              <a:gd name="connsiteY30" fmla="*/ 219712 h 257321"/>
              <a:gd name="connsiteX31" fmla="*/ 312584 w 1806696"/>
              <a:gd name="connsiteY31" fmla="*/ 229258 h 257321"/>
              <a:gd name="connsiteX32" fmla="*/ 329839 w 1806696"/>
              <a:gd name="connsiteY32" fmla="*/ 226137 h 257321"/>
              <a:gd name="connsiteX33" fmla="*/ 332960 w 1806696"/>
              <a:gd name="connsiteY33" fmla="*/ 215306 h 257321"/>
              <a:gd name="connsiteX34" fmla="*/ 321395 w 1806696"/>
              <a:gd name="connsiteY34" fmla="*/ 212186 h 257321"/>
              <a:gd name="connsiteX35" fmla="*/ 72672 w 1806696"/>
              <a:gd name="connsiteY35" fmla="*/ 171874 h 257321"/>
              <a:gd name="connsiteX36" fmla="*/ 67363 w 1806696"/>
              <a:gd name="connsiteY36" fmla="*/ 177339 h 257321"/>
              <a:gd name="connsiteX37" fmla="*/ 74858 w 1806696"/>
              <a:gd name="connsiteY37" fmla="*/ 183273 h 257321"/>
              <a:gd name="connsiteX38" fmla="*/ 80636 w 1806696"/>
              <a:gd name="connsiteY38" fmla="*/ 179525 h 257321"/>
              <a:gd name="connsiteX39" fmla="*/ 72672 w 1806696"/>
              <a:gd name="connsiteY39" fmla="*/ 171874 h 257321"/>
              <a:gd name="connsiteX40" fmla="*/ 225861 w 1806696"/>
              <a:gd name="connsiteY40" fmla="*/ 186552 h 257321"/>
              <a:gd name="connsiteX41" fmla="*/ 208059 w 1806696"/>
              <a:gd name="connsiteY41" fmla="*/ 184366 h 257321"/>
              <a:gd name="connsiteX42" fmla="*/ 206343 w 1806696"/>
              <a:gd name="connsiteY42" fmla="*/ 188895 h 257321"/>
              <a:gd name="connsiteX43" fmla="*/ 219303 w 1806696"/>
              <a:gd name="connsiteY43" fmla="*/ 197483 h 257321"/>
              <a:gd name="connsiteX44" fmla="*/ 233358 w 1806696"/>
              <a:gd name="connsiteY44" fmla="*/ 194985 h 257321"/>
              <a:gd name="connsiteX45" fmla="*/ 225861 w 1806696"/>
              <a:gd name="connsiteY45" fmla="*/ 186552 h 257321"/>
              <a:gd name="connsiteX46" fmla="*/ 442853 w 1806696"/>
              <a:gd name="connsiteY46" fmla="*/ 212209 h 257321"/>
              <a:gd name="connsiteX47" fmla="*/ 433192 w 1806696"/>
              <a:gd name="connsiteY47" fmla="*/ 219345 h 257321"/>
              <a:gd name="connsiteX48" fmla="*/ 452101 w 1806696"/>
              <a:gd name="connsiteY48" fmla="*/ 218427 h 257321"/>
              <a:gd name="connsiteX49" fmla="*/ 442853 w 1806696"/>
              <a:gd name="connsiteY49" fmla="*/ 212209 h 257321"/>
              <a:gd name="connsiteX50" fmla="*/ 385096 w 1806696"/>
              <a:gd name="connsiteY50" fmla="*/ 177490 h 257321"/>
              <a:gd name="connsiteX51" fmla="*/ 378671 w 1806696"/>
              <a:gd name="connsiteY51" fmla="*/ 187587 h 257321"/>
              <a:gd name="connsiteX52" fmla="*/ 381424 w 1806696"/>
              <a:gd name="connsiteY52" fmla="*/ 186852 h 257321"/>
              <a:gd name="connsiteX53" fmla="*/ 385096 w 1806696"/>
              <a:gd name="connsiteY53" fmla="*/ 177490 h 257321"/>
              <a:gd name="connsiteX54" fmla="*/ 428787 w 1806696"/>
              <a:gd name="connsiteY54" fmla="*/ 176870 h 257321"/>
              <a:gd name="connsiteX55" fmla="*/ 423278 w 1806696"/>
              <a:gd name="connsiteY55" fmla="*/ 188504 h 257321"/>
              <a:gd name="connsiteX56" fmla="*/ 431357 w 1806696"/>
              <a:gd name="connsiteY56" fmla="*/ 197867 h 257321"/>
              <a:gd name="connsiteX57" fmla="*/ 446043 w 1806696"/>
              <a:gd name="connsiteY57" fmla="*/ 192543 h 257321"/>
              <a:gd name="connsiteX58" fmla="*/ 452284 w 1806696"/>
              <a:gd name="connsiteY58" fmla="*/ 186485 h 257321"/>
              <a:gd name="connsiteX59" fmla="*/ 444206 w 1806696"/>
              <a:gd name="connsiteY59" fmla="*/ 179142 h 257321"/>
              <a:gd name="connsiteX60" fmla="*/ 428787 w 1806696"/>
              <a:gd name="connsiteY60" fmla="*/ 176870 h 257321"/>
              <a:gd name="connsiteX61" fmla="*/ 646390 w 1806696"/>
              <a:gd name="connsiteY61" fmla="*/ 198420 h 257321"/>
              <a:gd name="connsiteX62" fmla="*/ 643326 w 1806696"/>
              <a:gd name="connsiteY62" fmla="*/ 204081 h 257321"/>
              <a:gd name="connsiteX63" fmla="*/ 639735 w 1806696"/>
              <a:gd name="connsiteY63" fmla="*/ 209234 h 257321"/>
              <a:gd name="connsiteX64" fmla="*/ 640827 w 1806696"/>
              <a:gd name="connsiteY64" fmla="*/ 222820 h 257321"/>
              <a:gd name="connsiteX65" fmla="*/ 644106 w 1806696"/>
              <a:gd name="connsiteY65" fmla="*/ 229690 h 257321"/>
              <a:gd name="connsiteX66" fmla="*/ 650822 w 1806696"/>
              <a:gd name="connsiteY66" fmla="*/ 233751 h 257321"/>
              <a:gd name="connsiteX67" fmla="*/ 654569 w 1806696"/>
              <a:gd name="connsiteY67" fmla="*/ 219384 h 257321"/>
              <a:gd name="connsiteX68" fmla="*/ 650821 w 1806696"/>
              <a:gd name="connsiteY68" fmla="*/ 215012 h 257321"/>
              <a:gd name="connsiteX69" fmla="*/ 659722 w 1806696"/>
              <a:gd name="connsiteY69" fmla="*/ 205955 h 257321"/>
              <a:gd name="connsiteX70" fmla="*/ 652852 w 1806696"/>
              <a:gd name="connsiteY70" fmla="*/ 199552 h 257321"/>
              <a:gd name="connsiteX71" fmla="*/ 646390 w 1806696"/>
              <a:gd name="connsiteY71" fmla="*/ 198420 h 257321"/>
              <a:gd name="connsiteX72" fmla="*/ 283165 w 1806696"/>
              <a:gd name="connsiteY72" fmla="*/ 143092 h 257321"/>
              <a:gd name="connsiteX73" fmla="*/ 280458 w 1806696"/>
              <a:gd name="connsiteY73" fmla="*/ 144813 h 257321"/>
              <a:gd name="connsiteX74" fmla="*/ 279907 w 1806696"/>
              <a:gd name="connsiteY74" fmla="*/ 153992 h 257321"/>
              <a:gd name="connsiteX75" fmla="*/ 284496 w 1806696"/>
              <a:gd name="connsiteY75" fmla="*/ 149403 h 257321"/>
              <a:gd name="connsiteX76" fmla="*/ 285598 w 1806696"/>
              <a:gd name="connsiteY76" fmla="*/ 148301 h 257321"/>
              <a:gd name="connsiteX77" fmla="*/ 285598 w 1806696"/>
              <a:gd name="connsiteY77" fmla="*/ 145364 h 257321"/>
              <a:gd name="connsiteX78" fmla="*/ 283165 w 1806696"/>
              <a:gd name="connsiteY78" fmla="*/ 143092 h 257321"/>
              <a:gd name="connsiteX79" fmla="*/ 723434 w 1806696"/>
              <a:gd name="connsiteY79" fmla="*/ 205642 h 257321"/>
              <a:gd name="connsiteX80" fmla="*/ 720780 w 1806696"/>
              <a:gd name="connsiteY80" fmla="*/ 212357 h 257321"/>
              <a:gd name="connsiteX81" fmla="*/ 723903 w 1806696"/>
              <a:gd name="connsiteY81" fmla="*/ 212826 h 257321"/>
              <a:gd name="connsiteX82" fmla="*/ 723434 w 1806696"/>
              <a:gd name="connsiteY82" fmla="*/ 205642 h 257321"/>
              <a:gd name="connsiteX83" fmla="*/ 613187 w 1806696"/>
              <a:gd name="connsiteY83" fmla="*/ 188309 h 257321"/>
              <a:gd name="connsiteX84" fmla="*/ 612095 w 1806696"/>
              <a:gd name="connsiteY84" fmla="*/ 188934 h 257321"/>
              <a:gd name="connsiteX85" fmla="*/ 613500 w 1806696"/>
              <a:gd name="connsiteY85" fmla="*/ 195492 h 257321"/>
              <a:gd name="connsiteX86" fmla="*/ 617091 w 1806696"/>
              <a:gd name="connsiteY86" fmla="*/ 197678 h 257321"/>
              <a:gd name="connsiteX87" fmla="*/ 617092 w 1806696"/>
              <a:gd name="connsiteY87" fmla="*/ 193774 h 257321"/>
              <a:gd name="connsiteX88" fmla="*/ 613187 w 1806696"/>
              <a:gd name="connsiteY88" fmla="*/ 188309 h 257321"/>
              <a:gd name="connsiteX89" fmla="*/ 889336 w 1806696"/>
              <a:gd name="connsiteY89" fmla="*/ 203961 h 257321"/>
              <a:gd name="connsiteX90" fmla="*/ 881603 w 1806696"/>
              <a:gd name="connsiteY90" fmla="*/ 203574 h 257321"/>
              <a:gd name="connsiteX91" fmla="*/ 880830 w 1806696"/>
              <a:gd name="connsiteY91" fmla="*/ 211695 h 257321"/>
              <a:gd name="connsiteX92" fmla="*/ 890303 w 1806696"/>
              <a:gd name="connsiteY92" fmla="*/ 223487 h 257321"/>
              <a:gd name="connsiteX93" fmla="*/ 899004 w 1806696"/>
              <a:gd name="connsiteY93" fmla="*/ 226775 h 257321"/>
              <a:gd name="connsiteX94" fmla="*/ 911183 w 1806696"/>
              <a:gd name="connsiteY94" fmla="*/ 220394 h 257321"/>
              <a:gd name="connsiteX95" fmla="*/ 901516 w 1806696"/>
              <a:gd name="connsiteY95" fmla="*/ 207441 h 257321"/>
              <a:gd name="connsiteX96" fmla="*/ 889336 w 1806696"/>
              <a:gd name="connsiteY96" fmla="*/ 203961 h 257321"/>
              <a:gd name="connsiteX97" fmla="*/ 710629 w 1806696"/>
              <a:gd name="connsiteY97" fmla="*/ 175192 h 257321"/>
              <a:gd name="connsiteX98" fmla="*/ 704695 w 1806696"/>
              <a:gd name="connsiteY98" fmla="*/ 182844 h 257321"/>
              <a:gd name="connsiteX99" fmla="*/ 699542 w 1806696"/>
              <a:gd name="connsiteY99" fmla="*/ 191432 h 257321"/>
              <a:gd name="connsiteX100" fmla="*/ 696106 w 1806696"/>
              <a:gd name="connsiteY100" fmla="*/ 196741 h 257321"/>
              <a:gd name="connsiteX101" fmla="*/ 703134 w 1806696"/>
              <a:gd name="connsiteY101" fmla="*/ 208141 h 257321"/>
              <a:gd name="connsiteX102" fmla="*/ 708287 w 1806696"/>
              <a:gd name="connsiteY102" fmla="*/ 212201 h 257321"/>
              <a:gd name="connsiteX103" fmla="*/ 712035 w 1806696"/>
              <a:gd name="connsiteY103" fmla="*/ 204549 h 257321"/>
              <a:gd name="connsiteX104" fmla="*/ 719061 w 1806696"/>
              <a:gd name="connsiteY104" fmla="*/ 196429 h 257321"/>
              <a:gd name="connsiteX105" fmla="*/ 724527 w 1806696"/>
              <a:gd name="connsiteY105" fmla="*/ 193774 h 257321"/>
              <a:gd name="connsiteX106" fmla="*/ 727806 w 1806696"/>
              <a:gd name="connsiteY106" fmla="*/ 184249 h 257321"/>
              <a:gd name="connsiteX107" fmla="*/ 722810 w 1806696"/>
              <a:gd name="connsiteY107" fmla="*/ 190964 h 257321"/>
              <a:gd name="connsiteX108" fmla="*/ 719530 w 1806696"/>
              <a:gd name="connsiteY108" fmla="*/ 182063 h 257321"/>
              <a:gd name="connsiteX109" fmla="*/ 710629 w 1806696"/>
              <a:gd name="connsiteY109" fmla="*/ 175192 h 257321"/>
              <a:gd name="connsiteX110" fmla="*/ 742485 w 1806696"/>
              <a:gd name="connsiteY110" fmla="*/ 173162 h 257321"/>
              <a:gd name="connsiteX111" fmla="*/ 739362 w 1806696"/>
              <a:gd name="connsiteY111" fmla="*/ 172850 h 257321"/>
              <a:gd name="connsiteX112" fmla="*/ 732804 w 1806696"/>
              <a:gd name="connsiteY112" fmla="*/ 179096 h 257321"/>
              <a:gd name="connsiteX113" fmla="*/ 734052 w 1806696"/>
              <a:gd name="connsiteY113" fmla="*/ 180969 h 257321"/>
              <a:gd name="connsiteX114" fmla="*/ 738894 w 1806696"/>
              <a:gd name="connsiteY114" fmla="*/ 184093 h 257321"/>
              <a:gd name="connsiteX115" fmla="*/ 751854 w 1806696"/>
              <a:gd name="connsiteY115" fmla="*/ 188153 h 257321"/>
              <a:gd name="connsiteX116" fmla="*/ 758257 w 1806696"/>
              <a:gd name="connsiteY116" fmla="*/ 185342 h 257321"/>
              <a:gd name="connsiteX117" fmla="*/ 762317 w 1806696"/>
              <a:gd name="connsiteY117" fmla="*/ 183156 h 257321"/>
              <a:gd name="connsiteX118" fmla="*/ 759975 w 1806696"/>
              <a:gd name="connsiteY118" fmla="*/ 179252 h 257321"/>
              <a:gd name="connsiteX119" fmla="*/ 742485 w 1806696"/>
              <a:gd name="connsiteY119" fmla="*/ 173162 h 257321"/>
              <a:gd name="connsiteX120" fmla="*/ 84384 w 1806696"/>
              <a:gd name="connsiteY120" fmla="*/ 69279 h 257321"/>
              <a:gd name="connsiteX121" fmla="*/ 81261 w 1806696"/>
              <a:gd name="connsiteY121" fmla="*/ 70372 h 257321"/>
              <a:gd name="connsiteX122" fmla="*/ 69236 w 1806696"/>
              <a:gd name="connsiteY122" fmla="*/ 81928 h 257321"/>
              <a:gd name="connsiteX123" fmla="*/ 63928 w 1806696"/>
              <a:gd name="connsiteY123" fmla="*/ 89892 h 257321"/>
              <a:gd name="connsiteX124" fmla="*/ 73921 w 1806696"/>
              <a:gd name="connsiteY124" fmla="*/ 95826 h 257321"/>
              <a:gd name="connsiteX125" fmla="*/ 80792 w 1806696"/>
              <a:gd name="connsiteY125" fmla="*/ 90985 h 257321"/>
              <a:gd name="connsiteX126" fmla="*/ 93441 w 1806696"/>
              <a:gd name="connsiteY126" fmla="*/ 84114 h 257321"/>
              <a:gd name="connsiteX127" fmla="*/ 99531 w 1806696"/>
              <a:gd name="connsiteY127" fmla="*/ 79273 h 257321"/>
              <a:gd name="connsiteX128" fmla="*/ 92660 w 1806696"/>
              <a:gd name="connsiteY128" fmla="*/ 71934 h 257321"/>
              <a:gd name="connsiteX129" fmla="*/ 92036 w 1806696"/>
              <a:gd name="connsiteY129" fmla="*/ 73183 h 257321"/>
              <a:gd name="connsiteX130" fmla="*/ 88131 w 1806696"/>
              <a:gd name="connsiteY130" fmla="*/ 78336 h 257321"/>
              <a:gd name="connsiteX131" fmla="*/ 85946 w 1806696"/>
              <a:gd name="connsiteY131" fmla="*/ 72558 h 257321"/>
              <a:gd name="connsiteX132" fmla="*/ 84384 w 1806696"/>
              <a:gd name="connsiteY132" fmla="*/ 69279 h 257321"/>
              <a:gd name="connsiteX133" fmla="*/ 997660 w 1806696"/>
              <a:gd name="connsiteY133" fmla="*/ 194420 h 257321"/>
              <a:gd name="connsiteX134" fmla="*/ 989815 w 1806696"/>
              <a:gd name="connsiteY134" fmla="*/ 213662 h 257321"/>
              <a:gd name="connsiteX135" fmla="*/ 994858 w 1806696"/>
              <a:gd name="connsiteY135" fmla="*/ 231410 h 257321"/>
              <a:gd name="connsiteX136" fmla="*/ 997660 w 1806696"/>
              <a:gd name="connsiteY136" fmla="*/ 232904 h 257321"/>
              <a:gd name="connsiteX137" fmla="*/ 1009430 w 1806696"/>
              <a:gd name="connsiteY137" fmla="*/ 222629 h 257321"/>
              <a:gd name="connsiteX138" fmla="*/ 1018771 w 1806696"/>
              <a:gd name="connsiteY138" fmla="*/ 216838 h 257321"/>
              <a:gd name="connsiteX139" fmla="*/ 1008309 w 1806696"/>
              <a:gd name="connsiteY139" fmla="*/ 212168 h 257321"/>
              <a:gd name="connsiteX140" fmla="*/ 1015782 w 1806696"/>
              <a:gd name="connsiteY140" fmla="*/ 199464 h 257321"/>
              <a:gd name="connsiteX141" fmla="*/ 997660 w 1806696"/>
              <a:gd name="connsiteY141" fmla="*/ 194420 h 257321"/>
              <a:gd name="connsiteX142" fmla="*/ 215087 w 1806696"/>
              <a:gd name="connsiteY142" fmla="*/ 81928 h 257321"/>
              <a:gd name="connsiteX143" fmla="*/ 209934 w 1806696"/>
              <a:gd name="connsiteY143" fmla="*/ 92390 h 257321"/>
              <a:gd name="connsiteX144" fmla="*/ 215868 w 1806696"/>
              <a:gd name="connsiteY144" fmla="*/ 96919 h 257321"/>
              <a:gd name="connsiteX145" fmla="*/ 221958 w 1806696"/>
              <a:gd name="connsiteY145" fmla="*/ 88955 h 257321"/>
              <a:gd name="connsiteX146" fmla="*/ 215087 w 1806696"/>
              <a:gd name="connsiteY146" fmla="*/ 81928 h 257321"/>
              <a:gd name="connsiteX147" fmla="*/ 633644 w 1806696"/>
              <a:gd name="connsiteY147" fmla="*/ 133966 h 257321"/>
              <a:gd name="connsiteX148" fmla="*/ 633020 w 1806696"/>
              <a:gd name="connsiteY148" fmla="*/ 133966 h 257321"/>
              <a:gd name="connsiteX149" fmla="*/ 624431 w 1806696"/>
              <a:gd name="connsiteY149" fmla="*/ 149114 h 257321"/>
              <a:gd name="connsiteX150" fmla="*/ 629428 w 1806696"/>
              <a:gd name="connsiteY150" fmla="*/ 151300 h 257321"/>
              <a:gd name="connsiteX151" fmla="*/ 632239 w 1806696"/>
              <a:gd name="connsiteY151" fmla="*/ 154267 h 257321"/>
              <a:gd name="connsiteX152" fmla="*/ 637548 w 1806696"/>
              <a:gd name="connsiteY152" fmla="*/ 156453 h 257321"/>
              <a:gd name="connsiteX153" fmla="*/ 638641 w 1806696"/>
              <a:gd name="connsiteY153" fmla="*/ 150207 h 257321"/>
              <a:gd name="connsiteX154" fmla="*/ 638017 w 1806696"/>
              <a:gd name="connsiteY154" fmla="*/ 143492 h 257321"/>
              <a:gd name="connsiteX155" fmla="*/ 633644 w 1806696"/>
              <a:gd name="connsiteY155" fmla="*/ 133966 h 257321"/>
              <a:gd name="connsiteX156" fmla="*/ 437966 w 1806696"/>
              <a:gd name="connsiteY156" fmla="*/ 102407 h 257321"/>
              <a:gd name="connsiteX157" fmla="*/ 431173 w 1806696"/>
              <a:gd name="connsiteY157" fmla="*/ 109383 h 257321"/>
              <a:gd name="connsiteX158" fmla="*/ 437047 w 1806696"/>
              <a:gd name="connsiteY158" fmla="*/ 114523 h 257321"/>
              <a:gd name="connsiteX159" fmla="*/ 443472 w 1806696"/>
              <a:gd name="connsiteY159" fmla="*/ 119296 h 257321"/>
              <a:gd name="connsiteX160" fmla="*/ 443106 w 1806696"/>
              <a:gd name="connsiteY160" fmla="*/ 110852 h 257321"/>
              <a:gd name="connsiteX161" fmla="*/ 437966 w 1806696"/>
              <a:gd name="connsiteY161" fmla="*/ 102407 h 257321"/>
              <a:gd name="connsiteX162" fmla="*/ 451182 w 1806696"/>
              <a:gd name="connsiteY162" fmla="*/ 103692 h 257321"/>
              <a:gd name="connsiteX163" fmla="*/ 448796 w 1806696"/>
              <a:gd name="connsiteY163" fmla="*/ 107547 h 257321"/>
              <a:gd name="connsiteX164" fmla="*/ 453018 w 1806696"/>
              <a:gd name="connsiteY164" fmla="*/ 111402 h 257321"/>
              <a:gd name="connsiteX165" fmla="*/ 454854 w 1806696"/>
              <a:gd name="connsiteY165" fmla="*/ 107547 h 257321"/>
              <a:gd name="connsiteX166" fmla="*/ 451182 w 1806696"/>
              <a:gd name="connsiteY166" fmla="*/ 103692 h 257321"/>
              <a:gd name="connsiteX167" fmla="*/ 756696 w 1806696"/>
              <a:gd name="connsiteY167" fmla="*/ 146303 h 257321"/>
              <a:gd name="connsiteX168" fmla="*/ 755290 w 1806696"/>
              <a:gd name="connsiteY168" fmla="*/ 158795 h 257321"/>
              <a:gd name="connsiteX169" fmla="*/ 762161 w 1806696"/>
              <a:gd name="connsiteY169" fmla="*/ 160045 h 257321"/>
              <a:gd name="connsiteX170" fmla="*/ 756696 w 1806696"/>
              <a:gd name="connsiteY170" fmla="*/ 146303 h 257321"/>
              <a:gd name="connsiteX171" fmla="*/ 768759 w 1806696"/>
              <a:gd name="connsiteY171" fmla="*/ 142672 h 257321"/>
              <a:gd name="connsiteX172" fmla="*/ 763098 w 1806696"/>
              <a:gd name="connsiteY172" fmla="*/ 145210 h 257321"/>
              <a:gd name="connsiteX173" fmla="*/ 763879 w 1806696"/>
              <a:gd name="connsiteY173" fmla="*/ 153798 h 257321"/>
              <a:gd name="connsiteX174" fmla="*/ 768719 w 1806696"/>
              <a:gd name="connsiteY174" fmla="*/ 157078 h 257321"/>
              <a:gd name="connsiteX175" fmla="*/ 778245 w 1806696"/>
              <a:gd name="connsiteY175" fmla="*/ 165042 h 257321"/>
              <a:gd name="connsiteX176" fmla="*/ 784491 w 1806696"/>
              <a:gd name="connsiteY176" fmla="*/ 167540 h 257321"/>
              <a:gd name="connsiteX177" fmla="*/ 791050 w 1806696"/>
              <a:gd name="connsiteY177" fmla="*/ 152393 h 257321"/>
              <a:gd name="connsiteX178" fmla="*/ 774653 w 1806696"/>
              <a:gd name="connsiteY178" fmla="*/ 146459 h 257321"/>
              <a:gd name="connsiteX179" fmla="*/ 768759 w 1806696"/>
              <a:gd name="connsiteY179" fmla="*/ 142672 h 257321"/>
              <a:gd name="connsiteX180" fmla="*/ 82509 w 1806696"/>
              <a:gd name="connsiteY180" fmla="*/ 44138 h 257321"/>
              <a:gd name="connsiteX181" fmla="*/ 76420 w 1806696"/>
              <a:gd name="connsiteY181" fmla="*/ 51789 h 257321"/>
              <a:gd name="connsiteX182" fmla="*/ 81573 w 1806696"/>
              <a:gd name="connsiteY182" fmla="*/ 57099 h 257321"/>
              <a:gd name="connsiteX183" fmla="*/ 85477 w 1806696"/>
              <a:gd name="connsiteY183" fmla="*/ 46636 h 257321"/>
              <a:gd name="connsiteX184" fmla="*/ 82509 w 1806696"/>
              <a:gd name="connsiteY184" fmla="*/ 44138 h 257321"/>
              <a:gd name="connsiteX185" fmla="*/ 37381 w 1806696"/>
              <a:gd name="connsiteY185" fmla="*/ 31020 h 257321"/>
              <a:gd name="connsiteX186" fmla="*/ 29729 w 1806696"/>
              <a:gd name="connsiteY186" fmla="*/ 38048 h 257321"/>
              <a:gd name="connsiteX187" fmla="*/ 26293 w 1806696"/>
              <a:gd name="connsiteY187" fmla="*/ 51321 h 257321"/>
              <a:gd name="connsiteX188" fmla="*/ 26606 w 1806696"/>
              <a:gd name="connsiteY188" fmla="*/ 57723 h 257321"/>
              <a:gd name="connsiteX189" fmla="*/ 37068 w 1806696"/>
              <a:gd name="connsiteY189" fmla="*/ 64594 h 257321"/>
              <a:gd name="connsiteX190" fmla="*/ 44408 w 1806696"/>
              <a:gd name="connsiteY190" fmla="*/ 51165 h 257321"/>
              <a:gd name="connsiteX191" fmla="*/ 43315 w 1806696"/>
              <a:gd name="connsiteY191" fmla="*/ 45075 h 257321"/>
              <a:gd name="connsiteX192" fmla="*/ 40035 w 1806696"/>
              <a:gd name="connsiteY192" fmla="*/ 37735 h 257321"/>
              <a:gd name="connsiteX193" fmla="*/ 37381 w 1806696"/>
              <a:gd name="connsiteY193" fmla="*/ 31020 h 257321"/>
              <a:gd name="connsiteX194" fmla="*/ 198690 w 1806696"/>
              <a:gd name="connsiteY194" fmla="*/ 44918 h 257321"/>
              <a:gd name="connsiteX195" fmla="*/ 196505 w 1806696"/>
              <a:gd name="connsiteY195" fmla="*/ 47105 h 257321"/>
              <a:gd name="connsiteX196" fmla="*/ 198378 w 1806696"/>
              <a:gd name="connsiteY196" fmla="*/ 50540 h 257321"/>
              <a:gd name="connsiteX197" fmla="*/ 200408 w 1806696"/>
              <a:gd name="connsiteY197" fmla="*/ 48978 h 257321"/>
              <a:gd name="connsiteX198" fmla="*/ 198690 w 1806696"/>
              <a:gd name="connsiteY198" fmla="*/ 44918 h 257321"/>
              <a:gd name="connsiteX199" fmla="*/ 45189 w 1806696"/>
              <a:gd name="connsiteY199" fmla="*/ 18372 h 257321"/>
              <a:gd name="connsiteX200" fmla="*/ 35820 w 1806696"/>
              <a:gd name="connsiteY200" fmla="*/ 21963 h 257321"/>
              <a:gd name="connsiteX201" fmla="*/ 34727 w 1806696"/>
              <a:gd name="connsiteY201" fmla="*/ 24462 h 257321"/>
              <a:gd name="connsiteX202" fmla="*/ 37850 w 1806696"/>
              <a:gd name="connsiteY202" fmla="*/ 25087 h 257321"/>
              <a:gd name="connsiteX203" fmla="*/ 45189 w 1806696"/>
              <a:gd name="connsiteY203" fmla="*/ 18372 h 257321"/>
              <a:gd name="connsiteX204" fmla="*/ 384912 w 1806696"/>
              <a:gd name="connsiteY204" fmla="*/ 66794 h 257321"/>
              <a:gd name="connsiteX205" fmla="*/ 364719 w 1806696"/>
              <a:gd name="connsiteY205" fmla="*/ 73953 h 257321"/>
              <a:gd name="connsiteX206" fmla="*/ 363984 w 1806696"/>
              <a:gd name="connsiteY206" fmla="*/ 76340 h 257321"/>
              <a:gd name="connsiteX207" fmla="*/ 376651 w 1806696"/>
              <a:gd name="connsiteY207" fmla="*/ 85885 h 257321"/>
              <a:gd name="connsiteX208" fmla="*/ 380506 w 1806696"/>
              <a:gd name="connsiteY208" fmla="*/ 93963 h 257321"/>
              <a:gd name="connsiteX209" fmla="*/ 381424 w 1806696"/>
              <a:gd name="connsiteY209" fmla="*/ 91943 h 257321"/>
              <a:gd name="connsiteX210" fmla="*/ 384728 w 1806696"/>
              <a:gd name="connsiteY210" fmla="*/ 91760 h 257321"/>
              <a:gd name="connsiteX211" fmla="*/ 384912 w 1806696"/>
              <a:gd name="connsiteY211" fmla="*/ 66794 h 257321"/>
              <a:gd name="connsiteX212" fmla="*/ 299549 w 1806696"/>
              <a:gd name="connsiteY212" fmla="*/ 51740 h 257321"/>
              <a:gd name="connsiteX213" fmla="*/ 294410 w 1806696"/>
              <a:gd name="connsiteY213" fmla="*/ 58900 h 257321"/>
              <a:gd name="connsiteX214" fmla="*/ 295878 w 1806696"/>
              <a:gd name="connsiteY214" fmla="*/ 65325 h 257321"/>
              <a:gd name="connsiteX215" fmla="*/ 290371 w 1806696"/>
              <a:gd name="connsiteY215" fmla="*/ 71750 h 257321"/>
              <a:gd name="connsiteX216" fmla="*/ 279724 w 1806696"/>
              <a:gd name="connsiteY216" fmla="*/ 82398 h 257321"/>
              <a:gd name="connsiteX217" fmla="*/ 279356 w 1806696"/>
              <a:gd name="connsiteY217" fmla="*/ 102407 h 257321"/>
              <a:gd name="connsiteX218" fmla="*/ 280642 w 1806696"/>
              <a:gd name="connsiteY218" fmla="*/ 108282 h 257321"/>
              <a:gd name="connsiteX219" fmla="*/ 285965 w 1806696"/>
              <a:gd name="connsiteY219" fmla="*/ 104977 h 257321"/>
              <a:gd name="connsiteX220" fmla="*/ 294409 w 1806696"/>
              <a:gd name="connsiteY220" fmla="*/ 97451 h 257321"/>
              <a:gd name="connsiteX221" fmla="*/ 301201 w 1806696"/>
              <a:gd name="connsiteY221" fmla="*/ 99654 h 257321"/>
              <a:gd name="connsiteX222" fmla="*/ 311298 w 1806696"/>
              <a:gd name="connsiteY222" fmla="*/ 101306 h 257321"/>
              <a:gd name="connsiteX223" fmla="*/ 318274 w 1806696"/>
              <a:gd name="connsiteY223" fmla="*/ 95432 h 257321"/>
              <a:gd name="connsiteX224" fmla="*/ 326352 w 1806696"/>
              <a:gd name="connsiteY224" fmla="*/ 94147 h 257321"/>
              <a:gd name="connsiteX225" fmla="*/ 330574 w 1806696"/>
              <a:gd name="connsiteY225" fmla="*/ 91393 h 257321"/>
              <a:gd name="connsiteX226" fmla="*/ 325801 w 1806696"/>
              <a:gd name="connsiteY226" fmla="*/ 87354 h 257321"/>
              <a:gd name="connsiteX227" fmla="*/ 320110 w 1806696"/>
              <a:gd name="connsiteY227" fmla="*/ 89924 h 257321"/>
              <a:gd name="connsiteX228" fmla="*/ 313685 w 1806696"/>
              <a:gd name="connsiteY228" fmla="*/ 84233 h 257321"/>
              <a:gd name="connsiteX229" fmla="*/ 310197 w 1806696"/>
              <a:gd name="connsiteY229" fmla="*/ 77257 h 257321"/>
              <a:gd name="connsiteX230" fmla="*/ 316989 w 1806696"/>
              <a:gd name="connsiteY230" fmla="*/ 79460 h 257321"/>
              <a:gd name="connsiteX231" fmla="*/ 314419 w 1806696"/>
              <a:gd name="connsiteY231" fmla="*/ 73402 h 257321"/>
              <a:gd name="connsiteX232" fmla="*/ 313685 w 1806696"/>
              <a:gd name="connsiteY232" fmla="*/ 70098 h 257321"/>
              <a:gd name="connsiteX233" fmla="*/ 299549 w 1806696"/>
              <a:gd name="connsiteY233" fmla="*/ 51740 h 257321"/>
              <a:gd name="connsiteX234" fmla="*/ 1662852 w 1806696"/>
              <a:gd name="connsiteY234" fmla="*/ 244162 h 257321"/>
              <a:gd name="connsiteX235" fmla="*/ 1661447 w 1806696"/>
              <a:gd name="connsiteY235" fmla="*/ 247754 h 257321"/>
              <a:gd name="connsiteX236" fmla="*/ 1669879 w 1806696"/>
              <a:gd name="connsiteY236" fmla="*/ 250252 h 257321"/>
              <a:gd name="connsiteX237" fmla="*/ 1662852 w 1806696"/>
              <a:gd name="connsiteY237" fmla="*/ 244162 h 257321"/>
              <a:gd name="connsiteX238" fmla="*/ 527183 w 1806696"/>
              <a:gd name="connsiteY238" fmla="*/ 78910 h 257321"/>
              <a:gd name="connsiteX239" fmla="*/ 516902 w 1806696"/>
              <a:gd name="connsiteY239" fmla="*/ 85151 h 257321"/>
              <a:gd name="connsiteX240" fmla="*/ 512129 w 1806696"/>
              <a:gd name="connsiteY240" fmla="*/ 92311 h 257321"/>
              <a:gd name="connsiteX241" fmla="*/ 518921 w 1806696"/>
              <a:gd name="connsiteY241" fmla="*/ 98002 h 257321"/>
              <a:gd name="connsiteX242" fmla="*/ 527917 w 1806696"/>
              <a:gd name="connsiteY242" fmla="*/ 91760 h 257321"/>
              <a:gd name="connsiteX243" fmla="*/ 527183 w 1806696"/>
              <a:gd name="connsiteY243" fmla="*/ 78910 h 257321"/>
              <a:gd name="connsiteX244" fmla="*/ 133105 w 1806696"/>
              <a:gd name="connsiteY244" fmla="*/ 21651 h 257321"/>
              <a:gd name="connsiteX245" fmla="*/ 130137 w 1806696"/>
              <a:gd name="connsiteY245" fmla="*/ 25087 h 257321"/>
              <a:gd name="connsiteX246" fmla="*/ 138882 w 1806696"/>
              <a:gd name="connsiteY246" fmla="*/ 33363 h 257321"/>
              <a:gd name="connsiteX247" fmla="*/ 140913 w 1806696"/>
              <a:gd name="connsiteY247" fmla="*/ 30708 h 257321"/>
              <a:gd name="connsiteX248" fmla="*/ 133105 w 1806696"/>
              <a:gd name="connsiteY248" fmla="*/ 21651 h 257321"/>
              <a:gd name="connsiteX249" fmla="*/ 177766 w 1806696"/>
              <a:gd name="connsiteY249" fmla="*/ 26961 h 257321"/>
              <a:gd name="connsiteX250" fmla="*/ 163243 w 1806696"/>
              <a:gd name="connsiteY250" fmla="*/ 40390 h 257321"/>
              <a:gd name="connsiteX251" fmla="*/ 164023 w 1806696"/>
              <a:gd name="connsiteY251" fmla="*/ 43825 h 257321"/>
              <a:gd name="connsiteX252" fmla="*/ 168083 w 1806696"/>
              <a:gd name="connsiteY252" fmla="*/ 50696 h 257321"/>
              <a:gd name="connsiteX253" fmla="*/ 178234 w 1806696"/>
              <a:gd name="connsiteY253" fmla="*/ 46324 h 257321"/>
              <a:gd name="connsiteX254" fmla="*/ 180733 w 1806696"/>
              <a:gd name="connsiteY254" fmla="*/ 44450 h 257321"/>
              <a:gd name="connsiteX255" fmla="*/ 181669 w 1806696"/>
              <a:gd name="connsiteY255" fmla="*/ 32582 h 257321"/>
              <a:gd name="connsiteX256" fmla="*/ 180888 w 1806696"/>
              <a:gd name="connsiteY256" fmla="*/ 29147 h 257321"/>
              <a:gd name="connsiteX257" fmla="*/ 177766 w 1806696"/>
              <a:gd name="connsiteY257" fmla="*/ 26961 h 257321"/>
              <a:gd name="connsiteX258" fmla="*/ 1647081 w 1806696"/>
              <a:gd name="connsiteY258" fmla="*/ 231435 h 257321"/>
              <a:gd name="connsiteX259" fmla="*/ 1638804 w 1806696"/>
              <a:gd name="connsiteY259" fmla="*/ 232606 h 257321"/>
              <a:gd name="connsiteX260" fmla="*/ 1631465 w 1806696"/>
              <a:gd name="connsiteY260" fmla="*/ 234168 h 257321"/>
              <a:gd name="connsiteX261" fmla="*/ 1628499 w 1806696"/>
              <a:gd name="connsiteY261" fmla="*/ 233856 h 257321"/>
              <a:gd name="connsiteX262" fmla="*/ 1627874 w 1806696"/>
              <a:gd name="connsiteY262" fmla="*/ 235886 h 257321"/>
              <a:gd name="connsiteX263" fmla="*/ 1630216 w 1806696"/>
              <a:gd name="connsiteY263" fmla="*/ 237447 h 257321"/>
              <a:gd name="connsiteX264" fmla="*/ 1639585 w 1806696"/>
              <a:gd name="connsiteY264" fmla="*/ 244943 h 257321"/>
              <a:gd name="connsiteX265" fmla="*/ 1643177 w 1806696"/>
              <a:gd name="connsiteY265" fmla="*/ 247441 h 257321"/>
              <a:gd name="connsiteX266" fmla="*/ 1655201 w 1806696"/>
              <a:gd name="connsiteY266" fmla="*/ 237760 h 257321"/>
              <a:gd name="connsiteX267" fmla="*/ 1656606 w 1806696"/>
              <a:gd name="connsiteY267" fmla="*/ 236042 h 257321"/>
              <a:gd name="connsiteX268" fmla="*/ 1655825 w 1806696"/>
              <a:gd name="connsiteY268" fmla="*/ 234012 h 257321"/>
              <a:gd name="connsiteX269" fmla="*/ 1647081 w 1806696"/>
              <a:gd name="connsiteY269" fmla="*/ 231435 h 257321"/>
              <a:gd name="connsiteX270" fmla="*/ 1150289 w 1806696"/>
              <a:gd name="connsiteY270" fmla="*/ 159298 h 257321"/>
              <a:gd name="connsiteX271" fmla="*/ 1127498 w 1806696"/>
              <a:gd name="connsiteY271" fmla="*/ 168826 h 257321"/>
              <a:gd name="connsiteX272" fmla="*/ 1133102 w 1806696"/>
              <a:gd name="connsiteY272" fmla="*/ 175738 h 257321"/>
              <a:gd name="connsiteX273" fmla="*/ 1147674 w 1806696"/>
              <a:gd name="connsiteY273" fmla="*/ 171815 h 257321"/>
              <a:gd name="connsiteX274" fmla="*/ 1153465 w 1806696"/>
              <a:gd name="connsiteY274" fmla="*/ 160046 h 257321"/>
              <a:gd name="connsiteX275" fmla="*/ 1150289 w 1806696"/>
              <a:gd name="connsiteY275" fmla="*/ 159298 h 257321"/>
              <a:gd name="connsiteX276" fmla="*/ 92036 w 1806696"/>
              <a:gd name="connsiteY276" fmla="*/ 5879 h 257321"/>
              <a:gd name="connsiteX277" fmla="*/ 84541 w 1806696"/>
              <a:gd name="connsiteY277" fmla="*/ 8846 h 257321"/>
              <a:gd name="connsiteX278" fmla="*/ 88287 w 1806696"/>
              <a:gd name="connsiteY278" fmla="*/ 11657 h 257321"/>
              <a:gd name="connsiteX279" fmla="*/ 96408 w 1806696"/>
              <a:gd name="connsiteY279" fmla="*/ 8534 h 257321"/>
              <a:gd name="connsiteX280" fmla="*/ 92036 w 1806696"/>
              <a:gd name="connsiteY280" fmla="*/ 5879 h 257321"/>
              <a:gd name="connsiteX281" fmla="*/ 408410 w 1806696"/>
              <a:gd name="connsiteY281" fmla="*/ 49354 h 257321"/>
              <a:gd name="connsiteX282" fmla="*/ 388767 w 1806696"/>
              <a:gd name="connsiteY282" fmla="*/ 60001 h 257321"/>
              <a:gd name="connsiteX283" fmla="*/ 389134 w 1806696"/>
              <a:gd name="connsiteY283" fmla="*/ 197132 h 257321"/>
              <a:gd name="connsiteX284" fmla="*/ 408042 w 1806696"/>
              <a:gd name="connsiteY284" fmla="*/ 207780 h 257321"/>
              <a:gd name="connsiteX285" fmla="*/ 419975 w 1806696"/>
              <a:gd name="connsiteY285" fmla="*/ 193278 h 257321"/>
              <a:gd name="connsiteX286" fmla="*/ 420341 w 1806696"/>
              <a:gd name="connsiteY286" fmla="*/ 131963 h 257321"/>
              <a:gd name="connsiteX287" fmla="*/ 419791 w 1806696"/>
              <a:gd name="connsiteY287" fmla="*/ 64040 h 257321"/>
              <a:gd name="connsiteX288" fmla="*/ 408410 w 1806696"/>
              <a:gd name="connsiteY288" fmla="*/ 49354 h 257321"/>
              <a:gd name="connsiteX289" fmla="*/ 594761 w 1806696"/>
              <a:gd name="connsiteY289" fmla="*/ 74783 h 257321"/>
              <a:gd name="connsiteX290" fmla="*/ 586953 w 1806696"/>
              <a:gd name="connsiteY290" fmla="*/ 79780 h 257321"/>
              <a:gd name="connsiteX291" fmla="*/ 593200 w 1806696"/>
              <a:gd name="connsiteY291" fmla="*/ 86963 h 257321"/>
              <a:gd name="connsiteX292" fmla="*/ 601320 w 1806696"/>
              <a:gd name="connsiteY292" fmla="*/ 79311 h 257321"/>
              <a:gd name="connsiteX293" fmla="*/ 594761 w 1806696"/>
              <a:gd name="connsiteY293" fmla="*/ 74783 h 257321"/>
              <a:gd name="connsiteX294" fmla="*/ 181201 w 1806696"/>
              <a:gd name="connsiteY294" fmla="*/ 14624 h 257321"/>
              <a:gd name="connsiteX295" fmla="*/ 176516 w 1806696"/>
              <a:gd name="connsiteY295" fmla="*/ 18060 h 257321"/>
              <a:gd name="connsiteX296" fmla="*/ 180576 w 1806696"/>
              <a:gd name="connsiteY296" fmla="*/ 20402 h 257321"/>
              <a:gd name="connsiteX297" fmla="*/ 183699 w 1806696"/>
              <a:gd name="connsiteY297" fmla="*/ 17903 h 257321"/>
              <a:gd name="connsiteX298" fmla="*/ 181201 w 1806696"/>
              <a:gd name="connsiteY298" fmla="*/ 14624 h 257321"/>
              <a:gd name="connsiteX299" fmla="*/ 141733 w 1806696"/>
              <a:gd name="connsiteY299" fmla="*/ 3459 h 257321"/>
              <a:gd name="connsiteX300" fmla="*/ 182294 w 1806696"/>
              <a:gd name="connsiteY300" fmla="*/ 10564 h 257321"/>
              <a:gd name="connsiteX301" fmla="*/ 200252 w 1806696"/>
              <a:gd name="connsiteY301" fmla="*/ 17123 h 257321"/>
              <a:gd name="connsiteX302" fmla="*/ 234450 w 1806696"/>
              <a:gd name="connsiteY302" fmla="*/ 56006 h 257321"/>
              <a:gd name="connsiteX303" fmla="*/ 237417 w 1806696"/>
              <a:gd name="connsiteY303" fmla="*/ 80054 h 257321"/>
              <a:gd name="connsiteX304" fmla="*/ 237886 w 1806696"/>
              <a:gd name="connsiteY304" fmla="*/ 108630 h 257321"/>
              <a:gd name="connsiteX305" fmla="*/ 232889 w 1806696"/>
              <a:gd name="connsiteY305" fmla="*/ 113315 h 257321"/>
              <a:gd name="connsiteX306" fmla="*/ 142943 w 1806696"/>
              <a:gd name="connsiteY306" fmla="*/ 113315 h 257321"/>
              <a:gd name="connsiteX307" fmla="*/ 137790 w 1806696"/>
              <a:gd name="connsiteY307" fmla="*/ 108006 h 257321"/>
              <a:gd name="connsiteX308" fmla="*/ 136853 w 1806696"/>
              <a:gd name="connsiteY308" fmla="*/ 55225 h 257321"/>
              <a:gd name="connsiteX309" fmla="*/ 126703 w 1806696"/>
              <a:gd name="connsiteY309" fmla="*/ 44762 h 257321"/>
              <a:gd name="connsiteX310" fmla="*/ 106246 w 1806696"/>
              <a:gd name="connsiteY310" fmla="*/ 48666 h 257321"/>
              <a:gd name="connsiteX311" fmla="*/ 102654 w 1806696"/>
              <a:gd name="connsiteY311" fmla="*/ 60534 h 257321"/>
              <a:gd name="connsiteX312" fmla="*/ 102654 w 1806696"/>
              <a:gd name="connsiteY312" fmla="*/ 155946 h 257321"/>
              <a:gd name="connsiteX313" fmla="*/ 103435 w 1806696"/>
              <a:gd name="connsiteY313" fmla="*/ 201231 h 257321"/>
              <a:gd name="connsiteX314" fmla="*/ 121705 w 1806696"/>
              <a:gd name="connsiteY314" fmla="*/ 213099 h 257321"/>
              <a:gd name="connsiteX315" fmla="*/ 136696 w 1806696"/>
              <a:gd name="connsiteY315" fmla="*/ 200450 h 257321"/>
              <a:gd name="connsiteX316" fmla="*/ 137634 w 1806696"/>
              <a:gd name="connsiteY316" fmla="*/ 161411 h 257321"/>
              <a:gd name="connsiteX317" fmla="*/ 147940 w 1806696"/>
              <a:gd name="connsiteY317" fmla="*/ 152042 h 257321"/>
              <a:gd name="connsiteX318" fmla="*/ 231483 w 1806696"/>
              <a:gd name="connsiteY318" fmla="*/ 151886 h 257321"/>
              <a:gd name="connsiteX319" fmla="*/ 237729 w 1806696"/>
              <a:gd name="connsiteY319" fmla="*/ 158132 h 257321"/>
              <a:gd name="connsiteX320" fmla="*/ 237886 w 1806696"/>
              <a:gd name="connsiteY320" fmla="*/ 173435 h 257321"/>
              <a:gd name="connsiteX321" fmla="*/ 230858 w 1806696"/>
              <a:gd name="connsiteY321" fmla="*/ 213255 h 257321"/>
              <a:gd name="connsiteX322" fmla="*/ 186198 w 1806696"/>
              <a:gd name="connsiteY322" fmla="*/ 245111 h 257321"/>
              <a:gd name="connsiteX323" fmla="*/ 100468 w 1806696"/>
              <a:gd name="connsiteY323" fmla="*/ 253856 h 257321"/>
              <a:gd name="connsiteX324" fmla="*/ 46126 w 1806696"/>
              <a:gd name="connsiteY324" fmla="*/ 243550 h 257321"/>
              <a:gd name="connsiteX325" fmla="*/ 3495 w 1806696"/>
              <a:gd name="connsiteY325" fmla="*/ 187333 h 257321"/>
              <a:gd name="connsiteX326" fmla="*/ 1933 w 1806696"/>
              <a:gd name="connsiteY326" fmla="*/ 133303 h 257321"/>
              <a:gd name="connsiteX327" fmla="*/ 59 w 1806696"/>
              <a:gd name="connsiteY327" fmla="*/ 124558 h 257321"/>
              <a:gd name="connsiteX328" fmla="*/ 1464 w 1806696"/>
              <a:gd name="connsiteY328" fmla="*/ 63657 h 257321"/>
              <a:gd name="connsiteX329" fmla="*/ 4744 w 1806696"/>
              <a:gd name="connsiteY329" fmla="*/ 54600 h 257321"/>
              <a:gd name="connsiteX330" fmla="*/ 45033 w 1806696"/>
              <a:gd name="connsiteY330" fmla="*/ 15249 h 257321"/>
              <a:gd name="connsiteX331" fmla="*/ 100468 w 1806696"/>
              <a:gd name="connsiteY331" fmla="*/ 3381 h 257321"/>
              <a:gd name="connsiteX332" fmla="*/ 141733 w 1806696"/>
              <a:gd name="connsiteY332" fmla="*/ 3459 h 257321"/>
              <a:gd name="connsiteX333" fmla="*/ 1682587 w 1806696"/>
              <a:gd name="connsiteY333" fmla="*/ 221402 h 257321"/>
              <a:gd name="connsiteX334" fmla="*/ 1675033 w 1806696"/>
              <a:gd name="connsiteY334" fmla="*/ 226360 h 257321"/>
              <a:gd name="connsiteX335" fmla="*/ 1660823 w 1806696"/>
              <a:gd name="connsiteY335" fmla="*/ 238853 h 257321"/>
              <a:gd name="connsiteX336" fmla="*/ 1672377 w 1806696"/>
              <a:gd name="connsiteY336" fmla="*/ 240727 h 257321"/>
              <a:gd name="connsiteX337" fmla="*/ 1690024 w 1806696"/>
              <a:gd name="connsiteY337" fmla="*/ 243694 h 257321"/>
              <a:gd name="connsiteX338" fmla="*/ 1700798 w 1806696"/>
              <a:gd name="connsiteY338" fmla="*/ 244630 h 257321"/>
              <a:gd name="connsiteX339" fmla="*/ 1697363 w 1806696"/>
              <a:gd name="connsiteY339" fmla="*/ 240258 h 257321"/>
              <a:gd name="connsiteX340" fmla="*/ 1696738 w 1806696"/>
              <a:gd name="connsiteY340" fmla="*/ 238228 h 257321"/>
              <a:gd name="connsiteX341" fmla="*/ 1690649 w 1806696"/>
              <a:gd name="connsiteY341" fmla="*/ 228703 h 257321"/>
              <a:gd name="connsiteX342" fmla="*/ 1689087 w 1806696"/>
              <a:gd name="connsiteY342" fmla="*/ 227453 h 257321"/>
              <a:gd name="connsiteX343" fmla="*/ 1682587 w 1806696"/>
              <a:gd name="connsiteY343" fmla="*/ 221402 h 257321"/>
              <a:gd name="connsiteX344" fmla="*/ 1707357 w 1806696"/>
              <a:gd name="connsiteY344" fmla="*/ 222300 h 257321"/>
              <a:gd name="connsiteX345" fmla="*/ 1699861 w 1806696"/>
              <a:gd name="connsiteY345" fmla="*/ 227453 h 257321"/>
              <a:gd name="connsiteX346" fmla="*/ 1704390 w 1806696"/>
              <a:gd name="connsiteY346" fmla="*/ 233075 h 257321"/>
              <a:gd name="connsiteX347" fmla="*/ 1708607 w 1806696"/>
              <a:gd name="connsiteY347" fmla="*/ 231357 h 257321"/>
              <a:gd name="connsiteX348" fmla="*/ 1708450 w 1806696"/>
              <a:gd name="connsiteY348" fmla="*/ 228234 h 257321"/>
              <a:gd name="connsiteX349" fmla="*/ 1707357 w 1806696"/>
              <a:gd name="connsiteY349" fmla="*/ 222300 h 257321"/>
              <a:gd name="connsiteX350" fmla="*/ 462748 w 1806696"/>
              <a:gd name="connsiteY350" fmla="*/ 42745 h 257321"/>
              <a:gd name="connsiteX351" fmla="*/ 459076 w 1806696"/>
              <a:gd name="connsiteY351" fmla="*/ 42745 h 257321"/>
              <a:gd name="connsiteX352" fmla="*/ 454854 w 1806696"/>
              <a:gd name="connsiteY352" fmla="*/ 52658 h 257321"/>
              <a:gd name="connsiteX353" fmla="*/ 450448 w 1806696"/>
              <a:gd name="connsiteY353" fmla="*/ 57798 h 257321"/>
              <a:gd name="connsiteX354" fmla="*/ 432641 w 1806696"/>
              <a:gd name="connsiteY354" fmla="*/ 64224 h 257321"/>
              <a:gd name="connsiteX355" fmla="*/ 428052 w 1806696"/>
              <a:gd name="connsiteY355" fmla="*/ 83866 h 257321"/>
              <a:gd name="connsiteX356" fmla="*/ 444023 w 1806696"/>
              <a:gd name="connsiteY356" fmla="*/ 94146 h 257321"/>
              <a:gd name="connsiteX357" fmla="*/ 449162 w 1806696"/>
              <a:gd name="connsiteY357" fmla="*/ 89741 h 257321"/>
              <a:gd name="connsiteX358" fmla="*/ 458893 w 1806696"/>
              <a:gd name="connsiteY358" fmla="*/ 70282 h 257321"/>
              <a:gd name="connsiteX359" fmla="*/ 460728 w 1806696"/>
              <a:gd name="connsiteY359" fmla="*/ 68813 h 257321"/>
              <a:gd name="connsiteX360" fmla="*/ 464584 w 1806696"/>
              <a:gd name="connsiteY360" fmla="*/ 60552 h 257321"/>
              <a:gd name="connsiteX361" fmla="*/ 465685 w 1806696"/>
              <a:gd name="connsiteY361" fmla="*/ 54310 h 257321"/>
              <a:gd name="connsiteX362" fmla="*/ 462748 w 1806696"/>
              <a:gd name="connsiteY362" fmla="*/ 42745 h 257321"/>
              <a:gd name="connsiteX363" fmla="*/ 1775441 w 1806696"/>
              <a:gd name="connsiteY363" fmla="*/ 228078 h 257321"/>
              <a:gd name="connsiteX364" fmla="*/ 1767790 w 1806696"/>
              <a:gd name="connsiteY364" fmla="*/ 233075 h 257321"/>
              <a:gd name="connsiteX365" fmla="*/ 1768258 w 1806696"/>
              <a:gd name="connsiteY365" fmla="*/ 236042 h 257321"/>
              <a:gd name="connsiteX366" fmla="*/ 1772786 w 1806696"/>
              <a:gd name="connsiteY366" fmla="*/ 231201 h 257321"/>
              <a:gd name="connsiteX367" fmla="*/ 1775441 w 1806696"/>
              <a:gd name="connsiteY367" fmla="*/ 228078 h 257321"/>
              <a:gd name="connsiteX368" fmla="*/ 787614 w 1806696"/>
              <a:gd name="connsiteY368" fmla="*/ 82591 h 257321"/>
              <a:gd name="connsiteX369" fmla="*/ 779338 w 1806696"/>
              <a:gd name="connsiteY369" fmla="*/ 89774 h 257321"/>
              <a:gd name="connsiteX370" fmla="*/ 787614 w 1806696"/>
              <a:gd name="connsiteY370" fmla="*/ 82591 h 257321"/>
              <a:gd name="connsiteX371" fmla="*/ 1507225 w 1806696"/>
              <a:gd name="connsiteY371" fmla="*/ 176944 h 257321"/>
              <a:gd name="connsiteX372" fmla="*/ 1504414 w 1806696"/>
              <a:gd name="connsiteY372" fmla="*/ 180224 h 257321"/>
              <a:gd name="connsiteX373" fmla="*/ 1506132 w 1806696"/>
              <a:gd name="connsiteY373" fmla="*/ 181941 h 257321"/>
              <a:gd name="connsiteX374" fmla="*/ 1508943 w 1806696"/>
              <a:gd name="connsiteY374" fmla="*/ 178506 h 257321"/>
              <a:gd name="connsiteX375" fmla="*/ 1507225 w 1806696"/>
              <a:gd name="connsiteY375" fmla="*/ 176944 h 257321"/>
              <a:gd name="connsiteX376" fmla="*/ 1777841 w 1806696"/>
              <a:gd name="connsiteY376" fmla="*/ 215234 h 257321"/>
              <a:gd name="connsiteX377" fmla="*/ 1766853 w 1806696"/>
              <a:gd name="connsiteY377" fmla="*/ 220270 h 257321"/>
              <a:gd name="connsiteX378" fmla="*/ 1784498 w 1806696"/>
              <a:gd name="connsiteY378" fmla="*/ 225892 h 257321"/>
              <a:gd name="connsiteX379" fmla="*/ 1787309 w 1806696"/>
              <a:gd name="connsiteY379" fmla="*/ 225736 h 257321"/>
              <a:gd name="connsiteX380" fmla="*/ 1787309 w 1806696"/>
              <a:gd name="connsiteY380" fmla="*/ 223081 h 257321"/>
              <a:gd name="connsiteX381" fmla="*/ 1777841 w 1806696"/>
              <a:gd name="connsiteY381" fmla="*/ 215234 h 257321"/>
              <a:gd name="connsiteX382" fmla="*/ 1630996 w 1806696"/>
              <a:gd name="connsiteY382" fmla="*/ 193411 h 257321"/>
              <a:gd name="connsiteX383" fmla="*/ 1629435 w 1806696"/>
              <a:gd name="connsiteY383" fmla="*/ 193724 h 257321"/>
              <a:gd name="connsiteX384" fmla="*/ 1628342 w 1806696"/>
              <a:gd name="connsiteY384" fmla="*/ 197471 h 257321"/>
              <a:gd name="connsiteX385" fmla="*/ 1625063 w 1806696"/>
              <a:gd name="connsiteY385" fmla="*/ 199033 h 257321"/>
              <a:gd name="connsiteX386" fmla="*/ 1619285 w 1806696"/>
              <a:gd name="connsiteY386" fmla="*/ 200126 h 257321"/>
              <a:gd name="connsiteX387" fmla="*/ 1607574 w 1806696"/>
              <a:gd name="connsiteY387" fmla="*/ 207465 h 257321"/>
              <a:gd name="connsiteX388" fmla="*/ 1607417 w 1806696"/>
              <a:gd name="connsiteY388" fmla="*/ 207465 h 257321"/>
              <a:gd name="connsiteX389" fmla="*/ 1601795 w 1806696"/>
              <a:gd name="connsiteY389" fmla="*/ 197627 h 257321"/>
              <a:gd name="connsiteX390" fmla="*/ 1597110 w 1806696"/>
              <a:gd name="connsiteY390" fmla="*/ 211057 h 257321"/>
              <a:gd name="connsiteX391" fmla="*/ 1600390 w 1806696"/>
              <a:gd name="connsiteY391" fmla="*/ 211681 h 257321"/>
              <a:gd name="connsiteX392" fmla="*/ 1607574 w 1806696"/>
              <a:gd name="connsiteY392" fmla="*/ 207465 h 257321"/>
              <a:gd name="connsiteX393" fmla="*/ 1607574 w 1806696"/>
              <a:gd name="connsiteY393" fmla="*/ 207621 h 257321"/>
              <a:gd name="connsiteX394" fmla="*/ 1607729 w 1806696"/>
              <a:gd name="connsiteY394" fmla="*/ 207621 h 257321"/>
              <a:gd name="connsiteX395" fmla="*/ 1613039 w 1806696"/>
              <a:gd name="connsiteY395" fmla="*/ 213087 h 257321"/>
              <a:gd name="connsiteX396" fmla="*/ 1625375 w 1806696"/>
              <a:gd name="connsiteY396" fmla="*/ 215117 h 257321"/>
              <a:gd name="connsiteX397" fmla="*/ 1631778 w 1806696"/>
              <a:gd name="connsiteY397" fmla="*/ 201844 h 257321"/>
              <a:gd name="connsiteX398" fmla="*/ 1633963 w 1806696"/>
              <a:gd name="connsiteY398" fmla="*/ 194192 h 257321"/>
              <a:gd name="connsiteX399" fmla="*/ 1630996 w 1806696"/>
              <a:gd name="connsiteY399" fmla="*/ 193411 h 257321"/>
              <a:gd name="connsiteX400" fmla="*/ 461462 w 1806696"/>
              <a:gd name="connsiteY400" fmla="*/ 24938 h 257321"/>
              <a:gd name="connsiteX401" fmla="*/ 457057 w 1806696"/>
              <a:gd name="connsiteY401" fmla="*/ 30813 h 257321"/>
              <a:gd name="connsiteX402" fmla="*/ 460177 w 1806696"/>
              <a:gd name="connsiteY402" fmla="*/ 34301 h 257321"/>
              <a:gd name="connsiteX403" fmla="*/ 463666 w 1806696"/>
              <a:gd name="connsiteY403" fmla="*/ 29711 h 257321"/>
              <a:gd name="connsiteX404" fmla="*/ 461462 w 1806696"/>
              <a:gd name="connsiteY404" fmla="*/ 24938 h 257321"/>
              <a:gd name="connsiteX405" fmla="*/ 1258445 w 1806696"/>
              <a:gd name="connsiteY405" fmla="*/ 137867 h 257321"/>
              <a:gd name="connsiteX406" fmla="*/ 1254854 w 1806696"/>
              <a:gd name="connsiteY406" fmla="*/ 141147 h 257321"/>
              <a:gd name="connsiteX407" fmla="*/ 1260476 w 1806696"/>
              <a:gd name="connsiteY407" fmla="*/ 146768 h 257321"/>
              <a:gd name="connsiteX408" fmla="*/ 1262193 w 1806696"/>
              <a:gd name="connsiteY408" fmla="*/ 143957 h 257321"/>
              <a:gd name="connsiteX409" fmla="*/ 1258445 w 1806696"/>
              <a:gd name="connsiteY409" fmla="*/ 137867 h 257321"/>
              <a:gd name="connsiteX410" fmla="*/ 386748 w 1806696"/>
              <a:gd name="connsiteY410" fmla="*/ 11904 h 257321"/>
              <a:gd name="connsiteX411" fmla="*/ 380139 w 1806696"/>
              <a:gd name="connsiteY411" fmla="*/ 19247 h 257321"/>
              <a:gd name="connsiteX412" fmla="*/ 390787 w 1806696"/>
              <a:gd name="connsiteY412" fmla="*/ 24571 h 257321"/>
              <a:gd name="connsiteX413" fmla="*/ 393172 w 1806696"/>
              <a:gd name="connsiteY413" fmla="*/ 21634 h 257321"/>
              <a:gd name="connsiteX414" fmla="*/ 386748 w 1806696"/>
              <a:gd name="connsiteY414" fmla="*/ 11904 h 257321"/>
              <a:gd name="connsiteX415" fmla="*/ 714689 w 1806696"/>
              <a:gd name="connsiteY415" fmla="*/ 58855 h 257321"/>
              <a:gd name="connsiteX416" fmla="*/ 715158 w 1806696"/>
              <a:gd name="connsiteY416" fmla="*/ 66507 h 257321"/>
              <a:gd name="connsiteX417" fmla="*/ 721092 w 1806696"/>
              <a:gd name="connsiteY417" fmla="*/ 70254 h 257321"/>
              <a:gd name="connsiteX418" fmla="*/ 725776 w 1806696"/>
              <a:gd name="connsiteY418" fmla="*/ 70567 h 257321"/>
              <a:gd name="connsiteX419" fmla="*/ 726869 w 1806696"/>
              <a:gd name="connsiteY419" fmla="*/ 63539 h 257321"/>
              <a:gd name="connsiteX420" fmla="*/ 721560 w 1806696"/>
              <a:gd name="connsiteY420" fmla="*/ 61041 h 257321"/>
              <a:gd name="connsiteX421" fmla="*/ 714689 w 1806696"/>
              <a:gd name="connsiteY421" fmla="*/ 58855 h 257321"/>
              <a:gd name="connsiteX422" fmla="*/ 480371 w 1806696"/>
              <a:gd name="connsiteY422" fmla="*/ 23286 h 257321"/>
              <a:gd name="connsiteX423" fmla="*/ 487530 w 1806696"/>
              <a:gd name="connsiteY423" fmla="*/ 29895 h 257321"/>
              <a:gd name="connsiteX424" fmla="*/ 489734 w 1806696"/>
              <a:gd name="connsiteY424" fmla="*/ 27876 h 257321"/>
              <a:gd name="connsiteX425" fmla="*/ 480371 w 1806696"/>
              <a:gd name="connsiteY425" fmla="*/ 23286 h 257321"/>
              <a:gd name="connsiteX426" fmla="*/ 808071 w 1806696"/>
              <a:gd name="connsiteY426" fmla="*/ 70254 h 257321"/>
              <a:gd name="connsiteX427" fmla="*/ 804947 w 1806696"/>
              <a:gd name="connsiteY427" fmla="*/ 71972 h 257321"/>
              <a:gd name="connsiteX428" fmla="*/ 797140 w 1806696"/>
              <a:gd name="connsiteY428" fmla="*/ 78999 h 257321"/>
              <a:gd name="connsiteX429" fmla="*/ 799794 w 1806696"/>
              <a:gd name="connsiteY429" fmla="*/ 88056 h 257321"/>
              <a:gd name="connsiteX430" fmla="*/ 806821 w 1806696"/>
              <a:gd name="connsiteY430" fmla="*/ 84152 h 257321"/>
              <a:gd name="connsiteX431" fmla="*/ 808852 w 1806696"/>
              <a:gd name="connsiteY431" fmla="*/ 73690 h 257321"/>
              <a:gd name="connsiteX432" fmla="*/ 808071 w 1806696"/>
              <a:gd name="connsiteY432" fmla="*/ 70254 h 257321"/>
              <a:gd name="connsiteX433" fmla="*/ 1222373 w 1806696"/>
              <a:gd name="connsiteY433" fmla="*/ 129435 h 257321"/>
              <a:gd name="connsiteX434" fmla="*/ 1219094 w 1806696"/>
              <a:gd name="connsiteY434" fmla="*/ 133807 h 257321"/>
              <a:gd name="connsiteX435" fmla="*/ 1220656 w 1806696"/>
              <a:gd name="connsiteY435" fmla="*/ 144426 h 257321"/>
              <a:gd name="connsiteX436" fmla="*/ 1226589 w 1806696"/>
              <a:gd name="connsiteY436" fmla="*/ 135369 h 257321"/>
              <a:gd name="connsiteX437" fmla="*/ 1222373 w 1806696"/>
              <a:gd name="connsiteY437" fmla="*/ 129435 h 257321"/>
              <a:gd name="connsiteX438" fmla="*/ 1769819 w 1806696"/>
              <a:gd name="connsiteY438" fmla="*/ 205435 h 257321"/>
              <a:gd name="connsiteX439" fmla="*/ 1766384 w 1806696"/>
              <a:gd name="connsiteY439" fmla="*/ 208246 h 257321"/>
              <a:gd name="connsiteX440" fmla="*/ 1770288 w 1806696"/>
              <a:gd name="connsiteY440" fmla="*/ 210276 h 257321"/>
              <a:gd name="connsiteX441" fmla="*/ 1772942 w 1806696"/>
              <a:gd name="connsiteY441" fmla="*/ 207465 h 257321"/>
              <a:gd name="connsiteX442" fmla="*/ 1769819 w 1806696"/>
              <a:gd name="connsiteY442" fmla="*/ 205435 h 257321"/>
              <a:gd name="connsiteX443" fmla="*/ 1714852 w 1806696"/>
              <a:gd name="connsiteY443" fmla="*/ 196847 h 257321"/>
              <a:gd name="connsiteX444" fmla="*/ 1712979 w 1806696"/>
              <a:gd name="connsiteY444" fmla="*/ 207778 h 257321"/>
              <a:gd name="connsiteX445" fmla="*/ 1720943 w 1806696"/>
              <a:gd name="connsiteY445" fmla="*/ 223237 h 257321"/>
              <a:gd name="connsiteX446" fmla="*/ 1729531 w 1806696"/>
              <a:gd name="connsiteY446" fmla="*/ 219489 h 257321"/>
              <a:gd name="connsiteX447" fmla="*/ 1726408 w 1806696"/>
              <a:gd name="connsiteY447" fmla="*/ 210432 h 257321"/>
              <a:gd name="connsiteX448" fmla="*/ 1722504 w 1806696"/>
              <a:gd name="connsiteY448" fmla="*/ 207153 h 257321"/>
              <a:gd name="connsiteX449" fmla="*/ 1726565 w 1806696"/>
              <a:gd name="connsiteY449" fmla="*/ 206060 h 257321"/>
              <a:gd name="connsiteX450" fmla="*/ 1729063 w 1806696"/>
              <a:gd name="connsiteY450" fmla="*/ 204498 h 257321"/>
              <a:gd name="connsiteX451" fmla="*/ 1727033 w 1806696"/>
              <a:gd name="connsiteY451" fmla="*/ 202156 h 257321"/>
              <a:gd name="connsiteX452" fmla="*/ 1714852 w 1806696"/>
              <a:gd name="connsiteY452" fmla="*/ 196847 h 257321"/>
              <a:gd name="connsiteX453" fmla="*/ 441820 w 1806696"/>
              <a:gd name="connsiteY453" fmla="*/ 10436 h 257321"/>
              <a:gd name="connsiteX454" fmla="*/ 493772 w 1806696"/>
              <a:gd name="connsiteY454" fmla="*/ 25306 h 257321"/>
              <a:gd name="connsiteX455" fmla="*/ 531221 w 1806696"/>
              <a:gd name="connsiteY455" fmla="*/ 74504 h 257321"/>
              <a:gd name="connsiteX456" fmla="*/ 532322 w 1806696"/>
              <a:gd name="connsiteY456" fmla="*/ 85885 h 257321"/>
              <a:gd name="connsiteX457" fmla="*/ 532139 w 1806696"/>
              <a:gd name="connsiteY457" fmla="*/ 166292 h 257321"/>
              <a:gd name="connsiteX458" fmla="*/ 530670 w 1806696"/>
              <a:gd name="connsiteY458" fmla="*/ 177857 h 257321"/>
              <a:gd name="connsiteX459" fmla="*/ 530670 w 1806696"/>
              <a:gd name="connsiteY459" fmla="*/ 178958 h 257321"/>
              <a:gd name="connsiteX460" fmla="*/ 527366 w 1806696"/>
              <a:gd name="connsiteY460" fmla="*/ 196031 h 257321"/>
              <a:gd name="connsiteX461" fmla="*/ 511579 w 1806696"/>
              <a:gd name="connsiteY461" fmla="*/ 220079 h 257321"/>
              <a:gd name="connsiteX462" fmla="*/ 456690 w 1806696"/>
              <a:gd name="connsiteY462" fmla="*/ 244862 h 257321"/>
              <a:gd name="connsiteX463" fmla="*/ 335898 w 1806696"/>
              <a:gd name="connsiteY463" fmla="*/ 242843 h 257321"/>
              <a:gd name="connsiteX464" fmla="*/ 286883 w 1806696"/>
              <a:gd name="connsiteY464" fmla="*/ 214389 h 257321"/>
              <a:gd name="connsiteX465" fmla="*/ 281192 w 1806696"/>
              <a:gd name="connsiteY465" fmla="*/ 208331 h 257321"/>
              <a:gd name="connsiteX466" fmla="*/ 274400 w 1806696"/>
              <a:gd name="connsiteY466" fmla="*/ 159499 h 257321"/>
              <a:gd name="connsiteX467" fmla="*/ 275684 w 1806696"/>
              <a:gd name="connsiteY467" fmla="*/ 158581 h 257321"/>
              <a:gd name="connsiteX468" fmla="*/ 275318 w 1806696"/>
              <a:gd name="connsiteY468" fmla="*/ 155828 h 257321"/>
              <a:gd name="connsiteX469" fmla="*/ 275501 w 1806696"/>
              <a:gd name="connsiteY469" fmla="*/ 93963 h 257321"/>
              <a:gd name="connsiteX470" fmla="*/ 289086 w 1806696"/>
              <a:gd name="connsiteY470" fmla="*/ 44948 h 257321"/>
              <a:gd name="connsiteX471" fmla="*/ 329289 w 1806696"/>
              <a:gd name="connsiteY471" fmla="*/ 17963 h 257321"/>
              <a:gd name="connsiteX472" fmla="*/ 441820 w 1806696"/>
              <a:gd name="connsiteY472" fmla="*/ 10436 h 257321"/>
              <a:gd name="connsiteX473" fmla="*/ 1149916 w 1806696"/>
              <a:gd name="connsiteY473" fmla="*/ 106804 h 257321"/>
              <a:gd name="connsiteX474" fmla="*/ 1128432 w 1806696"/>
              <a:gd name="connsiteY474" fmla="*/ 116517 h 257321"/>
              <a:gd name="connsiteX475" fmla="*/ 1129366 w 1806696"/>
              <a:gd name="connsiteY475" fmla="*/ 105869 h 257321"/>
              <a:gd name="connsiteX476" fmla="*/ 1118905 w 1806696"/>
              <a:gd name="connsiteY476" fmla="*/ 112034 h 257321"/>
              <a:gd name="connsiteX477" fmla="*/ 1130860 w 1806696"/>
              <a:gd name="connsiteY477" fmla="*/ 131650 h 257321"/>
              <a:gd name="connsiteX478" fmla="*/ 1134783 w 1806696"/>
              <a:gd name="connsiteY478" fmla="*/ 119880 h 257321"/>
              <a:gd name="connsiteX479" fmla="*/ 1149916 w 1806696"/>
              <a:gd name="connsiteY479" fmla="*/ 106804 h 257321"/>
              <a:gd name="connsiteX480" fmla="*/ 1725939 w 1806696"/>
              <a:gd name="connsiteY480" fmla="*/ 185037 h 257321"/>
              <a:gd name="connsiteX481" fmla="*/ 1721723 w 1806696"/>
              <a:gd name="connsiteY481" fmla="*/ 187165 h 257321"/>
              <a:gd name="connsiteX482" fmla="*/ 1717039 w 1806696"/>
              <a:gd name="connsiteY482" fmla="*/ 192474 h 257321"/>
              <a:gd name="connsiteX483" fmla="*/ 1723754 w 1806696"/>
              <a:gd name="connsiteY483" fmla="*/ 195129 h 257321"/>
              <a:gd name="connsiteX484" fmla="*/ 1728282 w 1806696"/>
              <a:gd name="connsiteY484" fmla="*/ 191693 h 257321"/>
              <a:gd name="connsiteX485" fmla="*/ 1730624 w 1806696"/>
              <a:gd name="connsiteY485" fmla="*/ 186072 h 257321"/>
              <a:gd name="connsiteX486" fmla="*/ 1725939 w 1806696"/>
              <a:gd name="connsiteY486" fmla="*/ 185037 h 257321"/>
              <a:gd name="connsiteX487" fmla="*/ 794095 w 1806696"/>
              <a:gd name="connsiteY487" fmla="*/ 46382 h 257321"/>
              <a:gd name="connsiteX488" fmla="*/ 787146 w 1806696"/>
              <a:gd name="connsiteY488" fmla="*/ 45581 h 257321"/>
              <a:gd name="connsiteX489" fmla="*/ 777932 w 1806696"/>
              <a:gd name="connsiteY489" fmla="*/ 54639 h 257321"/>
              <a:gd name="connsiteX490" fmla="*/ 775903 w 1806696"/>
              <a:gd name="connsiteY490" fmla="*/ 58074 h 257321"/>
              <a:gd name="connsiteX491" fmla="*/ 773560 w 1806696"/>
              <a:gd name="connsiteY491" fmla="*/ 61666 h 257321"/>
              <a:gd name="connsiteX492" fmla="*/ 779806 w 1806696"/>
              <a:gd name="connsiteY492" fmla="*/ 62446 h 257321"/>
              <a:gd name="connsiteX493" fmla="*/ 791362 w 1806696"/>
              <a:gd name="connsiteY493" fmla="*/ 57606 h 257321"/>
              <a:gd name="connsiteX494" fmla="*/ 796827 w 1806696"/>
              <a:gd name="connsiteY494" fmla="*/ 53389 h 257321"/>
              <a:gd name="connsiteX495" fmla="*/ 794095 w 1806696"/>
              <a:gd name="connsiteY495" fmla="*/ 46382 h 257321"/>
              <a:gd name="connsiteX496" fmla="*/ 1463814 w 1806696"/>
              <a:gd name="connsiteY496" fmla="*/ 138217 h 257321"/>
              <a:gd name="connsiteX497" fmla="*/ 1462877 w 1806696"/>
              <a:gd name="connsiteY497" fmla="*/ 142277 h 257321"/>
              <a:gd name="connsiteX498" fmla="*/ 1452102 w 1806696"/>
              <a:gd name="connsiteY498" fmla="*/ 144620 h 257321"/>
              <a:gd name="connsiteX499" fmla="*/ 1449760 w 1806696"/>
              <a:gd name="connsiteY499" fmla="*/ 144464 h 257321"/>
              <a:gd name="connsiteX500" fmla="*/ 1449135 w 1806696"/>
              <a:gd name="connsiteY500" fmla="*/ 146181 h 257321"/>
              <a:gd name="connsiteX501" fmla="*/ 1448823 w 1806696"/>
              <a:gd name="connsiteY501" fmla="*/ 166170 h 257321"/>
              <a:gd name="connsiteX502" fmla="*/ 1451946 w 1806696"/>
              <a:gd name="connsiteY502" fmla="*/ 173197 h 257321"/>
              <a:gd name="connsiteX503" fmla="*/ 1457724 w 1806696"/>
              <a:gd name="connsiteY503" fmla="*/ 174758 h 257321"/>
              <a:gd name="connsiteX504" fmla="*/ 1457880 w 1806696"/>
              <a:gd name="connsiteY504" fmla="*/ 168200 h 257321"/>
              <a:gd name="connsiteX505" fmla="*/ 1457411 w 1806696"/>
              <a:gd name="connsiteY505" fmla="*/ 164764 h 257321"/>
              <a:gd name="connsiteX506" fmla="*/ 1458036 w 1806696"/>
              <a:gd name="connsiteY506" fmla="*/ 159767 h 257321"/>
              <a:gd name="connsiteX507" fmla="*/ 1460691 w 1806696"/>
              <a:gd name="connsiteY507" fmla="*/ 163515 h 257321"/>
              <a:gd name="connsiteX508" fmla="*/ 1462252 w 1806696"/>
              <a:gd name="connsiteY508" fmla="*/ 165389 h 257321"/>
              <a:gd name="connsiteX509" fmla="*/ 1471153 w 1806696"/>
              <a:gd name="connsiteY509" fmla="*/ 164608 h 257321"/>
              <a:gd name="connsiteX510" fmla="*/ 1473651 w 1806696"/>
              <a:gd name="connsiteY510" fmla="*/ 159142 h 257321"/>
              <a:gd name="connsiteX511" fmla="*/ 1471778 w 1806696"/>
              <a:gd name="connsiteY511" fmla="*/ 149929 h 257321"/>
              <a:gd name="connsiteX512" fmla="*/ 1471309 w 1806696"/>
              <a:gd name="connsiteY512" fmla="*/ 141965 h 257321"/>
              <a:gd name="connsiteX513" fmla="*/ 1463814 w 1806696"/>
              <a:gd name="connsiteY513" fmla="*/ 138217 h 257321"/>
              <a:gd name="connsiteX514" fmla="*/ 721873 w 1806696"/>
              <a:gd name="connsiteY514" fmla="*/ 24969 h 257321"/>
              <a:gd name="connsiteX515" fmla="*/ 718280 w 1806696"/>
              <a:gd name="connsiteY515" fmla="*/ 38086 h 257321"/>
              <a:gd name="connsiteX516" fmla="*/ 724371 w 1806696"/>
              <a:gd name="connsiteY516" fmla="*/ 42771 h 257321"/>
              <a:gd name="connsiteX517" fmla="*/ 735302 w 1806696"/>
              <a:gd name="connsiteY517" fmla="*/ 34963 h 257321"/>
              <a:gd name="connsiteX518" fmla="*/ 721873 w 1806696"/>
              <a:gd name="connsiteY518" fmla="*/ 24969 h 257321"/>
              <a:gd name="connsiteX519" fmla="*/ 634581 w 1806696"/>
              <a:gd name="connsiteY519" fmla="*/ 10915 h 257321"/>
              <a:gd name="connsiteX520" fmla="*/ 608659 w 1806696"/>
              <a:gd name="connsiteY520" fmla="*/ 10915 h 257321"/>
              <a:gd name="connsiteX521" fmla="*/ 622870 w 1806696"/>
              <a:gd name="connsiteY521" fmla="*/ 28717 h 257321"/>
              <a:gd name="connsiteX522" fmla="*/ 628647 w 1806696"/>
              <a:gd name="connsiteY522" fmla="*/ 25750 h 257321"/>
              <a:gd name="connsiteX523" fmla="*/ 634581 w 1806696"/>
              <a:gd name="connsiteY523" fmla="*/ 10915 h 257321"/>
              <a:gd name="connsiteX524" fmla="*/ 1335587 w 1806696"/>
              <a:gd name="connsiteY524" fmla="*/ 107573 h 257321"/>
              <a:gd name="connsiteX525" fmla="*/ 1342146 w 1806696"/>
              <a:gd name="connsiteY525" fmla="*/ 113663 h 257321"/>
              <a:gd name="connsiteX526" fmla="*/ 1342145 w 1806696"/>
              <a:gd name="connsiteY526" fmla="*/ 144426 h 257321"/>
              <a:gd name="connsiteX527" fmla="*/ 1337305 w 1806696"/>
              <a:gd name="connsiteY527" fmla="*/ 149423 h 257321"/>
              <a:gd name="connsiteX528" fmla="*/ 1265941 w 1806696"/>
              <a:gd name="connsiteY528" fmla="*/ 149579 h 257321"/>
              <a:gd name="connsiteX529" fmla="*/ 1222373 w 1806696"/>
              <a:gd name="connsiteY529" fmla="*/ 149735 h 257321"/>
              <a:gd name="connsiteX530" fmla="*/ 1216283 w 1806696"/>
              <a:gd name="connsiteY530" fmla="*/ 143801 h 257321"/>
              <a:gd name="connsiteX531" fmla="*/ 1216284 w 1806696"/>
              <a:gd name="connsiteY531" fmla="*/ 113819 h 257321"/>
              <a:gd name="connsiteX532" fmla="*/ 1222842 w 1806696"/>
              <a:gd name="connsiteY532" fmla="*/ 107573 h 257321"/>
              <a:gd name="connsiteX533" fmla="*/ 1279215 w 1806696"/>
              <a:gd name="connsiteY533" fmla="*/ 107729 h 257321"/>
              <a:gd name="connsiteX534" fmla="*/ 1335587 w 1806696"/>
              <a:gd name="connsiteY534" fmla="*/ 107573 h 257321"/>
              <a:gd name="connsiteX535" fmla="*/ 916210 w 1806696"/>
              <a:gd name="connsiteY535" fmla="*/ 46781 h 257321"/>
              <a:gd name="connsiteX536" fmla="*/ 914857 w 1806696"/>
              <a:gd name="connsiteY536" fmla="*/ 65921 h 257321"/>
              <a:gd name="connsiteX537" fmla="*/ 891270 w 1806696"/>
              <a:gd name="connsiteY537" fmla="*/ 66694 h 257321"/>
              <a:gd name="connsiteX538" fmla="*/ 880637 w 1806696"/>
              <a:gd name="connsiteY538" fmla="*/ 67661 h 257321"/>
              <a:gd name="connsiteX539" fmla="*/ 865556 w 1806696"/>
              <a:gd name="connsiteY539" fmla="*/ 86221 h 257321"/>
              <a:gd name="connsiteX540" fmla="*/ 910217 w 1806696"/>
              <a:gd name="connsiteY540" fmla="*/ 90667 h 257321"/>
              <a:gd name="connsiteX541" fmla="*/ 914470 w 1806696"/>
              <a:gd name="connsiteY541" fmla="*/ 101881 h 257321"/>
              <a:gd name="connsiteX542" fmla="*/ 941731 w 1806696"/>
              <a:gd name="connsiteY542" fmla="*/ 94728 h 257321"/>
              <a:gd name="connsiteX543" fmla="*/ 925877 w 1806696"/>
              <a:gd name="connsiteY543" fmla="*/ 76748 h 257321"/>
              <a:gd name="connsiteX544" fmla="*/ 934189 w 1806696"/>
              <a:gd name="connsiteY544" fmla="*/ 82934 h 257321"/>
              <a:gd name="connsiteX545" fmla="*/ 929743 w 1806696"/>
              <a:gd name="connsiteY545" fmla="*/ 59347 h 257321"/>
              <a:gd name="connsiteX546" fmla="*/ 916210 w 1806696"/>
              <a:gd name="connsiteY546" fmla="*/ 46781 h 257321"/>
              <a:gd name="connsiteX547" fmla="*/ 1147674 w 1806696"/>
              <a:gd name="connsiteY547" fmla="*/ 65330 h 257321"/>
              <a:gd name="connsiteX548" fmla="*/ 1145058 w 1806696"/>
              <a:gd name="connsiteY548" fmla="*/ 66077 h 257321"/>
              <a:gd name="connsiteX549" fmla="*/ 1148047 w 1806696"/>
              <a:gd name="connsiteY549" fmla="*/ 78594 h 257321"/>
              <a:gd name="connsiteX550" fmla="*/ 1138893 w 1806696"/>
              <a:gd name="connsiteY550" fmla="*/ 85319 h 257321"/>
              <a:gd name="connsiteX551" fmla="*/ 1140202 w 1806696"/>
              <a:gd name="connsiteY551" fmla="*/ 88682 h 257321"/>
              <a:gd name="connsiteX552" fmla="*/ 1163927 w 1806696"/>
              <a:gd name="connsiteY552" fmla="*/ 86441 h 257321"/>
              <a:gd name="connsiteX553" fmla="*/ 1147674 w 1806696"/>
              <a:gd name="connsiteY553" fmla="*/ 65330 h 257321"/>
              <a:gd name="connsiteX554" fmla="*/ 821500 w 1806696"/>
              <a:gd name="connsiteY554" fmla="*/ 10758 h 257321"/>
              <a:gd name="connsiteX555" fmla="*/ 806353 w 1806696"/>
              <a:gd name="connsiteY555" fmla="*/ 13257 h 257321"/>
              <a:gd name="connsiteX556" fmla="*/ 797140 w 1806696"/>
              <a:gd name="connsiteY556" fmla="*/ 15131 h 257321"/>
              <a:gd name="connsiteX557" fmla="*/ 798545 w 1806696"/>
              <a:gd name="connsiteY557" fmla="*/ 18254 h 257321"/>
              <a:gd name="connsiteX558" fmla="*/ 806977 w 1806696"/>
              <a:gd name="connsiteY558" fmla="*/ 39179 h 257321"/>
              <a:gd name="connsiteX559" fmla="*/ 814005 w 1806696"/>
              <a:gd name="connsiteY559" fmla="*/ 47768 h 257321"/>
              <a:gd name="connsiteX560" fmla="*/ 821500 w 1806696"/>
              <a:gd name="connsiteY560" fmla="*/ 10758 h 257321"/>
              <a:gd name="connsiteX561" fmla="*/ 904416 w 1806696"/>
              <a:gd name="connsiteY561" fmla="*/ 21647 h 257321"/>
              <a:gd name="connsiteX562" fmla="*/ 900936 w 1806696"/>
              <a:gd name="connsiteY562" fmla="*/ 24934 h 257321"/>
              <a:gd name="connsiteX563" fmla="*/ 910990 w 1806696"/>
              <a:gd name="connsiteY563" fmla="*/ 40208 h 257321"/>
              <a:gd name="connsiteX564" fmla="*/ 914276 w 1806696"/>
              <a:gd name="connsiteY564" fmla="*/ 39628 h 257321"/>
              <a:gd name="connsiteX565" fmla="*/ 913310 w 1806696"/>
              <a:gd name="connsiteY565" fmla="*/ 28221 h 257321"/>
              <a:gd name="connsiteX566" fmla="*/ 904416 w 1806696"/>
              <a:gd name="connsiteY566" fmla="*/ 21647 h 257321"/>
              <a:gd name="connsiteX567" fmla="*/ 821187 w 1806696"/>
              <a:gd name="connsiteY567" fmla="*/ 7792 h 257321"/>
              <a:gd name="connsiteX568" fmla="*/ 824780 w 1806696"/>
              <a:gd name="connsiteY568" fmla="*/ 11539 h 257321"/>
              <a:gd name="connsiteX569" fmla="*/ 814785 w 1806696"/>
              <a:gd name="connsiteY569" fmla="*/ 57137 h 257321"/>
              <a:gd name="connsiteX570" fmla="*/ 814473 w 1806696"/>
              <a:gd name="connsiteY570" fmla="*/ 58543 h 257321"/>
              <a:gd name="connsiteX571" fmla="*/ 801356 w 1806696"/>
              <a:gd name="connsiteY571" fmla="*/ 123348 h 257321"/>
              <a:gd name="connsiteX572" fmla="*/ 776995 w 1806696"/>
              <a:gd name="connsiteY572" fmla="*/ 239684 h 257321"/>
              <a:gd name="connsiteX573" fmla="*/ 776059 w 1806696"/>
              <a:gd name="connsiteY573" fmla="*/ 242339 h 257321"/>
              <a:gd name="connsiteX574" fmla="*/ 768094 w 1806696"/>
              <a:gd name="connsiteY574" fmla="*/ 249679 h 257321"/>
              <a:gd name="connsiteX575" fmla="*/ 630521 w 1806696"/>
              <a:gd name="connsiteY575" fmla="*/ 249678 h 257321"/>
              <a:gd name="connsiteX576" fmla="*/ 622557 w 1806696"/>
              <a:gd name="connsiteY576" fmla="*/ 242027 h 257321"/>
              <a:gd name="connsiteX577" fmla="*/ 600540 w 1806696"/>
              <a:gd name="connsiteY577" fmla="*/ 151456 h 257321"/>
              <a:gd name="connsiteX578" fmla="*/ 567902 w 1806696"/>
              <a:gd name="connsiteY578" fmla="*/ 14350 h 257321"/>
              <a:gd name="connsiteX579" fmla="*/ 573056 w 1806696"/>
              <a:gd name="connsiteY579" fmla="*/ 7635 h 257321"/>
              <a:gd name="connsiteX580" fmla="*/ 665032 w 1806696"/>
              <a:gd name="connsiteY580" fmla="*/ 7635 h 257321"/>
              <a:gd name="connsiteX581" fmla="*/ 672995 w 1806696"/>
              <a:gd name="connsiteY581" fmla="*/ 14506 h 257321"/>
              <a:gd name="connsiteX582" fmla="*/ 696263 w 1806696"/>
              <a:gd name="connsiteY582" fmla="*/ 168009 h 257321"/>
              <a:gd name="connsiteX583" fmla="*/ 697669 w 1806696"/>
              <a:gd name="connsiteY583" fmla="*/ 172069 h 257321"/>
              <a:gd name="connsiteX584" fmla="*/ 704383 w 1806696"/>
              <a:gd name="connsiteY584" fmla="*/ 118194 h 257321"/>
              <a:gd name="connsiteX585" fmla="*/ 713753 w 1806696"/>
              <a:gd name="connsiteY585" fmla="*/ 52609 h 257321"/>
              <a:gd name="connsiteX586" fmla="*/ 718593 w 1806696"/>
              <a:gd name="connsiteY586" fmla="*/ 13257 h 257321"/>
              <a:gd name="connsiteX587" fmla="*/ 724214 w 1806696"/>
              <a:gd name="connsiteY587" fmla="*/ 7792 h 257321"/>
              <a:gd name="connsiteX588" fmla="*/ 792767 w 1806696"/>
              <a:gd name="connsiteY588" fmla="*/ 8104 h 257321"/>
              <a:gd name="connsiteX589" fmla="*/ 821187 w 1806696"/>
              <a:gd name="connsiteY589" fmla="*/ 7792 h 257321"/>
              <a:gd name="connsiteX590" fmla="*/ 1490048 w 1806696"/>
              <a:gd name="connsiteY590" fmla="*/ 101677 h 257321"/>
              <a:gd name="connsiteX591" fmla="*/ 1487705 w 1806696"/>
              <a:gd name="connsiteY591" fmla="*/ 106361 h 257321"/>
              <a:gd name="connsiteX592" fmla="*/ 1490204 w 1806696"/>
              <a:gd name="connsiteY592" fmla="*/ 108391 h 257321"/>
              <a:gd name="connsiteX593" fmla="*/ 1493640 w 1806696"/>
              <a:gd name="connsiteY593" fmla="*/ 105424 h 257321"/>
              <a:gd name="connsiteX594" fmla="*/ 1490048 w 1806696"/>
              <a:gd name="connsiteY594" fmla="*/ 101677 h 257321"/>
              <a:gd name="connsiteX595" fmla="*/ 1008870 w 1806696"/>
              <a:gd name="connsiteY595" fmla="*/ 23670 h 257321"/>
              <a:gd name="connsiteX596" fmla="*/ 993364 w 1806696"/>
              <a:gd name="connsiteY596" fmla="*/ 31516 h 257321"/>
              <a:gd name="connsiteX597" fmla="*/ 1009056 w 1806696"/>
              <a:gd name="connsiteY597" fmla="*/ 37121 h 257321"/>
              <a:gd name="connsiteX598" fmla="*/ 1008870 w 1806696"/>
              <a:gd name="connsiteY598" fmla="*/ 23670 h 257321"/>
              <a:gd name="connsiteX599" fmla="*/ 1139454 w 1806696"/>
              <a:gd name="connsiteY599" fmla="*/ 35066 h 257321"/>
              <a:gd name="connsiteX600" fmla="*/ 1130487 w 1806696"/>
              <a:gd name="connsiteY600" fmla="*/ 41231 h 257321"/>
              <a:gd name="connsiteX601" fmla="*/ 1129739 w 1806696"/>
              <a:gd name="connsiteY601" fmla="*/ 74671 h 257321"/>
              <a:gd name="connsiteX602" fmla="*/ 1132356 w 1806696"/>
              <a:gd name="connsiteY602" fmla="*/ 74857 h 257321"/>
              <a:gd name="connsiteX603" fmla="*/ 1142256 w 1806696"/>
              <a:gd name="connsiteY603" fmla="*/ 55055 h 257321"/>
              <a:gd name="connsiteX604" fmla="*/ 1144311 w 1806696"/>
              <a:gd name="connsiteY604" fmla="*/ 43846 h 257321"/>
              <a:gd name="connsiteX605" fmla="*/ 1139454 w 1806696"/>
              <a:gd name="connsiteY605" fmla="*/ 35066 h 257321"/>
              <a:gd name="connsiteX606" fmla="*/ 1082102 w 1806696"/>
              <a:gd name="connsiteY606" fmla="*/ 24231 h 257321"/>
              <a:gd name="connsiteX607" fmla="*/ 1056134 w 1806696"/>
              <a:gd name="connsiteY607" fmla="*/ 31516 h 257321"/>
              <a:gd name="connsiteX608" fmla="*/ 1076497 w 1806696"/>
              <a:gd name="connsiteY608" fmla="*/ 36373 h 257321"/>
              <a:gd name="connsiteX609" fmla="*/ 1082102 w 1806696"/>
              <a:gd name="connsiteY609" fmla="*/ 24231 h 257321"/>
              <a:gd name="connsiteX610" fmla="*/ 948304 w 1806696"/>
              <a:gd name="connsiteY610" fmla="*/ 1154 h 257321"/>
              <a:gd name="connsiteX611" fmla="*/ 947724 w 1806696"/>
              <a:gd name="connsiteY611" fmla="*/ 257321 h 257321"/>
              <a:gd name="connsiteX612" fmla="*/ 874063 w 1806696"/>
              <a:gd name="connsiteY612" fmla="*/ 255001 h 257321"/>
              <a:gd name="connsiteX613" fmla="*/ 872516 w 1806696"/>
              <a:gd name="connsiteY613" fmla="*/ 241854 h 257321"/>
              <a:gd name="connsiteX614" fmla="*/ 859563 w 1806696"/>
              <a:gd name="connsiteY614" fmla="*/ 227354 h 257321"/>
              <a:gd name="connsiteX615" fmla="*/ 860337 w 1806696"/>
              <a:gd name="connsiteY615" fmla="*/ 45041 h 257321"/>
              <a:gd name="connsiteX616" fmla="*/ 860337 w 1806696"/>
              <a:gd name="connsiteY616" fmla="*/ 7534 h 257321"/>
              <a:gd name="connsiteX617" fmla="*/ 866910 w 1806696"/>
              <a:gd name="connsiteY617" fmla="*/ 767 h 257321"/>
              <a:gd name="connsiteX618" fmla="*/ 902290 w 1806696"/>
              <a:gd name="connsiteY618" fmla="*/ 1734 h 257321"/>
              <a:gd name="connsiteX619" fmla="*/ 928776 w 1806696"/>
              <a:gd name="connsiteY619" fmla="*/ 961 h 257321"/>
              <a:gd name="connsiteX620" fmla="*/ 948304 w 1806696"/>
              <a:gd name="connsiteY620" fmla="*/ 1154 h 257321"/>
              <a:gd name="connsiteX621" fmla="*/ 1439044 w 1806696"/>
              <a:gd name="connsiteY621" fmla="*/ 69118 h 257321"/>
              <a:gd name="connsiteX622" fmla="*/ 1436174 w 1806696"/>
              <a:gd name="connsiteY622" fmla="*/ 69821 h 257321"/>
              <a:gd name="connsiteX623" fmla="*/ 1429459 w 1806696"/>
              <a:gd name="connsiteY623" fmla="*/ 74818 h 257321"/>
              <a:gd name="connsiteX624" fmla="*/ 1449916 w 1806696"/>
              <a:gd name="connsiteY624" fmla="*/ 83562 h 257321"/>
              <a:gd name="connsiteX625" fmla="*/ 1455226 w 1806696"/>
              <a:gd name="connsiteY625" fmla="*/ 86842 h 257321"/>
              <a:gd name="connsiteX626" fmla="*/ 1465063 w 1806696"/>
              <a:gd name="connsiteY626" fmla="*/ 91370 h 257321"/>
              <a:gd name="connsiteX627" fmla="*/ 1469748 w 1806696"/>
              <a:gd name="connsiteY627" fmla="*/ 94806 h 257321"/>
              <a:gd name="connsiteX628" fmla="*/ 1481303 w 1806696"/>
              <a:gd name="connsiteY628" fmla="*/ 104019 h 257321"/>
              <a:gd name="connsiteX629" fmla="*/ 1473808 w 1806696"/>
              <a:gd name="connsiteY629" fmla="*/ 92151 h 257321"/>
              <a:gd name="connsiteX630" fmla="*/ 1470997 w 1806696"/>
              <a:gd name="connsiteY630" fmla="*/ 89028 h 257321"/>
              <a:gd name="connsiteX631" fmla="*/ 1467093 w 1806696"/>
              <a:gd name="connsiteY631" fmla="*/ 82782 h 257321"/>
              <a:gd name="connsiteX632" fmla="*/ 1459441 w 1806696"/>
              <a:gd name="connsiteY632" fmla="*/ 81845 h 257321"/>
              <a:gd name="connsiteX633" fmla="*/ 1441796 w 1806696"/>
              <a:gd name="connsiteY633" fmla="*/ 71694 h 257321"/>
              <a:gd name="connsiteX634" fmla="*/ 1439044 w 1806696"/>
              <a:gd name="connsiteY634" fmla="*/ 69118 h 257321"/>
              <a:gd name="connsiteX635" fmla="*/ 1145805 w 1806696"/>
              <a:gd name="connsiteY635" fmla="*/ 24978 h 257321"/>
              <a:gd name="connsiteX636" fmla="*/ 1143565 w 1806696"/>
              <a:gd name="connsiteY636" fmla="*/ 28527 h 257321"/>
              <a:gd name="connsiteX637" fmla="*/ 1153839 w 1806696"/>
              <a:gd name="connsiteY637" fmla="*/ 43846 h 257321"/>
              <a:gd name="connsiteX638" fmla="*/ 1158323 w 1806696"/>
              <a:gd name="connsiteY638" fmla="*/ 42725 h 257321"/>
              <a:gd name="connsiteX639" fmla="*/ 1160751 w 1806696"/>
              <a:gd name="connsiteY639" fmla="*/ 29835 h 257321"/>
              <a:gd name="connsiteX640" fmla="*/ 1145805 w 1806696"/>
              <a:gd name="connsiteY640" fmla="*/ 24978 h 257321"/>
              <a:gd name="connsiteX641" fmla="*/ 1138893 w 1806696"/>
              <a:gd name="connsiteY641" fmla="*/ 10780 h 257321"/>
              <a:gd name="connsiteX642" fmla="*/ 1135532 w 1806696"/>
              <a:gd name="connsiteY642" fmla="*/ 25912 h 257321"/>
              <a:gd name="connsiteX643" fmla="*/ 1152904 w 1806696"/>
              <a:gd name="connsiteY643" fmla="*/ 16945 h 257321"/>
              <a:gd name="connsiteX644" fmla="*/ 1181674 w 1806696"/>
              <a:gd name="connsiteY644" fmla="*/ 58791 h 257321"/>
              <a:gd name="connsiteX645" fmla="*/ 1180180 w 1806696"/>
              <a:gd name="connsiteY645" fmla="*/ 213662 h 257321"/>
              <a:gd name="connsiteX646" fmla="*/ 1160937 w 1806696"/>
              <a:gd name="connsiteY646" fmla="*/ 242431 h 257321"/>
              <a:gd name="connsiteX647" fmla="*/ 1151784 w 1806696"/>
              <a:gd name="connsiteY647" fmla="*/ 243366 h 257321"/>
              <a:gd name="connsiteX648" fmla="*/ 1144125 w 1806696"/>
              <a:gd name="connsiteY648" fmla="*/ 244860 h 257321"/>
              <a:gd name="connsiteX649" fmla="*/ 1116289 w 1806696"/>
              <a:gd name="connsiteY649" fmla="*/ 251585 h 257321"/>
              <a:gd name="connsiteX650" fmla="*/ 1084530 w 1806696"/>
              <a:gd name="connsiteY650" fmla="*/ 248597 h 257321"/>
              <a:gd name="connsiteX651" fmla="*/ 1076684 w 1806696"/>
              <a:gd name="connsiteY651" fmla="*/ 244299 h 257321"/>
              <a:gd name="connsiteX652" fmla="*/ 1059310 w 1806696"/>
              <a:gd name="connsiteY652" fmla="*/ 250465 h 257321"/>
              <a:gd name="connsiteX653" fmla="*/ 1074442 w 1806696"/>
              <a:gd name="connsiteY653" fmla="*/ 229354 h 257321"/>
              <a:gd name="connsiteX654" fmla="*/ 1074069 w 1806696"/>
              <a:gd name="connsiteY654" fmla="*/ 224124 h 257321"/>
              <a:gd name="connsiteX655" fmla="*/ 1080421 w 1806696"/>
              <a:gd name="connsiteY655" fmla="*/ 211047 h 257321"/>
              <a:gd name="connsiteX656" fmla="*/ 1087706 w 1806696"/>
              <a:gd name="connsiteY656" fmla="*/ 225057 h 257321"/>
              <a:gd name="connsiteX657" fmla="*/ 1099289 w 1806696"/>
              <a:gd name="connsiteY657" fmla="*/ 199464 h 257321"/>
              <a:gd name="connsiteX658" fmla="*/ 1096487 w 1806696"/>
              <a:gd name="connsiteY658" fmla="*/ 191805 h 257321"/>
              <a:gd name="connsiteX659" fmla="*/ 1096860 w 1806696"/>
              <a:gd name="connsiteY659" fmla="*/ 64023 h 257321"/>
              <a:gd name="connsiteX660" fmla="*/ 1071826 w 1806696"/>
              <a:gd name="connsiteY660" fmla="*/ 47022 h 257321"/>
              <a:gd name="connsiteX661" fmla="*/ 1068651 w 1806696"/>
              <a:gd name="connsiteY661" fmla="*/ 54308 h 257321"/>
              <a:gd name="connsiteX662" fmla="*/ 1068276 w 1806696"/>
              <a:gd name="connsiteY662" fmla="*/ 118759 h 257321"/>
              <a:gd name="connsiteX663" fmla="*/ 1067343 w 1806696"/>
              <a:gd name="connsiteY663" fmla="*/ 128847 h 257321"/>
              <a:gd name="connsiteX664" fmla="*/ 1067156 w 1806696"/>
              <a:gd name="connsiteY664" fmla="*/ 128847 h 257321"/>
              <a:gd name="connsiteX665" fmla="*/ 1056134 w 1806696"/>
              <a:gd name="connsiteY665" fmla="*/ 139496 h 257321"/>
              <a:gd name="connsiteX666" fmla="*/ 1067156 w 1806696"/>
              <a:gd name="connsiteY666" fmla="*/ 128847 h 257321"/>
              <a:gd name="connsiteX667" fmla="*/ 1067904 w 1806696"/>
              <a:gd name="connsiteY667" fmla="*/ 190870 h 257321"/>
              <a:gd name="connsiteX668" fmla="*/ 1063793 w 1806696"/>
              <a:gd name="connsiteY668" fmla="*/ 218706 h 257321"/>
              <a:gd name="connsiteX669" fmla="*/ 1065101 w 1806696"/>
              <a:gd name="connsiteY669" fmla="*/ 223002 h 257321"/>
              <a:gd name="connsiteX670" fmla="*/ 1061178 w 1806696"/>
              <a:gd name="connsiteY670" fmla="*/ 230102 h 257321"/>
              <a:gd name="connsiteX671" fmla="*/ 1041562 w 1806696"/>
              <a:gd name="connsiteY671" fmla="*/ 242805 h 257321"/>
              <a:gd name="connsiteX672" fmla="*/ 1054826 w 1806696"/>
              <a:gd name="connsiteY672" fmla="*/ 252333 h 257321"/>
              <a:gd name="connsiteX673" fmla="*/ 982902 w 1806696"/>
              <a:gd name="connsiteY673" fmla="*/ 252146 h 257321"/>
              <a:gd name="connsiteX674" fmla="*/ 983463 w 1806696"/>
              <a:gd name="connsiteY674" fmla="*/ 63836 h 257321"/>
              <a:gd name="connsiteX675" fmla="*/ 993364 w 1806696"/>
              <a:gd name="connsiteY675" fmla="*/ 62154 h 257321"/>
              <a:gd name="connsiteX676" fmla="*/ 999156 w 1806696"/>
              <a:gd name="connsiteY676" fmla="*/ 55803 h 257321"/>
              <a:gd name="connsiteX677" fmla="*/ 997100 w 1806696"/>
              <a:gd name="connsiteY677" fmla="*/ 51132 h 257321"/>
              <a:gd name="connsiteX678" fmla="*/ 990935 w 1806696"/>
              <a:gd name="connsiteY678" fmla="*/ 56550 h 257321"/>
              <a:gd name="connsiteX679" fmla="*/ 985144 w 1806696"/>
              <a:gd name="connsiteY679" fmla="*/ 61033 h 257321"/>
              <a:gd name="connsiteX680" fmla="*/ 983276 w 1806696"/>
              <a:gd name="connsiteY680" fmla="*/ 4989 h 257321"/>
              <a:gd name="connsiteX681" fmla="*/ 1138893 w 1806696"/>
              <a:gd name="connsiteY681" fmla="*/ 10780 h 257321"/>
              <a:gd name="connsiteX682" fmla="*/ 1419309 w 1806696"/>
              <a:gd name="connsiteY682" fmla="*/ 43899 h 257321"/>
              <a:gd name="connsiteX683" fmla="*/ 1407285 w 1806696"/>
              <a:gd name="connsiteY683" fmla="*/ 53424 h 257321"/>
              <a:gd name="connsiteX684" fmla="*/ 1404943 w 1806696"/>
              <a:gd name="connsiteY684" fmla="*/ 57484 h 257321"/>
              <a:gd name="connsiteX685" fmla="*/ 1402288 w 1806696"/>
              <a:gd name="connsiteY685" fmla="*/ 62325 h 257321"/>
              <a:gd name="connsiteX686" fmla="*/ 1409159 w 1806696"/>
              <a:gd name="connsiteY686" fmla="*/ 61857 h 257321"/>
              <a:gd name="connsiteX687" fmla="*/ 1418685 w 1806696"/>
              <a:gd name="connsiteY687" fmla="*/ 57796 h 257321"/>
              <a:gd name="connsiteX688" fmla="*/ 1424618 w 1806696"/>
              <a:gd name="connsiteY688" fmla="*/ 51082 h 257321"/>
              <a:gd name="connsiteX689" fmla="*/ 1419309 w 1806696"/>
              <a:gd name="connsiteY689" fmla="*/ 43899 h 257321"/>
              <a:gd name="connsiteX690" fmla="*/ 1447886 w 1806696"/>
              <a:gd name="connsiteY690" fmla="*/ 32031 h 257321"/>
              <a:gd name="connsiteX691" fmla="*/ 1435549 w 1806696"/>
              <a:gd name="connsiteY691" fmla="*/ 39526 h 257321"/>
              <a:gd name="connsiteX692" fmla="*/ 1443358 w 1806696"/>
              <a:gd name="connsiteY692" fmla="*/ 48115 h 257321"/>
              <a:gd name="connsiteX693" fmla="*/ 1453663 w 1806696"/>
              <a:gd name="connsiteY693" fmla="*/ 41868 h 257321"/>
              <a:gd name="connsiteX694" fmla="*/ 1447886 w 1806696"/>
              <a:gd name="connsiteY694" fmla="*/ 32031 h 257321"/>
              <a:gd name="connsiteX695" fmla="*/ 1657543 w 1806696"/>
              <a:gd name="connsiteY695" fmla="*/ 59272 h 257321"/>
              <a:gd name="connsiteX696" fmla="*/ 1654577 w 1806696"/>
              <a:gd name="connsiteY696" fmla="*/ 62552 h 257321"/>
              <a:gd name="connsiteX697" fmla="*/ 1663790 w 1806696"/>
              <a:gd name="connsiteY697" fmla="*/ 71609 h 257321"/>
              <a:gd name="connsiteX698" fmla="*/ 1666132 w 1806696"/>
              <a:gd name="connsiteY698" fmla="*/ 67861 h 257321"/>
              <a:gd name="connsiteX699" fmla="*/ 1657543 w 1806696"/>
              <a:gd name="connsiteY699" fmla="*/ 59272 h 257321"/>
              <a:gd name="connsiteX700" fmla="*/ 1759045 w 1806696"/>
              <a:gd name="connsiteY700" fmla="*/ 65050 h 257321"/>
              <a:gd name="connsiteX701" fmla="*/ 1757327 w 1806696"/>
              <a:gd name="connsiteY701" fmla="*/ 66456 h 257321"/>
              <a:gd name="connsiteX702" fmla="*/ 1759982 w 1806696"/>
              <a:gd name="connsiteY702" fmla="*/ 70047 h 257321"/>
              <a:gd name="connsiteX703" fmla="*/ 1762636 w 1806696"/>
              <a:gd name="connsiteY703" fmla="*/ 68329 h 257321"/>
              <a:gd name="connsiteX704" fmla="*/ 1759045 w 1806696"/>
              <a:gd name="connsiteY704" fmla="*/ 65050 h 257321"/>
              <a:gd name="connsiteX705" fmla="*/ 1778720 w 1806696"/>
              <a:gd name="connsiteY705" fmla="*/ 67236 h 257321"/>
              <a:gd name="connsiteX706" fmla="*/ 1770913 w 1806696"/>
              <a:gd name="connsiteY706" fmla="*/ 68954 h 257321"/>
              <a:gd name="connsiteX707" fmla="*/ 1765291 w 1806696"/>
              <a:gd name="connsiteY707" fmla="*/ 73795 h 257321"/>
              <a:gd name="connsiteX708" fmla="*/ 1767164 w 1806696"/>
              <a:gd name="connsiteY708" fmla="*/ 78011 h 257321"/>
              <a:gd name="connsiteX709" fmla="*/ 1777003 w 1806696"/>
              <a:gd name="connsiteY709" fmla="*/ 91441 h 257321"/>
              <a:gd name="connsiteX710" fmla="*/ 1775909 w 1806696"/>
              <a:gd name="connsiteY710" fmla="*/ 94564 h 257321"/>
              <a:gd name="connsiteX711" fmla="*/ 1759357 w 1806696"/>
              <a:gd name="connsiteY711" fmla="*/ 95813 h 257321"/>
              <a:gd name="connsiteX712" fmla="*/ 1746240 w 1806696"/>
              <a:gd name="connsiteY712" fmla="*/ 95813 h 257321"/>
              <a:gd name="connsiteX713" fmla="*/ 1739994 w 1806696"/>
              <a:gd name="connsiteY713" fmla="*/ 98936 h 257321"/>
              <a:gd name="connsiteX714" fmla="*/ 1735933 w 1806696"/>
              <a:gd name="connsiteY714" fmla="*/ 92221 h 257321"/>
              <a:gd name="connsiteX715" fmla="*/ 1732186 w 1806696"/>
              <a:gd name="connsiteY715" fmla="*/ 87381 h 257321"/>
              <a:gd name="connsiteX716" fmla="*/ 1727345 w 1806696"/>
              <a:gd name="connsiteY716" fmla="*/ 93002 h 257321"/>
              <a:gd name="connsiteX717" fmla="*/ 1727970 w 1806696"/>
              <a:gd name="connsiteY717" fmla="*/ 100810 h 257321"/>
              <a:gd name="connsiteX718" fmla="*/ 1733592 w 1806696"/>
              <a:gd name="connsiteY718" fmla="*/ 100029 h 257321"/>
              <a:gd name="connsiteX719" fmla="*/ 1736558 w 1806696"/>
              <a:gd name="connsiteY719" fmla="*/ 102059 h 257321"/>
              <a:gd name="connsiteX720" fmla="*/ 1745146 w 1806696"/>
              <a:gd name="connsiteY720" fmla="*/ 113459 h 257321"/>
              <a:gd name="connsiteX721" fmla="*/ 1760137 w 1806696"/>
              <a:gd name="connsiteY721" fmla="*/ 105495 h 257321"/>
              <a:gd name="connsiteX722" fmla="*/ 1767321 w 1806696"/>
              <a:gd name="connsiteY722" fmla="*/ 107525 h 257321"/>
              <a:gd name="connsiteX723" fmla="*/ 1769507 w 1806696"/>
              <a:gd name="connsiteY723" fmla="*/ 113303 h 257321"/>
              <a:gd name="connsiteX724" fmla="*/ 1766853 w 1806696"/>
              <a:gd name="connsiteY724" fmla="*/ 117675 h 257321"/>
              <a:gd name="connsiteX725" fmla="*/ 1760762 w 1806696"/>
              <a:gd name="connsiteY725" fmla="*/ 116426 h 257321"/>
              <a:gd name="connsiteX726" fmla="*/ 1769195 w 1806696"/>
              <a:gd name="connsiteY726" fmla="*/ 122360 h 257321"/>
              <a:gd name="connsiteX727" fmla="*/ 1774660 w 1806696"/>
              <a:gd name="connsiteY727" fmla="*/ 112366 h 257321"/>
              <a:gd name="connsiteX728" fmla="*/ 1776847 w 1806696"/>
              <a:gd name="connsiteY728" fmla="*/ 107525 h 257321"/>
              <a:gd name="connsiteX729" fmla="*/ 1782936 w 1806696"/>
              <a:gd name="connsiteY729" fmla="*/ 104089 h 257321"/>
              <a:gd name="connsiteX730" fmla="*/ 1792775 w 1806696"/>
              <a:gd name="connsiteY730" fmla="*/ 106119 h 257321"/>
              <a:gd name="connsiteX731" fmla="*/ 1796990 w 1806696"/>
              <a:gd name="connsiteY731" fmla="*/ 108930 h 257321"/>
              <a:gd name="connsiteX732" fmla="*/ 1800426 w 1806696"/>
              <a:gd name="connsiteY732" fmla="*/ 104714 h 257321"/>
              <a:gd name="connsiteX733" fmla="*/ 1799958 w 1806696"/>
              <a:gd name="connsiteY733" fmla="*/ 97062 h 257321"/>
              <a:gd name="connsiteX734" fmla="*/ 1795429 w 1806696"/>
              <a:gd name="connsiteY734" fmla="*/ 92065 h 257321"/>
              <a:gd name="connsiteX735" fmla="*/ 1791056 w 1806696"/>
              <a:gd name="connsiteY735" fmla="*/ 95657 h 257321"/>
              <a:gd name="connsiteX736" fmla="*/ 1786372 w 1806696"/>
              <a:gd name="connsiteY736" fmla="*/ 100029 h 257321"/>
              <a:gd name="connsiteX737" fmla="*/ 1782780 w 1806696"/>
              <a:gd name="connsiteY737" fmla="*/ 99249 h 257321"/>
              <a:gd name="connsiteX738" fmla="*/ 1781844 w 1806696"/>
              <a:gd name="connsiteY738" fmla="*/ 94876 h 257321"/>
              <a:gd name="connsiteX739" fmla="*/ 1787153 w 1806696"/>
              <a:gd name="connsiteY739" fmla="*/ 86600 h 257321"/>
              <a:gd name="connsiteX740" fmla="*/ 1786997 w 1806696"/>
              <a:gd name="connsiteY740" fmla="*/ 69891 h 257321"/>
              <a:gd name="connsiteX741" fmla="*/ 1778720 w 1806696"/>
              <a:gd name="connsiteY741" fmla="*/ 67236 h 257321"/>
              <a:gd name="connsiteX742" fmla="*/ 1598985 w 1806696"/>
              <a:gd name="connsiteY742" fmla="*/ 33038 h 257321"/>
              <a:gd name="connsiteX743" fmla="*/ 1591958 w 1806696"/>
              <a:gd name="connsiteY743" fmla="*/ 37879 h 257321"/>
              <a:gd name="connsiteX744" fmla="*/ 1596017 w 1806696"/>
              <a:gd name="connsiteY744" fmla="*/ 40534 h 257321"/>
              <a:gd name="connsiteX745" fmla="*/ 1601796 w 1806696"/>
              <a:gd name="connsiteY745" fmla="*/ 35536 h 257321"/>
              <a:gd name="connsiteX746" fmla="*/ 1598985 w 1806696"/>
              <a:gd name="connsiteY746" fmla="*/ 33038 h 257321"/>
              <a:gd name="connsiteX747" fmla="*/ 1746239 w 1806696"/>
              <a:gd name="connsiteY747" fmla="*/ 50684 h 257321"/>
              <a:gd name="connsiteX748" fmla="*/ 1743585 w 1806696"/>
              <a:gd name="connsiteY748" fmla="*/ 51777 h 257321"/>
              <a:gd name="connsiteX749" fmla="*/ 1747021 w 1806696"/>
              <a:gd name="connsiteY749" fmla="*/ 55525 h 257321"/>
              <a:gd name="connsiteX750" fmla="*/ 1749832 w 1806696"/>
              <a:gd name="connsiteY750" fmla="*/ 53495 h 257321"/>
              <a:gd name="connsiteX751" fmla="*/ 1746239 w 1806696"/>
              <a:gd name="connsiteY751" fmla="*/ 50684 h 257321"/>
              <a:gd name="connsiteX752" fmla="*/ 1757951 w 1806696"/>
              <a:gd name="connsiteY752" fmla="*/ 49903 h 257321"/>
              <a:gd name="connsiteX753" fmla="*/ 1754984 w 1806696"/>
              <a:gd name="connsiteY753" fmla="*/ 56618 h 257321"/>
              <a:gd name="connsiteX754" fmla="*/ 1758107 w 1806696"/>
              <a:gd name="connsiteY754" fmla="*/ 57242 h 257321"/>
              <a:gd name="connsiteX755" fmla="*/ 1757951 w 1806696"/>
              <a:gd name="connsiteY755" fmla="*/ 49903 h 257321"/>
              <a:gd name="connsiteX756" fmla="*/ 1698613 w 1806696"/>
              <a:gd name="connsiteY756" fmla="*/ 41002 h 257321"/>
              <a:gd name="connsiteX757" fmla="*/ 1673315 w 1806696"/>
              <a:gd name="connsiteY757" fmla="*/ 59897 h 257321"/>
              <a:gd name="connsiteX758" fmla="*/ 1673315 w 1806696"/>
              <a:gd name="connsiteY758" fmla="*/ 90191 h 257321"/>
              <a:gd name="connsiteX759" fmla="*/ 1674408 w 1806696"/>
              <a:gd name="connsiteY759" fmla="*/ 120330 h 257321"/>
              <a:gd name="connsiteX760" fmla="*/ 1695802 w 1806696"/>
              <a:gd name="connsiteY760" fmla="*/ 132198 h 257321"/>
              <a:gd name="connsiteX761" fmla="*/ 1710324 w 1806696"/>
              <a:gd name="connsiteY761" fmla="*/ 117831 h 257321"/>
              <a:gd name="connsiteX762" fmla="*/ 1710324 w 1806696"/>
              <a:gd name="connsiteY762" fmla="*/ 55212 h 257321"/>
              <a:gd name="connsiteX763" fmla="*/ 1698613 w 1806696"/>
              <a:gd name="connsiteY763" fmla="*/ 41002 h 257321"/>
              <a:gd name="connsiteX764" fmla="*/ 1732673 w 1806696"/>
              <a:gd name="connsiteY764" fmla="*/ 37332 h 257321"/>
              <a:gd name="connsiteX765" fmla="*/ 1729688 w 1806696"/>
              <a:gd name="connsiteY765" fmla="*/ 42876 h 257321"/>
              <a:gd name="connsiteX766" fmla="*/ 1727345 w 1806696"/>
              <a:gd name="connsiteY766" fmla="*/ 45531 h 257321"/>
              <a:gd name="connsiteX767" fmla="*/ 1727969 w 1806696"/>
              <a:gd name="connsiteY767" fmla="*/ 53182 h 257321"/>
              <a:gd name="connsiteX768" fmla="*/ 1734060 w 1806696"/>
              <a:gd name="connsiteY768" fmla="*/ 51465 h 257321"/>
              <a:gd name="connsiteX769" fmla="*/ 1741711 w 1806696"/>
              <a:gd name="connsiteY769" fmla="*/ 46780 h 257321"/>
              <a:gd name="connsiteX770" fmla="*/ 1737651 w 1806696"/>
              <a:gd name="connsiteY770" fmla="*/ 41627 h 257321"/>
              <a:gd name="connsiteX771" fmla="*/ 1732673 w 1806696"/>
              <a:gd name="connsiteY771" fmla="*/ 37332 h 257321"/>
              <a:gd name="connsiteX772" fmla="*/ 1529711 w 1806696"/>
              <a:gd name="connsiteY772" fmla="*/ 7826 h 257321"/>
              <a:gd name="connsiteX773" fmla="*/ 1538769 w 1806696"/>
              <a:gd name="connsiteY773" fmla="*/ 16259 h 257321"/>
              <a:gd name="connsiteX774" fmla="*/ 1540799 w 1806696"/>
              <a:gd name="connsiteY774" fmla="*/ 36872 h 257321"/>
              <a:gd name="connsiteX775" fmla="*/ 1540798 w 1806696"/>
              <a:gd name="connsiteY775" fmla="*/ 64043 h 257321"/>
              <a:gd name="connsiteX776" fmla="*/ 1540798 w 1806696"/>
              <a:gd name="connsiteY776" fmla="*/ 102457 h 257321"/>
              <a:gd name="connsiteX777" fmla="*/ 1540798 w 1806696"/>
              <a:gd name="connsiteY777" fmla="*/ 138217 h 257321"/>
              <a:gd name="connsiteX778" fmla="*/ 1540799 w 1806696"/>
              <a:gd name="connsiteY778" fmla="*/ 169917 h 257321"/>
              <a:gd name="connsiteX779" fmla="*/ 1540955 w 1806696"/>
              <a:gd name="connsiteY779" fmla="*/ 229413 h 257321"/>
              <a:gd name="connsiteX780" fmla="*/ 1538925 w 1806696"/>
              <a:gd name="connsiteY780" fmla="*/ 236752 h 257321"/>
              <a:gd name="connsiteX781" fmla="*/ 1538456 w 1806696"/>
              <a:gd name="connsiteY781" fmla="*/ 239563 h 257321"/>
              <a:gd name="connsiteX782" fmla="*/ 1538456 w 1806696"/>
              <a:gd name="connsiteY782" fmla="*/ 247527 h 257321"/>
              <a:gd name="connsiteX783" fmla="*/ 1535177 w 1806696"/>
              <a:gd name="connsiteY783" fmla="*/ 249870 h 257321"/>
              <a:gd name="connsiteX784" fmla="*/ 1446636 w 1806696"/>
              <a:gd name="connsiteY784" fmla="*/ 249869 h 257321"/>
              <a:gd name="connsiteX785" fmla="*/ 1442733 w 1806696"/>
              <a:gd name="connsiteY785" fmla="*/ 245653 h 257321"/>
              <a:gd name="connsiteX786" fmla="*/ 1442420 w 1806696"/>
              <a:gd name="connsiteY786" fmla="*/ 233473 h 257321"/>
              <a:gd name="connsiteX787" fmla="*/ 1442576 w 1806696"/>
              <a:gd name="connsiteY787" fmla="*/ 228945 h 257321"/>
              <a:gd name="connsiteX788" fmla="*/ 1442421 w 1806696"/>
              <a:gd name="connsiteY788" fmla="*/ 213329 h 257321"/>
              <a:gd name="connsiteX789" fmla="*/ 1442420 w 1806696"/>
              <a:gd name="connsiteY789" fmla="*/ 193653 h 257321"/>
              <a:gd name="connsiteX790" fmla="*/ 1440703 w 1806696"/>
              <a:gd name="connsiteY790" fmla="*/ 186470 h 257321"/>
              <a:gd name="connsiteX791" fmla="*/ 1440703 w 1806696"/>
              <a:gd name="connsiteY791" fmla="*/ 152428 h 257321"/>
              <a:gd name="connsiteX792" fmla="*/ 1442421 w 1806696"/>
              <a:gd name="connsiteY792" fmla="*/ 145245 h 257321"/>
              <a:gd name="connsiteX793" fmla="*/ 1442421 w 1806696"/>
              <a:gd name="connsiteY793" fmla="*/ 124319 h 257321"/>
              <a:gd name="connsiteX794" fmla="*/ 1442576 w 1806696"/>
              <a:gd name="connsiteY794" fmla="*/ 114794 h 257321"/>
              <a:gd name="connsiteX795" fmla="*/ 1442576 w 1806696"/>
              <a:gd name="connsiteY795" fmla="*/ 108079 h 257321"/>
              <a:gd name="connsiteX796" fmla="*/ 1442108 w 1806696"/>
              <a:gd name="connsiteY796" fmla="*/ 94806 h 257321"/>
              <a:gd name="connsiteX797" fmla="*/ 1426024 w 1806696"/>
              <a:gd name="connsiteY797" fmla="*/ 77160 h 257321"/>
              <a:gd name="connsiteX798" fmla="*/ 1416967 w 1806696"/>
              <a:gd name="connsiteY798" fmla="*/ 75755 h 257321"/>
              <a:gd name="connsiteX799" fmla="*/ 1381363 w 1806696"/>
              <a:gd name="connsiteY799" fmla="*/ 75130 h 257321"/>
              <a:gd name="connsiteX800" fmla="*/ 1376835 w 1806696"/>
              <a:gd name="connsiteY800" fmla="*/ 69977 h 257321"/>
              <a:gd name="connsiteX801" fmla="*/ 1376835 w 1806696"/>
              <a:gd name="connsiteY801" fmla="*/ 52956 h 257321"/>
              <a:gd name="connsiteX802" fmla="*/ 1384018 w 1806696"/>
              <a:gd name="connsiteY802" fmla="*/ 45929 h 257321"/>
              <a:gd name="connsiteX803" fmla="*/ 1401195 w 1806696"/>
              <a:gd name="connsiteY803" fmla="*/ 42025 h 257321"/>
              <a:gd name="connsiteX804" fmla="*/ 1413063 w 1806696"/>
              <a:gd name="connsiteY804" fmla="*/ 37809 h 257321"/>
              <a:gd name="connsiteX805" fmla="*/ 1449135 w 1806696"/>
              <a:gd name="connsiteY805" fmla="*/ 25472 h 257321"/>
              <a:gd name="connsiteX806" fmla="*/ 1458661 w 1806696"/>
              <a:gd name="connsiteY806" fmla="*/ 22818 h 257321"/>
              <a:gd name="connsiteX807" fmla="*/ 1468499 w 1806696"/>
              <a:gd name="connsiteY807" fmla="*/ 17508 h 257321"/>
              <a:gd name="connsiteX808" fmla="*/ 1502228 w 1806696"/>
              <a:gd name="connsiteY808" fmla="*/ 7826 h 257321"/>
              <a:gd name="connsiteX809" fmla="*/ 1508630 w 1806696"/>
              <a:gd name="connsiteY809" fmla="*/ 7670 h 257321"/>
              <a:gd name="connsiteX810" fmla="*/ 1529711 w 1806696"/>
              <a:gd name="connsiteY810" fmla="*/ 7826 h 257321"/>
              <a:gd name="connsiteX811" fmla="*/ 1772162 w 1806696"/>
              <a:gd name="connsiteY811" fmla="*/ 40534 h 257321"/>
              <a:gd name="connsiteX812" fmla="*/ 1769039 w 1806696"/>
              <a:gd name="connsiteY812" fmla="*/ 45999 h 257321"/>
              <a:gd name="connsiteX813" fmla="*/ 1771381 w 1806696"/>
              <a:gd name="connsiteY813" fmla="*/ 50059 h 257321"/>
              <a:gd name="connsiteX814" fmla="*/ 1776690 w 1806696"/>
              <a:gd name="connsiteY814" fmla="*/ 45218 h 257321"/>
              <a:gd name="connsiteX815" fmla="*/ 1772162 w 1806696"/>
              <a:gd name="connsiteY815" fmla="*/ 40534 h 257321"/>
              <a:gd name="connsiteX816" fmla="*/ 1670816 w 1806696"/>
              <a:gd name="connsiteY816" fmla="*/ 13675 h 257321"/>
              <a:gd name="connsiteX817" fmla="*/ 1665508 w 1806696"/>
              <a:gd name="connsiteY817" fmla="*/ 19765 h 257321"/>
              <a:gd name="connsiteX818" fmla="*/ 1677687 w 1806696"/>
              <a:gd name="connsiteY818" fmla="*/ 37723 h 257321"/>
              <a:gd name="connsiteX819" fmla="*/ 1682840 w 1806696"/>
              <a:gd name="connsiteY819" fmla="*/ 38035 h 257321"/>
              <a:gd name="connsiteX820" fmla="*/ 1682529 w 1806696"/>
              <a:gd name="connsiteY820" fmla="*/ 34131 h 257321"/>
              <a:gd name="connsiteX821" fmla="*/ 1682685 w 1806696"/>
              <a:gd name="connsiteY821" fmla="*/ 27572 h 257321"/>
              <a:gd name="connsiteX822" fmla="*/ 1682684 w 1806696"/>
              <a:gd name="connsiteY822" fmla="*/ 19296 h 257321"/>
              <a:gd name="connsiteX823" fmla="*/ 1676282 w 1806696"/>
              <a:gd name="connsiteY823" fmla="*/ 22263 h 257321"/>
              <a:gd name="connsiteX824" fmla="*/ 1673627 w 1806696"/>
              <a:gd name="connsiteY824" fmla="*/ 17735 h 257321"/>
              <a:gd name="connsiteX825" fmla="*/ 1670816 w 1806696"/>
              <a:gd name="connsiteY825" fmla="*/ 13675 h 257321"/>
              <a:gd name="connsiteX826" fmla="*/ 1714598 w 1806696"/>
              <a:gd name="connsiteY826" fmla="*/ 3661 h 257321"/>
              <a:gd name="connsiteX827" fmla="*/ 1753891 w 1806696"/>
              <a:gd name="connsiteY827" fmla="*/ 10395 h 257321"/>
              <a:gd name="connsiteX828" fmla="*/ 1761856 w 1806696"/>
              <a:gd name="connsiteY828" fmla="*/ 13206 h 257321"/>
              <a:gd name="connsiteX829" fmla="*/ 1771537 w 1806696"/>
              <a:gd name="connsiteY829" fmla="*/ 20389 h 257321"/>
              <a:gd name="connsiteX830" fmla="*/ 1773410 w 1806696"/>
              <a:gd name="connsiteY830" fmla="*/ 21482 h 257321"/>
              <a:gd name="connsiteX831" fmla="*/ 1770912 w 1806696"/>
              <a:gd name="connsiteY831" fmla="*/ 21639 h 257321"/>
              <a:gd name="connsiteX832" fmla="*/ 1778565 w 1806696"/>
              <a:gd name="connsiteY832" fmla="*/ 29447 h 257321"/>
              <a:gd name="connsiteX833" fmla="*/ 1781688 w 1806696"/>
              <a:gd name="connsiteY833" fmla="*/ 27416 h 257321"/>
              <a:gd name="connsiteX834" fmla="*/ 1780907 w 1806696"/>
              <a:gd name="connsiteY834" fmla="*/ 26636 h 257321"/>
              <a:gd name="connsiteX835" fmla="*/ 1782468 w 1806696"/>
              <a:gd name="connsiteY835" fmla="*/ 26480 h 257321"/>
              <a:gd name="connsiteX836" fmla="*/ 1791212 w 1806696"/>
              <a:gd name="connsiteY836" fmla="*/ 47404 h 257321"/>
              <a:gd name="connsiteX837" fmla="*/ 1790588 w 1806696"/>
              <a:gd name="connsiteY837" fmla="*/ 54275 h 257321"/>
              <a:gd name="connsiteX838" fmla="*/ 1790276 w 1806696"/>
              <a:gd name="connsiteY838" fmla="*/ 55993 h 257321"/>
              <a:gd name="connsiteX839" fmla="*/ 1801676 w 1806696"/>
              <a:gd name="connsiteY839" fmla="*/ 64426 h 257321"/>
              <a:gd name="connsiteX840" fmla="*/ 1801675 w 1806696"/>
              <a:gd name="connsiteY840" fmla="*/ 63801 h 257321"/>
              <a:gd name="connsiteX841" fmla="*/ 1804486 w 1806696"/>
              <a:gd name="connsiteY841" fmla="*/ 64113 h 257321"/>
              <a:gd name="connsiteX842" fmla="*/ 1806204 w 1806696"/>
              <a:gd name="connsiteY842" fmla="*/ 105026 h 257321"/>
              <a:gd name="connsiteX843" fmla="*/ 1804642 w 1806696"/>
              <a:gd name="connsiteY843" fmla="*/ 114708 h 257321"/>
              <a:gd name="connsiteX844" fmla="*/ 1803237 w 1806696"/>
              <a:gd name="connsiteY844" fmla="*/ 117207 h 257321"/>
              <a:gd name="connsiteX845" fmla="*/ 1801988 w 1806696"/>
              <a:gd name="connsiteY845" fmla="*/ 116113 h 257321"/>
              <a:gd name="connsiteX846" fmla="*/ 1794648 w 1806696"/>
              <a:gd name="connsiteY846" fmla="*/ 118768 h 257321"/>
              <a:gd name="connsiteX847" fmla="*/ 1789495 w 1806696"/>
              <a:gd name="connsiteY847" fmla="*/ 119549 h 257321"/>
              <a:gd name="connsiteX848" fmla="*/ 1788870 w 1806696"/>
              <a:gd name="connsiteY848" fmla="*/ 124078 h 257321"/>
              <a:gd name="connsiteX849" fmla="*/ 1791994 w 1806696"/>
              <a:gd name="connsiteY849" fmla="*/ 128606 h 257321"/>
              <a:gd name="connsiteX850" fmla="*/ 1794961 w 1806696"/>
              <a:gd name="connsiteY850" fmla="*/ 127981 h 257321"/>
              <a:gd name="connsiteX851" fmla="*/ 1795586 w 1806696"/>
              <a:gd name="connsiteY851" fmla="*/ 128294 h 257321"/>
              <a:gd name="connsiteX852" fmla="*/ 1806672 w 1806696"/>
              <a:gd name="connsiteY852" fmla="*/ 139849 h 257321"/>
              <a:gd name="connsiteX853" fmla="*/ 1805423 w 1806696"/>
              <a:gd name="connsiteY853" fmla="*/ 197940 h 257321"/>
              <a:gd name="connsiteX854" fmla="*/ 1786372 w 1806696"/>
              <a:gd name="connsiteY854" fmla="*/ 230576 h 257321"/>
              <a:gd name="connsiteX855" fmla="*/ 1729688 w 1806696"/>
              <a:gd name="connsiteY855" fmla="*/ 251814 h 257321"/>
              <a:gd name="connsiteX856" fmla="*/ 1642396 w 1806696"/>
              <a:gd name="connsiteY856" fmla="*/ 250565 h 257321"/>
              <a:gd name="connsiteX857" fmla="*/ 1615538 w 1806696"/>
              <a:gd name="connsiteY857" fmla="*/ 242132 h 257321"/>
              <a:gd name="connsiteX858" fmla="*/ 1588991 w 1806696"/>
              <a:gd name="connsiteY858" fmla="*/ 222768 h 257321"/>
              <a:gd name="connsiteX859" fmla="*/ 1586805 w 1806696"/>
              <a:gd name="connsiteY859" fmla="*/ 219333 h 257321"/>
              <a:gd name="connsiteX860" fmla="*/ 1586805 w 1806696"/>
              <a:gd name="connsiteY860" fmla="*/ 219021 h 257321"/>
              <a:gd name="connsiteX861" fmla="*/ 1577904 w 1806696"/>
              <a:gd name="connsiteY861" fmla="*/ 189351 h 257321"/>
              <a:gd name="connsiteX862" fmla="*/ 1582276 w 1806696"/>
              <a:gd name="connsiteY862" fmla="*/ 184667 h 257321"/>
              <a:gd name="connsiteX863" fmla="*/ 1589616 w 1806696"/>
              <a:gd name="connsiteY863" fmla="*/ 184666 h 257321"/>
              <a:gd name="connsiteX864" fmla="*/ 1590084 w 1806696"/>
              <a:gd name="connsiteY864" fmla="*/ 184510 h 257321"/>
              <a:gd name="connsiteX865" fmla="*/ 1597111 w 1806696"/>
              <a:gd name="connsiteY865" fmla="*/ 184042 h 257321"/>
              <a:gd name="connsiteX866" fmla="*/ 1660978 w 1806696"/>
              <a:gd name="connsiteY866" fmla="*/ 183886 h 257321"/>
              <a:gd name="connsiteX867" fmla="*/ 1667225 w 1806696"/>
              <a:gd name="connsiteY867" fmla="*/ 184510 h 257321"/>
              <a:gd name="connsiteX868" fmla="*/ 1669254 w 1806696"/>
              <a:gd name="connsiteY868" fmla="*/ 184510 h 257321"/>
              <a:gd name="connsiteX869" fmla="*/ 1673627 w 1806696"/>
              <a:gd name="connsiteY869" fmla="*/ 190444 h 257321"/>
              <a:gd name="connsiteX870" fmla="*/ 1674252 w 1806696"/>
              <a:gd name="connsiteY870" fmla="*/ 192318 h 257321"/>
              <a:gd name="connsiteX871" fmla="*/ 1675501 w 1806696"/>
              <a:gd name="connsiteY871" fmla="*/ 200438 h 257321"/>
              <a:gd name="connsiteX872" fmla="*/ 1688774 w 1806696"/>
              <a:gd name="connsiteY872" fmla="*/ 214024 h 257321"/>
              <a:gd name="connsiteX873" fmla="*/ 1708919 w 1806696"/>
              <a:gd name="connsiteY873" fmla="*/ 191381 h 257321"/>
              <a:gd name="connsiteX874" fmla="*/ 1708919 w 1806696"/>
              <a:gd name="connsiteY874" fmla="*/ 157964 h 257321"/>
              <a:gd name="connsiteX875" fmla="*/ 1601015 w 1806696"/>
              <a:gd name="connsiteY875" fmla="*/ 159057 h 257321"/>
              <a:gd name="connsiteX876" fmla="*/ 1580089 w 1806696"/>
              <a:gd name="connsiteY876" fmla="*/ 136570 h 257321"/>
              <a:gd name="connsiteX877" fmla="*/ 1575873 w 1806696"/>
              <a:gd name="connsiteY877" fmla="*/ 98468 h 257321"/>
              <a:gd name="connsiteX878" fmla="*/ 1576030 w 1806696"/>
              <a:gd name="connsiteY878" fmla="*/ 67549 h 257321"/>
              <a:gd name="connsiteX879" fmla="*/ 1582901 w 1806696"/>
              <a:gd name="connsiteY879" fmla="*/ 39284 h 257321"/>
              <a:gd name="connsiteX880" fmla="*/ 1593675 w 1806696"/>
              <a:gd name="connsiteY880" fmla="*/ 27729 h 257321"/>
              <a:gd name="connsiteX881" fmla="*/ 1674721 w 1806696"/>
              <a:gd name="connsiteY881" fmla="*/ 3368 h 257321"/>
              <a:gd name="connsiteX882" fmla="*/ 1714598 w 1806696"/>
              <a:gd name="connsiteY882" fmla="*/ 3661 h 257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</a:cxnLst>
            <a:rect l="l" t="t" r="r" b="b"/>
            <a:pathLst>
              <a:path w="1806696" h="257321">
                <a:moveTo>
                  <a:pt x="95530" y="240641"/>
                </a:moveTo>
                <a:cubicBezTo>
                  <a:pt x="92817" y="239138"/>
                  <a:pt x="89616" y="238865"/>
                  <a:pt x="87507" y="240895"/>
                </a:cubicBezTo>
                <a:cubicBezTo>
                  <a:pt x="83291" y="244799"/>
                  <a:pt x="78762" y="245424"/>
                  <a:pt x="73922" y="246829"/>
                </a:cubicBezTo>
                <a:cubicBezTo>
                  <a:pt x="81729" y="249171"/>
                  <a:pt x="89537" y="250264"/>
                  <a:pt x="97501" y="250264"/>
                </a:cubicBezTo>
                <a:cubicBezTo>
                  <a:pt x="99219" y="250265"/>
                  <a:pt x="100937" y="250264"/>
                  <a:pt x="100624" y="247766"/>
                </a:cubicBezTo>
                <a:cubicBezTo>
                  <a:pt x="100468" y="244877"/>
                  <a:pt x="98243" y="242144"/>
                  <a:pt x="95530" y="240641"/>
                </a:cubicBezTo>
                <a:close/>
                <a:moveTo>
                  <a:pt x="136696" y="230120"/>
                </a:moveTo>
                <a:cubicBezTo>
                  <a:pt x="134198" y="230432"/>
                  <a:pt x="136072" y="233087"/>
                  <a:pt x="135291" y="234180"/>
                </a:cubicBezTo>
                <a:cubicBezTo>
                  <a:pt x="132949" y="237616"/>
                  <a:pt x="134511" y="241832"/>
                  <a:pt x="132324" y="244955"/>
                </a:cubicBezTo>
                <a:cubicBezTo>
                  <a:pt x="128264" y="250577"/>
                  <a:pt x="130294" y="251982"/>
                  <a:pt x="136228" y="251358"/>
                </a:cubicBezTo>
                <a:cubicBezTo>
                  <a:pt x="138102" y="251045"/>
                  <a:pt x="139976" y="250733"/>
                  <a:pt x="141849" y="250576"/>
                </a:cubicBezTo>
                <a:cubicBezTo>
                  <a:pt x="145441" y="250264"/>
                  <a:pt x="149501" y="250889"/>
                  <a:pt x="152312" y="249328"/>
                </a:cubicBezTo>
                <a:cubicBezTo>
                  <a:pt x="156840" y="246673"/>
                  <a:pt x="150126" y="242925"/>
                  <a:pt x="152156" y="239021"/>
                </a:cubicBezTo>
                <a:cubicBezTo>
                  <a:pt x="153093" y="237460"/>
                  <a:pt x="152468" y="234805"/>
                  <a:pt x="150282" y="234336"/>
                </a:cubicBezTo>
                <a:cubicBezTo>
                  <a:pt x="147940" y="233868"/>
                  <a:pt x="147471" y="236523"/>
                  <a:pt x="146846" y="238240"/>
                </a:cubicBezTo>
                <a:cubicBezTo>
                  <a:pt x="146222" y="239489"/>
                  <a:pt x="146534" y="241051"/>
                  <a:pt x="145910" y="242300"/>
                </a:cubicBezTo>
                <a:cubicBezTo>
                  <a:pt x="144972" y="244018"/>
                  <a:pt x="143255" y="244487"/>
                  <a:pt x="141538" y="243862"/>
                </a:cubicBezTo>
                <a:cubicBezTo>
                  <a:pt x="139195" y="242925"/>
                  <a:pt x="140288" y="241364"/>
                  <a:pt x="141225" y="239958"/>
                </a:cubicBezTo>
                <a:cubicBezTo>
                  <a:pt x="141694" y="239177"/>
                  <a:pt x="142630" y="238552"/>
                  <a:pt x="143098" y="237772"/>
                </a:cubicBezTo>
                <a:cubicBezTo>
                  <a:pt x="144348" y="235898"/>
                  <a:pt x="143255" y="234180"/>
                  <a:pt x="142318" y="232619"/>
                </a:cubicBezTo>
                <a:cubicBezTo>
                  <a:pt x="141069" y="230745"/>
                  <a:pt x="138726" y="229808"/>
                  <a:pt x="136696" y="230120"/>
                </a:cubicBezTo>
                <a:close/>
                <a:moveTo>
                  <a:pt x="224671" y="199162"/>
                </a:moveTo>
                <a:cubicBezTo>
                  <a:pt x="222895" y="199475"/>
                  <a:pt x="220943" y="200216"/>
                  <a:pt x="218991" y="200294"/>
                </a:cubicBezTo>
                <a:cubicBezTo>
                  <a:pt x="226486" y="206853"/>
                  <a:pt x="226330" y="207946"/>
                  <a:pt x="218991" y="211381"/>
                </a:cubicBezTo>
                <a:cubicBezTo>
                  <a:pt x="221958" y="209664"/>
                  <a:pt x="225237" y="216222"/>
                  <a:pt x="227892" y="211069"/>
                </a:cubicBezTo>
                <a:cubicBezTo>
                  <a:pt x="229609" y="207790"/>
                  <a:pt x="231951" y="203730"/>
                  <a:pt x="229297" y="200607"/>
                </a:cubicBezTo>
                <a:cubicBezTo>
                  <a:pt x="228048" y="198967"/>
                  <a:pt x="226448" y="198850"/>
                  <a:pt x="224671" y="199162"/>
                </a:cubicBezTo>
                <a:close/>
                <a:moveTo>
                  <a:pt x="321395" y="212186"/>
                </a:moveTo>
                <a:cubicBezTo>
                  <a:pt x="316438" y="216224"/>
                  <a:pt x="313134" y="214939"/>
                  <a:pt x="308912" y="212002"/>
                </a:cubicBezTo>
                <a:cubicBezTo>
                  <a:pt x="306893" y="210534"/>
                  <a:pt x="303955" y="209983"/>
                  <a:pt x="302120" y="212002"/>
                </a:cubicBezTo>
                <a:cubicBezTo>
                  <a:pt x="300283" y="214021"/>
                  <a:pt x="297530" y="216591"/>
                  <a:pt x="300835" y="219712"/>
                </a:cubicBezTo>
                <a:cubicBezTo>
                  <a:pt x="303772" y="224118"/>
                  <a:pt x="308728" y="225954"/>
                  <a:pt x="312584" y="229258"/>
                </a:cubicBezTo>
                <a:cubicBezTo>
                  <a:pt x="320110" y="235683"/>
                  <a:pt x="323047" y="234582"/>
                  <a:pt x="329839" y="226137"/>
                </a:cubicBezTo>
                <a:cubicBezTo>
                  <a:pt x="334979" y="223751"/>
                  <a:pt x="335897" y="219712"/>
                  <a:pt x="332960" y="215306"/>
                </a:cubicBezTo>
                <a:cubicBezTo>
                  <a:pt x="330207" y="211084"/>
                  <a:pt x="325066" y="209248"/>
                  <a:pt x="321395" y="212186"/>
                </a:cubicBezTo>
                <a:close/>
                <a:moveTo>
                  <a:pt x="72672" y="171874"/>
                </a:moveTo>
                <a:cubicBezTo>
                  <a:pt x="69706" y="171249"/>
                  <a:pt x="67363" y="174997"/>
                  <a:pt x="67363" y="177339"/>
                </a:cubicBezTo>
                <a:cubicBezTo>
                  <a:pt x="67206" y="180931"/>
                  <a:pt x="70174" y="182961"/>
                  <a:pt x="74858" y="183273"/>
                </a:cubicBezTo>
                <a:cubicBezTo>
                  <a:pt x="76732" y="182649"/>
                  <a:pt x="81105" y="182336"/>
                  <a:pt x="80636" y="179525"/>
                </a:cubicBezTo>
                <a:cubicBezTo>
                  <a:pt x="80167" y="175934"/>
                  <a:pt x="76420" y="172655"/>
                  <a:pt x="72672" y="171874"/>
                </a:cubicBezTo>
                <a:close/>
                <a:moveTo>
                  <a:pt x="225861" y="186552"/>
                </a:moveTo>
                <a:cubicBezTo>
                  <a:pt x="225393" y="185303"/>
                  <a:pt x="208840" y="183273"/>
                  <a:pt x="208059" y="184366"/>
                </a:cubicBezTo>
                <a:cubicBezTo>
                  <a:pt x="207123" y="185772"/>
                  <a:pt x="206342" y="187490"/>
                  <a:pt x="206343" y="188895"/>
                </a:cubicBezTo>
                <a:cubicBezTo>
                  <a:pt x="206498" y="192643"/>
                  <a:pt x="216024" y="199201"/>
                  <a:pt x="219303" y="197483"/>
                </a:cubicBezTo>
                <a:cubicBezTo>
                  <a:pt x="223363" y="195141"/>
                  <a:pt x="227423" y="196078"/>
                  <a:pt x="233358" y="194985"/>
                </a:cubicBezTo>
                <a:cubicBezTo>
                  <a:pt x="230078" y="191862"/>
                  <a:pt x="226799" y="190144"/>
                  <a:pt x="225861" y="186552"/>
                </a:cubicBezTo>
                <a:close/>
                <a:moveTo>
                  <a:pt x="442853" y="212209"/>
                </a:moveTo>
                <a:cubicBezTo>
                  <a:pt x="439572" y="212323"/>
                  <a:pt x="436221" y="214664"/>
                  <a:pt x="433192" y="219345"/>
                </a:cubicBezTo>
                <a:cubicBezTo>
                  <a:pt x="439984" y="217142"/>
                  <a:pt x="446043" y="222466"/>
                  <a:pt x="452101" y="218427"/>
                </a:cubicBezTo>
                <a:cubicBezTo>
                  <a:pt x="449347" y="214205"/>
                  <a:pt x="446135" y="212094"/>
                  <a:pt x="442853" y="212209"/>
                </a:cubicBezTo>
                <a:close/>
                <a:moveTo>
                  <a:pt x="385096" y="177490"/>
                </a:moveTo>
                <a:cubicBezTo>
                  <a:pt x="378487" y="178040"/>
                  <a:pt x="378303" y="182997"/>
                  <a:pt x="378671" y="187587"/>
                </a:cubicBezTo>
                <a:cubicBezTo>
                  <a:pt x="378854" y="189789"/>
                  <a:pt x="380506" y="187219"/>
                  <a:pt x="381424" y="186852"/>
                </a:cubicBezTo>
                <a:cubicBezTo>
                  <a:pt x="383076" y="184098"/>
                  <a:pt x="386197" y="181712"/>
                  <a:pt x="385096" y="177490"/>
                </a:cubicBezTo>
                <a:close/>
                <a:moveTo>
                  <a:pt x="428787" y="176870"/>
                </a:moveTo>
                <a:cubicBezTo>
                  <a:pt x="425344" y="178408"/>
                  <a:pt x="423555" y="182263"/>
                  <a:pt x="423278" y="188504"/>
                </a:cubicBezTo>
                <a:cubicBezTo>
                  <a:pt x="420893" y="195297"/>
                  <a:pt x="426033" y="196582"/>
                  <a:pt x="431357" y="197867"/>
                </a:cubicBezTo>
                <a:cubicBezTo>
                  <a:pt x="437598" y="199335"/>
                  <a:pt x="442004" y="197316"/>
                  <a:pt x="446043" y="192543"/>
                </a:cubicBezTo>
                <a:cubicBezTo>
                  <a:pt x="447878" y="190340"/>
                  <a:pt x="453019" y="191809"/>
                  <a:pt x="452284" y="186485"/>
                </a:cubicBezTo>
                <a:cubicBezTo>
                  <a:pt x="451733" y="181528"/>
                  <a:pt x="447327" y="180611"/>
                  <a:pt x="444206" y="179142"/>
                </a:cubicBezTo>
                <a:cubicBezTo>
                  <a:pt x="437323" y="176113"/>
                  <a:pt x="432228" y="175333"/>
                  <a:pt x="428787" y="176870"/>
                </a:cubicBezTo>
                <a:close/>
                <a:moveTo>
                  <a:pt x="646390" y="198420"/>
                </a:moveTo>
                <a:cubicBezTo>
                  <a:pt x="644731" y="198928"/>
                  <a:pt x="643638" y="200567"/>
                  <a:pt x="643326" y="204081"/>
                </a:cubicBezTo>
                <a:cubicBezTo>
                  <a:pt x="643170" y="206423"/>
                  <a:pt x="641140" y="207672"/>
                  <a:pt x="639735" y="209234"/>
                </a:cubicBezTo>
                <a:cubicBezTo>
                  <a:pt x="635206" y="214543"/>
                  <a:pt x="635518" y="217823"/>
                  <a:pt x="640827" y="222820"/>
                </a:cubicBezTo>
                <a:cubicBezTo>
                  <a:pt x="642701" y="224693"/>
                  <a:pt x="643326" y="227192"/>
                  <a:pt x="644106" y="229690"/>
                </a:cubicBezTo>
                <a:cubicBezTo>
                  <a:pt x="645044" y="232501"/>
                  <a:pt x="646450" y="235468"/>
                  <a:pt x="650822" y="233751"/>
                </a:cubicBezTo>
                <a:cubicBezTo>
                  <a:pt x="656599" y="231408"/>
                  <a:pt x="658629" y="224225"/>
                  <a:pt x="654569" y="219384"/>
                </a:cubicBezTo>
                <a:cubicBezTo>
                  <a:pt x="653632" y="218291"/>
                  <a:pt x="652851" y="217198"/>
                  <a:pt x="650821" y="215012"/>
                </a:cubicBezTo>
                <a:cubicBezTo>
                  <a:pt x="658785" y="215949"/>
                  <a:pt x="659254" y="210639"/>
                  <a:pt x="659722" y="205955"/>
                </a:cubicBezTo>
                <a:cubicBezTo>
                  <a:pt x="660347" y="200958"/>
                  <a:pt x="655975" y="200958"/>
                  <a:pt x="652852" y="199552"/>
                </a:cubicBezTo>
                <a:cubicBezTo>
                  <a:pt x="650275" y="198537"/>
                  <a:pt x="648050" y="197913"/>
                  <a:pt x="646390" y="198420"/>
                </a:cubicBezTo>
                <a:close/>
                <a:moveTo>
                  <a:pt x="283165" y="143092"/>
                </a:moveTo>
                <a:cubicBezTo>
                  <a:pt x="282340" y="142381"/>
                  <a:pt x="281467" y="142335"/>
                  <a:pt x="280458" y="144813"/>
                </a:cubicBezTo>
                <a:cubicBezTo>
                  <a:pt x="279356" y="147751"/>
                  <a:pt x="276970" y="152156"/>
                  <a:pt x="279907" y="153992"/>
                </a:cubicBezTo>
                <a:cubicBezTo>
                  <a:pt x="282844" y="156011"/>
                  <a:pt x="284129" y="152340"/>
                  <a:pt x="284496" y="149403"/>
                </a:cubicBezTo>
                <a:cubicBezTo>
                  <a:pt x="284680" y="149036"/>
                  <a:pt x="285231" y="148668"/>
                  <a:pt x="285598" y="148301"/>
                </a:cubicBezTo>
                <a:cubicBezTo>
                  <a:pt x="285597" y="147383"/>
                  <a:pt x="285781" y="146466"/>
                  <a:pt x="285598" y="145364"/>
                </a:cubicBezTo>
                <a:cubicBezTo>
                  <a:pt x="284772" y="145180"/>
                  <a:pt x="283991" y="143804"/>
                  <a:pt x="283165" y="143092"/>
                </a:cubicBezTo>
                <a:close/>
                <a:moveTo>
                  <a:pt x="723434" y="205642"/>
                </a:moveTo>
                <a:cubicBezTo>
                  <a:pt x="722341" y="208141"/>
                  <a:pt x="718750" y="209078"/>
                  <a:pt x="720780" y="212357"/>
                </a:cubicBezTo>
                <a:cubicBezTo>
                  <a:pt x="721560" y="213450"/>
                  <a:pt x="722809" y="213450"/>
                  <a:pt x="723903" y="212826"/>
                </a:cubicBezTo>
                <a:cubicBezTo>
                  <a:pt x="727182" y="210639"/>
                  <a:pt x="724684" y="208609"/>
                  <a:pt x="723434" y="205642"/>
                </a:cubicBezTo>
                <a:close/>
                <a:moveTo>
                  <a:pt x="613187" y="188309"/>
                </a:moveTo>
                <a:cubicBezTo>
                  <a:pt x="612876" y="188621"/>
                  <a:pt x="612407" y="188778"/>
                  <a:pt x="612095" y="188934"/>
                </a:cubicBezTo>
                <a:cubicBezTo>
                  <a:pt x="612563" y="191120"/>
                  <a:pt x="612876" y="193306"/>
                  <a:pt x="613500" y="195492"/>
                </a:cubicBezTo>
                <a:cubicBezTo>
                  <a:pt x="613968" y="197054"/>
                  <a:pt x="615062" y="198615"/>
                  <a:pt x="617091" y="197678"/>
                </a:cubicBezTo>
                <a:cubicBezTo>
                  <a:pt x="619278" y="196585"/>
                  <a:pt x="618184" y="195024"/>
                  <a:pt x="617092" y="193774"/>
                </a:cubicBezTo>
                <a:cubicBezTo>
                  <a:pt x="615687" y="191901"/>
                  <a:pt x="614437" y="190183"/>
                  <a:pt x="613187" y="188309"/>
                </a:cubicBezTo>
                <a:close/>
                <a:moveTo>
                  <a:pt x="889336" y="203961"/>
                </a:moveTo>
                <a:cubicBezTo>
                  <a:pt x="887789" y="202608"/>
                  <a:pt x="882763" y="202221"/>
                  <a:pt x="881603" y="203574"/>
                </a:cubicBezTo>
                <a:cubicBezTo>
                  <a:pt x="880056" y="205121"/>
                  <a:pt x="879670" y="209568"/>
                  <a:pt x="880830" y="211695"/>
                </a:cubicBezTo>
                <a:cubicBezTo>
                  <a:pt x="883343" y="216141"/>
                  <a:pt x="886630" y="220201"/>
                  <a:pt x="890303" y="223487"/>
                </a:cubicBezTo>
                <a:cubicBezTo>
                  <a:pt x="892430" y="225421"/>
                  <a:pt x="896490" y="227548"/>
                  <a:pt x="899004" y="226775"/>
                </a:cubicBezTo>
                <a:cubicBezTo>
                  <a:pt x="903837" y="225421"/>
                  <a:pt x="908283" y="222134"/>
                  <a:pt x="911183" y="220394"/>
                </a:cubicBezTo>
                <a:cubicBezTo>
                  <a:pt x="913117" y="212468"/>
                  <a:pt x="906930" y="205314"/>
                  <a:pt x="901516" y="207441"/>
                </a:cubicBezTo>
                <a:cubicBezTo>
                  <a:pt x="895523" y="209955"/>
                  <a:pt x="893010" y="207441"/>
                  <a:pt x="889336" y="203961"/>
                </a:cubicBezTo>
                <a:close/>
                <a:moveTo>
                  <a:pt x="710629" y="175192"/>
                </a:moveTo>
                <a:cubicBezTo>
                  <a:pt x="705788" y="175192"/>
                  <a:pt x="703602" y="178627"/>
                  <a:pt x="704695" y="182844"/>
                </a:cubicBezTo>
                <a:cubicBezTo>
                  <a:pt x="705944" y="187997"/>
                  <a:pt x="705632" y="190963"/>
                  <a:pt x="699542" y="191432"/>
                </a:cubicBezTo>
                <a:cubicBezTo>
                  <a:pt x="696731" y="191744"/>
                  <a:pt x="696420" y="194087"/>
                  <a:pt x="696106" y="196741"/>
                </a:cubicBezTo>
                <a:cubicBezTo>
                  <a:pt x="695638" y="202519"/>
                  <a:pt x="699543" y="205174"/>
                  <a:pt x="703134" y="208141"/>
                </a:cubicBezTo>
                <a:cubicBezTo>
                  <a:pt x="704851" y="209702"/>
                  <a:pt x="704851" y="214075"/>
                  <a:pt x="708287" y="212201"/>
                </a:cubicBezTo>
                <a:cubicBezTo>
                  <a:pt x="710785" y="210795"/>
                  <a:pt x="713128" y="208453"/>
                  <a:pt x="712035" y="204549"/>
                </a:cubicBezTo>
                <a:cubicBezTo>
                  <a:pt x="710473" y="198771"/>
                  <a:pt x="714689" y="197054"/>
                  <a:pt x="719061" y="196429"/>
                </a:cubicBezTo>
                <a:cubicBezTo>
                  <a:pt x="721404" y="196117"/>
                  <a:pt x="723903" y="197210"/>
                  <a:pt x="724527" y="193774"/>
                </a:cubicBezTo>
                <a:cubicBezTo>
                  <a:pt x="728274" y="191588"/>
                  <a:pt x="729524" y="188465"/>
                  <a:pt x="727806" y="184249"/>
                </a:cubicBezTo>
                <a:cubicBezTo>
                  <a:pt x="724059" y="185342"/>
                  <a:pt x="727494" y="190964"/>
                  <a:pt x="722810" y="190964"/>
                </a:cubicBezTo>
                <a:cubicBezTo>
                  <a:pt x="720779" y="188309"/>
                  <a:pt x="719374" y="185967"/>
                  <a:pt x="719530" y="182063"/>
                </a:cubicBezTo>
                <a:cubicBezTo>
                  <a:pt x="719687" y="176597"/>
                  <a:pt x="715157" y="175192"/>
                  <a:pt x="710629" y="175192"/>
                </a:cubicBezTo>
                <a:close/>
                <a:moveTo>
                  <a:pt x="742485" y="173162"/>
                </a:moveTo>
                <a:cubicBezTo>
                  <a:pt x="740767" y="173006"/>
                  <a:pt x="739830" y="172537"/>
                  <a:pt x="739362" y="172850"/>
                </a:cubicBezTo>
                <a:cubicBezTo>
                  <a:pt x="736708" y="174411"/>
                  <a:pt x="734365" y="176441"/>
                  <a:pt x="732804" y="179096"/>
                </a:cubicBezTo>
                <a:cubicBezTo>
                  <a:pt x="732178" y="179877"/>
                  <a:pt x="732960" y="181126"/>
                  <a:pt x="734052" y="180969"/>
                </a:cubicBezTo>
                <a:cubicBezTo>
                  <a:pt x="737020" y="180345"/>
                  <a:pt x="737332" y="183468"/>
                  <a:pt x="738894" y="184093"/>
                </a:cubicBezTo>
                <a:cubicBezTo>
                  <a:pt x="743109" y="185810"/>
                  <a:pt x="747170" y="190651"/>
                  <a:pt x="751854" y="188153"/>
                </a:cubicBezTo>
                <a:cubicBezTo>
                  <a:pt x="754041" y="187060"/>
                  <a:pt x="755445" y="185030"/>
                  <a:pt x="758257" y="185342"/>
                </a:cubicBezTo>
                <a:cubicBezTo>
                  <a:pt x="759975" y="185498"/>
                  <a:pt x="761693" y="185030"/>
                  <a:pt x="762317" y="183156"/>
                </a:cubicBezTo>
                <a:cubicBezTo>
                  <a:pt x="762942" y="181282"/>
                  <a:pt x="761380" y="180033"/>
                  <a:pt x="759975" y="179252"/>
                </a:cubicBezTo>
                <a:cubicBezTo>
                  <a:pt x="754509" y="175348"/>
                  <a:pt x="747013" y="176753"/>
                  <a:pt x="742485" y="173162"/>
                </a:cubicBezTo>
                <a:close/>
                <a:moveTo>
                  <a:pt x="84384" y="69279"/>
                </a:moveTo>
                <a:cubicBezTo>
                  <a:pt x="82823" y="67717"/>
                  <a:pt x="82041" y="69123"/>
                  <a:pt x="81261" y="70372"/>
                </a:cubicBezTo>
                <a:cubicBezTo>
                  <a:pt x="78137" y="75213"/>
                  <a:pt x="74390" y="78961"/>
                  <a:pt x="69236" y="81928"/>
                </a:cubicBezTo>
                <a:cubicBezTo>
                  <a:pt x="66739" y="83333"/>
                  <a:pt x="63303" y="86925"/>
                  <a:pt x="63928" y="89892"/>
                </a:cubicBezTo>
                <a:cubicBezTo>
                  <a:pt x="64864" y="94108"/>
                  <a:pt x="70486" y="93952"/>
                  <a:pt x="73921" y="95826"/>
                </a:cubicBezTo>
                <a:cubicBezTo>
                  <a:pt x="75014" y="96450"/>
                  <a:pt x="80167" y="94108"/>
                  <a:pt x="80792" y="90985"/>
                </a:cubicBezTo>
                <a:cubicBezTo>
                  <a:pt x="82198" y="83021"/>
                  <a:pt x="87038" y="82396"/>
                  <a:pt x="93441" y="84114"/>
                </a:cubicBezTo>
                <a:cubicBezTo>
                  <a:pt x="97501" y="85207"/>
                  <a:pt x="99375" y="83957"/>
                  <a:pt x="99531" y="79273"/>
                </a:cubicBezTo>
                <a:cubicBezTo>
                  <a:pt x="99843" y="73807"/>
                  <a:pt x="97189" y="72246"/>
                  <a:pt x="92660" y="71934"/>
                </a:cubicBezTo>
                <a:cubicBezTo>
                  <a:pt x="92348" y="72402"/>
                  <a:pt x="92035" y="72714"/>
                  <a:pt x="92036" y="73183"/>
                </a:cubicBezTo>
                <a:cubicBezTo>
                  <a:pt x="91567" y="75681"/>
                  <a:pt x="93285" y="79898"/>
                  <a:pt x="88131" y="78336"/>
                </a:cubicBezTo>
                <a:cubicBezTo>
                  <a:pt x="85789" y="77555"/>
                  <a:pt x="81260" y="76774"/>
                  <a:pt x="85946" y="72558"/>
                </a:cubicBezTo>
                <a:cubicBezTo>
                  <a:pt x="87351" y="71153"/>
                  <a:pt x="85321" y="70216"/>
                  <a:pt x="84384" y="69279"/>
                </a:cubicBezTo>
                <a:close/>
                <a:moveTo>
                  <a:pt x="997660" y="194420"/>
                </a:moveTo>
                <a:cubicBezTo>
                  <a:pt x="994858" y="200959"/>
                  <a:pt x="990375" y="207123"/>
                  <a:pt x="989815" y="213662"/>
                </a:cubicBezTo>
                <a:cubicBezTo>
                  <a:pt x="989254" y="219453"/>
                  <a:pt x="992990" y="225431"/>
                  <a:pt x="994858" y="231410"/>
                </a:cubicBezTo>
                <a:cubicBezTo>
                  <a:pt x="995793" y="231970"/>
                  <a:pt x="996726" y="232344"/>
                  <a:pt x="997660" y="232904"/>
                </a:cubicBezTo>
                <a:cubicBezTo>
                  <a:pt x="996166" y="220948"/>
                  <a:pt x="1002517" y="220014"/>
                  <a:pt x="1009430" y="222629"/>
                </a:cubicBezTo>
                <a:cubicBezTo>
                  <a:pt x="1015782" y="225057"/>
                  <a:pt x="1016529" y="221135"/>
                  <a:pt x="1018771" y="216838"/>
                </a:cubicBezTo>
                <a:cubicBezTo>
                  <a:pt x="1015222" y="215343"/>
                  <a:pt x="1012232" y="214035"/>
                  <a:pt x="1008309" y="212168"/>
                </a:cubicBezTo>
                <a:cubicBezTo>
                  <a:pt x="1010737" y="207871"/>
                  <a:pt x="1012792" y="204321"/>
                  <a:pt x="1015782" y="199464"/>
                </a:cubicBezTo>
                <a:cubicBezTo>
                  <a:pt x="1009617" y="197783"/>
                  <a:pt x="1004012" y="196288"/>
                  <a:pt x="997660" y="194420"/>
                </a:cubicBezTo>
                <a:close/>
                <a:moveTo>
                  <a:pt x="215087" y="81928"/>
                </a:moveTo>
                <a:cubicBezTo>
                  <a:pt x="202282" y="80210"/>
                  <a:pt x="211651" y="89111"/>
                  <a:pt x="209934" y="92390"/>
                </a:cubicBezTo>
                <a:cubicBezTo>
                  <a:pt x="208215" y="95826"/>
                  <a:pt x="212588" y="96606"/>
                  <a:pt x="215868" y="96919"/>
                </a:cubicBezTo>
                <a:cubicBezTo>
                  <a:pt x="222427" y="97543"/>
                  <a:pt x="221802" y="92546"/>
                  <a:pt x="221958" y="88955"/>
                </a:cubicBezTo>
                <a:cubicBezTo>
                  <a:pt x="222114" y="84270"/>
                  <a:pt x="218054" y="83177"/>
                  <a:pt x="215087" y="81928"/>
                </a:cubicBezTo>
                <a:close/>
                <a:moveTo>
                  <a:pt x="633644" y="133966"/>
                </a:moveTo>
                <a:cubicBezTo>
                  <a:pt x="633488" y="133966"/>
                  <a:pt x="633176" y="133966"/>
                  <a:pt x="633020" y="133966"/>
                </a:cubicBezTo>
                <a:cubicBezTo>
                  <a:pt x="625993" y="136465"/>
                  <a:pt x="626305" y="143804"/>
                  <a:pt x="624431" y="149114"/>
                </a:cubicBezTo>
                <a:cubicBezTo>
                  <a:pt x="622869" y="153642"/>
                  <a:pt x="627710" y="150519"/>
                  <a:pt x="629428" y="151300"/>
                </a:cubicBezTo>
                <a:cubicBezTo>
                  <a:pt x="630521" y="151768"/>
                  <a:pt x="631301" y="153174"/>
                  <a:pt x="632239" y="154267"/>
                </a:cubicBezTo>
                <a:cubicBezTo>
                  <a:pt x="633644" y="155985"/>
                  <a:pt x="636142" y="157546"/>
                  <a:pt x="637548" y="156453"/>
                </a:cubicBezTo>
                <a:cubicBezTo>
                  <a:pt x="639266" y="155360"/>
                  <a:pt x="639735" y="152549"/>
                  <a:pt x="638641" y="150207"/>
                </a:cubicBezTo>
                <a:cubicBezTo>
                  <a:pt x="637548" y="148020"/>
                  <a:pt x="636767" y="145678"/>
                  <a:pt x="638017" y="143492"/>
                </a:cubicBezTo>
                <a:cubicBezTo>
                  <a:pt x="640203" y="139588"/>
                  <a:pt x="637861" y="134279"/>
                  <a:pt x="633644" y="133966"/>
                </a:cubicBezTo>
                <a:close/>
                <a:moveTo>
                  <a:pt x="437966" y="102407"/>
                </a:moveTo>
                <a:cubicBezTo>
                  <a:pt x="436451" y="102224"/>
                  <a:pt x="434661" y="104610"/>
                  <a:pt x="431173" y="109383"/>
                </a:cubicBezTo>
                <a:cubicBezTo>
                  <a:pt x="431907" y="112321"/>
                  <a:pt x="436313" y="110852"/>
                  <a:pt x="437047" y="114523"/>
                </a:cubicBezTo>
                <a:cubicBezTo>
                  <a:pt x="437598" y="117093"/>
                  <a:pt x="440168" y="120949"/>
                  <a:pt x="443472" y="119296"/>
                </a:cubicBezTo>
                <a:cubicBezTo>
                  <a:pt x="448061" y="117093"/>
                  <a:pt x="444390" y="113606"/>
                  <a:pt x="443106" y="110852"/>
                </a:cubicBezTo>
                <a:cubicBezTo>
                  <a:pt x="440720" y="105345"/>
                  <a:pt x="439480" y="102591"/>
                  <a:pt x="437966" y="102407"/>
                </a:cubicBezTo>
                <a:close/>
                <a:moveTo>
                  <a:pt x="451182" y="103692"/>
                </a:moveTo>
                <a:cubicBezTo>
                  <a:pt x="449714" y="104610"/>
                  <a:pt x="448429" y="105712"/>
                  <a:pt x="448796" y="107547"/>
                </a:cubicBezTo>
                <a:cubicBezTo>
                  <a:pt x="449162" y="109750"/>
                  <a:pt x="450265" y="111953"/>
                  <a:pt x="453018" y="111402"/>
                </a:cubicBezTo>
                <a:cubicBezTo>
                  <a:pt x="454670" y="111035"/>
                  <a:pt x="455772" y="109383"/>
                  <a:pt x="454854" y="107547"/>
                </a:cubicBezTo>
                <a:cubicBezTo>
                  <a:pt x="454119" y="105895"/>
                  <a:pt x="453568" y="103876"/>
                  <a:pt x="451182" y="103692"/>
                </a:cubicBezTo>
                <a:close/>
                <a:moveTo>
                  <a:pt x="756696" y="146303"/>
                </a:moveTo>
                <a:cubicBezTo>
                  <a:pt x="752792" y="150831"/>
                  <a:pt x="753572" y="154891"/>
                  <a:pt x="755290" y="158795"/>
                </a:cubicBezTo>
                <a:cubicBezTo>
                  <a:pt x="756383" y="161294"/>
                  <a:pt x="758569" y="161294"/>
                  <a:pt x="762161" y="160045"/>
                </a:cubicBezTo>
                <a:cubicBezTo>
                  <a:pt x="754977" y="157390"/>
                  <a:pt x="758256" y="151456"/>
                  <a:pt x="756696" y="146303"/>
                </a:cubicBezTo>
                <a:close/>
                <a:moveTo>
                  <a:pt x="768759" y="142672"/>
                </a:moveTo>
                <a:cubicBezTo>
                  <a:pt x="766846" y="142828"/>
                  <a:pt x="764972" y="144038"/>
                  <a:pt x="763098" y="145210"/>
                </a:cubicBezTo>
                <a:cubicBezTo>
                  <a:pt x="758569" y="148020"/>
                  <a:pt x="761692" y="150831"/>
                  <a:pt x="763879" y="153798"/>
                </a:cubicBezTo>
                <a:cubicBezTo>
                  <a:pt x="765284" y="155672"/>
                  <a:pt x="766533" y="156453"/>
                  <a:pt x="768719" y="157078"/>
                </a:cubicBezTo>
                <a:cubicBezTo>
                  <a:pt x="772779" y="158327"/>
                  <a:pt x="777464" y="159108"/>
                  <a:pt x="778245" y="165042"/>
                </a:cubicBezTo>
                <a:cubicBezTo>
                  <a:pt x="778713" y="167852"/>
                  <a:pt x="783710" y="170195"/>
                  <a:pt x="784491" y="167540"/>
                </a:cubicBezTo>
                <a:cubicBezTo>
                  <a:pt x="786209" y="162074"/>
                  <a:pt x="793861" y="159888"/>
                  <a:pt x="791050" y="152393"/>
                </a:cubicBezTo>
                <a:cubicBezTo>
                  <a:pt x="784959" y="152237"/>
                  <a:pt x="778089" y="151768"/>
                  <a:pt x="774653" y="146459"/>
                </a:cubicBezTo>
                <a:cubicBezTo>
                  <a:pt x="772623" y="143414"/>
                  <a:pt x="770671" y="142516"/>
                  <a:pt x="768759" y="142672"/>
                </a:cubicBezTo>
                <a:close/>
                <a:moveTo>
                  <a:pt x="82509" y="44138"/>
                </a:moveTo>
                <a:cubicBezTo>
                  <a:pt x="75483" y="42888"/>
                  <a:pt x="77513" y="48978"/>
                  <a:pt x="76420" y="51789"/>
                </a:cubicBezTo>
                <a:cubicBezTo>
                  <a:pt x="75171" y="55381"/>
                  <a:pt x="79699" y="57411"/>
                  <a:pt x="81573" y="57099"/>
                </a:cubicBezTo>
                <a:cubicBezTo>
                  <a:pt x="87975" y="55849"/>
                  <a:pt x="81729" y="49135"/>
                  <a:pt x="85477" y="46636"/>
                </a:cubicBezTo>
                <a:cubicBezTo>
                  <a:pt x="85789" y="43669"/>
                  <a:pt x="84228" y="44450"/>
                  <a:pt x="82509" y="44138"/>
                </a:cubicBezTo>
                <a:close/>
                <a:moveTo>
                  <a:pt x="37381" y="31020"/>
                </a:moveTo>
                <a:cubicBezTo>
                  <a:pt x="35038" y="33831"/>
                  <a:pt x="31759" y="35549"/>
                  <a:pt x="29729" y="38048"/>
                </a:cubicBezTo>
                <a:cubicBezTo>
                  <a:pt x="26919" y="41639"/>
                  <a:pt x="19892" y="45075"/>
                  <a:pt x="26293" y="51321"/>
                </a:cubicBezTo>
                <a:cubicBezTo>
                  <a:pt x="26294" y="53507"/>
                  <a:pt x="26293" y="55693"/>
                  <a:pt x="26606" y="57723"/>
                </a:cubicBezTo>
                <a:cubicBezTo>
                  <a:pt x="26918" y="59753"/>
                  <a:pt x="35351" y="65063"/>
                  <a:pt x="37068" y="64594"/>
                </a:cubicBezTo>
                <a:cubicBezTo>
                  <a:pt x="39567" y="63813"/>
                  <a:pt x="44876" y="54288"/>
                  <a:pt x="44408" y="51165"/>
                </a:cubicBezTo>
                <a:cubicBezTo>
                  <a:pt x="45032" y="48978"/>
                  <a:pt x="47843" y="46792"/>
                  <a:pt x="43315" y="45075"/>
                </a:cubicBezTo>
                <a:cubicBezTo>
                  <a:pt x="40504" y="44138"/>
                  <a:pt x="38318" y="41795"/>
                  <a:pt x="40035" y="37735"/>
                </a:cubicBezTo>
                <a:cubicBezTo>
                  <a:pt x="40972" y="35705"/>
                  <a:pt x="39411" y="33363"/>
                  <a:pt x="37381" y="31020"/>
                </a:cubicBezTo>
                <a:close/>
                <a:moveTo>
                  <a:pt x="198690" y="44918"/>
                </a:moveTo>
                <a:cubicBezTo>
                  <a:pt x="197598" y="44606"/>
                  <a:pt x="196661" y="45855"/>
                  <a:pt x="196505" y="47105"/>
                </a:cubicBezTo>
                <a:cubicBezTo>
                  <a:pt x="196504" y="48510"/>
                  <a:pt x="197129" y="49759"/>
                  <a:pt x="198378" y="50540"/>
                </a:cubicBezTo>
                <a:cubicBezTo>
                  <a:pt x="199627" y="50540"/>
                  <a:pt x="200252" y="50072"/>
                  <a:pt x="200408" y="48978"/>
                </a:cubicBezTo>
                <a:cubicBezTo>
                  <a:pt x="200565" y="47261"/>
                  <a:pt x="200408" y="45543"/>
                  <a:pt x="198690" y="44918"/>
                </a:cubicBezTo>
                <a:close/>
                <a:moveTo>
                  <a:pt x="45189" y="18372"/>
                </a:moveTo>
                <a:cubicBezTo>
                  <a:pt x="40816" y="18528"/>
                  <a:pt x="38474" y="20714"/>
                  <a:pt x="35820" y="21963"/>
                </a:cubicBezTo>
                <a:cubicBezTo>
                  <a:pt x="34883" y="22276"/>
                  <a:pt x="33633" y="23057"/>
                  <a:pt x="34727" y="24462"/>
                </a:cubicBezTo>
                <a:cubicBezTo>
                  <a:pt x="35663" y="25555"/>
                  <a:pt x="36757" y="25867"/>
                  <a:pt x="37850" y="25087"/>
                </a:cubicBezTo>
                <a:cubicBezTo>
                  <a:pt x="40036" y="23213"/>
                  <a:pt x="42222" y="21027"/>
                  <a:pt x="45189" y="18372"/>
                </a:cubicBezTo>
                <a:close/>
                <a:moveTo>
                  <a:pt x="384912" y="66794"/>
                </a:moveTo>
                <a:cubicBezTo>
                  <a:pt x="377385" y="66794"/>
                  <a:pt x="372980" y="75789"/>
                  <a:pt x="364719" y="73953"/>
                </a:cubicBezTo>
                <a:cubicBezTo>
                  <a:pt x="363800" y="73769"/>
                  <a:pt x="363250" y="76340"/>
                  <a:pt x="363984" y="76340"/>
                </a:cubicBezTo>
                <a:cubicBezTo>
                  <a:pt x="371511" y="75422"/>
                  <a:pt x="370777" y="84968"/>
                  <a:pt x="376651" y="85885"/>
                </a:cubicBezTo>
                <a:cubicBezTo>
                  <a:pt x="375366" y="89741"/>
                  <a:pt x="378119" y="92494"/>
                  <a:pt x="380506" y="93963"/>
                </a:cubicBezTo>
                <a:cubicBezTo>
                  <a:pt x="383260" y="95615"/>
                  <a:pt x="381057" y="92678"/>
                  <a:pt x="381424" y="91943"/>
                </a:cubicBezTo>
                <a:cubicBezTo>
                  <a:pt x="382525" y="91760"/>
                  <a:pt x="383627" y="91760"/>
                  <a:pt x="384728" y="91760"/>
                </a:cubicBezTo>
                <a:cubicBezTo>
                  <a:pt x="384912" y="83499"/>
                  <a:pt x="384912" y="75055"/>
                  <a:pt x="384912" y="66794"/>
                </a:cubicBezTo>
                <a:close/>
                <a:moveTo>
                  <a:pt x="299549" y="51740"/>
                </a:moveTo>
                <a:cubicBezTo>
                  <a:pt x="293675" y="51006"/>
                  <a:pt x="288718" y="50823"/>
                  <a:pt x="294410" y="58900"/>
                </a:cubicBezTo>
                <a:cubicBezTo>
                  <a:pt x="295694" y="60552"/>
                  <a:pt x="295694" y="63122"/>
                  <a:pt x="295878" y="65325"/>
                </a:cubicBezTo>
                <a:cubicBezTo>
                  <a:pt x="296062" y="69180"/>
                  <a:pt x="296612" y="72117"/>
                  <a:pt x="290371" y="71750"/>
                </a:cubicBezTo>
                <a:cubicBezTo>
                  <a:pt x="283946" y="71200"/>
                  <a:pt x="279724" y="75238"/>
                  <a:pt x="279724" y="82398"/>
                </a:cubicBezTo>
                <a:cubicBezTo>
                  <a:pt x="279540" y="89006"/>
                  <a:pt x="279356" y="95798"/>
                  <a:pt x="279356" y="102407"/>
                </a:cubicBezTo>
                <a:cubicBezTo>
                  <a:pt x="279356" y="104427"/>
                  <a:pt x="278071" y="107364"/>
                  <a:pt x="280642" y="108282"/>
                </a:cubicBezTo>
                <a:cubicBezTo>
                  <a:pt x="282844" y="109016"/>
                  <a:pt x="283945" y="105895"/>
                  <a:pt x="285965" y="104977"/>
                </a:cubicBezTo>
                <a:cubicBezTo>
                  <a:pt x="287801" y="101490"/>
                  <a:pt x="291105" y="99654"/>
                  <a:pt x="294409" y="97451"/>
                </a:cubicBezTo>
                <a:cubicBezTo>
                  <a:pt x="298081" y="95064"/>
                  <a:pt x="299550" y="92678"/>
                  <a:pt x="301201" y="99654"/>
                </a:cubicBezTo>
                <a:cubicBezTo>
                  <a:pt x="302487" y="105895"/>
                  <a:pt x="306893" y="106079"/>
                  <a:pt x="311298" y="101306"/>
                </a:cubicBezTo>
                <a:cubicBezTo>
                  <a:pt x="313318" y="99103"/>
                  <a:pt x="315887" y="97451"/>
                  <a:pt x="318274" y="95432"/>
                </a:cubicBezTo>
                <a:cubicBezTo>
                  <a:pt x="321027" y="95064"/>
                  <a:pt x="323598" y="94697"/>
                  <a:pt x="326352" y="94147"/>
                </a:cubicBezTo>
                <a:cubicBezTo>
                  <a:pt x="328187" y="93779"/>
                  <a:pt x="330757" y="93779"/>
                  <a:pt x="330574" y="91393"/>
                </a:cubicBezTo>
                <a:cubicBezTo>
                  <a:pt x="330390" y="89006"/>
                  <a:pt x="327820" y="88089"/>
                  <a:pt x="325801" y="87354"/>
                </a:cubicBezTo>
                <a:cubicBezTo>
                  <a:pt x="323230" y="86436"/>
                  <a:pt x="322312" y="89924"/>
                  <a:pt x="320110" y="89924"/>
                </a:cubicBezTo>
                <a:cubicBezTo>
                  <a:pt x="319927" y="85885"/>
                  <a:pt x="316071" y="85702"/>
                  <a:pt x="313685" y="84233"/>
                </a:cubicBezTo>
                <a:cubicBezTo>
                  <a:pt x="310748" y="82398"/>
                  <a:pt x="308728" y="80745"/>
                  <a:pt x="310197" y="77257"/>
                </a:cubicBezTo>
                <a:cubicBezTo>
                  <a:pt x="313501" y="75605"/>
                  <a:pt x="313868" y="82581"/>
                  <a:pt x="316989" y="79460"/>
                </a:cubicBezTo>
                <a:cubicBezTo>
                  <a:pt x="319743" y="76523"/>
                  <a:pt x="314235" y="75972"/>
                  <a:pt x="314419" y="73402"/>
                </a:cubicBezTo>
                <a:cubicBezTo>
                  <a:pt x="314602" y="72301"/>
                  <a:pt x="313868" y="71199"/>
                  <a:pt x="313685" y="70098"/>
                </a:cubicBezTo>
                <a:cubicBezTo>
                  <a:pt x="312399" y="61286"/>
                  <a:pt x="308912" y="54311"/>
                  <a:pt x="299549" y="51740"/>
                </a:cubicBezTo>
                <a:close/>
                <a:moveTo>
                  <a:pt x="1662852" y="244162"/>
                </a:moveTo>
                <a:cubicBezTo>
                  <a:pt x="1661603" y="244475"/>
                  <a:pt x="1660979" y="246192"/>
                  <a:pt x="1661447" y="247754"/>
                </a:cubicBezTo>
                <a:cubicBezTo>
                  <a:pt x="1662696" y="251970"/>
                  <a:pt x="1665663" y="250408"/>
                  <a:pt x="1669879" y="250252"/>
                </a:cubicBezTo>
                <a:cubicBezTo>
                  <a:pt x="1667068" y="247285"/>
                  <a:pt x="1667069" y="243381"/>
                  <a:pt x="1662852" y="244162"/>
                </a:cubicBezTo>
                <a:close/>
                <a:moveTo>
                  <a:pt x="527183" y="78910"/>
                </a:moveTo>
                <a:cubicBezTo>
                  <a:pt x="522961" y="79644"/>
                  <a:pt x="520207" y="82765"/>
                  <a:pt x="516902" y="85151"/>
                </a:cubicBezTo>
                <a:cubicBezTo>
                  <a:pt x="513964" y="87170"/>
                  <a:pt x="510660" y="88823"/>
                  <a:pt x="512129" y="92311"/>
                </a:cubicBezTo>
                <a:cubicBezTo>
                  <a:pt x="513231" y="94881"/>
                  <a:pt x="518188" y="98552"/>
                  <a:pt x="518921" y="98002"/>
                </a:cubicBezTo>
                <a:cubicBezTo>
                  <a:pt x="521859" y="96166"/>
                  <a:pt x="527733" y="97634"/>
                  <a:pt x="527917" y="91760"/>
                </a:cubicBezTo>
                <a:cubicBezTo>
                  <a:pt x="529569" y="87354"/>
                  <a:pt x="530487" y="82948"/>
                  <a:pt x="527183" y="78910"/>
                </a:cubicBezTo>
                <a:close/>
                <a:moveTo>
                  <a:pt x="133105" y="21651"/>
                </a:moveTo>
                <a:cubicBezTo>
                  <a:pt x="131543" y="22432"/>
                  <a:pt x="129201" y="23213"/>
                  <a:pt x="130137" y="25087"/>
                </a:cubicBezTo>
                <a:cubicBezTo>
                  <a:pt x="132012" y="28678"/>
                  <a:pt x="133885" y="32738"/>
                  <a:pt x="138882" y="33363"/>
                </a:cubicBezTo>
                <a:cubicBezTo>
                  <a:pt x="141225" y="33675"/>
                  <a:pt x="141069" y="31958"/>
                  <a:pt x="140913" y="30708"/>
                </a:cubicBezTo>
                <a:cubicBezTo>
                  <a:pt x="140444" y="25867"/>
                  <a:pt x="137165" y="23525"/>
                  <a:pt x="133105" y="21651"/>
                </a:cubicBezTo>
                <a:close/>
                <a:moveTo>
                  <a:pt x="177766" y="26961"/>
                </a:moveTo>
                <a:cubicBezTo>
                  <a:pt x="171363" y="27429"/>
                  <a:pt x="164180" y="33988"/>
                  <a:pt x="163243" y="40390"/>
                </a:cubicBezTo>
                <a:cubicBezTo>
                  <a:pt x="163087" y="41795"/>
                  <a:pt x="162306" y="44294"/>
                  <a:pt x="164023" y="43825"/>
                </a:cubicBezTo>
                <a:cubicBezTo>
                  <a:pt x="169645" y="42108"/>
                  <a:pt x="168084" y="46480"/>
                  <a:pt x="168083" y="50696"/>
                </a:cubicBezTo>
                <a:cubicBezTo>
                  <a:pt x="171519" y="46636"/>
                  <a:pt x="173705" y="42888"/>
                  <a:pt x="178234" y="46324"/>
                </a:cubicBezTo>
                <a:cubicBezTo>
                  <a:pt x="179015" y="46948"/>
                  <a:pt x="180576" y="45543"/>
                  <a:pt x="180733" y="44450"/>
                </a:cubicBezTo>
                <a:cubicBezTo>
                  <a:pt x="181045" y="40546"/>
                  <a:pt x="187915" y="37111"/>
                  <a:pt x="181669" y="32582"/>
                </a:cubicBezTo>
                <a:cubicBezTo>
                  <a:pt x="181044" y="31957"/>
                  <a:pt x="181201" y="30240"/>
                  <a:pt x="180888" y="29147"/>
                </a:cubicBezTo>
                <a:cubicBezTo>
                  <a:pt x="180420" y="27585"/>
                  <a:pt x="179483" y="26804"/>
                  <a:pt x="177766" y="26961"/>
                </a:cubicBezTo>
                <a:close/>
                <a:moveTo>
                  <a:pt x="1647081" y="231435"/>
                </a:moveTo>
                <a:cubicBezTo>
                  <a:pt x="1643215" y="231084"/>
                  <a:pt x="1639429" y="231357"/>
                  <a:pt x="1638804" y="232606"/>
                </a:cubicBezTo>
                <a:cubicBezTo>
                  <a:pt x="1636774" y="236667"/>
                  <a:pt x="1634744" y="237760"/>
                  <a:pt x="1631465" y="234168"/>
                </a:cubicBezTo>
                <a:cubicBezTo>
                  <a:pt x="1630684" y="233231"/>
                  <a:pt x="1629591" y="232450"/>
                  <a:pt x="1628499" y="233856"/>
                </a:cubicBezTo>
                <a:cubicBezTo>
                  <a:pt x="1628030" y="234480"/>
                  <a:pt x="1627874" y="235261"/>
                  <a:pt x="1627874" y="235886"/>
                </a:cubicBezTo>
                <a:cubicBezTo>
                  <a:pt x="1627717" y="237603"/>
                  <a:pt x="1629123" y="237135"/>
                  <a:pt x="1630216" y="237447"/>
                </a:cubicBezTo>
                <a:cubicBezTo>
                  <a:pt x="1634120" y="238853"/>
                  <a:pt x="1638960" y="239165"/>
                  <a:pt x="1639585" y="244943"/>
                </a:cubicBezTo>
                <a:cubicBezTo>
                  <a:pt x="1639897" y="246817"/>
                  <a:pt x="1642240" y="248378"/>
                  <a:pt x="1643177" y="247441"/>
                </a:cubicBezTo>
                <a:cubicBezTo>
                  <a:pt x="1646769" y="243537"/>
                  <a:pt x="1648018" y="237135"/>
                  <a:pt x="1655201" y="237760"/>
                </a:cubicBezTo>
                <a:cubicBezTo>
                  <a:pt x="1655513" y="237916"/>
                  <a:pt x="1655982" y="236823"/>
                  <a:pt x="1656606" y="236042"/>
                </a:cubicBezTo>
                <a:cubicBezTo>
                  <a:pt x="1656294" y="235261"/>
                  <a:pt x="1656138" y="234480"/>
                  <a:pt x="1655825" y="234012"/>
                </a:cubicBezTo>
                <a:cubicBezTo>
                  <a:pt x="1654888" y="232763"/>
                  <a:pt x="1650946" y="231787"/>
                  <a:pt x="1647081" y="231435"/>
                </a:cubicBezTo>
                <a:close/>
                <a:moveTo>
                  <a:pt x="1150289" y="159298"/>
                </a:moveTo>
                <a:cubicBezTo>
                  <a:pt x="1143377" y="162101"/>
                  <a:pt x="1136278" y="165090"/>
                  <a:pt x="1127498" y="168826"/>
                </a:cubicBezTo>
                <a:cubicBezTo>
                  <a:pt x="1129366" y="171068"/>
                  <a:pt x="1130674" y="174057"/>
                  <a:pt x="1133102" y="175738"/>
                </a:cubicBezTo>
                <a:cubicBezTo>
                  <a:pt x="1139081" y="179848"/>
                  <a:pt x="1144124" y="176859"/>
                  <a:pt x="1147674" y="171815"/>
                </a:cubicBezTo>
                <a:cubicBezTo>
                  <a:pt x="1150102" y="168266"/>
                  <a:pt x="1151410" y="163969"/>
                  <a:pt x="1153465" y="160046"/>
                </a:cubicBezTo>
                <a:cubicBezTo>
                  <a:pt x="1152344" y="159859"/>
                  <a:pt x="1151410" y="159485"/>
                  <a:pt x="1150289" y="159298"/>
                </a:cubicBezTo>
                <a:close/>
                <a:moveTo>
                  <a:pt x="92036" y="5879"/>
                </a:moveTo>
                <a:cubicBezTo>
                  <a:pt x="89693" y="6816"/>
                  <a:pt x="85789" y="5723"/>
                  <a:pt x="84541" y="8846"/>
                </a:cubicBezTo>
                <a:cubicBezTo>
                  <a:pt x="83759" y="10408"/>
                  <a:pt x="87039" y="12594"/>
                  <a:pt x="88287" y="11657"/>
                </a:cubicBezTo>
                <a:cubicBezTo>
                  <a:pt x="90786" y="9627"/>
                  <a:pt x="95471" y="12906"/>
                  <a:pt x="96408" y="8534"/>
                </a:cubicBezTo>
                <a:cubicBezTo>
                  <a:pt x="97032" y="6035"/>
                  <a:pt x="94378" y="5879"/>
                  <a:pt x="92036" y="5879"/>
                </a:cubicBezTo>
                <a:close/>
                <a:moveTo>
                  <a:pt x="408410" y="49354"/>
                </a:moveTo>
                <a:cubicBezTo>
                  <a:pt x="396844" y="48252"/>
                  <a:pt x="392071" y="50455"/>
                  <a:pt x="388767" y="60001"/>
                </a:cubicBezTo>
                <a:cubicBezTo>
                  <a:pt x="388216" y="105712"/>
                  <a:pt x="387482" y="151422"/>
                  <a:pt x="389134" y="197132"/>
                </a:cubicBezTo>
                <a:cubicBezTo>
                  <a:pt x="392623" y="206311"/>
                  <a:pt x="397395" y="208881"/>
                  <a:pt x="408042" y="207780"/>
                </a:cubicBezTo>
                <a:cubicBezTo>
                  <a:pt x="416854" y="206862"/>
                  <a:pt x="419791" y="200804"/>
                  <a:pt x="419975" y="193278"/>
                </a:cubicBezTo>
                <a:cubicBezTo>
                  <a:pt x="420342" y="172900"/>
                  <a:pt x="420342" y="152523"/>
                  <a:pt x="420341" y="131963"/>
                </a:cubicBezTo>
                <a:cubicBezTo>
                  <a:pt x="420341" y="109383"/>
                  <a:pt x="420158" y="86620"/>
                  <a:pt x="419791" y="64040"/>
                </a:cubicBezTo>
                <a:cubicBezTo>
                  <a:pt x="419607" y="56697"/>
                  <a:pt x="417772" y="50272"/>
                  <a:pt x="408410" y="49354"/>
                </a:cubicBezTo>
                <a:close/>
                <a:moveTo>
                  <a:pt x="594761" y="74783"/>
                </a:moveTo>
                <a:cubicBezTo>
                  <a:pt x="594136" y="79311"/>
                  <a:pt x="586798" y="73690"/>
                  <a:pt x="586953" y="79780"/>
                </a:cubicBezTo>
                <a:cubicBezTo>
                  <a:pt x="586954" y="83372"/>
                  <a:pt x="589452" y="87275"/>
                  <a:pt x="593200" y="86963"/>
                </a:cubicBezTo>
                <a:cubicBezTo>
                  <a:pt x="597104" y="86651"/>
                  <a:pt x="600695" y="83371"/>
                  <a:pt x="601320" y="79311"/>
                </a:cubicBezTo>
                <a:cubicBezTo>
                  <a:pt x="601789" y="76032"/>
                  <a:pt x="598041" y="75095"/>
                  <a:pt x="594761" y="74783"/>
                </a:cubicBezTo>
                <a:close/>
                <a:moveTo>
                  <a:pt x="181201" y="14624"/>
                </a:moveTo>
                <a:cubicBezTo>
                  <a:pt x="179015" y="14780"/>
                  <a:pt x="176828" y="15873"/>
                  <a:pt x="176516" y="18060"/>
                </a:cubicBezTo>
                <a:cubicBezTo>
                  <a:pt x="176204" y="21183"/>
                  <a:pt x="179171" y="19777"/>
                  <a:pt x="180576" y="20402"/>
                </a:cubicBezTo>
                <a:cubicBezTo>
                  <a:pt x="182450" y="21026"/>
                  <a:pt x="183856" y="20714"/>
                  <a:pt x="183699" y="17903"/>
                </a:cubicBezTo>
                <a:cubicBezTo>
                  <a:pt x="183231" y="16654"/>
                  <a:pt x="183543" y="14468"/>
                  <a:pt x="181201" y="14624"/>
                </a:cubicBezTo>
                <a:close/>
                <a:moveTo>
                  <a:pt x="141733" y="3459"/>
                </a:moveTo>
                <a:cubicBezTo>
                  <a:pt x="155396" y="4474"/>
                  <a:pt x="168943" y="6660"/>
                  <a:pt x="182294" y="10564"/>
                </a:cubicBezTo>
                <a:cubicBezTo>
                  <a:pt x="188384" y="12438"/>
                  <a:pt x="194318" y="14937"/>
                  <a:pt x="200252" y="17123"/>
                </a:cubicBezTo>
                <a:cubicBezTo>
                  <a:pt x="217429" y="25087"/>
                  <a:pt x="231015" y="36174"/>
                  <a:pt x="234450" y="56006"/>
                </a:cubicBezTo>
                <a:cubicBezTo>
                  <a:pt x="235700" y="63970"/>
                  <a:pt x="236949" y="72090"/>
                  <a:pt x="237417" y="80054"/>
                </a:cubicBezTo>
                <a:cubicBezTo>
                  <a:pt x="238042" y="89579"/>
                  <a:pt x="237573" y="99105"/>
                  <a:pt x="237886" y="108630"/>
                </a:cubicBezTo>
                <a:cubicBezTo>
                  <a:pt x="237885" y="112378"/>
                  <a:pt x="236480" y="113315"/>
                  <a:pt x="232889" y="113315"/>
                </a:cubicBezTo>
                <a:cubicBezTo>
                  <a:pt x="202907" y="113159"/>
                  <a:pt x="172925" y="113159"/>
                  <a:pt x="142943" y="113315"/>
                </a:cubicBezTo>
                <a:cubicBezTo>
                  <a:pt x="138726" y="113315"/>
                  <a:pt x="137789" y="111910"/>
                  <a:pt x="137790" y="108006"/>
                </a:cubicBezTo>
                <a:cubicBezTo>
                  <a:pt x="137477" y="90360"/>
                  <a:pt x="139039" y="72714"/>
                  <a:pt x="136853" y="55225"/>
                </a:cubicBezTo>
                <a:cubicBezTo>
                  <a:pt x="136072" y="49291"/>
                  <a:pt x="133729" y="44762"/>
                  <a:pt x="126703" y="44762"/>
                </a:cubicBezTo>
                <a:cubicBezTo>
                  <a:pt x="119206" y="42420"/>
                  <a:pt x="112024" y="42420"/>
                  <a:pt x="106246" y="48666"/>
                </a:cubicBezTo>
                <a:cubicBezTo>
                  <a:pt x="102810" y="51946"/>
                  <a:pt x="102810" y="56474"/>
                  <a:pt x="102654" y="60534"/>
                </a:cubicBezTo>
                <a:cubicBezTo>
                  <a:pt x="101874" y="92234"/>
                  <a:pt x="101873" y="124090"/>
                  <a:pt x="102654" y="155946"/>
                </a:cubicBezTo>
                <a:cubicBezTo>
                  <a:pt x="102030" y="171093"/>
                  <a:pt x="100936" y="186240"/>
                  <a:pt x="103435" y="201231"/>
                </a:cubicBezTo>
                <a:cubicBezTo>
                  <a:pt x="104997" y="211069"/>
                  <a:pt x="109056" y="213412"/>
                  <a:pt x="121705" y="213099"/>
                </a:cubicBezTo>
                <a:cubicBezTo>
                  <a:pt x="131387" y="212787"/>
                  <a:pt x="135291" y="209664"/>
                  <a:pt x="136696" y="200450"/>
                </a:cubicBezTo>
                <a:cubicBezTo>
                  <a:pt x="138726" y="187490"/>
                  <a:pt x="137946" y="174372"/>
                  <a:pt x="137634" y="161411"/>
                </a:cubicBezTo>
                <a:cubicBezTo>
                  <a:pt x="138101" y="152042"/>
                  <a:pt x="138101" y="152042"/>
                  <a:pt x="147940" y="152042"/>
                </a:cubicBezTo>
                <a:cubicBezTo>
                  <a:pt x="175736" y="152042"/>
                  <a:pt x="203687" y="152198"/>
                  <a:pt x="231483" y="151886"/>
                </a:cubicBezTo>
                <a:cubicBezTo>
                  <a:pt x="236324" y="151730"/>
                  <a:pt x="238198" y="153135"/>
                  <a:pt x="237729" y="158132"/>
                </a:cubicBezTo>
                <a:cubicBezTo>
                  <a:pt x="237261" y="162973"/>
                  <a:pt x="237730" y="167970"/>
                  <a:pt x="237886" y="173435"/>
                </a:cubicBezTo>
                <a:cubicBezTo>
                  <a:pt x="239291" y="187490"/>
                  <a:pt x="238510" y="200919"/>
                  <a:pt x="230858" y="213255"/>
                </a:cubicBezTo>
                <a:cubicBezTo>
                  <a:pt x="220552" y="230432"/>
                  <a:pt x="203844" y="238396"/>
                  <a:pt x="186198" y="245111"/>
                </a:cubicBezTo>
                <a:cubicBezTo>
                  <a:pt x="158246" y="254324"/>
                  <a:pt x="129513" y="255730"/>
                  <a:pt x="100468" y="253856"/>
                </a:cubicBezTo>
                <a:cubicBezTo>
                  <a:pt x="81886" y="252763"/>
                  <a:pt x="63772" y="249640"/>
                  <a:pt x="46126" y="243550"/>
                </a:cubicBezTo>
                <a:cubicBezTo>
                  <a:pt x="19266" y="234180"/>
                  <a:pt x="5838" y="215285"/>
                  <a:pt x="3495" y="187333"/>
                </a:cubicBezTo>
                <a:cubicBezTo>
                  <a:pt x="1934" y="169375"/>
                  <a:pt x="3027" y="151261"/>
                  <a:pt x="1933" y="133303"/>
                </a:cubicBezTo>
                <a:cubicBezTo>
                  <a:pt x="-97" y="130805"/>
                  <a:pt x="60" y="127682"/>
                  <a:pt x="59" y="124558"/>
                </a:cubicBezTo>
                <a:cubicBezTo>
                  <a:pt x="372" y="104258"/>
                  <a:pt x="-878" y="83958"/>
                  <a:pt x="1464" y="63657"/>
                </a:cubicBezTo>
                <a:cubicBezTo>
                  <a:pt x="1933" y="60378"/>
                  <a:pt x="2089" y="57099"/>
                  <a:pt x="4744" y="54600"/>
                </a:cubicBezTo>
                <a:cubicBezTo>
                  <a:pt x="10990" y="34143"/>
                  <a:pt x="26449" y="23056"/>
                  <a:pt x="45033" y="15249"/>
                </a:cubicBezTo>
                <a:cubicBezTo>
                  <a:pt x="62835" y="7753"/>
                  <a:pt x="81417" y="4474"/>
                  <a:pt x="100468" y="3381"/>
                </a:cubicBezTo>
                <a:cubicBezTo>
                  <a:pt x="114288" y="2600"/>
                  <a:pt x="128069" y="2444"/>
                  <a:pt x="141733" y="3459"/>
                </a:cubicBezTo>
                <a:close/>
                <a:moveTo>
                  <a:pt x="1682587" y="221402"/>
                </a:moveTo>
                <a:cubicBezTo>
                  <a:pt x="1680654" y="221246"/>
                  <a:pt x="1678546" y="222925"/>
                  <a:pt x="1675033" y="226360"/>
                </a:cubicBezTo>
                <a:cubicBezTo>
                  <a:pt x="1663945" y="226360"/>
                  <a:pt x="1658480" y="231045"/>
                  <a:pt x="1660823" y="238853"/>
                </a:cubicBezTo>
                <a:cubicBezTo>
                  <a:pt x="1664414" y="241039"/>
                  <a:pt x="1668006" y="241195"/>
                  <a:pt x="1672377" y="240727"/>
                </a:cubicBezTo>
                <a:cubicBezTo>
                  <a:pt x="1677999" y="240258"/>
                  <a:pt x="1684871" y="236511"/>
                  <a:pt x="1690024" y="243694"/>
                </a:cubicBezTo>
                <a:cubicBezTo>
                  <a:pt x="1691898" y="246348"/>
                  <a:pt x="1698144" y="247129"/>
                  <a:pt x="1700798" y="244630"/>
                </a:cubicBezTo>
                <a:cubicBezTo>
                  <a:pt x="1703453" y="242288"/>
                  <a:pt x="1696738" y="243381"/>
                  <a:pt x="1697363" y="240258"/>
                </a:cubicBezTo>
                <a:cubicBezTo>
                  <a:pt x="1697363" y="239634"/>
                  <a:pt x="1696426" y="238540"/>
                  <a:pt x="1696738" y="238228"/>
                </a:cubicBezTo>
                <a:cubicBezTo>
                  <a:pt x="1701267" y="230889"/>
                  <a:pt x="1696739" y="229327"/>
                  <a:pt x="1690649" y="228703"/>
                </a:cubicBezTo>
                <a:cubicBezTo>
                  <a:pt x="1690023" y="228702"/>
                  <a:pt x="1689399" y="227922"/>
                  <a:pt x="1689087" y="227453"/>
                </a:cubicBezTo>
                <a:cubicBezTo>
                  <a:pt x="1686276" y="223549"/>
                  <a:pt x="1684519" y="221558"/>
                  <a:pt x="1682587" y="221402"/>
                </a:cubicBezTo>
                <a:close/>
                <a:moveTo>
                  <a:pt x="1707357" y="222300"/>
                </a:moveTo>
                <a:cubicBezTo>
                  <a:pt x="1702516" y="219958"/>
                  <a:pt x="1700642" y="222925"/>
                  <a:pt x="1699861" y="227453"/>
                </a:cubicBezTo>
                <a:cubicBezTo>
                  <a:pt x="1699080" y="231045"/>
                  <a:pt x="1701735" y="232138"/>
                  <a:pt x="1704390" y="233075"/>
                </a:cubicBezTo>
                <a:cubicBezTo>
                  <a:pt x="1705952" y="233700"/>
                  <a:pt x="1707513" y="232763"/>
                  <a:pt x="1708607" y="231357"/>
                </a:cubicBezTo>
                <a:cubicBezTo>
                  <a:pt x="1709387" y="230264"/>
                  <a:pt x="1709387" y="228390"/>
                  <a:pt x="1708450" y="228234"/>
                </a:cubicBezTo>
                <a:cubicBezTo>
                  <a:pt x="1700174" y="227297"/>
                  <a:pt x="1709543" y="224174"/>
                  <a:pt x="1707357" y="222300"/>
                </a:cubicBezTo>
                <a:close/>
                <a:moveTo>
                  <a:pt x="462748" y="42745"/>
                </a:moveTo>
                <a:cubicBezTo>
                  <a:pt x="462197" y="41460"/>
                  <a:pt x="459627" y="41460"/>
                  <a:pt x="459076" y="42745"/>
                </a:cubicBezTo>
                <a:cubicBezTo>
                  <a:pt x="457424" y="45866"/>
                  <a:pt x="453018" y="47885"/>
                  <a:pt x="454854" y="52658"/>
                </a:cubicBezTo>
                <a:cubicBezTo>
                  <a:pt x="456322" y="56513"/>
                  <a:pt x="453569" y="57798"/>
                  <a:pt x="450448" y="57798"/>
                </a:cubicBezTo>
                <a:cubicBezTo>
                  <a:pt x="443655" y="57798"/>
                  <a:pt x="437781" y="61653"/>
                  <a:pt x="432641" y="64224"/>
                </a:cubicBezTo>
                <a:cubicBezTo>
                  <a:pt x="426767" y="67344"/>
                  <a:pt x="422728" y="76156"/>
                  <a:pt x="428052" y="83866"/>
                </a:cubicBezTo>
                <a:cubicBezTo>
                  <a:pt x="431540" y="88823"/>
                  <a:pt x="435211" y="94697"/>
                  <a:pt x="444023" y="94146"/>
                </a:cubicBezTo>
                <a:cubicBezTo>
                  <a:pt x="447144" y="95615"/>
                  <a:pt x="448796" y="94513"/>
                  <a:pt x="449162" y="89741"/>
                </a:cubicBezTo>
                <a:cubicBezTo>
                  <a:pt x="449897" y="82214"/>
                  <a:pt x="458341" y="78175"/>
                  <a:pt x="458893" y="70282"/>
                </a:cubicBezTo>
                <a:cubicBezTo>
                  <a:pt x="458892" y="69731"/>
                  <a:pt x="460178" y="68813"/>
                  <a:pt x="460728" y="68813"/>
                </a:cubicBezTo>
                <a:cubicBezTo>
                  <a:pt x="471376" y="70098"/>
                  <a:pt x="466970" y="64774"/>
                  <a:pt x="464584" y="60552"/>
                </a:cubicBezTo>
                <a:cubicBezTo>
                  <a:pt x="463665" y="58349"/>
                  <a:pt x="464767" y="56514"/>
                  <a:pt x="465685" y="54310"/>
                </a:cubicBezTo>
                <a:cubicBezTo>
                  <a:pt x="467337" y="50088"/>
                  <a:pt x="464583" y="46417"/>
                  <a:pt x="462748" y="42745"/>
                </a:cubicBezTo>
                <a:close/>
                <a:moveTo>
                  <a:pt x="1775441" y="228078"/>
                </a:moveTo>
                <a:cubicBezTo>
                  <a:pt x="1770756" y="226516"/>
                  <a:pt x="1769663" y="230577"/>
                  <a:pt x="1767790" y="233075"/>
                </a:cubicBezTo>
                <a:cubicBezTo>
                  <a:pt x="1767008" y="234168"/>
                  <a:pt x="1767009" y="235730"/>
                  <a:pt x="1768258" y="236042"/>
                </a:cubicBezTo>
                <a:cubicBezTo>
                  <a:pt x="1772474" y="237135"/>
                  <a:pt x="1769820" y="231826"/>
                  <a:pt x="1772786" y="231201"/>
                </a:cubicBezTo>
                <a:cubicBezTo>
                  <a:pt x="1773880" y="231045"/>
                  <a:pt x="1775441" y="230264"/>
                  <a:pt x="1775441" y="228078"/>
                </a:cubicBezTo>
                <a:close/>
                <a:moveTo>
                  <a:pt x="787614" y="82591"/>
                </a:moveTo>
                <a:cubicBezTo>
                  <a:pt x="784335" y="85245"/>
                  <a:pt x="781368" y="86026"/>
                  <a:pt x="779338" y="89774"/>
                </a:cubicBezTo>
                <a:cubicBezTo>
                  <a:pt x="783242" y="88525"/>
                  <a:pt x="786677" y="88681"/>
                  <a:pt x="787614" y="82591"/>
                </a:cubicBezTo>
                <a:close/>
                <a:moveTo>
                  <a:pt x="1507225" y="176944"/>
                </a:moveTo>
                <a:cubicBezTo>
                  <a:pt x="1505507" y="177413"/>
                  <a:pt x="1504259" y="178350"/>
                  <a:pt x="1504414" y="180224"/>
                </a:cubicBezTo>
                <a:cubicBezTo>
                  <a:pt x="1504414" y="181160"/>
                  <a:pt x="1504883" y="181941"/>
                  <a:pt x="1506132" y="181941"/>
                </a:cubicBezTo>
                <a:cubicBezTo>
                  <a:pt x="1507849" y="181473"/>
                  <a:pt x="1508786" y="180224"/>
                  <a:pt x="1508943" y="178506"/>
                </a:cubicBezTo>
                <a:cubicBezTo>
                  <a:pt x="1508943" y="177725"/>
                  <a:pt x="1508474" y="176632"/>
                  <a:pt x="1507225" y="176944"/>
                </a:cubicBezTo>
                <a:close/>
                <a:moveTo>
                  <a:pt x="1777841" y="215234"/>
                </a:moveTo>
                <a:cubicBezTo>
                  <a:pt x="1774661" y="214766"/>
                  <a:pt x="1771225" y="216444"/>
                  <a:pt x="1766853" y="220270"/>
                </a:cubicBezTo>
                <a:cubicBezTo>
                  <a:pt x="1774192" y="217772"/>
                  <a:pt x="1778876" y="223393"/>
                  <a:pt x="1784498" y="225892"/>
                </a:cubicBezTo>
                <a:cubicBezTo>
                  <a:pt x="1785747" y="226360"/>
                  <a:pt x="1786371" y="226516"/>
                  <a:pt x="1787309" y="225736"/>
                </a:cubicBezTo>
                <a:cubicBezTo>
                  <a:pt x="1788245" y="224799"/>
                  <a:pt x="1788090" y="224174"/>
                  <a:pt x="1787309" y="223081"/>
                </a:cubicBezTo>
                <a:cubicBezTo>
                  <a:pt x="1783951" y="218318"/>
                  <a:pt x="1781023" y="215702"/>
                  <a:pt x="1777841" y="215234"/>
                </a:cubicBezTo>
                <a:close/>
                <a:moveTo>
                  <a:pt x="1630996" y="193411"/>
                </a:moveTo>
                <a:cubicBezTo>
                  <a:pt x="1630372" y="193411"/>
                  <a:pt x="1629904" y="193567"/>
                  <a:pt x="1629435" y="193724"/>
                </a:cubicBezTo>
                <a:cubicBezTo>
                  <a:pt x="1628186" y="194192"/>
                  <a:pt x="1628186" y="194816"/>
                  <a:pt x="1628342" y="197471"/>
                </a:cubicBezTo>
                <a:cubicBezTo>
                  <a:pt x="1628342" y="199657"/>
                  <a:pt x="1626780" y="200594"/>
                  <a:pt x="1625063" y="199033"/>
                </a:cubicBezTo>
                <a:cubicBezTo>
                  <a:pt x="1622408" y="196690"/>
                  <a:pt x="1620222" y="198096"/>
                  <a:pt x="1619285" y="200126"/>
                </a:cubicBezTo>
                <a:cubicBezTo>
                  <a:pt x="1616787" y="205123"/>
                  <a:pt x="1611790" y="205591"/>
                  <a:pt x="1607574" y="207465"/>
                </a:cubicBezTo>
                <a:cubicBezTo>
                  <a:pt x="1607574" y="207465"/>
                  <a:pt x="1607417" y="207465"/>
                  <a:pt x="1607417" y="207465"/>
                </a:cubicBezTo>
                <a:cubicBezTo>
                  <a:pt x="1606792" y="203561"/>
                  <a:pt x="1603982" y="200750"/>
                  <a:pt x="1601795" y="197627"/>
                </a:cubicBezTo>
                <a:cubicBezTo>
                  <a:pt x="1597423" y="200126"/>
                  <a:pt x="1594924" y="206684"/>
                  <a:pt x="1597110" y="211057"/>
                </a:cubicBezTo>
                <a:cubicBezTo>
                  <a:pt x="1597423" y="211682"/>
                  <a:pt x="1599297" y="211525"/>
                  <a:pt x="1600390" y="211681"/>
                </a:cubicBezTo>
                <a:cubicBezTo>
                  <a:pt x="1602576" y="209964"/>
                  <a:pt x="1604606" y="207778"/>
                  <a:pt x="1607574" y="207465"/>
                </a:cubicBezTo>
                <a:cubicBezTo>
                  <a:pt x="1607574" y="207621"/>
                  <a:pt x="1607574" y="207621"/>
                  <a:pt x="1607574" y="207621"/>
                </a:cubicBezTo>
                <a:cubicBezTo>
                  <a:pt x="1607574" y="207621"/>
                  <a:pt x="1607729" y="207621"/>
                  <a:pt x="1607729" y="207621"/>
                </a:cubicBezTo>
                <a:cubicBezTo>
                  <a:pt x="1609447" y="209495"/>
                  <a:pt x="1611321" y="211213"/>
                  <a:pt x="1613039" y="213087"/>
                </a:cubicBezTo>
                <a:cubicBezTo>
                  <a:pt x="1616318" y="218709"/>
                  <a:pt x="1622877" y="216991"/>
                  <a:pt x="1625375" y="215117"/>
                </a:cubicBezTo>
                <a:cubicBezTo>
                  <a:pt x="1629123" y="212774"/>
                  <a:pt x="1634120" y="208402"/>
                  <a:pt x="1631778" y="201844"/>
                </a:cubicBezTo>
                <a:cubicBezTo>
                  <a:pt x="1631309" y="198877"/>
                  <a:pt x="1632714" y="196378"/>
                  <a:pt x="1633963" y="194192"/>
                </a:cubicBezTo>
                <a:cubicBezTo>
                  <a:pt x="1632714" y="192786"/>
                  <a:pt x="1631934" y="193255"/>
                  <a:pt x="1630996" y="193411"/>
                </a:cubicBezTo>
                <a:close/>
                <a:moveTo>
                  <a:pt x="461462" y="24938"/>
                </a:moveTo>
                <a:cubicBezTo>
                  <a:pt x="457975" y="25122"/>
                  <a:pt x="457240" y="27692"/>
                  <a:pt x="457057" y="30813"/>
                </a:cubicBezTo>
                <a:cubicBezTo>
                  <a:pt x="456873" y="33383"/>
                  <a:pt x="457607" y="34668"/>
                  <a:pt x="460177" y="34301"/>
                </a:cubicBezTo>
                <a:cubicBezTo>
                  <a:pt x="463482" y="34117"/>
                  <a:pt x="464400" y="32465"/>
                  <a:pt x="463666" y="29711"/>
                </a:cubicBezTo>
                <a:cubicBezTo>
                  <a:pt x="463665" y="27508"/>
                  <a:pt x="464584" y="24938"/>
                  <a:pt x="461462" y="24938"/>
                </a:cubicBezTo>
                <a:close/>
                <a:moveTo>
                  <a:pt x="1258445" y="137867"/>
                </a:moveTo>
                <a:cubicBezTo>
                  <a:pt x="1256103" y="137555"/>
                  <a:pt x="1254542" y="139273"/>
                  <a:pt x="1254854" y="141147"/>
                </a:cubicBezTo>
                <a:cubicBezTo>
                  <a:pt x="1255323" y="143957"/>
                  <a:pt x="1257353" y="146144"/>
                  <a:pt x="1260476" y="146768"/>
                </a:cubicBezTo>
                <a:cubicBezTo>
                  <a:pt x="1261881" y="146925"/>
                  <a:pt x="1262662" y="145987"/>
                  <a:pt x="1262193" y="143957"/>
                </a:cubicBezTo>
                <a:cubicBezTo>
                  <a:pt x="1260788" y="142552"/>
                  <a:pt x="1262662" y="138336"/>
                  <a:pt x="1258445" y="137867"/>
                </a:cubicBezTo>
                <a:close/>
                <a:moveTo>
                  <a:pt x="386748" y="11904"/>
                </a:moveTo>
                <a:cubicBezTo>
                  <a:pt x="383627" y="13189"/>
                  <a:pt x="379589" y="16310"/>
                  <a:pt x="380139" y="19247"/>
                </a:cubicBezTo>
                <a:cubicBezTo>
                  <a:pt x="381241" y="23286"/>
                  <a:pt x="387481" y="21634"/>
                  <a:pt x="390787" y="24571"/>
                </a:cubicBezTo>
                <a:cubicBezTo>
                  <a:pt x="392438" y="26040"/>
                  <a:pt x="393172" y="23286"/>
                  <a:pt x="393172" y="21634"/>
                </a:cubicBezTo>
                <a:cubicBezTo>
                  <a:pt x="393172" y="16677"/>
                  <a:pt x="389317" y="10803"/>
                  <a:pt x="386748" y="11904"/>
                </a:cubicBezTo>
                <a:close/>
                <a:moveTo>
                  <a:pt x="714689" y="58855"/>
                </a:moveTo>
                <a:cubicBezTo>
                  <a:pt x="715626" y="61978"/>
                  <a:pt x="713909" y="66975"/>
                  <a:pt x="715158" y="66507"/>
                </a:cubicBezTo>
                <a:cubicBezTo>
                  <a:pt x="719998" y="64477"/>
                  <a:pt x="719842" y="68380"/>
                  <a:pt x="721092" y="70254"/>
                </a:cubicBezTo>
                <a:cubicBezTo>
                  <a:pt x="722810" y="72597"/>
                  <a:pt x="724058" y="71816"/>
                  <a:pt x="725776" y="70567"/>
                </a:cubicBezTo>
                <a:cubicBezTo>
                  <a:pt x="728275" y="68537"/>
                  <a:pt x="727807" y="66194"/>
                  <a:pt x="726869" y="63539"/>
                </a:cubicBezTo>
                <a:cubicBezTo>
                  <a:pt x="725933" y="60885"/>
                  <a:pt x="724214" y="59323"/>
                  <a:pt x="721560" y="61041"/>
                </a:cubicBezTo>
                <a:cubicBezTo>
                  <a:pt x="718750" y="62915"/>
                  <a:pt x="717500" y="60260"/>
                  <a:pt x="714689" y="58855"/>
                </a:cubicBezTo>
                <a:close/>
                <a:moveTo>
                  <a:pt x="480371" y="23286"/>
                </a:moveTo>
                <a:cubicBezTo>
                  <a:pt x="482206" y="27692"/>
                  <a:pt x="482941" y="30813"/>
                  <a:pt x="487530" y="29895"/>
                </a:cubicBezTo>
                <a:cubicBezTo>
                  <a:pt x="488632" y="29528"/>
                  <a:pt x="490284" y="28977"/>
                  <a:pt x="489734" y="27876"/>
                </a:cubicBezTo>
                <a:cubicBezTo>
                  <a:pt x="488081" y="24571"/>
                  <a:pt x="484777" y="24388"/>
                  <a:pt x="480371" y="23286"/>
                </a:cubicBezTo>
                <a:close/>
                <a:moveTo>
                  <a:pt x="808071" y="70254"/>
                </a:moveTo>
                <a:cubicBezTo>
                  <a:pt x="806040" y="69317"/>
                  <a:pt x="805885" y="71035"/>
                  <a:pt x="804947" y="71972"/>
                </a:cubicBezTo>
                <a:cubicBezTo>
                  <a:pt x="802605" y="74471"/>
                  <a:pt x="799325" y="76032"/>
                  <a:pt x="797140" y="78999"/>
                </a:cubicBezTo>
                <a:cubicBezTo>
                  <a:pt x="792611" y="85089"/>
                  <a:pt x="792767" y="85245"/>
                  <a:pt x="799794" y="88056"/>
                </a:cubicBezTo>
                <a:cubicBezTo>
                  <a:pt x="804479" y="89930"/>
                  <a:pt x="805885" y="87588"/>
                  <a:pt x="806821" y="84152"/>
                </a:cubicBezTo>
                <a:cubicBezTo>
                  <a:pt x="807759" y="80717"/>
                  <a:pt x="808226" y="77125"/>
                  <a:pt x="808852" y="73690"/>
                </a:cubicBezTo>
                <a:cubicBezTo>
                  <a:pt x="809008" y="72441"/>
                  <a:pt x="810100" y="71035"/>
                  <a:pt x="808071" y="70254"/>
                </a:cubicBezTo>
                <a:close/>
                <a:moveTo>
                  <a:pt x="1222373" y="129435"/>
                </a:moveTo>
                <a:cubicBezTo>
                  <a:pt x="1218313" y="128654"/>
                  <a:pt x="1219094" y="131777"/>
                  <a:pt x="1219094" y="133807"/>
                </a:cubicBezTo>
                <a:cubicBezTo>
                  <a:pt x="1219095" y="136774"/>
                  <a:pt x="1218470" y="139741"/>
                  <a:pt x="1220656" y="144426"/>
                </a:cubicBezTo>
                <a:cubicBezTo>
                  <a:pt x="1221593" y="139585"/>
                  <a:pt x="1225965" y="139429"/>
                  <a:pt x="1226589" y="135369"/>
                </a:cubicBezTo>
                <a:cubicBezTo>
                  <a:pt x="1227215" y="131777"/>
                  <a:pt x="1225965" y="130216"/>
                  <a:pt x="1222373" y="129435"/>
                </a:cubicBezTo>
                <a:close/>
                <a:moveTo>
                  <a:pt x="1769819" y="205435"/>
                </a:moveTo>
                <a:cubicBezTo>
                  <a:pt x="1768258" y="205748"/>
                  <a:pt x="1766071" y="206060"/>
                  <a:pt x="1766384" y="208246"/>
                </a:cubicBezTo>
                <a:cubicBezTo>
                  <a:pt x="1766696" y="209808"/>
                  <a:pt x="1768570" y="210744"/>
                  <a:pt x="1770288" y="210276"/>
                </a:cubicBezTo>
                <a:cubicBezTo>
                  <a:pt x="1771537" y="209964"/>
                  <a:pt x="1772942" y="209339"/>
                  <a:pt x="1772942" y="207465"/>
                </a:cubicBezTo>
                <a:cubicBezTo>
                  <a:pt x="1772474" y="206060"/>
                  <a:pt x="1771381" y="205123"/>
                  <a:pt x="1769819" y="205435"/>
                </a:cubicBezTo>
                <a:close/>
                <a:moveTo>
                  <a:pt x="1714852" y="196847"/>
                </a:moveTo>
                <a:cubicBezTo>
                  <a:pt x="1713135" y="200750"/>
                  <a:pt x="1714228" y="204655"/>
                  <a:pt x="1712979" y="207778"/>
                </a:cubicBezTo>
                <a:cubicBezTo>
                  <a:pt x="1709700" y="216366"/>
                  <a:pt x="1711886" y="220895"/>
                  <a:pt x="1720943" y="223237"/>
                </a:cubicBezTo>
                <a:cubicBezTo>
                  <a:pt x="1725627" y="224486"/>
                  <a:pt x="1728594" y="222456"/>
                  <a:pt x="1729531" y="219489"/>
                </a:cubicBezTo>
                <a:cubicBezTo>
                  <a:pt x="1730468" y="216678"/>
                  <a:pt x="1732186" y="211682"/>
                  <a:pt x="1726408" y="210432"/>
                </a:cubicBezTo>
                <a:cubicBezTo>
                  <a:pt x="1724534" y="210120"/>
                  <a:pt x="1722192" y="209339"/>
                  <a:pt x="1722504" y="207153"/>
                </a:cubicBezTo>
                <a:cubicBezTo>
                  <a:pt x="1722816" y="204810"/>
                  <a:pt x="1725003" y="205904"/>
                  <a:pt x="1726565" y="206060"/>
                </a:cubicBezTo>
                <a:cubicBezTo>
                  <a:pt x="1727813" y="206216"/>
                  <a:pt x="1729063" y="206216"/>
                  <a:pt x="1729063" y="204498"/>
                </a:cubicBezTo>
                <a:cubicBezTo>
                  <a:pt x="1729062" y="203093"/>
                  <a:pt x="1727813" y="201687"/>
                  <a:pt x="1727033" y="202156"/>
                </a:cubicBezTo>
                <a:cubicBezTo>
                  <a:pt x="1720943" y="205279"/>
                  <a:pt x="1719225" y="198408"/>
                  <a:pt x="1714852" y="196847"/>
                </a:cubicBezTo>
                <a:close/>
                <a:moveTo>
                  <a:pt x="441820" y="10436"/>
                </a:moveTo>
                <a:cubicBezTo>
                  <a:pt x="459994" y="12639"/>
                  <a:pt x="477617" y="16861"/>
                  <a:pt x="493772" y="25306"/>
                </a:cubicBezTo>
                <a:cubicBezTo>
                  <a:pt x="513781" y="35769"/>
                  <a:pt x="530119" y="49538"/>
                  <a:pt x="531221" y="74504"/>
                </a:cubicBezTo>
                <a:cubicBezTo>
                  <a:pt x="533424" y="78175"/>
                  <a:pt x="532689" y="82214"/>
                  <a:pt x="532322" y="85885"/>
                </a:cubicBezTo>
                <a:cubicBezTo>
                  <a:pt x="532322" y="112688"/>
                  <a:pt x="532323" y="139490"/>
                  <a:pt x="532139" y="166292"/>
                </a:cubicBezTo>
                <a:cubicBezTo>
                  <a:pt x="532139" y="170147"/>
                  <a:pt x="532323" y="174185"/>
                  <a:pt x="530670" y="177857"/>
                </a:cubicBezTo>
                <a:cubicBezTo>
                  <a:pt x="531038" y="178224"/>
                  <a:pt x="531038" y="178591"/>
                  <a:pt x="530670" y="178958"/>
                </a:cubicBezTo>
                <a:cubicBezTo>
                  <a:pt x="530854" y="184833"/>
                  <a:pt x="530120" y="190707"/>
                  <a:pt x="527366" y="196031"/>
                </a:cubicBezTo>
                <a:cubicBezTo>
                  <a:pt x="525347" y="206311"/>
                  <a:pt x="518738" y="213471"/>
                  <a:pt x="511579" y="220079"/>
                </a:cubicBezTo>
                <a:cubicBezTo>
                  <a:pt x="496158" y="234398"/>
                  <a:pt x="477067" y="241374"/>
                  <a:pt x="456690" y="244862"/>
                </a:cubicBezTo>
                <a:cubicBezTo>
                  <a:pt x="416303" y="252021"/>
                  <a:pt x="375917" y="251104"/>
                  <a:pt x="335898" y="242843"/>
                </a:cubicBezTo>
                <a:cubicBezTo>
                  <a:pt x="316438" y="238804"/>
                  <a:pt x="299549" y="230176"/>
                  <a:pt x="286883" y="214389"/>
                </a:cubicBezTo>
                <a:cubicBezTo>
                  <a:pt x="284496" y="212736"/>
                  <a:pt x="282293" y="211084"/>
                  <a:pt x="281192" y="208331"/>
                </a:cubicBezTo>
                <a:cubicBezTo>
                  <a:pt x="274583" y="192727"/>
                  <a:pt x="270912" y="176572"/>
                  <a:pt x="274400" y="159499"/>
                </a:cubicBezTo>
                <a:cubicBezTo>
                  <a:pt x="274767" y="159132"/>
                  <a:pt x="275134" y="158949"/>
                  <a:pt x="275684" y="158581"/>
                </a:cubicBezTo>
                <a:cubicBezTo>
                  <a:pt x="275684" y="157664"/>
                  <a:pt x="275501" y="156746"/>
                  <a:pt x="275318" y="155828"/>
                </a:cubicBezTo>
                <a:cubicBezTo>
                  <a:pt x="275318" y="135267"/>
                  <a:pt x="275134" y="114523"/>
                  <a:pt x="275501" y="93963"/>
                </a:cubicBezTo>
                <a:cubicBezTo>
                  <a:pt x="275868" y="76523"/>
                  <a:pt x="277887" y="59451"/>
                  <a:pt x="289086" y="44948"/>
                </a:cubicBezTo>
                <a:cubicBezTo>
                  <a:pt x="298999" y="30629"/>
                  <a:pt x="313685" y="23286"/>
                  <a:pt x="329289" y="17963"/>
                </a:cubicBezTo>
                <a:cubicBezTo>
                  <a:pt x="366187" y="5663"/>
                  <a:pt x="403820" y="6030"/>
                  <a:pt x="441820" y="10436"/>
                </a:cubicBezTo>
                <a:close/>
                <a:moveTo>
                  <a:pt x="1149916" y="106804"/>
                </a:moveTo>
                <a:cubicBezTo>
                  <a:pt x="1143190" y="109792"/>
                  <a:pt x="1136652" y="112781"/>
                  <a:pt x="1128432" y="116517"/>
                </a:cubicBezTo>
                <a:cubicBezTo>
                  <a:pt x="1128805" y="111661"/>
                  <a:pt x="1129180" y="108671"/>
                  <a:pt x="1129366" y="105869"/>
                </a:cubicBezTo>
                <a:cubicBezTo>
                  <a:pt x="1120772" y="100638"/>
                  <a:pt x="1120586" y="108111"/>
                  <a:pt x="1118905" y="112034"/>
                </a:cubicBezTo>
                <a:cubicBezTo>
                  <a:pt x="1122827" y="118386"/>
                  <a:pt x="1126377" y="124177"/>
                  <a:pt x="1130860" y="131650"/>
                </a:cubicBezTo>
                <a:cubicBezTo>
                  <a:pt x="1132729" y="126045"/>
                  <a:pt x="1133849" y="122870"/>
                  <a:pt x="1134783" y="119880"/>
                </a:cubicBezTo>
                <a:cubicBezTo>
                  <a:pt x="1148422" y="123056"/>
                  <a:pt x="1150850" y="120814"/>
                  <a:pt x="1149916" y="106804"/>
                </a:cubicBezTo>
                <a:close/>
                <a:moveTo>
                  <a:pt x="1725939" y="185037"/>
                </a:moveTo>
                <a:cubicBezTo>
                  <a:pt x="1724534" y="185486"/>
                  <a:pt x="1723206" y="186462"/>
                  <a:pt x="1721723" y="187165"/>
                </a:cubicBezTo>
                <a:cubicBezTo>
                  <a:pt x="1719225" y="188414"/>
                  <a:pt x="1716414" y="189663"/>
                  <a:pt x="1717039" y="192474"/>
                </a:cubicBezTo>
                <a:cubicBezTo>
                  <a:pt x="1717664" y="195441"/>
                  <a:pt x="1721411" y="194348"/>
                  <a:pt x="1723754" y="195129"/>
                </a:cubicBezTo>
                <a:cubicBezTo>
                  <a:pt x="1727189" y="196222"/>
                  <a:pt x="1727658" y="194036"/>
                  <a:pt x="1728282" y="191693"/>
                </a:cubicBezTo>
                <a:cubicBezTo>
                  <a:pt x="1728906" y="189663"/>
                  <a:pt x="1729999" y="187789"/>
                  <a:pt x="1730624" y="186072"/>
                </a:cubicBezTo>
                <a:cubicBezTo>
                  <a:pt x="1728828" y="184666"/>
                  <a:pt x="1727345" y="184588"/>
                  <a:pt x="1725939" y="185037"/>
                </a:cubicBezTo>
                <a:close/>
                <a:moveTo>
                  <a:pt x="794095" y="46382"/>
                </a:moveTo>
                <a:cubicBezTo>
                  <a:pt x="792455" y="45269"/>
                  <a:pt x="790113" y="45191"/>
                  <a:pt x="787146" y="45581"/>
                </a:cubicBezTo>
                <a:cubicBezTo>
                  <a:pt x="780743" y="46362"/>
                  <a:pt x="778869" y="49642"/>
                  <a:pt x="777932" y="54639"/>
                </a:cubicBezTo>
                <a:cubicBezTo>
                  <a:pt x="777620" y="56044"/>
                  <a:pt x="777464" y="57293"/>
                  <a:pt x="775903" y="58074"/>
                </a:cubicBezTo>
                <a:cubicBezTo>
                  <a:pt x="774497" y="58855"/>
                  <a:pt x="771687" y="59167"/>
                  <a:pt x="773560" y="61666"/>
                </a:cubicBezTo>
                <a:cubicBezTo>
                  <a:pt x="775122" y="63852"/>
                  <a:pt x="777464" y="64164"/>
                  <a:pt x="779806" y="62446"/>
                </a:cubicBezTo>
                <a:cubicBezTo>
                  <a:pt x="783398" y="60104"/>
                  <a:pt x="786990" y="58386"/>
                  <a:pt x="791362" y="57606"/>
                </a:cubicBezTo>
                <a:cubicBezTo>
                  <a:pt x="793704" y="57137"/>
                  <a:pt x="796671" y="55732"/>
                  <a:pt x="796827" y="53389"/>
                </a:cubicBezTo>
                <a:cubicBezTo>
                  <a:pt x="796672" y="49642"/>
                  <a:pt x="795734" y="47495"/>
                  <a:pt x="794095" y="46382"/>
                </a:cubicBezTo>
                <a:close/>
                <a:moveTo>
                  <a:pt x="1463814" y="138217"/>
                </a:moveTo>
                <a:cubicBezTo>
                  <a:pt x="1461784" y="138530"/>
                  <a:pt x="1460847" y="140404"/>
                  <a:pt x="1462877" y="142277"/>
                </a:cubicBezTo>
                <a:cubicBezTo>
                  <a:pt x="1459753" y="145244"/>
                  <a:pt x="1457567" y="152272"/>
                  <a:pt x="1452102" y="144620"/>
                </a:cubicBezTo>
                <a:cubicBezTo>
                  <a:pt x="1451477" y="143839"/>
                  <a:pt x="1450540" y="143527"/>
                  <a:pt x="1449760" y="144464"/>
                </a:cubicBezTo>
                <a:cubicBezTo>
                  <a:pt x="1449447" y="144932"/>
                  <a:pt x="1448979" y="145869"/>
                  <a:pt x="1449135" y="146181"/>
                </a:cubicBezTo>
                <a:cubicBezTo>
                  <a:pt x="1453819" y="152896"/>
                  <a:pt x="1452570" y="159455"/>
                  <a:pt x="1448823" y="166170"/>
                </a:cubicBezTo>
                <a:cubicBezTo>
                  <a:pt x="1447105" y="169136"/>
                  <a:pt x="1449760" y="171635"/>
                  <a:pt x="1451946" y="173197"/>
                </a:cubicBezTo>
                <a:cubicBezTo>
                  <a:pt x="1453508" y="174446"/>
                  <a:pt x="1455849" y="176164"/>
                  <a:pt x="1457724" y="174758"/>
                </a:cubicBezTo>
                <a:cubicBezTo>
                  <a:pt x="1459910" y="173040"/>
                  <a:pt x="1458348" y="170386"/>
                  <a:pt x="1457880" y="168200"/>
                </a:cubicBezTo>
                <a:cubicBezTo>
                  <a:pt x="1457567" y="167106"/>
                  <a:pt x="1457255" y="165857"/>
                  <a:pt x="1457411" y="164764"/>
                </a:cubicBezTo>
                <a:cubicBezTo>
                  <a:pt x="1457568" y="163046"/>
                  <a:pt x="1455694" y="160548"/>
                  <a:pt x="1458036" y="159767"/>
                </a:cubicBezTo>
                <a:cubicBezTo>
                  <a:pt x="1460690" y="158986"/>
                  <a:pt x="1460534" y="161797"/>
                  <a:pt x="1460691" y="163515"/>
                </a:cubicBezTo>
                <a:cubicBezTo>
                  <a:pt x="1460847" y="164608"/>
                  <a:pt x="1462096" y="165701"/>
                  <a:pt x="1462252" y="165389"/>
                </a:cubicBezTo>
                <a:cubicBezTo>
                  <a:pt x="1465063" y="160236"/>
                  <a:pt x="1468187" y="164764"/>
                  <a:pt x="1471153" y="164608"/>
                </a:cubicBezTo>
                <a:cubicBezTo>
                  <a:pt x="1473651" y="164608"/>
                  <a:pt x="1474901" y="162578"/>
                  <a:pt x="1473651" y="159142"/>
                </a:cubicBezTo>
                <a:cubicBezTo>
                  <a:pt x="1472402" y="156175"/>
                  <a:pt x="1469904" y="152428"/>
                  <a:pt x="1471778" y="149929"/>
                </a:cubicBezTo>
                <a:cubicBezTo>
                  <a:pt x="1474588" y="146494"/>
                  <a:pt x="1472715" y="144464"/>
                  <a:pt x="1471309" y="141965"/>
                </a:cubicBezTo>
                <a:cubicBezTo>
                  <a:pt x="1470216" y="138061"/>
                  <a:pt x="1466937" y="137749"/>
                  <a:pt x="1463814" y="138217"/>
                </a:cubicBezTo>
                <a:close/>
                <a:moveTo>
                  <a:pt x="721873" y="24969"/>
                </a:moveTo>
                <a:cubicBezTo>
                  <a:pt x="717343" y="27155"/>
                  <a:pt x="719842" y="33714"/>
                  <a:pt x="718280" y="38086"/>
                </a:cubicBezTo>
                <a:cubicBezTo>
                  <a:pt x="716563" y="44645"/>
                  <a:pt x="722341" y="42458"/>
                  <a:pt x="724371" y="42771"/>
                </a:cubicBezTo>
                <a:cubicBezTo>
                  <a:pt x="729524" y="43864"/>
                  <a:pt x="735146" y="39179"/>
                  <a:pt x="735302" y="34963"/>
                </a:cubicBezTo>
                <a:cubicBezTo>
                  <a:pt x="735458" y="30903"/>
                  <a:pt x="726089" y="22939"/>
                  <a:pt x="721873" y="24969"/>
                </a:cubicBezTo>
                <a:close/>
                <a:moveTo>
                  <a:pt x="634581" y="10915"/>
                </a:moveTo>
                <a:cubicBezTo>
                  <a:pt x="625212" y="10915"/>
                  <a:pt x="616780" y="10915"/>
                  <a:pt x="608659" y="10915"/>
                </a:cubicBezTo>
                <a:cubicBezTo>
                  <a:pt x="609596" y="20284"/>
                  <a:pt x="611002" y="28404"/>
                  <a:pt x="622870" y="28717"/>
                </a:cubicBezTo>
                <a:cubicBezTo>
                  <a:pt x="626149" y="28873"/>
                  <a:pt x="628335" y="28404"/>
                  <a:pt x="628647" y="25750"/>
                </a:cubicBezTo>
                <a:cubicBezTo>
                  <a:pt x="629584" y="20596"/>
                  <a:pt x="631614" y="15912"/>
                  <a:pt x="634581" y="10915"/>
                </a:cubicBezTo>
                <a:close/>
                <a:moveTo>
                  <a:pt x="1335587" y="107573"/>
                </a:moveTo>
                <a:cubicBezTo>
                  <a:pt x="1340428" y="107573"/>
                  <a:pt x="1342458" y="108510"/>
                  <a:pt x="1342146" y="113663"/>
                </a:cubicBezTo>
                <a:cubicBezTo>
                  <a:pt x="1341834" y="123969"/>
                  <a:pt x="1341990" y="134120"/>
                  <a:pt x="1342145" y="144426"/>
                </a:cubicBezTo>
                <a:cubicBezTo>
                  <a:pt x="1342145" y="148018"/>
                  <a:pt x="1341053" y="149423"/>
                  <a:pt x="1337305" y="149423"/>
                </a:cubicBezTo>
                <a:cubicBezTo>
                  <a:pt x="1313569" y="149423"/>
                  <a:pt x="1289677" y="149579"/>
                  <a:pt x="1265941" y="149579"/>
                </a:cubicBezTo>
                <a:cubicBezTo>
                  <a:pt x="1251419" y="149579"/>
                  <a:pt x="1236896" y="149423"/>
                  <a:pt x="1222373" y="149735"/>
                </a:cubicBezTo>
                <a:cubicBezTo>
                  <a:pt x="1217845" y="149891"/>
                  <a:pt x="1216127" y="148642"/>
                  <a:pt x="1216283" y="143801"/>
                </a:cubicBezTo>
                <a:cubicBezTo>
                  <a:pt x="1216752" y="133807"/>
                  <a:pt x="1216752" y="123813"/>
                  <a:pt x="1216284" y="113819"/>
                </a:cubicBezTo>
                <a:cubicBezTo>
                  <a:pt x="1216127" y="108510"/>
                  <a:pt x="1218001" y="107573"/>
                  <a:pt x="1222842" y="107573"/>
                </a:cubicBezTo>
                <a:cubicBezTo>
                  <a:pt x="1241581" y="107885"/>
                  <a:pt x="1260476" y="107729"/>
                  <a:pt x="1279215" y="107729"/>
                </a:cubicBezTo>
                <a:cubicBezTo>
                  <a:pt x="1297954" y="107729"/>
                  <a:pt x="1316849" y="107885"/>
                  <a:pt x="1335587" y="107573"/>
                </a:cubicBezTo>
                <a:close/>
                <a:moveTo>
                  <a:pt x="916210" y="46781"/>
                </a:moveTo>
                <a:cubicBezTo>
                  <a:pt x="915630" y="54707"/>
                  <a:pt x="915243" y="60894"/>
                  <a:pt x="914857" y="65921"/>
                </a:cubicBezTo>
                <a:cubicBezTo>
                  <a:pt x="905770" y="66307"/>
                  <a:pt x="898423" y="66501"/>
                  <a:pt x="891270" y="66694"/>
                </a:cubicBezTo>
                <a:cubicBezTo>
                  <a:pt x="887596" y="66887"/>
                  <a:pt x="882570" y="65727"/>
                  <a:pt x="880637" y="67661"/>
                </a:cubicBezTo>
                <a:cubicBezTo>
                  <a:pt x="875223" y="72881"/>
                  <a:pt x="870776" y="79647"/>
                  <a:pt x="865556" y="86221"/>
                </a:cubicBezTo>
                <a:cubicBezTo>
                  <a:pt x="879476" y="100914"/>
                  <a:pt x="895137" y="100141"/>
                  <a:pt x="910217" y="90667"/>
                </a:cubicBezTo>
                <a:cubicBezTo>
                  <a:pt x="912150" y="95888"/>
                  <a:pt x="913697" y="99754"/>
                  <a:pt x="914470" y="101881"/>
                </a:cubicBezTo>
                <a:cubicBezTo>
                  <a:pt x="924136" y="99368"/>
                  <a:pt x="932450" y="97241"/>
                  <a:pt x="941731" y="94728"/>
                </a:cubicBezTo>
                <a:cubicBezTo>
                  <a:pt x="936123" y="89508"/>
                  <a:pt x="925876" y="87961"/>
                  <a:pt x="925877" y="76748"/>
                </a:cubicBezTo>
                <a:cubicBezTo>
                  <a:pt x="928390" y="78681"/>
                  <a:pt x="930323" y="80034"/>
                  <a:pt x="934189" y="82934"/>
                </a:cubicBezTo>
                <a:cubicBezTo>
                  <a:pt x="932257" y="73461"/>
                  <a:pt x="929357" y="66307"/>
                  <a:pt x="929743" y="59347"/>
                </a:cubicBezTo>
                <a:cubicBezTo>
                  <a:pt x="930517" y="47167"/>
                  <a:pt x="920270" y="51808"/>
                  <a:pt x="916210" y="46781"/>
                </a:cubicBezTo>
                <a:close/>
                <a:moveTo>
                  <a:pt x="1147674" y="65330"/>
                </a:moveTo>
                <a:cubicBezTo>
                  <a:pt x="1146740" y="65517"/>
                  <a:pt x="1145992" y="65890"/>
                  <a:pt x="1145058" y="66077"/>
                </a:cubicBezTo>
                <a:cubicBezTo>
                  <a:pt x="1146179" y="70374"/>
                  <a:pt x="1147113" y="74484"/>
                  <a:pt x="1148047" y="78594"/>
                </a:cubicBezTo>
                <a:cubicBezTo>
                  <a:pt x="1145246" y="80649"/>
                  <a:pt x="1142069" y="83078"/>
                  <a:pt x="1138893" y="85319"/>
                </a:cubicBezTo>
                <a:cubicBezTo>
                  <a:pt x="1139267" y="86440"/>
                  <a:pt x="1139828" y="87561"/>
                  <a:pt x="1140202" y="88682"/>
                </a:cubicBezTo>
                <a:cubicBezTo>
                  <a:pt x="1147861" y="84759"/>
                  <a:pt x="1155147" y="98210"/>
                  <a:pt x="1163927" y="86441"/>
                </a:cubicBezTo>
                <a:cubicBezTo>
                  <a:pt x="1158696" y="79715"/>
                  <a:pt x="1153092" y="72429"/>
                  <a:pt x="1147674" y="65330"/>
                </a:cubicBezTo>
                <a:close/>
                <a:moveTo>
                  <a:pt x="821500" y="10758"/>
                </a:moveTo>
                <a:cubicBezTo>
                  <a:pt x="816191" y="12008"/>
                  <a:pt x="810725" y="7948"/>
                  <a:pt x="806353" y="13257"/>
                </a:cubicBezTo>
                <a:cubicBezTo>
                  <a:pt x="802293" y="9197"/>
                  <a:pt x="799950" y="12945"/>
                  <a:pt x="797140" y="15131"/>
                </a:cubicBezTo>
                <a:cubicBezTo>
                  <a:pt x="797608" y="16068"/>
                  <a:pt x="797921" y="17317"/>
                  <a:pt x="798545" y="18254"/>
                </a:cubicBezTo>
                <a:cubicBezTo>
                  <a:pt x="803230" y="24500"/>
                  <a:pt x="807290" y="30903"/>
                  <a:pt x="806977" y="39179"/>
                </a:cubicBezTo>
                <a:cubicBezTo>
                  <a:pt x="806822" y="43551"/>
                  <a:pt x="808070" y="47924"/>
                  <a:pt x="814005" y="47768"/>
                </a:cubicBezTo>
                <a:cubicBezTo>
                  <a:pt x="816347" y="35744"/>
                  <a:pt x="818846" y="23563"/>
                  <a:pt x="821500" y="10758"/>
                </a:cubicBezTo>
                <a:close/>
                <a:moveTo>
                  <a:pt x="904416" y="21647"/>
                </a:moveTo>
                <a:cubicBezTo>
                  <a:pt x="903257" y="22807"/>
                  <a:pt x="902097" y="23774"/>
                  <a:pt x="900936" y="24934"/>
                </a:cubicBezTo>
                <a:cubicBezTo>
                  <a:pt x="904224" y="29961"/>
                  <a:pt x="907703" y="35181"/>
                  <a:pt x="910990" y="40208"/>
                </a:cubicBezTo>
                <a:cubicBezTo>
                  <a:pt x="911957" y="40014"/>
                  <a:pt x="913116" y="39821"/>
                  <a:pt x="914276" y="39628"/>
                </a:cubicBezTo>
                <a:cubicBezTo>
                  <a:pt x="914084" y="35761"/>
                  <a:pt x="915050" y="31314"/>
                  <a:pt x="913310" y="28221"/>
                </a:cubicBezTo>
                <a:cubicBezTo>
                  <a:pt x="911763" y="25321"/>
                  <a:pt x="907510" y="23774"/>
                  <a:pt x="904416" y="21647"/>
                </a:cubicBezTo>
                <a:close/>
                <a:moveTo>
                  <a:pt x="821187" y="7792"/>
                </a:moveTo>
                <a:cubicBezTo>
                  <a:pt x="823687" y="7792"/>
                  <a:pt x="825560" y="7635"/>
                  <a:pt x="824780" y="11539"/>
                </a:cubicBezTo>
                <a:cubicBezTo>
                  <a:pt x="821344" y="26687"/>
                  <a:pt x="818065" y="41990"/>
                  <a:pt x="814785" y="57137"/>
                </a:cubicBezTo>
                <a:cubicBezTo>
                  <a:pt x="814629" y="57606"/>
                  <a:pt x="814629" y="58074"/>
                  <a:pt x="814473" y="58543"/>
                </a:cubicBezTo>
                <a:cubicBezTo>
                  <a:pt x="810101" y="80092"/>
                  <a:pt x="805884" y="101798"/>
                  <a:pt x="801356" y="123348"/>
                </a:cubicBezTo>
                <a:cubicBezTo>
                  <a:pt x="793236" y="162075"/>
                  <a:pt x="785116" y="200958"/>
                  <a:pt x="776995" y="239684"/>
                </a:cubicBezTo>
                <a:cubicBezTo>
                  <a:pt x="776839" y="240622"/>
                  <a:pt x="776371" y="241402"/>
                  <a:pt x="776059" y="242339"/>
                </a:cubicBezTo>
                <a:cubicBezTo>
                  <a:pt x="776683" y="248273"/>
                  <a:pt x="773716" y="249679"/>
                  <a:pt x="768094" y="249679"/>
                </a:cubicBezTo>
                <a:cubicBezTo>
                  <a:pt x="722184" y="249366"/>
                  <a:pt x="676431" y="249366"/>
                  <a:pt x="630521" y="249678"/>
                </a:cubicBezTo>
                <a:cubicBezTo>
                  <a:pt x="624275" y="249835"/>
                  <a:pt x="621933" y="247961"/>
                  <a:pt x="622557" y="242027"/>
                </a:cubicBezTo>
                <a:cubicBezTo>
                  <a:pt x="615218" y="211733"/>
                  <a:pt x="607723" y="181594"/>
                  <a:pt x="600540" y="151456"/>
                </a:cubicBezTo>
                <a:cubicBezTo>
                  <a:pt x="589608" y="105702"/>
                  <a:pt x="578989" y="59948"/>
                  <a:pt x="567902" y="14350"/>
                </a:cubicBezTo>
                <a:cubicBezTo>
                  <a:pt x="566653" y="9197"/>
                  <a:pt x="567122" y="7635"/>
                  <a:pt x="573056" y="7635"/>
                </a:cubicBezTo>
                <a:cubicBezTo>
                  <a:pt x="603662" y="7948"/>
                  <a:pt x="634425" y="7948"/>
                  <a:pt x="665032" y="7635"/>
                </a:cubicBezTo>
                <a:cubicBezTo>
                  <a:pt x="670340" y="7635"/>
                  <a:pt x="672059" y="9353"/>
                  <a:pt x="672995" y="14506"/>
                </a:cubicBezTo>
                <a:cubicBezTo>
                  <a:pt x="681585" y="65570"/>
                  <a:pt x="690641" y="116477"/>
                  <a:pt x="696263" y="168009"/>
                </a:cubicBezTo>
                <a:cubicBezTo>
                  <a:pt x="696263" y="168945"/>
                  <a:pt x="696732" y="169726"/>
                  <a:pt x="697669" y="172069"/>
                </a:cubicBezTo>
                <a:cubicBezTo>
                  <a:pt x="700010" y="153017"/>
                  <a:pt x="702041" y="135684"/>
                  <a:pt x="704383" y="118194"/>
                </a:cubicBezTo>
                <a:cubicBezTo>
                  <a:pt x="707350" y="96332"/>
                  <a:pt x="710786" y="74471"/>
                  <a:pt x="713753" y="52609"/>
                </a:cubicBezTo>
                <a:cubicBezTo>
                  <a:pt x="715470" y="39491"/>
                  <a:pt x="717031" y="26374"/>
                  <a:pt x="718593" y="13257"/>
                </a:cubicBezTo>
                <a:cubicBezTo>
                  <a:pt x="718905" y="9822"/>
                  <a:pt x="720155" y="7792"/>
                  <a:pt x="724214" y="7792"/>
                </a:cubicBezTo>
                <a:cubicBezTo>
                  <a:pt x="747170" y="8104"/>
                  <a:pt x="769969" y="8104"/>
                  <a:pt x="792767" y="8104"/>
                </a:cubicBezTo>
                <a:cubicBezTo>
                  <a:pt x="802293" y="7948"/>
                  <a:pt x="811662" y="7948"/>
                  <a:pt x="821187" y="7792"/>
                </a:cubicBezTo>
                <a:close/>
                <a:moveTo>
                  <a:pt x="1490048" y="101677"/>
                </a:moveTo>
                <a:cubicBezTo>
                  <a:pt x="1487862" y="102145"/>
                  <a:pt x="1487862" y="104644"/>
                  <a:pt x="1487705" y="106361"/>
                </a:cubicBezTo>
                <a:cubicBezTo>
                  <a:pt x="1487393" y="107923"/>
                  <a:pt x="1488331" y="109172"/>
                  <a:pt x="1490204" y="108391"/>
                </a:cubicBezTo>
                <a:cubicBezTo>
                  <a:pt x="1491453" y="107767"/>
                  <a:pt x="1493484" y="107454"/>
                  <a:pt x="1493640" y="105424"/>
                </a:cubicBezTo>
                <a:cubicBezTo>
                  <a:pt x="1492078" y="104487"/>
                  <a:pt x="1492390" y="101208"/>
                  <a:pt x="1490048" y="101677"/>
                </a:cubicBezTo>
                <a:close/>
                <a:moveTo>
                  <a:pt x="1008870" y="23670"/>
                </a:moveTo>
                <a:cubicBezTo>
                  <a:pt x="1004013" y="26098"/>
                  <a:pt x="1000089" y="28154"/>
                  <a:pt x="993364" y="31516"/>
                </a:cubicBezTo>
                <a:cubicBezTo>
                  <a:pt x="1000089" y="34132"/>
                  <a:pt x="1000650" y="43286"/>
                  <a:pt x="1009056" y="37121"/>
                </a:cubicBezTo>
                <a:cubicBezTo>
                  <a:pt x="1016529" y="31703"/>
                  <a:pt x="1008870" y="28527"/>
                  <a:pt x="1008870" y="23670"/>
                </a:cubicBezTo>
                <a:close/>
                <a:moveTo>
                  <a:pt x="1139454" y="35066"/>
                </a:moveTo>
                <a:cubicBezTo>
                  <a:pt x="1136839" y="36748"/>
                  <a:pt x="1133850" y="38802"/>
                  <a:pt x="1130487" y="41231"/>
                </a:cubicBezTo>
                <a:cubicBezTo>
                  <a:pt x="1130113" y="51879"/>
                  <a:pt x="1129740" y="63275"/>
                  <a:pt x="1129739" y="74671"/>
                </a:cubicBezTo>
                <a:cubicBezTo>
                  <a:pt x="1130673" y="74857"/>
                  <a:pt x="1131421" y="74857"/>
                  <a:pt x="1132356" y="74857"/>
                </a:cubicBezTo>
                <a:cubicBezTo>
                  <a:pt x="1135531" y="68132"/>
                  <a:pt x="1137772" y="60660"/>
                  <a:pt x="1142256" y="55055"/>
                </a:cubicBezTo>
                <a:cubicBezTo>
                  <a:pt x="1146366" y="50011"/>
                  <a:pt x="1147674" y="48890"/>
                  <a:pt x="1144311" y="43846"/>
                </a:cubicBezTo>
                <a:cubicBezTo>
                  <a:pt x="1142256" y="40857"/>
                  <a:pt x="1140762" y="37308"/>
                  <a:pt x="1139454" y="35066"/>
                </a:cubicBezTo>
                <a:close/>
                <a:moveTo>
                  <a:pt x="1082102" y="24231"/>
                </a:moveTo>
                <a:cubicBezTo>
                  <a:pt x="1072948" y="26659"/>
                  <a:pt x="1064541" y="29088"/>
                  <a:pt x="1056134" y="31516"/>
                </a:cubicBezTo>
                <a:cubicBezTo>
                  <a:pt x="1063046" y="34318"/>
                  <a:pt x="1069772" y="36373"/>
                  <a:pt x="1076497" y="36373"/>
                </a:cubicBezTo>
                <a:cubicBezTo>
                  <a:pt x="1083036" y="36561"/>
                  <a:pt x="1085278" y="32264"/>
                  <a:pt x="1082102" y="24231"/>
                </a:cubicBezTo>
                <a:close/>
                <a:moveTo>
                  <a:pt x="948304" y="1154"/>
                </a:moveTo>
                <a:cubicBezTo>
                  <a:pt x="948110" y="86801"/>
                  <a:pt x="947917" y="171288"/>
                  <a:pt x="947724" y="257321"/>
                </a:cubicBezTo>
                <a:cubicBezTo>
                  <a:pt x="922590" y="256548"/>
                  <a:pt x="898617" y="255774"/>
                  <a:pt x="874063" y="255001"/>
                </a:cubicBezTo>
                <a:cubicBezTo>
                  <a:pt x="873483" y="249395"/>
                  <a:pt x="872904" y="245528"/>
                  <a:pt x="872516" y="241854"/>
                </a:cubicBezTo>
                <a:cubicBezTo>
                  <a:pt x="864784" y="240308"/>
                  <a:pt x="859370" y="237215"/>
                  <a:pt x="859563" y="227354"/>
                </a:cubicBezTo>
                <a:cubicBezTo>
                  <a:pt x="860143" y="166648"/>
                  <a:pt x="860142" y="105747"/>
                  <a:pt x="860337" y="45041"/>
                </a:cubicBezTo>
                <a:cubicBezTo>
                  <a:pt x="860337" y="32474"/>
                  <a:pt x="860529" y="20101"/>
                  <a:pt x="860337" y="7534"/>
                </a:cubicBezTo>
                <a:cubicBezTo>
                  <a:pt x="860143" y="2700"/>
                  <a:pt x="861689" y="574"/>
                  <a:pt x="866910" y="767"/>
                </a:cubicBezTo>
                <a:cubicBezTo>
                  <a:pt x="878703" y="1154"/>
                  <a:pt x="891463" y="-1746"/>
                  <a:pt x="902290" y="1734"/>
                </a:cubicBezTo>
                <a:cubicBezTo>
                  <a:pt x="912150" y="4828"/>
                  <a:pt x="920077" y="961"/>
                  <a:pt x="928776" y="961"/>
                </a:cubicBezTo>
                <a:cubicBezTo>
                  <a:pt x="934770" y="961"/>
                  <a:pt x="940957" y="961"/>
                  <a:pt x="948304" y="1154"/>
                </a:cubicBezTo>
                <a:close/>
                <a:moveTo>
                  <a:pt x="1439044" y="69118"/>
                </a:moveTo>
                <a:cubicBezTo>
                  <a:pt x="1438243" y="69079"/>
                  <a:pt x="1437424" y="69587"/>
                  <a:pt x="1436174" y="69821"/>
                </a:cubicBezTo>
                <a:cubicBezTo>
                  <a:pt x="1433051" y="70445"/>
                  <a:pt x="1432270" y="73256"/>
                  <a:pt x="1429459" y="74818"/>
                </a:cubicBezTo>
                <a:cubicBezTo>
                  <a:pt x="1436799" y="77941"/>
                  <a:pt x="1442420" y="82938"/>
                  <a:pt x="1449916" y="83562"/>
                </a:cubicBezTo>
                <a:cubicBezTo>
                  <a:pt x="1452102" y="83719"/>
                  <a:pt x="1454288" y="84812"/>
                  <a:pt x="1455226" y="86842"/>
                </a:cubicBezTo>
                <a:cubicBezTo>
                  <a:pt x="1457255" y="91370"/>
                  <a:pt x="1458973" y="95118"/>
                  <a:pt x="1465063" y="91370"/>
                </a:cubicBezTo>
                <a:cubicBezTo>
                  <a:pt x="1467249" y="90121"/>
                  <a:pt x="1469279" y="93088"/>
                  <a:pt x="1469748" y="94806"/>
                </a:cubicBezTo>
                <a:cubicBezTo>
                  <a:pt x="1471310" y="100896"/>
                  <a:pt x="1475837" y="102770"/>
                  <a:pt x="1481303" y="104019"/>
                </a:cubicBezTo>
                <a:cubicBezTo>
                  <a:pt x="1480678" y="98710"/>
                  <a:pt x="1481615" y="92776"/>
                  <a:pt x="1473808" y="92151"/>
                </a:cubicBezTo>
                <a:cubicBezTo>
                  <a:pt x="1472090" y="91995"/>
                  <a:pt x="1469903" y="90277"/>
                  <a:pt x="1470997" y="89028"/>
                </a:cubicBezTo>
                <a:cubicBezTo>
                  <a:pt x="1476774" y="82469"/>
                  <a:pt x="1469123" y="84187"/>
                  <a:pt x="1467093" y="82782"/>
                </a:cubicBezTo>
                <a:cubicBezTo>
                  <a:pt x="1464751" y="81064"/>
                  <a:pt x="1462096" y="81689"/>
                  <a:pt x="1459441" y="81845"/>
                </a:cubicBezTo>
                <a:cubicBezTo>
                  <a:pt x="1451477" y="82157"/>
                  <a:pt x="1445231" y="77316"/>
                  <a:pt x="1441796" y="71694"/>
                </a:cubicBezTo>
                <a:cubicBezTo>
                  <a:pt x="1440624" y="69743"/>
                  <a:pt x="1439843" y="69157"/>
                  <a:pt x="1439044" y="69118"/>
                </a:cubicBezTo>
                <a:close/>
                <a:moveTo>
                  <a:pt x="1145805" y="24978"/>
                </a:moveTo>
                <a:cubicBezTo>
                  <a:pt x="1145058" y="26285"/>
                  <a:pt x="1144124" y="27406"/>
                  <a:pt x="1143565" y="28527"/>
                </a:cubicBezTo>
                <a:cubicBezTo>
                  <a:pt x="1146926" y="33572"/>
                  <a:pt x="1150476" y="38802"/>
                  <a:pt x="1153839" y="43846"/>
                </a:cubicBezTo>
                <a:cubicBezTo>
                  <a:pt x="1155333" y="43472"/>
                  <a:pt x="1156828" y="43099"/>
                  <a:pt x="1158323" y="42725"/>
                </a:cubicBezTo>
                <a:cubicBezTo>
                  <a:pt x="1159256" y="38242"/>
                  <a:pt x="1162432" y="31143"/>
                  <a:pt x="1160751" y="29835"/>
                </a:cubicBezTo>
                <a:cubicBezTo>
                  <a:pt x="1157014" y="26659"/>
                  <a:pt x="1150850" y="26473"/>
                  <a:pt x="1145805" y="24978"/>
                </a:cubicBezTo>
                <a:close/>
                <a:moveTo>
                  <a:pt x="1138893" y="10780"/>
                </a:moveTo>
                <a:cubicBezTo>
                  <a:pt x="1137773" y="15637"/>
                  <a:pt x="1137025" y="19373"/>
                  <a:pt x="1135532" y="25912"/>
                </a:cubicBezTo>
                <a:cubicBezTo>
                  <a:pt x="1142629" y="22176"/>
                  <a:pt x="1147301" y="19747"/>
                  <a:pt x="1152904" y="16945"/>
                </a:cubicBezTo>
                <a:cubicBezTo>
                  <a:pt x="1171400" y="24043"/>
                  <a:pt x="1181488" y="38428"/>
                  <a:pt x="1181674" y="58791"/>
                </a:cubicBezTo>
                <a:cubicBezTo>
                  <a:pt x="1181488" y="110540"/>
                  <a:pt x="1181114" y="162101"/>
                  <a:pt x="1180180" y="213662"/>
                </a:cubicBezTo>
                <a:cubicBezTo>
                  <a:pt x="1179806" y="226552"/>
                  <a:pt x="1172707" y="236640"/>
                  <a:pt x="1160937" y="242431"/>
                </a:cubicBezTo>
                <a:cubicBezTo>
                  <a:pt x="1158322" y="243739"/>
                  <a:pt x="1154773" y="242992"/>
                  <a:pt x="1151784" y="243366"/>
                </a:cubicBezTo>
                <a:cubicBezTo>
                  <a:pt x="1149168" y="243740"/>
                  <a:pt x="1145805" y="243365"/>
                  <a:pt x="1144125" y="244860"/>
                </a:cubicBezTo>
                <a:cubicBezTo>
                  <a:pt x="1136092" y="252520"/>
                  <a:pt x="1126004" y="251772"/>
                  <a:pt x="1116289" y="251585"/>
                </a:cubicBezTo>
                <a:cubicBezTo>
                  <a:pt x="1105641" y="251586"/>
                  <a:pt x="1094991" y="249904"/>
                  <a:pt x="1084530" y="248597"/>
                </a:cubicBezTo>
                <a:cubicBezTo>
                  <a:pt x="1082102" y="248223"/>
                  <a:pt x="1079672" y="245981"/>
                  <a:pt x="1076684" y="244299"/>
                </a:cubicBezTo>
                <a:cubicBezTo>
                  <a:pt x="1074442" y="252333"/>
                  <a:pt x="1068277" y="252520"/>
                  <a:pt x="1059310" y="250465"/>
                </a:cubicBezTo>
                <a:cubicBezTo>
                  <a:pt x="1067716" y="244673"/>
                  <a:pt x="1075003" y="239443"/>
                  <a:pt x="1074442" y="229354"/>
                </a:cubicBezTo>
                <a:cubicBezTo>
                  <a:pt x="1074255" y="227673"/>
                  <a:pt x="1074815" y="225618"/>
                  <a:pt x="1074069" y="224124"/>
                </a:cubicBezTo>
                <a:cubicBezTo>
                  <a:pt x="1068837" y="213475"/>
                  <a:pt x="1070146" y="211420"/>
                  <a:pt x="1080421" y="211047"/>
                </a:cubicBezTo>
                <a:cubicBezTo>
                  <a:pt x="1083036" y="216090"/>
                  <a:pt x="1085464" y="220574"/>
                  <a:pt x="1087706" y="225057"/>
                </a:cubicBezTo>
                <a:cubicBezTo>
                  <a:pt x="1100596" y="223003"/>
                  <a:pt x="1106200" y="209926"/>
                  <a:pt x="1099289" y="199464"/>
                </a:cubicBezTo>
                <a:cubicBezTo>
                  <a:pt x="1097794" y="197222"/>
                  <a:pt x="1096486" y="194420"/>
                  <a:pt x="1096487" y="191805"/>
                </a:cubicBezTo>
                <a:cubicBezTo>
                  <a:pt x="1096486" y="149210"/>
                  <a:pt x="1097047" y="106616"/>
                  <a:pt x="1096860" y="64023"/>
                </a:cubicBezTo>
                <a:cubicBezTo>
                  <a:pt x="1096673" y="51132"/>
                  <a:pt x="1083596" y="42539"/>
                  <a:pt x="1071826" y="47022"/>
                </a:cubicBezTo>
                <a:cubicBezTo>
                  <a:pt x="1070146" y="47582"/>
                  <a:pt x="1068651" y="51693"/>
                  <a:pt x="1068651" y="54308"/>
                </a:cubicBezTo>
                <a:cubicBezTo>
                  <a:pt x="1068277" y="75792"/>
                  <a:pt x="1068464" y="97275"/>
                  <a:pt x="1068276" y="118759"/>
                </a:cubicBezTo>
                <a:cubicBezTo>
                  <a:pt x="1068277" y="122122"/>
                  <a:pt x="1067716" y="125485"/>
                  <a:pt x="1067343" y="128847"/>
                </a:cubicBezTo>
                <a:cubicBezTo>
                  <a:pt x="1067343" y="128847"/>
                  <a:pt x="1067156" y="128847"/>
                  <a:pt x="1067156" y="128847"/>
                </a:cubicBezTo>
                <a:cubicBezTo>
                  <a:pt x="1056134" y="124924"/>
                  <a:pt x="1059123" y="134265"/>
                  <a:pt x="1056134" y="139496"/>
                </a:cubicBezTo>
                <a:cubicBezTo>
                  <a:pt x="1067530" y="142112"/>
                  <a:pt x="1066222" y="134452"/>
                  <a:pt x="1067156" y="128847"/>
                </a:cubicBezTo>
                <a:cubicBezTo>
                  <a:pt x="1067343" y="149584"/>
                  <a:pt x="1068091" y="170134"/>
                  <a:pt x="1067904" y="190870"/>
                </a:cubicBezTo>
                <a:cubicBezTo>
                  <a:pt x="1067716" y="200211"/>
                  <a:pt x="1070706" y="210112"/>
                  <a:pt x="1063793" y="218706"/>
                </a:cubicBezTo>
                <a:cubicBezTo>
                  <a:pt x="1063233" y="219266"/>
                  <a:pt x="1065475" y="221882"/>
                  <a:pt x="1065101" y="223002"/>
                </a:cubicBezTo>
                <a:cubicBezTo>
                  <a:pt x="1064354" y="225618"/>
                  <a:pt x="1063233" y="228794"/>
                  <a:pt x="1061178" y="230102"/>
                </a:cubicBezTo>
                <a:cubicBezTo>
                  <a:pt x="1054826" y="234211"/>
                  <a:pt x="1048101" y="237761"/>
                  <a:pt x="1041562" y="242805"/>
                </a:cubicBezTo>
                <a:cubicBezTo>
                  <a:pt x="1049034" y="242244"/>
                  <a:pt x="1054639" y="242619"/>
                  <a:pt x="1054826" y="252333"/>
                </a:cubicBezTo>
                <a:cubicBezTo>
                  <a:pt x="1031474" y="252146"/>
                  <a:pt x="1007935" y="252146"/>
                  <a:pt x="982902" y="252146"/>
                </a:cubicBezTo>
                <a:cubicBezTo>
                  <a:pt x="983090" y="189189"/>
                  <a:pt x="983275" y="126979"/>
                  <a:pt x="983463" y="63836"/>
                </a:cubicBezTo>
                <a:cubicBezTo>
                  <a:pt x="987012" y="63275"/>
                  <a:pt x="990562" y="63462"/>
                  <a:pt x="993364" y="62154"/>
                </a:cubicBezTo>
                <a:cubicBezTo>
                  <a:pt x="995793" y="61033"/>
                  <a:pt x="997847" y="58231"/>
                  <a:pt x="999156" y="55803"/>
                </a:cubicBezTo>
                <a:cubicBezTo>
                  <a:pt x="999716" y="54868"/>
                  <a:pt x="997848" y="52814"/>
                  <a:pt x="997100" y="51132"/>
                </a:cubicBezTo>
                <a:cubicBezTo>
                  <a:pt x="995045" y="53000"/>
                  <a:pt x="992990" y="54868"/>
                  <a:pt x="990935" y="56550"/>
                </a:cubicBezTo>
                <a:cubicBezTo>
                  <a:pt x="989814" y="57484"/>
                  <a:pt x="988507" y="58418"/>
                  <a:pt x="985144" y="61033"/>
                </a:cubicBezTo>
                <a:cubicBezTo>
                  <a:pt x="981968" y="41605"/>
                  <a:pt x="984210" y="24044"/>
                  <a:pt x="983276" y="4989"/>
                </a:cubicBezTo>
                <a:cubicBezTo>
                  <a:pt x="1035958" y="6483"/>
                  <a:pt x="1087706" y="2747"/>
                  <a:pt x="1138893" y="10780"/>
                </a:cubicBezTo>
                <a:close/>
                <a:moveTo>
                  <a:pt x="1419309" y="43899"/>
                </a:moveTo>
                <a:cubicBezTo>
                  <a:pt x="1414625" y="43430"/>
                  <a:pt x="1407754" y="49052"/>
                  <a:pt x="1407285" y="53424"/>
                </a:cubicBezTo>
                <a:cubicBezTo>
                  <a:pt x="1406504" y="54830"/>
                  <a:pt x="1405879" y="56235"/>
                  <a:pt x="1404943" y="57484"/>
                </a:cubicBezTo>
                <a:cubicBezTo>
                  <a:pt x="1403694" y="59046"/>
                  <a:pt x="1399321" y="58889"/>
                  <a:pt x="1402288" y="62325"/>
                </a:cubicBezTo>
                <a:cubicBezTo>
                  <a:pt x="1404474" y="64824"/>
                  <a:pt x="1406817" y="63418"/>
                  <a:pt x="1409159" y="61857"/>
                </a:cubicBezTo>
                <a:cubicBezTo>
                  <a:pt x="1411970" y="59983"/>
                  <a:pt x="1414937" y="57953"/>
                  <a:pt x="1418685" y="57796"/>
                </a:cubicBezTo>
                <a:cubicBezTo>
                  <a:pt x="1421964" y="56703"/>
                  <a:pt x="1425712" y="56235"/>
                  <a:pt x="1424618" y="51082"/>
                </a:cubicBezTo>
                <a:cubicBezTo>
                  <a:pt x="1423994" y="47802"/>
                  <a:pt x="1423369" y="44367"/>
                  <a:pt x="1419309" y="43899"/>
                </a:cubicBezTo>
                <a:close/>
                <a:moveTo>
                  <a:pt x="1447886" y="32031"/>
                </a:moveTo>
                <a:cubicBezTo>
                  <a:pt x="1443669" y="32812"/>
                  <a:pt x="1436018" y="31718"/>
                  <a:pt x="1435549" y="39526"/>
                </a:cubicBezTo>
                <a:cubicBezTo>
                  <a:pt x="1435237" y="44367"/>
                  <a:pt x="1437111" y="47959"/>
                  <a:pt x="1443358" y="48115"/>
                </a:cubicBezTo>
                <a:cubicBezTo>
                  <a:pt x="1446480" y="45772"/>
                  <a:pt x="1454132" y="48740"/>
                  <a:pt x="1453663" y="41868"/>
                </a:cubicBezTo>
                <a:cubicBezTo>
                  <a:pt x="1453507" y="38745"/>
                  <a:pt x="1453820" y="30781"/>
                  <a:pt x="1447886" y="32031"/>
                </a:cubicBezTo>
                <a:close/>
                <a:moveTo>
                  <a:pt x="1657543" y="59272"/>
                </a:moveTo>
                <a:cubicBezTo>
                  <a:pt x="1655513" y="59428"/>
                  <a:pt x="1654577" y="60678"/>
                  <a:pt x="1654577" y="62552"/>
                </a:cubicBezTo>
                <a:cubicBezTo>
                  <a:pt x="1654576" y="64894"/>
                  <a:pt x="1661760" y="71921"/>
                  <a:pt x="1663790" y="71609"/>
                </a:cubicBezTo>
                <a:cubicBezTo>
                  <a:pt x="1665820" y="71296"/>
                  <a:pt x="1666288" y="69579"/>
                  <a:pt x="1666132" y="67861"/>
                </a:cubicBezTo>
                <a:cubicBezTo>
                  <a:pt x="1665351" y="63020"/>
                  <a:pt x="1661603" y="60834"/>
                  <a:pt x="1657543" y="59272"/>
                </a:cubicBezTo>
                <a:close/>
                <a:moveTo>
                  <a:pt x="1759045" y="65050"/>
                </a:moveTo>
                <a:cubicBezTo>
                  <a:pt x="1758263" y="64582"/>
                  <a:pt x="1757327" y="65206"/>
                  <a:pt x="1757327" y="66456"/>
                </a:cubicBezTo>
                <a:cubicBezTo>
                  <a:pt x="1757483" y="68173"/>
                  <a:pt x="1758264" y="69579"/>
                  <a:pt x="1759982" y="70047"/>
                </a:cubicBezTo>
                <a:cubicBezTo>
                  <a:pt x="1761386" y="70360"/>
                  <a:pt x="1762480" y="69422"/>
                  <a:pt x="1762636" y="68329"/>
                </a:cubicBezTo>
                <a:cubicBezTo>
                  <a:pt x="1763104" y="65519"/>
                  <a:pt x="1760450" y="65987"/>
                  <a:pt x="1759045" y="65050"/>
                </a:cubicBezTo>
                <a:close/>
                <a:moveTo>
                  <a:pt x="1778720" y="67236"/>
                </a:moveTo>
                <a:cubicBezTo>
                  <a:pt x="1775910" y="70516"/>
                  <a:pt x="1773411" y="69735"/>
                  <a:pt x="1770913" y="68954"/>
                </a:cubicBezTo>
                <a:cubicBezTo>
                  <a:pt x="1766228" y="67549"/>
                  <a:pt x="1767321" y="72390"/>
                  <a:pt x="1765291" y="73795"/>
                </a:cubicBezTo>
                <a:cubicBezTo>
                  <a:pt x="1763105" y="75357"/>
                  <a:pt x="1765760" y="77387"/>
                  <a:pt x="1767164" y="78011"/>
                </a:cubicBezTo>
                <a:cubicBezTo>
                  <a:pt x="1773255" y="80666"/>
                  <a:pt x="1773411" y="87225"/>
                  <a:pt x="1777003" y="91441"/>
                </a:cubicBezTo>
                <a:cubicBezTo>
                  <a:pt x="1778564" y="93315"/>
                  <a:pt x="1776690" y="93627"/>
                  <a:pt x="1775909" y="94564"/>
                </a:cubicBezTo>
                <a:cubicBezTo>
                  <a:pt x="1770756" y="100810"/>
                  <a:pt x="1765291" y="99092"/>
                  <a:pt x="1759357" y="95813"/>
                </a:cubicBezTo>
                <a:cubicBezTo>
                  <a:pt x="1755141" y="93471"/>
                  <a:pt x="1750144" y="91128"/>
                  <a:pt x="1746240" y="95813"/>
                </a:cubicBezTo>
                <a:cubicBezTo>
                  <a:pt x="1744366" y="97999"/>
                  <a:pt x="1742335" y="99873"/>
                  <a:pt x="1739994" y="98936"/>
                </a:cubicBezTo>
                <a:cubicBezTo>
                  <a:pt x="1737495" y="97999"/>
                  <a:pt x="1735309" y="95657"/>
                  <a:pt x="1735933" y="92221"/>
                </a:cubicBezTo>
                <a:cubicBezTo>
                  <a:pt x="1736402" y="89098"/>
                  <a:pt x="1734840" y="87224"/>
                  <a:pt x="1732186" y="87381"/>
                </a:cubicBezTo>
                <a:cubicBezTo>
                  <a:pt x="1729218" y="87693"/>
                  <a:pt x="1728594" y="90660"/>
                  <a:pt x="1727345" y="93002"/>
                </a:cubicBezTo>
                <a:cubicBezTo>
                  <a:pt x="1725940" y="95969"/>
                  <a:pt x="1725940" y="98624"/>
                  <a:pt x="1727970" y="100810"/>
                </a:cubicBezTo>
                <a:cubicBezTo>
                  <a:pt x="1729843" y="102840"/>
                  <a:pt x="1731717" y="101279"/>
                  <a:pt x="1733592" y="100029"/>
                </a:cubicBezTo>
                <a:cubicBezTo>
                  <a:pt x="1735622" y="98780"/>
                  <a:pt x="1737183" y="98468"/>
                  <a:pt x="1736558" y="102059"/>
                </a:cubicBezTo>
                <a:cubicBezTo>
                  <a:pt x="1735309" y="109086"/>
                  <a:pt x="1738119" y="112366"/>
                  <a:pt x="1745146" y="113459"/>
                </a:cubicBezTo>
                <a:cubicBezTo>
                  <a:pt x="1752330" y="114552"/>
                  <a:pt x="1755922" y="109086"/>
                  <a:pt x="1760137" y="105495"/>
                </a:cubicBezTo>
                <a:cubicBezTo>
                  <a:pt x="1764354" y="102059"/>
                  <a:pt x="1766071" y="103933"/>
                  <a:pt x="1767321" y="107525"/>
                </a:cubicBezTo>
                <a:cubicBezTo>
                  <a:pt x="1767946" y="109555"/>
                  <a:pt x="1768101" y="111429"/>
                  <a:pt x="1769507" y="113303"/>
                </a:cubicBezTo>
                <a:cubicBezTo>
                  <a:pt x="1771693" y="116270"/>
                  <a:pt x="1769820" y="117675"/>
                  <a:pt x="1766853" y="117675"/>
                </a:cubicBezTo>
                <a:cubicBezTo>
                  <a:pt x="1764822" y="117675"/>
                  <a:pt x="1762949" y="116894"/>
                  <a:pt x="1760762" y="116426"/>
                </a:cubicBezTo>
                <a:cubicBezTo>
                  <a:pt x="1761543" y="121891"/>
                  <a:pt x="1765604" y="124077"/>
                  <a:pt x="1769195" y="122360"/>
                </a:cubicBezTo>
                <a:cubicBezTo>
                  <a:pt x="1772942" y="121111"/>
                  <a:pt x="1777784" y="118300"/>
                  <a:pt x="1774660" y="112366"/>
                </a:cubicBezTo>
                <a:cubicBezTo>
                  <a:pt x="1773255" y="109711"/>
                  <a:pt x="1774504" y="108149"/>
                  <a:pt x="1776847" y="107525"/>
                </a:cubicBezTo>
                <a:cubicBezTo>
                  <a:pt x="1779189" y="106900"/>
                  <a:pt x="1781062" y="105651"/>
                  <a:pt x="1782936" y="104089"/>
                </a:cubicBezTo>
                <a:cubicBezTo>
                  <a:pt x="1786840" y="100966"/>
                  <a:pt x="1790589" y="99873"/>
                  <a:pt x="1792775" y="106119"/>
                </a:cubicBezTo>
                <a:cubicBezTo>
                  <a:pt x="1793399" y="107993"/>
                  <a:pt x="1794648" y="109867"/>
                  <a:pt x="1796990" y="108930"/>
                </a:cubicBezTo>
                <a:cubicBezTo>
                  <a:pt x="1798864" y="108306"/>
                  <a:pt x="1800114" y="106900"/>
                  <a:pt x="1800426" y="104714"/>
                </a:cubicBezTo>
                <a:cubicBezTo>
                  <a:pt x="1800738" y="102215"/>
                  <a:pt x="1800739" y="99717"/>
                  <a:pt x="1799958" y="97062"/>
                </a:cubicBezTo>
                <a:cubicBezTo>
                  <a:pt x="1799177" y="94564"/>
                  <a:pt x="1797459" y="92690"/>
                  <a:pt x="1795429" y="92065"/>
                </a:cubicBezTo>
                <a:cubicBezTo>
                  <a:pt x="1793243" y="91441"/>
                  <a:pt x="1792306" y="94095"/>
                  <a:pt x="1791056" y="95657"/>
                </a:cubicBezTo>
                <a:cubicBezTo>
                  <a:pt x="1789651" y="97375"/>
                  <a:pt x="1788090" y="98780"/>
                  <a:pt x="1786372" y="100029"/>
                </a:cubicBezTo>
                <a:cubicBezTo>
                  <a:pt x="1785123" y="100966"/>
                  <a:pt x="1783717" y="100654"/>
                  <a:pt x="1782780" y="99249"/>
                </a:cubicBezTo>
                <a:cubicBezTo>
                  <a:pt x="1781843" y="97843"/>
                  <a:pt x="1780907" y="95189"/>
                  <a:pt x="1781844" y="94876"/>
                </a:cubicBezTo>
                <a:cubicBezTo>
                  <a:pt x="1786684" y="93627"/>
                  <a:pt x="1785435" y="89098"/>
                  <a:pt x="1787153" y="86600"/>
                </a:cubicBezTo>
                <a:cubicBezTo>
                  <a:pt x="1791369" y="80510"/>
                  <a:pt x="1787309" y="75356"/>
                  <a:pt x="1786997" y="69891"/>
                </a:cubicBezTo>
                <a:cubicBezTo>
                  <a:pt x="1786841" y="67549"/>
                  <a:pt x="1780750" y="64894"/>
                  <a:pt x="1778720" y="67236"/>
                </a:cubicBezTo>
                <a:close/>
                <a:moveTo>
                  <a:pt x="1598985" y="33038"/>
                </a:moveTo>
                <a:cubicBezTo>
                  <a:pt x="1596331" y="34287"/>
                  <a:pt x="1592270" y="33819"/>
                  <a:pt x="1591958" y="37879"/>
                </a:cubicBezTo>
                <a:cubicBezTo>
                  <a:pt x="1591801" y="40690"/>
                  <a:pt x="1594144" y="40690"/>
                  <a:pt x="1596017" y="40534"/>
                </a:cubicBezTo>
                <a:cubicBezTo>
                  <a:pt x="1599141" y="40065"/>
                  <a:pt x="1601171" y="38347"/>
                  <a:pt x="1601796" y="35536"/>
                </a:cubicBezTo>
                <a:cubicBezTo>
                  <a:pt x="1601639" y="33351"/>
                  <a:pt x="1600390" y="32257"/>
                  <a:pt x="1598985" y="33038"/>
                </a:cubicBezTo>
                <a:close/>
                <a:moveTo>
                  <a:pt x="1746239" y="50684"/>
                </a:moveTo>
                <a:cubicBezTo>
                  <a:pt x="1745147" y="50371"/>
                  <a:pt x="1743585" y="50059"/>
                  <a:pt x="1743585" y="51777"/>
                </a:cubicBezTo>
                <a:cubicBezTo>
                  <a:pt x="1743585" y="53807"/>
                  <a:pt x="1744678" y="55368"/>
                  <a:pt x="1747021" y="55525"/>
                </a:cubicBezTo>
                <a:cubicBezTo>
                  <a:pt x="1748113" y="55056"/>
                  <a:pt x="1750143" y="55837"/>
                  <a:pt x="1749832" y="53495"/>
                </a:cubicBezTo>
                <a:cubicBezTo>
                  <a:pt x="1749519" y="51464"/>
                  <a:pt x="1747958" y="50996"/>
                  <a:pt x="1746239" y="50684"/>
                </a:cubicBezTo>
                <a:close/>
                <a:moveTo>
                  <a:pt x="1757951" y="49903"/>
                </a:moveTo>
                <a:cubicBezTo>
                  <a:pt x="1756234" y="52558"/>
                  <a:pt x="1753891" y="53963"/>
                  <a:pt x="1754984" y="56618"/>
                </a:cubicBezTo>
                <a:cubicBezTo>
                  <a:pt x="1755453" y="57711"/>
                  <a:pt x="1757326" y="58023"/>
                  <a:pt x="1758107" y="57242"/>
                </a:cubicBezTo>
                <a:cubicBezTo>
                  <a:pt x="1759981" y="55369"/>
                  <a:pt x="1759045" y="53026"/>
                  <a:pt x="1757951" y="49903"/>
                </a:cubicBezTo>
                <a:close/>
                <a:moveTo>
                  <a:pt x="1698613" y="41002"/>
                </a:moveTo>
                <a:cubicBezTo>
                  <a:pt x="1684246" y="37723"/>
                  <a:pt x="1673940" y="45218"/>
                  <a:pt x="1673315" y="59897"/>
                </a:cubicBezTo>
                <a:cubicBezTo>
                  <a:pt x="1673003" y="68954"/>
                  <a:pt x="1673315" y="78011"/>
                  <a:pt x="1673315" y="90191"/>
                </a:cubicBezTo>
                <a:cubicBezTo>
                  <a:pt x="1674096" y="97999"/>
                  <a:pt x="1671910" y="109243"/>
                  <a:pt x="1674408" y="120330"/>
                </a:cubicBezTo>
                <a:cubicBezTo>
                  <a:pt x="1676438" y="129075"/>
                  <a:pt x="1684402" y="133135"/>
                  <a:pt x="1695802" y="132198"/>
                </a:cubicBezTo>
                <a:cubicBezTo>
                  <a:pt x="1704858" y="131417"/>
                  <a:pt x="1709855" y="126888"/>
                  <a:pt x="1710324" y="117831"/>
                </a:cubicBezTo>
                <a:cubicBezTo>
                  <a:pt x="1711417" y="96906"/>
                  <a:pt x="1711417" y="75981"/>
                  <a:pt x="1710324" y="55212"/>
                </a:cubicBezTo>
                <a:cubicBezTo>
                  <a:pt x="1709856" y="47248"/>
                  <a:pt x="1705639" y="42564"/>
                  <a:pt x="1698613" y="41002"/>
                </a:cubicBezTo>
                <a:close/>
                <a:moveTo>
                  <a:pt x="1732673" y="37332"/>
                </a:moveTo>
                <a:cubicBezTo>
                  <a:pt x="1731678" y="37489"/>
                  <a:pt x="1731014" y="39284"/>
                  <a:pt x="1729688" y="42876"/>
                </a:cubicBezTo>
                <a:cubicBezTo>
                  <a:pt x="1729375" y="43969"/>
                  <a:pt x="1728282" y="44750"/>
                  <a:pt x="1727345" y="45531"/>
                </a:cubicBezTo>
                <a:cubicBezTo>
                  <a:pt x="1724378" y="48341"/>
                  <a:pt x="1724847" y="50684"/>
                  <a:pt x="1727969" y="53182"/>
                </a:cubicBezTo>
                <a:cubicBezTo>
                  <a:pt x="1731093" y="55837"/>
                  <a:pt x="1732498" y="55056"/>
                  <a:pt x="1734060" y="51465"/>
                </a:cubicBezTo>
                <a:cubicBezTo>
                  <a:pt x="1735152" y="48654"/>
                  <a:pt x="1738432" y="48185"/>
                  <a:pt x="1741711" y="46780"/>
                </a:cubicBezTo>
                <a:cubicBezTo>
                  <a:pt x="1739993" y="44594"/>
                  <a:pt x="1738900" y="43032"/>
                  <a:pt x="1737651" y="41627"/>
                </a:cubicBezTo>
                <a:cubicBezTo>
                  <a:pt x="1734996" y="38660"/>
                  <a:pt x="1733669" y="37176"/>
                  <a:pt x="1732673" y="37332"/>
                </a:cubicBezTo>
                <a:close/>
                <a:moveTo>
                  <a:pt x="1529711" y="7826"/>
                </a:moveTo>
                <a:cubicBezTo>
                  <a:pt x="1536426" y="7202"/>
                  <a:pt x="1540018" y="8763"/>
                  <a:pt x="1538769" y="16259"/>
                </a:cubicBezTo>
                <a:cubicBezTo>
                  <a:pt x="1542359" y="22817"/>
                  <a:pt x="1540330" y="29688"/>
                  <a:pt x="1540799" y="36872"/>
                </a:cubicBezTo>
                <a:cubicBezTo>
                  <a:pt x="1540955" y="45929"/>
                  <a:pt x="1541111" y="54986"/>
                  <a:pt x="1540798" y="64043"/>
                </a:cubicBezTo>
                <a:cubicBezTo>
                  <a:pt x="1541111" y="76848"/>
                  <a:pt x="1541111" y="89653"/>
                  <a:pt x="1540798" y="102457"/>
                </a:cubicBezTo>
                <a:cubicBezTo>
                  <a:pt x="1541111" y="114481"/>
                  <a:pt x="1541111" y="126349"/>
                  <a:pt x="1540798" y="138217"/>
                </a:cubicBezTo>
                <a:cubicBezTo>
                  <a:pt x="1541111" y="148836"/>
                  <a:pt x="1541111" y="159299"/>
                  <a:pt x="1540799" y="169917"/>
                </a:cubicBezTo>
                <a:cubicBezTo>
                  <a:pt x="1541267" y="189749"/>
                  <a:pt x="1540955" y="209581"/>
                  <a:pt x="1540955" y="229413"/>
                </a:cubicBezTo>
                <a:cubicBezTo>
                  <a:pt x="1540955" y="232068"/>
                  <a:pt x="1540799" y="234566"/>
                  <a:pt x="1538925" y="236752"/>
                </a:cubicBezTo>
                <a:cubicBezTo>
                  <a:pt x="1538768" y="237689"/>
                  <a:pt x="1538613" y="238626"/>
                  <a:pt x="1538456" y="239563"/>
                </a:cubicBezTo>
                <a:cubicBezTo>
                  <a:pt x="1538456" y="242218"/>
                  <a:pt x="1538300" y="244873"/>
                  <a:pt x="1538456" y="247527"/>
                </a:cubicBezTo>
                <a:cubicBezTo>
                  <a:pt x="1538612" y="250338"/>
                  <a:pt x="1536739" y="249870"/>
                  <a:pt x="1535177" y="249870"/>
                </a:cubicBezTo>
                <a:cubicBezTo>
                  <a:pt x="1505664" y="249870"/>
                  <a:pt x="1476150" y="249713"/>
                  <a:pt x="1446636" y="249869"/>
                </a:cubicBezTo>
                <a:cubicBezTo>
                  <a:pt x="1443357" y="249869"/>
                  <a:pt x="1442733" y="248620"/>
                  <a:pt x="1442733" y="245653"/>
                </a:cubicBezTo>
                <a:cubicBezTo>
                  <a:pt x="1442732" y="241593"/>
                  <a:pt x="1442576" y="237533"/>
                  <a:pt x="1442420" y="233473"/>
                </a:cubicBezTo>
                <a:cubicBezTo>
                  <a:pt x="1442420" y="231911"/>
                  <a:pt x="1442576" y="230506"/>
                  <a:pt x="1442576" y="228945"/>
                </a:cubicBezTo>
                <a:cubicBezTo>
                  <a:pt x="1441952" y="223791"/>
                  <a:pt x="1442421" y="218482"/>
                  <a:pt x="1442421" y="213329"/>
                </a:cubicBezTo>
                <a:cubicBezTo>
                  <a:pt x="1442420" y="206770"/>
                  <a:pt x="1442421" y="200212"/>
                  <a:pt x="1442420" y="193653"/>
                </a:cubicBezTo>
                <a:cubicBezTo>
                  <a:pt x="1441015" y="191467"/>
                  <a:pt x="1440703" y="188969"/>
                  <a:pt x="1440703" y="186470"/>
                </a:cubicBezTo>
                <a:cubicBezTo>
                  <a:pt x="1440546" y="175070"/>
                  <a:pt x="1440546" y="163827"/>
                  <a:pt x="1440703" y="152428"/>
                </a:cubicBezTo>
                <a:cubicBezTo>
                  <a:pt x="1440703" y="149929"/>
                  <a:pt x="1440858" y="147431"/>
                  <a:pt x="1442421" y="145245"/>
                </a:cubicBezTo>
                <a:cubicBezTo>
                  <a:pt x="1442421" y="138374"/>
                  <a:pt x="1442421" y="131346"/>
                  <a:pt x="1442421" y="124319"/>
                </a:cubicBezTo>
                <a:cubicBezTo>
                  <a:pt x="1442420" y="121196"/>
                  <a:pt x="1442420" y="117917"/>
                  <a:pt x="1442576" y="114794"/>
                </a:cubicBezTo>
                <a:cubicBezTo>
                  <a:pt x="1442577" y="112451"/>
                  <a:pt x="1442576" y="110265"/>
                  <a:pt x="1442576" y="108079"/>
                </a:cubicBezTo>
                <a:cubicBezTo>
                  <a:pt x="1444138" y="103551"/>
                  <a:pt x="1440859" y="99334"/>
                  <a:pt x="1442108" y="94806"/>
                </a:cubicBezTo>
                <a:cubicBezTo>
                  <a:pt x="1441015" y="83094"/>
                  <a:pt x="1438204" y="79971"/>
                  <a:pt x="1426024" y="77160"/>
                </a:cubicBezTo>
                <a:cubicBezTo>
                  <a:pt x="1423057" y="76535"/>
                  <a:pt x="1419934" y="76223"/>
                  <a:pt x="1416967" y="75755"/>
                </a:cubicBezTo>
                <a:cubicBezTo>
                  <a:pt x="1405100" y="75442"/>
                  <a:pt x="1393232" y="75130"/>
                  <a:pt x="1381363" y="75130"/>
                </a:cubicBezTo>
                <a:cubicBezTo>
                  <a:pt x="1377303" y="75130"/>
                  <a:pt x="1376679" y="73412"/>
                  <a:pt x="1376835" y="69977"/>
                </a:cubicBezTo>
                <a:cubicBezTo>
                  <a:pt x="1377147" y="64355"/>
                  <a:pt x="1377460" y="58577"/>
                  <a:pt x="1376835" y="52956"/>
                </a:cubicBezTo>
                <a:cubicBezTo>
                  <a:pt x="1376367" y="47178"/>
                  <a:pt x="1378709" y="45304"/>
                  <a:pt x="1384018" y="45929"/>
                </a:cubicBezTo>
                <a:cubicBezTo>
                  <a:pt x="1389639" y="44367"/>
                  <a:pt x="1395730" y="44367"/>
                  <a:pt x="1401195" y="42025"/>
                </a:cubicBezTo>
                <a:cubicBezTo>
                  <a:pt x="1404630" y="39370"/>
                  <a:pt x="1409003" y="38745"/>
                  <a:pt x="1413063" y="37809"/>
                </a:cubicBezTo>
                <a:cubicBezTo>
                  <a:pt x="1425556" y="34841"/>
                  <a:pt x="1437580" y="30782"/>
                  <a:pt x="1449135" y="25472"/>
                </a:cubicBezTo>
                <a:cubicBezTo>
                  <a:pt x="1452259" y="24067"/>
                  <a:pt x="1455382" y="22974"/>
                  <a:pt x="1458661" y="22818"/>
                </a:cubicBezTo>
                <a:cubicBezTo>
                  <a:pt x="1461940" y="21100"/>
                  <a:pt x="1465844" y="20007"/>
                  <a:pt x="1468499" y="17508"/>
                </a:cubicBezTo>
                <a:cubicBezTo>
                  <a:pt x="1478180" y="8451"/>
                  <a:pt x="1489579" y="6421"/>
                  <a:pt x="1502228" y="7826"/>
                </a:cubicBezTo>
                <a:cubicBezTo>
                  <a:pt x="1504414" y="7983"/>
                  <a:pt x="1506444" y="7670"/>
                  <a:pt x="1508630" y="7670"/>
                </a:cubicBezTo>
                <a:cubicBezTo>
                  <a:pt x="1515657" y="7826"/>
                  <a:pt x="1522685" y="8295"/>
                  <a:pt x="1529711" y="7826"/>
                </a:cubicBezTo>
                <a:close/>
                <a:moveTo>
                  <a:pt x="1772162" y="40534"/>
                </a:moveTo>
                <a:cubicBezTo>
                  <a:pt x="1768570" y="41002"/>
                  <a:pt x="1769351" y="43813"/>
                  <a:pt x="1769039" y="45999"/>
                </a:cubicBezTo>
                <a:cubicBezTo>
                  <a:pt x="1768726" y="48029"/>
                  <a:pt x="1769039" y="50528"/>
                  <a:pt x="1771381" y="50059"/>
                </a:cubicBezTo>
                <a:cubicBezTo>
                  <a:pt x="1773410" y="49434"/>
                  <a:pt x="1776221" y="47248"/>
                  <a:pt x="1776690" y="45218"/>
                </a:cubicBezTo>
                <a:cubicBezTo>
                  <a:pt x="1777314" y="42876"/>
                  <a:pt x="1774348" y="41471"/>
                  <a:pt x="1772162" y="40534"/>
                </a:cubicBezTo>
                <a:close/>
                <a:moveTo>
                  <a:pt x="1670816" y="13675"/>
                </a:moveTo>
                <a:cubicBezTo>
                  <a:pt x="1667849" y="14455"/>
                  <a:pt x="1663633" y="14924"/>
                  <a:pt x="1665508" y="19765"/>
                </a:cubicBezTo>
                <a:cubicBezTo>
                  <a:pt x="1668162" y="26636"/>
                  <a:pt x="1673159" y="32101"/>
                  <a:pt x="1677687" y="37723"/>
                </a:cubicBezTo>
                <a:cubicBezTo>
                  <a:pt x="1678936" y="39128"/>
                  <a:pt x="1680967" y="39441"/>
                  <a:pt x="1682840" y="38035"/>
                </a:cubicBezTo>
                <a:cubicBezTo>
                  <a:pt x="1684714" y="36630"/>
                  <a:pt x="1683777" y="35693"/>
                  <a:pt x="1682529" y="34131"/>
                </a:cubicBezTo>
                <a:cubicBezTo>
                  <a:pt x="1680810" y="32101"/>
                  <a:pt x="1681279" y="29759"/>
                  <a:pt x="1682685" y="27572"/>
                </a:cubicBezTo>
                <a:cubicBezTo>
                  <a:pt x="1684402" y="24762"/>
                  <a:pt x="1684558" y="21951"/>
                  <a:pt x="1682684" y="19296"/>
                </a:cubicBezTo>
                <a:cubicBezTo>
                  <a:pt x="1679561" y="18516"/>
                  <a:pt x="1679874" y="24449"/>
                  <a:pt x="1676282" y="22263"/>
                </a:cubicBezTo>
                <a:cubicBezTo>
                  <a:pt x="1674565" y="21326"/>
                  <a:pt x="1673315" y="19765"/>
                  <a:pt x="1673627" y="17735"/>
                </a:cubicBezTo>
                <a:cubicBezTo>
                  <a:pt x="1674096" y="15236"/>
                  <a:pt x="1674720" y="12582"/>
                  <a:pt x="1670816" y="13675"/>
                </a:cubicBezTo>
                <a:close/>
                <a:moveTo>
                  <a:pt x="1714598" y="3661"/>
                </a:moveTo>
                <a:cubicBezTo>
                  <a:pt x="1727814" y="4618"/>
                  <a:pt x="1740930" y="6648"/>
                  <a:pt x="1753891" y="10395"/>
                </a:cubicBezTo>
                <a:cubicBezTo>
                  <a:pt x="1756546" y="11176"/>
                  <a:pt x="1759201" y="12269"/>
                  <a:pt x="1761856" y="13206"/>
                </a:cubicBezTo>
                <a:cubicBezTo>
                  <a:pt x="1765291" y="15236"/>
                  <a:pt x="1769039" y="17110"/>
                  <a:pt x="1771537" y="20389"/>
                </a:cubicBezTo>
                <a:cubicBezTo>
                  <a:pt x="1772317" y="20545"/>
                  <a:pt x="1772787" y="21014"/>
                  <a:pt x="1773410" y="21482"/>
                </a:cubicBezTo>
                <a:cubicBezTo>
                  <a:pt x="1772631" y="21483"/>
                  <a:pt x="1771850" y="21483"/>
                  <a:pt x="1770912" y="21639"/>
                </a:cubicBezTo>
                <a:cubicBezTo>
                  <a:pt x="1772786" y="24762"/>
                  <a:pt x="1776847" y="25543"/>
                  <a:pt x="1778565" y="29447"/>
                </a:cubicBezTo>
                <a:cubicBezTo>
                  <a:pt x="1779969" y="32570"/>
                  <a:pt x="1780595" y="28197"/>
                  <a:pt x="1781688" y="27416"/>
                </a:cubicBezTo>
                <a:cubicBezTo>
                  <a:pt x="1781375" y="27104"/>
                  <a:pt x="1781063" y="26948"/>
                  <a:pt x="1780907" y="26636"/>
                </a:cubicBezTo>
                <a:cubicBezTo>
                  <a:pt x="1781375" y="26636"/>
                  <a:pt x="1781843" y="26636"/>
                  <a:pt x="1782468" y="26480"/>
                </a:cubicBezTo>
                <a:cubicBezTo>
                  <a:pt x="1790120" y="29446"/>
                  <a:pt x="1794336" y="39128"/>
                  <a:pt x="1791212" y="47404"/>
                </a:cubicBezTo>
                <a:cubicBezTo>
                  <a:pt x="1790276" y="49747"/>
                  <a:pt x="1789027" y="51933"/>
                  <a:pt x="1790588" y="54275"/>
                </a:cubicBezTo>
                <a:cubicBezTo>
                  <a:pt x="1790588" y="54900"/>
                  <a:pt x="1790432" y="55368"/>
                  <a:pt x="1790276" y="55993"/>
                </a:cubicBezTo>
                <a:cubicBezTo>
                  <a:pt x="1793086" y="60209"/>
                  <a:pt x="1792618" y="68642"/>
                  <a:pt x="1801676" y="64426"/>
                </a:cubicBezTo>
                <a:cubicBezTo>
                  <a:pt x="1801675" y="64113"/>
                  <a:pt x="1801675" y="63957"/>
                  <a:pt x="1801675" y="63801"/>
                </a:cubicBezTo>
                <a:cubicBezTo>
                  <a:pt x="1802612" y="63957"/>
                  <a:pt x="1803549" y="64113"/>
                  <a:pt x="1804486" y="64113"/>
                </a:cubicBezTo>
                <a:cubicBezTo>
                  <a:pt x="1806360" y="77699"/>
                  <a:pt x="1806204" y="91441"/>
                  <a:pt x="1806204" y="105026"/>
                </a:cubicBezTo>
                <a:cubicBezTo>
                  <a:pt x="1806203" y="108306"/>
                  <a:pt x="1806829" y="111741"/>
                  <a:pt x="1804642" y="114708"/>
                </a:cubicBezTo>
                <a:cubicBezTo>
                  <a:pt x="1804173" y="115489"/>
                  <a:pt x="1803706" y="116426"/>
                  <a:pt x="1803237" y="117207"/>
                </a:cubicBezTo>
                <a:cubicBezTo>
                  <a:pt x="1802924" y="116738"/>
                  <a:pt x="1802456" y="116426"/>
                  <a:pt x="1801988" y="116113"/>
                </a:cubicBezTo>
                <a:cubicBezTo>
                  <a:pt x="1799801" y="117831"/>
                  <a:pt x="1800270" y="125951"/>
                  <a:pt x="1794648" y="118768"/>
                </a:cubicBezTo>
                <a:cubicBezTo>
                  <a:pt x="1793399" y="117207"/>
                  <a:pt x="1790900" y="118456"/>
                  <a:pt x="1789495" y="119549"/>
                </a:cubicBezTo>
                <a:cubicBezTo>
                  <a:pt x="1788089" y="120642"/>
                  <a:pt x="1787934" y="122516"/>
                  <a:pt x="1788870" y="124078"/>
                </a:cubicBezTo>
                <a:cubicBezTo>
                  <a:pt x="1789807" y="125639"/>
                  <a:pt x="1790901" y="127045"/>
                  <a:pt x="1791994" y="128606"/>
                </a:cubicBezTo>
                <a:cubicBezTo>
                  <a:pt x="1792931" y="128450"/>
                  <a:pt x="1794024" y="128294"/>
                  <a:pt x="1794961" y="127981"/>
                </a:cubicBezTo>
                <a:cubicBezTo>
                  <a:pt x="1795273" y="128138"/>
                  <a:pt x="1795429" y="128294"/>
                  <a:pt x="1795586" y="128294"/>
                </a:cubicBezTo>
                <a:cubicBezTo>
                  <a:pt x="1806048" y="129231"/>
                  <a:pt x="1805891" y="129231"/>
                  <a:pt x="1806672" y="139849"/>
                </a:cubicBezTo>
                <a:cubicBezTo>
                  <a:pt x="1806828" y="159213"/>
                  <a:pt x="1806204" y="178576"/>
                  <a:pt x="1805423" y="197940"/>
                </a:cubicBezTo>
                <a:cubicBezTo>
                  <a:pt x="1805267" y="212462"/>
                  <a:pt x="1796835" y="222144"/>
                  <a:pt x="1786372" y="230576"/>
                </a:cubicBezTo>
                <a:cubicBezTo>
                  <a:pt x="1769820" y="243850"/>
                  <a:pt x="1750144" y="248847"/>
                  <a:pt x="1729688" y="251814"/>
                </a:cubicBezTo>
                <a:cubicBezTo>
                  <a:pt x="1700642" y="256030"/>
                  <a:pt x="1671441" y="254624"/>
                  <a:pt x="1642396" y="250565"/>
                </a:cubicBezTo>
                <a:cubicBezTo>
                  <a:pt x="1633339" y="247910"/>
                  <a:pt x="1624125" y="245880"/>
                  <a:pt x="1615538" y="242132"/>
                </a:cubicBezTo>
                <a:cubicBezTo>
                  <a:pt x="1605231" y="237603"/>
                  <a:pt x="1596174" y="231513"/>
                  <a:pt x="1588991" y="222768"/>
                </a:cubicBezTo>
                <a:cubicBezTo>
                  <a:pt x="1587585" y="221988"/>
                  <a:pt x="1586960" y="220895"/>
                  <a:pt x="1586805" y="219333"/>
                </a:cubicBezTo>
                <a:cubicBezTo>
                  <a:pt x="1586805" y="219333"/>
                  <a:pt x="1586805" y="219177"/>
                  <a:pt x="1586805" y="219021"/>
                </a:cubicBezTo>
                <a:cubicBezTo>
                  <a:pt x="1580559" y="210120"/>
                  <a:pt x="1578684" y="199970"/>
                  <a:pt x="1577904" y="189351"/>
                </a:cubicBezTo>
                <a:cubicBezTo>
                  <a:pt x="1577591" y="185916"/>
                  <a:pt x="1578841" y="184666"/>
                  <a:pt x="1582276" y="184667"/>
                </a:cubicBezTo>
                <a:cubicBezTo>
                  <a:pt x="1584775" y="184666"/>
                  <a:pt x="1587116" y="184666"/>
                  <a:pt x="1589616" y="184666"/>
                </a:cubicBezTo>
                <a:cubicBezTo>
                  <a:pt x="1589772" y="184510"/>
                  <a:pt x="1589927" y="184510"/>
                  <a:pt x="1590084" y="184510"/>
                </a:cubicBezTo>
                <a:cubicBezTo>
                  <a:pt x="1592426" y="183886"/>
                  <a:pt x="1594769" y="184042"/>
                  <a:pt x="1597111" y="184042"/>
                </a:cubicBezTo>
                <a:cubicBezTo>
                  <a:pt x="1618348" y="184042"/>
                  <a:pt x="1639741" y="184198"/>
                  <a:pt x="1660978" y="183886"/>
                </a:cubicBezTo>
                <a:cubicBezTo>
                  <a:pt x="1663321" y="183886"/>
                  <a:pt x="1665351" y="184042"/>
                  <a:pt x="1667225" y="184510"/>
                </a:cubicBezTo>
                <a:cubicBezTo>
                  <a:pt x="1667849" y="184510"/>
                  <a:pt x="1668630" y="184510"/>
                  <a:pt x="1669254" y="184510"/>
                </a:cubicBezTo>
                <a:cubicBezTo>
                  <a:pt x="1674876" y="184510"/>
                  <a:pt x="1674096" y="187477"/>
                  <a:pt x="1673627" y="190444"/>
                </a:cubicBezTo>
                <a:cubicBezTo>
                  <a:pt x="1673784" y="191069"/>
                  <a:pt x="1674096" y="191693"/>
                  <a:pt x="1674252" y="192318"/>
                </a:cubicBezTo>
                <a:cubicBezTo>
                  <a:pt x="1675501" y="194816"/>
                  <a:pt x="1675501" y="197627"/>
                  <a:pt x="1675501" y="200438"/>
                </a:cubicBezTo>
                <a:cubicBezTo>
                  <a:pt x="1675969" y="209808"/>
                  <a:pt x="1678624" y="212618"/>
                  <a:pt x="1688774" y="214024"/>
                </a:cubicBezTo>
                <a:cubicBezTo>
                  <a:pt x="1707357" y="213868"/>
                  <a:pt x="1710324" y="210432"/>
                  <a:pt x="1708919" y="191381"/>
                </a:cubicBezTo>
                <a:cubicBezTo>
                  <a:pt x="1708138" y="180138"/>
                  <a:pt x="1708606" y="168738"/>
                  <a:pt x="1708919" y="157964"/>
                </a:cubicBezTo>
                <a:cubicBezTo>
                  <a:pt x="1673159" y="177015"/>
                  <a:pt x="1637243" y="175453"/>
                  <a:pt x="1601015" y="159057"/>
                </a:cubicBezTo>
                <a:cubicBezTo>
                  <a:pt x="1592114" y="153435"/>
                  <a:pt x="1583681" y="147345"/>
                  <a:pt x="1580089" y="136570"/>
                </a:cubicBezTo>
                <a:cubicBezTo>
                  <a:pt x="1576342" y="124077"/>
                  <a:pt x="1575249" y="111429"/>
                  <a:pt x="1575873" y="98468"/>
                </a:cubicBezTo>
                <a:cubicBezTo>
                  <a:pt x="1575718" y="88161"/>
                  <a:pt x="1575405" y="77855"/>
                  <a:pt x="1576030" y="67549"/>
                </a:cubicBezTo>
                <a:cubicBezTo>
                  <a:pt x="1578060" y="58023"/>
                  <a:pt x="1577279" y="47873"/>
                  <a:pt x="1582901" y="39284"/>
                </a:cubicBezTo>
                <a:cubicBezTo>
                  <a:pt x="1585711" y="34756"/>
                  <a:pt x="1588366" y="29915"/>
                  <a:pt x="1593675" y="27729"/>
                </a:cubicBezTo>
                <a:cubicBezTo>
                  <a:pt x="1617568" y="9146"/>
                  <a:pt x="1645676" y="4618"/>
                  <a:pt x="1674721" y="3368"/>
                </a:cubicBezTo>
                <a:cubicBezTo>
                  <a:pt x="1688072" y="2822"/>
                  <a:pt x="1701384" y="2705"/>
                  <a:pt x="1714598" y="3661"/>
                </a:cubicBezTo>
                <a:close/>
              </a:path>
            </a:pathLst>
          </a:custGeom>
          <a:solidFill>
            <a:schemeClr val="accent3"/>
          </a:solidFill>
          <a:ln w="313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35" name="Graphic 101">
            <a:extLst>
              <a:ext uri="{FF2B5EF4-FFF2-40B4-BE49-F238E27FC236}">
                <a16:creationId xmlns:a16="http://schemas.microsoft.com/office/drawing/2014/main" xmlns="" id="{6CBC7FB3-6D62-4761-BF59-1E2290005E3A}"/>
              </a:ext>
            </a:extLst>
          </p:cNvPr>
          <p:cNvGrpSpPr/>
          <p:nvPr userDrawn="1"/>
        </p:nvGrpSpPr>
        <p:grpSpPr>
          <a:xfrm>
            <a:off x="3817736" y="1161522"/>
            <a:ext cx="4556528" cy="4534956"/>
            <a:chOff x="6590183" y="440651"/>
            <a:chExt cx="3299274" cy="3283656"/>
          </a:xfrm>
          <a:solidFill>
            <a:schemeClr val="accent3">
              <a:alpha val="5000"/>
            </a:schemeClr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672EB0B9-2580-4FDD-815B-21B0DA3F8788}"/>
                </a:ext>
              </a:extLst>
            </p:cNvPr>
            <p:cNvSpPr/>
            <p:nvPr/>
          </p:nvSpPr>
          <p:spPr>
            <a:xfrm>
              <a:off x="6749875" y="2381170"/>
              <a:ext cx="2977545" cy="1342745"/>
            </a:xfrm>
            <a:custGeom>
              <a:avLst/>
              <a:gdLst>
                <a:gd name="connsiteX0" fmla="*/ 739506 w 2977545"/>
                <a:gd name="connsiteY0" fmla="*/ 1342746 h 1342745"/>
                <a:gd name="connsiteX1" fmla="*/ 632133 w 2977545"/>
                <a:gd name="connsiteY1" fmla="*/ 1279494 h 1342745"/>
                <a:gd name="connsiteX2" fmla="*/ 6638 w 2977545"/>
                <a:gd name="connsiteY2" fmla="*/ 918331 h 1342745"/>
                <a:gd name="connsiteX3" fmla="*/ 0 w 2977545"/>
                <a:gd name="connsiteY3" fmla="*/ 911693 h 1342745"/>
                <a:gd name="connsiteX4" fmla="*/ 75356 w 2977545"/>
                <a:gd name="connsiteY4" fmla="*/ 930825 h 1342745"/>
                <a:gd name="connsiteX5" fmla="*/ 671568 w 2977545"/>
                <a:gd name="connsiteY5" fmla="*/ 1087004 h 1342745"/>
                <a:gd name="connsiteX6" fmla="*/ 691481 w 2977545"/>
                <a:gd name="connsiteY6" fmla="*/ 1082708 h 1342745"/>
                <a:gd name="connsiteX7" fmla="*/ 1247477 w 2977545"/>
                <a:gd name="connsiteY7" fmla="*/ 670006 h 1342745"/>
                <a:gd name="connsiteX8" fmla="*/ 1256067 w 2977545"/>
                <a:gd name="connsiteY8" fmla="*/ 648532 h 1342745"/>
                <a:gd name="connsiteX9" fmla="*/ 1231469 w 2977545"/>
                <a:gd name="connsiteY9" fmla="*/ 452137 h 1342745"/>
                <a:gd name="connsiteX10" fmla="*/ 1204137 w 2977545"/>
                <a:gd name="connsiteY10" fmla="*/ 232706 h 1342745"/>
                <a:gd name="connsiteX11" fmla="*/ 1186177 w 2977545"/>
                <a:gd name="connsiteY11" fmla="*/ 85898 h 1342745"/>
                <a:gd name="connsiteX12" fmla="*/ 1191643 w 2977545"/>
                <a:gd name="connsiteY12" fmla="*/ 76137 h 1342745"/>
                <a:gd name="connsiteX13" fmla="*/ 1323224 w 2977545"/>
                <a:gd name="connsiteY13" fmla="*/ 0 h 1342745"/>
                <a:gd name="connsiteX14" fmla="*/ 1487602 w 2977545"/>
                <a:gd name="connsiteY14" fmla="*/ 284245 h 1342745"/>
                <a:gd name="connsiteX15" fmla="*/ 1651980 w 2977545"/>
                <a:gd name="connsiteY15" fmla="*/ 0 h 1342745"/>
                <a:gd name="connsiteX16" fmla="*/ 1783951 w 2977545"/>
                <a:gd name="connsiteY16" fmla="*/ 76527 h 1342745"/>
                <a:gd name="connsiteX17" fmla="*/ 1789027 w 2977545"/>
                <a:gd name="connsiteY17" fmla="*/ 87460 h 1342745"/>
                <a:gd name="connsiteX18" fmla="*/ 1743735 w 2977545"/>
                <a:gd name="connsiteY18" fmla="*/ 457603 h 1342745"/>
                <a:gd name="connsiteX19" fmla="*/ 1718746 w 2977545"/>
                <a:gd name="connsiteY19" fmla="*/ 652827 h 1342745"/>
                <a:gd name="connsiteX20" fmla="*/ 1726555 w 2977545"/>
                <a:gd name="connsiteY20" fmla="*/ 668445 h 1342745"/>
                <a:gd name="connsiteX21" fmla="*/ 2047893 w 2977545"/>
                <a:gd name="connsiteY21" fmla="*/ 907007 h 1342745"/>
                <a:gd name="connsiteX22" fmla="*/ 2283332 w 2977545"/>
                <a:gd name="connsiteY22" fmla="*/ 1081928 h 1342745"/>
                <a:gd name="connsiteX23" fmla="*/ 2305588 w 2977545"/>
                <a:gd name="connsiteY23" fmla="*/ 1086223 h 1342745"/>
                <a:gd name="connsiteX24" fmla="*/ 2970128 w 2977545"/>
                <a:gd name="connsiteY24" fmla="*/ 912474 h 1342745"/>
                <a:gd name="connsiteX25" fmla="*/ 2977546 w 2977545"/>
                <a:gd name="connsiteY25" fmla="*/ 911693 h 1342745"/>
                <a:gd name="connsiteX26" fmla="*/ 2969737 w 2977545"/>
                <a:gd name="connsiteY26" fmla="*/ 917550 h 1342745"/>
                <a:gd name="connsiteX27" fmla="*/ 2245068 w 2977545"/>
                <a:gd name="connsiteY27" fmla="*/ 1335718 h 1342745"/>
                <a:gd name="connsiteX28" fmla="*/ 2235698 w 2977545"/>
                <a:gd name="connsiteY28" fmla="*/ 1342355 h 1342745"/>
                <a:gd name="connsiteX29" fmla="*/ 2230622 w 2977545"/>
                <a:gd name="connsiteY29" fmla="*/ 1342355 h 1342745"/>
                <a:gd name="connsiteX30" fmla="*/ 2221642 w 2977545"/>
                <a:gd name="connsiteY30" fmla="*/ 1336108 h 1342745"/>
                <a:gd name="connsiteX31" fmla="*/ 1498144 w 2977545"/>
                <a:gd name="connsiteY31" fmla="*/ 957375 h 1342745"/>
                <a:gd name="connsiteX32" fmla="*/ 1477060 w 2977545"/>
                <a:gd name="connsiteY32" fmla="*/ 957375 h 1342745"/>
                <a:gd name="connsiteX33" fmla="*/ 753562 w 2977545"/>
                <a:gd name="connsiteY33" fmla="*/ 1336108 h 1342745"/>
                <a:gd name="connsiteX34" fmla="*/ 744582 w 2977545"/>
                <a:gd name="connsiteY34" fmla="*/ 1342355 h 1342745"/>
                <a:gd name="connsiteX35" fmla="*/ 739506 w 2977545"/>
                <a:gd name="connsiteY35" fmla="*/ 1342746 h 134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77545" h="1342745">
                  <a:moveTo>
                    <a:pt x="739506" y="1342746"/>
                  </a:moveTo>
                  <a:cubicBezTo>
                    <a:pt x="703585" y="1321662"/>
                    <a:pt x="668054" y="1300187"/>
                    <a:pt x="632133" y="1279494"/>
                  </a:cubicBezTo>
                  <a:cubicBezTo>
                    <a:pt x="424025" y="1159236"/>
                    <a:pt x="215136" y="1038978"/>
                    <a:pt x="6638" y="918331"/>
                  </a:cubicBezTo>
                  <a:cubicBezTo>
                    <a:pt x="4295" y="916769"/>
                    <a:pt x="1562" y="915207"/>
                    <a:pt x="0" y="911693"/>
                  </a:cubicBezTo>
                  <a:cubicBezTo>
                    <a:pt x="24989" y="917940"/>
                    <a:pt x="50368" y="924578"/>
                    <a:pt x="75356" y="930825"/>
                  </a:cubicBezTo>
                  <a:cubicBezTo>
                    <a:pt x="274094" y="982754"/>
                    <a:pt x="472831" y="1034684"/>
                    <a:pt x="671568" y="1087004"/>
                  </a:cubicBezTo>
                  <a:cubicBezTo>
                    <a:pt x="679377" y="1088956"/>
                    <a:pt x="684843" y="1087394"/>
                    <a:pt x="691481" y="1082708"/>
                  </a:cubicBezTo>
                  <a:cubicBezTo>
                    <a:pt x="876553" y="944881"/>
                    <a:pt x="1062015" y="807444"/>
                    <a:pt x="1247477" y="670006"/>
                  </a:cubicBezTo>
                  <a:cubicBezTo>
                    <a:pt x="1255286" y="664150"/>
                    <a:pt x="1257629" y="658684"/>
                    <a:pt x="1256067" y="648532"/>
                  </a:cubicBezTo>
                  <a:cubicBezTo>
                    <a:pt x="1247477" y="582937"/>
                    <a:pt x="1239668" y="517732"/>
                    <a:pt x="1231469" y="452137"/>
                  </a:cubicBezTo>
                  <a:cubicBezTo>
                    <a:pt x="1222488" y="379124"/>
                    <a:pt x="1213508" y="305720"/>
                    <a:pt x="1204137" y="232706"/>
                  </a:cubicBezTo>
                  <a:cubicBezTo>
                    <a:pt x="1198281" y="183900"/>
                    <a:pt x="1192034" y="134704"/>
                    <a:pt x="1186177" y="85898"/>
                  </a:cubicBezTo>
                  <a:cubicBezTo>
                    <a:pt x="1185786" y="82775"/>
                    <a:pt x="1188910" y="78089"/>
                    <a:pt x="1191643" y="76137"/>
                  </a:cubicBezTo>
                  <a:cubicBezTo>
                    <a:pt x="1234983" y="50758"/>
                    <a:pt x="1278322" y="25770"/>
                    <a:pt x="1323224" y="0"/>
                  </a:cubicBezTo>
                  <a:cubicBezTo>
                    <a:pt x="1377886" y="94488"/>
                    <a:pt x="1432549" y="188976"/>
                    <a:pt x="1487602" y="284245"/>
                  </a:cubicBezTo>
                  <a:cubicBezTo>
                    <a:pt x="1542655" y="188586"/>
                    <a:pt x="1597317" y="94488"/>
                    <a:pt x="1651980" y="0"/>
                  </a:cubicBezTo>
                  <a:cubicBezTo>
                    <a:pt x="1696491" y="25770"/>
                    <a:pt x="1740221" y="50758"/>
                    <a:pt x="1783951" y="76527"/>
                  </a:cubicBezTo>
                  <a:cubicBezTo>
                    <a:pt x="1786684" y="78089"/>
                    <a:pt x="1789417" y="83946"/>
                    <a:pt x="1789027" y="87460"/>
                  </a:cubicBezTo>
                  <a:cubicBezTo>
                    <a:pt x="1774189" y="210841"/>
                    <a:pt x="1758962" y="334222"/>
                    <a:pt x="1743735" y="457603"/>
                  </a:cubicBezTo>
                  <a:cubicBezTo>
                    <a:pt x="1735535" y="522808"/>
                    <a:pt x="1727336" y="587622"/>
                    <a:pt x="1718746" y="652827"/>
                  </a:cubicBezTo>
                  <a:cubicBezTo>
                    <a:pt x="1717575" y="661026"/>
                    <a:pt x="1721479" y="664540"/>
                    <a:pt x="1726555" y="668445"/>
                  </a:cubicBezTo>
                  <a:cubicBezTo>
                    <a:pt x="1833928" y="747705"/>
                    <a:pt x="1940910" y="827356"/>
                    <a:pt x="2047893" y="907007"/>
                  </a:cubicBezTo>
                  <a:cubicBezTo>
                    <a:pt x="2126372" y="965184"/>
                    <a:pt x="2205243" y="1023361"/>
                    <a:pt x="2283332" y="1081928"/>
                  </a:cubicBezTo>
                  <a:cubicBezTo>
                    <a:pt x="2290750" y="1087394"/>
                    <a:pt x="2296998" y="1088565"/>
                    <a:pt x="2305588" y="1086223"/>
                  </a:cubicBezTo>
                  <a:cubicBezTo>
                    <a:pt x="2526971" y="1028046"/>
                    <a:pt x="2748744" y="970260"/>
                    <a:pt x="2970128" y="912474"/>
                  </a:cubicBezTo>
                  <a:cubicBezTo>
                    <a:pt x="2971689" y="912083"/>
                    <a:pt x="2973642" y="912083"/>
                    <a:pt x="2977546" y="911693"/>
                  </a:cubicBezTo>
                  <a:cubicBezTo>
                    <a:pt x="2973642" y="914426"/>
                    <a:pt x="2971689" y="916378"/>
                    <a:pt x="2969737" y="917550"/>
                  </a:cubicBezTo>
                  <a:cubicBezTo>
                    <a:pt x="2728051" y="1056939"/>
                    <a:pt x="2486364" y="1196329"/>
                    <a:pt x="2245068" y="1335718"/>
                  </a:cubicBezTo>
                  <a:cubicBezTo>
                    <a:pt x="2241945" y="1337670"/>
                    <a:pt x="2238821" y="1340013"/>
                    <a:pt x="2235698" y="1342355"/>
                  </a:cubicBezTo>
                  <a:cubicBezTo>
                    <a:pt x="2234136" y="1342355"/>
                    <a:pt x="2232183" y="1342355"/>
                    <a:pt x="2230622" y="1342355"/>
                  </a:cubicBezTo>
                  <a:cubicBezTo>
                    <a:pt x="2227498" y="1340013"/>
                    <a:pt x="2224765" y="1337670"/>
                    <a:pt x="2221642" y="1336108"/>
                  </a:cubicBezTo>
                  <a:cubicBezTo>
                    <a:pt x="1980345" y="1209994"/>
                    <a:pt x="1739049" y="1083880"/>
                    <a:pt x="1498144" y="957375"/>
                  </a:cubicBezTo>
                  <a:cubicBezTo>
                    <a:pt x="1490335" y="953471"/>
                    <a:pt x="1484869" y="953471"/>
                    <a:pt x="1477060" y="957375"/>
                  </a:cubicBezTo>
                  <a:cubicBezTo>
                    <a:pt x="1236154" y="1083880"/>
                    <a:pt x="994858" y="1209994"/>
                    <a:pt x="753562" y="1336108"/>
                  </a:cubicBezTo>
                  <a:cubicBezTo>
                    <a:pt x="750438" y="1337670"/>
                    <a:pt x="747315" y="1340403"/>
                    <a:pt x="744582" y="1342355"/>
                  </a:cubicBezTo>
                  <a:cubicBezTo>
                    <a:pt x="743020" y="1342746"/>
                    <a:pt x="741458" y="1342746"/>
                    <a:pt x="739506" y="1342746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DCC8469E-C2C1-466A-9952-DCBBBAEB8DF0}"/>
                </a:ext>
              </a:extLst>
            </p:cNvPr>
            <p:cNvSpPr/>
            <p:nvPr/>
          </p:nvSpPr>
          <p:spPr>
            <a:xfrm>
              <a:off x="8269493" y="441431"/>
              <a:ext cx="1618401" cy="2582023"/>
            </a:xfrm>
            <a:custGeom>
              <a:avLst/>
              <a:gdLst>
                <a:gd name="connsiteX0" fmla="*/ 1618401 w 1618401"/>
                <a:gd name="connsiteY0" fmla="*/ 2582024 h 2582023"/>
                <a:gd name="connsiteX1" fmla="*/ 1593022 w 1618401"/>
                <a:gd name="connsiteY1" fmla="*/ 2494954 h 2582023"/>
                <a:gd name="connsiteX2" fmla="*/ 1433330 w 1618401"/>
                <a:gd name="connsiteY2" fmla="*/ 1913189 h 2582023"/>
                <a:gd name="connsiteX3" fmla="*/ 1416150 w 1618401"/>
                <a:gd name="connsiteY3" fmla="*/ 1893666 h 2582023"/>
                <a:gd name="connsiteX4" fmla="*/ 783236 w 1618401"/>
                <a:gd name="connsiteY4" fmla="*/ 1619573 h 2582023"/>
                <a:gd name="connsiteX5" fmla="*/ 760200 w 1618401"/>
                <a:gd name="connsiteY5" fmla="*/ 1622696 h 2582023"/>
                <a:gd name="connsiteX6" fmla="*/ 312357 w 1618401"/>
                <a:gd name="connsiteY6" fmla="*/ 1960823 h 2582023"/>
                <a:gd name="connsiteX7" fmla="*/ 292054 w 1618401"/>
                <a:gd name="connsiteY7" fmla="*/ 1962385 h 2582023"/>
                <a:gd name="connsiteX8" fmla="*/ 164378 w 1618401"/>
                <a:gd name="connsiteY8" fmla="*/ 1888590 h 2582023"/>
                <a:gd name="connsiteX9" fmla="*/ 328756 w 1618401"/>
                <a:gd name="connsiteY9" fmla="*/ 1603955 h 2582023"/>
                <a:gd name="connsiteX10" fmla="*/ 1171 w 1618401"/>
                <a:gd name="connsiteY10" fmla="*/ 1603955 h 2582023"/>
                <a:gd name="connsiteX11" fmla="*/ 390 w 1618401"/>
                <a:gd name="connsiteY11" fmla="*/ 1591460 h 2582023"/>
                <a:gd name="connsiteX12" fmla="*/ 0 w 1618401"/>
                <a:gd name="connsiteY12" fmla="*/ 1456366 h 2582023"/>
                <a:gd name="connsiteX13" fmla="*/ 11323 w 1618401"/>
                <a:gd name="connsiteY13" fmla="*/ 1439967 h 2582023"/>
                <a:gd name="connsiteX14" fmla="*/ 524760 w 1618401"/>
                <a:gd name="connsiteY14" fmla="*/ 1222879 h 2582023"/>
                <a:gd name="connsiteX15" fmla="*/ 542721 w 1618401"/>
                <a:gd name="connsiteY15" fmla="*/ 1200623 h 2582023"/>
                <a:gd name="connsiteX16" fmla="*/ 564586 w 1618401"/>
                <a:gd name="connsiteY16" fmla="*/ 1007743 h 2582023"/>
                <a:gd name="connsiteX17" fmla="*/ 586841 w 1618401"/>
                <a:gd name="connsiteY17" fmla="*/ 817595 h 2582023"/>
                <a:gd name="connsiteX18" fmla="*/ 608316 w 1618401"/>
                <a:gd name="connsiteY18" fmla="*/ 629790 h 2582023"/>
                <a:gd name="connsiteX19" fmla="*/ 621201 w 1618401"/>
                <a:gd name="connsiteY19" fmla="*/ 513437 h 2582023"/>
                <a:gd name="connsiteX20" fmla="*/ 615344 w 1618401"/>
                <a:gd name="connsiteY20" fmla="*/ 497039 h 2582023"/>
                <a:gd name="connsiteX21" fmla="*/ 131190 w 1618401"/>
                <a:gd name="connsiteY21" fmla="*/ 6638 h 2582023"/>
                <a:gd name="connsiteX22" fmla="*/ 127676 w 1618401"/>
                <a:gd name="connsiteY22" fmla="*/ 0 h 2582023"/>
                <a:gd name="connsiteX23" fmla="*/ 247543 w 1618401"/>
                <a:gd name="connsiteY23" fmla="*/ 69109 h 2582023"/>
                <a:gd name="connsiteX24" fmla="*/ 860935 w 1618401"/>
                <a:gd name="connsiteY24" fmla="*/ 422854 h 2582023"/>
                <a:gd name="connsiteX25" fmla="*/ 872648 w 1618401"/>
                <a:gd name="connsiteY25" fmla="*/ 441986 h 2582023"/>
                <a:gd name="connsiteX26" fmla="*/ 881629 w 1618401"/>
                <a:gd name="connsiteY26" fmla="*/ 659464 h 2582023"/>
                <a:gd name="connsiteX27" fmla="*/ 890999 w 1618401"/>
                <a:gd name="connsiteY27" fmla="*/ 883190 h 2582023"/>
                <a:gd name="connsiteX28" fmla="*/ 899979 w 1618401"/>
                <a:gd name="connsiteY28" fmla="*/ 1103012 h 2582023"/>
                <a:gd name="connsiteX29" fmla="*/ 906227 w 1618401"/>
                <a:gd name="connsiteY29" fmla="*/ 1256067 h 2582023"/>
                <a:gd name="connsiteX30" fmla="*/ 919892 w 1618401"/>
                <a:gd name="connsiteY30" fmla="*/ 1279494 h 2582023"/>
                <a:gd name="connsiteX31" fmla="*/ 1606688 w 1618401"/>
                <a:gd name="connsiteY31" fmla="*/ 1714451 h 2582023"/>
                <a:gd name="connsiteX32" fmla="*/ 1618401 w 1618401"/>
                <a:gd name="connsiteY32" fmla="*/ 1722260 h 2582023"/>
                <a:gd name="connsiteX33" fmla="*/ 1618401 w 1618401"/>
                <a:gd name="connsiteY33" fmla="*/ 2582024 h 258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618401" h="2582023">
                  <a:moveTo>
                    <a:pt x="1618401" y="2582024"/>
                  </a:moveTo>
                  <a:cubicBezTo>
                    <a:pt x="1609812" y="2553130"/>
                    <a:pt x="1600831" y="2524238"/>
                    <a:pt x="1593022" y="2494954"/>
                  </a:cubicBezTo>
                  <a:cubicBezTo>
                    <a:pt x="1539531" y="2300902"/>
                    <a:pt x="1486430" y="2107241"/>
                    <a:pt x="1433330" y="1913189"/>
                  </a:cubicBezTo>
                  <a:cubicBezTo>
                    <a:pt x="1430596" y="1903427"/>
                    <a:pt x="1425911" y="1897571"/>
                    <a:pt x="1416150" y="1893666"/>
                  </a:cubicBezTo>
                  <a:cubicBezTo>
                    <a:pt x="1204918" y="1802692"/>
                    <a:pt x="994077" y="1711328"/>
                    <a:pt x="783236" y="1619573"/>
                  </a:cubicBezTo>
                  <a:cubicBezTo>
                    <a:pt x="773865" y="1615668"/>
                    <a:pt x="768008" y="1616839"/>
                    <a:pt x="760200" y="1622696"/>
                  </a:cubicBezTo>
                  <a:cubicBezTo>
                    <a:pt x="611049" y="1735535"/>
                    <a:pt x="461508" y="1847984"/>
                    <a:pt x="312357" y="1960823"/>
                  </a:cubicBezTo>
                  <a:cubicBezTo>
                    <a:pt x="305329" y="1966289"/>
                    <a:pt x="300253" y="1967070"/>
                    <a:pt x="292054" y="1962385"/>
                  </a:cubicBezTo>
                  <a:cubicBezTo>
                    <a:pt x="250276" y="1937396"/>
                    <a:pt x="207718" y="1913579"/>
                    <a:pt x="164378" y="1888590"/>
                  </a:cubicBezTo>
                  <a:cubicBezTo>
                    <a:pt x="219041" y="1793712"/>
                    <a:pt x="273313" y="1699614"/>
                    <a:pt x="328756" y="1603955"/>
                  </a:cubicBezTo>
                  <a:cubicBezTo>
                    <a:pt x="218260" y="1603955"/>
                    <a:pt x="110106" y="1603955"/>
                    <a:pt x="1171" y="1603955"/>
                  </a:cubicBezTo>
                  <a:cubicBezTo>
                    <a:pt x="781" y="1598879"/>
                    <a:pt x="390" y="1595365"/>
                    <a:pt x="390" y="1591460"/>
                  </a:cubicBezTo>
                  <a:cubicBezTo>
                    <a:pt x="390" y="1546559"/>
                    <a:pt x="781" y="1501267"/>
                    <a:pt x="0" y="1456366"/>
                  </a:cubicBezTo>
                  <a:cubicBezTo>
                    <a:pt x="0" y="1446995"/>
                    <a:pt x="3514" y="1443091"/>
                    <a:pt x="11323" y="1439967"/>
                  </a:cubicBezTo>
                  <a:cubicBezTo>
                    <a:pt x="182339" y="1367735"/>
                    <a:pt x="353354" y="1295111"/>
                    <a:pt x="524760" y="1222879"/>
                  </a:cubicBezTo>
                  <a:cubicBezTo>
                    <a:pt x="535693" y="1218194"/>
                    <a:pt x="541159" y="1213508"/>
                    <a:pt x="542721" y="1200623"/>
                  </a:cubicBezTo>
                  <a:cubicBezTo>
                    <a:pt x="549358" y="1136200"/>
                    <a:pt x="557167" y="1072166"/>
                    <a:pt x="564586" y="1007743"/>
                  </a:cubicBezTo>
                  <a:cubicBezTo>
                    <a:pt x="572004" y="944490"/>
                    <a:pt x="579423" y="880848"/>
                    <a:pt x="586841" y="817595"/>
                  </a:cubicBezTo>
                  <a:cubicBezTo>
                    <a:pt x="594260" y="755124"/>
                    <a:pt x="601288" y="692262"/>
                    <a:pt x="608316" y="629790"/>
                  </a:cubicBezTo>
                  <a:cubicBezTo>
                    <a:pt x="612611" y="591136"/>
                    <a:pt x="617296" y="552482"/>
                    <a:pt x="621201" y="513437"/>
                  </a:cubicBezTo>
                  <a:cubicBezTo>
                    <a:pt x="621591" y="507971"/>
                    <a:pt x="618858" y="500943"/>
                    <a:pt x="615344" y="497039"/>
                  </a:cubicBezTo>
                  <a:cubicBezTo>
                    <a:pt x="454090" y="333441"/>
                    <a:pt x="292835" y="169844"/>
                    <a:pt x="131190" y="6638"/>
                  </a:cubicBezTo>
                  <a:cubicBezTo>
                    <a:pt x="129628" y="5076"/>
                    <a:pt x="128066" y="3124"/>
                    <a:pt x="127676" y="0"/>
                  </a:cubicBezTo>
                  <a:cubicBezTo>
                    <a:pt x="167502" y="23036"/>
                    <a:pt x="207327" y="46073"/>
                    <a:pt x="247543" y="69109"/>
                  </a:cubicBezTo>
                  <a:cubicBezTo>
                    <a:pt x="452137" y="187024"/>
                    <a:pt x="656341" y="305329"/>
                    <a:pt x="860935" y="422854"/>
                  </a:cubicBezTo>
                  <a:cubicBezTo>
                    <a:pt x="869134" y="427539"/>
                    <a:pt x="872258" y="432615"/>
                    <a:pt x="872648" y="441986"/>
                  </a:cubicBezTo>
                  <a:cubicBezTo>
                    <a:pt x="875381" y="514609"/>
                    <a:pt x="878505" y="586841"/>
                    <a:pt x="881629" y="659464"/>
                  </a:cubicBezTo>
                  <a:cubicBezTo>
                    <a:pt x="884752" y="734040"/>
                    <a:pt x="887876" y="808615"/>
                    <a:pt x="890999" y="883190"/>
                  </a:cubicBezTo>
                  <a:cubicBezTo>
                    <a:pt x="894123" y="956594"/>
                    <a:pt x="896856" y="1029998"/>
                    <a:pt x="899979" y="1103012"/>
                  </a:cubicBezTo>
                  <a:cubicBezTo>
                    <a:pt x="901932" y="1154160"/>
                    <a:pt x="904665" y="1204918"/>
                    <a:pt x="906227" y="1256067"/>
                  </a:cubicBezTo>
                  <a:cubicBezTo>
                    <a:pt x="906617" y="1267390"/>
                    <a:pt x="910521" y="1273246"/>
                    <a:pt x="919892" y="1279494"/>
                  </a:cubicBezTo>
                  <a:cubicBezTo>
                    <a:pt x="1149085" y="1424349"/>
                    <a:pt x="1377886" y="1569205"/>
                    <a:pt x="1606688" y="1714451"/>
                  </a:cubicBezTo>
                  <a:cubicBezTo>
                    <a:pt x="1610592" y="1716794"/>
                    <a:pt x="1614497" y="1719527"/>
                    <a:pt x="1618401" y="1722260"/>
                  </a:cubicBezTo>
                  <a:cubicBezTo>
                    <a:pt x="1618401" y="2008067"/>
                    <a:pt x="1618401" y="2295045"/>
                    <a:pt x="1618401" y="2582024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78A2E8BE-0DEC-44F8-8438-359BB9C4D17A}"/>
                </a:ext>
              </a:extLst>
            </p:cNvPr>
            <p:cNvSpPr/>
            <p:nvPr/>
          </p:nvSpPr>
          <p:spPr>
            <a:xfrm>
              <a:off x="6589011" y="445392"/>
              <a:ext cx="1619218" cy="2576891"/>
            </a:xfrm>
            <a:custGeom>
              <a:avLst/>
              <a:gdLst>
                <a:gd name="connsiteX0" fmla="*/ 1490725 w 1619218"/>
                <a:gd name="connsiteY0" fmla="*/ 725 h 2576891"/>
                <a:gd name="connsiteX1" fmla="*/ 1480964 w 1619218"/>
                <a:gd name="connsiteY1" fmla="*/ 10876 h 2576891"/>
                <a:gd name="connsiteX2" fmla="*/ 1005790 w 1619218"/>
                <a:gd name="connsiteY2" fmla="*/ 491906 h 2576891"/>
                <a:gd name="connsiteX3" fmla="*/ 997982 w 1619218"/>
                <a:gd name="connsiteY3" fmla="*/ 513381 h 2576891"/>
                <a:gd name="connsiteX4" fmla="*/ 1019847 w 1619218"/>
                <a:gd name="connsiteY4" fmla="*/ 703919 h 2576891"/>
                <a:gd name="connsiteX5" fmla="*/ 1041712 w 1619218"/>
                <a:gd name="connsiteY5" fmla="*/ 892895 h 2576891"/>
                <a:gd name="connsiteX6" fmla="*/ 1063967 w 1619218"/>
                <a:gd name="connsiteY6" fmla="*/ 1084604 h 2576891"/>
                <a:gd name="connsiteX7" fmla="*/ 1077242 w 1619218"/>
                <a:gd name="connsiteY7" fmla="*/ 1202129 h 2576891"/>
                <a:gd name="connsiteX8" fmla="*/ 1090127 w 1619218"/>
                <a:gd name="connsiteY8" fmla="*/ 1218528 h 2576891"/>
                <a:gd name="connsiteX9" fmla="*/ 1485259 w 1619218"/>
                <a:gd name="connsiteY9" fmla="*/ 1385639 h 2576891"/>
                <a:gd name="connsiteX10" fmla="*/ 1608250 w 1619218"/>
                <a:gd name="connsiteY10" fmla="*/ 1437568 h 2576891"/>
                <a:gd name="connsiteX11" fmla="*/ 1619182 w 1619218"/>
                <a:gd name="connsiteY11" fmla="*/ 1454748 h 2576891"/>
                <a:gd name="connsiteX12" fmla="*/ 1618792 w 1619218"/>
                <a:gd name="connsiteY12" fmla="*/ 1601556 h 2576891"/>
                <a:gd name="connsiteX13" fmla="*/ 1290036 w 1619218"/>
                <a:gd name="connsiteY13" fmla="*/ 1601556 h 2576891"/>
                <a:gd name="connsiteX14" fmla="*/ 1454414 w 1619218"/>
                <a:gd name="connsiteY14" fmla="*/ 1886582 h 2576891"/>
                <a:gd name="connsiteX15" fmla="*/ 1372030 w 1619218"/>
                <a:gd name="connsiteY15" fmla="*/ 1934216 h 2576891"/>
                <a:gd name="connsiteX16" fmla="*/ 1326347 w 1619218"/>
                <a:gd name="connsiteY16" fmla="*/ 1960767 h 2576891"/>
                <a:gd name="connsiteX17" fmla="*/ 1307215 w 1619218"/>
                <a:gd name="connsiteY17" fmla="*/ 1959595 h 2576891"/>
                <a:gd name="connsiteX18" fmla="*/ 1054596 w 1619218"/>
                <a:gd name="connsiteY18" fmla="*/ 1768667 h 2576891"/>
                <a:gd name="connsiteX19" fmla="*/ 856640 w 1619218"/>
                <a:gd name="connsiteY19" fmla="*/ 1618735 h 2576891"/>
                <a:gd name="connsiteX20" fmla="*/ 837508 w 1619218"/>
                <a:gd name="connsiteY20" fmla="*/ 1617174 h 2576891"/>
                <a:gd name="connsiteX21" fmla="*/ 203423 w 1619218"/>
                <a:gd name="connsiteY21" fmla="*/ 1891267 h 2576891"/>
                <a:gd name="connsiteX22" fmla="*/ 186243 w 1619218"/>
                <a:gd name="connsiteY22" fmla="*/ 1910789 h 2576891"/>
                <a:gd name="connsiteX23" fmla="*/ 5857 w 1619218"/>
                <a:gd name="connsiteY23" fmla="*/ 2567130 h 2576891"/>
                <a:gd name="connsiteX24" fmla="*/ 1171 w 1619218"/>
                <a:gd name="connsiteY24" fmla="*/ 2576891 h 2576891"/>
                <a:gd name="connsiteX25" fmla="*/ 390 w 1619218"/>
                <a:gd name="connsiteY25" fmla="*/ 2566740 h 2576891"/>
                <a:gd name="connsiteX26" fmla="*/ 0 w 1619218"/>
                <a:gd name="connsiteY26" fmla="*/ 1730794 h 2576891"/>
                <a:gd name="connsiteX27" fmla="*/ 11713 w 1619218"/>
                <a:gd name="connsiteY27" fmla="*/ 1712052 h 2576891"/>
                <a:gd name="connsiteX28" fmla="*/ 700461 w 1619218"/>
                <a:gd name="connsiteY28" fmla="*/ 1275923 h 2576891"/>
                <a:gd name="connsiteX29" fmla="*/ 712565 w 1619218"/>
                <a:gd name="connsiteY29" fmla="*/ 1256010 h 2576891"/>
                <a:gd name="connsiteX30" fmla="*/ 721545 w 1619218"/>
                <a:gd name="connsiteY30" fmla="*/ 1032285 h 2576891"/>
                <a:gd name="connsiteX31" fmla="*/ 730916 w 1619218"/>
                <a:gd name="connsiteY31" fmla="*/ 810901 h 2576891"/>
                <a:gd name="connsiteX32" fmla="*/ 739896 w 1619218"/>
                <a:gd name="connsiteY32" fmla="*/ 592251 h 2576891"/>
                <a:gd name="connsiteX33" fmla="*/ 746924 w 1619218"/>
                <a:gd name="connsiteY33" fmla="*/ 436463 h 2576891"/>
                <a:gd name="connsiteX34" fmla="*/ 755124 w 1619218"/>
                <a:gd name="connsiteY34" fmla="*/ 422797 h 2576891"/>
                <a:gd name="connsiteX35" fmla="*/ 1484088 w 1619218"/>
                <a:gd name="connsiteY35" fmla="*/ 1505 h 2576891"/>
                <a:gd name="connsiteX36" fmla="*/ 1487602 w 1619218"/>
                <a:gd name="connsiteY36" fmla="*/ 334 h 2576891"/>
                <a:gd name="connsiteX37" fmla="*/ 1490725 w 1619218"/>
                <a:gd name="connsiteY37" fmla="*/ 725 h 2576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19218" h="2576891">
                  <a:moveTo>
                    <a:pt x="1490725" y="725"/>
                  </a:moveTo>
                  <a:cubicBezTo>
                    <a:pt x="1487602" y="4239"/>
                    <a:pt x="1484478" y="7362"/>
                    <a:pt x="1480964" y="10876"/>
                  </a:cubicBezTo>
                  <a:cubicBezTo>
                    <a:pt x="1322833" y="170959"/>
                    <a:pt x="1164312" y="331433"/>
                    <a:pt x="1005790" y="491906"/>
                  </a:cubicBezTo>
                  <a:cubicBezTo>
                    <a:pt x="999543" y="498544"/>
                    <a:pt x="997201" y="504401"/>
                    <a:pt x="997982" y="513381"/>
                  </a:cubicBezTo>
                  <a:cubicBezTo>
                    <a:pt x="1005400" y="576633"/>
                    <a:pt x="1012428" y="640276"/>
                    <a:pt x="1019847" y="703919"/>
                  </a:cubicBezTo>
                  <a:cubicBezTo>
                    <a:pt x="1027265" y="766781"/>
                    <a:pt x="1034684" y="830033"/>
                    <a:pt x="1041712" y="892895"/>
                  </a:cubicBezTo>
                  <a:cubicBezTo>
                    <a:pt x="1049130" y="956928"/>
                    <a:pt x="1056549" y="1020571"/>
                    <a:pt x="1063967" y="1084604"/>
                  </a:cubicBezTo>
                  <a:cubicBezTo>
                    <a:pt x="1068652" y="1123649"/>
                    <a:pt x="1073728" y="1163084"/>
                    <a:pt x="1077242" y="1202129"/>
                  </a:cubicBezTo>
                  <a:cubicBezTo>
                    <a:pt x="1078023" y="1211890"/>
                    <a:pt x="1082318" y="1215014"/>
                    <a:pt x="1090127" y="1218528"/>
                  </a:cubicBezTo>
                  <a:cubicBezTo>
                    <a:pt x="1221708" y="1273971"/>
                    <a:pt x="1353678" y="1329805"/>
                    <a:pt x="1485259" y="1385639"/>
                  </a:cubicBezTo>
                  <a:cubicBezTo>
                    <a:pt x="1526256" y="1402818"/>
                    <a:pt x="1567253" y="1420389"/>
                    <a:pt x="1608250" y="1437568"/>
                  </a:cubicBezTo>
                  <a:cubicBezTo>
                    <a:pt x="1616839" y="1441082"/>
                    <a:pt x="1619573" y="1445768"/>
                    <a:pt x="1619182" y="1454748"/>
                  </a:cubicBezTo>
                  <a:cubicBezTo>
                    <a:pt x="1618792" y="1503163"/>
                    <a:pt x="1618792" y="1551579"/>
                    <a:pt x="1618792" y="1601556"/>
                  </a:cubicBezTo>
                  <a:cubicBezTo>
                    <a:pt x="1509857" y="1601556"/>
                    <a:pt x="1401704" y="1601556"/>
                    <a:pt x="1290036" y="1601556"/>
                  </a:cubicBezTo>
                  <a:cubicBezTo>
                    <a:pt x="1345479" y="1697606"/>
                    <a:pt x="1399751" y="1791703"/>
                    <a:pt x="1454414" y="1886582"/>
                  </a:cubicBezTo>
                  <a:cubicBezTo>
                    <a:pt x="1426692" y="1902590"/>
                    <a:pt x="1399361" y="1918598"/>
                    <a:pt x="1372030" y="1934216"/>
                  </a:cubicBezTo>
                  <a:cubicBezTo>
                    <a:pt x="1356802" y="1943197"/>
                    <a:pt x="1341184" y="1951005"/>
                    <a:pt x="1326347" y="1960767"/>
                  </a:cubicBezTo>
                  <a:cubicBezTo>
                    <a:pt x="1318929" y="1965452"/>
                    <a:pt x="1314243" y="1965062"/>
                    <a:pt x="1307215" y="1959595"/>
                  </a:cubicBezTo>
                  <a:cubicBezTo>
                    <a:pt x="1223269" y="1895952"/>
                    <a:pt x="1138933" y="1832310"/>
                    <a:pt x="1054596" y="1768667"/>
                  </a:cubicBezTo>
                  <a:cubicBezTo>
                    <a:pt x="988611" y="1718690"/>
                    <a:pt x="922235" y="1669103"/>
                    <a:pt x="856640" y="1618735"/>
                  </a:cubicBezTo>
                  <a:cubicBezTo>
                    <a:pt x="849612" y="1613269"/>
                    <a:pt x="844536" y="1613660"/>
                    <a:pt x="837508" y="1617174"/>
                  </a:cubicBezTo>
                  <a:cubicBezTo>
                    <a:pt x="626276" y="1708929"/>
                    <a:pt x="415045" y="1800293"/>
                    <a:pt x="203423" y="1891267"/>
                  </a:cubicBezTo>
                  <a:cubicBezTo>
                    <a:pt x="193662" y="1895562"/>
                    <a:pt x="188976" y="1901028"/>
                    <a:pt x="186243" y="1910789"/>
                  </a:cubicBezTo>
                  <a:cubicBezTo>
                    <a:pt x="126505" y="2129440"/>
                    <a:pt x="65985" y="2348090"/>
                    <a:pt x="5857" y="2567130"/>
                  </a:cubicBezTo>
                  <a:cubicBezTo>
                    <a:pt x="5076" y="2570254"/>
                    <a:pt x="3904" y="2573768"/>
                    <a:pt x="1171" y="2576891"/>
                  </a:cubicBezTo>
                  <a:cubicBezTo>
                    <a:pt x="781" y="2573377"/>
                    <a:pt x="390" y="2570254"/>
                    <a:pt x="390" y="2566740"/>
                  </a:cubicBezTo>
                  <a:cubicBezTo>
                    <a:pt x="390" y="2287961"/>
                    <a:pt x="390" y="2009573"/>
                    <a:pt x="0" y="1730794"/>
                  </a:cubicBezTo>
                  <a:cubicBezTo>
                    <a:pt x="0" y="1721032"/>
                    <a:pt x="3904" y="1716737"/>
                    <a:pt x="11713" y="1712052"/>
                  </a:cubicBezTo>
                  <a:cubicBezTo>
                    <a:pt x="241296" y="1566806"/>
                    <a:pt x="470879" y="1421169"/>
                    <a:pt x="700461" y="1275923"/>
                  </a:cubicBezTo>
                  <a:cubicBezTo>
                    <a:pt x="708661" y="1270848"/>
                    <a:pt x="712175" y="1265772"/>
                    <a:pt x="712565" y="1256010"/>
                  </a:cubicBezTo>
                  <a:cubicBezTo>
                    <a:pt x="715298" y="1181435"/>
                    <a:pt x="718422" y="1106860"/>
                    <a:pt x="721545" y="1032285"/>
                  </a:cubicBezTo>
                  <a:cubicBezTo>
                    <a:pt x="724669" y="958490"/>
                    <a:pt x="727793" y="884696"/>
                    <a:pt x="730916" y="810901"/>
                  </a:cubicBezTo>
                  <a:cubicBezTo>
                    <a:pt x="734040" y="737888"/>
                    <a:pt x="736773" y="665265"/>
                    <a:pt x="739896" y="592251"/>
                  </a:cubicBezTo>
                  <a:cubicBezTo>
                    <a:pt x="742239" y="540322"/>
                    <a:pt x="744191" y="488392"/>
                    <a:pt x="746924" y="436463"/>
                  </a:cubicBezTo>
                  <a:cubicBezTo>
                    <a:pt x="747315" y="431778"/>
                    <a:pt x="751219" y="425140"/>
                    <a:pt x="755124" y="422797"/>
                  </a:cubicBezTo>
                  <a:cubicBezTo>
                    <a:pt x="997982" y="282237"/>
                    <a:pt x="1241230" y="142066"/>
                    <a:pt x="1484088" y="1505"/>
                  </a:cubicBezTo>
                  <a:cubicBezTo>
                    <a:pt x="1485259" y="725"/>
                    <a:pt x="1486430" y="725"/>
                    <a:pt x="1487602" y="334"/>
                  </a:cubicBezTo>
                  <a:cubicBezTo>
                    <a:pt x="1489554" y="-447"/>
                    <a:pt x="1489944" y="334"/>
                    <a:pt x="1490725" y="725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50791C82-024A-481D-A609-6D26741BBFA0}"/>
                </a:ext>
              </a:extLst>
            </p:cNvPr>
            <p:cNvSpPr/>
            <p:nvPr/>
          </p:nvSpPr>
          <p:spPr>
            <a:xfrm>
              <a:off x="7427691" y="2118400"/>
              <a:ext cx="522808" cy="903493"/>
            </a:xfrm>
            <a:custGeom>
              <a:avLst/>
              <a:gdLst>
                <a:gd name="connsiteX0" fmla="*/ 781 w 522808"/>
                <a:gd name="connsiteY0" fmla="*/ 0 h 903493"/>
                <a:gd name="connsiteX1" fmla="*/ 155788 w 522808"/>
                <a:gd name="connsiteY1" fmla="*/ 116353 h 903493"/>
                <a:gd name="connsiteX2" fmla="*/ 169063 w 522808"/>
                <a:gd name="connsiteY2" fmla="*/ 126505 h 903493"/>
                <a:gd name="connsiteX3" fmla="*/ 204204 w 522808"/>
                <a:gd name="connsiteY3" fmla="*/ 196004 h 903493"/>
                <a:gd name="connsiteX4" fmla="*/ 196785 w 522808"/>
                <a:gd name="connsiteY4" fmla="*/ 477907 h 903493"/>
                <a:gd name="connsiteX5" fmla="*/ 206546 w 522808"/>
                <a:gd name="connsiteY5" fmla="*/ 493524 h 903493"/>
                <a:gd name="connsiteX6" fmla="*/ 480249 w 522808"/>
                <a:gd name="connsiteY6" fmla="*/ 643456 h 903493"/>
                <a:gd name="connsiteX7" fmla="*/ 493525 w 522808"/>
                <a:gd name="connsiteY7" fmla="*/ 661807 h 903493"/>
                <a:gd name="connsiteX8" fmla="*/ 514999 w 522808"/>
                <a:gd name="connsiteY8" fmla="*/ 840632 h 903493"/>
                <a:gd name="connsiteX9" fmla="*/ 522808 w 522808"/>
                <a:gd name="connsiteY9" fmla="*/ 903493 h 903493"/>
                <a:gd name="connsiteX10" fmla="*/ 453699 w 522808"/>
                <a:gd name="connsiteY10" fmla="*/ 863668 h 903493"/>
                <a:gd name="connsiteX11" fmla="*/ 10933 w 522808"/>
                <a:gd name="connsiteY11" fmla="*/ 607535 h 903493"/>
                <a:gd name="connsiteX12" fmla="*/ 0 w 522808"/>
                <a:gd name="connsiteY12" fmla="*/ 592308 h 903493"/>
                <a:gd name="connsiteX13" fmla="*/ 0 w 522808"/>
                <a:gd name="connsiteY13" fmla="*/ 7809 h 903493"/>
                <a:gd name="connsiteX14" fmla="*/ 781 w 522808"/>
                <a:gd name="connsiteY14" fmla="*/ 0 h 90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2808" h="903493">
                  <a:moveTo>
                    <a:pt x="781" y="0"/>
                  </a:moveTo>
                  <a:cubicBezTo>
                    <a:pt x="53491" y="39825"/>
                    <a:pt x="104640" y="78089"/>
                    <a:pt x="155788" y="116353"/>
                  </a:cubicBezTo>
                  <a:cubicBezTo>
                    <a:pt x="160083" y="119867"/>
                    <a:pt x="164378" y="123772"/>
                    <a:pt x="169063" y="126505"/>
                  </a:cubicBezTo>
                  <a:cubicBezTo>
                    <a:pt x="198737" y="140951"/>
                    <a:pt x="205765" y="163597"/>
                    <a:pt x="204204" y="196004"/>
                  </a:cubicBezTo>
                  <a:cubicBezTo>
                    <a:pt x="199909" y="289711"/>
                    <a:pt x="199128" y="383809"/>
                    <a:pt x="196785" y="477907"/>
                  </a:cubicBezTo>
                  <a:cubicBezTo>
                    <a:pt x="196395" y="486496"/>
                    <a:pt x="199909" y="489620"/>
                    <a:pt x="206546" y="493524"/>
                  </a:cubicBezTo>
                  <a:cubicBezTo>
                    <a:pt x="297911" y="543502"/>
                    <a:pt x="388885" y="593479"/>
                    <a:pt x="480249" y="643456"/>
                  </a:cubicBezTo>
                  <a:cubicBezTo>
                    <a:pt x="488058" y="647751"/>
                    <a:pt x="492353" y="652436"/>
                    <a:pt x="493525" y="661807"/>
                  </a:cubicBezTo>
                  <a:cubicBezTo>
                    <a:pt x="500553" y="721545"/>
                    <a:pt x="507971" y="780893"/>
                    <a:pt x="514999" y="840632"/>
                  </a:cubicBezTo>
                  <a:cubicBezTo>
                    <a:pt x="517342" y="860935"/>
                    <a:pt x="520075" y="881238"/>
                    <a:pt x="522808" y="903493"/>
                  </a:cubicBezTo>
                  <a:cubicBezTo>
                    <a:pt x="498991" y="889828"/>
                    <a:pt x="476345" y="876943"/>
                    <a:pt x="453699" y="863668"/>
                  </a:cubicBezTo>
                  <a:cubicBezTo>
                    <a:pt x="306110" y="778160"/>
                    <a:pt x="158521" y="693043"/>
                    <a:pt x="10933" y="607535"/>
                  </a:cubicBezTo>
                  <a:cubicBezTo>
                    <a:pt x="4685" y="604021"/>
                    <a:pt x="0" y="601288"/>
                    <a:pt x="0" y="592308"/>
                  </a:cubicBezTo>
                  <a:cubicBezTo>
                    <a:pt x="390" y="397475"/>
                    <a:pt x="0" y="202642"/>
                    <a:pt x="0" y="7809"/>
                  </a:cubicBezTo>
                  <a:cubicBezTo>
                    <a:pt x="390" y="5857"/>
                    <a:pt x="390" y="3904"/>
                    <a:pt x="781" y="0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CBA2FDBB-79A0-44EB-A7C9-7467B2095256}"/>
                </a:ext>
              </a:extLst>
            </p:cNvPr>
            <p:cNvSpPr/>
            <p:nvPr/>
          </p:nvSpPr>
          <p:spPr>
            <a:xfrm>
              <a:off x="8524455" y="2117619"/>
              <a:ext cx="520855" cy="902712"/>
            </a:xfrm>
            <a:custGeom>
              <a:avLst/>
              <a:gdLst>
                <a:gd name="connsiteX0" fmla="*/ 520856 w 520855"/>
                <a:gd name="connsiteY0" fmla="*/ 0 h 902712"/>
                <a:gd name="connsiteX1" fmla="*/ 520856 w 520855"/>
                <a:gd name="connsiteY1" fmla="*/ 63252 h 902712"/>
                <a:gd name="connsiteX2" fmla="*/ 520856 w 520855"/>
                <a:gd name="connsiteY2" fmla="*/ 588793 h 902712"/>
                <a:gd name="connsiteX3" fmla="*/ 509533 w 520855"/>
                <a:gd name="connsiteY3" fmla="*/ 609097 h 902712"/>
                <a:gd name="connsiteX4" fmla="*/ 10933 w 520855"/>
                <a:gd name="connsiteY4" fmla="*/ 896856 h 902712"/>
                <a:gd name="connsiteX5" fmla="*/ 0 w 520855"/>
                <a:gd name="connsiteY5" fmla="*/ 902713 h 902712"/>
                <a:gd name="connsiteX6" fmla="*/ 6638 w 520855"/>
                <a:gd name="connsiteY6" fmla="*/ 845317 h 902712"/>
                <a:gd name="connsiteX7" fmla="*/ 28893 w 520855"/>
                <a:gd name="connsiteY7" fmla="*/ 661417 h 902712"/>
                <a:gd name="connsiteX8" fmla="*/ 40216 w 520855"/>
                <a:gd name="connsiteY8" fmla="*/ 644627 h 902712"/>
                <a:gd name="connsiteX9" fmla="*/ 313138 w 520855"/>
                <a:gd name="connsiteY9" fmla="*/ 495477 h 902712"/>
                <a:gd name="connsiteX10" fmla="*/ 324852 w 520855"/>
                <a:gd name="connsiteY10" fmla="*/ 474393 h 902712"/>
                <a:gd name="connsiteX11" fmla="*/ 317433 w 520855"/>
                <a:gd name="connsiteY11" fmla="*/ 163988 h 902712"/>
                <a:gd name="connsiteX12" fmla="*/ 326804 w 520855"/>
                <a:gd name="connsiteY12" fmla="*/ 144856 h 902712"/>
                <a:gd name="connsiteX13" fmla="*/ 509142 w 520855"/>
                <a:gd name="connsiteY13" fmla="*/ 8199 h 902712"/>
                <a:gd name="connsiteX14" fmla="*/ 520856 w 520855"/>
                <a:gd name="connsiteY14" fmla="*/ 0 h 90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0855" h="902712">
                  <a:moveTo>
                    <a:pt x="520856" y="0"/>
                  </a:moveTo>
                  <a:cubicBezTo>
                    <a:pt x="520856" y="23036"/>
                    <a:pt x="520856" y="42949"/>
                    <a:pt x="520856" y="63252"/>
                  </a:cubicBezTo>
                  <a:cubicBezTo>
                    <a:pt x="520856" y="238563"/>
                    <a:pt x="520856" y="413483"/>
                    <a:pt x="520856" y="588793"/>
                  </a:cubicBezTo>
                  <a:cubicBezTo>
                    <a:pt x="520856" y="598555"/>
                    <a:pt x="518123" y="604021"/>
                    <a:pt x="509533" y="609097"/>
                  </a:cubicBezTo>
                  <a:cubicBezTo>
                    <a:pt x="343203" y="704756"/>
                    <a:pt x="176872" y="800806"/>
                    <a:pt x="10933" y="896856"/>
                  </a:cubicBezTo>
                  <a:cubicBezTo>
                    <a:pt x="8199" y="898418"/>
                    <a:pt x="5076" y="899979"/>
                    <a:pt x="0" y="902713"/>
                  </a:cubicBezTo>
                  <a:cubicBezTo>
                    <a:pt x="2343" y="882409"/>
                    <a:pt x="4295" y="863668"/>
                    <a:pt x="6638" y="845317"/>
                  </a:cubicBezTo>
                  <a:cubicBezTo>
                    <a:pt x="14056" y="784017"/>
                    <a:pt x="21865" y="722717"/>
                    <a:pt x="28893" y="661417"/>
                  </a:cubicBezTo>
                  <a:cubicBezTo>
                    <a:pt x="29674" y="653608"/>
                    <a:pt x="32797" y="648532"/>
                    <a:pt x="40216" y="644627"/>
                  </a:cubicBezTo>
                  <a:cubicBezTo>
                    <a:pt x="131190" y="595041"/>
                    <a:pt x="222164" y="545063"/>
                    <a:pt x="313138" y="495477"/>
                  </a:cubicBezTo>
                  <a:cubicBezTo>
                    <a:pt x="322509" y="490401"/>
                    <a:pt x="324852" y="484544"/>
                    <a:pt x="324852" y="474393"/>
                  </a:cubicBezTo>
                  <a:cubicBezTo>
                    <a:pt x="322119" y="370924"/>
                    <a:pt x="320166" y="267456"/>
                    <a:pt x="317433" y="163988"/>
                  </a:cubicBezTo>
                  <a:cubicBezTo>
                    <a:pt x="317043" y="155398"/>
                    <a:pt x="319776" y="150322"/>
                    <a:pt x="326804" y="144856"/>
                  </a:cubicBezTo>
                  <a:cubicBezTo>
                    <a:pt x="387714" y="99564"/>
                    <a:pt x="448233" y="53882"/>
                    <a:pt x="509142" y="8199"/>
                  </a:cubicBezTo>
                  <a:cubicBezTo>
                    <a:pt x="512266" y="5857"/>
                    <a:pt x="515780" y="3514"/>
                    <a:pt x="520856" y="0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E6CC6D1C-30A9-4AB2-B7D0-CDAD36AD94FD}"/>
                </a:ext>
              </a:extLst>
            </p:cNvPr>
            <p:cNvSpPr/>
            <p:nvPr/>
          </p:nvSpPr>
          <p:spPr>
            <a:xfrm>
              <a:off x="7716621" y="1306856"/>
              <a:ext cx="1042882" cy="395220"/>
            </a:xfrm>
            <a:custGeom>
              <a:avLst/>
              <a:gdLst>
                <a:gd name="connsiteX0" fmla="*/ 1042883 w 1042882"/>
                <a:gd name="connsiteY0" fmla="*/ 297716 h 395220"/>
                <a:gd name="connsiteX1" fmla="*/ 815253 w 1042882"/>
                <a:gd name="connsiteY1" fmla="*/ 394156 h 395220"/>
                <a:gd name="connsiteX2" fmla="*/ 799244 w 1042882"/>
                <a:gd name="connsiteY2" fmla="*/ 391423 h 395220"/>
                <a:gd name="connsiteX3" fmla="*/ 534521 w 1042882"/>
                <a:gd name="connsiteY3" fmla="*/ 230559 h 395220"/>
                <a:gd name="connsiteX4" fmla="*/ 509533 w 1042882"/>
                <a:gd name="connsiteY4" fmla="*/ 230559 h 395220"/>
                <a:gd name="connsiteX5" fmla="*/ 245981 w 1042882"/>
                <a:gd name="connsiteY5" fmla="*/ 391032 h 395220"/>
                <a:gd name="connsiteX6" fmla="*/ 221383 w 1042882"/>
                <a:gd name="connsiteY6" fmla="*/ 392594 h 395220"/>
                <a:gd name="connsiteX7" fmla="*/ 12104 w 1042882"/>
                <a:gd name="connsiteY7" fmla="*/ 303572 h 395220"/>
                <a:gd name="connsiteX8" fmla="*/ 0 w 1042882"/>
                <a:gd name="connsiteY8" fmla="*/ 298106 h 395220"/>
                <a:gd name="connsiteX9" fmla="*/ 19132 w 1042882"/>
                <a:gd name="connsiteY9" fmla="*/ 286783 h 395220"/>
                <a:gd name="connsiteX10" fmla="*/ 509142 w 1042882"/>
                <a:gd name="connsiteY10" fmla="*/ 4100 h 395220"/>
                <a:gd name="connsiteX11" fmla="*/ 534521 w 1042882"/>
                <a:gd name="connsiteY11" fmla="*/ 4100 h 395220"/>
                <a:gd name="connsiteX12" fmla="*/ 1032341 w 1042882"/>
                <a:gd name="connsiteY12" fmla="*/ 291078 h 395220"/>
                <a:gd name="connsiteX13" fmla="*/ 1042883 w 1042882"/>
                <a:gd name="connsiteY13" fmla="*/ 297716 h 3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2882" h="395220">
                  <a:moveTo>
                    <a:pt x="1042883" y="297716"/>
                  </a:moveTo>
                  <a:cubicBezTo>
                    <a:pt x="965574" y="330513"/>
                    <a:pt x="890609" y="362920"/>
                    <a:pt x="815253" y="394156"/>
                  </a:cubicBezTo>
                  <a:cubicBezTo>
                    <a:pt x="810958" y="396108"/>
                    <a:pt x="803539" y="394156"/>
                    <a:pt x="799244" y="391423"/>
                  </a:cubicBezTo>
                  <a:cubicBezTo>
                    <a:pt x="710613" y="337932"/>
                    <a:pt x="622372" y="284440"/>
                    <a:pt x="534521" y="230559"/>
                  </a:cubicBezTo>
                  <a:cubicBezTo>
                    <a:pt x="525151" y="224702"/>
                    <a:pt x="518904" y="225092"/>
                    <a:pt x="509533" y="230559"/>
                  </a:cubicBezTo>
                  <a:cubicBezTo>
                    <a:pt x="421682" y="284440"/>
                    <a:pt x="333832" y="337541"/>
                    <a:pt x="245981" y="391032"/>
                  </a:cubicBezTo>
                  <a:cubicBezTo>
                    <a:pt x="237392" y="396108"/>
                    <a:pt x="230754" y="396499"/>
                    <a:pt x="221383" y="392594"/>
                  </a:cubicBezTo>
                  <a:cubicBezTo>
                    <a:pt x="151884" y="362530"/>
                    <a:pt x="81994" y="333246"/>
                    <a:pt x="12104" y="303572"/>
                  </a:cubicBezTo>
                  <a:cubicBezTo>
                    <a:pt x="8590" y="302011"/>
                    <a:pt x="5076" y="300449"/>
                    <a:pt x="0" y="298106"/>
                  </a:cubicBezTo>
                  <a:cubicBezTo>
                    <a:pt x="7028" y="293811"/>
                    <a:pt x="13275" y="290297"/>
                    <a:pt x="19132" y="286783"/>
                  </a:cubicBezTo>
                  <a:cubicBezTo>
                    <a:pt x="182339" y="192685"/>
                    <a:pt x="345936" y="98588"/>
                    <a:pt x="509142" y="4100"/>
                  </a:cubicBezTo>
                  <a:cubicBezTo>
                    <a:pt x="518513" y="-1367"/>
                    <a:pt x="525151" y="-1367"/>
                    <a:pt x="534521" y="4100"/>
                  </a:cubicBezTo>
                  <a:cubicBezTo>
                    <a:pt x="700461" y="100150"/>
                    <a:pt x="866401" y="195419"/>
                    <a:pt x="1032341" y="291078"/>
                  </a:cubicBezTo>
                  <a:cubicBezTo>
                    <a:pt x="1035074" y="293030"/>
                    <a:pt x="1038198" y="294592"/>
                    <a:pt x="1042883" y="297716"/>
                  </a:cubicBezTo>
                  <a:close/>
                </a:path>
              </a:pathLst>
            </a:custGeom>
            <a:grpFill/>
            <a:ln w="3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>
                    <a:lumMod val="85000"/>
                    <a:lumOff val="1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xmlns="" id="{C2860F6B-AE0A-4602-BB74-6EAB6D723431}"/>
              </a:ext>
            </a:extLst>
          </p:cNvPr>
          <p:cNvSpPr/>
          <p:nvPr userDrawn="1"/>
        </p:nvSpPr>
        <p:spPr>
          <a:xfrm>
            <a:off x="1324408" y="4928848"/>
            <a:ext cx="55524" cy="35763"/>
          </a:xfrm>
          <a:custGeom>
            <a:avLst/>
            <a:gdLst>
              <a:gd name="connsiteX0" fmla="*/ 45793 w 55524"/>
              <a:gd name="connsiteY0" fmla="*/ 35450 h 35763"/>
              <a:gd name="connsiteX1" fmla="*/ 40775 w 55524"/>
              <a:gd name="connsiteY1" fmla="*/ 28863 h 35763"/>
              <a:gd name="connsiteX2" fmla="*/ 31992 w 55524"/>
              <a:gd name="connsiteY2" fmla="*/ 13494 h 35763"/>
              <a:gd name="connsiteX3" fmla="*/ 11291 w 55524"/>
              <a:gd name="connsiteY3" fmla="*/ 27295 h 35763"/>
              <a:gd name="connsiteX4" fmla="*/ 3137 w 55524"/>
              <a:gd name="connsiteY4" fmla="*/ 35763 h 35763"/>
              <a:gd name="connsiteX5" fmla="*/ 0 w 55524"/>
              <a:gd name="connsiteY5" fmla="*/ 32313 h 35763"/>
              <a:gd name="connsiteX6" fmla="*/ 12232 w 55524"/>
              <a:gd name="connsiteY6" fmla="*/ 9103 h 35763"/>
              <a:gd name="connsiteX7" fmla="*/ 46420 w 55524"/>
              <a:gd name="connsiteY7" fmla="*/ 7 h 35763"/>
              <a:gd name="connsiteX8" fmla="*/ 55516 w 55524"/>
              <a:gd name="connsiteY8" fmla="*/ 15063 h 35763"/>
              <a:gd name="connsiteX9" fmla="*/ 45793 w 55524"/>
              <a:gd name="connsiteY9" fmla="*/ 35450 h 35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524" h="35763">
                <a:moveTo>
                  <a:pt x="45793" y="35450"/>
                </a:moveTo>
                <a:cubicBezTo>
                  <a:pt x="42657" y="31372"/>
                  <a:pt x="40461" y="29490"/>
                  <a:pt x="40775" y="28863"/>
                </a:cubicBezTo>
                <a:cubicBezTo>
                  <a:pt x="44225" y="19767"/>
                  <a:pt x="42657" y="11612"/>
                  <a:pt x="31992" y="13494"/>
                </a:cubicBezTo>
                <a:cubicBezTo>
                  <a:pt x="24465" y="14749"/>
                  <a:pt x="17878" y="22276"/>
                  <a:pt x="11291" y="27295"/>
                </a:cubicBezTo>
                <a:cubicBezTo>
                  <a:pt x="8155" y="29804"/>
                  <a:pt x="5646" y="32940"/>
                  <a:pt x="3137" y="35763"/>
                </a:cubicBezTo>
                <a:cubicBezTo>
                  <a:pt x="2196" y="34509"/>
                  <a:pt x="1255" y="33568"/>
                  <a:pt x="0" y="32313"/>
                </a:cubicBezTo>
                <a:cubicBezTo>
                  <a:pt x="4077" y="24472"/>
                  <a:pt x="7841" y="16631"/>
                  <a:pt x="12232" y="9103"/>
                </a:cubicBezTo>
                <a:cubicBezTo>
                  <a:pt x="20074" y="-5325"/>
                  <a:pt x="35756" y="5653"/>
                  <a:pt x="46420" y="7"/>
                </a:cubicBezTo>
                <a:cubicBezTo>
                  <a:pt x="47048" y="-306"/>
                  <a:pt x="55830" y="9730"/>
                  <a:pt x="55516" y="15063"/>
                </a:cubicBezTo>
                <a:cubicBezTo>
                  <a:pt x="55516" y="21336"/>
                  <a:pt x="49870" y="27295"/>
                  <a:pt x="45793" y="35450"/>
                </a:cubicBezTo>
                <a:close/>
              </a:path>
            </a:pathLst>
          </a:custGeom>
          <a:solidFill>
            <a:srgbClr val="FFFFFF"/>
          </a:solidFill>
          <a:ln w="313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294F171E-E391-4ED5-A73D-DC679F465DCF}"/>
              </a:ext>
            </a:extLst>
          </p:cNvPr>
          <p:cNvSpPr/>
          <p:nvPr userDrawn="1"/>
        </p:nvSpPr>
        <p:spPr>
          <a:xfrm>
            <a:off x="3132604" y="4947674"/>
            <a:ext cx="22269" cy="26974"/>
          </a:xfrm>
          <a:custGeom>
            <a:avLst/>
            <a:gdLst>
              <a:gd name="connsiteX0" fmla="*/ 0 w 22269"/>
              <a:gd name="connsiteY0" fmla="*/ 0 h 26974"/>
              <a:gd name="connsiteX1" fmla="*/ 22269 w 22269"/>
              <a:gd name="connsiteY1" fmla="*/ 627 h 26974"/>
              <a:gd name="connsiteX2" fmla="*/ 16937 w 22269"/>
              <a:gd name="connsiteY2" fmla="*/ 26974 h 26974"/>
              <a:gd name="connsiteX3" fmla="*/ 0 w 22269"/>
              <a:gd name="connsiteY3" fmla="*/ 0 h 2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69" h="26974">
                <a:moveTo>
                  <a:pt x="0" y="0"/>
                </a:moveTo>
                <a:cubicBezTo>
                  <a:pt x="8782" y="314"/>
                  <a:pt x="14114" y="314"/>
                  <a:pt x="22269" y="627"/>
                </a:cubicBezTo>
                <a:cubicBezTo>
                  <a:pt x="20387" y="9410"/>
                  <a:pt x="18819" y="17878"/>
                  <a:pt x="16937" y="26974"/>
                </a:cubicBezTo>
                <a:cubicBezTo>
                  <a:pt x="-5646" y="26033"/>
                  <a:pt x="10037" y="7841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313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xmlns="" id="{AAC562CF-278F-4666-9259-ECBAD4F56D3C}"/>
              </a:ext>
            </a:extLst>
          </p:cNvPr>
          <p:cNvSpPr/>
          <p:nvPr userDrawn="1"/>
        </p:nvSpPr>
        <p:spPr>
          <a:xfrm>
            <a:off x="1545068" y="2852364"/>
            <a:ext cx="9101864" cy="1153272"/>
          </a:xfrm>
          <a:custGeom>
            <a:avLst/>
            <a:gdLst>
              <a:gd name="connsiteX0" fmla="*/ 453073 w 3332855"/>
              <a:gd name="connsiteY0" fmla="*/ 336758 h 422296"/>
              <a:gd name="connsiteX1" fmla="*/ 444228 w 3332855"/>
              <a:gd name="connsiteY1" fmla="*/ 341333 h 422296"/>
              <a:gd name="connsiteX2" fmla="*/ 457649 w 3332855"/>
              <a:gd name="connsiteY2" fmla="*/ 364819 h 422296"/>
              <a:gd name="connsiteX3" fmla="*/ 472900 w 3332855"/>
              <a:gd name="connsiteY3" fmla="*/ 357194 h 422296"/>
              <a:gd name="connsiteX4" fmla="*/ 453073 w 3332855"/>
              <a:gd name="connsiteY4" fmla="*/ 336758 h 422296"/>
              <a:gd name="connsiteX5" fmla="*/ 671160 w 3332855"/>
              <a:gd name="connsiteY5" fmla="*/ 321507 h 422296"/>
              <a:gd name="connsiteX6" fmla="*/ 649199 w 3332855"/>
              <a:gd name="connsiteY6" fmla="*/ 333098 h 422296"/>
              <a:gd name="connsiteX7" fmla="*/ 641573 w 3332855"/>
              <a:gd name="connsiteY7" fmla="*/ 338588 h 422296"/>
              <a:gd name="connsiteX8" fmla="*/ 660485 w 3332855"/>
              <a:gd name="connsiteY8" fmla="*/ 363599 h 422296"/>
              <a:gd name="connsiteX9" fmla="*/ 683970 w 3332855"/>
              <a:gd name="connsiteY9" fmla="*/ 341333 h 422296"/>
              <a:gd name="connsiteX10" fmla="*/ 684886 w 3332855"/>
              <a:gd name="connsiteY10" fmla="*/ 347433 h 422296"/>
              <a:gd name="connsiteX11" fmla="*/ 682751 w 3332855"/>
              <a:gd name="connsiteY11" fmla="*/ 360549 h 422296"/>
              <a:gd name="connsiteX12" fmla="*/ 690071 w 3332855"/>
              <a:gd name="connsiteY12" fmla="*/ 362989 h 422296"/>
              <a:gd name="connsiteX13" fmla="*/ 701356 w 3332855"/>
              <a:gd name="connsiteY13" fmla="*/ 352008 h 422296"/>
              <a:gd name="connsiteX14" fmla="*/ 702881 w 3332855"/>
              <a:gd name="connsiteY14" fmla="*/ 326997 h 422296"/>
              <a:gd name="connsiteX15" fmla="*/ 671160 w 3332855"/>
              <a:gd name="connsiteY15" fmla="*/ 321507 h 422296"/>
              <a:gd name="connsiteX16" fmla="*/ 922854 w 3332855"/>
              <a:gd name="connsiteY16" fmla="*/ 313869 h 422296"/>
              <a:gd name="connsiteX17" fmla="*/ 910043 w 3332855"/>
              <a:gd name="connsiteY17" fmla="*/ 345286 h 422296"/>
              <a:gd name="connsiteX18" fmla="*/ 918279 w 3332855"/>
              <a:gd name="connsiteY18" fmla="*/ 374263 h 422296"/>
              <a:gd name="connsiteX19" fmla="*/ 922854 w 3332855"/>
              <a:gd name="connsiteY19" fmla="*/ 376702 h 422296"/>
              <a:gd name="connsiteX20" fmla="*/ 942069 w 3332855"/>
              <a:gd name="connsiteY20" fmla="*/ 359926 h 422296"/>
              <a:gd name="connsiteX21" fmla="*/ 957320 w 3332855"/>
              <a:gd name="connsiteY21" fmla="*/ 350776 h 422296"/>
              <a:gd name="connsiteX22" fmla="*/ 940240 w 3332855"/>
              <a:gd name="connsiteY22" fmla="*/ 343150 h 422296"/>
              <a:gd name="connsiteX23" fmla="*/ 952441 w 3332855"/>
              <a:gd name="connsiteY23" fmla="*/ 322409 h 422296"/>
              <a:gd name="connsiteX24" fmla="*/ 922854 w 3332855"/>
              <a:gd name="connsiteY24" fmla="*/ 313869 h 422296"/>
              <a:gd name="connsiteX25" fmla="*/ 1186223 w 3332855"/>
              <a:gd name="connsiteY25" fmla="*/ 343028 h 422296"/>
              <a:gd name="connsiteX26" fmla="*/ 1146705 w 3332855"/>
              <a:gd name="connsiteY26" fmla="*/ 351084 h 422296"/>
              <a:gd name="connsiteX27" fmla="*/ 1153498 w 3332855"/>
              <a:gd name="connsiteY27" fmla="*/ 363929 h 422296"/>
              <a:gd name="connsiteX28" fmla="*/ 1178078 w 3332855"/>
              <a:gd name="connsiteY28" fmla="*/ 362251 h 422296"/>
              <a:gd name="connsiteX29" fmla="*/ 1190835 w 3332855"/>
              <a:gd name="connsiteY29" fmla="*/ 344871 h 422296"/>
              <a:gd name="connsiteX30" fmla="*/ 1186223 w 3332855"/>
              <a:gd name="connsiteY30" fmla="*/ 343028 h 422296"/>
              <a:gd name="connsiteX31" fmla="*/ 725758 w 3332855"/>
              <a:gd name="connsiteY31" fmla="*/ 239152 h 422296"/>
              <a:gd name="connsiteX32" fmla="*/ 719353 w 3332855"/>
              <a:gd name="connsiteY32" fmla="*/ 241288 h 422296"/>
              <a:gd name="connsiteX33" fmla="*/ 723012 w 3332855"/>
              <a:gd name="connsiteY33" fmla="*/ 262334 h 422296"/>
              <a:gd name="connsiteX34" fmla="*/ 731858 w 3332855"/>
              <a:gd name="connsiteY34" fmla="*/ 260198 h 422296"/>
              <a:gd name="connsiteX35" fmla="*/ 725758 w 3332855"/>
              <a:gd name="connsiteY35" fmla="*/ 239152 h 422296"/>
              <a:gd name="connsiteX36" fmla="*/ 197650 w 3332855"/>
              <a:gd name="connsiteY36" fmla="*/ 159355 h 422296"/>
              <a:gd name="connsiteX37" fmla="*/ 189109 w 3332855"/>
              <a:gd name="connsiteY37" fmla="*/ 164540 h 422296"/>
              <a:gd name="connsiteX38" fmla="*/ 188195 w 3332855"/>
              <a:gd name="connsiteY38" fmla="*/ 206938 h 422296"/>
              <a:gd name="connsiteX39" fmla="*/ 187584 w 3332855"/>
              <a:gd name="connsiteY39" fmla="*/ 227679 h 422296"/>
              <a:gd name="connsiteX40" fmla="*/ 196735 w 3332855"/>
              <a:gd name="connsiteY40" fmla="*/ 221883 h 422296"/>
              <a:gd name="connsiteX41" fmla="*/ 207715 w 3332855"/>
              <a:gd name="connsiteY41" fmla="*/ 171556 h 422296"/>
              <a:gd name="connsiteX42" fmla="*/ 197650 w 3332855"/>
              <a:gd name="connsiteY42" fmla="*/ 159355 h 422296"/>
              <a:gd name="connsiteX43" fmla="*/ 970400 w 3332855"/>
              <a:gd name="connsiteY43" fmla="*/ 254264 h 422296"/>
              <a:gd name="connsiteX44" fmla="*/ 932279 w 3332855"/>
              <a:gd name="connsiteY44" fmla="*/ 275213 h 422296"/>
              <a:gd name="connsiteX45" fmla="*/ 932832 w 3332855"/>
              <a:gd name="connsiteY45" fmla="*/ 279619 h 422296"/>
              <a:gd name="connsiteX46" fmla="*/ 953774 w 3332855"/>
              <a:gd name="connsiteY46" fmla="*/ 277924 h 422296"/>
              <a:gd name="connsiteX47" fmla="*/ 962338 w 3332855"/>
              <a:gd name="connsiteY47" fmla="*/ 294375 h 422296"/>
              <a:gd name="connsiteX48" fmla="*/ 968136 w 3332855"/>
              <a:gd name="connsiteY48" fmla="*/ 292804 h 422296"/>
              <a:gd name="connsiteX49" fmla="*/ 970400 w 3332855"/>
              <a:gd name="connsiteY49" fmla="*/ 254264 h 422296"/>
              <a:gd name="connsiteX50" fmla="*/ 1371353 w 3332855"/>
              <a:gd name="connsiteY50" fmla="*/ 309287 h 422296"/>
              <a:gd name="connsiteX51" fmla="*/ 1358543 w 3332855"/>
              <a:gd name="connsiteY51" fmla="*/ 340704 h 422296"/>
              <a:gd name="connsiteX52" fmla="*/ 1366779 w 3332855"/>
              <a:gd name="connsiteY52" fmla="*/ 369680 h 422296"/>
              <a:gd name="connsiteX53" fmla="*/ 1371353 w 3332855"/>
              <a:gd name="connsiteY53" fmla="*/ 372120 h 422296"/>
              <a:gd name="connsiteX54" fmla="*/ 1390570 w 3332855"/>
              <a:gd name="connsiteY54" fmla="*/ 355344 h 422296"/>
              <a:gd name="connsiteX55" fmla="*/ 1405821 w 3332855"/>
              <a:gd name="connsiteY55" fmla="*/ 345889 h 422296"/>
              <a:gd name="connsiteX56" fmla="*/ 1388740 w 3332855"/>
              <a:gd name="connsiteY56" fmla="*/ 338263 h 422296"/>
              <a:gd name="connsiteX57" fmla="*/ 1400941 w 3332855"/>
              <a:gd name="connsiteY57" fmla="*/ 317522 h 422296"/>
              <a:gd name="connsiteX58" fmla="*/ 1371353 w 3332855"/>
              <a:gd name="connsiteY58" fmla="*/ 309287 h 422296"/>
              <a:gd name="connsiteX59" fmla="*/ 735518 w 3332855"/>
              <a:gd name="connsiteY59" fmla="*/ 194925 h 422296"/>
              <a:gd name="connsiteX60" fmla="*/ 705017 w 3332855"/>
              <a:gd name="connsiteY60" fmla="*/ 193400 h 422296"/>
              <a:gd name="connsiteX61" fmla="*/ 695866 w 3332855"/>
              <a:gd name="connsiteY61" fmla="*/ 214447 h 422296"/>
              <a:gd name="connsiteX62" fmla="*/ 674515 w 3332855"/>
              <a:gd name="connsiteY62" fmla="*/ 232442 h 422296"/>
              <a:gd name="connsiteX63" fmla="*/ 658045 w 3332855"/>
              <a:gd name="connsiteY63" fmla="*/ 244033 h 422296"/>
              <a:gd name="connsiteX64" fmla="*/ 670245 w 3332855"/>
              <a:gd name="connsiteY64" fmla="*/ 281550 h 422296"/>
              <a:gd name="connsiteX65" fmla="*/ 679701 w 3332855"/>
              <a:gd name="connsiteY65" fmla="*/ 278805 h 422296"/>
              <a:gd name="connsiteX66" fmla="*/ 687631 w 3332855"/>
              <a:gd name="connsiteY66" fmla="*/ 272704 h 422296"/>
              <a:gd name="connsiteX67" fmla="*/ 689766 w 3332855"/>
              <a:gd name="connsiteY67" fmla="*/ 275144 h 422296"/>
              <a:gd name="connsiteX68" fmla="*/ 680310 w 3332855"/>
              <a:gd name="connsiteY68" fmla="*/ 293141 h 422296"/>
              <a:gd name="connsiteX69" fmla="*/ 682750 w 3332855"/>
              <a:gd name="connsiteY69" fmla="*/ 294970 h 422296"/>
              <a:gd name="connsiteX70" fmla="*/ 690986 w 3332855"/>
              <a:gd name="connsiteY70" fmla="*/ 289785 h 422296"/>
              <a:gd name="connsiteX71" fmla="*/ 698307 w 3332855"/>
              <a:gd name="connsiteY71" fmla="*/ 303816 h 422296"/>
              <a:gd name="connsiteX72" fmla="*/ 719353 w 3332855"/>
              <a:gd name="connsiteY72" fmla="*/ 268740 h 422296"/>
              <a:gd name="connsiteX73" fmla="*/ 703186 w 3332855"/>
              <a:gd name="connsiteY73" fmla="*/ 224512 h 422296"/>
              <a:gd name="connsiteX74" fmla="*/ 720268 w 3332855"/>
              <a:gd name="connsiteY74" fmla="*/ 214141 h 422296"/>
              <a:gd name="connsiteX75" fmla="*/ 736434 w 3332855"/>
              <a:gd name="connsiteY75" fmla="*/ 200416 h 422296"/>
              <a:gd name="connsiteX76" fmla="*/ 735518 w 3332855"/>
              <a:gd name="connsiteY76" fmla="*/ 194925 h 422296"/>
              <a:gd name="connsiteX77" fmla="*/ 1145935 w 3332855"/>
              <a:gd name="connsiteY77" fmla="*/ 246359 h 422296"/>
              <a:gd name="connsiteX78" fmla="*/ 1140994 w 3332855"/>
              <a:gd name="connsiteY78" fmla="*/ 247788 h 422296"/>
              <a:gd name="connsiteX79" fmla="*/ 1134708 w 3332855"/>
              <a:gd name="connsiteY79" fmla="*/ 257391 h 422296"/>
              <a:gd name="connsiteX80" fmla="*/ 1147659 w 3332855"/>
              <a:gd name="connsiteY80" fmla="*/ 292591 h 422296"/>
              <a:gd name="connsiteX81" fmla="*/ 1157663 w 3332855"/>
              <a:gd name="connsiteY81" fmla="*/ 274979 h 422296"/>
              <a:gd name="connsiteX82" fmla="*/ 1186036 w 3332855"/>
              <a:gd name="connsiteY82" fmla="*/ 258815 h 422296"/>
              <a:gd name="connsiteX83" fmla="*/ 1148552 w 3332855"/>
              <a:gd name="connsiteY83" fmla="*/ 267585 h 422296"/>
              <a:gd name="connsiteX84" fmla="*/ 1153414 w 3332855"/>
              <a:gd name="connsiteY84" fmla="*/ 250824 h 422296"/>
              <a:gd name="connsiteX85" fmla="*/ 1145935 w 3332855"/>
              <a:gd name="connsiteY85" fmla="*/ 246359 h 422296"/>
              <a:gd name="connsiteX86" fmla="*/ 162883 w 3332855"/>
              <a:gd name="connsiteY86" fmla="*/ 68160 h 422296"/>
              <a:gd name="connsiteX87" fmla="*/ 140612 w 3332855"/>
              <a:gd name="connsiteY87" fmla="*/ 69375 h 422296"/>
              <a:gd name="connsiteX88" fmla="*/ 140307 w 3332855"/>
              <a:gd name="connsiteY88" fmla="*/ 162710 h 422296"/>
              <a:gd name="connsiteX89" fmla="*/ 145187 w 3332855"/>
              <a:gd name="connsiteY89" fmla="*/ 172471 h 422296"/>
              <a:gd name="connsiteX90" fmla="*/ 186669 w 3332855"/>
              <a:gd name="connsiteY90" fmla="*/ 149290 h 422296"/>
              <a:gd name="connsiteX91" fmla="*/ 187890 w 3332855"/>
              <a:gd name="connsiteY91" fmla="*/ 106892 h 422296"/>
              <a:gd name="connsiteX92" fmla="*/ 162883 w 3332855"/>
              <a:gd name="connsiteY92" fmla="*/ 68160 h 422296"/>
              <a:gd name="connsiteX93" fmla="*/ 2042658 w 3332855"/>
              <a:gd name="connsiteY93" fmla="*/ 322709 h 422296"/>
              <a:gd name="connsiteX94" fmla="*/ 2042353 w 3332855"/>
              <a:gd name="connsiteY94" fmla="*/ 360531 h 422296"/>
              <a:gd name="connsiteX95" fmla="*/ 2020391 w 3332855"/>
              <a:gd name="connsiteY95" fmla="*/ 332774 h 422296"/>
              <a:gd name="connsiteX96" fmla="*/ 2042658 w 3332855"/>
              <a:gd name="connsiteY96" fmla="*/ 322709 h 422296"/>
              <a:gd name="connsiteX97" fmla="*/ 1620552 w 3332855"/>
              <a:gd name="connsiteY97" fmla="*/ 251943 h 422296"/>
              <a:gd name="connsiteX98" fmla="*/ 1583341 w 3332855"/>
              <a:gd name="connsiteY98" fmla="*/ 267500 h 422296"/>
              <a:gd name="connsiteX99" fmla="*/ 1592491 w 3332855"/>
              <a:gd name="connsiteY99" fmla="*/ 278785 h 422296"/>
              <a:gd name="connsiteX100" fmla="*/ 1616283 w 3332855"/>
              <a:gd name="connsiteY100" fmla="*/ 272380 h 422296"/>
              <a:gd name="connsiteX101" fmla="*/ 1625738 w 3332855"/>
              <a:gd name="connsiteY101" fmla="*/ 253164 h 422296"/>
              <a:gd name="connsiteX102" fmla="*/ 1620552 w 3332855"/>
              <a:gd name="connsiteY102" fmla="*/ 251943 h 422296"/>
              <a:gd name="connsiteX103" fmla="*/ 610156 w 3332855"/>
              <a:gd name="connsiteY103" fmla="*/ 98540 h 422296"/>
              <a:gd name="connsiteX104" fmla="*/ 606497 w 3332855"/>
              <a:gd name="connsiteY104" fmla="*/ 98540 h 422296"/>
              <a:gd name="connsiteX105" fmla="*/ 592161 w 3332855"/>
              <a:gd name="connsiteY105" fmla="*/ 173574 h 422296"/>
              <a:gd name="connsiteX106" fmla="*/ 555864 w 3332855"/>
              <a:gd name="connsiteY106" fmla="*/ 173269 h 422296"/>
              <a:gd name="connsiteX107" fmla="*/ 565014 w 3332855"/>
              <a:gd name="connsiteY107" fmla="*/ 194620 h 422296"/>
              <a:gd name="connsiteX108" fmla="*/ 551289 w 3332855"/>
              <a:gd name="connsiteY108" fmla="*/ 229087 h 422296"/>
              <a:gd name="connsiteX109" fmla="*/ 546714 w 3332855"/>
              <a:gd name="connsiteY109" fmla="*/ 215362 h 422296"/>
              <a:gd name="connsiteX110" fmla="*/ 530852 w 3332855"/>
              <a:gd name="connsiteY110" fmla="*/ 207431 h 422296"/>
              <a:gd name="connsiteX111" fmla="*/ 521703 w 3332855"/>
              <a:gd name="connsiteY111" fmla="*/ 212007 h 422296"/>
              <a:gd name="connsiteX112" fmla="*/ 525667 w 3332855"/>
              <a:gd name="connsiteY112" fmla="*/ 226342 h 422296"/>
              <a:gd name="connsiteX113" fmla="*/ 540003 w 3332855"/>
              <a:gd name="connsiteY113" fmla="*/ 248913 h 422296"/>
              <a:gd name="connsiteX114" fmla="*/ 553119 w 3332855"/>
              <a:gd name="connsiteY114" fmla="*/ 253794 h 422296"/>
              <a:gd name="connsiteX115" fmla="*/ 569590 w 3332855"/>
              <a:gd name="connsiteY115" fmla="*/ 245252 h 422296"/>
              <a:gd name="connsiteX116" fmla="*/ 571724 w 3332855"/>
              <a:gd name="connsiteY116" fmla="*/ 247693 h 422296"/>
              <a:gd name="connsiteX117" fmla="*/ 581790 w 3332855"/>
              <a:gd name="connsiteY117" fmla="*/ 224207 h 422296"/>
              <a:gd name="connsiteX118" fmla="*/ 584230 w 3332855"/>
              <a:gd name="connsiteY118" fmla="*/ 224817 h 422296"/>
              <a:gd name="connsiteX119" fmla="*/ 580569 w 3332855"/>
              <a:gd name="connsiteY119" fmla="*/ 262334 h 422296"/>
              <a:gd name="connsiteX120" fmla="*/ 630593 w 3332855"/>
              <a:gd name="connsiteY120" fmla="*/ 262334 h 422296"/>
              <a:gd name="connsiteX121" fmla="*/ 610156 w 3332855"/>
              <a:gd name="connsiteY121" fmla="*/ 98540 h 422296"/>
              <a:gd name="connsiteX122" fmla="*/ 249808 w 3332855"/>
              <a:gd name="connsiteY122" fmla="*/ 32773 h 422296"/>
              <a:gd name="connsiteX123" fmla="*/ 271769 w 3332855"/>
              <a:gd name="connsiteY123" fmla="*/ 63580 h 422296"/>
              <a:gd name="connsiteX124" fmla="*/ 249808 w 3332855"/>
              <a:gd name="connsiteY124" fmla="*/ 32773 h 422296"/>
              <a:gd name="connsiteX125" fmla="*/ 224797 w 3332855"/>
              <a:gd name="connsiteY125" fmla="*/ 7152 h 422296"/>
              <a:gd name="connsiteX126" fmla="*/ 241572 w 3332855"/>
              <a:gd name="connsiteY126" fmla="*/ 18437 h 422296"/>
              <a:gd name="connsiteX127" fmla="*/ 241268 w 3332855"/>
              <a:gd name="connsiteY127" fmla="*/ 24233 h 422296"/>
              <a:gd name="connsiteX128" fmla="*/ 258043 w 3332855"/>
              <a:gd name="connsiteY128" fmla="*/ 14778 h 422296"/>
              <a:gd name="connsiteX129" fmla="*/ 287630 w 3332855"/>
              <a:gd name="connsiteY129" fmla="*/ 34298 h 422296"/>
              <a:gd name="connsiteX130" fmla="*/ 285494 w 3332855"/>
              <a:gd name="connsiteY130" fmla="*/ 37958 h 422296"/>
              <a:gd name="connsiteX131" fmla="*/ 267193 w 3332855"/>
              <a:gd name="connsiteY131" fmla="*/ 27588 h 422296"/>
              <a:gd name="connsiteX132" fmla="*/ 271158 w 3332855"/>
              <a:gd name="connsiteY132" fmla="*/ 46499 h 422296"/>
              <a:gd name="connsiteX133" fmla="*/ 294950 w 3332855"/>
              <a:gd name="connsiteY133" fmla="*/ 48024 h 422296"/>
              <a:gd name="connsiteX134" fmla="*/ 300746 w 3332855"/>
              <a:gd name="connsiteY134" fmla="*/ 68155 h 422296"/>
              <a:gd name="connsiteX135" fmla="*/ 299525 w 3332855"/>
              <a:gd name="connsiteY135" fmla="*/ 180401 h 422296"/>
              <a:gd name="connsiteX136" fmla="*/ 263228 w 3332855"/>
              <a:gd name="connsiteY136" fmla="*/ 227069 h 422296"/>
              <a:gd name="connsiteX137" fmla="*/ 195210 w 3332855"/>
              <a:gd name="connsiteY137" fmla="*/ 237744 h 422296"/>
              <a:gd name="connsiteX138" fmla="*/ 138782 w 3332855"/>
              <a:gd name="connsiteY138" fmla="*/ 242015 h 422296"/>
              <a:gd name="connsiteX139" fmla="*/ 138172 w 3332855"/>
              <a:gd name="connsiteY139" fmla="*/ 387508 h 422296"/>
              <a:gd name="connsiteX140" fmla="*/ 119871 w 3332855"/>
              <a:gd name="connsiteY140" fmla="*/ 324064 h 422296"/>
              <a:gd name="connsiteX141" fmla="*/ 101265 w 3332855"/>
              <a:gd name="connsiteY141" fmla="*/ 300578 h 422296"/>
              <a:gd name="connsiteX142" fmla="*/ 94249 w 3332855"/>
              <a:gd name="connsiteY142" fmla="*/ 313693 h 422296"/>
              <a:gd name="connsiteX143" fmla="*/ 91809 w 3332855"/>
              <a:gd name="connsiteY143" fmla="*/ 339925 h 422296"/>
              <a:gd name="connsiteX144" fmla="*/ 103705 w 3332855"/>
              <a:gd name="connsiteY144" fmla="*/ 356091 h 422296"/>
              <a:gd name="connsiteX145" fmla="*/ 82659 w 3332855"/>
              <a:gd name="connsiteY145" fmla="*/ 386593 h 422296"/>
              <a:gd name="connsiteX146" fmla="*/ 103400 w 3332855"/>
              <a:gd name="connsiteY146" fmla="*/ 388728 h 422296"/>
              <a:gd name="connsiteX147" fmla="*/ 102790 w 3332855"/>
              <a:gd name="connsiteY147" fmla="*/ 392998 h 422296"/>
              <a:gd name="connsiteX148" fmla="*/ 35077 w 3332855"/>
              <a:gd name="connsiteY148" fmla="*/ 400624 h 422296"/>
              <a:gd name="connsiteX149" fmla="*/ 39652 w 3332855"/>
              <a:gd name="connsiteY149" fmla="*/ 396048 h 422296"/>
              <a:gd name="connsiteX150" fmla="*/ 51547 w 3332855"/>
              <a:gd name="connsiteY150" fmla="*/ 378968 h 422296"/>
              <a:gd name="connsiteX151" fmla="*/ 58563 w 3332855"/>
              <a:gd name="connsiteY151" fmla="*/ 358531 h 422296"/>
              <a:gd name="connsiteX152" fmla="*/ 60698 w 3332855"/>
              <a:gd name="connsiteY152" fmla="*/ 348771 h 422296"/>
              <a:gd name="connsiteX153" fmla="*/ 71984 w 3332855"/>
              <a:gd name="connsiteY153" fmla="*/ 334740 h 422296"/>
              <a:gd name="connsiteX154" fmla="*/ 65273 w 3332855"/>
              <a:gd name="connsiteY154" fmla="*/ 348770 h 422296"/>
              <a:gd name="connsiteX155" fmla="*/ 87539 w 3332855"/>
              <a:gd name="connsiteY155" fmla="*/ 342975 h 422296"/>
              <a:gd name="connsiteX156" fmla="*/ 61308 w 3332855"/>
              <a:gd name="connsiteY156" fmla="*/ 279837 h 422296"/>
              <a:gd name="connsiteX157" fmla="*/ 32941 w 3332855"/>
              <a:gd name="connsiteY157" fmla="*/ 285937 h 422296"/>
              <a:gd name="connsiteX158" fmla="*/ 21351 w 3332855"/>
              <a:gd name="connsiteY158" fmla="*/ 299968 h 422296"/>
              <a:gd name="connsiteX159" fmla="*/ 10065 w 3332855"/>
              <a:gd name="connsiteY159" fmla="*/ 346331 h 422296"/>
              <a:gd name="connsiteX160" fmla="*/ 10065 w 3332855"/>
              <a:gd name="connsiteY160" fmla="*/ 353956 h 422296"/>
              <a:gd name="connsiteX161" fmla="*/ 18911 w 3332855"/>
              <a:gd name="connsiteY161" fmla="*/ 357311 h 422296"/>
              <a:gd name="connsiteX162" fmla="*/ 36907 w 3332855"/>
              <a:gd name="connsiteY162" fmla="*/ 352736 h 422296"/>
              <a:gd name="connsiteX163" fmla="*/ 30501 w 3332855"/>
              <a:gd name="connsiteY163" fmla="*/ 364326 h 422296"/>
              <a:gd name="connsiteX164" fmla="*/ 25011 w 3332855"/>
              <a:gd name="connsiteY164" fmla="*/ 383238 h 422296"/>
              <a:gd name="connsiteX165" fmla="*/ 4879 w 3332855"/>
              <a:gd name="connsiteY165" fmla="*/ 404894 h 422296"/>
              <a:gd name="connsiteX166" fmla="*/ 0 w 3332855"/>
              <a:gd name="connsiteY166" fmla="*/ 402454 h 422296"/>
              <a:gd name="connsiteX167" fmla="*/ 1220 w 3332855"/>
              <a:gd name="connsiteY167" fmla="*/ 136 h 422296"/>
              <a:gd name="connsiteX168" fmla="*/ 75034 w 3332855"/>
              <a:gd name="connsiteY168" fmla="*/ 136 h 422296"/>
              <a:gd name="connsiteX169" fmla="*/ 190635 w 3332855"/>
              <a:gd name="connsiteY169" fmla="*/ 2272 h 422296"/>
              <a:gd name="connsiteX170" fmla="*/ 224797 w 3332855"/>
              <a:gd name="connsiteY170" fmla="*/ 7152 h 422296"/>
              <a:gd name="connsiteX171" fmla="*/ 1183590 w 3332855"/>
              <a:gd name="connsiteY171" fmla="*/ 114519 h 422296"/>
              <a:gd name="connsiteX172" fmla="*/ 1179165 w 3332855"/>
              <a:gd name="connsiteY172" fmla="*/ 114889 h 422296"/>
              <a:gd name="connsiteX173" fmla="*/ 1179994 w 3332855"/>
              <a:gd name="connsiteY173" fmla="*/ 135883 h 422296"/>
              <a:gd name="connsiteX174" fmla="*/ 1163206 w 3332855"/>
              <a:gd name="connsiteY174" fmla="*/ 143762 h 422296"/>
              <a:gd name="connsiteX175" fmla="*/ 1164538 w 3332855"/>
              <a:gd name="connsiteY175" fmla="*/ 149620 h 422296"/>
              <a:gd name="connsiteX176" fmla="*/ 1202951 w 3332855"/>
              <a:gd name="connsiteY176" fmla="*/ 153470 h 422296"/>
              <a:gd name="connsiteX177" fmla="*/ 1183590 w 3332855"/>
              <a:gd name="connsiteY177" fmla="*/ 114519 h 422296"/>
              <a:gd name="connsiteX178" fmla="*/ 2187503 w 3332855"/>
              <a:gd name="connsiteY178" fmla="*/ 252859 h 422296"/>
              <a:gd name="connsiteX179" fmla="*/ 2195434 w 3332855"/>
              <a:gd name="connsiteY179" fmla="*/ 282751 h 422296"/>
              <a:gd name="connsiteX180" fmla="*/ 2187808 w 3332855"/>
              <a:gd name="connsiteY180" fmla="*/ 309898 h 422296"/>
              <a:gd name="connsiteX181" fmla="*/ 2195129 w 3332855"/>
              <a:gd name="connsiteY181" fmla="*/ 312338 h 422296"/>
              <a:gd name="connsiteX182" fmla="*/ 2209465 w 3332855"/>
              <a:gd name="connsiteY182" fmla="*/ 282141 h 422296"/>
              <a:gd name="connsiteX183" fmla="*/ 2187503 w 3332855"/>
              <a:gd name="connsiteY183" fmla="*/ 252859 h 422296"/>
              <a:gd name="connsiteX184" fmla="*/ 1619943 w 3332855"/>
              <a:gd name="connsiteY184" fmla="*/ 166234 h 422296"/>
              <a:gd name="connsiteX185" fmla="*/ 1584865 w 3332855"/>
              <a:gd name="connsiteY185" fmla="*/ 182095 h 422296"/>
              <a:gd name="connsiteX186" fmla="*/ 1586390 w 3332855"/>
              <a:gd name="connsiteY186" fmla="*/ 164709 h 422296"/>
              <a:gd name="connsiteX187" fmla="*/ 1569309 w 3332855"/>
              <a:gd name="connsiteY187" fmla="*/ 174775 h 422296"/>
              <a:gd name="connsiteX188" fmla="*/ 1588830 w 3332855"/>
              <a:gd name="connsiteY188" fmla="*/ 206801 h 422296"/>
              <a:gd name="connsiteX189" fmla="*/ 1595236 w 3332855"/>
              <a:gd name="connsiteY189" fmla="*/ 187585 h 422296"/>
              <a:gd name="connsiteX190" fmla="*/ 1619943 w 3332855"/>
              <a:gd name="connsiteY190" fmla="*/ 166234 h 422296"/>
              <a:gd name="connsiteX191" fmla="*/ 2779815 w 3332855"/>
              <a:gd name="connsiteY191" fmla="*/ 321785 h 422296"/>
              <a:gd name="connsiteX192" fmla="*/ 2767614 w 3332855"/>
              <a:gd name="connsiteY192" fmla="*/ 321174 h 422296"/>
              <a:gd name="connsiteX193" fmla="*/ 2766395 w 3332855"/>
              <a:gd name="connsiteY193" fmla="*/ 333986 h 422296"/>
              <a:gd name="connsiteX194" fmla="*/ 2781341 w 3332855"/>
              <a:gd name="connsiteY194" fmla="*/ 352591 h 422296"/>
              <a:gd name="connsiteX195" fmla="*/ 2795067 w 3332855"/>
              <a:gd name="connsiteY195" fmla="*/ 357777 h 422296"/>
              <a:gd name="connsiteX196" fmla="*/ 2814282 w 3332855"/>
              <a:gd name="connsiteY196" fmla="*/ 347711 h 422296"/>
              <a:gd name="connsiteX197" fmla="*/ 2799031 w 3332855"/>
              <a:gd name="connsiteY197" fmla="*/ 327275 h 422296"/>
              <a:gd name="connsiteX198" fmla="*/ 2779815 w 3332855"/>
              <a:gd name="connsiteY198" fmla="*/ 321785 h 422296"/>
              <a:gd name="connsiteX199" fmla="*/ 650757 w 3332855"/>
              <a:gd name="connsiteY199" fmla="*/ 2255 h 422296"/>
              <a:gd name="connsiteX200" fmla="*/ 661094 w 3332855"/>
              <a:gd name="connsiteY200" fmla="*/ 25031 h 422296"/>
              <a:gd name="connsiteX201" fmla="*/ 706541 w 3332855"/>
              <a:gd name="connsiteY201" fmla="*/ 14356 h 422296"/>
              <a:gd name="connsiteX202" fmla="*/ 719048 w 3332855"/>
              <a:gd name="connsiteY202" fmla="*/ 72613 h 422296"/>
              <a:gd name="connsiteX203" fmla="*/ 690071 w 3332855"/>
              <a:gd name="connsiteY203" fmla="*/ 72308 h 422296"/>
              <a:gd name="connsiteX204" fmla="*/ 723318 w 3332855"/>
              <a:gd name="connsiteY204" fmla="*/ 104336 h 422296"/>
              <a:gd name="connsiteX205" fmla="*/ 704407 w 3332855"/>
              <a:gd name="connsiteY205" fmla="*/ 123246 h 422296"/>
              <a:gd name="connsiteX206" fmla="*/ 722097 w 3332855"/>
              <a:gd name="connsiteY206" fmla="*/ 115621 h 422296"/>
              <a:gd name="connsiteX207" fmla="*/ 730028 w 3332855"/>
              <a:gd name="connsiteY207" fmla="*/ 129652 h 422296"/>
              <a:gd name="connsiteX208" fmla="*/ 744059 w 3332855"/>
              <a:gd name="connsiteY208" fmla="*/ 199806 h 422296"/>
              <a:gd name="connsiteX209" fmla="*/ 726063 w 3332855"/>
              <a:gd name="connsiteY209" fmla="*/ 214447 h 422296"/>
              <a:gd name="connsiteX210" fmla="*/ 720573 w 3332855"/>
              <a:gd name="connsiteY210" fmla="*/ 214141 h 422296"/>
              <a:gd name="connsiteX211" fmla="*/ 737958 w 3332855"/>
              <a:gd name="connsiteY211" fmla="*/ 230917 h 422296"/>
              <a:gd name="connsiteX212" fmla="*/ 750769 w 3332855"/>
              <a:gd name="connsiteY212" fmla="*/ 237933 h 422296"/>
              <a:gd name="connsiteX213" fmla="*/ 784321 w 3332855"/>
              <a:gd name="connsiteY213" fmla="*/ 405081 h 422296"/>
              <a:gd name="connsiteX214" fmla="*/ 639439 w 3332855"/>
              <a:gd name="connsiteY214" fmla="*/ 403862 h 422296"/>
              <a:gd name="connsiteX215" fmla="*/ 641573 w 3332855"/>
              <a:gd name="connsiteY215" fmla="*/ 337978 h 422296"/>
              <a:gd name="connsiteX216" fmla="*/ 636999 w 3332855"/>
              <a:gd name="connsiteY216" fmla="*/ 319677 h 422296"/>
              <a:gd name="connsiteX217" fmla="*/ 616562 w 3332855"/>
              <a:gd name="connsiteY217" fmla="*/ 329743 h 422296"/>
              <a:gd name="connsiteX218" fmla="*/ 593991 w 3332855"/>
              <a:gd name="connsiteY218" fmla="*/ 330658 h 422296"/>
              <a:gd name="connsiteX219" fmla="*/ 580570 w 3332855"/>
              <a:gd name="connsiteY219" fmla="*/ 342553 h 422296"/>
              <a:gd name="connsiteX220" fmla="*/ 574775 w 3332855"/>
              <a:gd name="connsiteY220" fmla="*/ 389526 h 422296"/>
              <a:gd name="connsiteX221" fmla="*/ 565320 w 3332855"/>
              <a:gd name="connsiteY221" fmla="*/ 402641 h 422296"/>
              <a:gd name="connsiteX222" fmla="*/ 549153 w 3332855"/>
              <a:gd name="connsiteY222" fmla="*/ 398371 h 422296"/>
              <a:gd name="connsiteX223" fmla="*/ 519567 w 3332855"/>
              <a:gd name="connsiteY223" fmla="*/ 369090 h 422296"/>
              <a:gd name="connsiteX224" fmla="*/ 500656 w 3332855"/>
              <a:gd name="connsiteY224" fmla="*/ 376105 h 422296"/>
              <a:gd name="connsiteX225" fmla="*/ 511942 w 3332855"/>
              <a:gd name="connsiteY225" fmla="*/ 403556 h 422296"/>
              <a:gd name="connsiteX226" fmla="*/ 427147 w 3332855"/>
              <a:gd name="connsiteY226" fmla="*/ 403556 h 422296"/>
              <a:gd name="connsiteX227" fmla="*/ 448499 w 3332855"/>
              <a:gd name="connsiteY227" fmla="*/ 319067 h 422296"/>
              <a:gd name="connsiteX228" fmla="*/ 450329 w 3332855"/>
              <a:gd name="connsiteY228" fmla="*/ 288260 h 422296"/>
              <a:gd name="connsiteX229" fmla="*/ 499436 w 3332855"/>
              <a:gd name="connsiteY229" fmla="*/ 13746 h 422296"/>
              <a:gd name="connsiteX230" fmla="*/ 516211 w 3332855"/>
              <a:gd name="connsiteY230" fmla="*/ 20 h 422296"/>
              <a:gd name="connsiteX231" fmla="*/ 589416 w 3332855"/>
              <a:gd name="connsiteY231" fmla="*/ 325 h 422296"/>
              <a:gd name="connsiteX232" fmla="*/ 609242 w 3332855"/>
              <a:gd name="connsiteY232" fmla="*/ 14661 h 422296"/>
              <a:gd name="connsiteX233" fmla="*/ 633032 w 3332855"/>
              <a:gd name="connsiteY233" fmla="*/ 48212 h 422296"/>
              <a:gd name="connsiteX234" fmla="*/ 639438 w 3332855"/>
              <a:gd name="connsiteY234" fmla="*/ 46687 h 422296"/>
              <a:gd name="connsiteX235" fmla="*/ 652249 w 3332855"/>
              <a:gd name="connsiteY235" fmla="*/ 16490 h 422296"/>
              <a:gd name="connsiteX236" fmla="*/ 637608 w 3332855"/>
              <a:gd name="connsiteY236" fmla="*/ 2765 h 422296"/>
              <a:gd name="connsiteX237" fmla="*/ 650757 w 3332855"/>
              <a:gd name="connsiteY237" fmla="*/ 2255 h 422296"/>
              <a:gd name="connsiteX238" fmla="*/ 941154 w 3332855"/>
              <a:gd name="connsiteY238" fmla="*/ 34779 h 422296"/>
              <a:gd name="connsiteX239" fmla="*/ 915838 w 3332855"/>
              <a:gd name="connsiteY239" fmla="*/ 47589 h 422296"/>
              <a:gd name="connsiteX240" fmla="*/ 941459 w 3332855"/>
              <a:gd name="connsiteY240" fmla="*/ 56740 h 422296"/>
              <a:gd name="connsiteX241" fmla="*/ 941154 w 3332855"/>
              <a:gd name="connsiteY241" fmla="*/ 34779 h 422296"/>
              <a:gd name="connsiteX242" fmla="*/ 1172179 w 3332855"/>
              <a:gd name="connsiteY242" fmla="*/ 67270 h 422296"/>
              <a:gd name="connsiteX243" fmla="*/ 1155866 w 3332855"/>
              <a:gd name="connsiteY243" fmla="*/ 74310 h 422296"/>
              <a:gd name="connsiteX244" fmla="*/ 1144098 w 3332855"/>
              <a:gd name="connsiteY244" fmla="*/ 127639 h 422296"/>
              <a:gd name="connsiteX245" fmla="*/ 1148229 w 3332855"/>
              <a:gd name="connsiteY245" fmla="*/ 128765 h 422296"/>
              <a:gd name="connsiteX246" fmla="*/ 1170349 w 3332855"/>
              <a:gd name="connsiteY246" fmla="*/ 100176 h 422296"/>
              <a:gd name="connsiteX247" fmla="*/ 1177183 w 3332855"/>
              <a:gd name="connsiteY247" fmla="*/ 82870 h 422296"/>
              <a:gd name="connsiteX248" fmla="*/ 1172179 w 3332855"/>
              <a:gd name="connsiteY248" fmla="*/ 67270 h 422296"/>
              <a:gd name="connsiteX249" fmla="*/ 1179187 w 3332855"/>
              <a:gd name="connsiteY249" fmla="*/ 47925 h 422296"/>
              <a:gd name="connsiteX250" fmla="*/ 1174474 w 3332855"/>
              <a:gd name="connsiteY250" fmla="*/ 52902 h 422296"/>
              <a:gd name="connsiteX251" fmla="*/ 1186090 w 3332855"/>
              <a:gd name="connsiteY251" fmla="*/ 80689 h 422296"/>
              <a:gd name="connsiteX252" fmla="*/ 1193626 w 3332855"/>
              <a:gd name="connsiteY252" fmla="*/ 80310 h 422296"/>
              <a:gd name="connsiteX253" fmla="*/ 1201591 w 3332855"/>
              <a:gd name="connsiteY253" fmla="*/ 60431 h 422296"/>
              <a:gd name="connsiteX254" fmla="*/ 1179187 w 3332855"/>
              <a:gd name="connsiteY254" fmla="*/ 47925 h 422296"/>
              <a:gd name="connsiteX255" fmla="*/ 1616282 w 3332855"/>
              <a:gd name="connsiteY255" fmla="*/ 98520 h 422296"/>
              <a:gd name="connsiteX256" fmla="*/ 1612013 w 3332855"/>
              <a:gd name="connsiteY256" fmla="*/ 99741 h 422296"/>
              <a:gd name="connsiteX257" fmla="*/ 1616891 w 3332855"/>
              <a:gd name="connsiteY257" fmla="*/ 120176 h 422296"/>
              <a:gd name="connsiteX258" fmla="*/ 1601946 w 3332855"/>
              <a:gd name="connsiteY258" fmla="*/ 131157 h 422296"/>
              <a:gd name="connsiteX259" fmla="*/ 1604081 w 3332855"/>
              <a:gd name="connsiteY259" fmla="*/ 136647 h 422296"/>
              <a:gd name="connsiteX260" fmla="*/ 1642819 w 3332855"/>
              <a:gd name="connsiteY260" fmla="*/ 132987 h 422296"/>
              <a:gd name="connsiteX261" fmla="*/ 1616282 w 3332855"/>
              <a:gd name="connsiteY261" fmla="*/ 98520 h 422296"/>
              <a:gd name="connsiteX262" fmla="*/ 2234782 w 3332855"/>
              <a:gd name="connsiteY262" fmla="*/ 158915 h 422296"/>
              <a:gd name="connsiteX263" fmla="*/ 2218920 w 3332855"/>
              <a:gd name="connsiteY263" fmla="*/ 163794 h 422296"/>
              <a:gd name="connsiteX264" fmla="*/ 2243321 w 3332855"/>
              <a:gd name="connsiteY264" fmla="*/ 189111 h 422296"/>
              <a:gd name="connsiteX265" fmla="*/ 2249116 w 3332855"/>
              <a:gd name="connsiteY265" fmla="*/ 186061 h 422296"/>
              <a:gd name="connsiteX266" fmla="*/ 2246982 w 3332855"/>
              <a:gd name="connsiteY266" fmla="*/ 178436 h 422296"/>
              <a:gd name="connsiteX267" fmla="*/ 2234782 w 3332855"/>
              <a:gd name="connsiteY267" fmla="*/ 158915 h 422296"/>
              <a:gd name="connsiteX268" fmla="*/ 1389655 w 3332855"/>
              <a:gd name="connsiteY268" fmla="*/ 30502 h 422296"/>
              <a:gd name="connsiteX269" fmla="*/ 1364339 w 3332855"/>
              <a:gd name="connsiteY269" fmla="*/ 43312 h 422296"/>
              <a:gd name="connsiteX270" fmla="*/ 1389960 w 3332855"/>
              <a:gd name="connsiteY270" fmla="*/ 52463 h 422296"/>
              <a:gd name="connsiteX271" fmla="*/ 1389655 w 3332855"/>
              <a:gd name="connsiteY271" fmla="*/ 30502 h 422296"/>
              <a:gd name="connsiteX272" fmla="*/ 1221628 w 3332855"/>
              <a:gd name="connsiteY272" fmla="*/ 1 h 422296"/>
              <a:gd name="connsiteX273" fmla="*/ 1221628 w 3332855"/>
              <a:gd name="connsiteY273" fmla="*/ 401022 h 422296"/>
              <a:gd name="connsiteX274" fmla="*/ 1134110 w 3332855"/>
              <a:gd name="connsiteY274" fmla="*/ 401022 h 422296"/>
              <a:gd name="connsiteX275" fmla="*/ 1044317 w 3332855"/>
              <a:gd name="connsiteY275" fmla="*/ 235833 h 422296"/>
              <a:gd name="connsiteX276" fmla="*/ 1078525 w 3332855"/>
              <a:gd name="connsiteY276" fmla="*/ 241915 h 422296"/>
              <a:gd name="connsiteX277" fmla="*/ 1079480 w 3332855"/>
              <a:gd name="connsiteY277" fmla="*/ 237742 h 422296"/>
              <a:gd name="connsiteX278" fmla="*/ 1050003 w 3332855"/>
              <a:gd name="connsiteY278" fmla="*/ 216818 h 422296"/>
              <a:gd name="connsiteX279" fmla="*/ 1032432 w 3332855"/>
              <a:gd name="connsiteY279" fmla="*/ 210702 h 422296"/>
              <a:gd name="connsiteX280" fmla="*/ 1030952 w 3332855"/>
              <a:gd name="connsiteY280" fmla="*/ 211245 h 422296"/>
              <a:gd name="connsiteX281" fmla="*/ 997542 w 3332855"/>
              <a:gd name="connsiteY281" fmla="*/ 149781 h 422296"/>
              <a:gd name="connsiteX282" fmla="*/ 1006011 w 3332855"/>
              <a:gd name="connsiteY282" fmla="*/ 145824 h 422296"/>
              <a:gd name="connsiteX283" fmla="*/ 1005323 w 3332855"/>
              <a:gd name="connsiteY283" fmla="*/ 138310 h 422296"/>
              <a:gd name="connsiteX284" fmla="*/ 985131 w 3332855"/>
              <a:gd name="connsiteY284" fmla="*/ 131170 h 422296"/>
              <a:gd name="connsiteX285" fmla="*/ 973559 w 3332855"/>
              <a:gd name="connsiteY285" fmla="*/ 154071 h 422296"/>
              <a:gd name="connsiteX286" fmla="*/ 978726 w 3332855"/>
              <a:gd name="connsiteY286" fmla="*/ 158575 h 422296"/>
              <a:gd name="connsiteX287" fmla="*/ 992161 w 3332855"/>
              <a:gd name="connsiteY287" fmla="*/ 152296 h 422296"/>
              <a:gd name="connsiteX288" fmla="*/ 992891 w 3332855"/>
              <a:gd name="connsiteY288" fmla="*/ 162143 h 422296"/>
              <a:gd name="connsiteX289" fmla="*/ 992890 w 3332855"/>
              <a:gd name="connsiteY289" fmla="*/ 189844 h 422296"/>
              <a:gd name="connsiteX290" fmla="*/ 968414 w 3332855"/>
              <a:gd name="connsiteY290" fmla="*/ 172470 h 422296"/>
              <a:gd name="connsiteX291" fmla="*/ 950842 w 3332855"/>
              <a:gd name="connsiteY291" fmla="*/ 166354 h 422296"/>
              <a:gd name="connsiteX292" fmla="*/ 935461 w 3332855"/>
              <a:gd name="connsiteY292" fmla="*/ 171998 h 422296"/>
              <a:gd name="connsiteX293" fmla="*/ 943167 w 3332855"/>
              <a:gd name="connsiteY293" fmla="*/ 188007 h 422296"/>
              <a:gd name="connsiteX294" fmla="*/ 992891 w 3332855"/>
              <a:gd name="connsiteY294" fmla="*/ 196848 h 422296"/>
              <a:gd name="connsiteX295" fmla="*/ 992890 w 3332855"/>
              <a:gd name="connsiteY295" fmla="*/ 260834 h 422296"/>
              <a:gd name="connsiteX296" fmla="*/ 991845 w 3332855"/>
              <a:gd name="connsiteY296" fmla="*/ 260696 h 422296"/>
              <a:gd name="connsiteX297" fmla="*/ 983438 w 3332855"/>
              <a:gd name="connsiteY297" fmla="*/ 279397 h 422296"/>
              <a:gd name="connsiteX298" fmla="*/ 992891 w 3332855"/>
              <a:gd name="connsiteY298" fmla="*/ 279645 h 422296"/>
              <a:gd name="connsiteX299" fmla="*/ 992890 w 3332855"/>
              <a:gd name="connsiteY299" fmla="*/ 401022 h 422296"/>
              <a:gd name="connsiteX300" fmla="*/ 909950 w 3332855"/>
              <a:gd name="connsiteY300" fmla="*/ 401022 h 422296"/>
              <a:gd name="connsiteX301" fmla="*/ 909950 w 3332855"/>
              <a:gd name="connsiteY301" fmla="*/ 1 h 422296"/>
              <a:gd name="connsiteX302" fmla="*/ 1017531 w 3332855"/>
              <a:gd name="connsiteY302" fmla="*/ 1 h 422296"/>
              <a:gd name="connsiteX303" fmla="*/ 1039920 w 3332855"/>
              <a:gd name="connsiteY303" fmla="*/ 41637 h 422296"/>
              <a:gd name="connsiteX304" fmla="*/ 1018018 w 3332855"/>
              <a:gd name="connsiteY304" fmla="*/ 47895 h 422296"/>
              <a:gd name="connsiteX305" fmla="*/ 1047003 w 3332855"/>
              <a:gd name="connsiteY305" fmla="*/ 54809 h 422296"/>
              <a:gd name="connsiteX306" fmla="*/ 1078849 w 3332855"/>
              <a:gd name="connsiteY306" fmla="*/ 114029 h 422296"/>
              <a:gd name="connsiteX307" fmla="*/ 1066219 w 3332855"/>
              <a:gd name="connsiteY307" fmla="*/ 116999 h 422296"/>
              <a:gd name="connsiteX308" fmla="*/ 1045271 w 3332855"/>
              <a:gd name="connsiteY308" fmla="*/ 167435 h 422296"/>
              <a:gd name="connsiteX309" fmla="*/ 1049140 w 3332855"/>
              <a:gd name="connsiteY309" fmla="*/ 169268 h 422296"/>
              <a:gd name="connsiteX310" fmla="*/ 1075936 w 3332855"/>
              <a:gd name="connsiteY310" fmla="*/ 145006 h 422296"/>
              <a:gd name="connsiteX311" fmla="*/ 1085702 w 3332855"/>
              <a:gd name="connsiteY311" fmla="*/ 129169 h 422296"/>
              <a:gd name="connsiteX312" fmla="*/ 1085271 w 3332855"/>
              <a:gd name="connsiteY312" fmla="*/ 125971 h 422296"/>
              <a:gd name="connsiteX313" fmla="*/ 1141017 w 3332855"/>
              <a:gd name="connsiteY313" fmla="*/ 229635 h 422296"/>
              <a:gd name="connsiteX314" fmla="*/ 1139271 w 3332855"/>
              <a:gd name="connsiteY314" fmla="*/ 209497 h 422296"/>
              <a:gd name="connsiteX315" fmla="*/ 1139271 w 3332855"/>
              <a:gd name="connsiteY315" fmla="*/ 1 h 422296"/>
              <a:gd name="connsiteX316" fmla="*/ 1602861 w 3332855"/>
              <a:gd name="connsiteY316" fmla="*/ 49108 h 422296"/>
              <a:gd name="connsiteX317" fmla="*/ 1588220 w 3332855"/>
              <a:gd name="connsiteY317" fmla="*/ 59173 h 422296"/>
              <a:gd name="connsiteX318" fmla="*/ 1587001 w 3332855"/>
              <a:gd name="connsiteY318" fmla="*/ 113771 h 422296"/>
              <a:gd name="connsiteX319" fmla="*/ 1591271 w 3332855"/>
              <a:gd name="connsiteY319" fmla="*/ 114076 h 422296"/>
              <a:gd name="connsiteX320" fmla="*/ 1607436 w 3332855"/>
              <a:gd name="connsiteY320" fmla="*/ 81744 h 422296"/>
              <a:gd name="connsiteX321" fmla="*/ 1610792 w 3332855"/>
              <a:gd name="connsiteY321" fmla="*/ 63443 h 422296"/>
              <a:gd name="connsiteX322" fmla="*/ 1602861 w 3332855"/>
              <a:gd name="connsiteY322" fmla="*/ 49108 h 422296"/>
              <a:gd name="connsiteX323" fmla="*/ 1509222 w 3332855"/>
              <a:gd name="connsiteY323" fmla="*/ 31417 h 422296"/>
              <a:gd name="connsiteX324" fmla="*/ 1466824 w 3332855"/>
              <a:gd name="connsiteY324" fmla="*/ 43312 h 422296"/>
              <a:gd name="connsiteX325" fmla="*/ 1500071 w 3332855"/>
              <a:gd name="connsiteY325" fmla="*/ 51243 h 422296"/>
              <a:gd name="connsiteX326" fmla="*/ 1509222 w 3332855"/>
              <a:gd name="connsiteY326" fmla="*/ 31417 h 422296"/>
              <a:gd name="connsiteX327" fmla="*/ 1613232 w 3332855"/>
              <a:gd name="connsiteY327" fmla="*/ 32637 h 422296"/>
              <a:gd name="connsiteX328" fmla="*/ 1609573 w 3332855"/>
              <a:gd name="connsiteY328" fmla="*/ 38432 h 422296"/>
              <a:gd name="connsiteX329" fmla="*/ 1626347 w 3332855"/>
              <a:gd name="connsiteY329" fmla="*/ 63443 h 422296"/>
              <a:gd name="connsiteX330" fmla="*/ 1633668 w 3332855"/>
              <a:gd name="connsiteY330" fmla="*/ 61613 h 422296"/>
              <a:gd name="connsiteX331" fmla="*/ 1637633 w 3332855"/>
              <a:gd name="connsiteY331" fmla="*/ 40568 h 422296"/>
              <a:gd name="connsiteX332" fmla="*/ 1613232 w 3332855"/>
              <a:gd name="connsiteY332" fmla="*/ 32637 h 422296"/>
              <a:gd name="connsiteX333" fmla="*/ 1601946 w 3332855"/>
              <a:gd name="connsiteY333" fmla="*/ 9456 h 422296"/>
              <a:gd name="connsiteX334" fmla="*/ 1596456 w 3332855"/>
              <a:gd name="connsiteY334" fmla="*/ 34162 h 422296"/>
              <a:gd name="connsiteX335" fmla="*/ 1624822 w 3332855"/>
              <a:gd name="connsiteY335" fmla="*/ 19521 h 422296"/>
              <a:gd name="connsiteX336" fmla="*/ 1671794 w 3332855"/>
              <a:gd name="connsiteY336" fmla="*/ 87844 h 422296"/>
              <a:gd name="connsiteX337" fmla="*/ 1669354 w 3332855"/>
              <a:gd name="connsiteY337" fmla="*/ 340703 h 422296"/>
              <a:gd name="connsiteX338" fmla="*/ 1637938 w 3332855"/>
              <a:gd name="connsiteY338" fmla="*/ 387676 h 422296"/>
              <a:gd name="connsiteX339" fmla="*/ 1622992 w 3332855"/>
              <a:gd name="connsiteY339" fmla="*/ 389201 h 422296"/>
              <a:gd name="connsiteX340" fmla="*/ 1610487 w 3332855"/>
              <a:gd name="connsiteY340" fmla="*/ 391641 h 422296"/>
              <a:gd name="connsiteX341" fmla="*/ 1565039 w 3332855"/>
              <a:gd name="connsiteY341" fmla="*/ 402622 h 422296"/>
              <a:gd name="connsiteX342" fmla="*/ 1513187 w 3332855"/>
              <a:gd name="connsiteY342" fmla="*/ 397742 h 422296"/>
              <a:gd name="connsiteX343" fmla="*/ 1500377 w 3332855"/>
              <a:gd name="connsiteY343" fmla="*/ 390725 h 422296"/>
              <a:gd name="connsiteX344" fmla="*/ 1472009 w 3332855"/>
              <a:gd name="connsiteY344" fmla="*/ 400791 h 422296"/>
              <a:gd name="connsiteX345" fmla="*/ 1496716 w 3332855"/>
              <a:gd name="connsiteY345" fmla="*/ 366324 h 422296"/>
              <a:gd name="connsiteX346" fmla="*/ 1496106 w 3332855"/>
              <a:gd name="connsiteY346" fmla="*/ 357784 h 422296"/>
              <a:gd name="connsiteX347" fmla="*/ 1506477 w 3332855"/>
              <a:gd name="connsiteY347" fmla="*/ 336433 h 422296"/>
              <a:gd name="connsiteX348" fmla="*/ 1518372 w 3332855"/>
              <a:gd name="connsiteY348" fmla="*/ 359309 h 422296"/>
              <a:gd name="connsiteX349" fmla="*/ 1537283 w 3332855"/>
              <a:gd name="connsiteY349" fmla="*/ 317522 h 422296"/>
              <a:gd name="connsiteX350" fmla="*/ 1532708 w 3332855"/>
              <a:gd name="connsiteY350" fmla="*/ 305017 h 422296"/>
              <a:gd name="connsiteX351" fmla="*/ 1533317 w 3332855"/>
              <a:gd name="connsiteY351" fmla="*/ 96386 h 422296"/>
              <a:gd name="connsiteX352" fmla="*/ 1492445 w 3332855"/>
              <a:gd name="connsiteY352" fmla="*/ 68628 h 422296"/>
              <a:gd name="connsiteX353" fmla="*/ 1487260 w 3332855"/>
              <a:gd name="connsiteY353" fmla="*/ 80525 h 422296"/>
              <a:gd name="connsiteX354" fmla="*/ 1486650 w 3332855"/>
              <a:gd name="connsiteY354" fmla="*/ 185755 h 422296"/>
              <a:gd name="connsiteX355" fmla="*/ 1485125 w 3332855"/>
              <a:gd name="connsiteY355" fmla="*/ 202226 h 422296"/>
              <a:gd name="connsiteX356" fmla="*/ 1484821 w 3332855"/>
              <a:gd name="connsiteY356" fmla="*/ 202226 h 422296"/>
              <a:gd name="connsiteX357" fmla="*/ 1466824 w 3332855"/>
              <a:gd name="connsiteY357" fmla="*/ 219611 h 422296"/>
              <a:gd name="connsiteX358" fmla="*/ 1484821 w 3332855"/>
              <a:gd name="connsiteY358" fmla="*/ 202226 h 422296"/>
              <a:gd name="connsiteX359" fmla="*/ 1486040 w 3332855"/>
              <a:gd name="connsiteY359" fmla="*/ 303491 h 422296"/>
              <a:gd name="connsiteX360" fmla="*/ 1479330 w 3332855"/>
              <a:gd name="connsiteY360" fmla="*/ 348938 h 422296"/>
              <a:gd name="connsiteX361" fmla="*/ 1481465 w 3332855"/>
              <a:gd name="connsiteY361" fmla="*/ 355954 h 422296"/>
              <a:gd name="connsiteX362" fmla="*/ 1475060 w 3332855"/>
              <a:gd name="connsiteY362" fmla="*/ 367545 h 422296"/>
              <a:gd name="connsiteX363" fmla="*/ 1443033 w 3332855"/>
              <a:gd name="connsiteY363" fmla="*/ 388286 h 422296"/>
              <a:gd name="connsiteX364" fmla="*/ 1464690 w 3332855"/>
              <a:gd name="connsiteY364" fmla="*/ 403842 h 422296"/>
              <a:gd name="connsiteX365" fmla="*/ 1347258 w 3332855"/>
              <a:gd name="connsiteY365" fmla="*/ 403537 h 422296"/>
              <a:gd name="connsiteX366" fmla="*/ 1348173 w 3332855"/>
              <a:gd name="connsiteY366" fmla="*/ 96080 h 422296"/>
              <a:gd name="connsiteX367" fmla="*/ 1364339 w 3332855"/>
              <a:gd name="connsiteY367" fmla="*/ 93335 h 422296"/>
              <a:gd name="connsiteX368" fmla="*/ 1373794 w 3332855"/>
              <a:gd name="connsiteY368" fmla="*/ 82965 h 422296"/>
              <a:gd name="connsiteX369" fmla="*/ 1370439 w 3332855"/>
              <a:gd name="connsiteY369" fmla="*/ 75339 h 422296"/>
              <a:gd name="connsiteX370" fmla="*/ 1360374 w 3332855"/>
              <a:gd name="connsiteY370" fmla="*/ 84185 h 422296"/>
              <a:gd name="connsiteX371" fmla="*/ 1350918 w 3332855"/>
              <a:gd name="connsiteY371" fmla="*/ 91505 h 422296"/>
              <a:gd name="connsiteX372" fmla="*/ 1347867 w 3332855"/>
              <a:gd name="connsiteY372" fmla="*/ 0 h 422296"/>
              <a:gd name="connsiteX373" fmla="*/ 1601946 w 3332855"/>
              <a:gd name="connsiteY373" fmla="*/ 9456 h 422296"/>
              <a:gd name="connsiteX374" fmla="*/ 2453477 w 3332855"/>
              <a:gd name="connsiteY374" fmla="*/ 67104 h 422296"/>
              <a:gd name="connsiteX375" fmla="*/ 2433346 w 3332855"/>
              <a:gd name="connsiteY375" fmla="*/ 77170 h 422296"/>
              <a:gd name="connsiteX376" fmla="*/ 2444060 w 3332855"/>
              <a:gd name="connsiteY376" fmla="*/ 106909 h 422296"/>
              <a:gd name="connsiteX377" fmla="*/ 2447826 w 3332855"/>
              <a:gd name="connsiteY377" fmla="*/ 109241 h 422296"/>
              <a:gd name="connsiteX378" fmla="*/ 2447987 w 3332855"/>
              <a:gd name="connsiteY378" fmla="*/ 110112 h 422296"/>
              <a:gd name="connsiteX379" fmla="*/ 2459577 w 3332855"/>
              <a:gd name="connsiteY379" fmla="*/ 116518 h 422296"/>
              <a:gd name="connsiteX380" fmla="*/ 2447826 w 3332855"/>
              <a:gd name="connsiteY380" fmla="*/ 109241 h 422296"/>
              <a:gd name="connsiteX381" fmla="*/ 2442802 w 3332855"/>
              <a:gd name="connsiteY381" fmla="*/ 82050 h 422296"/>
              <a:gd name="connsiteX382" fmla="*/ 2455612 w 3332855"/>
              <a:gd name="connsiteY382" fmla="*/ 69850 h 422296"/>
              <a:gd name="connsiteX383" fmla="*/ 2453477 w 3332855"/>
              <a:gd name="connsiteY383" fmla="*/ 67104 h 422296"/>
              <a:gd name="connsiteX384" fmla="*/ 2034118 w 3332855"/>
              <a:gd name="connsiteY384" fmla="*/ 916 h 422296"/>
              <a:gd name="connsiteX385" fmla="*/ 2034118 w 3332855"/>
              <a:gd name="connsiteY385" fmla="*/ 79305 h 422296"/>
              <a:gd name="connsiteX386" fmla="*/ 1965794 w 3332855"/>
              <a:gd name="connsiteY386" fmla="*/ 79611 h 422296"/>
              <a:gd name="connsiteX387" fmla="*/ 1939562 w 3332855"/>
              <a:gd name="connsiteY387" fmla="*/ 105231 h 422296"/>
              <a:gd name="connsiteX388" fmla="*/ 1939563 w 3332855"/>
              <a:gd name="connsiteY388" fmla="*/ 161355 h 422296"/>
              <a:gd name="connsiteX389" fmla="*/ 1924007 w 3332855"/>
              <a:gd name="connsiteY389" fmla="*/ 144884 h 422296"/>
              <a:gd name="connsiteX390" fmla="*/ 1898690 w 3332855"/>
              <a:gd name="connsiteY390" fmla="*/ 119873 h 422296"/>
              <a:gd name="connsiteX391" fmla="*/ 1901436 w 3332855"/>
              <a:gd name="connsiteY391" fmla="*/ 147020 h 422296"/>
              <a:gd name="connsiteX392" fmla="*/ 1880084 w 3332855"/>
              <a:gd name="connsiteY392" fmla="*/ 182707 h 422296"/>
              <a:gd name="connsiteX393" fmla="*/ 1885880 w 3332855"/>
              <a:gd name="connsiteY393" fmla="*/ 187586 h 422296"/>
              <a:gd name="connsiteX394" fmla="*/ 1902655 w 3332855"/>
              <a:gd name="connsiteY394" fmla="*/ 173251 h 422296"/>
              <a:gd name="connsiteX395" fmla="*/ 1956339 w 3332855"/>
              <a:gd name="connsiteY395" fmla="*/ 167455 h 422296"/>
              <a:gd name="connsiteX396" fmla="*/ 1979215 w 3332855"/>
              <a:gd name="connsiteY396" fmla="*/ 159524 h 422296"/>
              <a:gd name="connsiteX397" fmla="*/ 2021918 w 3332855"/>
              <a:gd name="connsiteY397" fmla="*/ 159525 h 422296"/>
              <a:gd name="connsiteX398" fmla="*/ 2027712 w 3332855"/>
              <a:gd name="connsiteY398" fmla="*/ 161660 h 422296"/>
              <a:gd name="connsiteX399" fmla="*/ 2027407 w 3332855"/>
              <a:gd name="connsiteY399" fmla="*/ 233034 h 422296"/>
              <a:gd name="connsiteX400" fmla="*/ 1966709 w 3332855"/>
              <a:gd name="connsiteY400" fmla="*/ 215343 h 422296"/>
              <a:gd name="connsiteX401" fmla="*/ 1966709 w 3332855"/>
              <a:gd name="connsiteY401" fmla="*/ 231204 h 422296"/>
              <a:gd name="connsiteX402" fmla="*/ 1963964 w 3332855"/>
              <a:gd name="connsiteY402" fmla="*/ 232424 h 422296"/>
              <a:gd name="connsiteX403" fmla="*/ 1938648 w 3332855"/>
              <a:gd name="connsiteY403" fmla="*/ 263231 h 422296"/>
              <a:gd name="connsiteX404" fmla="*/ 1934683 w 3332855"/>
              <a:gd name="connsiteY404" fmla="*/ 306543 h 422296"/>
              <a:gd name="connsiteX405" fmla="*/ 1924922 w 3332855"/>
              <a:gd name="connsiteY405" fmla="*/ 313559 h 422296"/>
              <a:gd name="connsiteX406" fmla="*/ 1907536 w 3332855"/>
              <a:gd name="connsiteY406" fmla="*/ 331860 h 422296"/>
              <a:gd name="connsiteX407" fmla="*/ 2007581 w 3332855"/>
              <a:gd name="connsiteY407" fmla="*/ 324844 h 422296"/>
              <a:gd name="connsiteX408" fmla="*/ 2011242 w 3332855"/>
              <a:gd name="connsiteY408" fmla="*/ 372426 h 422296"/>
              <a:gd name="connsiteX409" fmla="*/ 2035948 w 3332855"/>
              <a:gd name="connsiteY409" fmla="*/ 370902 h 422296"/>
              <a:gd name="connsiteX410" fmla="*/ 2045098 w 3332855"/>
              <a:gd name="connsiteY410" fmla="*/ 404454 h 422296"/>
              <a:gd name="connsiteX411" fmla="*/ 2011851 w 3332855"/>
              <a:gd name="connsiteY411" fmla="*/ 403539 h 422296"/>
              <a:gd name="connsiteX412" fmla="*/ 2019782 w 3332855"/>
              <a:gd name="connsiteY412" fmla="*/ 391338 h 422296"/>
              <a:gd name="connsiteX413" fmla="*/ 2018257 w 3332855"/>
              <a:gd name="connsiteY413" fmla="*/ 387068 h 422296"/>
              <a:gd name="connsiteX414" fmla="*/ 1969760 w 3332855"/>
              <a:gd name="connsiteY414" fmla="*/ 401403 h 422296"/>
              <a:gd name="connsiteX415" fmla="*/ 1946883 w 3332855"/>
              <a:gd name="connsiteY415" fmla="*/ 346806 h 422296"/>
              <a:gd name="connsiteX416" fmla="*/ 1912721 w 3332855"/>
              <a:gd name="connsiteY416" fmla="*/ 366631 h 422296"/>
              <a:gd name="connsiteX417" fmla="*/ 1912722 w 3332855"/>
              <a:gd name="connsiteY417" fmla="*/ 403539 h 422296"/>
              <a:gd name="connsiteX418" fmla="*/ 1799865 w 3332855"/>
              <a:gd name="connsiteY418" fmla="*/ 402014 h 422296"/>
              <a:gd name="connsiteX419" fmla="*/ 1800170 w 3332855"/>
              <a:gd name="connsiteY419" fmla="*/ 257435 h 422296"/>
              <a:gd name="connsiteX420" fmla="*/ 1844094 w 3332855"/>
              <a:gd name="connsiteY420" fmla="*/ 274517 h 422296"/>
              <a:gd name="connsiteX421" fmla="*/ 1846533 w 3332855"/>
              <a:gd name="connsiteY421" fmla="*/ 265061 h 422296"/>
              <a:gd name="connsiteX422" fmla="*/ 1825181 w 3332855"/>
              <a:gd name="connsiteY422" fmla="*/ 255301 h 422296"/>
              <a:gd name="connsiteX423" fmla="*/ 1797425 w 3332855"/>
              <a:gd name="connsiteY423" fmla="*/ 247980 h 422296"/>
              <a:gd name="connsiteX424" fmla="*/ 1805355 w 3332855"/>
              <a:gd name="connsiteY424" fmla="*/ 205887 h 422296"/>
              <a:gd name="connsiteX425" fmla="*/ 1802916 w 3332855"/>
              <a:gd name="connsiteY425" fmla="*/ 175995 h 422296"/>
              <a:gd name="connsiteX426" fmla="*/ 1800171 w 3332855"/>
              <a:gd name="connsiteY426" fmla="*/ 168065 h 422296"/>
              <a:gd name="connsiteX427" fmla="*/ 1800476 w 3332855"/>
              <a:gd name="connsiteY427" fmla="*/ 34468 h 422296"/>
              <a:gd name="connsiteX428" fmla="*/ 1819691 w 3332855"/>
              <a:gd name="connsiteY428" fmla="*/ 8541 h 422296"/>
              <a:gd name="connsiteX429" fmla="*/ 1804440 w 3332855"/>
              <a:gd name="connsiteY429" fmla="*/ 86321 h 422296"/>
              <a:gd name="connsiteX430" fmla="*/ 1842873 w 3332855"/>
              <a:gd name="connsiteY430" fmla="*/ 59174 h 422296"/>
              <a:gd name="connsiteX431" fmla="*/ 1837688 w 3332855"/>
              <a:gd name="connsiteY431" fmla="*/ 42703 h 422296"/>
              <a:gd name="connsiteX432" fmla="*/ 1831892 w 3332855"/>
              <a:gd name="connsiteY432" fmla="*/ 23793 h 422296"/>
              <a:gd name="connsiteX433" fmla="*/ 1825791 w 3332855"/>
              <a:gd name="connsiteY433" fmla="*/ 2441 h 422296"/>
              <a:gd name="connsiteX434" fmla="*/ 1831892 w 3332855"/>
              <a:gd name="connsiteY434" fmla="*/ 306 h 422296"/>
              <a:gd name="connsiteX435" fmla="*/ 1860258 w 3332855"/>
              <a:gd name="connsiteY435" fmla="*/ 1 h 422296"/>
              <a:gd name="connsiteX436" fmla="*/ 1881610 w 3332855"/>
              <a:gd name="connsiteY436" fmla="*/ 13117 h 422296"/>
              <a:gd name="connsiteX437" fmla="*/ 1897470 w 3332855"/>
              <a:gd name="connsiteY437" fmla="*/ 14642 h 422296"/>
              <a:gd name="connsiteX438" fmla="*/ 1928582 w 3332855"/>
              <a:gd name="connsiteY438" fmla="*/ 18912 h 422296"/>
              <a:gd name="connsiteX439" fmla="*/ 1949323 w 3332855"/>
              <a:gd name="connsiteY439" fmla="*/ 5186 h 422296"/>
              <a:gd name="connsiteX440" fmla="*/ 1946883 w 3332855"/>
              <a:gd name="connsiteY440" fmla="*/ 611 h 422296"/>
              <a:gd name="connsiteX441" fmla="*/ 2034118 w 3332855"/>
              <a:gd name="connsiteY441" fmla="*/ 916 h 422296"/>
              <a:gd name="connsiteX442" fmla="*/ 3240739 w 3332855"/>
              <a:gd name="connsiteY442" fmla="*/ 156703 h 422296"/>
              <a:gd name="connsiteX443" fmla="*/ 3240434 w 3332855"/>
              <a:gd name="connsiteY443" fmla="*/ 157008 h 422296"/>
              <a:gd name="connsiteX444" fmla="*/ 3240421 w 3332855"/>
              <a:gd name="connsiteY444" fmla="*/ 156719 h 422296"/>
              <a:gd name="connsiteX445" fmla="*/ 3240434 w 3332855"/>
              <a:gd name="connsiteY445" fmla="*/ 156703 h 422296"/>
              <a:gd name="connsiteX446" fmla="*/ 3240739 w 3332855"/>
              <a:gd name="connsiteY446" fmla="*/ 156703 h 422296"/>
              <a:gd name="connsiteX447" fmla="*/ 2237221 w 3332855"/>
              <a:gd name="connsiteY447" fmla="*/ 7626 h 422296"/>
              <a:gd name="connsiteX448" fmla="*/ 2202144 w 3332855"/>
              <a:gd name="connsiteY448" fmla="*/ 25623 h 422296"/>
              <a:gd name="connsiteX449" fmla="*/ 2196349 w 3332855"/>
              <a:gd name="connsiteY449" fmla="*/ 12201 h 422296"/>
              <a:gd name="connsiteX450" fmla="*/ 2192994 w 3332855"/>
              <a:gd name="connsiteY450" fmla="*/ 11896 h 422296"/>
              <a:gd name="connsiteX451" fmla="*/ 2187503 w 3332855"/>
              <a:gd name="connsiteY451" fmla="*/ 44533 h 422296"/>
              <a:gd name="connsiteX452" fmla="*/ 2200313 w 3332855"/>
              <a:gd name="connsiteY452" fmla="*/ 50634 h 422296"/>
              <a:gd name="connsiteX453" fmla="*/ 2224411 w 3332855"/>
              <a:gd name="connsiteY453" fmla="*/ 44228 h 422296"/>
              <a:gd name="connsiteX454" fmla="*/ 2220445 w 3332855"/>
              <a:gd name="connsiteY454" fmla="*/ 26842 h 422296"/>
              <a:gd name="connsiteX455" fmla="*/ 2237221 w 3332855"/>
              <a:gd name="connsiteY455" fmla="*/ 7626 h 422296"/>
              <a:gd name="connsiteX456" fmla="*/ 3260870 w 3332855"/>
              <a:gd name="connsiteY456" fmla="*/ 148162 h 422296"/>
              <a:gd name="connsiteX457" fmla="*/ 3265140 w 3332855"/>
              <a:gd name="connsiteY457" fmla="*/ 164633 h 422296"/>
              <a:gd name="connsiteX458" fmla="*/ 3251110 w 3332855"/>
              <a:gd name="connsiteY458" fmla="*/ 162193 h 422296"/>
              <a:gd name="connsiteX459" fmla="*/ 3254160 w 3332855"/>
              <a:gd name="connsiteY459" fmla="*/ 171649 h 422296"/>
              <a:gd name="connsiteX460" fmla="*/ 3250804 w 3332855"/>
              <a:gd name="connsiteY460" fmla="*/ 173478 h 422296"/>
              <a:gd name="connsiteX461" fmla="*/ 3241044 w 3332855"/>
              <a:gd name="connsiteY461" fmla="*/ 155483 h 422296"/>
              <a:gd name="connsiteX462" fmla="*/ 3260870 w 3332855"/>
              <a:gd name="connsiteY462" fmla="*/ 148162 h 422296"/>
              <a:gd name="connsiteX463" fmla="*/ 2822213 w 3332855"/>
              <a:gd name="connsiteY463" fmla="*/ 73806 h 422296"/>
              <a:gd name="connsiteX464" fmla="*/ 2820078 w 3332855"/>
              <a:gd name="connsiteY464" fmla="*/ 104002 h 422296"/>
              <a:gd name="connsiteX465" fmla="*/ 2782866 w 3332855"/>
              <a:gd name="connsiteY465" fmla="*/ 105223 h 422296"/>
              <a:gd name="connsiteX466" fmla="*/ 2766089 w 3332855"/>
              <a:gd name="connsiteY466" fmla="*/ 106748 h 422296"/>
              <a:gd name="connsiteX467" fmla="*/ 2742298 w 3332855"/>
              <a:gd name="connsiteY467" fmla="*/ 136029 h 422296"/>
              <a:gd name="connsiteX468" fmla="*/ 2812758 w 3332855"/>
              <a:gd name="connsiteY468" fmla="*/ 143044 h 422296"/>
              <a:gd name="connsiteX469" fmla="*/ 2819467 w 3332855"/>
              <a:gd name="connsiteY469" fmla="*/ 160735 h 422296"/>
              <a:gd name="connsiteX470" fmla="*/ 2862475 w 3332855"/>
              <a:gd name="connsiteY470" fmla="*/ 149450 h 422296"/>
              <a:gd name="connsiteX471" fmla="*/ 2837464 w 3332855"/>
              <a:gd name="connsiteY471" fmla="*/ 121084 h 422296"/>
              <a:gd name="connsiteX472" fmla="*/ 2850579 w 3332855"/>
              <a:gd name="connsiteY472" fmla="*/ 130843 h 422296"/>
              <a:gd name="connsiteX473" fmla="*/ 2843564 w 3332855"/>
              <a:gd name="connsiteY473" fmla="*/ 93632 h 422296"/>
              <a:gd name="connsiteX474" fmla="*/ 2822213 w 3332855"/>
              <a:gd name="connsiteY474" fmla="*/ 73806 h 422296"/>
              <a:gd name="connsiteX475" fmla="*/ 2803607 w 3332855"/>
              <a:gd name="connsiteY475" fmla="*/ 34153 h 422296"/>
              <a:gd name="connsiteX476" fmla="*/ 2798116 w 3332855"/>
              <a:gd name="connsiteY476" fmla="*/ 39339 h 422296"/>
              <a:gd name="connsiteX477" fmla="*/ 2813977 w 3332855"/>
              <a:gd name="connsiteY477" fmla="*/ 63436 h 422296"/>
              <a:gd name="connsiteX478" fmla="*/ 2819163 w 3332855"/>
              <a:gd name="connsiteY478" fmla="*/ 62520 h 422296"/>
              <a:gd name="connsiteX479" fmla="*/ 2817638 w 3332855"/>
              <a:gd name="connsiteY479" fmla="*/ 44524 h 422296"/>
              <a:gd name="connsiteX480" fmla="*/ 2803607 w 3332855"/>
              <a:gd name="connsiteY480" fmla="*/ 34153 h 422296"/>
              <a:gd name="connsiteX481" fmla="*/ 2607205 w 3332855"/>
              <a:gd name="connsiteY481" fmla="*/ 1831 h 422296"/>
              <a:gd name="connsiteX482" fmla="*/ 2605986 w 3332855"/>
              <a:gd name="connsiteY482" fmla="*/ 404148 h 422296"/>
              <a:gd name="connsiteX483" fmla="*/ 2499230 w 3332855"/>
              <a:gd name="connsiteY483" fmla="*/ 400487 h 422296"/>
              <a:gd name="connsiteX484" fmla="*/ 2485199 w 3332855"/>
              <a:gd name="connsiteY484" fmla="*/ 406588 h 422296"/>
              <a:gd name="connsiteX485" fmla="*/ 2485504 w 3332855"/>
              <a:gd name="connsiteY485" fmla="*/ 143969 h 422296"/>
              <a:gd name="connsiteX486" fmla="*/ 2481234 w 3332855"/>
              <a:gd name="connsiteY486" fmla="*/ 143054 h 422296"/>
              <a:gd name="connsiteX487" fmla="*/ 2465983 w 3332855"/>
              <a:gd name="connsiteY487" fmla="*/ 223578 h 422296"/>
              <a:gd name="connsiteX488" fmla="*/ 2434566 w 3332855"/>
              <a:gd name="connsiteY488" fmla="*/ 394387 h 422296"/>
              <a:gd name="connsiteX489" fmla="*/ 2423281 w 3332855"/>
              <a:gd name="connsiteY489" fmla="*/ 404148 h 422296"/>
              <a:gd name="connsiteX490" fmla="*/ 2356178 w 3332855"/>
              <a:gd name="connsiteY490" fmla="*/ 403843 h 422296"/>
              <a:gd name="connsiteX491" fmla="*/ 2345806 w 3332855"/>
              <a:gd name="connsiteY491" fmla="*/ 394998 h 422296"/>
              <a:gd name="connsiteX492" fmla="*/ 2306154 w 3332855"/>
              <a:gd name="connsiteY492" fmla="*/ 186976 h 422296"/>
              <a:gd name="connsiteX493" fmla="*/ 2312865 w 3332855"/>
              <a:gd name="connsiteY493" fmla="*/ 153424 h 422296"/>
              <a:gd name="connsiteX494" fmla="*/ 2283583 w 3332855"/>
              <a:gd name="connsiteY494" fmla="*/ 104927 h 422296"/>
              <a:gd name="connsiteX495" fmla="*/ 2257046 w 3332855"/>
              <a:gd name="connsiteY495" fmla="*/ 86930 h 422296"/>
              <a:gd name="connsiteX496" fmla="*/ 2241796 w 3332855"/>
              <a:gd name="connsiteY496" fmla="*/ 88456 h 422296"/>
              <a:gd name="connsiteX497" fmla="*/ 2241491 w 3332855"/>
              <a:gd name="connsiteY497" fmla="*/ 107977 h 422296"/>
              <a:gd name="connsiteX498" fmla="*/ 2250642 w 3332855"/>
              <a:gd name="connsiteY498" fmla="*/ 122007 h 422296"/>
              <a:gd name="connsiteX499" fmla="*/ 2258877 w 3332855"/>
              <a:gd name="connsiteY499" fmla="*/ 117127 h 422296"/>
              <a:gd name="connsiteX500" fmla="*/ 2261927 w 3332855"/>
              <a:gd name="connsiteY500" fmla="*/ 129023 h 422296"/>
              <a:gd name="connsiteX501" fmla="*/ 2267113 w 3332855"/>
              <a:gd name="connsiteY501" fmla="*/ 147323 h 422296"/>
              <a:gd name="connsiteX502" fmla="*/ 2293345 w 3332855"/>
              <a:gd name="connsiteY502" fmla="*/ 169895 h 422296"/>
              <a:gd name="connsiteX503" fmla="*/ 2292124 w 3332855"/>
              <a:gd name="connsiteY503" fmla="*/ 400183 h 422296"/>
              <a:gd name="connsiteX504" fmla="*/ 2189944 w 3332855"/>
              <a:gd name="connsiteY504" fmla="*/ 394998 h 422296"/>
              <a:gd name="connsiteX505" fmla="*/ 2174387 w 3332855"/>
              <a:gd name="connsiteY505" fmla="*/ 403233 h 422296"/>
              <a:gd name="connsiteX506" fmla="*/ 2170727 w 3332855"/>
              <a:gd name="connsiteY506" fmla="*/ 401098 h 422296"/>
              <a:gd name="connsiteX507" fmla="*/ 2179267 w 3332855"/>
              <a:gd name="connsiteY507" fmla="*/ 378222 h 422296"/>
              <a:gd name="connsiteX508" fmla="*/ 2171948 w 3332855"/>
              <a:gd name="connsiteY508" fmla="*/ 379137 h 422296"/>
              <a:gd name="connsiteX509" fmla="*/ 2172558 w 3332855"/>
              <a:gd name="connsiteY509" fmla="*/ 916 h 422296"/>
              <a:gd name="connsiteX510" fmla="*/ 2186589 w 3332855"/>
              <a:gd name="connsiteY510" fmla="*/ 1 h 422296"/>
              <a:gd name="connsiteX511" fmla="*/ 2339096 w 3332855"/>
              <a:gd name="connsiteY511" fmla="*/ 1 h 422296"/>
              <a:gd name="connsiteX512" fmla="*/ 2357397 w 3332855"/>
              <a:gd name="connsiteY512" fmla="*/ 15862 h 422296"/>
              <a:gd name="connsiteX513" fmla="*/ 2384544 w 3332855"/>
              <a:gd name="connsiteY513" fmla="*/ 161050 h 422296"/>
              <a:gd name="connsiteX514" fmla="*/ 2392779 w 3332855"/>
              <a:gd name="connsiteY514" fmla="*/ 183010 h 422296"/>
              <a:gd name="connsiteX515" fmla="*/ 2397965 w 3332855"/>
              <a:gd name="connsiteY515" fmla="*/ 158914 h 422296"/>
              <a:gd name="connsiteX516" fmla="*/ 2415960 w 3332855"/>
              <a:gd name="connsiteY516" fmla="*/ 71985 h 422296"/>
              <a:gd name="connsiteX517" fmla="*/ 2423585 w 3332855"/>
              <a:gd name="connsiteY517" fmla="*/ 11896 h 422296"/>
              <a:gd name="connsiteX518" fmla="*/ 2433955 w 3332855"/>
              <a:gd name="connsiteY518" fmla="*/ 1221 h 422296"/>
              <a:gd name="connsiteX519" fmla="*/ 2607205 w 3332855"/>
              <a:gd name="connsiteY519" fmla="*/ 1831 h 422296"/>
              <a:gd name="connsiteX520" fmla="*/ 2872846 w 3332855"/>
              <a:gd name="connsiteY520" fmla="*/ 1822 h 422296"/>
              <a:gd name="connsiteX521" fmla="*/ 2871931 w 3332855"/>
              <a:gd name="connsiteY521" fmla="*/ 405969 h 422296"/>
              <a:gd name="connsiteX522" fmla="*/ 2755719 w 3332855"/>
              <a:gd name="connsiteY522" fmla="*/ 402310 h 422296"/>
              <a:gd name="connsiteX523" fmla="*/ 2753279 w 3332855"/>
              <a:gd name="connsiteY523" fmla="*/ 381568 h 422296"/>
              <a:gd name="connsiteX524" fmla="*/ 2732843 w 3332855"/>
              <a:gd name="connsiteY524" fmla="*/ 358691 h 422296"/>
              <a:gd name="connsiteX525" fmla="*/ 2734063 w 3332855"/>
              <a:gd name="connsiteY525" fmla="*/ 71061 h 422296"/>
              <a:gd name="connsiteX526" fmla="*/ 2734064 w 3332855"/>
              <a:gd name="connsiteY526" fmla="*/ 11888 h 422296"/>
              <a:gd name="connsiteX527" fmla="*/ 2744434 w 3332855"/>
              <a:gd name="connsiteY527" fmla="*/ 1212 h 422296"/>
              <a:gd name="connsiteX528" fmla="*/ 2800252 w 3332855"/>
              <a:gd name="connsiteY528" fmla="*/ 2736 h 422296"/>
              <a:gd name="connsiteX529" fmla="*/ 2842039 w 3332855"/>
              <a:gd name="connsiteY529" fmla="*/ 1517 h 422296"/>
              <a:gd name="connsiteX530" fmla="*/ 2872846 w 3332855"/>
              <a:gd name="connsiteY530" fmla="*/ 1822 h 422296"/>
              <a:gd name="connsiteX531" fmla="*/ 3177792 w 3332855"/>
              <a:gd name="connsiteY531" fmla="*/ 230 h 422296"/>
              <a:gd name="connsiteX532" fmla="*/ 3283442 w 3332855"/>
              <a:gd name="connsiteY532" fmla="*/ 28902 h 422296"/>
              <a:gd name="connsiteX533" fmla="*/ 3324924 w 3332855"/>
              <a:gd name="connsiteY533" fmla="*/ 85939 h 422296"/>
              <a:gd name="connsiteX534" fmla="*/ 3332855 w 3332855"/>
              <a:gd name="connsiteY534" fmla="*/ 184459 h 422296"/>
              <a:gd name="connsiteX535" fmla="*/ 3287711 w 3332855"/>
              <a:gd name="connsiteY535" fmla="*/ 184765 h 422296"/>
              <a:gd name="connsiteX536" fmla="*/ 3287102 w 3332855"/>
              <a:gd name="connsiteY536" fmla="*/ 174089 h 422296"/>
              <a:gd name="connsiteX537" fmla="*/ 3277951 w 3332855"/>
              <a:gd name="connsiteY537" fmla="*/ 133217 h 422296"/>
              <a:gd name="connsiteX538" fmla="*/ 3273681 w 3332855"/>
              <a:gd name="connsiteY538" fmla="*/ 123762 h 422296"/>
              <a:gd name="connsiteX539" fmla="*/ 3263615 w 3332855"/>
              <a:gd name="connsiteY539" fmla="*/ 107901 h 422296"/>
              <a:gd name="connsiteX540" fmla="*/ 3253855 w 3332855"/>
              <a:gd name="connsiteY540" fmla="*/ 92650 h 422296"/>
              <a:gd name="connsiteX541" fmla="*/ 3256600 w 3332855"/>
              <a:gd name="connsiteY541" fmla="*/ 88990 h 422296"/>
              <a:gd name="connsiteX542" fmla="*/ 3220304 w 3332855"/>
              <a:gd name="connsiteY542" fmla="*/ 83499 h 422296"/>
              <a:gd name="connsiteX543" fmla="*/ 3222133 w 3332855"/>
              <a:gd name="connsiteY543" fmla="*/ 66114 h 422296"/>
              <a:gd name="connsiteX544" fmla="*/ 3210848 w 3332855"/>
              <a:gd name="connsiteY544" fmla="*/ 132302 h 422296"/>
              <a:gd name="connsiteX545" fmla="*/ 3217863 w 3332855"/>
              <a:gd name="connsiteY545" fmla="*/ 130472 h 422296"/>
              <a:gd name="connsiteX546" fmla="*/ 3237079 w 3332855"/>
              <a:gd name="connsiteY546" fmla="*/ 129862 h 422296"/>
              <a:gd name="connsiteX547" fmla="*/ 3240129 w 3332855"/>
              <a:gd name="connsiteY547" fmla="*/ 149689 h 422296"/>
              <a:gd name="connsiteX548" fmla="*/ 3240421 w 3332855"/>
              <a:gd name="connsiteY548" fmla="*/ 156719 h 422296"/>
              <a:gd name="connsiteX549" fmla="*/ 3231589 w 3332855"/>
              <a:gd name="connsiteY549" fmla="*/ 168294 h 422296"/>
              <a:gd name="connsiteX550" fmla="*/ 3206883 w 3332855"/>
              <a:gd name="connsiteY550" fmla="*/ 183850 h 422296"/>
              <a:gd name="connsiteX551" fmla="*/ 3192851 w 3332855"/>
              <a:gd name="connsiteY551" fmla="*/ 183240 h 422296"/>
              <a:gd name="connsiteX552" fmla="*/ 3192547 w 3332855"/>
              <a:gd name="connsiteY552" fmla="*/ 128947 h 422296"/>
              <a:gd name="connsiteX553" fmla="*/ 3184616 w 3332855"/>
              <a:gd name="connsiteY553" fmla="*/ 63978 h 422296"/>
              <a:gd name="connsiteX554" fmla="*/ 3171500 w 3332855"/>
              <a:gd name="connsiteY554" fmla="*/ 50253 h 422296"/>
              <a:gd name="connsiteX555" fmla="*/ 3173330 w 3332855"/>
              <a:gd name="connsiteY555" fmla="*/ 36832 h 422296"/>
              <a:gd name="connsiteX556" fmla="*/ 3136424 w 3332855"/>
              <a:gd name="connsiteY556" fmla="*/ 36832 h 422296"/>
              <a:gd name="connsiteX557" fmla="*/ 3136119 w 3332855"/>
              <a:gd name="connsiteY557" fmla="*/ 54828 h 422296"/>
              <a:gd name="connsiteX558" fmla="*/ 3155640 w 3332855"/>
              <a:gd name="connsiteY558" fmla="*/ 41407 h 422296"/>
              <a:gd name="connsiteX559" fmla="*/ 3144355 w 3332855"/>
              <a:gd name="connsiteY559" fmla="*/ 56964 h 422296"/>
              <a:gd name="connsiteX560" fmla="*/ 3138864 w 3332855"/>
              <a:gd name="connsiteY560" fmla="*/ 62453 h 422296"/>
              <a:gd name="connsiteX561" fmla="*/ 3128188 w 3332855"/>
              <a:gd name="connsiteY561" fmla="*/ 94785 h 422296"/>
              <a:gd name="connsiteX562" fmla="*/ 3137948 w 3332855"/>
              <a:gd name="connsiteY562" fmla="*/ 91735 h 422296"/>
              <a:gd name="connsiteX563" fmla="*/ 3123918 w 3332855"/>
              <a:gd name="connsiteY563" fmla="*/ 108206 h 422296"/>
              <a:gd name="connsiteX564" fmla="*/ 3102262 w 3332855"/>
              <a:gd name="connsiteY564" fmla="*/ 99055 h 422296"/>
              <a:gd name="connsiteX565" fmla="*/ 3137949 w 3332855"/>
              <a:gd name="connsiteY565" fmla="*/ 122846 h 422296"/>
              <a:gd name="connsiteX566" fmla="*/ 3137949 w 3332855"/>
              <a:gd name="connsiteY566" fmla="*/ 219536 h 422296"/>
              <a:gd name="connsiteX567" fmla="*/ 3139168 w 3332855"/>
              <a:gd name="connsiteY567" fmla="*/ 329038 h 422296"/>
              <a:gd name="connsiteX568" fmla="*/ 3166620 w 3332855"/>
              <a:gd name="connsiteY568" fmla="*/ 353745 h 422296"/>
              <a:gd name="connsiteX569" fmla="*/ 3189802 w 3332855"/>
              <a:gd name="connsiteY569" fmla="*/ 332698 h 422296"/>
              <a:gd name="connsiteX570" fmla="*/ 3191936 w 3332855"/>
              <a:gd name="connsiteY570" fmla="*/ 272000 h 422296"/>
              <a:gd name="connsiteX571" fmla="*/ 3191327 w 3332855"/>
              <a:gd name="connsiteY571" fmla="*/ 253394 h 422296"/>
              <a:gd name="connsiteX572" fmla="*/ 3330414 w 3332855"/>
              <a:gd name="connsiteY572" fmla="*/ 253394 h 422296"/>
              <a:gd name="connsiteX573" fmla="*/ 3327974 w 3332855"/>
              <a:gd name="connsiteY573" fmla="*/ 312567 h 422296"/>
              <a:gd name="connsiteX574" fmla="*/ 3260565 w 3332855"/>
              <a:gd name="connsiteY574" fmla="*/ 404377 h 422296"/>
              <a:gd name="connsiteX575" fmla="*/ 3065660 w 3332855"/>
              <a:gd name="connsiteY575" fmla="*/ 404987 h 422296"/>
              <a:gd name="connsiteX576" fmla="*/ 3002522 w 3332855"/>
              <a:gd name="connsiteY576" fmla="*/ 325377 h 422296"/>
              <a:gd name="connsiteX577" fmla="*/ 2998556 w 3332855"/>
              <a:gd name="connsiteY577" fmla="*/ 177749 h 422296"/>
              <a:gd name="connsiteX578" fmla="*/ 2999166 w 3332855"/>
              <a:gd name="connsiteY578" fmla="*/ 118271 h 422296"/>
              <a:gd name="connsiteX579" fmla="*/ 3069625 w 3332855"/>
              <a:gd name="connsiteY579" fmla="*/ 17311 h 422296"/>
              <a:gd name="connsiteX580" fmla="*/ 3177792 w 3332855"/>
              <a:gd name="connsiteY580" fmla="*/ 230 h 422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</a:cxnLst>
            <a:rect l="l" t="t" r="r" b="b"/>
            <a:pathLst>
              <a:path w="3332855" h="422296">
                <a:moveTo>
                  <a:pt x="453073" y="336758"/>
                </a:moveTo>
                <a:cubicBezTo>
                  <a:pt x="452158" y="336147"/>
                  <a:pt x="447278" y="339808"/>
                  <a:pt x="444228" y="341333"/>
                </a:cubicBezTo>
                <a:cubicBezTo>
                  <a:pt x="448499" y="348653"/>
                  <a:pt x="452463" y="355974"/>
                  <a:pt x="457649" y="364819"/>
                </a:cubicBezTo>
                <a:cubicBezTo>
                  <a:pt x="464664" y="361464"/>
                  <a:pt x="468934" y="359329"/>
                  <a:pt x="472900" y="357194"/>
                </a:cubicBezTo>
                <a:cubicBezTo>
                  <a:pt x="466494" y="350484"/>
                  <a:pt x="460089" y="343163"/>
                  <a:pt x="453073" y="336758"/>
                </a:cubicBezTo>
                <a:close/>
                <a:moveTo>
                  <a:pt x="671160" y="321507"/>
                </a:moveTo>
                <a:cubicBezTo>
                  <a:pt x="658655" y="317542"/>
                  <a:pt x="652249" y="320287"/>
                  <a:pt x="649199" y="333098"/>
                </a:cubicBezTo>
                <a:cubicBezTo>
                  <a:pt x="648590" y="335538"/>
                  <a:pt x="644318" y="337062"/>
                  <a:pt x="641573" y="338588"/>
                </a:cubicBezTo>
                <a:cubicBezTo>
                  <a:pt x="647979" y="346823"/>
                  <a:pt x="654385" y="355363"/>
                  <a:pt x="660485" y="363599"/>
                </a:cubicBezTo>
                <a:cubicBezTo>
                  <a:pt x="669634" y="355059"/>
                  <a:pt x="676650" y="348348"/>
                  <a:pt x="683970" y="341333"/>
                </a:cubicBezTo>
                <a:cubicBezTo>
                  <a:pt x="685495" y="344688"/>
                  <a:pt x="685191" y="346214"/>
                  <a:pt x="684886" y="347433"/>
                </a:cubicBezTo>
                <a:cubicBezTo>
                  <a:pt x="683971" y="352008"/>
                  <a:pt x="682750" y="356279"/>
                  <a:pt x="682751" y="360549"/>
                </a:cubicBezTo>
                <a:cubicBezTo>
                  <a:pt x="682751" y="361464"/>
                  <a:pt x="688851" y="363905"/>
                  <a:pt x="690071" y="362989"/>
                </a:cubicBezTo>
                <a:cubicBezTo>
                  <a:pt x="694646" y="360244"/>
                  <a:pt x="700136" y="356584"/>
                  <a:pt x="701356" y="352008"/>
                </a:cubicBezTo>
                <a:cubicBezTo>
                  <a:pt x="703492" y="344078"/>
                  <a:pt x="702577" y="335538"/>
                  <a:pt x="702881" y="326997"/>
                </a:cubicBezTo>
                <a:cubicBezTo>
                  <a:pt x="693121" y="325472"/>
                  <a:pt x="681531" y="324862"/>
                  <a:pt x="671160" y="321507"/>
                </a:cubicBezTo>
                <a:close/>
                <a:moveTo>
                  <a:pt x="922854" y="313869"/>
                </a:moveTo>
                <a:cubicBezTo>
                  <a:pt x="918278" y="324545"/>
                  <a:pt x="910957" y="334610"/>
                  <a:pt x="910043" y="345286"/>
                </a:cubicBezTo>
                <a:cubicBezTo>
                  <a:pt x="909127" y="354741"/>
                  <a:pt x="915228" y="364502"/>
                  <a:pt x="918279" y="374263"/>
                </a:cubicBezTo>
                <a:cubicBezTo>
                  <a:pt x="919803" y="375178"/>
                  <a:pt x="921328" y="375787"/>
                  <a:pt x="922854" y="376702"/>
                </a:cubicBezTo>
                <a:cubicBezTo>
                  <a:pt x="920413" y="357181"/>
                  <a:pt x="930783" y="355656"/>
                  <a:pt x="942069" y="359926"/>
                </a:cubicBezTo>
                <a:cubicBezTo>
                  <a:pt x="952441" y="363892"/>
                  <a:pt x="953660" y="357181"/>
                  <a:pt x="957320" y="350776"/>
                </a:cubicBezTo>
                <a:cubicBezTo>
                  <a:pt x="951525" y="348335"/>
                  <a:pt x="946645" y="346201"/>
                  <a:pt x="940240" y="343150"/>
                </a:cubicBezTo>
                <a:cubicBezTo>
                  <a:pt x="944205" y="336135"/>
                  <a:pt x="947560" y="330340"/>
                  <a:pt x="952441" y="322409"/>
                </a:cubicBezTo>
                <a:cubicBezTo>
                  <a:pt x="942069" y="319359"/>
                  <a:pt x="932920" y="316920"/>
                  <a:pt x="922854" y="313869"/>
                </a:cubicBezTo>
                <a:close/>
                <a:moveTo>
                  <a:pt x="1186223" y="343028"/>
                </a:moveTo>
                <a:cubicBezTo>
                  <a:pt x="1174266" y="345332"/>
                  <a:pt x="1161951" y="347876"/>
                  <a:pt x="1146705" y="351084"/>
                </a:cubicBezTo>
                <a:cubicBezTo>
                  <a:pt x="1148989" y="355266"/>
                  <a:pt x="1150138" y="360467"/>
                  <a:pt x="1153498" y="363929"/>
                </a:cubicBezTo>
                <a:cubicBezTo>
                  <a:pt x="1161773" y="372402"/>
                  <a:pt x="1170798" y="369209"/>
                  <a:pt x="1178078" y="362251"/>
                </a:cubicBezTo>
                <a:cubicBezTo>
                  <a:pt x="1183091" y="357333"/>
                  <a:pt x="1186602" y="350564"/>
                  <a:pt x="1190835" y="344871"/>
                </a:cubicBezTo>
                <a:cubicBezTo>
                  <a:pt x="1189158" y="343918"/>
                  <a:pt x="1187722" y="343323"/>
                  <a:pt x="1186223" y="343028"/>
                </a:cubicBezTo>
                <a:close/>
                <a:moveTo>
                  <a:pt x="725758" y="239152"/>
                </a:moveTo>
                <a:cubicBezTo>
                  <a:pt x="723318" y="239763"/>
                  <a:pt x="719048" y="240982"/>
                  <a:pt x="719353" y="241288"/>
                </a:cubicBezTo>
                <a:cubicBezTo>
                  <a:pt x="720267" y="248303"/>
                  <a:pt x="721794" y="255318"/>
                  <a:pt x="723012" y="262334"/>
                </a:cubicBezTo>
                <a:cubicBezTo>
                  <a:pt x="726063" y="261724"/>
                  <a:pt x="728809" y="260809"/>
                  <a:pt x="731858" y="260198"/>
                </a:cubicBezTo>
                <a:cubicBezTo>
                  <a:pt x="729723" y="253183"/>
                  <a:pt x="727893" y="246168"/>
                  <a:pt x="725758" y="239152"/>
                </a:cubicBezTo>
                <a:close/>
                <a:moveTo>
                  <a:pt x="197650" y="159355"/>
                </a:moveTo>
                <a:cubicBezTo>
                  <a:pt x="196735" y="158746"/>
                  <a:pt x="189109" y="162406"/>
                  <a:pt x="189109" y="164540"/>
                </a:cubicBezTo>
                <a:cubicBezTo>
                  <a:pt x="188195" y="178877"/>
                  <a:pt x="188499" y="192907"/>
                  <a:pt x="188195" y="206938"/>
                </a:cubicBezTo>
                <a:cubicBezTo>
                  <a:pt x="188195" y="213343"/>
                  <a:pt x="187890" y="219443"/>
                  <a:pt x="187584" y="227679"/>
                </a:cubicBezTo>
                <a:cubicBezTo>
                  <a:pt x="190635" y="225849"/>
                  <a:pt x="197039" y="222798"/>
                  <a:pt x="196735" y="221883"/>
                </a:cubicBezTo>
                <a:cubicBezTo>
                  <a:pt x="191854" y="203278"/>
                  <a:pt x="196735" y="187111"/>
                  <a:pt x="207715" y="171556"/>
                </a:cubicBezTo>
                <a:cubicBezTo>
                  <a:pt x="208325" y="170335"/>
                  <a:pt x="201920" y="162710"/>
                  <a:pt x="197650" y="159355"/>
                </a:cubicBezTo>
                <a:close/>
                <a:moveTo>
                  <a:pt x="970400" y="254264"/>
                </a:moveTo>
                <a:cubicBezTo>
                  <a:pt x="958242" y="261024"/>
                  <a:pt x="945087" y="268245"/>
                  <a:pt x="932279" y="275213"/>
                </a:cubicBezTo>
                <a:cubicBezTo>
                  <a:pt x="932348" y="276768"/>
                  <a:pt x="932763" y="278066"/>
                  <a:pt x="932832" y="279619"/>
                </a:cubicBezTo>
                <a:cubicBezTo>
                  <a:pt x="940044" y="278885"/>
                  <a:pt x="946909" y="278405"/>
                  <a:pt x="953774" y="277924"/>
                </a:cubicBezTo>
                <a:cubicBezTo>
                  <a:pt x="956389" y="282960"/>
                  <a:pt x="959515" y="288691"/>
                  <a:pt x="962338" y="294375"/>
                </a:cubicBezTo>
                <a:cubicBezTo>
                  <a:pt x="964540" y="294098"/>
                  <a:pt x="966490" y="293475"/>
                  <a:pt x="968136" y="292804"/>
                </a:cubicBezTo>
                <a:cubicBezTo>
                  <a:pt x="963674" y="279766"/>
                  <a:pt x="987196" y="271371"/>
                  <a:pt x="970400" y="254264"/>
                </a:cubicBezTo>
                <a:close/>
                <a:moveTo>
                  <a:pt x="1371353" y="309287"/>
                </a:moveTo>
                <a:cubicBezTo>
                  <a:pt x="1366779" y="319963"/>
                  <a:pt x="1359458" y="330028"/>
                  <a:pt x="1358543" y="340704"/>
                </a:cubicBezTo>
                <a:cubicBezTo>
                  <a:pt x="1357628" y="350159"/>
                  <a:pt x="1363729" y="359920"/>
                  <a:pt x="1366779" y="369680"/>
                </a:cubicBezTo>
                <a:cubicBezTo>
                  <a:pt x="1368304" y="370595"/>
                  <a:pt x="1369829" y="371205"/>
                  <a:pt x="1371353" y="372120"/>
                </a:cubicBezTo>
                <a:cubicBezTo>
                  <a:pt x="1368914" y="352599"/>
                  <a:pt x="1379284" y="351074"/>
                  <a:pt x="1390570" y="355344"/>
                </a:cubicBezTo>
                <a:cubicBezTo>
                  <a:pt x="1400941" y="359309"/>
                  <a:pt x="1402161" y="352904"/>
                  <a:pt x="1405821" y="345889"/>
                </a:cubicBezTo>
                <a:cubicBezTo>
                  <a:pt x="1400026" y="343449"/>
                  <a:pt x="1395145" y="341313"/>
                  <a:pt x="1388740" y="338263"/>
                </a:cubicBezTo>
                <a:cubicBezTo>
                  <a:pt x="1392705" y="331248"/>
                  <a:pt x="1396060" y="325452"/>
                  <a:pt x="1400941" y="317522"/>
                </a:cubicBezTo>
                <a:cubicBezTo>
                  <a:pt x="1390875" y="314777"/>
                  <a:pt x="1381725" y="312337"/>
                  <a:pt x="1371353" y="309287"/>
                </a:cubicBezTo>
                <a:close/>
                <a:moveTo>
                  <a:pt x="735518" y="194925"/>
                </a:moveTo>
                <a:cubicBezTo>
                  <a:pt x="725452" y="194010"/>
                  <a:pt x="714166" y="190655"/>
                  <a:pt x="705017" y="193400"/>
                </a:cubicBezTo>
                <a:cubicBezTo>
                  <a:pt x="700136" y="194620"/>
                  <a:pt x="696781" y="206820"/>
                  <a:pt x="695866" y="214447"/>
                </a:cubicBezTo>
                <a:cubicBezTo>
                  <a:pt x="694342" y="228477"/>
                  <a:pt x="689156" y="235493"/>
                  <a:pt x="674515" y="232442"/>
                </a:cubicBezTo>
                <a:cubicBezTo>
                  <a:pt x="664450" y="230307"/>
                  <a:pt x="659570" y="233357"/>
                  <a:pt x="658045" y="244033"/>
                </a:cubicBezTo>
                <a:cubicBezTo>
                  <a:pt x="656824" y="251964"/>
                  <a:pt x="663230" y="277890"/>
                  <a:pt x="670245" y="281550"/>
                </a:cubicBezTo>
                <a:cubicBezTo>
                  <a:pt x="672380" y="282769"/>
                  <a:pt x="676649" y="280329"/>
                  <a:pt x="679701" y="278805"/>
                </a:cubicBezTo>
                <a:cubicBezTo>
                  <a:pt x="682750" y="277280"/>
                  <a:pt x="684886" y="274840"/>
                  <a:pt x="687631" y="272704"/>
                </a:cubicBezTo>
                <a:cubicBezTo>
                  <a:pt x="688241" y="273619"/>
                  <a:pt x="689156" y="274229"/>
                  <a:pt x="689766" y="275144"/>
                </a:cubicBezTo>
                <a:cubicBezTo>
                  <a:pt x="686716" y="281245"/>
                  <a:pt x="683361" y="287040"/>
                  <a:pt x="680310" y="293141"/>
                </a:cubicBezTo>
                <a:cubicBezTo>
                  <a:pt x="680921" y="293751"/>
                  <a:pt x="681835" y="294360"/>
                  <a:pt x="682750" y="294970"/>
                </a:cubicBezTo>
                <a:cubicBezTo>
                  <a:pt x="685496" y="293141"/>
                  <a:pt x="688241" y="291615"/>
                  <a:pt x="690986" y="289785"/>
                </a:cubicBezTo>
                <a:cubicBezTo>
                  <a:pt x="693121" y="294056"/>
                  <a:pt x="695562" y="298326"/>
                  <a:pt x="698307" y="303816"/>
                </a:cubicBezTo>
                <a:cubicBezTo>
                  <a:pt x="706847" y="289480"/>
                  <a:pt x="714167" y="277280"/>
                  <a:pt x="719353" y="268740"/>
                </a:cubicBezTo>
                <a:cubicBezTo>
                  <a:pt x="713252" y="252268"/>
                  <a:pt x="708372" y="238542"/>
                  <a:pt x="703186" y="224512"/>
                </a:cubicBezTo>
                <a:cubicBezTo>
                  <a:pt x="708372" y="221157"/>
                  <a:pt x="714472" y="217801"/>
                  <a:pt x="720268" y="214141"/>
                </a:cubicBezTo>
                <a:cubicBezTo>
                  <a:pt x="725758" y="209566"/>
                  <a:pt x="730943" y="204991"/>
                  <a:pt x="736434" y="200416"/>
                </a:cubicBezTo>
                <a:cubicBezTo>
                  <a:pt x="736129" y="198586"/>
                  <a:pt x="735824" y="196755"/>
                  <a:pt x="735518" y="194925"/>
                </a:cubicBezTo>
                <a:close/>
                <a:moveTo>
                  <a:pt x="1145935" y="246359"/>
                </a:moveTo>
                <a:cubicBezTo>
                  <a:pt x="1143921" y="246005"/>
                  <a:pt x="1142329" y="246634"/>
                  <a:pt x="1140994" y="247788"/>
                </a:cubicBezTo>
                <a:cubicBezTo>
                  <a:pt x="1138324" y="250098"/>
                  <a:pt x="1136674" y="254514"/>
                  <a:pt x="1134708" y="257391"/>
                </a:cubicBezTo>
                <a:cubicBezTo>
                  <a:pt x="1138984" y="268805"/>
                  <a:pt x="1142839" y="279203"/>
                  <a:pt x="1147659" y="292591"/>
                </a:cubicBezTo>
                <a:cubicBezTo>
                  <a:pt x="1152422" y="284205"/>
                  <a:pt x="1155222" y="279472"/>
                  <a:pt x="1157663" y="274979"/>
                </a:cubicBezTo>
                <a:cubicBezTo>
                  <a:pt x="1178504" y="284377"/>
                  <a:pt x="1183103" y="281554"/>
                  <a:pt x="1186036" y="258815"/>
                </a:cubicBezTo>
                <a:cubicBezTo>
                  <a:pt x="1174318" y="261477"/>
                  <a:pt x="1162600" y="264140"/>
                  <a:pt x="1148552" y="267585"/>
                </a:cubicBezTo>
                <a:cubicBezTo>
                  <a:pt x="1150686" y="259922"/>
                  <a:pt x="1152230" y="255252"/>
                  <a:pt x="1153414" y="250824"/>
                </a:cubicBezTo>
                <a:cubicBezTo>
                  <a:pt x="1150386" y="248050"/>
                  <a:pt x="1147949" y="246713"/>
                  <a:pt x="1145935" y="246359"/>
                </a:cubicBezTo>
                <a:close/>
                <a:moveTo>
                  <a:pt x="162883" y="68160"/>
                </a:moveTo>
                <a:cubicBezTo>
                  <a:pt x="156759" y="67488"/>
                  <a:pt x="149381" y="67927"/>
                  <a:pt x="140612" y="69375"/>
                </a:cubicBezTo>
                <a:cubicBezTo>
                  <a:pt x="140307" y="101097"/>
                  <a:pt x="140002" y="131904"/>
                  <a:pt x="140307" y="162710"/>
                </a:cubicBezTo>
                <a:cubicBezTo>
                  <a:pt x="140307" y="166065"/>
                  <a:pt x="142442" y="171251"/>
                  <a:pt x="145187" y="172471"/>
                </a:cubicBezTo>
                <a:cubicBezTo>
                  <a:pt x="161049" y="180096"/>
                  <a:pt x="184839" y="167286"/>
                  <a:pt x="186669" y="149290"/>
                </a:cubicBezTo>
                <a:cubicBezTo>
                  <a:pt x="187890" y="135259"/>
                  <a:pt x="187584" y="120923"/>
                  <a:pt x="187890" y="106892"/>
                </a:cubicBezTo>
                <a:cubicBezTo>
                  <a:pt x="188347" y="82186"/>
                  <a:pt x="181256" y="70176"/>
                  <a:pt x="162883" y="68160"/>
                </a:cubicBezTo>
                <a:close/>
                <a:moveTo>
                  <a:pt x="2042658" y="322709"/>
                </a:moveTo>
                <a:cubicBezTo>
                  <a:pt x="2042658" y="337960"/>
                  <a:pt x="2042353" y="348025"/>
                  <a:pt x="2042353" y="360531"/>
                </a:cubicBezTo>
                <a:cubicBezTo>
                  <a:pt x="2028627" y="353820"/>
                  <a:pt x="2014901" y="349246"/>
                  <a:pt x="2020391" y="332774"/>
                </a:cubicBezTo>
                <a:cubicBezTo>
                  <a:pt x="2021917" y="328199"/>
                  <a:pt x="2032896" y="326979"/>
                  <a:pt x="2042658" y="322709"/>
                </a:cubicBezTo>
                <a:close/>
                <a:moveTo>
                  <a:pt x="1620552" y="251943"/>
                </a:moveTo>
                <a:cubicBezTo>
                  <a:pt x="1609267" y="256519"/>
                  <a:pt x="1597675" y="261399"/>
                  <a:pt x="1583341" y="267500"/>
                </a:cubicBezTo>
                <a:cubicBezTo>
                  <a:pt x="1586391" y="271160"/>
                  <a:pt x="1588526" y="276040"/>
                  <a:pt x="1592491" y="278785"/>
                </a:cubicBezTo>
                <a:cubicBezTo>
                  <a:pt x="1602251" y="285495"/>
                  <a:pt x="1610487" y="280615"/>
                  <a:pt x="1616283" y="272380"/>
                </a:cubicBezTo>
                <a:cubicBezTo>
                  <a:pt x="1620247" y="266585"/>
                  <a:pt x="1622383" y="259569"/>
                  <a:pt x="1625738" y="253164"/>
                </a:cubicBezTo>
                <a:cubicBezTo>
                  <a:pt x="1623908" y="252858"/>
                  <a:pt x="1622383" y="252249"/>
                  <a:pt x="1620552" y="251943"/>
                </a:cubicBezTo>
                <a:close/>
                <a:moveTo>
                  <a:pt x="610156" y="98540"/>
                </a:moveTo>
                <a:cubicBezTo>
                  <a:pt x="608937" y="98540"/>
                  <a:pt x="607717" y="98539"/>
                  <a:pt x="606497" y="98540"/>
                </a:cubicBezTo>
                <a:cubicBezTo>
                  <a:pt x="601616" y="123552"/>
                  <a:pt x="597041" y="148563"/>
                  <a:pt x="592161" y="173574"/>
                </a:cubicBezTo>
                <a:cubicBezTo>
                  <a:pt x="584230" y="156798"/>
                  <a:pt x="584230" y="156798"/>
                  <a:pt x="555864" y="173269"/>
                </a:cubicBezTo>
                <a:cubicBezTo>
                  <a:pt x="558914" y="180589"/>
                  <a:pt x="561050" y="188215"/>
                  <a:pt x="565014" y="194620"/>
                </a:cubicBezTo>
                <a:cubicBezTo>
                  <a:pt x="574165" y="209261"/>
                  <a:pt x="569284" y="224207"/>
                  <a:pt x="551289" y="229087"/>
                </a:cubicBezTo>
                <a:cubicBezTo>
                  <a:pt x="550068" y="224512"/>
                  <a:pt x="549763" y="218411"/>
                  <a:pt x="546714" y="215362"/>
                </a:cubicBezTo>
                <a:cubicBezTo>
                  <a:pt x="542749" y="211396"/>
                  <a:pt x="536343" y="208651"/>
                  <a:pt x="530852" y="207431"/>
                </a:cubicBezTo>
                <a:cubicBezTo>
                  <a:pt x="528107" y="206820"/>
                  <a:pt x="521702" y="210481"/>
                  <a:pt x="521703" y="212007"/>
                </a:cubicBezTo>
                <a:cubicBezTo>
                  <a:pt x="521703" y="216887"/>
                  <a:pt x="523228" y="222072"/>
                  <a:pt x="525667" y="226342"/>
                </a:cubicBezTo>
                <a:cubicBezTo>
                  <a:pt x="529937" y="234272"/>
                  <a:pt x="536648" y="240982"/>
                  <a:pt x="540003" y="248913"/>
                </a:cubicBezTo>
                <a:cubicBezTo>
                  <a:pt x="543968" y="258064"/>
                  <a:pt x="545188" y="258979"/>
                  <a:pt x="553119" y="253794"/>
                </a:cubicBezTo>
                <a:cubicBezTo>
                  <a:pt x="558304" y="250438"/>
                  <a:pt x="564100" y="247998"/>
                  <a:pt x="569590" y="245252"/>
                </a:cubicBezTo>
                <a:cubicBezTo>
                  <a:pt x="570504" y="246168"/>
                  <a:pt x="571115" y="246778"/>
                  <a:pt x="571724" y="247693"/>
                </a:cubicBezTo>
                <a:cubicBezTo>
                  <a:pt x="575081" y="239763"/>
                  <a:pt x="578436" y="232137"/>
                  <a:pt x="581790" y="224207"/>
                </a:cubicBezTo>
                <a:cubicBezTo>
                  <a:pt x="582400" y="224207"/>
                  <a:pt x="583315" y="224512"/>
                  <a:pt x="584230" y="224817"/>
                </a:cubicBezTo>
                <a:cubicBezTo>
                  <a:pt x="583010" y="236408"/>
                  <a:pt x="582096" y="248303"/>
                  <a:pt x="580569" y="262334"/>
                </a:cubicBezTo>
                <a:cubicBezTo>
                  <a:pt x="598870" y="262028"/>
                  <a:pt x="614122" y="262028"/>
                  <a:pt x="630593" y="262334"/>
                </a:cubicBezTo>
                <a:cubicBezTo>
                  <a:pt x="623578" y="206211"/>
                  <a:pt x="616868" y="152223"/>
                  <a:pt x="610156" y="98540"/>
                </a:cubicBezTo>
                <a:close/>
                <a:moveTo>
                  <a:pt x="249808" y="32773"/>
                </a:moveTo>
                <a:cubicBezTo>
                  <a:pt x="240353" y="66020"/>
                  <a:pt x="242487" y="69375"/>
                  <a:pt x="271769" y="63580"/>
                </a:cubicBezTo>
                <a:cubicBezTo>
                  <a:pt x="264144" y="52904"/>
                  <a:pt x="257738" y="43753"/>
                  <a:pt x="249808" y="32773"/>
                </a:cubicBezTo>
                <a:close/>
                <a:moveTo>
                  <a:pt x="224797" y="7152"/>
                </a:moveTo>
                <a:cubicBezTo>
                  <a:pt x="231202" y="8982"/>
                  <a:pt x="236082" y="14472"/>
                  <a:pt x="241572" y="18437"/>
                </a:cubicBezTo>
                <a:cubicBezTo>
                  <a:pt x="241572" y="20573"/>
                  <a:pt x="241267" y="22403"/>
                  <a:pt x="241268" y="24233"/>
                </a:cubicBezTo>
                <a:cubicBezTo>
                  <a:pt x="245842" y="21793"/>
                  <a:pt x="250113" y="19352"/>
                  <a:pt x="258043" y="14778"/>
                </a:cubicBezTo>
                <a:cubicBezTo>
                  <a:pt x="265669" y="19963"/>
                  <a:pt x="276649" y="26978"/>
                  <a:pt x="287630" y="34298"/>
                </a:cubicBezTo>
                <a:cubicBezTo>
                  <a:pt x="287019" y="35519"/>
                  <a:pt x="286104" y="36738"/>
                  <a:pt x="285494" y="37958"/>
                </a:cubicBezTo>
                <a:cubicBezTo>
                  <a:pt x="280919" y="35519"/>
                  <a:pt x="276345" y="32773"/>
                  <a:pt x="267193" y="27588"/>
                </a:cubicBezTo>
                <a:cubicBezTo>
                  <a:pt x="269024" y="36738"/>
                  <a:pt x="268414" y="45584"/>
                  <a:pt x="271158" y="46499"/>
                </a:cubicBezTo>
                <a:cubicBezTo>
                  <a:pt x="277259" y="48940"/>
                  <a:pt x="284885" y="47719"/>
                  <a:pt x="294950" y="48024"/>
                </a:cubicBezTo>
                <a:cubicBezTo>
                  <a:pt x="296170" y="52295"/>
                  <a:pt x="300440" y="60225"/>
                  <a:pt x="300746" y="68155"/>
                </a:cubicBezTo>
                <a:cubicBezTo>
                  <a:pt x="301660" y="105673"/>
                  <a:pt x="302270" y="143190"/>
                  <a:pt x="299525" y="180401"/>
                </a:cubicBezTo>
                <a:cubicBezTo>
                  <a:pt x="298610" y="203278"/>
                  <a:pt x="284579" y="219139"/>
                  <a:pt x="263228" y="227069"/>
                </a:cubicBezTo>
                <a:cubicBezTo>
                  <a:pt x="241268" y="235304"/>
                  <a:pt x="219611" y="240490"/>
                  <a:pt x="195210" y="237744"/>
                </a:cubicBezTo>
                <a:cubicBezTo>
                  <a:pt x="177519" y="235610"/>
                  <a:pt x="159219" y="240185"/>
                  <a:pt x="138782" y="242015"/>
                </a:cubicBezTo>
                <a:cubicBezTo>
                  <a:pt x="138782" y="288988"/>
                  <a:pt x="138477" y="336570"/>
                  <a:pt x="138172" y="387508"/>
                </a:cubicBezTo>
                <a:cubicBezTo>
                  <a:pt x="122617" y="366462"/>
                  <a:pt x="107975" y="349380"/>
                  <a:pt x="119871" y="324064"/>
                </a:cubicBezTo>
                <a:cubicBezTo>
                  <a:pt x="123226" y="317049"/>
                  <a:pt x="108890" y="298748"/>
                  <a:pt x="101265" y="300578"/>
                </a:cubicBezTo>
                <a:cubicBezTo>
                  <a:pt x="97910" y="301188"/>
                  <a:pt x="94555" y="308814"/>
                  <a:pt x="94249" y="313693"/>
                </a:cubicBezTo>
                <a:cubicBezTo>
                  <a:pt x="93335" y="322235"/>
                  <a:pt x="94859" y="331079"/>
                  <a:pt x="91809" y="339925"/>
                </a:cubicBezTo>
                <a:cubicBezTo>
                  <a:pt x="96385" y="346331"/>
                  <a:pt x="100959" y="352431"/>
                  <a:pt x="103705" y="356091"/>
                </a:cubicBezTo>
                <a:cubicBezTo>
                  <a:pt x="95165" y="368292"/>
                  <a:pt x="88455" y="378357"/>
                  <a:pt x="82659" y="386593"/>
                </a:cubicBezTo>
                <a:cubicBezTo>
                  <a:pt x="89674" y="387508"/>
                  <a:pt x="96689" y="388118"/>
                  <a:pt x="103400" y="388728"/>
                </a:cubicBezTo>
                <a:cubicBezTo>
                  <a:pt x="103095" y="390253"/>
                  <a:pt x="103095" y="391473"/>
                  <a:pt x="102790" y="392998"/>
                </a:cubicBezTo>
                <a:cubicBezTo>
                  <a:pt x="79914" y="390558"/>
                  <a:pt x="60393" y="413739"/>
                  <a:pt x="35077" y="400624"/>
                </a:cubicBezTo>
                <a:cubicBezTo>
                  <a:pt x="36602" y="399098"/>
                  <a:pt x="38126" y="396048"/>
                  <a:pt x="39652" y="396048"/>
                </a:cubicBezTo>
                <a:cubicBezTo>
                  <a:pt x="53378" y="396963"/>
                  <a:pt x="53072" y="387812"/>
                  <a:pt x="51547" y="378968"/>
                </a:cubicBezTo>
                <a:cubicBezTo>
                  <a:pt x="50023" y="370426"/>
                  <a:pt x="49717" y="363411"/>
                  <a:pt x="58563" y="358531"/>
                </a:cubicBezTo>
                <a:cubicBezTo>
                  <a:pt x="60393" y="357311"/>
                  <a:pt x="61308" y="351821"/>
                  <a:pt x="60698" y="348771"/>
                </a:cubicBezTo>
                <a:cubicBezTo>
                  <a:pt x="59478" y="340840"/>
                  <a:pt x="60088" y="335045"/>
                  <a:pt x="71984" y="334740"/>
                </a:cubicBezTo>
                <a:cubicBezTo>
                  <a:pt x="69543" y="340230"/>
                  <a:pt x="67409" y="344195"/>
                  <a:pt x="65273" y="348770"/>
                </a:cubicBezTo>
                <a:cubicBezTo>
                  <a:pt x="73204" y="346636"/>
                  <a:pt x="79915" y="344806"/>
                  <a:pt x="87539" y="342975"/>
                </a:cubicBezTo>
                <a:cubicBezTo>
                  <a:pt x="61613" y="330164"/>
                  <a:pt x="69543" y="301798"/>
                  <a:pt x="61308" y="279837"/>
                </a:cubicBezTo>
                <a:cubicBezTo>
                  <a:pt x="50938" y="281972"/>
                  <a:pt x="44227" y="294783"/>
                  <a:pt x="32941" y="285937"/>
                </a:cubicBezTo>
                <a:cubicBezTo>
                  <a:pt x="32637" y="285632"/>
                  <a:pt x="18606" y="286852"/>
                  <a:pt x="21351" y="299968"/>
                </a:cubicBezTo>
                <a:cubicBezTo>
                  <a:pt x="24401" y="316134"/>
                  <a:pt x="23791" y="333215"/>
                  <a:pt x="10065" y="346331"/>
                </a:cubicBezTo>
                <a:cubicBezTo>
                  <a:pt x="8845" y="347550"/>
                  <a:pt x="8845" y="352736"/>
                  <a:pt x="10065" y="353956"/>
                </a:cubicBezTo>
                <a:cubicBezTo>
                  <a:pt x="12200" y="356091"/>
                  <a:pt x="16165" y="357922"/>
                  <a:pt x="18911" y="357311"/>
                </a:cubicBezTo>
                <a:cubicBezTo>
                  <a:pt x="24096" y="356091"/>
                  <a:pt x="28671" y="353346"/>
                  <a:pt x="36907" y="352736"/>
                </a:cubicBezTo>
                <a:cubicBezTo>
                  <a:pt x="34771" y="356701"/>
                  <a:pt x="33552" y="363411"/>
                  <a:pt x="30501" y="364326"/>
                </a:cubicBezTo>
                <a:cubicBezTo>
                  <a:pt x="17080" y="367987"/>
                  <a:pt x="19826" y="375307"/>
                  <a:pt x="25011" y="383238"/>
                </a:cubicBezTo>
                <a:cubicBezTo>
                  <a:pt x="17995" y="390863"/>
                  <a:pt x="11285" y="397879"/>
                  <a:pt x="4879" y="404894"/>
                </a:cubicBezTo>
                <a:cubicBezTo>
                  <a:pt x="3355" y="404284"/>
                  <a:pt x="1525" y="403369"/>
                  <a:pt x="0" y="402454"/>
                </a:cubicBezTo>
                <a:cubicBezTo>
                  <a:pt x="609" y="268856"/>
                  <a:pt x="915" y="135259"/>
                  <a:pt x="1220" y="136"/>
                </a:cubicBezTo>
                <a:cubicBezTo>
                  <a:pt x="26537" y="136"/>
                  <a:pt x="50938" y="-168"/>
                  <a:pt x="75034" y="136"/>
                </a:cubicBezTo>
                <a:cubicBezTo>
                  <a:pt x="113466" y="747"/>
                  <a:pt x="152203" y="1051"/>
                  <a:pt x="190635" y="2272"/>
                </a:cubicBezTo>
                <a:cubicBezTo>
                  <a:pt x="202225" y="2577"/>
                  <a:pt x="213815" y="4102"/>
                  <a:pt x="224797" y="7152"/>
                </a:cubicBezTo>
                <a:close/>
                <a:moveTo>
                  <a:pt x="1183590" y="114519"/>
                </a:moveTo>
                <a:cubicBezTo>
                  <a:pt x="1182034" y="114522"/>
                  <a:pt x="1180719" y="114884"/>
                  <a:pt x="1179165" y="114889"/>
                </a:cubicBezTo>
                <a:cubicBezTo>
                  <a:pt x="1179601" y="122125"/>
                  <a:pt x="1179798" y="129005"/>
                  <a:pt x="1179994" y="135883"/>
                </a:cubicBezTo>
                <a:cubicBezTo>
                  <a:pt x="1174858" y="138288"/>
                  <a:pt x="1169002" y="141175"/>
                  <a:pt x="1163206" y="143762"/>
                </a:cubicBezTo>
                <a:cubicBezTo>
                  <a:pt x="1163391" y="145974"/>
                  <a:pt x="1163934" y="147947"/>
                  <a:pt x="1164538" y="149620"/>
                </a:cubicBezTo>
                <a:cubicBezTo>
                  <a:pt x="1177746" y="145699"/>
                  <a:pt x="1185166" y="169547"/>
                  <a:pt x="1202951" y="153470"/>
                </a:cubicBezTo>
                <a:cubicBezTo>
                  <a:pt x="1196698" y="141044"/>
                  <a:pt x="1190024" y="127602"/>
                  <a:pt x="1183590" y="114519"/>
                </a:cubicBezTo>
                <a:close/>
                <a:moveTo>
                  <a:pt x="2187503" y="252859"/>
                </a:moveTo>
                <a:cubicBezTo>
                  <a:pt x="2185673" y="266586"/>
                  <a:pt x="2180488" y="277871"/>
                  <a:pt x="2195434" y="282751"/>
                </a:cubicBezTo>
                <a:cubicBezTo>
                  <a:pt x="2192689" y="292207"/>
                  <a:pt x="2190249" y="301052"/>
                  <a:pt x="2187808" y="309898"/>
                </a:cubicBezTo>
                <a:cubicBezTo>
                  <a:pt x="2190249" y="310507"/>
                  <a:pt x="2192689" y="311423"/>
                  <a:pt x="2195129" y="312338"/>
                </a:cubicBezTo>
                <a:cubicBezTo>
                  <a:pt x="2200009" y="302273"/>
                  <a:pt x="2207329" y="292817"/>
                  <a:pt x="2209465" y="282141"/>
                </a:cubicBezTo>
                <a:cubicBezTo>
                  <a:pt x="2212820" y="266890"/>
                  <a:pt x="2198179" y="262316"/>
                  <a:pt x="2187503" y="252859"/>
                </a:cubicBezTo>
                <a:close/>
                <a:moveTo>
                  <a:pt x="1619943" y="166234"/>
                </a:moveTo>
                <a:cubicBezTo>
                  <a:pt x="1608961" y="171114"/>
                  <a:pt x="1598287" y="175994"/>
                  <a:pt x="1584865" y="182095"/>
                </a:cubicBezTo>
                <a:cubicBezTo>
                  <a:pt x="1585475" y="174165"/>
                  <a:pt x="1586086" y="169284"/>
                  <a:pt x="1586390" y="164709"/>
                </a:cubicBezTo>
                <a:cubicBezTo>
                  <a:pt x="1572360" y="156169"/>
                  <a:pt x="1572055" y="168369"/>
                  <a:pt x="1569309" y="174775"/>
                </a:cubicBezTo>
                <a:cubicBezTo>
                  <a:pt x="1575714" y="185145"/>
                  <a:pt x="1581510" y="194600"/>
                  <a:pt x="1588830" y="206801"/>
                </a:cubicBezTo>
                <a:cubicBezTo>
                  <a:pt x="1591881" y="197651"/>
                  <a:pt x="1593711" y="192466"/>
                  <a:pt x="1595236" y="187585"/>
                </a:cubicBezTo>
                <a:cubicBezTo>
                  <a:pt x="1617503" y="192770"/>
                  <a:pt x="1621467" y="189110"/>
                  <a:pt x="1619943" y="166234"/>
                </a:cubicBezTo>
                <a:close/>
                <a:moveTo>
                  <a:pt x="2779815" y="321785"/>
                </a:moveTo>
                <a:cubicBezTo>
                  <a:pt x="2777376" y="319649"/>
                  <a:pt x="2769445" y="319040"/>
                  <a:pt x="2767614" y="321174"/>
                </a:cubicBezTo>
                <a:cubicBezTo>
                  <a:pt x="2765175" y="323615"/>
                  <a:pt x="2764565" y="330631"/>
                  <a:pt x="2766395" y="333986"/>
                </a:cubicBezTo>
                <a:cubicBezTo>
                  <a:pt x="2770360" y="341001"/>
                  <a:pt x="2775545" y="347406"/>
                  <a:pt x="2781341" y="352591"/>
                </a:cubicBezTo>
                <a:cubicBezTo>
                  <a:pt x="2784696" y="355642"/>
                  <a:pt x="2791101" y="358997"/>
                  <a:pt x="2795067" y="357777"/>
                </a:cubicBezTo>
                <a:cubicBezTo>
                  <a:pt x="2802691" y="355642"/>
                  <a:pt x="2809707" y="350456"/>
                  <a:pt x="2814282" y="347711"/>
                </a:cubicBezTo>
                <a:cubicBezTo>
                  <a:pt x="2817333" y="335205"/>
                  <a:pt x="2807572" y="323919"/>
                  <a:pt x="2799031" y="327275"/>
                </a:cubicBezTo>
                <a:cubicBezTo>
                  <a:pt x="2789576" y="331240"/>
                  <a:pt x="2785611" y="327275"/>
                  <a:pt x="2779815" y="321785"/>
                </a:cubicBezTo>
                <a:close/>
                <a:moveTo>
                  <a:pt x="650757" y="2255"/>
                </a:moveTo>
                <a:cubicBezTo>
                  <a:pt x="660294" y="4614"/>
                  <a:pt x="660179" y="14737"/>
                  <a:pt x="661094" y="25031"/>
                </a:cubicBezTo>
                <a:cubicBezTo>
                  <a:pt x="675735" y="21676"/>
                  <a:pt x="689766" y="18320"/>
                  <a:pt x="706541" y="14356"/>
                </a:cubicBezTo>
                <a:cubicBezTo>
                  <a:pt x="710202" y="31742"/>
                  <a:pt x="714167" y="49433"/>
                  <a:pt x="719048" y="72613"/>
                </a:cubicBezTo>
                <a:cubicBezTo>
                  <a:pt x="706237" y="60413"/>
                  <a:pt x="697392" y="58888"/>
                  <a:pt x="690071" y="72308"/>
                </a:cubicBezTo>
                <a:cubicBezTo>
                  <a:pt x="701051" y="82374"/>
                  <a:pt x="727893" y="77189"/>
                  <a:pt x="723318" y="104336"/>
                </a:cubicBezTo>
                <a:cubicBezTo>
                  <a:pt x="713557" y="104945"/>
                  <a:pt x="701357" y="104640"/>
                  <a:pt x="704407" y="123246"/>
                </a:cubicBezTo>
                <a:cubicBezTo>
                  <a:pt x="710202" y="120806"/>
                  <a:pt x="714472" y="118976"/>
                  <a:pt x="722097" y="115621"/>
                </a:cubicBezTo>
                <a:cubicBezTo>
                  <a:pt x="723928" y="118671"/>
                  <a:pt x="728809" y="123856"/>
                  <a:pt x="730028" y="129652"/>
                </a:cubicBezTo>
                <a:cubicBezTo>
                  <a:pt x="735213" y="152833"/>
                  <a:pt x="739483" y="176319"/>
                  <a:pt x="744059" y="199806"/>
                </a:cubicBezTo>
                <a:cubicBezTo>
                  <a:pt x="747413" y="217192"/>
                  <a:pt x="744059" y="219936"/>
                  <a:pt x="726063" y="214447"/>
                </a:cubicBezTo>
                <a:cubicBezTo>
                  <a:pt x="724233" y="213836"/>
                  <a:pt x="722403" y="214141"/>
                  <a:pt x="720573" y="214141"/>
                </a:cubicBezTo>
                <a:cubicBezTo>
                  <a:pt x="718437" y="227562"/>
                  <a:pt x="720878" y="235797"/>
                  <a:pt x="737958" y="230917"/>
                </a:cubicBezTo>
                <a:cubicBezTo>
                  <a:pt x="741313" y="230002"/>
                  <a:pt x="750159" y="234578"/>
                  <a:pt x="750769" y="237933"/>
                </a:cubicBezTo>
                <a:cubicBezTo>
                  <a:pt x="762360" y="292836"/>
                  <a:pt x="773035" y="348043"/>
                  <a:pt x="784321" y="405081"/>
                </a:cubicBezTo>
                <a:cubicBezTo>
                  <a:pt x="736128" y="405081"/>
                  <a:pt x="689766" y="405081"/>
                  <a:pt x="639439" y="403862"/>
                </a:cubicBezTo>
                <a:cubicBezTo>
                  <a:pt x="640048" y="381290"/>
                  <a:pt x="640963" y="359633"/>
                  <a:pt x="641573" y="337978"/>
                </a:cubicBezTo>
                <a:cubicBezTo>
                  <a:pt x="640354" y="333098"/>
                  <a:pt x="639133" y="328217"/>
                  <a:pt x="636999" y="319677"/>
                </a:cubicBezTo>
                <a:cubicBezTo>
                  <a:pt x="630898" y="322727"/>
                  <a:pt x="624187" y="327607"/>
                  <a:pt x="616562" y="329743"/>
                </a:cubicBezTo>
                <a:cubicBezTo>
                  <a:pt x="609547" y="331573"/>
                  <a:pt x="601616" y="331267"/>
                  <a:pt x="593991" y="330658"/>
                </a:cubicBezTo>
                <a:cubicBezTo>
                  <a:pt x="585145" y="330352"/>
                  <a:pt x="581181" y="333402"/>
                  <a:pt x="580570" y="342553"/>
                </a:cubicBezTo>
                <a:cubicBezTo>
                  <a:pt x="579351" y="358414"/>
                  <a:pt x="577521" y="373970"/>
                  <a:pt x="574775" y="389526"/>
                </a:cubicBezTo>
                <a:cubicBezTo>
                  <a:pt x="573555" y="394406"/>
                  <a:pt x="569590" y="401116"/>
                  <a:pt x="565320" y="402641"/>
                </a:cubicBezTo>
                <a:cubicBezTo>
                  <a:pt x="560744" y="404166"/>
                  <a:pt x="553119" y="401726"/>
                  <a:pt x="549153" y="398371"/>
                </a:cubicBezTo>
                <a:cubicBezTo>
                  <a:pt x="539088" y="390136"/>
                  <a:pt x="530548" y="380070"/>
                  <a:pt x="519567" y="369090"/>
                </a:cubicBezTo>
                <a:cubicBezTo>
                  <a:pt x="516212" y="370309"/>
                  <a:pt x="509196" y="372749"/>
                  <a:pt x="500656" y="376105"/>
                </a:cubicBezTo>
                <a:cubicBezTo>
                  <a:pt x="504317" y="384950"/>
                  <a:pt x="507672" y="393491"/>
                  <a:pt x="511942" y="403556"/>
                </a:cubicBezTo>
                <a:cubicBezTo>
                  <a:pt x="486320" y="403556"/>
                  <a:pt x="459174" y="403556"/>
                  <a:pt x="427147" y="403556"/>
                </a:cubicBezTo>
                <a:cubicBezTo>
                  <a:pt x="434772" y="373970"/>
                  <a:pt x="442398" y="346518"/>
                  <a:pt x="448499" y="319067"/>
                </a:cubicBezTo>
                <a:cubicBezTo>
                  <a:pt x="450938" y="309001"/>
                  <a:pt x="448498" y="298326"/>
                  <a:pt x="450329" y="288260"/>
                </a:cubicBezTo>
                <a:cubicBezTo>
                  <a:pt x="466494" y="196755"/>
                  <a:pt x="483270" y="105251"/>
                  <a:pt x="499436" y="13746"/>
                </a:cubicBezTo>
                <a:cubicBezTo>
                  <a:pt x="501571" y="3070"/>
                  <a:pt x="505536" y="-285"/>
                  <a:pt x="516211" y="20"/>
                </a:cubicBezTo>
                <a:cubicBezTo>
                  <a:pt x="540613" y="935"/>
                  <a:pt x="565014" y="935"/>
                  <a:pt x="589416" y="325"/>
                </a:cubicBezTo>
                <a:cubicBezTo>
                  <a:pt x="600396" y="19"/>
                  <a:pt x="604667" y="5815"/>
                  <a:pt x="609242" y="14661"/>
                </a:cubicBezTo>
                <a:cubicBezTo>
                  <a:pt x="615647" y="26556"/>
                  <a:pt x="625102" y="36927"/>
                  <a:pt x="633032" y="48212"/>
                </a:cubicBezTo>
                <a:cubicBezTo>
                  <a:pt x="635169" y="47603"/>
                  <a:pt x="637303" y="47297"/>
                  <a:pt x="639438" y="46687"/>
                </a:cubicBezTo>
                <a:cubicBezTo>
                  <a:pt x="644014" y="36012"/>
                  <a:pt x="648284" y="25336"/>
                  <a:pt x="652249" y="16490"/>
                </a:cubicBezTo>
                <a:cubicBezTo>
                  <a:pt x="646759" y="11305"/>
                  <a:pt x="643099" y="7950"/>
                  <a:pt x="637608" y="2765"/>
                </a:cubicBezTo>
                <a:cubicBezTo>
                  <a:pt x="643327" y="1545"/>
                  <a:pt x="647578" y="1468"/>
                  <a:pt x="650757" y="2255"/>
                </a:cubicBezTo>
                <a:close/>
                <a:moveTo>
                  <a:pt x="941154" y="34779"/>
                </a:moveTo>
                <a:cubicBezTo>
                  <a:pt x="933224" y="38743"/>
                  <a:pt x="926818" y="42099"/>
                  <a:pt x="915838" y="47589"/>
                </a:cubicBezTo>
                <a:cubicBezTo>
                  <a:pt x="926818" y="51859"/>
                  <a:pt x="927733" y="66805"/>
                  <a:pt x="941459" y="56740"/>
                </a:cubicBezTo>
                <a:cubicBezTo>
                  <a:pt x="953660" y="47894"/>
                  <a:pt x="941154" y="42709"/>
                  <a:pt x="941154" y="34779"/>
                </a:cubicBezTo>
                <a:close/>
                <a:moveTo>
                  <a:pt x="1172179" y="67270"/>
                </a:moveTo>
                <a:cubicBezTo>
                  <a:pt x="1167458" y="69136"/>
                  <a:pt x="1162020" y="71483"/>
                  <a:pt x="1155866" y="74310"/>
                </a:cubicBezTo>
                <a:cubicBezTo>
                  <a:pt x="1151901" y="91249"/>
                  <a:pt x="1147701" y="109385"/>
                  <a:pt x="1144098" y="127639"/>
                </a:cubicBezTo>
                <a:cubicBezTo>
                  <a:pt x="1145536" y="128233"/>
                  <a:pt x="1146732" y="128470"/>
                  <a:pt x="1148229" y="128765"/>
                </a:cubicBezTo>
                <a:cubicBezTo>
                  <a:pt x="1155442" y="118996"/>
                  <a:pt x="1161396" y="107735"/>
                  <a:pt x="1170349" y="100176"/>
                </a:cubicBezTo>
                <a:cubicBezTo>
                  <a:pt x="1178526" y="93395"/>
                  <a:pt x="1180975" y="92012"/>
                  <a:pt x="1177183" y="82870"/>
                </a:cubicBezTo>
                <a:cubicBezTo>
                  <a:pt x="1174837" y="77432"/>
                  <a:pt x="1173565" y="71274"/>
                  <a:pt x="1172179" y="67270"/>
                </a:cubicBezTo>
                <a:close/>
                <a:moveTo>
                  <a:pt x="1179187" y="47925"/>
                </a:moveTo>
                <a:cubicBezTo>
                  <a:pt x="1177636" y="49484"/>
                  <a:pt x="1176026" y="51343"/>
                  <a:pt x="1174474" y="52902"/>
                </a:cubicBezTo>
                <a:cubicBezTo>
                  <a:pt x="1178266" y="62045"/>
                  <a:pt x="1182298" y="71546"/>
                  <a:pt x="1186090" y="80689"/>
                </a:cubicBezTo>
                <a:cubicBezTo>
                  <a:pt x="1188602" y="80562"/>
                  <a:pt x="1191114" y="80436"/>
                  <a:pt x="1193626" y="80310"/>
                </a:cubicBezTo>
                <a:cubicBezTo>
                  <a:pt x="1196539" y="73424"/>
                  <a:pt x="1203871" y="63056"/>
                  <a:pt x="1201591" y="60431"/>
                </a:cubicBezTo>
                <a:cubicBezTo>
                  <a:pt x="1196611" y="54162"/>
                  <a:pt x="1186794" y="51914"/>
                  <a:pt x="1179187" y="47925"/>
                </a:cubicBezTo>
                <a:close/>
                <a:moveTo>
                  <a:pt x="1616282" y="98520"/>
                </a:moveTo>
                <a:cubicBezTo>
                  <a:pt x="1614757" y="98826"/>
                  <a:pt x="1613536" y="99435"/>
                  <a:pt x="1612013" y="99741"/>
                </a:cubicBezTo>
                <a:cubicBezTo>
                  <a:pt x="1613843" y="106756"/>
                  <a:pt x="1615367" y="113466"/>
                  <a:pt x="1616891" y="120176"/>
                </a:cubicBezTo>
                <a:cubicBezTo>
                  <a:pt x="1612317" y="123532"/>
                  <a:pt x="1607131" y="127497"/>
                  <a:pt x="1601946" y="131157"/>
                </a:cubicBezTo>
                <a:cubicBezTo>
                  <a:pt x="1602557" y="132988"/>
                  <a:pt x="1603472" y="134818"/>
                  <a:pt x="1604081" y="136647"/>
                </a:cubicBezTo>
                <a:cubicBezTo>
                  <a:pt x="1616588" y="130242"/>
                  <a:pt x="1628483" y="152204"/>
                  <a:pt x="1642819" y="132987"/>
                </a:cubicBezTo>
                <a:cubicBezTo>
                  <a:pt x="1634278" y="122006"/>
                  <a:pt x="1625128" y="110111"/>
                  <a:pt x="1616282" y="98520"/>
                </a:cubicBezTo>
                <a:close/>
                <a:moveTo>
                  <a:pt x="2234782" y="158915"/>
                </a:moveTo>
                <a:cubicBezTo>
                  <a:pt x="2230816" y="160439"/>
                  <a:pt x="2224715" y="161965"/>
                  <a:pt x="2218920" y="163794"/>
                </a:cubicBezTo>
                <a:cubicBezTo>
                  <a:pt x="2218920" y="172945"/>
                  <a:pt x="2234475" y="189416"/>
                  <a:pt x="2243321" y="189111"/>
                </a:cubicBezTo>
                <a:cubicBezTo>
                  <a:pt x="2245456" y="189111"/>
                  <a:pt x="2248812" y="187586"/>
                  <a:pt x="2249116" y="186061"/>
                </a:cubicBezTo>
                <a:cubicBezTo>
                  <a:pt x="2249422" y="183621"/>
                  <a:pt x="2248201" y="180570"/>
                  <a:pt x="2246982" y="178436"/>
                </a:cubicBezTo>
                <a:cubicBezTo>
                  <a:pt x="2243016" y="172030"/>
                  <a:pt x="2239051" y="165625"/>
                  <a:pt x="2234782" y="158915"/>
                </a:cubicBezTo>
                <a:close/>
                <a:moveTo>
                  <a:pt x="1389655" y="30502"/>
                </a:moveTo>
                <a:cubicBezTo>
                  <a:pt x="1381725" y="34466"/>
                  <a:pt x="1375319" y="37822"/>
                  <a:pt x="1364339" y="43312"/>
                </a:cubicBezTo>
                <a:cubicBezTo>
                  <a:pt x="1375319" y="47583"/>
                  <a:pt x="1376235" y="62528"/>
                  <a:pt x="1389960" y="52463"/>
                </a:cubicBezTo>
                <a:cubicBezTo>
                  <a:pt x="1402160" y="43617"/>
                  <a:pt x="1389655" y="38432"/>
                  <a:pt x="1389655" y="30502"/>
                </a:cubicBezTo>
                <a:close/>
                <a:moveTo>
                  <a:pt x="1221628" y="1"/>
                </a:moveTo>
                <a:lnTo>
                  <a:pt x="1221628" y="401022"/>
                </a:lnTo>
                <a:lnTo>
                  <a:pt x="1134110" y="401022"/>
                </a:lnTo>
                <a:lnTo>
                  <a:pt x="1044317" y="235833"/>
                </a:lnTo>
                <a:lnTo>
                  <a:pt x="1078525" y="241915"/>
                </a:lnTo>
                <a:cubicBezTo>
                  <a:pt x="1079061" y="240455"/>
                  <a:pt x="1079248" y="239249"/>
                  <a:pt x="1079480" y="237742"/>
                </a:cubicBezTo>
                <a:cubicBezTo>
                  <a:pt x="1069422" y="230937"/>
                  <a:pt x="1057925" y="225452"/>
                  <a:pt x="1050003" y="216818"/>
                </a:cubicBezTo>
                <a:cubicBezTo>
                  <a:pt x="1042892" y="208927"/>
                  <a:pt x="1041410" y="206537"/>
                  <a:pt x="1032432" y="210702"/>
                </a:cubicBezTo>
                <a:lnTo>
                  <a:pt x="1030952" y="211245"/>
                </a:lnTo>
                <a:lnTo>
                  <a:pt x="997542" y="149781"/>
                </a:lnTo>
                <a:lnTo>
                  <a:pt x="1006011" y="145824"/>
                </a:lnTo>
                <a:cubicBezTo>
                  <a:pt x="1005780" y="143319"/>
                  <a:pt x="1005551" y="140815"/>
                  <a:pt x="1005323" y="138310"/>
                </a:cubicBezTo>
                <a:cubicBezTo>
                  <a:pt x="998321" y="135683"/>
                  <a:pt x="987661" y="128785"/>
                  <a:pt x="985131" y="131170"/>
                </a:cubicBezTo>
                <a:cubicBezTo>
                  <a:pt x="979073" y="136406"/>
                  <a:pt x="977230" y="146307"/>
                  <a:pt x="973559" y="154071"/>
                </a:cubicBezTo>
                <a:cubicBezTo>
                  <a:pt x="975182" y="155557"/>
                  <a:pt x="977105" y="157089"/>
                  <a:pt x="978726" y="158575"/>
                </a:cubicBezTo>
                <a:lnTo>
                  <a:pt x="992161" y="152296"/>
                </a:lnTo>
                <a:lnTo>
                  <a:pt x="992891" y="162143"/>
                </a:lnTo>
                <a:lnTo>
                  <a:pt x="992890" y="189844"/>
                </a:lnTo>
                <a:lnTo>
                  <a:pt x="968414" y="172470"/>
                </a:lnTo>
                <a:cubicBezTo>
                  <a:pt x="961302" y="164580"/>
                  <a:pt x="959821" y="162189"/>
                  <a:pt x="950842" y="166354"/>
                </a:cubicBezTo>
                <a:cubicBezTo>
                  <a:pt x="945505" y="168923"/>
                  <a:pt x="939406" y="170449"/>
                  <a:pt x="935461" y="171998"/>
                </a:cubicBezTo>
                <a:cubicBezTo>
                  <a:pt x="937521" y="176637"/>
                  <a:pt x="940089" y="181974"/>
                  <a:pt x="943167" y="188007"/>
                </a:cubicBezTo>
                <a:lnTo>
                  <a:pt x="992891" y="196848"/>
                </a:lnTo>
                <a:lnTo>
                  <a:pt x="992890" y="260834"/>
                </a:lnTo>
                <a:lnTo>
                  <a:pt x="991845" y="260696"/>
                </a:lnTo>
                <a:cubicBezTo>
                  <a:pt x="985268" y="262640"/>
                  <a:pt x="987099" y="272992"/>
                  <a:pt x="983438" y="279397"/>
                </a:cubicBezTo>
                <a:lnTo>
                  <a:pt x="992891" y="279645"/>
                </a:lnTo>
                <a:lnTo>
                  <a:pt x="992890" y="401022"/>
                </a:lnTo>
                <a:lnTo>
                  <a:pt x="909950" y="401022"/>
                </a:lnTo>
                <a:lnTo>
                  <a:pt x="909950" y="1"/>
                </a:lnTo>
                <a:lnTo>
                  <a:pt x="1017531" y="1"/>
                </a:lnTo>
                <a:lnTo>
                  <a:pt x="1039920" y="41637"/>
                </a:lnTo>
                <a:lnTo>
                  <a:pt x="1018018" y="47895"/>
                </a:lnTo>
                <a:lnTo>
                  <a:pt x="1047003" y="54809"/>
                </a:lnTo>
                <a:lnTo>
                  <a:pt x="1078849" y="114029"/>
                </a:lnTo>
                <a:lnTo>
                  <a:pt x="1066219" y="116999"/>
                </a:lnTo>
                <a:cubicBezTo>
                  <a:pt x="1059342" y="132980"/>
                  <a:pt x="1052022" y="150097"/>
                  <a:pt x="1045271" y="167435"/>
                </a:cubicBezTo>
                <a:cubicBezTo>
                  <a:pt x="1046582" y="168272"/>
                  <a:pt x="1047718" y="168715"/>
                  <a:pt x="1049140" y="169268"/>
                </a:cubicBezTo>
                <a:cubicBezTo>
                  <a:pt x="1057956" y="160917"/>
                  <a:pt x="1065793" y="150875"/>
                  <a:pt x="1075936" y="145006"/>
                </a:cubicBezTo>
                <a:cubicBezTo>
                  <a:pt x="1085177" y="139766"/>
                  <a:pt x="1087830" y="138835"/>
                  <a:pt x="1085702" y="129169"/>
                </a:cubicBezTo>
                <a:lnTo>
                  <a:pt x="1085271" y="125971"/>
                </a:lnTo>
                <a:lnTo>
                  <a:pt x="1141017" y="229635"/>
                </a:lnTo>
                <a:cubicBezTo>
                  <a:pt x="1139853" y="222523"/>
                  <a:pt x="1139271" y="215811"/>
                  <a:pt x="1139271" y="209497"/>
                </a:cubicBezTo>
                <a:lnTo>
                  <a:pt x="1139271" y="1"/>
                </a:lnTo>
                <a:close/>
                <a:moveTo>
                  <a:pt x="1602861" y="49108"/>
                </a:moveTo>
                <a:cubicBezTo>
                  <a:pt x="1598591" y="51853"/>
                  <a:pt x="1593711" y="55208"/>
                  <a:pt x="1588220" y="59173"/>
                </a:cubicBezTo>
                <a:cubicBezTo>
                  <a:pt x="1587611" y="76559"/>
                  <a:pt x="1587001" y="95165"/>
                  <a:pt x="1587001" y="113771"/>
                </a:cubicBezTo>
                <a:cubicBezTo>
                  <a:pt x="1588526" y="114076"/>
                  <a:pt x="1589746" y="114076"/>
                  <a:pt x="1591271" y="114076"/>
                </a:cubicBezTo>
                <a:cubicBezTo>
                  <a:pt x="1596456" y="103096"/>
                  <a:pt x="1600116" y="90895"/>
                  <a:pt x="1607436" y="81744"/>
                </a:cubicBezTo>
                <a:cubicBezTo>
                  <a:pt x="1614147" y="73509"/>
                  <a:pt x="1616282" y="71679"/>
                  <a:pt x="1610792" y="63443"/>
                </a:cubicBezTo>
                <a:cubicBezTo>
                  <a:pt x="1607437" y="58563"/>
                  <a:pt x="1604997" y="52768"/>
                  <a:pt x="1602861" y="49108"/>
                </a:cubicBezTo>
                <a:close/>
                <a:moveTo>
                  <a:pt x="1509222" y="31417"/>
                </a:moveTo>
                <a:cubicBezTo>
                  <a:pt x="1494276" y="35382"/>
                  <a:pt x="1480550" y="39347"/>
                  <a:pt x="1466824" y="43312"/>
                </a:cubicBezTo>
                <a:cubicBezTo>
                  <a:pt x="1478110" y="47888"/>
                  <a:pt x="1489091" y="51243"/>
                  <a:pt x="1500071" y="51243"/>
                </a:cubicBezTo>
                <a:cubicBezTo>
                  <a:pt x="1510747" y="51548"/>
                  <a:pt x="1514407" y="44533"/>
                  <a:pt x="1509222" y="31417"/>
                </a:cubicBezTo>
                <a:close/>
                <a:moveTo>
                  <a:pt x="1613232" y="32637"/>
                </a:moveTo>
                <a:cubicBezTo>
                  <a:pt x="1612012" y="34772"/>
                  <a:pt x="1610487" y="36602"/>
                  <a:pt x="1609573" y="38432"/>
                </a:cubicBezTo>
                <a:cubicBezTo>
                  <a:pt x="1615061" y="46668"/>
                  <a:pt x="1620857" y="55208"/>
                  <a:pt x="1626347" y="63443"/>
                </a:cubicBezTo>
                <a:cubicBezTo>
                  <a:pt x="1628789" y="62833"/>
                  <a:pt x="1631228" y="62224"/>
                  <a:pt x="1633668" y="61613"/>
                </a:cubicBezTo>
                <a:cubicBezTo>
                  <a:pt x="1635193" y="54293"/>
                  <a:pt x="1640378" y="42702"/>
                  <a:pt x="1637633" y="40568"/>
                </a:cubicBezTo>
                <a:cubicBezTo>
                  <a:pt x="1631532" y="35382"/>
                  <a:pt x="1621468" y="35077"/>
                  <a:pt x="1613232" y="32637"/>
                </a:cubicBezTo>
                <a:close/>
                <a:moveTo>
                  <a:pt x="1601946" y="9456"/>
                </a:moveTo>
                <a:cubicBezTo>
                  <a:pt x="1600116" y="17386"/>
                  <a:pt x="1598896" y="23486"/>
                  <a:pt x="1596456" y="34162"/>
                </a:cubicBezTo>
                <a:cubicBezTo>
                  <a:pt x="1608046" y="28062"/>
                  <a:pt x="1615673" y="24096"/>
                  <a:pt x="1624822" y="19521"/>
                </a:cubicBezTo>
                <a:cubicBezTo>
                  <a:pt x="1655019" y="31111"/>
                  <a:pt x="1671490" y="54598"/>
                  <a:pt x="1671794" y="87844"/>
                </a:cubicBezTo>
                <a:cubicBezTo>
                  <a:pt x="1671490" y="172335"/>
                  <a:pt x="1670880" y="256519"/>
                  <a:pt x="1669354" y="340703"/>
                </a:cubicBezTo>
                <a:cubicBezTo>
                  <a:pt x="1668745" y="361750"/>
                  <a:pt x="1657154" y="378220"/>
                  <a:pt x="1637938" y="387676"/>
                </a:cubicBezTo>
                <a:cubicBezTo>
                  <a:pt x="1633668" y="389811"/>
                  <a:pt x="1627873" y="388591"/>
                  <a:pt x="1622992" y="389201"/>
                </a:cubicBezTo>
                <a:cubicBezTo>
                  <a:pt x="1618722" y="389811"/>
                  <a:pt x="1613231" y="389201"/>
                  <a:pt x="1610487" y="391641"/>
                </a:cubicBezTo>
                <a:cubicBezTo>
                  <a:pt x="1597372" y="404146"/>
                  <a:pt x="1580901" y="402926"/>
                  <a:pt x="1565039" y="402622"/>
                </a:cubicBezTo>
                <a:cubicBezTo>
                  <a:pt x="1547654" y="402622"/>
                  <a:pt x="1530267" y="399876"/>
                  <a:pt x="1513187" y="397742"/>
                </a:cubicBezTo>
                <a:cubicBezTo>
                  <a:pt x="1509221" y="397131"/>
                  <a:pt x="1505256" y="393471"/>
                  <a:pt x="1500377" y="390725"/>
                </a:cubicBezTo>
                <a:cubicBezTo>
                  <a:pt x="1496715" y="403842"/>
                  <a:pt x="1486650" y="404146"/>
                  <a:pt x="1472009" y="400791"/>
                </a:cubicBezTo>
                <a:cubicBezTo>
                  <a:pt x="1485734" y="391336"/>
                  <a:pt x="1497631" y="382796"/>
                  <a:pt x="1496716" y="366324"/>
                </a:cubicBezTo>
                <a:cubicBezTo>
                  <a:pt x="1496411" y="363580"/>
                  <a:pt x="1497326" y="360224"/>
                  <a:pt x="1496106" y="357784"/>
                </a:cubicBezTo>
                <a:cubicBezTo>
                  <a:pt x="1487565" y="340398"/>
                  <a:pt x="1489700" y="337043"/>
                  <a:pt x="1506477" y="336433"/>
                </a:cubicBezTo>
                <a:cubicBezTo>
                  <a:pt x="1510746" y="344668"/>
                  <a:pt x="1514712" y="351989"/>
                  <a:pt x="1518372" y="359309"/>
                </a:cubicBezTo>
                <a:cubicBezTo>
                  <a:pt x="1539418" y="355954"/>
                  <a:pt x="1548568" y="334603"/>
                  <a:pt x="1537283" y="317522"/>
                </a:cubicBezTo>
                <a:cubicBezTo>
                  <a:pt x="1534842" y="313862"/>
                  <a:pt x="1532708" y="309287"/>
                  <a:pt x="1532708" y="305017"/>
                </a:cubicBezTo>
                <a:cubicBezTo>
                  <a:pt x="1532708" y="235472"/>
                  <a:pt x="1533623" y="165929"/>
                  <a:pt x="1533317" y="96386"/>
                </a:cubicBezTo>
                <a:cubicBezTo>
                  <a:pt x="1533012" y="75339"/>
                  <a:pt x="1511662" y="61309"/>
                  <a:pt x="1492445" y="68628"/>
                </a:cubicBezTo>
                <a:cubicBezTo>
                  <a:pt x="1489701" y="69544"/>
                  <a:pt x="1487261" y="76255"/>
                  <a:pt x="1487260" y="80525"/>
                </a:cubicBezTo>
                <a:cubicBezTo>
                  <a:pt x="1486650" y="115602"/>
                  <a:pt x="1486955" y="150678"/>
                  <a:pt x="1486650" y="185755"/>
                </a:cubicBezTo>
                <a:cubicBezTo>
                  <a:pt x="1486650" y="191245"/>
                  <a:pt x="1485735" y="196736"/>
                  <a:pt x="1485125" y="202226"/>
                </a:cubicBezTo>
                <a:cubicBezTo>
                  <a:pt x="1485125" y="202226"/>
                  <a:pt x="1484821" y="202226"/>
                  <a:pt x="1484821" y="202226"/>
                </a:cubicBezTo>
                <a:cubicBezTo>
                  <a:pt x="1466824" y="195821"/>
                  <a:pt x="1471705" y="211071"/>
                  <a:pt x="1466824" y="219611"/>
                </a:cubicBezTo>
                <a:cubicBezTo>
                  <a:pt x="1485430" y="223882"/>
                  <a:pt x="1483295" y="211377"/>
                  <a:pt x="1484821" y="202226"/>
                </a:cubicBezTo>
                <a:cubicBezTo>
                  <a:pt x="1485125" y="236083"/>
                  <a:pt x="1486345" y="269634"/>
                  <a:pt x="1486040" y="303491"/>
                </a:cubicBezTo>
                <a:cubicBezTo>
                  <a:pt x="1485735" y="318742"/>
                  <a:pt x="1490616" y="334907"/>
                  <a:pt x="1479330" y="348938"/>
                </a:cubicBezTo>
                <a:cubicBezTo>
                  <a:pt x="1478415" y="349853"/>
                  <a:pt x="1482076" y="354124"/>
                  <a:pt x="1481465" y="355954"/>
                </a:cubicBezTo>
                <a:cubicBezTo>
                  <a:pt x="1480245" y="360224"/>
                  <a:pt x="1478415" y="365409"/>
                  <a:pt x="1475060" y="367545"/>
                </a:cubicBezTo>
                <a:cubicBezTo>
                  <a:pt x="1464689" y="374255"/>
                  <a:pt x="1453709" y="380051"/>
                  <a:pt x="1443033" y="388286"/>
                </a:cubicBezTo>
                <a:cubicBezTo>
                  <a:pt x="1455233" y="387370"/>
                  <a:pt x="1464385" y="387981"/>
                  <a:pt x="1464690" y="403842"/>
                </a:cubicBezTo>
                <a:cubicBezTo>
                  <a:pt x="1426562" y="403537"/>
                  <a:pt x="1388130" y="403537"/>
                  <a:pt x="1347258" y="403537"/>
                </a:cubicBezTo>
                <a:cubicBezTo>
                  <a:pt x="1347563" y="300746"/>
                  <a:pt x="1347868" y="199176"/>
                  <a:pt x="1348173" y="96080"/>
                </a:cubicBezTo>
                <a:cubicBezTo>
                  <a:pt x="1353967" y="95165"/>
                  <a:pt x="1359764" y="95471"/>
                  <a:pt x="1364339" y="93335"/>
                </a:cubicBezTo>
                <a:cubicBezTo>
                  <a:pt x="1368304" y="91505"/>
                  <a:pt x="1371658" y="86929"/>
                  <a:pt x="1373794" y="82965"/>
                </a:cubicBezTo>
                <a:cubicBezTo>
                  <a:pt x="1374710" y="81440"/>
                  <a:pt x="1371659" y="78085"/>
                  <a:pt x="1370439" y="75339"/>
                </a:cubicBezTo>
                <a:cubicBezTo>
                  <a:pt x="1367083" y="78389"/>
                  <a:pt x="1363729" y="81440"/>
                  <a:pt x="1360374" y="84185"/>
                </a:cubicBezTo>
                <a:cubicBezTo>
                  <a:pt x="1358544" y="85710"/>
                  <a:pt x="1356408" y="87235"/>
                  <a:pt x="1350918" y="91505"/>
                </a:cubicBezTo>
                <a:cubicBezTo>
                  <a:pt x="1345733" y="59784"/>
                  <a:pt x="1349394" y="31112"/>
                  <a:pt x="1347867" y="0"/>
                </a:cubicBezTo>
                <a:cubicBezTo>
                  <a:pt x="1433882" y="2440"/>
                  <a:pt x="1518371" y="-3660"/>
                  <a:pt x="1601946" y="9456"/>
                </a:cubicBezTo>
                <a:close/>
                <a:moveTo>
                  <a:pt x="2453477" y="67104"/>
                </a:moveTo>
                <a:cubicBezTo>
                  <a:pt x="2446767" y="70459"/>
                  <a:pt x="2440057" y="73814"/>
                  <a:pt x="2433346" y="77170"/>
                </a:cubicBezTo>
                <a:cubicBezTo>
                  <a:pt x="2436549" y="90896"/>
                  <a:pt x="2439904" y="100580"/>
                  <a:pt x="2444060" y="106909"/>
                </a:cubicBezTo>
                <a:lnTo>
                  <a:pt x="2447826" y="109241"/>
                </a:lnTo>
                <a:lnTo>
                  <a:pt x="2447987" y="110112"/>
                </a:lnTo>
                <a:cubicBezTo>
                  <a:pt x="2451343" y="111942"/>
                  <a:pt x="2454393" y="113772"/>
                  <a:pt x="2459577" y="116518"/>
                </a:cubicBezTo>
                <a:lnTo>
                  <a:pt x="2447826" y="109241"/>
                </a:lnTo>
                <a:lnTo>
                  <a:pt x="2442802" y="82050"/>
                </a:lnTo>
                <a:cubicBezTo>
                  <a:pt x="2447072" y="78086"/>
                  <a:pt x="2451343" y="73814"/>
                  <a:pt x="2455612" y="69850"/>
                </a:cubicBezTo>
                <a:cubicBezTo>
                  <a:pt x="2455002" y="68935"/>
                  <a:pt x="2454087" y="68019"/>
                  <a:pt x="2453477" y="67104"/>
                </a:cubicBezTo>
                <a:close/>
                <a:moveTo>
                  <a:pt x="2034118" y="916"/>
                </a:moveTo>
                <a:cubicBezTo>
                  <a:pt x="2034118" y="26842"/>
                  <a:pt x="2034118" y="51854"/>
                  <a:pt x="2034118" y="79305"/>
                </a:cubicBezTo>
                <a:cubicBezTo>
                  <a:pt x="2010936" y="79610"/>
                  <a:pt x="1988365" y="79611"/>
                  <a:pt x="1965794" y="79611"/>
                </a:cubicBezTo>
                <a:cubicBezTo>
                  <a:pt x="1936207" y="79611"/>
                  <a:pt x="1939868" y="75950"/>
                  <a:pt x="1939562" y="105231"/>
                </a:cubicBezTo>
                <a:cubicBezTo>
                  <a:pt x="1939259" y="123534"/>
                  <a:pt x="1939563" y="141529"/>
                  <a:pt x="1939563" y="161355"/>
                </a:cubicBezTo>
                <a:cubicBezTo>
                  <a:pt x="1925837" y="165015"/>
                  <a:pt x="1924313" y="152509"/>
                  <a:pt x="1924007" y="144884"/>
                </a:cubicBezTo>
                <a:cubicBezTo>
                  <a:pt x="1923701" y="128108"/>
                  <a:pt x="1915467" y="121398"/>
                  <a:pt x="1898690" y="119873"/>
                </a:cubicBezTo>
                <a:cubicBezTo>
                  <a:pt x="1902655" y="128718"/>
                  <a:pt x="1881914" y="138784"/>
                  <a:pt x="1901436" y="147020"/>
                </a:cubicBezTo>
                <a:cubicBezTo>
                  <a:pt x="1898080" y="160440"/>
                  <a:pt x="1901740" y="177826"/>
                  <a:pt x="1880084" y="182707"/>
                </a:cubicBezTo>
                <a:cubicBezTo>
                  <a:pt x="1881915" y="184537"/>
                  <a:pt x="1884050" y="186062"/>
                  <a:pt x="1885880" y="187586"/>
                </a:cubicBezTo>
                <a:cubicBezTo>
                  <a:pt x="1891370" y="182706"/>
                  <a:pt x="1897165" y="178131"/>
                  <a:pt x="1902655" y="173251"/>
                </a:cubicBezTo>
                <a:cubicBezTo>
                  <a:pt x="1915772" y="180571"/>
                  <a:pt x="1942614" y="176911"/>
                  <a:pt x="1956339" y="167455"/>
                </a:cubicBezTo>
                <a:cubicBezTo>
                  <a:pt x="1962744" y="163185"/>
                  <a:pt x="1971285" y="160135"/>
                  <a:pt x="1979215" y="159524"/>
                </a:cubicBezTo>
                <a:cubicBezTo>
                  <a:pt x="1993551" y="158305"/>
                  <a:pt x="2007582" y="159220"/>
                  <a:pt x="2021918" y="159525"/>
                </a:cubicBezTo>
                <a:cubicBezTo>
                  <a:pt x="2023442" y="159525"/>
                  <a:pt x="2024663" y="160440"/>
                  <a:pt x="2027712" y="161660"/>
                </a:cubicBezTo>
                <a:cubicBezTo>
                  <a:pt x="2027713" y="184841"/>
                  <a:pt x="2027407" y="208633"/>
                  <a:pt x="2027407" y="233034"/>
                </a:cubicBezTo>
                <a:cubicBezTo>
                  <a:pt x="2005446" y="233034"/>
                  <a:pt x="1983789" y="241880"/>
                  <a:pt x="1966709" y="215343"/>
                </a:cubicBezTo>
                <a:cubicBezTo>
                  <a:pt x="1966710" y="224494"/>
                  <a:pt x="1966709" y="227849"/>
                  <a:pt x="1966709" y="231204"/>
                </a:cubicBezTo>
                <a:cubicBezTo>
                  <a:pt x="1965794" y="231509"/>
                  <a:pt x="1964880" y="232424"/>
                  <a:pt x="1963964" y="232424"/>
                </a:cubicBezTo>
                <a:cubicBezTo>
                  <a:pt x="1938343" y="236085"/>
                  <a:pt x="1938953" y="236085"/>
                  <a:pt x="1938648" y="263231"/>
                </a:cubicBezTo>
                <a:cubicBezTo>
                  <a:pt x="1938648" y="277872"/>
                  <a:pt x="1936817" y="292207"/>
                  <a:pt x="1934683" y="306543"/>
                </a:cubicBezTo>
                <a:cubicBezTo>
                  <a:pt x="1934072" y="309289"/>
                  <a:pt x="1927972" y="311119"/>
                  <a:pt x="1924922" y="313559"/>
                </a:cubicBezTo>
                <a:cubicBezTo>
                  <a:pt x="1918821" y="318744"/>
                  <a:pt x="1912721" y="323929"/>
                  <a:pt x="1907536" y="331860"/>
                </a:cubicBezTo>
                <a:cubicBezTo>
                  <a:pt x="1939868" y="317829"/>
                  <a:pt x="1972809" y="329420"/>
                  <a:pt x="2007581" y="324844"/>
                </a:cubicBezTo>
                <a:cubicBezTo>
                  <a:pt x="2009106" y="343145"/>
                  <a:pt x="2010327" y="359006"/>
                  <a:pt x="2011242" y="372426"/>
                </a:cubicBezTo>
                <a:cubicBezTo>
                  <a:pt x="2020392" y="371817"/>
                  <a:pt x="2034118" y="367852"/>
                  <a:pt x="2035948" y="370902"/>
                </a:cubicBezTo>
                <a:cubicBezTo>
                  <a:pt x="2041439" y="379747"/>
                  <a:pt x="2042049" y="391643"/>
                  <a:pt x="2045098" y="404454"/>
                </a:cubicBezTo>
                <a:cubicBezTo>
                  <a:pt x="2031982" y="404454"/>
                  <a:pt x="2023137" y="404454"/>
                  <a:pt x="2011851" y="403539"/>
                </a:cubicBezTo>
                <a:cubicBezTo>
                  <a:pt x="2015511" y="397743"/>
                  <a:pt x="2017647" y="394693"/>
                  <a:pt x="2019782" y="391338"/>
                </a:cubicBezTo>
                <a:cubicBezTo>
                  <a:pt x="2019172" y="390118"/>
                  <a:pt x="2018867" y="388593"/>
                  <a:pt x="2018257" y="387068"/>
                </a:cubicBezTo>
                <a:cubicBezTo>
                  <a:pt x="2002396" y="391643"/>
                  <a:pt x="1986535" y="396523"/>
                  <a:pt x="1969760" y="401403"/>
                </a:cubicBezTo>
                <a:cubicBezTo>
                  <a:pt x="1962439" y="383713"/>
                  <a:pt x="1955424" y="366937"/>
                  <a:pt x="1946883" y="346806"/>
                </a:cubicBezTo>
                <a:cubicBezTo>
                  <a:pt x="1935598" y="353210"/>
                  <a:pt x="1923398" y="358701"/>
                  <a:pt x="1912721" y="366631"/>
                </a:cubicBezTo>
                <a:cubicBezTo>
                  <a:pt x="1899301" y="376392"/>
                  <a:pt x="1901131" y="389203"/>
                  <a:pt x="1912722" y="403539"/>
                </a:cubicBezTo>
                <a:cubicBezTo>
                  <a:pt x="1873680" y="402928"/>
                  <a:pt x="1837382" y="402624"/>
                  <a:pt x="1799865" y="402014"/>
                </a:cubicBezTo>
                <a:cubicBezTo>
                  <a:pt x="1799865" y="352906"/>
                  <a:pt x="1800170" y="306543"/>
                  <a:pt x="1800170" y="257435"/>
                </a:cubicBezTo>
                <a:cubicBezTo>
                  <a:pt x="1815727" y="263536"/>
                  <a:pt x="1829147" y="268721"/>
                  <a:pt x="1844094" y="274517"/>
                </a:cubicBezTo>
                <a:cubicBezTo>
                  <a:pt x="1844703" y="272381"/>
                  <a:pt x="1847448" y="265671"/>
                  <a:pt x="1846533" y="265061"/>
                </a:cubicBezTo>
                <a:cubicBezTo>
                  <a:pt x="1840737" y="261401"/>
                  <a:pt x="1834027" y="258960"/>
                  <a:pt x="1825181" y="255301"/>
                </a:cubicBezTo>
                <a:cubicBezTo>
                  <a:pt x="1823352" y="244625"/>
                  <a:pt x="1813896" y="243100"/>
                  <a:pt x="1797425" y="247980"/>
                </a:cubicBezTo>
                <a:cubicBezTo>
                  <a:pt x="1800476" y="232119"/>
                  <a:pt x="1803220" y="219003"/>
                  <a:pt x="1805355" y="205887"/>
                </a:cubicBezTo>
                <a:cubicBezTo>
                  <a:pt x="1806880" y="195822"/>
                  <a:pt x="1812981" y="185452"/>
                  <a:pt x="1802916" y="175995"/>
                </a:cubicBezTo>
                <a:cubicBezTo>
                  <a:pt x="1801085" y="174471"/>
                  <a:pt x="1800171" y="170810"/>
                  <a:pt x="1800171" y="168065"/>
                </a:cubicBezTo>
                <a:cubicBezTo>
                  <a:pt x="1800171" y="123533"/>
                  <a:pt x="1800171" y="79001"/>
                  <a:pt x="1800476" y="34468"/>
                </a:cubicBezTo>
                <a:cubicBezTo>
                  <a:pt x="1800476" y="17692"/>
                  <a:pt x="1807186" y="9456"/>
                  <a:pt x="1819691" y="8541"/>
                </a:cubicBezTo>
                <a:cubicBezTo>
                  <a:pt x="1814811" y="34163"/>
                  <a:pt x="1809626" y="60394"/>
                  <a:pt x="1804440" y="86321"/>
                </a:cubicBezTo>
                <a:cubicBezTo>
                  <a:pt x="1829757" y="98521"/>
                  <a:pt x="1839822" y="91811"/>
                  <a:pt x="1842873" y="59174"/>
                </a:cubicBezTo>
                <a:cubicBezTo>
                  <a:pt x="1841043" y="53684"/>
                  <a:pt x="1839517" y="48194"/>
                  <a:pt x="1837688" y="42703"/>
                </a:cubicBezTo>
                <a:cubicBezTo>
                  <a:pt x="1835857" y="36603"/>
                  <a:pt x="1833722" y="30197"/>
                  <a:pt x="1831892" y="23793"/>
                </a:cubicBezTo>
                <a:cubicBezTo>
                  <a:pt x="1829758" y="16777"/>
                  <a:pt x="1827927" y="9456"/>
                  <a:pt x="1825791" y="2441"/>
                </a:cubicBezTo>
                <a:cubicBezTo>
                  <a:pt x="1829148" y="1222"/>
                  <a:pt x="1830367" y="306"/>
                  <a:pt x="1831892" y="306"/>
                </a:cubicBezTo>
                <a:cubicBezTo>
                  <a:pt x="1841043" y="1"/>
                  <a:pt x="1850193" y="1"/>
                  <a:pt x="1860258" y="1"/>
                </a:cubicBezTo>
                <a:cubicBezTo>
                  <a:pt x="1861479" y="14032"/>
                  <a:pt x="1871238" y="13726"/>
                  <a:pt x="1881610" y="13117"/>
                </a:cubicBezTo>
                <a:cubicBezTo>
                  <a:pt x="1887100" y="12811"/>
                  <a:pt x="1894420" y="11896"/>
                  <a:pt x="1897470" y="14642"/>
                </a:cubicBezTo>
                <a:cubicBezTo>
                  <a:pt x="1907231" y="24097"/>
                  <a:pt x="1917297" y="25317"/>
                  <a:pt x="1928582" y="18912"/>
                </a:cubicBezTo>
                <a:cubicBezTo>
                  <a:pt x="1935598" y="14642"/>
                  <a:pt x="1942308" y="9762"/>
                  <a:pt x="1949323" y="5186"/>
                </a:cubicBezTo>
                <a:cubicBezTo>
                  <a:pt x="1948408" y="3661"/>
                  <a:pt x="1947799" y="2137"/>
                  <a:pt x="1946883" y="611"/>
                </a:cubicBezTo>
                <a:cubicBezTo>
                  <a:pt x="1975249" y="916"/>
                  <a:pt x="2003617" y="916"/>
                  <a:pt x="2034118" y="916"/>
                </a:cubicBezTo>
                <a:close/>
                <a:moveTo>
                  <a:pt x="3240739" y="156703"/>
                </a:moveTo>
                <a:cubicBezTo>
                  <a:pt x="3240739" y="156703"/>
                  <a:pt x="3240434" y="157008"/>
                  <a:pt x="3240434" y="157008"/>
                </a:cubicBezTo>
                <a:lnTo>
                  <a:pt x="3240421" y="156719"/>
                </a:lnTo>
                <a:lnTo>
                  <a:pt x="3240434" y="156703"/>
                </a:lnTo>
                <a:cubicBezTo>
                  <a:pt x="3240434" y="156703"/>
                  <a:pt x="3240739" y="156703"/>
                  <a:pt x="3240739" y="156703"/>
                </a:cubicBezTo>
                <a:close/>
                <a:moveTo>
                  <a:pt x="2237221" y="7626"/>
                </a:moveTo>
                <a:cubicBezTo>
                  <a:pt x="2225020" y="13726"/>
                  <a:pt x="2213734" y="19522"/>
                  <a:pt x="2202144" y="25623"/>
                </a:cubicBezTo>
                <a:cubicBezTo>
                  <a:pt x="2200314" y="21047"/>
                  <a:pt x="2198180" y="16777"/>
                  <a:pt x="2196349" y="12201"/>
                </a:cubicBezTo>
                <a:cubicBezTo>
                  <a:pt x="2195129" y="12201"/>
                  <a:pt x="2194214" y="11896"/>
                  <a:pt x="2192994" y="11896"/>
                </a:cubicBezTo>
                <a:cubicBezTo>
                  <a:pt x="2191164" y="22877"/>
                  <a:pt x="2188419" y="33553"/>
                  <a:pt x="2187503" y="44533"/>
                </a:cubicBezTo>
                <a:cubicBezTo>
                  <a:pt x="2187504" y="46669"/>
                  <a:pt x="2196044" y="50939"/>
                  <a:pt x="2200313" y="50634"/>
                </a:cubicBezTo>
                <a:cubicBezTo>
                  <a:pt x="2208244" y="50024"/>
                  <a:pt x="2215869" y="46669"/>
                  <a:pt x="2224411" y="44228"/>
                </a:cubicBezTo>
                <a:cubicBezTo>
                  <a:pt x="2222885" y="38127"/>
                  <a:pt x="2221666" y="32942"/>
                  <a:pt x="2220445" y="26842"/>
                </a:cubicBezTo>
                <a:cubicBezTo>
                  <a:pt x="2232951" y="26538"/>
                  <a:pt x="2239356" y="21047"/>
                  <a:pt x="2237221" y="7626"/>
                </a:cubicBezTo>
                <a:close/>
                <a:moveTo>
                  <a:pt x="3260870" y="148162"/>
                </a:moveTo>
                <a:cubicBezTo>
                  <a:pt x="3262396" y="153653"/>
                  <a:pt x="3263615" y="159143"/>
                  <a:pt x="3265140" y="164633"/>
                </a:cubicBezTo>
                <a:cubicBezTo>
                  <a:pt x="3260870" y="164023"/>
                  <a:pt x="3256600" y="163108"/>
                  <a:pt x="3251110" y="162193"/>
                </a:cubicBezTo>
                <a:cubicBezTo>
                  <a:pt x="3252024" y="165243"/>
                  <a:pt x="3253245" y="168599"/>
                  <a:pt x="3254160" y="171649"/>
                </a:cubicBezTo>
                <a:cubicBezTo>
                  <a:pt x="3252940" y="172563"/>
                  <a:pt x="3251720" y="173173"/>
                  <a:pt x="3250804" y="173478"/>
                </a:cubicBezTo>
                <a:cubicBezTo>
                  <a:pt x="3247450" y="167378"/>
                  <a:pt x="3244400" y="161583"/>
                  <a:pt x="3241044" y="155483"/>
                </a:cubicBezTo>
                <a:cubicBezTo>
                  <a:pt x="3246839" y="153348"/>
                  <a:pt x="3252635" y="151213"/>
                  <a:pt x="3260870" y="148162"/>
                </a:cubicBezTo>
                <a:close/>
                <a:moveTo>
                  <a:pt x="2822213" y="73806"/>
                </a:moveTo>
                <a:cubicBezTo>
                  <a:pt x="2821298" y="86311"/>
                  <a:pt x="2820687" y="96072"/>
                  <a:pt x="2820078" y="104002"/>
                </a:cubicBezTo>
                <a:cubicBezTo>
                  <a:pt x="2805743" y="104612"/>
                  <a:pt x="2794152" y="104917"/>
                  <a:pt x="2782866" y="105223"/>
                </a:cubicBezTo>
                <a:cubicBezTo>
                  <a:pt x="2777070" y="105527"/>
                  <a:pt x="2769141" y="103697"/>
                  <a:pt x="2766089" y="106748"/>
                </a:cubicBezTo>
                <a:cubicBezTo>
                  <a:pt x="2757550" y="114983"/>
                  <a:pt x="2750534" y="125658"/>
                  <a:pt x="2742298" y="136029"/>
                </a:cubicBezTo>
                <a:cubicBezTo>
                  <a:pt x="2764259" y="159211"/>
                  <a:pt x="2788966" y="157990"/>
                  <a:pt x="2812758" y="143044"/>
                </a:cubicBezTo>
                <a:cubicBezTo>
                  <a:pt x="2815807" y="151280"/>
                  <a:pt x="2818248" y="157380"/>
                  <a:pt x="2819467" y="160735"/>
                </a:cubicBezTo>
                <a:cubicBezTo>
                  <a:pt x="2834718" y="156771"/>
                  <a:pt x="2847834" y="153416"/>
                  <a:pt x="2862475" y="149450"/>
                </a:cubicBezTo>
                <a:cubicBezTo>
                  <a:pt x="2853630" y="141215"/>
                  <a:pt x="2837463" y="138774"/>
                  <a:pt x="2837464" y="121084"/>
                </a:cubicBezTo>
                <a:cubicBezTo>
                  <a:pt x="2841430" y="124134"/>
                  <a:pt x="2844479" y="126269"/>
                  <a:pt x="2850579" y="130843"/>
                </a:cubicBezTo>
                <a:cubicBezTo>
                  <a:pt x="2847529" y="115898"/>
                  <a:pt x="2842954" y="104612"/>
                  <a:pt x="2843564" y="93632"/>
                </a:cubicBezTo>
                <a:cubicBezTo>
                  <a:pt x="2844784" y="74416"/>
                  <a:pt x="2828619" y="81736"/>
                  <a:pt x="2822213" y="73806"/>
                </a:cubicBezTo>
                <a:close/>
                <a:moveTo>
                  <a:pt x="2803607" y="34153"/>
                </a:moveTo>
                <a:cubicBezTo>
                  <a:pt x="2801777" y="35984"/>
                  <a:pt x="2799947" y="37508"/>
                  <a:pt x="2798116" y="39339"/>
                </a:cubicBezTo>
                <a:cubicBezTo>
                  <a:pt x="2803302" y="47269"/>
                  <a:pt x="2808792" y="55505"/>
                  <a:pt x="2813977" y="63436"/>
                </a:cubicBezTo>
                <a:cubicBezTo>
                  <a:pt x="2815503" y="63130"/>
                  <a:pt x="2817332" y="62825"/>
                  <a:pt x="2819163" y="62520"/>
                </a:cubicBezTo>
                <a:cubicBezTo>
                  <a:pt x="2818858" y="56420"/>
                  <a:pt x="2820383" y="49405"/>
                  <a:pt x="2817638" y="44524"/>
                </a:cubicBezTo>
                <a:cubicBezTo>
                  <a:pt x="2815198" y="39949"/>
                  <a:pt x="2808486" y="37508"/>
                  <a:pt x="2803607" y="34153"/>
                </a:cubicBezTo>
                <a:close/>
                <a:moveTo>
                  <a:pt x="2607205" y="1831"/>
                </a:moveTo>
                <a:cubicBezTo>
                  <a:pt x="2606899" y="135734"/>
                  <a:pt x="2606291" y="269026"/>
                  <a:pt x="2605986" y="404148"/>
                </a:cubicBezTo>
                <a:cubicBezTo>
                  <a:pt x="2569689" y="404148"/>
                  <a:pt x="2534001" y="408723"/>
                  <a:pt x="2499230" y="400487"/>
                </a:cubicBezTo>
                <a:cubicBezTo>
                  <a:pt x="2495875" y="401708"/>
                  <a:pt x="2491605" y="403842"/>
                  <a:pt x="2485199" y="406588"/>
                </a:cubicBezTo>
                <a:cubicBezTo>
                  <a:pt x="2485504" y="316913"/>
                  <a:pt x="2485504" y="230288"/>
                  <a:pt x="2485504" y="143969"/>
                </a:cubicBezTo>
                <a:cubicBezTo>
                  <a:pt x="2483979" y="143663"/>
                  <a:pt x="2482759" y="143359"/>
                  <a:pt x="2481234" y="143054"/>
                </a:cubicBezTo>
                <a:cubicBezTo>
                  <a:pt x="2476048" y="169895"/>
                  <a:pt x="2470863" y="196737"/>
                  <a:pt x="2465983" y="223578"/>
                </a:cubicBezTo>
                <a:cubicBezTo>
                  <a:pt x="2455613" y="280617"/>
                  <a:pt x="2445547" y="337654"/>
                  <a:pt x="2434566" y="394387"/>
                </a:cubicBezTo>
                <a:cubicBezTo>
                  <a:pt x="2433652" y="398353"/>
                  <a:pt x="2427246" y="403843"/>
                  <a:pt x="2423281" y="404148"/>
                </a:cubicBezTo>
                <a:cubicBezTo>
                  <a:pt x="2401014" y="404758"/>
                  <a:pt x="2378443" y="404758"/>
                  <a:pt x="2356178" y="403843"/>
                </a:cubicBezTo>
                <a:cubicBezTo>
                  <a:pt x="2352518" y="403843"/>
                  <a:pt x="2346417" y="398657"/>
                  <a:pt x="2345806" y="394998"/>
                </a:cubicBezTo>
                <a:cubicBezTo>
                  <a:pt x="2332081" y="325759"/>
                  <a:pt x="2318355" y="256520"/>
                  <a:pt x="2306154" y="186976"/>
                </a:cubicBezTo>
                <a:cubicBezTo>
                  <a:pt x="2304630" y="177521"/>
                  <a:pt x="2309814" y="167150"/>
                  <a:pt x="2312865" y="153424"/>
                </a:cubicBezTo>
                <a:cubicBezTo>
                  <a:pt x="2300664" y="142748"/>
                  <a:pt x="2274738" y="134819"/>
                  <a:pt x="2283583" y="104927"/>
                </a:cubicBezTo>
                <a:cubicBezTo>
                  <a:pt x="2274738" y="98826"/>
                  <a:pt x="2266502" y="91811"/>
                  <a:pt x="2257046" y="86930"/>
                </a:cubicBezTo>
                <a:cubicBezTo>
                  <a:pt x="2252777" y="85101"/>
                  <a:pt x="2242712" y="86320"/>
                  <a:pt x="2241796" y="88456"/>
                </a:cubicBezTo>
                <a:cubicBezTo>
                  <a:pt x="2239661" y="94251"/>
                  <a:pt x="2239661" y="101876"/>
                  <a:pt x="2241491" y="107977"/>
                </a:cubicBezTo>
                <a:cubicBezTo>
                  <a:pt x="2243016" y="113467"/>
                  <a:pt x="2247591" y="117737"/>
                  <a:pt x="2250642" y="122007"/>
                </a:cubicBezTo>
                <a:cubicBezTo>
                  <a:pt x="2252776" y="120788"/>
                  <a:pt x="2255827" y="118958"/>
                  <a:pt x="2258877" y="117127"/>
                </a:cubicBezTo>
                <a:cubicBezTo>
                  <a:pt x="2260097" y="121092"/>
                  <a:pt x="2263453" y="127193"/>
                  <a:pt x="2261927" y="129023"/>
                </a:cubicBezTo>
                <a:cubicBezTo>
                  <a:pt x="2253082" y="138783"/>
                  <a:pt x="2254912" y="142444"/>
                  <a:pt x="2267113" y="147323"/>
                </a:cubicBezTo>
                <a:cubicBezTo>
                  <a:pt x="2275958" y="150679"/>
                  <a:pt x="2282669" y="160135"/>
                  <a:pt x="2293345" y="169895"/>
                </a:cubicBezTo>
                <a:cubicBezTo>
                  <a:pt x="2293039" y="243404"/>
                  <a:pt x="2292429" y="321793"/>
                  <a:pt x="2292124" y="400183"/>
                </a:cubicBezTo>
                <a:cubicBezTo>
                  <a:pt x="2270467" y="407808"/>
                  <a:pt x="2193604" y="404453"/>
                  <a:pt x="2189944" y="394998"/>
                </a:cubicBezTo>
                <a:cubicBezTo>
                  <a:pt x="2184758" y="397742"/>
                  <a:pt x="2179573" y="400488"/>
                  <a:pt x="2174387" y="403233"/>
                </a:cubicBezTo>
                <a:cubicBezTo>
                  <a:pt x="2173167" y="402318"/>
                  <a:pt x="2171948" y="401708"/>
                  <a:pt x="2170727" y="401098"/>
                </a:cubicBezTo>
                <a:cubicBezTo>
                  <a:pt x="2173472" y="393472"/>
                  <a:pt x="2176218" y="385847"/>
                  <a:pt x="2179267" y="378222"/>
                </a:cubicBezTo>
                <a:cubicBezTo>
                  <a:pt x="2178353" y="378222"/>
                  <a:pt x="2175913" y="378526"/>
                  <a:pt x="2171948" y="379137"/>
                </a:cubicBezTo>
                <a:cubicBezTo>
                  <a:pt x="2171948" y="253470"/>
                  <a:pt x="2172252" y="127803"/>
                  <a:pt x="2172558" y="916"/>
                </a:cubicBezTo>
                <a:cubicBezTo>
                  <a:pt x="2177743" y="610"/>
                  <a:pt x="2182319" y="1"/>
                  <a:pt x="2186589" y="1"/>
                </a:cubicBezTo>
                <a:cubicBezTo>
                  <a:pt x="2237525" y="1"/>
                  <a:pt x="2288463" y="611"/>
                  <a:pt x="2339096" y="1"/>
                </a:cubicBezTo>
                <a:cubicBezTo>
                  <a:pt x="2351297" y="1"/>
                  <a:pt x="2355262" y="4271"/>
                  <a:pt x="2357397" y="15862"/>
                </a:cubicBezTo>
                <a:cubicBezTo>
                  <a:pt x="2365937" y="64359"/>
                  <a:pt x="2375393" y="112552"/>
                  <a:pt x="2384544" y="161050"/>
                </a:cubicBezTo>
                <a:cubicBezTo>
                  <a:pt x="2386068" y="168370"/>
                  <a:pt x="2387594" y="175691"/>
                  <a:pt x="2392779" y="183010"/>
                </a:cubicBezTo>
                <a:cubicBezTo>
                  <a:pt x="2394609" y="174775"/>
                  <a:pt x="2396134" y="166845"/>
                  <a:pt x="2397965" y="158914"/>
                </a:cubicBezTo>
                <a:cubicBezTo>
                  <a:pt x="2404065" y="129938"/>
                  <a:pt x="2410775" y="101266"/>
                  <a:pt x="2415960" y="71985"/>
                </a:cubicBezTo>
                <a:cubicBezTo>
                  <a:pt x="2419620" y="52158"/>
                  <a:pt x="2420230" y="31723"/>
                  <a:pt x="2423585" y="11896"/>
                </a:cubicBezTo>
                <a:cubicBezTo>
                  <a:pt x="2424196" y="7931"/>
                  <a:pt x="2430296" y="1221"/>
                  <a:pt x="2433955" y="1221"/>
                </a:cubicBezTo>
                <a:cubicBezTo>
                  <a:pt x="2490994" y="611"/>
                  <a:pt x="2547727" y="916"/>
                  <a:pt x="2607205" y="1831"/>
                </a:cubicBezTo>
                <a:close/>
                <a:moveTo>
                  <a:pt x="2872846" y="1822"/>
                </a:moveTo>
                <a:cubicBezTo>
                  <a:pt x="2872541" y="136944"/>
                  <a:pt x="2872237" y="270237"/>
                  <a:pt x="2871931" y="405969"/>
                </a:cubicBezTo>
                <a:cubicBezTo>
                  <a:pt x="2832278" y="404750"/>
                  <a:pt x="2794456" y="403529"/>
                  <a:pt x="2755719" y="402310"/>
                </a:cubicBezTo>
                <a:cubicBezTo>
                  <a:pt x="2754804" y="393464"/>
                  <a:pt x="2753889" y="387364"/>
                  <a:pt x="2753279" y="381568"/>
                </a:cubicBezTo>
                <a:cubicBezTo>
                  <a:pt x="2741079" y="379128"/>
                  <a:pt x="2732539" y="374248"/>
                  <a:pt x="2732843" y="358691"/>
                </a:cubicBezTo>
                <a:cubicBezTo>
                  <a:pt x="2733758" y="262916"/>
                  <a:pt x="2733758" y="166836"/>
                  <a:pt x="2734063" y="71061"/>
                </a:cubicBezTo>
                <a:cubicBezTo>
                  <a:pt x="2734063" y="51235"/>
                  <a:pt x="2734368" y="31713"/>
                  <a:pt x="2734064" y="11888"/>
                </a:cubicBezTo>
                <a:cubicBezTo>
                  <a:pt x="2733758" y="4261"/>
                  <a:pt x="2736198" y="906"/>
                  <a:pt x="2744434" y="1212"/>
                </a:cubicBezTo>
                <a:cubicBezTo>
                  <a:pt x="2763040" y="1822"/>
                  <a:pt x="2783170" y="-2754"/>
                  <a:pt x="2800252" y="2736"/>
                </a:cubicBezTo>
                <a:cubicBezTo>
                  <a:pt x="2815808" y="7617"/>
                  <a:pt x="2828313" y="1517"/>
                  <a:pt x="2842039" y="1517"/>
                </a:cubicBezTo>
                <a:cubicBezTo>
                  <a:pt x="2851494" y="1517"/>
                  <a:pt x="2861255" y="1517"/>
                  <a:pt x="2872846" y="1822"/>
                </a:cubicBezTo>
                <a:close/>
                <a:moveTo>
                  <a:pt x="3177792" y="230"/>
                </a:moveTo>
                <a:cubicBezTo>
                  <a:pt x="3213517" y="1756"/>
                  <a:pt x="3248823" y="10906"/>
                  <a:pt x="3283442" y="28902"/>
                </a:cubicBezTo>
                <a:cubicBezTo>
                  <a:pt x="3306318" y="40797"/>
                  <a:pt x="3321874" y="59708"/>
                  <a:pt x="3324924" y="85939"/>
                </a:cubicBezTo>
                <a:cubicBezTo>
                  <a:pt x="3328584" y="117967"/>
                  <a:pt x="3330110" y="150298"/>
                  <a:pt x="3332855" y="184459"/>
                </a:cubicBezTo>
                <a:cubicBezTo>
                  <a:pt x="3315469" y="184459"/>
                  <a:pt x="3302048" y="184765"/>
                  <a:pt x="3287711" y="184765"/>
                </a:cubicBezTo>
                <a:cubicBezTo>
                  <a:pt x="3287408" y="180800"/>
                  <a:pt x="3286492" y="177445"/>
                  <a:pt x="3287102" y="174089"/>
                </a:cubicBezTo>
                <a:cubicBezTo>
                  <a:pt x="3289542" y="159144"/>
                  <a:pt x="3288322" y="145418"/>
                  <a:pt x="3277951" y="133217"/>
                </a:cubicBezTo>
                <a:cubicBezTo>
                  <a:pt x="3275817" y="130777"/>
                  <a:pt x="3275511" y="126812"/>
                  <a:pt x="3273681" y="123762"/>
                </a:cubicBezTo>
                <a:cubicBezTo>
                  <a:pt x="3270632" y="118271"/>
                  <a:pt x="3266971" y="113086"/>
                  <a:pt x="3263615" y="107901"/>
                </a:cubicBezTo>
                <a:cubicBezTo>
                  <a:pt x="3260565" y="102715"/>
                  <a:pt x="3257210" y="97836"/>
                  <a:pt x="3253855" y="92650"/>
                </a:cubicBezTo>
                <a:cubicBezTo>
                  <a:pt x="3254770" y="91430"/>
                  <a:pt x="3255686" y="90209"/>
                  <a:pt x="3256600" y="88990"/>
                </a:cubicBezTo>
                <a:cubicBezTo>
                  <a:pt x="3244400" y="87161"/>
                  <a:pt x="3232199" y="85329"/>
                  <a:pt x="3220304" y="83499"/>
                </a:cubicBezTo>
                <a:cubicBezTo>
                  <a:pt x="3220608" y="80754"/>
                  <a:pt x="3221218" y="74044"/>
                  <a:pt x="3222133" y="66114"/>
                </a:cubicBezTo>
                <a:cubicBezTo>
                  <a:pt x="3197732" y="73129"/>
                  <a:pt x="3195597" y="91430"/>
                  <a:pt x="3210848" y="132302"/>
                </a:cubicBezTo>
                <a:cubicBezTo>
                  <a:pt x="3213288" y="131693"/>
                  <a:pt x="3215423" y="130777"/>
                  <a:pt x="3217863" y="130472"/>
                </a:cubicBezTo>
                <a:cubicBezTo>
                  <a:pt x="3224574" y="129862"/>
                  <a:pt x="3234029" y="126812"/>
                  <a:pt x="3237079" y="129862"/>
                </a:cubicBezTo>
                <a:cubicBezTo>
                  <a:pt x="3241044" y="133827"/>
                  <a:pt x="3239517" y="142672"/>
                  <a:pt x="3240129" y="149689"/>
                </a:cubicBezTo>
                <a:lnTo>
                  <a:pt x="3240421" y="156719"/>
                </a:lnTo>
                <a:lnTo>
                  <a:pt x="3231589" y="168294"/>
                </a:lnTo>
                <a:cubicBezTo>
                  <a:pt x="3227318" y="180495"/>
                  <a:pt x="3219999" y="186291"/>
                  <a:pt x="3206883" y="183850"/>
                </a:cubicBezTo>
                <a:cubicBezTo>
                  <a:pt x="3202917" y="182935"/>
                  <a:pt x="3198952" y="183545"/>
                  <a:pt x="3192851" y="183240"/>
                </a:cubicBezTo>
                <a:cubicBezTo>
                  <a:pt x="3192852" y="164939"/>
                  <a:pt x="3192242" y="146942"/>
                  <a:pt x="3192547" y="128947"/>
                </a:cubicBezTo>
                <a:cubicBezTo>
                  <a:pt x="3192852" y="106986"/>
                  <a:pt x="3194072" y="84720"/>
                  <a:pt x="3184616" y="63978"/>
                </a:cubicBezTo>
                <a:cubicBezTo>
                  <a:pt x="3182481" y="59098"/>
                  <a:pt x="3177296" y="56048"/>
                  <a:pt x="3171500" y="50253"/>
                </a:cubicBezTo>
                <a:cubicBezTo>
                  <a:pt x="3171805" y="48422"/>
                  <a:pt x="3172415" y="43848"/>
                  <a:pt x="3173330" y="36832"/>
                </a:cubicBezTo>
                <a:cubicBezTo>
                  <a:pt x="3160214" y="36527"/>
                  <a:pt x="3147404" y="33782"/>
                  <a:pt x="3136424" y="36832"/>
                </a:cubicBezTo>
                <a:cubicBezTo>
                  <a:pt x="3124224" y="40187"/>
                  <a:pt x="3130628" y="48422"/>
                  <a:pt x="3136119" y="54828"/>
                </a:cubicBezTo>
                <a:cubicBezTo>
                  <a:pt x="3142219" y="50558"/>
                  <a:pt x="3147710" y="46897"/>
                  <a:pt x="3155640" y="41407"/>
                </a:cubicBezTo>
                <a:cubicBezTo>
                  <a:pt x="3154113" y="50863"/>
                  <a:pt x="3155945" y="58793"/>
                  <a:pt x="3144355" y="56964"/>
                </a:cubicBezTo>
                <a:cubicBezTo>
                  <a:pt x="3142829" y="56658"/>
                  <a:pt x="3138558" y="61843"/>
                  <a:pt x="3138864" y="62453"/>
                </a:cubicBezTo>
                <a:cubicBezTo>
                  <a:pt x="3147405" y="77095"/>
                  <a:pt x="3136424" y="84720"/>
                  <a:pt x="3128188" y="94785"/>
                </a:cubicBezTo>
                <a:cubicBezTo>
                  <a:pt x="3131238" y="93870"/>
                  <a:pt x="3134288" y="92650"/>
                  <a:pt x="3137948" y="91735"/>
                </a:cubicBezTo>
                <a:cubicBezTo>
                  <a:pt x="3140694" y="103325"/>
                  <a:pt x="3130627" y="107596"/>
                  <a:pt x="3123918" y="108206"/>
                </a:cubicBezTo>
                <a:cubicBezTo>
                  <a:pt x="3117208" y="108510"/>
                  <a:pt x="3109887" y="102410"/>
                  <a:pt x="3102262" y="99055"/>
                </a:cubicBezTo>
                <a:cubicBezTo>
                  <a:pt x="3101652" y="116442"/>
                  <a:pt x="3106226" y="119492"/>
                  <a:pt x="3137949" y="122846"/>
                </a:cubicBezTo>
                <a:cubicBezTo>
                  <a:pt x="3137949" y="154873"/>
                  <a:pt x="3137949" y="187205"/>
                  <a:pt x="3137949" y="219536"/>
                </a:cubicBezTo>
                <a:cubicBezTo>
                  <a:pt x="3138254" y="255834"/>
                  <a:pt x="3137948" y="292436"/>
                  <a:pt x="3139168" y="329038"/>
                </a:cubicBezTo>
                <a:cubicBezTo>
                  <a:pt x="3140083" y="348254"/>
                  <a:pt x="3148624" y="354355"/>
                  <a:pt x="3166620" y="353745"/>
                </a:cubicBezTo>
                <a:cubicBezTo>
                  <a:pt x="3180651" y="353135"/>
                  <a:pt x="3188887" y="346729"/>
                  <a:pt x="3189802" y="332698"/>
                </a:cubicBezTo>
                <a:cubicBezTo>
                  <a:pt x="3190716" y="312568"/>
                  <a:pt x="3191327" y="292131"/>
                  <a:pt x="3191936" y="272000"/>
                </a:cubicBezTo>
                <a:cubicBezTo>
                  <a:pt x="3192242" y="266204"/>
                  <a:pt x="3192242" y="260104"/>
                  <a:pt x="3191327" y="253394"/>
                </a:cubicBezTo>
                <a:cubicBezTo>
                  <a:pt x="3237079" y="253394"/>
                  <a:pt x="3282222" y="253394"/>
                  <a:pt x="3330414" y="253394"/>
                </a:cubicBezTo>
                <a:cubicBezTo>
                  <a:pt x="3329499" y="273830"/>
                  <a:pt x="3328279" y="293047"/>
                  <a:pt x="3327974" y="312567"/>
                </a:cubicBezTo>
                <a:cubicBezTo>
                  <a:pt x="3327059" y="359234"/>
                  <a:pt x="3302048" y="388822"/>
                  <a:pt x="3260565" y="404377"/>
                </a:cubicBezTo>
                <a:cubicBezTo>
                  <a:pt x="3196206" y="428473"/>
                  <a:pt x="3130628" y="427863"/>
                  <a:pt x="3065660" y="404987"/>
                </a:cubicBezTo>
                <a:cubicBezTo>
                  <a:pt x="3028143" y="391871"/>
                  <a:pt x="3004961" y="365335"/>
                  <a:pt x="3002522" y="325377"/>
                </a:cubicBezTo>
                <a:cubicBezTo>
                  <a:pt x="2999471" y="276270"/>
                  <a:pt x="2999471" y="226857"/>
                  <a:pt x="2998556" y="177749"/>
                </a:cubicBezTo>
                <a:cubicBezTo>
                  <a:pt x="2998251" y="157924"/>
                  <a:pt x="2998861" y="138098"/>
                  <a:pt x="2999166" y="118271"/>
                </a:cubicBezTo>
                <a:cubicBezTo>
                  <a:pt x="2999776" y="68859"/>
                  <a:pt x="3022347" y="33476"/>
                  <a:pt x="3069625" y="17311"/>
                </a:cubicBezTo>
                <a:cubicBezTo>
                  <a:pt x="3105922" y="4806"/>
                  <a:pt x="3142066" y="-1295"/>
                  <a:pt x="3177792" y="230"/>
                </a:cubicBezTo>
                <a:close/>
              </a:path>
            </a:pathLst>
          </a:custGeom>
          <a:solidFill>
            <a:schemeClr val="accent3">
              <a:alpha val="10000"/>
            </a:schemeClr>
          </a:solidFill>
          <a:ln w="313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934821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7F824D07-1D7F-43A0-A9B8-18F3529EB45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9392433 w 12192000"/>
              <a:gd name="connsiteY0" fmla="*/ 6323276 h 6858000"/>
              <a:gd name="connsiteX1" fmla="*/ 9416431 w 12192000"/>
              <a:gd name="connsiteY1" fmla="*/ 6339923 h 6858000"/>
              <a:gd name="connsiteX2" fmla="*/ 9430367 w 12192000"/>
              <a:gd name="connsiteY2" fmla="*/ 6451826 h 6858000"/>
              <a:gd name="connsiteX3" fmla="*/ 9330256 w 12192000"/>
              <a:gd name="connsiteY3" fmla="*/ 6498913 h 6858000"/>
              <a:gd name="connsiteX4" fmla="*/ 9317015 w 12192000"/>
              <a:gd name="connsiteY4" fmla="*/ 6493620 h 6858000"/>
              <a:gd name="connsiteX5" fmla="*/ 9408670 w 12192000"/>
              <a:gd name="connsiteY5" fmla="*/ 6074766 h 6858000"/>
              <a:gd name="connsiteX6" fmla="*/ 9465918 w 12192000"/>
              <a:gd name="connsiteY6" fmla="*/ 6078055 h 6858000"/>
              <a:gd name="connsiteX7" fmla="*/ 9502082 w 12192000"/>
              <a:gd name="connsiteY7" fmla="*/ 6075615 h 6858000"/>
              <a:gd name="connsiteX8" fmla="*/ 9392433 w 12192000"/>
              <a:gd name="connsiteY8" fmla="*/ 6323276 h 6858000"/>
              <a:gd name="connsiteX9" fmla="*/ 9379936 w 12192000"/>
              <a:gd name="connsiteY9" fmla="*/ 6314606 h 6858000"/>
              <a:gd name="connsiteX10" fmla="*/ 9408670 w 12192000"/>
              <a:gd name="connsiteY10" fmla="*/ 6074766 h 6858000"/>
              <a:gd name="connsiteX11" fmla="*/ 9402806 w 12192000"/>
              <a:gd name="connsiteY11" fmla="*/ 5850170 h 6858000"/>
              <a:gd name="connsiteX12" fmla="*/ 9470243 w 12192000"/>
              <a:gd name="connsiteY12" fmla="*/ 5917607 h 6858000"/>
              <a:gd name="connsiteX13" fmla="*/ 9402219 w 12192000"/>
              <a:gd name="connsiteY13" fmla="*/ 5983871 h 6858000"/>
              <a:gd name="connsiteX14" fmla="*/ 9336542 w 12192000"/>
              <a:gd name="connsiteY14" fmla="*/ 5917021 h 6858000"/>
              <a:gd name="connsiteX15" fmla="*/ 9402806 w 12192000"/>
              <a:gd name="connsiteY15" fmla="*/ 5850170 h 6858000"/>
              <a:gd name="connsiteX16" fmla="*/ 9561136 w 12192000"/>
              <a:gd name="connsiteY16" fmla="*/ 5711778 h 6858000"/>
              <a:gd name="connsiteX17" fmla="*/ 9591043 w 12192000"/>
              <a:gd name="connsiteY17" fmla="*/ 5740512 h 6858000"/>
              <a:gd name="connsiteX18" fmla="*/ 9562895 w 12192000"/>
              <a:gd name="connsiteY18" fmla="*/ 5770419 h 6858000"/>
              <a:gd name="connsiteX19" fmla="*/ 9532988 w 12192000"/>
              <a:gd name="connsiteY19" fmla="*/ 5739339 h 6858000"/>
              <a:gd name="connsiteX20" fmla="*/ 9561136 w 12192000"/>
              <a:gd name="connsiteY20" fmla="*/ 5711778 h 6858000"/>
              <a:gd name="connsiteX21" fmla="*/ 9215741 w 12192000"/>
              <a:gd name="connsiteY21" fmla="*/ 5662520 h 6858000"/>
              <a:gd name="connsiteX22" fmla="*/ 9259722 w 12192000"/>
              <a:gd name="connsiteY22" fmla="*/ 5708260 h 6858000"/>
              <a:gd name="connsiteX23" fmla="*/ 9216914 w 12192000"/>
              <a:gd name="connsiteY23" fmla="*/ 5754000 h 6858000"/>
              <a:gd name="connsiteX24" fmla="*/ 9171760 w 12192000"/>
              <a:gd name="connsiteY24" fmla="*/ 5710019 h 6858000"/>
              <a:gd name="connsiteX25" fmla="*/ 9215741 w 12192000"/>
              <a:gd name="connsiteY25" fmla="*/ 5662520 h 6858000"/>
              <a:gd name="connsiteX26" fmla="*/ 9774003 w 12192000"/>
              <a:gd name="connsiteY26" fmla="*/ 5588632 h 6858000"/>
              <a:gd name="connsiteX27" fmla="*/ 9738818 w 12192000"/>
              <a:gd name="connsiteY27" fmla="*/ 5623817 h 6858000"/>
              <a:gd name="connsiteX28" fmla="*/ 9772243 w 12192000"/>
              <a:gd name="connsiteY28" fmla="*/ 5655483 h 6858000"/>
              <a:gd name="connsiteX29" fmla="*/ 9805669 w 12192000"/>
              <a:gd name="connsiteY29" fmla="*/ 5622644 h 6858000"/>
              <a:gd name="connsiteX30" fmla="*/ 9774003 w 12192000"/>
              <a:gd name="connsiteY30" fmla="*/ 5588632 h 6858000"/>
              <a:gd name="connsiteX31" fmla="*/ 9245062 w 12192000"/>
              <a:gd name="connsiteY31" fmla="*/ 5447895 h 6858000"/>
              <a:gd name="connsiteX32" fmla="*/ 9281419 w 12192000"/>
              <a:gd name="connsiteY32" fmla="*/ 5483666 h 6858000"/>
              <a:gd name="connsiteX33" fmla="*/ 9243889 w 12192000"/>
              <a:gd name="connsiteY33" fmla="*/ 5522955 h 6858000"/>
              <a:gd name="connsiteX34" fmla="*/ 9208118 w 12192000"/>
              <a:gd name="connsiteY34" fmla="*/ 5484252 h 6858000"/>
              <a:gd name="connsiteX35" fmla="*/ 9245062 w 12192000"/>
              <a:gd name="connsiteY35" fmla="*/ 5447895 h 6858000"/>
              <a:gd name="connsiteX36" fmla="*/ 9459687 w 12192000"/>
              <a:gd name="connsiteY36" fmla="*/ 5392186 h 6858000"/>
              <a:gd name="connsiteX37" fmla="*/ 9535921 w 12192000"/>
              <a:gd name="connsiteY37" fmla="*/ 5471938 h 6858000"/>
              <a:gd name="connsiteX38" fmla="*/ 9456169 w 12192000"/>
              <a:gd name="connsiteY38" fmla="*/ 5548757 h 6858000"/>
              <a:gd name="connsiteX39" fmla="*/ 9383454 w 12192000"/>
              <a:gd name="connsiteY39" fmla="*/ 5468419 h 6858000"/>
              <a:gd name="connsiteX40" fmla="*/ 9459687 w 12192000"/>
              <a:gd name="connsiteY40" fmla="*/ 5392186 h 6858000"/>
              <a:gd name="connsiteX41" fmla="*/ 10051960 w 12192000"/>
              <a:gd name="connsiteY41" fmla="*/ 5366971 h 6858000"/>
              <a:gd name="connsiteX42" fmla="*/ 10149890 w 12192000"/>
              <a:gd name="connsiteY42" fmla="*/ 5434994 h 6858000"/>
              <a:gd name="connsiteX43" fmla="*/ 10103564 w 12192000"/>
              <a:gd name="connsiteY43" fmla="*/ 5547585 h 6858000"/>
              <a:gd name="connsiteX44" fmla="*/ 9983937 w 12192000"/>
              <a:gd name="connsiteY44" fmla="*/ 5524715 h 6858000"/>
              <a:gd name="connsiteX45" fmla="*/ 9965172 w 12192000"/>
              <a:gd name="connsiteY45" fmla="*/ 5507123 h 6858000"/>
              <a:gd name="connsiteX46" fmla="*/ 9858446 w 12192000"/>
              <a:gd name="connsiteY46" fmla="*/ 5540548 h 6858000"/>
              <a:gd name="connsiteX47" fmla="*/ 9859032 w 12192000"/>
              <a:gd name="connsiteY47" fmla="*/ 5562831 h 6858000"/>
              <a:gd name="connsiteX48" fmla="*/ 9869587 w 12192000"/>
              <a:gd name="connsiteY48" fmla="*/ 5727612 h 6858000"/>
              <a:gd name="connsiteX49" fmla="*/ 9875451 w 12192000"/>
              <a:gd name="connsiteY49" fmla="*/ 5754000 h 6858000"/>
              <a:gd name="connsiteX50" fmla="*/ 10068380 w 12192000"/>
              <a:gd name="connsiteY50" fmla="*/ 5883010 h 6858000"/>
              <a:gd name="connsiteX51" fmla="*/ 10105323 w 12192000"/>
              <a:gd name="connsiteY51" fmla="*/ 5905880 h 6858000"/>
              <a:gd name="connsiteX52" fmla="*/ 10211464 w 12192000"/>
              <a:gd name="connsiteY52" fmla="*/ 5891806 h 6858000"/>
              <a:gd name="connsiteX53" fmla="*/ 10265413 w 12192000"/>
              <a:gd name="connsiteY53" fmla="*/ 5975076 h 6858000"/>
              <a:gd name="connsiteX54" fmla="*/ 10168069 w 12192000"/>
              <a:gd name="connsiteY54" fmla="*/ 6073593 h 6858000"/>
              <a:gd name="connsiteX55" fmla="*/ 10074244 w 12192000"/>
              <a:gd name="connsiteY55" fmla="*/ 5969212 h 6858000"/>
              <a:gd name="connsiteX56" fmla="*/ 10077176 w 12192000"/>
              <a:gd name="connsiteY56" fmla="*/ 5932268 h 6858000"/>
              <a:gd name="connsiteX57" fmla="*/ 9884834 w 12192000"/>
              <a:gd name="connsiteY57" fmla="*/ 5800913 h 6858000"/>
              <a:gd name="connsiteX58" fmla="*/ 9854340 w 12192000"/>
              <a:gd name="connsiteY58" fmla="*/ 5790357 h 6858000"/>
              <a:gd name="connsiteX59" fmla="*/ 9671967 w 12192000"/>
              <a:gd name="connsiteY59" fmla="*/ 6021402 h 6858000"/>
              <a:gd name="connsiteX60" fmla="*/ 9770484 w 12192000"/>
              <a:gd name="connsiteY60" fmla="*/ 6144548 h 6858000"/>
              <a:gd name="connsiteX61" fmla="*/ 9793940 w 12192000"/>
              <a:gd name="connsiteY61" fmla="*/ 6174455 h 6858000"/>
              <a:gd name="connsiteX62" fmla="*/ 9827952 w 12192000"/>
              <a:gd name="connsiteY62" fmla="*/ 6168004 h 6858000"/>
              <a:gd name="connsiteX63" fmla="*/ 9931746 w 12192000"/>
              <a:gd name="connsiteY63" fmla="*/ 6226645 h 6858000"/>
              <a:gd name="connsiteX64" fmla="*/ 9898321 w 12192000"/>
              <a:gd name="connsiteY64" fmla="*/ 6340995 h 6858000"/>
              <a:gd name="connsiteX65" fmla="*/ 9779280 w 12192000"/>
              <a:gd name="connsiteY65" fmla="*/ 6335131 h 6858000"/>
              <a:gd name="connsiteX66" fmla="*/ 9758169 w 12192000"/>
              <a:gd name="connsiteY66" fmla="*/ 6217849 h 6858000"/>
              <a:gd name="connsiteX67" fmla="*/ 9767552 w 12192000"/>
              <a:gd name="connsiteY67" fmla="*/ 6203189 h 6858000"/>
              <a:gd name="connsiteX68" fmla="*/ 9631505 w 12192000"/>
              <a:gd name="connsiteY68" fmla="*/ 6042513 h 6858000"/>
              <a:gd name="connsiteX69" fmla="*/ 9522287 w 12192000"/>
              <a:gd name="connsiteY69" fmla="*/ 6074252 h 6858000"/>
              <a:gd name="connsiteX70" fmla="*/ 9502082 w 12192000"/>
              <a:gd name="connsiteY70" fmla="*/ 6075615 h 6858000"/>
              <a:gd name="connsiteX71" fmla="*/ 9789793 w 12192000"/>
              <a:gd name="connsiteY71" fmla="*/ 5425774 h 6858000"/>
              <a:gd name="connsiteX72" fmla="*/ 9836162 w 12192000"/>
              <a:gd name="connsiteY72" fmla="*/ 5503604 h 6858000"/>
              <a:gd name="connsiteX73" fmla="*/ 9905358 w 12192000"/>
              <a:gd name="connsiteY73" fmla="*/ 5488944 h 6858000"/>
              <a:gd name="connsiteX74" fmla="*/ 9946993 w 12192000"/>
              <a:gd name="connsiteY74" fmla="*/ 5477802 h 6858000"/>
              <a:gd name="connsiteX75" fmla="*/ 9963412 w 12192000"/>
              <a:gd name="connsiteY75" fmla="*/ 5449655 h 6858000"/>
              <a:gd name="connsiteX76" fmla="*/ 10051960 w 12192000"/>
              <a:gd name="connsiteY76" fmla="*/ 5366971 h 6858000"/>
              <a:gd name="connsiteX77" fmla="*/ 10479589 w 12192000"/>
              <a:gd name="connsiteY77" fmla="*/ 4475676 h 6858000"/>
              <a:gd name="connsiteX78" fmla="*/ 10422043 w 12192000"/>
              <a:gd name="connsiteY78" fmla="*/ 4533730 h 6858000"/>
              <a:gd name="connsiteX79" fmla="*/ 10479079 w 12192000"/>
              <a:gd name="connsiteY79" fmla="*/ 4591785 h 6858000"/>
              <a:gd name="connsiteX80" fmla="*/ 10538153 w 12192000"/>
              <a:gd name="connsiteY80" fmla="*/ 4534239 h 6858000"/>
              <a:gd name="connsiteX81" fmla="*/ 10479589 w 12192000"/>
              <a:gd name="connsiteY81" fmla="*/ 4475676 h 6858000"/>
              <a:gd name="connsiteX82" fmla="*/ 10617086 w 12192000"/>
              <a:gd name="connsiteY82" fmla="*/ 4355492 h 6858000"/>
              <a:gd name="connsiteX83" fmla="*/ 10592642 w 12192000"/>
              <a:gd name="connsiteY83" fmla="*/ 4379427 h 6858000"/>
              <a:gd name="connsiteX84" fmla="*/ 10618614 w 12192000"/>
              <a:gd name="connsiteY84" fmla="*/ 4406418 h 6858000"/>
              <a:gd name="connsiteX85" fmla="*/ 10643059 w 12192000"/>
              <a:gd name="connsiteY85" fmla="*/ 4380445 h 6858000"/>
              <a:gd name="connsiteX86" fmla="*/ 10617086 w 12192000"/>
              <a:gd name="connsiteY86" fmla="*/ 4355492 h 6858000"/>
              <a:gd name="connsiteX87" fmla="*/ 10317137 w 12192000"/>
              <a:gd name="connsiteY87" fmla="*/ 4312715 h 6858000"/>
              <a:gd name="connsiteX88" fmla="*/ 10278943 w 12192000"/>
              <a:gd name="connsiteY88" fmla="*/ 4353965 h 6858000"/>
              <a:gd name="connsiteX89" fmla="*/ 10318156 w 12192000"/>
              <a:gd name="connsiteY89" fmla="*/ 4392159 h 6858000"/>
              <a:gd name="connsiteX90" fmla="*/ 10355331 w 12192000"/>
              <a:gd name="connsiteY90" fmla="*/ 4352437 h 6858000"/>
              <a:gd name="connsiteX91" fmla="*/ 10317137 w 12192000"/>
              <a:gd name="connsiteY91" fmla="*/ 4312715 h 6858000"/>
              <a:gd name="connsiteX92" fmla="*/ 10801945 w 12192000"/>
              <a:gd name="connsiteY92" fmla="*/ 4248550 h 6858000"/>
              <a:gd name="connsiteX93" fmla="*/ 10771390 w 12192000"/>
              <a:gd name="connsiteY93" fmla="*/ 4279105 h 6858000"/>
              <a:gd name="connsiteX94" fmla="*/ 10800417 w 12192000"/>
              <a:gd name="connsiteY94" fmla="*/ 4306604 h 6858000"/>
              <a:gd name="connsiteX95" fmla="*/ 10829445 w 12192000"/>
              <a:gd name="connsiteY95" fmla="*/ 4278086 h 6858000"/>
              <a:gd name="connsiteX96" fmla="*/ 10801945 w 12192000"/>
              <a:gd name="connsiteY96" fmla="*/ 4248550 h 6858000"/>
              <a:gd name="connsiteX97" fmla="*/ 10342600 w 12192000"/>
              <a:gd name="connsiteY97" fmla="*/ 4126329 h 6858000"/>
              <a:gd name="connsiteX98" fmla="*/ 10361413 w 12192000"/>
              <a:gd name="connsiteY98" fmla="*/ 4134678 h 6858000"/>
              <a:gd name="connsiteX99" fmla="*/ 10337118 w 12192000"/>
              <a:gd name="connsiteY99" fmla="*/ 4189552 h 6858000"/>
              <a:gd name="connsiteX100" fmla="*/ 10318983 w 12192000"/>
              <a:gd name="connsiteY100" fmla="*/ 4181583 h 6858000"/>
              <a:gd name="connsiteX101" fmla="*/ 10310517 w 12192000"/>
              <a:gd name="connsiteY101" fmla="*/ 4157903 h 6858000"/>
              <a:gd name="connsiteX102" fmla="*/ 10342600 w 12192000"/>
              <a:gd name="connsiteY102" fmla="*/ 4126329 h 6858000"/>
              <a:gd name="connsiteX103" fmla="*/ 10528986 w 12192000"/>
              <a:gd name="connsiteY103" fmla="*/ 4077951 h 6858000"/>
              <a:gd name="connsiteX104" fmla="*/ 10462783 w 12192000"/>
              <a:gd name="connsiteY104" fmla="*/ 4144153 h 6858000"/>
              <a:gd name="connsiteX105" fmla="*/ 10525931 w 12192000"/>
              <a:gd name="connsiteY105" fmla="*/ 4213921 h 6858000"/>
              <a:gd name="connsiteX106" fmla="*/ 10595189 w 12192000"/>
              <a:gd name="connsiteY106" fmla="*/ 4147209 h 6858000"/>
              <a:gd name="connsiteX107" fmla="*/ 10528986 w 12192000"/>
              <a:gd name="connsiteY107" fmla="*/ 4077951 h 6858000"/>
              <a:gd name="connsiteX108" fmla="*/ 10859745 w 12192000"/>
              <a:gd name="connsiteY108" fmla="*/ 3680608 h 6858000"/>
              <a:gd name="connsiteX109" fmla="*/ 10914999 w 12192000"/>
              <a:gd name="connsiteY109" fmla="*/ 3691429 h 6858000"/>
              <a:gd name="connsiteX110" fmla="*/ 10950137 w 12192000"/>
              <a:gd name="connsiteY110" fmla="*/ 3793279 h 6858000"/>
              <a:gd name="connsiteX111" fmla="*/ 10855416 w 12192000"/>
              <a:gd name="connsiteY111" fmla="*/ 3845223 h 6858000"/>
              <a:gd name="connsiteX112" fmla="*/ 10835556 w 12192000"/>
              <a:gd name="connsiteY112" fmla="*/ 3842677 h 6858000"/>
              <a:gd name="connsiteX113" fmla="*/ 10723520 w 12192000"/>
              <a:gd name="connsiteY113" fmla="*/ 4015313 h 6858000"/>
              <a:gd name="connsiteX114" fmla="*/ 10743381 w 12192000"/>
              <a:gd name="connsiteY114" fmla="*/ 4034156 h 6858000"/>
              <a:gd name="connsiteX115" fmla="*/ 10855926 w 12192000"/>
              <a:gd name="connsiteY115" fmla="*/ 4174709 h 6858000"/>
              <a:gd name="connsiteX116" fmla="*/ 10916018 w 12192000"/>
              <a:gd name="connsiteY116" fmla="*/ 4161977 h 6858000"/>
              <a:gd name="connsiteX117" fmla="*/ 10952174 w 12192000"/>
              <a:gd name="connsiteY117" fmla="*/ 4152302 h 6858000"/>
              <a:gd name="connsiteX118" fmla="*/ 10966433 w 12192000"/>
              <a:gd name="connsiteY118" fmla="*/ 4127858 h 6858000"/>
              <a:gd name="connsiteX119" fmla="*/ 11043330 w 12192000"/>
              <a:gd name="connsiteY119" fmla="*/ 4056053 h 6858000"/>
              <a:gd name="connsiteX120" fmla="*/ 11128375 w 12192000"/>
              <a:gd name="connsiteY120" fmla="*/ 4115126 h 6858000"/>
              <a:gd name="connsiteX121" fmla="*/ 11088145 w 12192000"/>
              <a:gd name="connsiteY121" fmla="*/ 4212903 h 6858000"/>
              <a:gd name="connsiteX122" fmla="*/ 10984257 w 12192000"/>
              <a:gd name="connsiteY122" fmla="*/ 4193042 h 6858000"/>
              <a:gd name="connsiteX123" fmla="*/ 10967961 w 12192000"/>
              <a:gd name="connsiteY123" fmla="*/ 4177764 h 6858000"/>
              <a:gd name="connsiteX124" fmla="*/ 10875277 w 12192000"/>
              <a:gd name="connsiteY124" fmla="*/ 4206792 h 6858000"/>
              <a:gd name="connsiteX125" fmla="*/ 10875786 w 12192000"/>
              <a:gd name="connsiteY125" fmla="*/ 4226143 h 6858000"/>
              <a:gd name="connsiteX126" fmla="*/ 10884953 w 12192000"/>
              <a:gd name="connsiteY126" fmla="*/ 4369243 h 6858000"/>
              <a:gd name="connsiteX127" fmla="*/ 10890045 w 12192000"/>
              <a:gd name="connsiteY127" fmla="*/ 4392159 h 6858000"/>
              <a:gd name="connsiteX128" fmla="*/ 11057590 w 12192000"/>
              <a:gd name="connsiteY128" fmla="*/ 4504194 h 6858000"/>
              <a:gd name="connsiteX129" fmla="*/ 11089672 w 12192000"/>
              <a:gd name="connsiteY129" fmla="*/ 4524055 h 6858000"/>
              <a:gd name="connsiteX130" fmla="*/ 11181847 w 12192000"/>
              <a:gd name="connsiteY130" fmla="*/ 4511833 h 6858000"/>
              <a:gd name="connsiteX131" fmla="*/ 11228698 w 12192000"/>
              <a:gd name="connsiteY131" fmla="*/ 4584147 h 6858000"/>
              <a:gd name="connsiteX132" fmla="*/ 11144162 w 12192000"/>
              <a:gd name="connsiteY132" fmla="*/ 4669701 h 6858000"/>
              <a:gd name="connsiteX133" fmla="*/ 11062682 w 12192000"/>
              <a:gd name="connsiteY133" fmla="*/ 4579055 h 6858000"/>
              <a:gd name="connsiteX134" fmla="*/ 11065228 w 12192000"/>
              <a:gd name="connsiteY134" fmla="*/ 4546971 h 6858000"/>
              <a:gd name="connsiteX135" fmla="*/ 10898194 w 12192000"/>
              <a:gd name="connsiteY135" fmla="*/ 4432899 h 6858000"/>
              <a:gd name="connsiteX136" fmla="*/ 10871712 w 12192000"/>
              <a:gd name="connsiteY136" fmla="*/ 4423733 h 6858000"/>
              <a:gd name="connsiteX137" fmla="*/ 10713335 w 12192000"/>
              <a:gd name="connsiteY137" fmla="*/ 4624378 h 6858000"/>
              <a:gd name="connsiteX138" fmla="*/ 10798890 w 12192000"/>
              <a:gd name="connsiteY138" fmla="*/ 4731320 h 6858000"/>
              <a:gd name="connsiteX139" fmla="*/ 10819260 w 12192000"/>
              <a:gd name="connsiteY139" fmla="*/ 4757292 h 6858000"/>
              <a:gd name="connsiteX140" fmla="*/ 10848796 w 12192000"/>
              <a:gd name="connsiteY140" fmla="*/ 4751690 h 6858000"/>
              <a:gd name="connsiteX141" fmla="*/ 10938934 w 12192000"/>
              <a:gd name="connsiteY141" fmla="*/ 4802616 h 6858000"/>
              <a:gd name="connsiteX142" fmla="*/ 10909906 w 12192000"/>
              <a:gd name="connsiteY142" fmla="*/ 4901920 h 6858000"/>
              <a:gd name="connsiteX143" fmla="*/ 10806528 w 12192000"/>
              <a:gd name="connsiteY143" fmla="*/ 4896827 h 6858000"/>
              <a:gd name="connsiteX144" fmla="*/ 10788195 w 12192000"/>
              <a:gd name="connsiteY144" fmla="*/ 4794977 h 6858000"/>
              <a:gd name="connsiteX145" fmla="*/ 10796343 w 12192000"/>
              <a:gd name="connsiteY145" fmla="*/ 4782246 h 6858000"/>
              <a:gd name="connsiteX146" fmla="*/ 10678197 w 12192000"/>
              <a:gd name="connsiteY146" fmla="*/ 4642711 h 6858000"/>
              <a:gd name="connsiteX147" fmla="*/ 10484681 w 12192000"/>
              <a:gd name="connsiteY147" fmla="*/ 4670720 h 6858000"/>
              <a:gd name="connsiteX148" fmla="*/ 10459728 w 12192000"/>
              <a:gd name="connsiteY148" fmla="*/ 4879003 h 6858000"/>
              <a:gd name="connsiteX149" fmla="*/ 10503524 w 12192000"/>
              <a:gd name="connsiteY149" fmla="*/ 4998168 h 6858000"/>
              <a:gd name="connsiteX150" fmla="*/ 10384359 w 12192000"/>
              <a:gd name="connsiteY150" fmla="*/ 5026177 h 6858000"/>
              <a:gd name="connsiteX151" fmla="*/ 10365007 w 12192000"/>
              <a:gd name="connsiteY151" fmla="*/ 4905484 h 6858000"/>
              <a:gd name="connsiteX152" fmla="*/ 10408803 w 12192000"/>
              <a:gd name="connsiteY152" fmla="*/ 4876457 h 6858000"/>
              <a:gd name="connsiteX153" fmla="*/ 10429173 w 12192000"/>
              <a:gd name="connsiteY153" fmla="*/ 4864744 h 6858000"/>
              <a:gd name="connsiteX154" fmla="*/ 10451070 w 12192000"/>
              <a:gd name="connsiteY154" fmla="*/ 4687525 h 6858000"/>
              <a:gd name="connsiteX155" fmla="*/ 10453107 w 12192000"/>
              <a:gd name="connsiteY155" fmla="*/ 4674794 h 6858000"/>
              <a:gd name="connsiteX156" fmla="*/ 10437830 w 12192000"/>
              <a:gd name="connsiteY156" fmla="*/ 4660535 h 6858000"/>
              <a:gd name="connsiteX157" fmla="*/ 10310008 w 12192000"/>
              <a:gd name="connsiteY157" fmla="*/ 4593823 h 6858000"/>
              <a:gd name="connsiteX158" fmla="*/ 10286582 w 12192000"/>
              <a:gd name="connsiteY158" fmla="*/ 4596369 h 6858000"/>
              <a:gd name="connsiteX159" fmla="*/ 10274869 w 12192000"/>
              <a:gd name="connsiteY159" fmla="*/ 4613174 h 6858000"/>
              <a:gd name="connsiteX160" fmla="*/ 10267231 w 12192000"/>
              <a:gd name="connsiteY160" fmla="*/ 4673266 h 6858000"/>
              <a:gd name="connsiteX161" fmla="*/ 10240750 w 12192000"/>
              <a:gd name="connsiteY161" fmla="*/ 4770533 h 6858000"/>
              <a:gd name="connsiteX162" fmla="*/ 10140936 w 12192000"/>
              <a:gd name="connsiteY162" fmla="*/ 4770533 h 6858000"/>
              <a:gd name="connsiteX163" fmla="*/ 10110763 w 12192000"/>
              <a:gd name="connsiteY163" fmla="*/ 4726419 h 6858000"/>
              <a:gd name="connsiteX164" fmla="*/ 10112201 w 12192000"/>
              <a:gd name="connsiteY164" fmla="*/ 4697564 h 6858000"/>
              <a:gd name="connsiteX165" fmla="*/ 10137373 w 12192000"/>
              <a:gd name="connsiteY165" fmla="*/ 4640708 h 6858000"/>
              <a:gd name="connsiteX166" fmla="*/ 10147747 w 12192000"/>
              <a:gd name="connsiteY166" fmla="*/ 4631635 h 6858000"/>
              <a:gd name="connsiteX167" fmla="*/ 10198481 w 12192000"/>
              <a:gd name="connsiteY167" fmla="*/ 4621832 h 6858000"/>
              <a:gd name="connsiteX168" fmla="*/ 10246861 w 12192000"/>
              <a:gd name="connsiteY168" fmla="*/ 4599425 h 6858000"/>
              <a:gd name="connsiteX169" fmla="*/ 10246861 w 12192000"/>
              <a:gd name="connsiteY169" fmla="*/ 4527620 h 6858000"/>
              <a:gd name="connsiteX170" fmla="*/ 10214773 w 12192000"/>
              <a:gd name="connsiteY170" fmla="*/ 4465887 h 6858000"/>
              <a:gd name="connsiteX171" fmla="*/ 10337118 w 12192000"/>
              <a:gd name="connsiteY171" fmla="*/ 4189552 h 6858000"/>
              <a:gd name="connsiteX172" fmla="*/ 10341581 w 12192000"/>
              <a:gd name="connsiteY172" fmla="*/ 4191513 h 6858000"/>
              <a:gd name="connsiteX173" fmla="*/ 10374174 w 12192000"/>
              <a:gd name="connsiteY173" fmla="*/ 4157394 h 6858000"/>
              <a:gd name="connsiteX174" fmla="*/ 10364689 w 12192000"/>
              <a:gd name="connsiteY174" fmla="*/ 4136132 h 6858000"/>
              <a:gd name="connsiteX175" fmla="*/ 10361413 w 12192000"/>
              <a:gd name="connsiteY175" fmla="*/ 4134678 h 6858000"/>
              <a:gd name="connsiteX176" fmla="*/ 10428234 w 12192000"/>
              <a:gd name="connsiteY176" fmla="*/ 3983752 h 6858000"/>
              <a:gd name="connsiteX177" fmla="*/ 10442922 w 12192000"/>
              <a:gd name="connsiteY177" fmla="*/ 3978138 h 6858000"/>
              <a:gd name="connsiteX178" fmla="*/ 10467876 w 12192000"/>
              <a:gd name="connsiteY178" fmla="*/ 3959805 h 6858000"/>
              <a:gd name="connsiteX179" fmla="*/ 10464311 w 12192000"/>
              <a:gd name="connsiteY179" fmla="*/ 3938225 h 6858000"/>
              <a:gd name="connsiteX180" fmla="*/ 10452557 w 12192000"/>
              <a:gd name="connsiteY180" fmla="*/ 3928814 h 6858000"/>
              <a:gd name="connsiteX181" fmla="*/ 10520213 w 12192000"/>
              <a:gd name="connsiteY181" fmla="*/ 3776003 h 6858000"/>
              <a:gd name="connsiteX182" fmla="*/ 10520583 w 12192000"/>
              <a:gd name="connsiteY182" fmla="*/ 3776148 h 6858000"/>
              <a:gd name="connsiteX183" fmla="*/ 10559541 w 12192000"/>
              <a:gd name="connsiteY183" fmla="*/ 3851844 h 6858000"/>
              <a:gd name="connsiteX184" fmla="*/ 10516764 w 12192000"/>
              <a:gd name="connsiteY184" fmla="*/ 3919065 h 6858000"/>
              <a:gd name="connsiteX185" fmla="*/ 10499958 w 12192000"/>
              <a:gd name="connsiteY185" fmla="*/ 3957768 h 6858000"/>
              <a:gd name="connsiteX186" fmla="*/ 10530005 w 12192000"/>
              <a:gd name="connsiteY186" fmla="*/ 3965916 h 6858000"/>
              <a:gd name="connsiteX187" fmla="*/ 10697039 w 12192000"/>
              <a:gd name="connsiteY187" fmla="*/ 4004109 h 6858000"/>
              <a:gd name="connsiteX188" fmla="*/ 10798890 w 12192000"/>
              <a:gd name="connsiteY188" fmla="*/ 3843696 h 6858000"/>
              <a:gd name="connsiteX189" fmla="*/ 10809075 w 12192000"/>
              <a:gd name="connsiteY189" fmla="*/ 3816196 h 6858000"/>
              <a:gd name="connsiteX190" fmla="*/ 10810602 w 12192000"/>
              <a:gd name="connsiteY190" fmla="*/ 3707216 h 6858000"/>
              <a:gd name="connsiteX191" fmla="*/ 10859745 w 12192000"/>
              <a:gd name="connsiteY191" fmla="*/ 3680608 h 6858000"/>
              <a:gd name="connsiteX192" fmla="*/ 682584 w 12192000"/>
              <a:gd name="connsiteY192" fmla="*/ 2135590 h 6858000"/>
              <a:gd name="connsiteX193" fmla="*/ 813210 w 12192000"/>
              <a:gd name="connsiteY193" fmla="*/ 2163115 h 6858000"/>
              <a:gd name="connsiteX194" fmla="*/ 990784 w 12192000"/>
              <a:gd name="connsiteY194" fmla="*/ 2237104 h 6858000"/>
              <a:gd name="connsiteX195" fmla="*/ 1020379 w 12192000"/>
              <a:gd name="connsiteY195" fmla="*/ 2282842 h 6858000"/>
              <a:gd name="connsiteX196" fmla="*/ 1107148 w 12192000"/>
              <a:gd name="connsiteY196" fmla="*/ 2342034 h 6858000"/>
              <a:gd name="connsiteX197" fmla="*/ 1121273 w 12192000"/>
              <a:gd name="connsiteY197" fmla="*/ 2356832 h 6858000"/>
              <a:gd name="connsiteX198" fmla="*/ 1358038 w 12192000"/>
              <a:gd name="connsiteY198" fmla="*/ 2677674 h 6858000"/>
              <a:gd name="connsiteX199" fmla="*/ 1487182 w 12192000"/>
              <a:gd name="connsiteY199" fmla="*/ 2797402 h 6858000"/>
              <a:gd name="connsiteX200" fmla="*/ 1543010 w 12192000"/>
              <a:gd name="connsiteY200" fmla="*/ 2861974 h 6858000"/>
              <a:gd name="connsiteX201" fmla="*/ 1571260 w 12192000"/>
              <a:gd name="connsiteY201" fmla="*/ 2962867 h 6858000"/>
              <a:gd name="connsiteX202" fmla="*/ 1527540 w 12192000"/>
              <a:gd name="connsiteY202" fmla="*/ 3056363 h 6858000"/>
              <a:gd name="connsiteX203" fmla="*/ 1413193 w 12192000"/>
              <a:gd name="connsiteY203" fmla="*/ 3116899 h 6858000"/>
              <a:gd name="connsiteX204" fmla="*/ 1395032 w 12192000"/>
              <a:gd name="connsiteY204" fmla="*/ 3134387 h 6858000"/>
              <a:gd name="connsiteX205" fmla="*/ 1360728 w 12192000"/>
              <a:gd name="connsiteY205" fmla="*/ 3220484 h 6858000"/>
              <a:gd name="connsiteX206" fmla="*/ 1359383 w 12192000"/>
              <a:gd name="connsiteY206" fmla="*/ 3268240 h 6858000"/>
              <a:gd name="connsiteX207" fmla="*/ 1368127 w 12192000"/>
              <a:gd name="connsiteY207" fmla="*/ 3477427 h 6858000"/>
              <a:gd name="connsiteX208" fmla="*/ 1369473 w 12192000"/>
              <a:gd name="connsiteY208" fmla="*/ 3466665 h 6858000"/>
              <a:gd name="connsiteX209" fmla="*/ 1377628 w 12192000"/>
              <a:gd name="connsiteY209" fmla="*/ 3645163 h 6858000"/>
              <a:gd name="connsiteX210" fmla="*/ 1383847 w 12192000"/>
              <a:gd name="connsiteY210" fmla="*/ 3732357 h 6858000"/>
              <a:gd name="connsiteX211" fmla="*/ 1319097 w 12192000"/>
              <a:gd name="connsiteY211" fmla="*/ 3878607 h 6858000"/>
              <a:gd name="connsiteX212" fmla="*/ 1310281 w 12192000"/>
              <a:gd name="connsiteY212" fmla="*/ 3882937 h 6858000"/>
              <a:gd name="connsiteX213" fmla="*/ 1306918 w 12192000"/>
              <a:gd name="connsiteY213" fmla="*/ 3893110 h 6858000"/>
              <a:gd name="connsiteX214" fmla="*/ 1305774 w 12192000"/>
              <a:gd name="connsiteY214" fmla="*/ 3908700 h 6858000"/>
              <a:gd name="connsiteX215" fmla="*/ 552112 w 12192000"/>
              <a:gd name="connsiteY215" fmla="*/ 5610966 h 6858000"/>
              <a:gd name="connsiteX216" fmla="*/ 564338 w 12192000"/>
              <a:gd name="connsiteY216" fmla="*/ 5510104 h 6858000"/>
              <a:gd name="connsiteX217" fmla="*/ 570392 w 12192000"/>
              <a:gd name="connsiteY217" fmla="*/ 5351364 h 6858000"/>
              <a:gd name="connsiteX218" fmla="*/ 571064 w 12192000"/>
              <a:gd name="connsiteY218" fmla="*/ 5340602 h 6858000"/>
              <a:gd name="connsiteX219" fmla="*/ 571737 w 12192000"/>
              <a:gd name="connsiteY219" fmla="*/ 4908776 h 6858000"/>
              <a:gd name="connsiteX220" fmla="*/ 573082 w 12192000"/>
              <a:gd name="connsiteY220" fmla="*/ 4937026 h 6858000"/>
              <a:gd name="connsiteX221" fmla="*/ 578463 w 12192000"/>
              <a:gd name="connsiteY221" fmla="*/ 4781649 h 6858000"/>
              <a:gd name="connsiteX222" fmla="*/ 591243 w 12192000"/>
              <a:gd name="connsiteY222" fmla="*/ 4665958 h 6858000"/>
              <a:gd name="connsiteX223" fmla="*/ 643036 w 12192000"/>
              <a:gd name="connsiteY223" fmla="*/ 4320901 h 6858000"/>
              <a:gd name="connsiteX224" fmla="*/ 641018 w 12192000"/>
              <a:gd name="connsiteY224" fmla="*/ 4265072 h 6858000"/>
              <a:gd name="connsiteX225" fmla="*/ 593934 w 12192000"/>
              <a:gd name="connsiteY225" fmla="*/ 4098261 h 6858000"/>
              <a:gd name="connsiteX226" fmla="*/ 580481 w 12192000"/>
              <a:gd name="connsiteY226" fmla="*/ 3902527 h 6858000"/>
              <a:gd name="connsiteX227" fmla="*/ 608059 w 12192000"/>
              <a:gd name="connsiteY227" fmla="*/ 3818448 h 6858000"/>
              <a:gd name="connsiteX228" fmla="*/ 647744 w 12192000"/>
              <a:gd name="connsiteY228" fmla="*/ 3382587 h 6858000"/>
              <a:gd name="connsiteX229" fmla="*/ 587207 w 12192000"/>
              <a:gd name="connsiteY229" fmla="*/ 3071833 h 6858000"/>
              <a:gd name="connsiteX230" fmla="*/ 468825 w 12192000"/>
              <a:gd name="connsiteY230" fmla="*/ 2578125 h 6858000"/>
              <a:gd name="connsiteX231" fmla="*/ 511873 w 12192000"/>
              <a:gd name="connsiteY231" fmla="*/ 2369611 h 6858000"/>
              <a:gd name="connsiteX232" fmla="*/ 615458 w 12192000"/>
              <a:gd name="connsiteY232" fmla="*/ 2251901 h 6858000"/>
              <a:gd name="connsiteX233" fmla="*/ 633619 w 12192000"/>
              <a:gd name="connsiteY233" fmla="*/ 2225669 h 6858000"/>
              <a:gd name="connsiteX234" fmla="*/ 657161 w 12192000"/>
              <a:gd name="connsiteY234" fmla="*/ 2144954 h 6858000"/>
              <a:gd name="connsiteX235" fmla="*/ 682584 w 12192000"/>
              <a:gd name="connsiteY235" fmla="*/ 2135590 h 6858000"/>
              <a:gd name="connsiteX236" fmla="*/ 3036311 w 12192000"/>
              <a:gd name="connsiteY236" fmla="*/ 0 h 6858000"/>
              <a:gd name="connsiteX237" fmla="*/ 12192000 w 12192000"/>
              <a:gd name="connsiteY237" fmla="*/ 0 h 6858000"/>
              <a:gd name="connsiteX238" fmla="*/ 10520213 w 12192000"/>
              <a:gd name="connsiteY238" fmla="*/ 3776003 h 6858000"/>
              <a:gd name="connsiteX239" fmla="*/ 10492829 w 12192000"/>
              <a:gd name="connsiteY239" fmla="*/ 3765271 h 6858000"/>
              <a:gd name="connsiteX240" fmla="*/ 10397090 w 12192000"/>
              <a:gd name="connsiteY240" fmla="*/ 3821797 h 6858000"/>
              <a:gd name="connsiteX241" fmla="*/ 10445469 w 12192000"/>
              <a:gd name="connsiteY241" fmla="*/ 3923139 h 6858000"/>
              <a:gd name="connsiteX242" fmla="*/ 10452557 w 12192000"/>
              <a:gd name="connsiteY242" fmla="*/ 3928814 h 6858000"/>
              <a:gd name="connsiteX243" fmla="*/ 10428234 w 12192000"/>
              <a:gd name="connsiteY243" fmla="*/ 3983752 h 6858000"/>
              <a:gd name="connsiteX244" fmla="*/ 10374301 w 12192000"/>
              <a:gd name="connsiteY244" fmla="*/ 4004364 h 6858000"/>
              <a:gd name="connsiteX245" fmla="*/ 10312554 w 12192000"/>
              <a:gd name="connsiteY245" fmla="*/ 4044341 h 6858000"/>
              <a:gd name="connsiteX246" fmla="*/ 10197463 w 12192000"/>
              <a:gd name="connsiteY246" fmla="*/ 3846751 h 6858000"/>
              <a:gd name="connsiteX247" fmla="*/ 10192880 w 12192000"/>
              <a:gd name="connsiteY247" fmla="*/ 3829946 h 6858000"/>
              <a:gd name="connsiteX248" fmla="*/ 10191352 w 12192000"/>
              <a:gd name="connsiteY248" fmla="*/ 3708235 h 6858000"/>
              <a:gd name="connsiteX249" fmla="*/ 10071678 w 12192000"/>
              <a:gd name="connsiteY249" fmla="*/ 3716892 h 6858000"/>
              <a:gd name="connsiteX250" fmla="*/ 10083390 w 12192000"/>
              <a:gd name="connsiteY250" fmla="*/ 3835038 h 6858000"/>
              <a:gd name="connsiteX251" fmla="*/ 10162834 w 12192000"/>
              <a:gd name="connsiteY251" fmla="*/ 3850825 h 6858000"/>
              <a:gd name="connsiteX252" fmla="*/ 10275888 w 12192000"/>
              <a:gd name="connsiteY252" fmla="*/ 4043831 h 6858000"/>
              <a:gd name="connsiteX253" fmla="*/ 10284545 w 12192000"/>
              <a:gd name="connsiteY253" fmla="*/ 4069294 h 6858000"/>
              <a:gd name="connsiteX254" fmla="*/ 10198991 w 12192000"/>
              <a:gd name="connsiteY254" fmla="*/ 4207301 h 6858000"/>
              <a:gd name="connsiteX255" fmla="*/ 10111400 w 12192000"/>
              <a:gd name="connsiteY255" fmla="*/ 4157903 h 6858000"/>
              <a:gd name="connsiteX256" fmla="*/ 10107835 w 12192000"/>
              <a:gd name="connsiteY256" fmla="*/ 4134478 h 6858000"/>
              <a:gd name="connsiteX257" fmla="*/ 10098159 w 12192000"/>
              <a:gd name="connsiteY257" fmla="*/ 4077951 h 6858000"/>
              <a:gd name="connsiteX258" fmla="*/ 9981540 w 12192000"/>
              <a:gd name="connsiteY258" fmla="*/ 4048924 h 6858000"/>
              <a:gd name="connsiteX259" fmla="*/ 9958624 w 12192000"/>
              <a:gd name="connsiteY259" fmla="*/ 4169107 h 6858000"/>
              <a:gd name="connsiteX260" fmla="*/ 10081353 w 12192000"/>
              <a:gd name="connsiteY260" fmla="*/ 4180820 h 6858000"/>
              <a:gd name="connsiteX261" fmla="*/ 10187787 w 12192000"/>
              <a:gd name="connsiteY261" fmla="*/ 4243967 h 6858000"/>
              <a:gd name="connsiteX262" fmla="*/ 10184732 w 12192000"/>
              <a:gd name="connsiteY262" fmla="*/ 4375354 h 6858000"/>
              <a:gd name="connsiteX263" fmla="*/ 10162834 w 12192000"/>
              <a:gd name="connsiteY263" fmla="*/ 4386558 h 6858000"/>
              <a:gd name="connsiteX264" fmla="*/ 9995290 w 12192000"/>
              <a:gd name="connsiteY264" fmla="*/ 4397252 h 6858000"/>
              <a:gd name="connsiteX265" fmla="*/ 9990198 w 12192000"/>
              <a:gd name="connsiteY265" fmla="*/ 4385539 h 6858000"/>
              <a:gd name="connsiteX266" fmla="*/ 9894458 w 12192000"/>
              <a:gd name="connsiteY266" fmla="*/ 4337160 h 6858000"/>
              <a:gd name="connsiteX267" fmla="*/ 9830801 w 12192000"/>
              <a:gd name="connsiteY267" fmla="*/ 4420677 h 6858000"/>
              <a:gd name="connsiteX268" fmla="*/ 9896495 w 12192000"/>
              <a:gd name="connsiteY268" fmla="*/ 4500120 h 6858000"/>
              <a:gd name="connsiteX269" fmla="*/ 9990198 w 12192000"/>
              <a:gd name="connsiteY269" fmla="*/ 4448686 h 6858000"/>
              <a:gd name="connsiteX270" fmla="*/ 10020243 w 12192000"/>
              <a:gd name="connsiteY270" fmla="*/ 4428316 h 6858000"/>
              <a:gd name="connsiteX271" fmla="*/ 10045706 w 12192000"/>
              <a:gd name="connsiteY271" fmla="*/ 4425770 h 6858000"/>
              <a:gd name="connsiteX272" fmla="*/ 10166399 w 12192000"/>
              <a:gd name="connsiteY272" fmla="*/ 4418640 h 6858000"/>
              <a:gd name="connsiteX273" fmla="*/ 10184222 w 12192000"/>
              <a:gd name="connsiteY273" fmla="*/ 4416603 h 6858000"/>
              <a:gd name="connsiteX274" fmla="*/ 10200009 w 12192000"/>
              <a:gd name="connsiteY274" fmla="*/ 4437483 h 6858000"/>
              <a:gd name="connsiteX275" fmla="*/ 10214773 w 12192000"/>
              <a:gd name="connsiteY275" fmla="*/ 4465887 h 6858000"/>
              <a:gd name="connsiteX276" fmla="*/ 10137373 w 12192000"/>
              <a:gd name="connsiteY276" fmla="*/ 4640708 h 6858000"/>
              <a:gd name="connsiteX277" fmla="*/ 10127513 w 12192000"/>
              <a:gd name="connsiteY277" fmla="*/ 4649332 h 6858000"/>
              <a:gd name="connsiteX278" fmla="*/ 10113437 w 12192000"/>
              <a:gd name="connsiteY278" fmla="*/ 4672757 h 6858000"/>
              <a:gd name="connsiteX279" fmla="*/ 10112201 w 12192000"/>
              <a:gd name="connsiteY279" fmla="*/ 4697564 h 6858000"/>
              <a:gd name="connsiteX280" fmla="*/ 9789793 w 12192000"/>
              <a:gd name="connsiteY280" fmla="*/ 5425774 h 6858000"/>
              <a:gd name="connsiteX281" fmla="*/ 9782579 w 12192000"/>
              <a:gd name="connsiteY281" fmla="*/ 5413664 h 6858000"/>
              <a:gd name="connsiteX282" fmla="*/ 9706565 w 12192000"/>
              <a:gd name="connsiteY282" fmla="*/ 5341756 h 6858000"/>
              <a:gd name="connsiteX283" fmla="*/ 9683696 w 12192000"/>
              <a:gd name="connsiteY283" fmla="*/ 5320058 h 6858000"/>
              <a:gd name="connsiteX284" fmla="*/ 9812706 w 12192000"/>
              <a:gd name="connsiteY284" fmla="*/ 5121266 h 6858000"/>
              <a:gd name="connsiteX285" fmla="*/ 9835575 w 12192000"/>
              <a:gd name="connsiteY285" fmla="*/ 5124198 h 6858000"/>
              <a:gd name="connsiteX286" fmla="*/ 9944647 w 12192000"/>
              <a:gd name="connsiteY286" fmla="*/ 5064384 h 6858000"/>
              <a:gd name="connsiteX287" fmla="*/ 9904185 w 12192000"/>
              <a:gd name="connsiteY287" fmla="*/ 4947103 h 6858000"/>
              <a:gd name="connsiteX288" fmla="*/ 9840560 w 12192000"/>
              <a:gd name="connsiteY288" fmla="*/ 4934642 h 6858000"/>
              <a:gd name="connsiteX289" fmla="*/ 9783971 w 12192000"/>
              <a:gd name="connsiteY289" fmla="*/ 4965282 h 6858000"/>
              <a:gd name="connsiteX290" fmla="*/ 9782212 w 12192000"/>
              <a:gd name="connsiteY290" fmla="*/ 5090773 h 6858000"/>
              <a:gd name="connsiteX291" fmla="*/ 9770484 w 12192000"/>
              <a:gd name="connsiteY291" fmla="*/ 5122439 h 6858000"/>
              <a:gd name="connsiteX292" fmla="*/ 9653202 w 12192000"/>
              <a:gd name="connsiteY292" fmla="*/ 5307157 h 6858000"/>
              <a:gd name="connsiteX293" fmla="*/ 9460860 w 12192000"/>
              <a:gd name="connsiteY293" fmla="*/ 5263177 h 6858000"/>
              <a:gd name="connsiteX294" fmla="*/ 9426262 w 12192000"/>
              <a:gd name="connsiteY294" fmla="*/ 5253795 h 6858000"/>
              <a:gd name="connsiteX295" fmla="*/ 9445614 w 12192000"/>
              <a:gd name="connsiteY295" fmla="*/ 5209228 h 6858000"/>
              <a:gd name="connsiteX296" fmla="*/ 9494872 w 12192000"/>
              <a:gd name="connsiteY296" fmla="*/ 5131822 h 6858000"/>
              <a:gd name="connsiteX297" fmla="*/ 9418052 w 12192000"/>
              <a:gd name="connsiteY297" fmla="*/ 5032132 h 6858000"/>
              <a:gd name="connsiteX298" fmla="*/ 9307807 w 12192000"/>
              <a:gd name="connsiteY298" fmla="*/ 5097223 h 6858000"/>
              <a:gd name="connsiteX299" fmla="*/ 9363516 w 12192000"/>
              <a:gd name="connsiteY299" fmla="*/ 5213919 h 6858000"/>
              <a:gd name="connsiteX300" fmla="*/ 9389318 w 12192000"/>
              <a:gd name="connsiteY300" fmla="*/ 5256140 h 6858000"/>
              <a:gd name="connsiteX301" fmla="*/ 9360584 w 12192000"/>
              <a:gd name="connsiteY301" fmla="*/ 5277251 h 6858000"/>
              <a:gd name="connsiteX302" fmla="*/ 9210463 w 12192000"/>
              <a:gd name="connsiteY302" fmla="*/ 5353484 h 6858000"/>
              <a:gd name="connsiteX303" fmla="*/ 9077935 w 12192000"/>
              <a:gd name="connsiteY303" fmla="*/ 5125958 h 6858000"/>
              <a:gd name="connsiteX304" fmla="*/ 9072658 w 12192000"/>
              <a:gd name="connsiteY304" fmla="*/ 5106606 h 6858000"/>
              <a:gd name="connsiteX305" fmla="*/ 9070898 w 12192000"/>
              <a:gd name="connsiteY305" fmla="*/ 4966455 h 6858000"/>
              <a:gd name="connsiteX306" fmla="*/ 8933092 w 12192000"/>
              <a:gd name="connsiteY306" fmla="*/ 4976423 h 6858000"/>
              <a:gd name="connsiteX307" fmla="*/ 8946579 w 12192000"/>
              <a:gd name="connsiteY307" fmla="*/ 5112470 h 6858000"/>
              <a:gd name="connsiteX308" fmla="*/ 9038059 w 12192000"/>
              <a:gd name="connsiteY308" fmla="*/ 5130649 h 6858000"/>
              <a:gd name="connsiteX309" fmla="*/ 9168242 w 12192000"/>
              <a:gd name="connsiteY309" fmla="*/ 5352897 h 6858000"/>
              <a:gd name="connsiteX310" fmla="*/ 9178211 w 12192000"/>
              <a:gd name="connsiteY310" fmla="*/ 5382218 h 6858000"/>
              <a:gd name="connsiteX311" fmla="*/ 9079695 w 12192000"/>
              <a:gd name="connsiteY311" fmla="*/ 5541134 h 6858000"/>
              <a:gd name="connsiteX312" fmla="*/ 8978832 w 12192000"/>
              <a:gd name="connsiteY312" fmla="*/ 5484252 h 6858000"/>
              <a:gd name="connsiteX313" fmla="*/ 8974727 w 12192000"/>
              <a:gd name="connsiteY313" fmla="*/ 5457278 h 6858000"/>
              <a:gd name="connsiteX314" fmla="*/ 8963586 w 12192000"/>
              <a:gd name="connsiteY314" fmla="*/ 5392187 h 6858000"/>
              <a:gd name="connsiteX315" fmla="*/ 8829298 w 12192000"/>
              <a:gd name="connsiteY315" fmla="*/ 5358761 h 6858000"/>
              <a:gd name="connsiteX316" fmla="*/ 8802910 w 12192000"/>
              <a:gd name="connsiteY316" fmla="*/ 5497153 h 6858000"/>
              <a:gd name="connsiteX317" fmla="*/ 8944234 w 12192000"/>
              <a:gd name="connsiteY317" fmla="*/ 5510641 h 6858000"/>
              <a:gd name="connsiteX318" fmla="*/ 9066794 w 12192000"/>
              <a:gd name="connsiteY318" fmla="*/ 5583356 h 6858000"/>
              <a:gd name="connsiteX319" fmla="*/ 9063275 w 12192000"/>
              <a:gd name="connsiteY319" fmla="*/ 5734649 h 6858000"/>
              <a:gd name="connsiteX320" fmla="*/ 9038059 w 12192000"/>
              <a:gd name="connsiteY320" fmla="*/ 5747550 h 6858000"/>
              <a:gd name="connsiteX321" fmla="*/ 8845131 w 12192000"/>
              <a:gd name="connsiteY321" fmla="*/ 5759864 h 6858000"/>
              <a:gd name="connsiteX322" fmla="*/ 8839267 w 12192000"/>
              <a:gd name="connsiteY322" fmla="*/ 5746377 h 6858000"/>
              <a:gd name="connsiteX323" fmla="*/ 8729022 w 12192000"/>
              <a:gd name="connsiteY323" fmla="*/ 5690668 h 6858000"/>
              <a:gd name="connsiteX324" fmla="*/ 8655721 w 12192000"/>
              <a:gd name="connsiteY324" fmla="*/ 5786839 h 6858000"/>
              <a:gd name="connsiteX325" fmla="*/ 8731368 w 12192000"/>
              <a:gd name="connsiteY325" fmla="*/ 5878319 h 6858000"/>
              <a:gd name="connsiteX326" fmla="*/ 8839267 w 12192000"/>
              <a:gd name="connsiteY326" fmla="*/ 5819092 h 6858000"/>
              <a:gd name="connsiteX327" fmla="*/ 8873865 w 12192000"/>
              <a:gd name="connsiteY327" fmla="*/ 5795635 h 6858000"/>
              <a:gd name="connsiteX328" fmla="*/ 8903185 w 12192000"/>
              <a:gd name="connsiteY328" fmla="*/ 5792703 h 6858000"/>
              <a:gd name="connsiteX329" fmla="*/ 9042164 w 12192000"/>
              <a:gd name="connsiteY329" fmla="*/ 5784493 h 6858000"/>
              <a:gd name="connsiteX330" fmla="*/ 9062688 w 12192000"/>
              <a:gd name="connsiteY330" fmla="*/ 5782148 h 6858000"/>
              <a:gd name="connsiteX331" fmla="*/ 9080867 w 12192000"/>
              <a:gd name="connsiteY331" fmla="*/ 5806191 h 6858000"/>
              <a:gd name="connsiteX332" fmla="*/ 9134817 w 12192000"/>
              <a:gd name="connsiteY332" fmla="*/ 5909985 h 6858000"/>
              <a:gd name="connsiteX333" fmla="*/ 9134817 w 12192000"/>
              <a:gd name="connsiteY333" fmla="*/ 5992668 h 6858000"/>
              <a:gd name="connsiteX334" fmla="*/ 9079108 w 12192000"/>
              <a:gd name="connsiteY334" fmla="*/ 6018470 h 6858000"/>
              <a:gd name="connsiteX335" fmla="*/ 8981178 w 12192000"/>
              <a:gd name="connsiteY335" fmla="*/ 6077111 h 6858000"/>
              <a:gd name="connsiteX336" fmla="*/ 9012844 w 12192000"/>
              <a:gd name="connsiteY336" fmla="*/ 6189701 h 6858000"/>
              <a:gd name="connsiteX337" fmla="*/ 9127780 w 12192000"/>
              <a:gd name="connsiteY337" fmla="*/ 6189701 h 6858000"/>
              <a:gd name="connsiteX338" fmla="*/ 9158273 w 12192000"/>
              <a:gd name="connsiteY338" fmla="*/ 6077697 h 6858000"/>
              <a:gd name="connsiteX339" fmla="*/ 9167069 w 12192000"/>
              <a:gd name="connsiteY339" fmla="*/ 6008501 h 6858000"/>
              <a:gd name="connsiteX340" fmla="*/ 9180557 w 12192000"/>
              <a:gd name="connsiteY340" fmla="*/ 5989150 h 6858000"/>
              <a:gd name="connsiteX341" fmla="*/ 9207532 w 12192000"/>
              <a:gd name="connsiteY341" fmla="*/ 5986218 h 6858000"/>
              <a:gd name="connsiteX342" fmla="*/ 9354720 w 12192000"/>
              <a:gd name="connsiteY342" fmla="*/ 6063037 h 6858000"/>
              <a:gd name="connsiteX343" fmla="*/ 9372312 w 12192000"/>
              <a:gd name="connsiteY343" fmla="*/ 6079457 h 6858000"/>
              <a:gd name="connsiteX344" fmla="*/ 9369967 w 12192000"/>
              <a:gd name="connsiteY344" fmla="*/ 6094117 h 6858000"/>
              <a:gd name="connsiteX345" fmla="*/ 9344751 w 12192000"/>
              <a:gd name="connsiteY345" fmla="*/ 6298187 h 6858000"/>
              <a:gd name="connsiteX346" fmla="*/ 9321295 w 12192000"/>
              <a:gd name="connsiteY346" fmla="*/ 6311674 h 6858000"/>
              <a:gd name="connsiteX347" fmla="*/ 9270864 w 12192000"/>
              <a:gd name="connsiteY347" fmla="*/ 6345099 h 6858000"/>
              <a:gd name="connsiteX348" fmla="*/ 9293147 w 12192000"/>
              <a:gd name="connsiteY348" fmla="*/ 6484078 h 6858000"/>
              <a:gd name="connsiteX349" fmla="*/ 9317015 w 12192000"/>
              <a:gd name="connsiteY349" fmla="*/ 6493620 h 6858000"/>
              <a:gd name="connsiteX350" fmla="*/ 9155689 w 12192000"/>
              <a:gd name="connsiteY350" fmla="*/ 6858000 h 6858000"/>
              <a:gd name="connsiteX351" fmla="*/ 0 w 12192000"/>
              <a:gd name="connsiteY351" fmla="*/ 6858000 h 6858000"/>
              <a:gd name="connsiteX352" fmla="*/ 552112 w 12192000"/>
              <a:gd name="connsiteY352" fmla="*/ 5610966 h 6858000"/>
              <a:gd name="connsiteX353" fmla="*/ 550885 w 12192000"/>
              <a:gd name="connsiteY353" fmla="*/ 5621088 h 6858000"/>
              <a:gd name="connsiteX354" fmla="*/ 550213 w 12192000"/>
              <a:gd name="connsiteY354" fmla="*/ 5631177 h 6858000"/>
              <a:gd name="connsiteX355" fmla="*/ 548195 w 12192000"/>
              <a:gd name="connsiteY355" fmla="*/ 5643284 h 6858000"/>
              <a:gd name="connsiteX356" fmla="*/ 546177 w 12192000"/>
              <a:gd name="connsiteY356" fmla="*/ 5656737 h 6858000"/>
              <a:gd name="connsiteX357" fmla="*/ 547523 w 12192000"/>
              <a:gd name="connsiteY357" fmla="*/ 5779155 h 6858000"/>
              <a:gd name="connsiteX358" fmla="*/ 546850 w 12192000"/>
              <a:gd name="connsiteY358" fmla="*/ 5845072 h 6858000"/>
              <a:gd name="connsiteX359" fmla="*/ 545505 w 12192000"/>
              <a:gd name="connsiteY359" fmla="*/ 5863233 h 6858000"/>
              <a:gd name="connsiteX360" fmla="*/ 509855 w 12192000"/>
              <a:gd name="connsiteY360" fmla="*/ 6005157 h 6858000"/>
              <a:gd name="connsiteX361" fmla="*/ 517255 w 12192000"/>
              <a:gd name="connsiteY361" fmla="*/ 6112777 h 6858000"/>
              <a:gd name="connsiteX362" fmla="*/ 570392 w 12192000"/>
              <a:gd name="connsiteY362" fmla="*/ 6164569 h 6858000"/>
              <a:gd name="connsiteX363" fmla="*/ 606714 w 12192000"/>
              <a:gd name="connsiteY363" fmla="*/ 6152462 h 6858000"/>
              <a:gd name="connsiteX364" fmla="*/ 688101 w 12192000"/>
              <a:gd name="connsiteY364" fmla="*/ 6120848 h 6858000"/>
              <a:gd name="connsiteX365" fmla="*/ 899979 w 12192000"/>
              <a:gd name="connsiteY365" fmla="*/ 6040134 h 6858000"/>
              <a:gd name="connsiteX366" fmla="*/ 904015 w 12192000"/>
              <a:gd name="connsiteY366" fmla="*/ 6052240 h 6858000"/>
              <a:gd name="connsiteX367" fmla="*/ 929574 w 12192000"/>
              <a:gd name="connsiteY367" fmla="*/ 6040134 h 6858000"/>
              <a:gd name="connsiteX368" fmla="*/ 933610 w 12192000"/>
              <a:gd name="connsiteY368" fmla="*/ 6013901 h 6858000"/>
              <a:gd name="connsiteX369" fmla="*/ 898634 w 12192000"/>
              <a:gd name="connsiteY369" fmla="*/ 5927805 h 6858000"/>
              <a:gd name="connsiteX370" fmla="*/ 901324 w 12192000"/>
              <a:gd name="connsiteY370" fmla="*/ 5878703 h 6858000"/>
              <a:gd name="connsiteX371" fmla="*/ 910741 w 12192000"/>
              <a:gd name="connsiteY371" fmla="*/ 5873322 h 6858000"/>
              <a:gd name="connsiteX372" fmla="*/ 944372 w 12192000"/>
              <a:gd name="connsiteY372" fmla="*/ 5863233 h 6858000"/>
              <a:gd name="connsiteX373" fmla="*/ 1084279 w 12192000"/>
              <a:gd name="connsiteY373" fmla="*/ 5741488 h 6858000"/>
              <a:gd name="connsiteX374" fmla="*/ 1095713 w 12192000"/>
              <a:gd name="connsiteY374" fmla="*/ 5717273 h 6858000"/>
              <a:gd name="connsiteX375" fmla="*/ 1097058 w 12192000"/>
              <a:gd name="connsiteY375" fmla="*/ 5711892 h 6858000"/>
              <a:gd name="connsiteX376" fmla="*/ 1092350 w 12192000"/>
              <a:gd name="connsiteY376" fmla="*/ 5686332 h 6858000"/>
              <a:gd name="connsiteX377" fmla="*/ 1044594 w 12192000"/>
              <a:gd name="connsiteY377" fmla="*/ 5644629 h 6858000"/>
              <a:gd name="connsiteX378" fmla="*/ 1037195 w 12192000"/>
              <a:gd name="connsiteY378" fmla="*/ 5624450 h 6858000"/>
              <a:gd name="connsiteX379" fmla="*/ 1058046 w 12192000"/>
              <a:gd name="connsiteY379" fmla="*/ 5511449 h 6858000"/>
              <a:gd name="connsiteX380" fmla="*/ 1093695 w 12192000"/>
              <a:gd name="connsiteY380" fmla="*/ 5343966 h 6858000"/>
              <a:gd name="connsiteX381" fmla="*/ 1226203 w 12192000"/>
              <a:gd name="connsiteY381" fmla="*/ 4793084 h 6858000"/>
              <a:gd name="connsiteX382" fmla="*/ 1273287 w 12192000"/>
              <a:gd name="connsiteY382" fmla="*/ 4351169 h 6858000"/>
              <a:gd name="connsiteX383" fmla="*/ 1305774 w 12192000"/>
              <a:gd name="connsiteY383" fmla="*/ 3908700 h 6858000"/>
              <a:gd name="connsiteX384" fmla="*/ 1319097 w 12192000"/>
              <a:gd name="connsiteY384" fmla="*/ 3878607 h 6858000"/>
              <a:gd name="connsiteX385" fmla="*/ 1319698 w 12192000"/>
              <a:gd name="connsiteY385" fmla="*/ 3878312 h 6858000"/>
              <a:gd name="connsiteX386" fmla="*/ 1388306 w 12192000"/>
              <a:gd name="connsiteY386" fmla="*/ 3861497 h 6858000"/>
              <a:gd name="connsiteX387" fmla="*/ 1390324 w 12192000"/>
              <a:gd name="connsiteY387" fmla="*/ 3831229 h 6858000"/>
              <a:gd name="connsiteX388" fmla="*/ 1390324 w 12192000"/>
              <a:gd name="connsiteY388" fmla="*/ 3823157 h 6858000"/>
              <a:gd name="connsiteX389" fmla="*/ 1383847 w 12192000"/>
              <a:gd name="connsiteY389" fmla="*/ 37323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</a:cxnLst>
            <a:rect l="l" t="t" r="r" b="b"/>
            <a:pathLst>
              <a:path w="12192000" h="6858000">
                <a:moveTo>
                  <a:pt x="9392433" y="6323276"/>
                </a:moveTo>
                <a:lnTo>
                  <a:pt x="9416431" y="6339923"/>
                </a:lnTo>
                <a:cubicBezTo>
                  <a:pt x="9445650" y="6370132"/>
                  <a:pt x="9452357" y="6413123"/>
                  <a:pt x="9430367" y="6451826"/>
                </a:cubicBezTo>
                <a:cubicBezTo>
                  <a:pt x="9409696" y="6487890"/>
                  <a:pt x="9368904" y="6505482"/>
                  <a:pt x="9330256" y="6498913"/>
                </a:cubicBezTo>
                <a:lnTo>
                  <a:pt x="9317015" y="6493620"/>
                </a:lnTo>
                <a:close/>
                <a:moveTo>
                  <a:pt x="9408670" y="6074766"/>
                </a:moveTo>
                <a:cubicBezTo>
                  <a:pt x="9427875" y="6076965"/>
                  <a:pt x="9446970" y="6078101"/>
                  <a:pt x="9465918" y="6078055"/>
                </a:cubicBezTo>
                <a:lnTo>
                  <a:pt x="9502082" y="6075615"/>
                </a:lnTo>
                <a:lnTo>
                  <a:pt x="9392433" y="6323276"/>
                </a:lnTo>
                <a:lnTo>
                  <a:pt x="9379936" y="6314606"/>
                </a:lnTo>
                <a:cubicBezTo>
                  <a:pt x="9389318" y="6234855"/>
                  <a:pt x="9399287" y="6154517"/>
                  <a:pt x="9408670" y="6074766"/>
                </a:cubicBezTo>
                <a:close/>
                <a:moveTo>
                  <a:pt x="9402806" y="5850170"/>
                </a:moveTo>
                <a:cubicBezTo>
                  <a:pt x="9437990" y="5850757"/>
                  <a:pt x="9470830" y="5883009"/>
                  <a:pt x="9470243" y="5917607"/>
                </a:cubicBezTo>
                <a:cubicBezTo>
                  <a:pt x="9469070" y="5955724"/>
                  <a:pt x="9440336" y="5983285"/>
                  <a:pt x="9402219" y="5983871"/>
                </a:cubicBezTo>
                <a:cubicBezTo>
                  <a:pt x="9364689" y="5984457"/>
                  <a:pt x="9336542" y="5956310"/>
                  <a:pt x="9336542" y="5917021"/>
                </a:cubicBezTo>
                <a:cubicBezTo>
                  <a:pt x="9336542" y="5879491"/>
                  <a:pt x="9365862" y="5849584"/>
                  <a:pt x="9402806" y="5850170"/>
                </a:cubicBezTo>
                <a:close/>
                <a:moveTo>
                  <a:pt x="9561136" y="5711778"/>
                </a:moveTo>
                <a:cubicBezTo>
                  <a:pt x="9579315" y="5711191"/>
                  <a:pt x="9591043" y="5722333"/>
                  <a:pt x="9591043" y="5740512"/>
                </a:cubicBezTo>
                <a:cubicBezTo>
                  <a:pt x="9591629" y="5758691"/>
                  <a:pt x="9579315" y="5768073"/>
                  <a:pt x="9562895" y="5770419"/>
                </a:cubicBezTo>
                <a:cubicBezTo>
                  <a:pt x="9544130" y="5767487"/>
                  <a:pt x="9532402" y="5758104"/>
                  <a:pt x="9532988" y="5739339"/>
                </a:cubicBezTo>
                <a:cubicBezTo>
                  <a:pt x="9533575" y="5722920"/>
                  <a:pt x="9544130" y="5711778"/>
                  <a:pt x="9561136" y="5711778"/>
                </a:cubicBezTo>
                <a:close/>
                <a:moveTo>
                  <a:pt x="9215741" y="5662520"/>
                </a:moveTo>
                <a:cubicBezTo>
                  <a:pt x="9240957" y="5663106"/>
                  <a:pt x="9259722" y="5683044"/>
                  <a:pt x="9259722" y="5708260"/>
                </a:cubicBezTo>
                <a:cubicBezTo>
                  <a:pt x="9259722" y="5733476"/>
                  <a:pt x="9240957" y="5753413"/>
                  <a:pt x="9216914" y="5754000"/>
                </a:cubicBezTo>
                <a:cubicBezTo>
                  <a:pt x="9192871" y="5754586"/>
                  <a:pt x="9172933" y="5735234"/>
                  <a:pt x="9171760" y="5710019"/>
                </a:cubicBezTo>
                <a:cubicBezTo>
                  <a:pt x="9171174" y="5683631"/>
                  <a:pt x="9190526" y="5662520"/>
                  <a:pt x="9215741" y="5662520"/>
                </a:cubicBezTo>
                <a:close/>
                <a:moveTo>
                  <a:pt x="9774003" y="5588632"/>
                </a:moveTo>
                <a:cubicBezTo>
                  <a:pt x="9752892" y="5588632"/>
                  <a:pt x="9738818" y="5602706"/>
                  <a:pt x="9738818" y="5623817"/>
                </a:cubicBezTo>
                <a:cubicBezTo>
                  <a:pt x="9738818" y="5644342"/>
                  <a:pt x="9752892" y="5654310"/>
                  <a:pt x="9772243" y="5655483"/>
                </a:cubicBezTo>
                <a:cubicBezTo>
                  <a:pt x="9793354" y="5654896"/>
                  <a:pt x="9805083" y="5644342"/>
                  <a:pt x="9805669" y="5622644"/>
                </a:cubicBezTo>
                <a:cubicBezTo>
                  <a:pt x="9805669" y="5602120"/>
                  <a:pt x="9794527" y="5588632"/>
                  <a:pt x="9774003" y="5588632"/>
                </a:cubicBezTo>
                <a:close/>
                <a:moveTo>
                  <a:pt x="9245062" y="5447895"/>
                </a:moveTo>
                <a:cubicBezTo>
                  <a:pt x="9267345" y="5449654"/>
                  <a:pt x="9278487" y="5464314"/>
                  <a:pt x="9281419" y="5483666"/>
                </a:cubicBezTo>
                <a:cubicBezTo>
                  <a:pt x="9281419" y="5505949"/>
                  <a:pt x="9263241" y="5524714"/>
                  <a:pt x="9243889" y="5522955"/>
                </a:cubicBezTo>
                <a:cubicBezTo>
                  <a:pt x="9221605" y="5521196"/>
                  <a:pt x="9208704" y="5507122"/>
                  <a:pt x="9208118" y="5484252"/>
                </a:cubicBezTo>
                <a:cubicBezTo>
                  <a:pt x="9207532" y="5463141"/>
                  <a:pt x="9224538" y="5446136"/>
                  <a:pt x="9245062" y="5447895"/>
                </a:cubicBezTo>
                <a:close/>
                <a:moveTo>
                  <a:pt x="9459687" y="5392186"/>
                </a:moveTo>
                <a:cubicBezTo>
                  <a:pt x="9503082" y="5392772"/>
                  <a:pt x="9536507" y="5427371"/>
                  <a:pt x="9535921" y="5471938"/>
                </a:cubicBezTo>
                <a:cubicBezTo>
                  <a:pt x="9535334" y="5515918"/>
                  <a:pt x="9500736" y="5549343"/>
                  <a:pt x="9456169" y="5548757"/>
                </a:cubicBezTo>
                <a:cubicBezTo>
                  <a:pt x="9414534" y="5548171"/>
                  <a:pt x="9382282" y="5512400"/>
                  <a:pt x="9383454" y="5468419"/>
                </a:cubicBezTo>
                <a:cubicBezTo>
                  <a:pt x="9384627" y="5425025"/>
                  <a:pt x="9417466" y="5392186"/>
                  <a:pt x="9459687" y="5392186"/>
                </a:cubicBezTo>
                <a:close/>
                <a:moveTo>
                  <a:pt x="10051960" y="5366971"/>
                </a:moveTo>
                <a:cubicBezTo>
                  <a:pt x="10095355" y="5363452"/>
                  <a:pt x="10137576" y="5392773"/>
                  <a:pt x="10149890" y="5434994"/>
                </a:cubicBezTo>
                <a:cubicBezTo>
                  <a:pt x="10162791" y="5479561"/>
                  <a:pt x="10143440" y="5525888"/>
                  <a:pt x="10103564" y="5547585"/>
                </a:cubicBezTo>
                <a:cubicBezTo>
                  <a:pt x="10062516" y="5569282"/>
                  <a:pt x="10015603" y="5560486"/>
                  <a:pt x="9983937" y="5524715"/>
                </a:cubicBezTo>
                <a:cubicBezTo>
                  <a:pt x="9978073" y="5518264"/>
                  <a:pt x="9974554" y="5509468"/>
                  <a:pt x="9965172" y="5507123"/>
                </a:cubicBezTo>
                <a:cubicBezTo>
                  <a:pt x="9930574" y="5521783"/>
                  <a:pt x="9894803" y="5531752"/>
                  <a:pt x="9858446" y="5540548"/>
                </a:cubicBezTo>
                <a:cubicBezTo>
                  <a:pt x="9851995" y="5548171"/>
                  <a:pt x="9857273" y="5555794"/>
                  <a:pt x="9859032" y="5562831"/>
                </a:cubicBezTo>
                <a:cubicBezTo>
                  <a:pt x="9873692" y="5616781"/>
                  <a:pt x="9876038" y="5671903"/>
                  <a:pt x="9869587" y="5727612"/>
                </a:cubicBezTo>
                <a:cubicBezTo>
                  <a:pt x="9868414" y="5736995"/>
                  <a:pt x="9865482" y="5746963"/>
                  <a:pt x="9875451" y="5754000"/>
                </a:cubicBezTo>
                <a:cubicBezTo>
                  <a:pt x="9943474" y="5792117"/>
                  <a:pt x="10003875" y="5840202"/>
                  <a:pt x="10068380" y="5883010"/>
                </a:cubicBezTo>
                <a:cubicBezTo>
                  <a:pt x="10080694" y="5890633"/>
                  <a:pt x="10093009" y="5898256"/>
                  <a:pt x="10105323" y="5905880"/>
                </a:cubicBezTo>
                <a:cubicBezTo>
                  <a:pt x="10137576" y="5879491"/>
                  <a:pt x="10173347" y="5873627"/>
                  <a:pt x="10211464" y="5891806"/>
                </a:cubicBezTo>
                <a:cubicBezTo>
                  <a:pt x="10246062" y="5908226"/>
                  <a:pt x="10264240" y="5936959"/>
                  <a:pt x="10265413" y="5975076"/>
                </a:cubicBezTo>
                <a:cubicBezTo>
                  <a:pt x="10266586" y="6030199"/>
                  <a:pt x="10222606" y="6074179"/>
                  <a:pt x="10168069" y="6073593"/>
                </a:cubicBezTo>
                <a:cubicBezTo>
                  <a:pt x="10112360" y="6073006"/>
                  <a:pt x="10070139" y="6025507"/>
                  <a:pt x="10074244" y="5969212"/>
                </a:cubicBezTo>
                <a:cubicBezTo>
                  <a:pt x="10074830" y="5956897"/>
                  <a:pt x="10083626" y="5945169"/>
                  <a:pt x="10077176" y="5932268"/>
                </a:cubicBezTo>
                <a:cubicBezTo>
                  <a:pt x="10013257" y="5888288"/>
                  <a:pt x="9949338" y="5844307"/>
                  <a:pt x="9884834" y="5800913"/>
                </a:cubicBezTo>
                <a:cubicBezTo>
                  <a:pt x="9876038" y="5795049"/>
                  <a:pt x="9868414" y="5782734"/>
                  <a:pt x="9854340" y="5790357"/>
                </a:cubicBezTo>
                <a:cubicBezTo>
                  <a:pt x="9825020" y="5891806"/>
                  <a:pt x="9762274" y="5967453"/>
                  <a:pt x="9671967" y="6021402"/>
                </a:cubicBezTo>
                <a:cubicBezTo>
                  <a:pt x="9700115" y="6066556"/>
                  <a:pt x="9738231" y="6102913"/>
                  <a:pt x="9770484" y="6144548"/>
                </a:cubicBezTo>
                <a:cubicBezTo>
                  <a:pt x="9778107" y="6154517"/>
                  <a:pt x="9786317" y="6164486"/>
                  <a:pt x="9793940" y="6174455"/>
                </a:cubicBezTo>
                <a:cubicBezTo>
                  <a:pt x="9805082" y="6172109"/>
                  <a:pt x="9816224" y="6169764"/>
                  <a:pt x="9827952" y="6168004"/>
                </a:cubicBezTo>
                <a:cubicBezTo>
                  <a:pt x="9874278" y="6161554"/>
                  <a:pt x="9915327" y="6185596"/>
                  <a:pt x="9931746" y="6226645"/>
                </a:cubicBezTo>
                <a:cubicBezTo>
                  <a:pt x="9948166" y="6267693"/>
                  <a:pt x="9934679" y="6315193"/>
                  <a:pt x="9898321" y="6340995"/>
                </a:cubicBezTo>
                <a:cubicBezTo>
                  <a:pt x="9862550" y="6366797"/>
                  <a:pt x="9812706" y="6364451"/>
                  <a:pt x="9779280" y="6335131"/>
                </a:cubicBezTo>
                <a:cubicBezTo>
                  <a:pt x="9746441" y="6305810"/>
                  <a:pt x="9737645" y="6258311"/>
                  <a:pt x="9758169" y="6217849"/>
                </a:cubicBezTo>
                <a:cubicBezTo>
                  <a:pt x="9760515" y="6212571"/>
                  <a:pt x="9764620" y="6207880"/>
                  <a:pt x="9767552" y="6203189"/>
                </a:cubicBezTo>
                <a:cubicBezTo>
                  <a:pt x="9725330" y="6146893"/>
                  <a:pt x="9681936" y="6091771"/>
                  <a:pt x="9631505" y="6042513"/>
                </a:cubicBezTo>
                <a:cubicBezTo>
                  <a:pt x="9596027" y="6058933"/>
                  <a:pt x="9559523" y="6069195"/>
                  <a:pt x="9522287" y="6074252"/>
                </a:cubicBezTo>
                <a:lnTo>
                  <a:pt x="9502082" y="6075615"/>
                </a:lnTo>
                <a:lnTo>
                  <a:pt x="9789793" y="5425774"/>
                </a:lnTo>
                <a:lnTo>
                  <a:pt x="9836162" y="5503604"/>
                </a:lnTo>
                <a:cubicBezTo>
                  <a:pt x="9861377" y="5510054"/>
                  <a:pt x="9881902" y="5493635"/>
                  <a:pt x="9905358" y="5488944"/>
                </a:cubicBezTo>
                <a:cubicBezTo>
                  <a:pt x="9919432" y="5486012"/>
                  <a:pt x="9932919" y="5481321"/>
                  <a:pt x="9946993" y="5477802"/>
                </a:cubicBezTo>
                <a:cubicBezTo>
                  <a:pt x="9961653" y="5473697"/>
                  <a:pt x="9961653" y="5461383"/>
                  <a:pt x="9963412" y="5449655"/>
                </a:cubicBezTo>
                <a:cubicBezTo>
                  <a:pt x="9971036" y="5402742"/>
                  <a:pt x="10006220" y="5369903"/>
                  <a:pt x="10051960" y="5366971"/>
                </a:cubicBezTo>
                <a:close/>
                <a:moveTo>
                  <a:pt x="10479589" y="4475676"/>
                </a:moveTo>
                <a:cubicBezTo>
                  <a:pt x="10447506" y="4475166"/>
                  <a:pt x="10422043" y="4501138"/>
                  <a:pt x="10422043" y="4533730"/>
                </a:cubicBezTo>
                <a:cubicBezTo>
                  <a:pt x="10422043" y="4567850"/>
                  <a:pt x="10446487" y="4592294"/>
                  <a:pt x="10479079" y="4591785"/>
                </a:cubicBezTo>
                <a:cubicBezTo>
                  <a:pt x="10512181" y="4591276"/>
                  <a:pt x="10537134" y="4567341"/>
                  <a:pt x="10538153" y="4534239"/>
                </a:cubicBezTo>
                <a:cubicBezTo>
                  <a:pt x="10538662" y="4504194"/>
                  <a:pt x="10510144" y="4476185"/>
                  <a:pt x="10479589" y="4475676"/>
                </a:cubicBezTo>
                <a:close/>
                <a:moveTo>
                  <a:pt x="10617086" y="4355492"/>
                </a:moveTo>
                <a:cubicBezTo>
                  <a:pt x="10602318" y="4355492"/>
                  <a:pt x="10593152" y="4365168"/>
                  <a:pt x="10592642" y="4379427"/>
                </a:cubicBezTo>
                <a:cubicBezTo>
                  <a:pt x="10592133" y="4395723"/>
                  <a:pt x="10602318" y="4403871"/>
                  <a:pt x="10618614" y="4406418"/>
                </a:cubicBezTo>
                <a:cubicBezTo>
                  <a:pt x="10632874" y="4404381"/>
                  <a:pt x="10643568" y="4396233"/>
                  <a:pt x="10643059" y="4380445"/>
                </a:cubicBezTo>
                <a:cubicBezTo>
                  <a:pt x="10643059" y="4364659"/>
                  <a:pt x="10632874" y="4354983"/>
                  <a:pt x="10617086" y="4355492"/>
                </a:cubicBezTo>
                <a:close/>
                <a:moveTo>
                  <a:pt x="10317137" y="4312715"/>
                </a:moveTo>
                <a:cubicBezTo>
                  <a:pt x="10295239" y="4312715"/>
                  <a:pt x="10278434" y="4331048"/>
                  <a:pt x="10278943" y="4353965"/>
                </a:cubicBezTo>
                <a:cubicBezTo>
                  <a:pt x="10279962" y="4375862"/>
                  <a:pt x="10297276" y="4392668"/>
                  <a:pt x="10318156" y="4392159"/>
                </a:cubicBezTo>
                <a:cubicBezTo>
                  <a:pt x="10339035" y="4391650"/>
                  <a:pt x="10355331" y="4374335"/>
                  <a:pt x="10355331" y="4352437"/>
                </a:cubicBezTo>
                <a:cubicBezTo>
                  <a:pt x="10355331" y="4330539"/>
                  <a:pt x="10339035" y="4313224"/>
                  <a:pt x="10317137" y="4312715"/>
                </a:cubicBezTo>
                <a:close/>
                <a:moveTo>
                  <a:pt x="10801945" y="4248550"/>
                </a:moveTo>
                <a:cubicBezTo>
                  <a:pt x="10783612" y="4248550"/>
                  <a:pt x="10771390" y="4260772"/>
                  <a:pt x="10771390" y="4279105"/>
                </a:cubicBezTo>
                <a:cubicBezTo>
                  <a:pt x="10771390" y="4296929"/>
                  <a:pt x="10783612" y="4305586"/>
                  <a:pt x="10800417" y="4306604"/>
                </a:cubicBezTo>
                <a:cubicBezTo>
                  <a:pt x="10818751" y="4306095"/>
                  <a:pt x="10828936" y="4296929"/>
                  <a:pt x="10829445" y="4278086"/>
                </a:cubicBezTo>
                <a:cubicBezTo>
                  <a:pt x="10829445" y="4260262"/>
                  <a:pt x="10819769" y="4248550"/>
                  <a:pt x="10801945" y="4248550"/>
                </a:cubicBezTo>
                <a:close/>
                <a:moveTo>
                  <a:pt x="10342600" y="4126329"/>
                </a:moveTo>
                <a:lnTo>
                  <a:pt x="10361413" y="4134678"/>
                </a:lnTo>
                <a:lnTo>
                  <a:pt x="10337118" y="4189552"/>
                </a:lnTo>
                <a:lnTo>
                  <a:pt x="10318983" y="4181583"/>
                </a:lnTo>
                <a:cubicBezTo>
                  <a:pt x="10313700" y="4175854"/>
                  <a:pt x="10310771" y="4167834"/>
                  <a:pt x="10310517" y="4157903"/>
                </a:cubicBezTo>
                <a:cubicBezTo>
                  <a:pt x="10310008" y="4139570"/>
                  <a:pt x="10324776" y="4124802"/>
                  <a:pt x="10342600" y="4126329"/>
                </a:cubicBezTo>
                <a:close/>
                <a:moveTo>
                  <a:pt x="10528986" y="4077951"/>
                </a:moveTo>
                <a:cubicBezTo>
                  <a:pt x="10492320" y="4077951"/>
                  <a:pt x="10463802" y="4106469"/>
                  <a:pt x="10462783" y="4144153"/>
                </a:cubicBezTo>
                <a:cubicBezTo>
                  <a:pt x="10461765" y="4182347"/>
                  <a:pt x="10489774" y="4213412"/>
                  <a:pt x="10525931" y="4213921"/>
                </a:cubicBezTo>
                <a:cubicBezTo>
                  <a:pt x="10564634" y="4214430"/>
                  <a:pt x="10594680" y="4185402"/>
                  <a:pt x="10595189" y="4147209"/>
                </a:cubicBezTo>
                <a:cubicBezTo>
                  <a:pt x="10595698" y="4108506"/>
                  <a:pt x="10566671" y="4078460"/>
                  <a:pt x="10528986" y="4077951"/>
                </a:cubicBezTo>
                <a:close/>
                <a:moveTo>
                  <a:pt x="10859745" y="3680608"/>
                </a:moveTo>
                <a:cubicBezTo>
                  <a:pt x="10878206" y="3677807"/>
                  <a:pt x="10897684" y="3681244"/>
                  <a:pt x="10914999" y="3691429"/>
                </a:cubicBezTo>
                <a:cubicBezTo>
                  <a:pt x="10949628" y="3712309"/>
                  <a:pt x="10964906" y="3755086"/>
                  <a:pt x="10950137" y="3793279"/>
                </a:cubicBezTo>
                <a:cubicBezTo>
                  <a:pt x="10935369" y="3830964"/>
                  <a:pt x="10897175" y="3851844"/>
                  <a:pt x="10855416" y="3845223"/>
                </a:cubicBezTo>
                <a:cubicBezTo>
                  <a:pt x="10848796" y="3844205"/>
                  <a:pt x="10842176" y="3843696"/>
                  <a:pt x="10835556" y="3842677"/>
                </a:cubicBezTo>
                <a:cubicBezTo>
                  <a:pt x="10800927" y="3902259"/>
                  <a:pt x="10763751" y="3959805"/>
                  <a:pt x="10723520" y="4015313"/>
                </a:cubicBezTo>
                <a:cubicBezTo>
                  <a:pt x="10726066" y="4026008"/>
                  <a:pt x="10736251" y="4028554"/>
                  <a:pt x="10743381" y="4034156"/>
                </a:cubicBezTo>
                <a:cubicBezTo>
                  <a:pt x="10792779" y="4071331"/>
                  <a:pt x="10832500" y="4116654"/>
                  <a:pt x="10855926" y="4174709"/>
                </a:cubicBezTo>
                <a:cubicBezTo>
                  <a:pt x="10877823" y="4180310"/>
                  <a:pt x="10895648" y="4166051"/>
                  <a:pt x="10916018" y="4161977"/>
                </a:cubicBezTo>
                <a:cubicBezTo>
                  <a:pt x="10928240" y="4159431"/>
                  <a:pt x="10939952" y="4155357"/>
                  <a:pt x="10952174" y="4152302"/>
                </a:cubicBezTo>
                <a:cubicBezTo>
                  <a:pt x="10964906" y="4148737"/>
                  <a:pt x="10964906" y="4138043"/>
                  <a:pt x="10966433" y="4127858"/>
                </a:cubicBezTo>
                <a:cubicBezTo>
                  <a:pt x="10973054" y="4087118"/>
                  <a:pt x="11003609" y="4058600"/>
                  <a:pt x="11043330" y="4056053"/>
                </a:cubicBezTo>
                <a:cubicBezTo>
                  <a:pt x="11081015" y="4052998"/>
                  <a:pt x="11117681" y="4078460"/>
                  <a:pt x="11128375" y="4115126"/>
                </a:cubicBezTo>
                <a:cubicBezTo>
                  <a:pt x="11139579" y="4153829"/>
                  <a:pt x="11122774" y="4194060"/>
                  <a:pt x="11088145" y="4212903"/>
                </a:cubicBezTo>
                <a:cubicBezTo>
                  <a:pt x="11052497" y="4231745"/>
                  <a:pt x="11011757" y="4224106"/>
                  <a:pt x="10984257" y="4193042"/>
                </a:cubicBezTo>
                <a:cubicBezTo>
                  <a:pt x="10979165" y="4187440"/>
                  <a:pt x="10976109" y="4179801"/>
                  <a:pt x="10967961" y="4177764"/>
                </a:cubicBezTo>
                <a:cubicBezTo>
                  <a:pt x="10937915" y="4190495"/>
                  <a:pt x="10906851" y="4199153"/>
                  <a:pt x="10875277" y="4206792"/>
                </a:cubicBezTo>
                <a:cubicBezTo>
                  <a:pt x="10869675" y="4213412"/>
                  <a:pt x="10874259" y="4220032"/>
                  <a:pt x="10875786" y="4226143"/>
                </a:cubicBezTo>
                <a:cubicBezTo>
                  <a:pt x="10888518" y="4272994"/>
                  <a:pt x="10890555" y="4320864"/>
                  <a:pt x="10884953" y="4369243"/>
                </a:cubicBezTo>
                <a:cubicBezTo>
                  <a:pt x="10883934" y="4377391"/>
                  <a:pt x="10881388" y="4386048"/>
                  <a:pt x="10890045" y="4392159"/>
                </a:cubicBezTo>
                <a:cubicBezTo>
                  <a:pt x="10949119" y="4425261"/>
                  <a:pt x="11001572" y="4467019"/>
                  <a:pt x="11057590" y="4504194"/>
                </a:cubicBezTo>
                <a:cubicBezTo>
                  <a:pt x="11068284" y="4510815"/>
                  <a:pt x="11078978" y="4517435"/>
                  <a:pt x="11089672" y="4524055"/>
                </a:cubicBezTo>
                <a:cubicBezTo>
                  <a:pt x="11117681" y="4501139"/>
                  <a:pt x="11148745" y="4496046"/>
                  <a:pt x="11181847" y="4511833"/>
                </a:cubicBezTo>
                <a:cubicBezTo>
                  <a:pt x="11211893" y="4526092"/>
                  <a:pt x="11227680" y="4551045"/>
                  <a:pt x="11228698" y="4584147"/>
                </a:cubicBezTo>
                <a:cubicBezTo>
                  <a:pt x="11229717" y="4632017"/>
                  <a:pt x="11191523" y="4670210"/>
                  <a:pt x="11144162" y="4669701"/>
                </a:cubicBezTo>
                <a:cubicBezTo>
                  <a:pt x="11095783" y="4669192"/>
                  <a:pt x="11059117" y="4627943"/>
                  <a:pt x="11062682" y="4579055"/>
                </a:cubicBezTo>
                <a:cubicBezTo>
                  <a:pt x="11063191" y="4568360"/>
                  <a:pt x="11070830" y="4558175"/>
                  <a:pt x="11065228" y="4546971"/>
                </a:cubicBezTo>
                <a:cubicBezTo>
                  <a:pt x="11009720" y="4508778"/>
                  <a:pt x="10954211" y="4470584"/>
                  <a:pt x="10898194" y="4432899"/>
                </a:cubicBezTo>
                <a:cubicBezTo>
                  <a:pt x="10890555" y="4427807"/>
                  <a:pt x="10883934" y="4417113"/>
                  <a:pt x="10871712" y="4423733"/>
                </a:cubicBezTo>
                <a:cubicBezTo>
                  <a:pt x="10846250" y="4511833"/>
                  <a:pt x="10791760" y="4577527"/>
                  <a:pt x="10713335" y="4624378"/>
                </a:cubicBezTo>
                <a:cubicBezTo>
                  <a:pt x="10737779" y="4663590"/>
                  <a:pt x="10770880" y="4695164"/>
                  <a:pt x="10798890" y="4731320"/>
                </a:cubicBezTo>
                <a:cubicBezTo>
                  <a:pt x="10805510" y="4739978"/>
                  <a:pt x="10812639" y="4748635"/>
                  <a:pt x="10819260" y="4757292"/>
                </a:cubicBezTo>
                <a:cubicBezTo>
                  <a:pt x="10828935" y="4755255"/>
                  <a:pt x="10838611" y="4753218"/>
                  <a:pt x="10848796" y="4751690"/>
                </a:cubicBezTo>
                <a:cubicBezTo>
                  <a:pt x="10889027" y="4746089"/>
                  <a:pt x="10924675" y="4766968"/>
                  <a:pt x="10938934" y="4802616"/>
                </a:cubicBezTo>
                <a:cubicBezTo>
                  <a:pt x="10953193" y="4838263"/>
                  <a:pt x="10941480" y="4879513"/>
                  <a:pt x="10909906" y="4901920"/>
                </a:cubicBezTo>
                <a:cubicBezTo>
                  <a:pt x="10878842" y="4924327"/>
                  <a:pt x="10835556" y="4922290"/>
                  <a:pt x="10806528" y="4896827"/>
                </a:cubicBezTo>
                <a:cubicBezTo>
                  <a:pt x="10778010" y="4871365"/>
                  <a:pt x="10770372" y="4830115"/>
                  <a:pt x="10788195" y="4794977"/>
                </a:cubicBezTo>
                <a:cubicBezTo>
                  <a:pt x="10790232" y="4790394"/>
                  <a:pt x="10793797" y="4786320"/>
                  <a:pt x="10796343" y="4782246"/>
                </a:cubicBezTo>
                <a:cubicBezTo>
                  <a:pt x="10759677" y="4733357"/>
                  <a:pt x="10721992" y="4685488"/>
                  <a:pt x="10678197" y="4642711"/>
                </a:cubicBezTo>
                <a:cubicBezTo>
                  <a:pt x="10616577" y="4671229"/>
                  <a:pt x="10551393" y="4678358"/>
                  <a:pt x="10484681" y="4670720"/>
                </a:cubicBezTo>
                <a:cubicBezTo>
                  <a:pt x="10476533" y="4739978"/>
                  <a:pt x="10467876" y="4809745"/>
                  <a:pt x="10459728" y="4879003"/>
                </a:cubicBezTo>
                <a:cubicBezTo>
                  <a:pt x="10510144" y="4901920"/>
                  <a:pt x="10528986" y="4953354"/>
                  <a:pt x="10503524" y="4998168"/>
                </a:cubicBezTo>
                <a:cubicBezTo>
                  <a:pt x="10479588" y="5039927"/>
                  <a:pt x="10424589" y="5053167"/>
                  <a:pt x="10384359" y="5026177"/>
                </a:cubicBezTo>
                <a:cubicBezTo>
                  <a:pt x="10344127" y="4999187"/>
                  <a:pt x="10335470" y="4944187"/>
                  <a:pt x="10365007" y="4905484"/>
                </a:cubicBezTo>
                <a:cubicBezTo>
                  <a:pt x="10376720" y="4891225"/>
                  <a:pt x="10391488" y="4882059"/>
                  <a:pt x="10408803" y="4876457"/>
                </a:cubicBezTo>
                <a:cubicBezTo>
                  <a:pt x="10416441" y="4874420"/>
                  <a:pt x="10426626" y="4875948"/>
                  <a:pt x="10429173" y="4864744"/>
                </a:cubicBezTo>
                <a:cubicBezTo>
                  <a:pt x="10434774" y="4805162"/>
                  <a:pt x="10441395" y="4746089"/>
                  <a:pt x="10451070" y="4687525"/>
                </a:cubicBezTo>
                <a:cubicBezTo>
                  <a:pt x="10450052" y="4683960"/>
                  <a:pt x="10451580" y="4678868"/>
                  <a:pt x="10453107" y="4674794"/>
                </a:cubicBezTo>
                <a:cubicBezTo>
                  <a:pt x="10452598" y="4664609"/>
                  <a:pt x="10445469" y="4662572"/>
                  <a:pt x="10437830" y="4660535"/>
                </a:cubicBezTo>
                <a:cubicBezTo>
                  <a:pt x="10390470" y="4647294"/>
                  <a:pt x="10347692" y="4624887"/>
                  <a:pt x="10310008" y="4593823"/>
                </a:cubicBezTo>
                <a:cubicBezTo>
                  <a:pt x="10299823" y="4585166"/>
                  <a:pt x="10293202" y="4584147"/>
                  <a:pt x="10286582" y="4596369"/>
                </a:cubicBezTo>
                <a:cubicBezTo>
                  <a:pt x="10283017" y="4602480"/>
                  <a:pt x="10279453" y="4608082"/>
                  <a:pt x="10274869" y="4613174"/>
                </a:cubicBezTo>
                <a:cubicBezTo>
                  <a:pt x="10259592" y="4631507"/>
                  <a:pt x="10251953" y="4647294"/>
                  <a:pt x="10267231" y="4673266"/>
                </a:cubicBezTo>
                <a:cubicBezTo>
                  <a:pt x="10286073" y="4705858"/>
                  <a:pt x="10271305" y="4748126"/>
                  <a:pt x="10240750" y="4770533"/>
                </a:cubicBezTo>
                <a:cubicBezTo>
                  <a:pt x="10211213" y="4792431"/>
                  <a:pt x="10170473" y="4792431"/>
                  <a:pt x="10140936" y="4770533"/>
                </a:cubicBezTo>
                <a:cubicBezTo>
                  <a:pt x="10125913" y="4759330"/>
                  <a:pt x="10115600" y="4743670"/>
                  <a:pt x="10110763" y="4726419"/>
                </a:cubicBezTo>
                <a:lnTo>
                  <a:pt x="10112201" y="4697564"/>
                </a:lnTo>
                <a:lnTo>
                  <a:pt x="10137373" y="4640708"/>
                </a:lnTo>
                <a:lnTo>
                  <a:pt x="10147747" y="4631635"/>
                </a:lnTo>
                <a:cubicBezTo>
                  <a:pt x="10162834" y="4622214"/>
                  <a:pt x="10180658" y="4618013"/>
                  <a:pt x="10198481" y="4621832"/>
                </a:cubicBezTo>
                <a:cubicBezTo>
                  <a:pt x="10223944" y="4627433"/>
                  <a:pt x="10234638" y="4618267"/>
                  <a:pt x="10246861" y="4599425"/>
                </a:cubicBezTo>
                <a:cubicBezTo>
                  <a:pt x="10271305" y="4561740"/>
                  <a:pt x="10272323" y="4562249"/>
                  <a:pt x="10246861" y="4527620"/>
                </a:cubicBezTo>
                <a:lnTo>
                  <a:pt x="10214773" y="4465887"/>
                </a:lnTo>
                <a:lnTo>
                  <a:pt x="10337118" y="4189552"/>
                </a:lnTo>
                <a:lnTo>
                  <a:pt x="10341581" y="4191513"/>
                </a:lnTo>
                <a:cubicBezTo>
                  <a:pt x="10358387" y="4193041"/>
                  <a:pt x="10374174" y="4176745"/>
                  <a:pt x="10374174" y="4157394"/>
                </a:cubicBezTo>
                <a:cubicBezTo>
                  <a:pt x="10372901" y="4148991"/>
                  <a:pt x="10369846" y="4141607"/>
                  <a:pt x="10364689" y="4136132"/>
                </a:cubicBezTo>
                <a:lnTo>
                  <a:pt x="10361413" y="4134678"/>
                </a:lnTo>
                <a:lnTo>
                  <a:pt x="10428234" y="3983752"/>
                </a:lnTo>
                <a:lnTo>
                  <a:pt x="10442922" y="3978138"/>
                </a:lnTo>
                <a:cubicBezTo>
                  <a:pt x="10452598" y="3975591"/>
                  <a:pt x="10468894" y="3978647"/>
                  <a:pt x="10467876" y="3959805"/>
                </a:cubicBezTo>
                <a:cubicBezTo>
                  <a:pt x="10467366" y="3951657"/>
                  <a:pt x="10467112" y="3944400"/>
                  <a:pt x="10464311" y="3938225"/>
                </a:cubicBezTo>
                <a:lnTo>
                  <a:pt x="10452557" y="3928814"/>
                </a:lnTo>
                <a:lnTo>
                  <a:pt x="10520213" y="3776003"/>
                </a:lnTo>
                <a:lnTo>
                  <a:pt x="10520583" y="3776148"/>
                </a:lnTo>
                <a:cubicBezTo>
                  <a:pt x="10545600" y="3791784"/>
                  <a:pt x="10561450" y="3820525"/>
                  <a:pt x="10559541" y="3851844"/>
                </a:cubicBezTo>
                <a:cubicBezTo>
                  <a:pt x="10557504" y="3881889"/>
                  <a:pt x="10544264" y="3906843"/>
                  <a:pt x="10516764" y="3919065"/>
                </a:cubicBezTo>
                <a:cubicBezTo>
                  <a:pt x="10496394" y="3927722"/>
                  <a:pt x="10495884" y="3941981"/>
                  <a:pt x="10499958" y="3957768"/>
                </a:cubicBezTo>
                <a:cubicBezTo>
                  <a:pt x="10504542" y="3975591"/>
                  <a:pt x="10519820" y="3965916"/>
                  <a:pt x="10530005" y="3965916"/>
                </a:cubicBezTo>
                <a:cubicBezTo>
                  <a:pt x="10588568" y="3965406"/>
                  <a:pt x="10644077" y="3980175"/>
                  <a:pt x="10697039" y="4004109"/>
                </a:cubicBezTo>
                <a:cubicBezTo>
                  <a:pt x="10731159" y="3950638"/>
                  <a:pt x="10765279" y="3897167"/>
                  <a:pt x="10798890" y="3843696"/>
                </a:cubicBezTo>
                <a:cubicBezTo>
                  <a:pt x="10803982" y="3835038"/>
                  <a:pt x="10812639" y="3827909"/>
                  <a:pt x="10809075" y="3816196"/>
                </a:cubicBezTo>
                <a:cubicBezTo>
                  <a:pt x="10782084" y="3781057"/>
                  <a:pt x="10782594" y="3738280"/>
                  <a:pt x="10810602" y="3707216"/>
                </a:cubicBezTo>
                <a:cubicBezTo>
                  <a:pt x="10823843" y="3692448"/>
                  <a:pt x="10841284" y="3683409"/>
                  <a:pt x="10859745" y="3680608"/>
                </a:cubicBezTo>
                <a:close/>
                <a:moveTo>
                  <a:pt x="682584" y="2135590"/>
                </a:moveTo>
                <a:cubicBezTo>
                  <a:pt x="723667" y="2135874"/>
                  <a:pt x="800599" y="2160088"/>
                  <a:pt x="813210" y="2163115"/>
                </a:cubicBezTo>
                <a:cubicBezTo>
                  <a:pt x="852895" y="2173204"/>
                  <a:pt x="983385" y="2190020"/>
                  <a:pt x="990784" y="2237104"/>
                </a:cubicBezTo>
                <a:cubicBezTo>
                  <a:pt x="993474" y="2256610"/>
                  <a:pt x="1002218" y="2272080"/>
                  <a:pt x="1020379" y="2282842"/>
                </a:cubicBezTo>
                <a:cubicBezTo>
                  <a:pt x="1049975" y="2301676"/>
                  <a:pt x="1078225" y="2322527"/>
                  <a:pt x="1107148" y="2342034"/>
                </a:cubicBezTo>
                <a:cubicBezTo>
                  <a:pt x="1113202" y="2346069"/>
                  <a:pt x="1117237" y="2351450"/>
                  <a:pt x="1121273" y="2356832"/>
                </a:cubicBezTo>
                <a:cubicBezTo>
                  <a:pt x="1199298" y="2464452"/>
                  <a:pt x="1276650" y="2572745"/>
                  <a:pt x="1358038" y="2677674"/>
                </a:cubicBezTo>
                <a:cubicBezTo>
                  <a:pt x="1394360" y="2724758"/>
                  <a:pt x="1434717" y="2767806"/>
                  <a:pt x="1487182" y="2797402"/>
                </a:cubicBezTo>
                <a:cubicBezTo>
                  <a:pt x="1514087" y="2812872"/>
                  <a:pt x="1530230" y="2835068"/>
                  <a:pt x="1543010" y="2861974"/>
                </a:cubicBezTo>
                <a:cubicBezTo>
                  <a:pt x="1558481" y="2893587"/>
                  <a:pt x="1567898" y="2927219"/>
                  <a:pt x="1571260" y="2962867"/>
                </a:cubicBezTo>
                <a:cubicBezTo>
                  <a:pt x="1575296" y="3003225"/>
                  <a:pt x="1557135" y="3032149"/>
                  <a:pt x="1527540" y="3056363"/>
                </a:cubicBezTo>
                <a:cubicBezTo>
                  <a:pt x="1493236" y="3083940"/>
                  <a:pt x="1454224" y="3102101"/>
                  <a:pt x="1413193" y="3116899"/>
                </a:cubicBezTo>
                <a:cubicBezTo>
                  <a:pt x="1404449" y="3120262"/>
                  <a:pt x="1399068" y="3124971"/>
                  <a:pt x="1395032" y="3134387"/>
                </a:cubicBezTo>
                <a:cubicBezTo>
                  <a:pt x="1384270" y="3163311"/>
                  <a:pt x="1372163" y="3191561"/>
                  <a:pt x="1360728" y="3220484"/>
                </a:cubicBezTo>
                <a:cubicBezTo>
                  <a:pt x="1354674" y="3235954"/>
                  <a:pt x="1358710" y="3252098"/>
                  <a:pt x="1359383" y="3268240"/>
                </a:cubicBezTo>
                <a:cubicBezTo>
                  <a:pt x="1362746" y="3338193"/>
                  <a:pt x="1367455" y="3407474"/>
                  <a:pt x="1368127" y="3477427"/>
                </a:cubicBezTo>
                <a:cubicBezTo>
                  <a:pt x="1368800" y="3474064"/>
                  <a:pt x="1369473" y="3470701"/>
                  <a:pt x="1369473" y="3466665"/>
                </a:cubicBezTo>
                <a:cubicBezTo>
                  <a:pt x="1369473" y="3525856"/>
                  <a:pt x="1373172" y="3585552"/>
                  <a:pt x="1377628" y="3645163"/>
                </a:cubicBezTo>
                <a:lnTo>
                  <a:pt x="1383847" y="3732357"/>
                </a:lnTo>
                <a:lnTo>
                  <a:pt x="1319097" y="3878607"/>
                </a:lnTo>
                <a:lnTo>
                  <a:pt x="1310281" y="3882937"/>
                </a:lnTo>
                <a:cubicBezTo>
                  <a:pt x="1308263" y="3885207"/>
                  <a:pt x="1307254" y="3888402"/>
                  <a:pt x="1306918" y="3893110"/>
                </a:cubicBezTo>
                <a:lnTo>
                  <a:pt x="1305774" y="3908700"/>
                </a:lnTo>
                <a:lnTo>
                  <a:pt x="552112" y="5610966"/>
                </a:lnTo>
                <a:lnTo>
                  <a:pt x="564338" y="5510104"/>
                </a:lnTo>
                <a:cubicBezTo>
                  <a:pt x="571064" y="5457639"/>
                  <a:pt x="569719" y="5404501"/>
                  <a:pt x="570392" y="5351364"/>
                </a:cubicBezTo>
                <a:cubicBezTo>
                  <a:pt x="571737" y="5348001"/>
                  <a:pt x="571064" y="5343966"/>
                  <a:pt x="571064" y="5340602"/>
                </a:cubicBezTo>
                <a:cubicBezTo>
                  <a:pt x="571064" y="5196660"/>
                  <a:pt x="571064" y="5052718"/>
                  <a:pt x="571737" y="4908776"/>
                </a:cubicBezTo>
                <a:cubicBezTo>
                  <a:pt x="572410" y="4918193"/>
                  <a:pt x="572410" y="4927609"/>
                  <a:pt x="573082" y="4937026"/>
                </a:cubicBezTo>
                <a:cubicBezTo>
                  <a:pt x="573082" y="4885907"/>
                  <a:pt x="572410" y="4832096"/>
                  <a:pt x="578463" y="4781649"/>
                </a:cubicBezTo>
                <a:cubicBezTo>
                  <a:pt x="582499" y="4743309"/>
                  <a:pt x="587207" y="4704970"/>
                  <a:pt x="591243" y="4665958"/>
                </a:cubicBezTo>
                <a:cubicBezTo>
                  <a:pt x="604696" y="4550266"/>
                  <a:pt x="622857" y="4435920"/>
                  <a:pt x="643036" y="4320901"/>
                </a:cubicBezTo>
                <a:cubicBezTo>
                  <a:pt x="646398" y="4302067"/>
                  <a:pt x="646398" y="4283906"/>
                  <a:pt x="641018" y="4265072"/>
                </a:cubicBezTo>
                <a:cubicBezTo>
                  <a:pt x="624202" y="4209917"/>
                  <a:pt x="608732" y="4154089"/>
                  <a:pt x="593934" y="4098261"/>
                </a:cubicBezTo>
                <a:cubicBezTo>
                  <a:pt x="577118" y="4033689"/>
                  <a:pt x="568374" y="3969117"/>
                  <a:pt x="580481" y="3902527"/>
                </a:cubicBezTo>
                <a:cubicBezTo>
                  <a:pt x="585863" y="3872931"/>
                  <a:pt x="597970" y="3846026"/>
                  <a:pt x="608059" y="3818448"/>
                </a:cubicBezTo>
                <a:cubicBezTo>
                  <a:pt x="659851" y="3677870"/>
                  <a:pt x="666577" y="3529892"/>
                  <a:pt x="647744" y="3382587"/>
                </a:cubicBezTo>
                <a:cubicBezTo>
                  <a:pt x="634291" y="3277657"/>
                  <a:pt x="612094" y="3174745"/>
                  <a:pt x="587207" y="3071833"/>
                </a:cubicBezTo>
                <a:cubicBezTo>
                  <a:pt x="547523" y="2910402"/>
                  <a:pt x="462772" y="2748300"/>
                  <a:pt x="468825" y="2578125"/>
                </a:cubicBezTo>
                <a:cubicBezTo>
                  <a:pt x="471516" y="2506155"/>
                  <a:pt x="482951" y="2436201"/>
                  <a:pt x="511873" y="2369611"/>
                </a:cubicBezTo>
                <a:cubicBezTo>
                  <a:pt x="533398" y="2319837"/>
                  <a:pt x="572410" y="2282842"/>
                  <a:pt x="615458" y="2251901"/>
                </a:cubicBezTo>
                <a:cubicBezTo>
                  <a:pt x="624875" y="2245175"/>
                  <a:pt x="630928" y="2237104"/>
                  <a:pt x="633619" y="2225669"/>
                </a:cubicBezTo>
                <a:cubicBezTo>
                  <a:pt x="641018" y="2198764"/>
                  <a:pt x="649089" y="2171859"/>
                  <a:pt x="657161" y="2144954"/>
                </a:cubicBezTo>
                <a:cubicBezTo>
                  <a:pt x="659179" y="2138060"/>
                  <a:pt x="668890" y="2135495"/>
                  <a:pt x="682584" y="2135590"/>
                </a:cubicBezTo>
                <a:close/>
                <a:moveTo>
                  <a:pt x="3036311" y="0"/>
                </a:moveTo>
                <a:lnTo>
                  <a:pt x="12192000" y="0"/>
                </a:lnTo>
                <a:lnTo>
                  <a:pt x="10520213" y="3776003"/>
                </a:lnTo>
                <a:lnTo>
                  <a:pt x="10492829" y="3765271"/>
                </a:lnTo>
                <a:cubicBezTo>
                  <a:pt x="10450052" y="3757123"/>
                  <a:pt x="10409821" y="3781057"/>
                  <a:pt x="10397090" y="3821797"/>
                </a:cubicBezTo>
                <a:cubicBezTo>
                  <a:pt x="10383849" y="3863556"/>
                  <a:pt x="10403201" y="3908370"/>
                  <a:pt x="10445469" y="3923139"/>
                </a:cubicBezTo>
                <a:lnTo>
                  <a:pt x="10452557" y="3928814"/>
                </a:lnTo>
                <a:lnTo>
                  <a:pt x="10428234" y="3983752"/>
                </a:lnTo>
                <a:lnTo>
                  <a:pt x="10374301" y="4004364"/>
                </a:lnTo>
                <a:cubicBezTo>
                  <a:pt x="10352530" y="4015313"/>
                  <a:pt x="10331906" y="4028554"/>
                  <a:pt x="10312554" y="4044341"/>
                </a:cubicBezTo>
                <a:cubicBezTo>
                  <a:pt x="10274360" y="3977628"/>
                  <a:pt x="10235657" y="3911935"/>
                  <a:pt x="10197463" y="3846751"/>
                </a:cubicBezTo>
                <a:cubicBezTo>
                  <a:pt x="10194407" y="3841659"/>
                  <a:pt x="10191861" y="3836566"/>
                  <a:pt x="10192880" y="3829946"/>
                </a:cubicBezTo>
                <a:cubicBezTo>
                  <a:pt x="10228018" y="3791752"/>
                  <a:pt x="10227509" y="3740827"/>
                  <a:pt x="10191352" y="3708235"/>
                </a:cubicBezTo>
                <a:cubicBezTo>
                  <a:pt x="10156723" y="3676661"/>
                  <a:pt x="10101214" y="3680735"/>
                  <a:pt x="10071678" y="3716892"/>
                </a:cubicBezTo>
                <a:cubicBezTo>
                  <a:pt x="10042141" y="3752539"/>
                  <a:pt x="10047234" y="3805501"/>
                  <a:pt x="10083390" y="3835038"/>
                </a:cubicBezTo>
                <a:cubicBezTo>
                  <a:pt x="10106816" y="3854390"/>
                  <a:pt x="10133807" y="3856427"/>
                  <a:pt x="10162834" y="3850825"/>
                </a:cubicBezTo>
                <a:cubicBezTo>
                  <a:pt x="10200518" y="3914991"/>
                  <a:pt x="10238203" y="3979665"/>
                  <a:pt x="10275888" y="4043831"/>
                </a:cubicBezTo>
                <a:cubicBezTo>
                  <a:pt x="10280471" y="4051470"/>
                  <a:pt x="10288110" y="4058600"/>
                  <a:pt x="10284545" y="4069294"/>
                </a:cubicBezTo>
                <a:cubicBezTo>
                  <a:pt x="10243805" y="4107488"/>
                  <a:pt x="10215796" y="4153829"/>
                  <a:pt x="10198991" y="4207301"/>
                </a:cubicBezTo>
                <a:cubicBezTo>
                  <a:pt x="10165889" y="4198135"/>
                  <a:pt x="10141955" y="4171653"/>
                  <a:pt x="10111400" y="4157903"/>
                </a:cubicBezTo>
                <a:cubicBezTo>
                  <a:pt x="10102233" y="4151283"/>
                  <a:pt x="10106816" y="4142626"/>
                  <a:pt x="10107835" y="4134478"/>
                </a:cubicBezTo>
                <a:cubicBezTo>
                  <a:pt x="10110381" y="4114617"/>
                  <a:pt x="10108344" y="4095775"/>
                  <a:pt x="10098159" y="4077951"/>
                </a:cubicBezTo>
                <a:cubicBezTo>
                  <a:pt x="10074733" y="4037211"/>
                  <a:pt x="10021262" y="4023971"/>
                  <a:pt x="9981540" y="4048924"/>
                </a:cubicBezTo>
                <a:cubicBezTo>
                  <a:pt x="9940800" y="4074386"/>
                  <a:pt x="9930615" y="4130404"/>
                  <a:pt x="9958624" y="4169107"/>
                </a:cubicBezTo>
                <a:cubicBezTo>
                  <a:pt x="9987651" y="4208829"/>
                  <a:pt x="10040613" y="4213921"/>
                  <a:pt x="10081353" y="4180820"/>
                </a:cubicBezTo>
                <a:cubicBezTo>
                  <a:pt x="10121075" y="4195079"/>
                  <a:pt x="10151630" y="4223597"/>
                  <a:pt x="10187787" y="4243967"/>
                </a:cubicBezTo>
                <a:cubicBezTo>
                  <a:pt x="10178621" y="4287763"/>
                  <a:pt x="10176584" y="4331049"/>
                  <a:pt x="10184732" y="4375354"/>
                </a:cubicBezTo>
                <a:cubicBezTo>
                  <a:pt x="10182695" y="4389104"/>
                  <a:pt x="10170982" y="4386048"/>
                  <a:pt x="10162834" y="4386558"/>
                </a:cubicBezTo>
                <a:cubicBezTo>
                  <a:pt x="10106816" y="4390122"/>
                  <a:pt x="10051308" y="4393687"/>
                  <a:pt x="9995290" y="4397252"/>
                </a:cubicBezTo>
                <a:cubicBezTo>
                  <a:pt x="9993762" y="4393178"/>
                  <a:pt x="9992235" y="4389104"/>
                  <a:pt x="9990198" y="4385539"/>
                </a:cubicBezTo>
                <a:cubicBezTo>
                  <a:pt x="9972374" y="4347345"/>
                  <a:pt x="9933670" y="4327484"/>
                  <a:pt x="9894458" y="4337160"/>
                </a:cubicBezTo>
                <a:cubicBezTo>
                  <a:pt x="9855246" y="4346836"/>
                  <a:pt x="9830293" y="4379428"/>
                  <a:pt x="9830801" y="4420677"/>
                </a:cubicBezTo>
                <a:cubicBezTo>
                  <a:pt x="9831311" y="4459890"/>
                  <a:pt x="9857792" y="4491972"/>
                  <a:pt x="9896495" y="4500120"/>
                </a:cubicBezTo>
                <a:cubicBezTo>
                  <a:pt x="9935707" y="4508268"/>
                  <a:pt x="9975429" y="4488408"/>
                  <a:pt x="9990198" y="4448686"/>
                </a:cubicBezTo>
                <a:cubicBezTo>
                  <a:pt x="9996309" y="4432390"/>
                  <a:pt x="10005984" y="4428825"/>
                  <a:pt x="10020243" y="4428316"/>
                </a:cubicBezTo>
                <a:cubicBezTo>
                  <a:pt x="10028901" y="4428316"/>
                  <a:pt x="10037049" y="4426788"/>
                  <a:pt x="10045706" y="4425770"/>
                </a:cubicBezTo>
                <a:cubicBezTo>
                  <a:pt x="10085937" y="4424751"/>
                  <a:pt x="10126168" y="4423224"/>
                  <a:pt x="10166399" y="4418640"/>
                </a:cubicBezTo>
                <a:cubicBezTo>
                  <a:pt x="10172510" y="4419150"/>
                  <a:pt x="10178621" y="4419659"/>
                  <a:pt x="10184222" y="4416603"/>
                </a:cubicBezTo>
                <a:cubicBezTo>
                  <a:pt x="10196444" y="4418640"/>
                  <a:pt x="10196954" y="4428825"/>
                  <a:pt x="10200009" y="4437483"/>
                </a:cubicBezTo>
                <a:lnTo>
                  <a:pt x="10214773" y="4465887"/>
                </a:lnTo>
                <a:lnTo>
                  <a:pt x="10137373" y="4640708"/>
                </a:lnTo>
                <a:lnTo>
                  <a:pt x="10127513" y="4649332"/>
                </a:lnTo>
                <a:cubicBezTo>
                  <a:pt x="10121680" y="4656302"/>
                  <a:pt x="10116874" y="4664227"/>
                  <a:pt x="10113437" y="4672757"/>
                </a:cubicBezTo>
                <a:lnTo>
                  <a:pt x="10112201" y="4697564"/>
                </a:lnTo>
                <a:lnTo>
                  <a:pt x="9789793" y="5425774"/>
                </a:lnTo>
                <a:lnTo>
                  <a:pt x="9782579" y="5413664"/>
                </a:lnTo>
                <a:cubicBezTo>
                  <a:pt x="9760661" y="5386909"/>
                  <a:pt x="9735006" y="5363160"/>
                  <a:pt x="9706565" y="5341756"/>
                </a:cubicBezTo>
                <a:cubicBezTo>
                  <a:pt x="9698356" y="5335305"/>
                  <a:pt x="9686627" y="5332373"/>
                  <a:pt x="9683696" y="5320058"/>
                </a:cubicBezTo>
                <a:cubicBezTo>
                  <a:pt x="9730022" y="5256140"/>
                  <a:pt x="9772830" y="5189876"/>
                  <a:pt x="9812706" y="5121266"/>
                </a:cubicBezTo>
                <a:cubicBezTo>
                  <a:pt x="9820329" y="5122439"/>
                  <a:pt x="9827952" y="5123025"/>
                  <a:pt x="9835575" y="5124198"/>
                </a:cubicBezTo>
                <a:cubicBezTo>
                  <a:pt x="9883661" y="5131822"/>
                  <a:pt x="9927642" y="5107779"/>
                  <a:pt x="9944647" y="5064384"/>
                </a:cubicBezTo>
                <a:cubicBezTo>
                  <a:pt x="9961653" y="5020404"/>
                  <a:pt x="9944061" y="4971146"/>
                  <a:pt x="9904185" y="4947103"/>
                </a:cubicBezTo>
                <a:cubicBezTo>
                  <a:pt x="9884248" y="4935375"/>
                  <a:pt x="9861817" y="4931417"/>
                  <a:pt x="9840560" y="4934642"/>
                </a:cubicBezTo>
                <a:cubicBezTo>
                  <a:pt x="9819302" y="4937867"/>
                  <a:pt x="9799218" y="4948276"/>
                  <a:pt x="9783971" y="4965282"/>
                </a:cubicBezTo>
                <a:cubicBezTo>
                  <a:pt x="9751719" y="5001052"/>
                  <a:pt x="9751132" y="5050311"/>
                  <a:pt x="9782212" y="5090773"/>
                </a:cubicBezTo>
                <a:cubicBezTo>
                  <a:pt x="9786317" y="5104260"/>
                  <a:pt x="9776348" y="5112470"/>
                  <a:pt x="9770484" y="5122439"/>
                </a:cubicBezTo>
                <a:cubicBezTo>
                  <a:pt x="9731781" y="5184012"/>
                  <a:pt x="9692491" y="5245585"/>
                  <a:pt x="9653202" y="5307157"/>
                </a:cubicBezTo>
                <a:cubicBezTo>
                  <a:pt x="9592216" y="5279596"/>
                  <a:pt x="9528297" y="5262590"/>
                  <a:pt x="9460860" y="5263177"/>
                </a:cubicBezTo>
                <a:cubicBezTo>
                  <a:pt x="9449132" y="5263177"/>
                  <a:pt x="9431540" y="5274318"/>
                  <a:pt x="9426262" y="5253795"/>
                </a:cubicBezTo>
                <a:cubicBezTo>
                  <a:pt x="9421571" y="5235616"/>
                  <a:pt x="9422157" y="5219196"/>
                  <a:pt x="9445614" y="5209228"/>
                </a:cubicBezTo>
                <a:cubicBezTo>
                  <a:pt x="9477280" y="5195154"/>
                  <a:pt x="9492526" y="5166419"/>
                  <a:pt x="9494872" y="5131822"/>
                </a:cubicBezTo>
                <a:cubicBezTo>
                  <a:pt x="9497804" y="5083736"/>
                  <a:pt x="9464379" y="5040928"/>
                  <a:pt x="9418052" y="5032132"/>
                </a:cubicBezTo>
                <a:cubicBezTo>
                  <a:pt x="9368794" y="5022750"/>
                  <a:pt x="9322468" y="5050311"/>
                  <a:pt x="9307807" y="5097223"/>
                </a:cubicBezTo>
                <a:cubicBezTo>
                  <a:pt x="9292561" y="5145309"/>
                  <a:pt x="9314844" y="5196913"/>
                  <a:pt x="9363516" y="5213919"/>
                </a:cubicBezTo>
                <a:cubicBezTo>
                  <a:pt x="9388146" y="5222715"/>
                  <a:pt x="9388146" y="5237375"/>
                  <a:pt x="9389318" y="5256140"/>
                </a:cubicBezTo>
                <a:cubicBezTo>
                  <a:pt x="9390491" y="5277837"/>
                  <a:pt x="9371726" y="5274318"/>
                  <a:pt x="9360584" y="5277251"/>
                </a:cubicBezTo>
                <a:cubicBezTo>
                  <a:pt x="9305462" y="5292497"/>
                  <a:pt x="9255030" y="5317127"/>
                  <a:pt x="9210463" y="5353484"/>
                </a:cubicBezTo>
                <a:cubicBezTo>
                  <a:pt x="9166483" y="5276664"/>
                  <a:pt x="9121916" y="5201018"/>
                  <a:pt x="9077935" y="5125958"/>
                </a:cubicBezTo>
                <a:cubicBezTo>
                  <a:pt x="9074417" y="5120094"/>
                  <a:pt x="9071485" y="5114229"/>
                  <a:pt x="9072658" y="5106606"/>
                </a:cubicBezTo>
                <a:cubicBezTo>
                  <a:pt x="9113120" y="5062626"/>
                  <a:pt x="9112533" y="5003985"/>
                  <a:pt x="9070898" y="4966455"/>
                </a:cubicBezTo>
                <a:cubicBezTo>
                  <a:pt x="9031022" y="4930097"/>
                  <a:pt x="8967104" y="4934789"/>
                  <a:pt x="8933092" y="4976423"/>
                </a:cubicBezTo>
                <a:cubicBezTo>
                  <a:pt x="8899081" y="5017472"/>
                  <a:pt x="8904945" y="5078458"/>
                  <a:pt x="8946579" y="5112470"/>
                </a:cubicBezTo>
                <a:cubicBezTo>
                  <a:pt x="8973554" y="5134753"/>
                  <a:pt x="9004634" y="5137099"/>
                  <a:pt x="9038059" y="5130649"/>
                </a:cubicBezTo>
                <a:cubicBezTo>
                  <a:pt x="9081453" y="5204536"/>
                  <a:pt x="9124848" y="5279010"/>
                  <a:pt x="9168242" y="5352897"/>
                </a:cubicBezTo>
                <a:cubicBezTo>
                  <a:pt x="9173520" y="5361694"/>
                  <a:pt x="9182316" y="5369903"/>
                  <a:pt x="9178211" y="5382218"/>
                </a:cubicBezTo>
                <a:cubicBezTo>
                  <a:pt x="9131298" y="5426198"/>
                  <a:pt x="9099046" y="5479561"/>
                  <a:pt x="9079695" y="5541134"/>
                </a:cubicBezTo>
                <a:cubicBezTo>
                  <a:pt x="9041578" y="5530579"/>
                  <a:pt x="9014017" y="5500086"/>
                  <a:pt x="8978832" y="5484252"/>
                </a:cubicBezTo>
                <a:cubicBezTo>
                  <a:pt x="8968277" y="5476630"/>
                  <a:pt x="8973554" y="5466660"/>
                  <a:pt x="8974727" y="5457278"/>
                </a:cubicBezTo>
                <a:cubicBezTo>
                  <a:pt x="8977659" y="5434408"/>
                  <a:pt x="8975314" y="5412711"/>
                  <a:pt x="8963586" y="5392187"/>
                </a:cubicBezTo>
                <a:cubicBezTo>
                  <a:pt x="8936611" y="5345274"/>
                  <a:pt x="8875038" y="5330028"/>
                  <a:pt x="8829298" y="5358761"/>
                </a:cubicBezTo>
                <a:cubicBezTo>
                  <a:pt x="8782385" y="5388082"/>
                  <a:pt x="8770657" y="5452586"/>
                  <a:pt x="8802910" y="5497153"/>
                </a:cubicBezTo>
                <a:cubicBezTo>
                  <a:pt x="8836335" y="5542893"/>
                  <a:pt x="8897321" y="5548757"/>
                  <a:pt x="8944234" y="5510641"/>
                </a:cubicBezTo>
                <a:cubicBezTo>
                  <a:pt x="8989974" y="5527061"/>
                  <a:pt x="9025158" y="5559899"/>
                  <a:pt x="9066794" y="5583356"/>
                </a:cubicBezTo>
                <a:cubicBezTo>
                  <a:pt x="9056238" y="5633787"/>
                  <a:pt x="9053893" y="5683631"/>
                  <a:pt x="9063275" y="5734649"/>
                </a:cubicBezTo>
                <a:cubicBezTo>
                  <a:pt x="9060929" y="5750482"/>
                  <a:pt x="9047442" y="5746963"/>
                  <a:pt x="9038059" y="5747550"/>
                </a:cubicBezTo>
                <a:cubicBezTo>
                  <a:pt x="8973554" y="5751655"/>
                  <a:pt x="8909636" y="5755760"/>
                  <a:pt x="8845131" y="5759864"/>
                </a:cubicBezTo>
                <a:cubicBezTo>
                  <a:pt x="8843371" y="5755173"/>
                  <a:pt x="8841613" y="5750482"/>
                  <a:pt x="8839267" y="5746377"/>
                </a:cubicBezTo>
                <a:cubicBezTo>
                  <a:pt x="8818742" y="5702396"/>
                  <a:pt x="8774175" y="5679527"/>
                  <a:pt x="8729022" y="5690668"/>
                </a:cubicBezTo>
                <a:cubicBezTo>
                  <a:pt x="8683868" y="5701810"/>
                  <a:pt x="8655135" y="5739340"/>
                  <a:pt x="8655721" y="5786839"/>
                </a:cubicBezTo>
                <a:cubicBezTo>
                  <a:pt x="8656307" y="5831993"/>
                  <a:pt x="8686801" y="5868936"/>
                  <a:pt x="8731368" y="5878319"/>
                </a:cubicBezTo>
                <a:cubicBezTo>
                  <a:pt x="8776521" y="5887701"/>
                  <a:pt x="8822261" y="5864832"/>
                  <a:pt x="8839267" y="5819092"/>
                </a:cubicBezTo>
                <a:cubicBezTo>
                  <a:pt x="8846304" y="5800327"/>
                  <a:pt x="8857445" y="5796222"/>
                  <a:pt x="8873865" y="5795635"/>
                </a:cubicBezTo>
                <a:cubicBezTo>
                  <a:pt x="8883834" y="5795635"/>
                  <a:pt x="8893217" y="5793876"/>
                  <a:pt x="8903185" y="5792703"/>
                </a:cubicBezTo>
                <a:cubicBezTo>
                  <a:pt x="8949512" y="5791530"/>
                  <a:pt x="8995838" y="5789771"/>
                  <a:pt x="9042164" y="5784493"/>
                </a:cubicBezTo>
                <a:cubicBezTo>
                  <a:pt x="9049201" y="5785080"/>
                  <a:pt x="9056238" y="5785666"/>
                  <a:pt x="9062688" y="5782148"/>
                </a:cubicBezTo>
                <a:cubicBezTo>
                  <a:pt x="9076762" y="5784493"/>
                  <a:pt x="9077349" y="5796222"/>
                  <a:pt x="9080867" y="5806191"/>
                </a:cubicBezTo>
                <a:cubicBezTo>
                  <a:pt x="9094354" y="5843134"/>
                  <a:pt x="9111947" y="5877733"/>
                  <a:pt x="9134817" y="5909985"/>
                </a:cubicBezTo>
                <a:cubicBezTo>
                  <a:pt x="9164137" y="5949860"/>
                  <a:pt x="9162965" y="5949274"/>
                  <a:pt x="9134817" y="5992668"/>
                </a:cubicBezTo>
                <a:cubicBezTo>
                  <a:pt x="9120743" y="6014365"/>
                  <a:pt x="9108428" y="6024921"/>
                  <a:pt x="9079108" y="6018470"/>
                </a:cubicBezTo>
                <a:cubicBezTo>
                  <a:pt x="9038059" y="6009674"/>
                  <a:pt x="8997011" y="6037822"/>
                  <a:pt x="8981178" y="6077111"/>
                </a:cubicBezTo>
                <a:cubicBezTo>
                  <a:pt x="8965344" y="6117573"/>
                  <a:pt x="8978246" y="6163900"/>
                  <a:pt x="9012844" y="6189701"/>
                </a:cubicBezTo>
                <a:cubicBezTo>
                  <a:pt x="9046856" y="6214917"/>
                  <a:pt x="9093768" y="6214917"/>
                  <a:pt x="9127780" y="6189701"/>
                </a:cubicBezTo>
                <a:cubicBezTo>
                  <a:pt x="9162965" y="6163900"/>
                  <a:pt x="9179970" y="6115227"/>
                  <a:pt x="9158273" y="6077697"/>
                </a:cubicBezTo>
                <a:cubicBezTo>
                  <a:pt x="9140681" y="6047791"/>
                  <a:pt x="9149477" y="6029612"/>
                  <a:pt x="9167069" y="6008501"/>
                </a:cubicBezTo>
                <a:cubicBezTo>
                  <a:pt x="9172347" y="6002637"/>
                  <a:pt x="9176452" y="5996187"/>
                  <a:pt x="9180557" y="5989150"/>
                </a:cubicBezTo>
                <a:cubicBezTo>
                  <a:pt x="9188180" y="5975076"/>
                  <a:pt x="9195804" y="5976249"/>
                  <a:pt x="9207532" y="5986218"/>
                </a:cubicBezTo>
                <a:cubicBezTo>
                  <a:pt x="9250926" y="6021989"/>
                  <a:pt x="9300184" y="6047791"/>
                  <a:pt x="9354720" y="6063037"/>
                </a:cubicBezTo>
                <a:cubicBezTo>
                  <a:pt x="9363516" y="6065383"/>
                  <a:pt x="9371726" y="6067729"/>
                  <a:pt x="9372312" y="6079457"/>
                </a:cubicBezTo>
                <a:cubicBezTo>
                  <a:pt x="9370553" y="6084148"/>
                  <a:pt x="9368794" y="6090012"/>
                  <a:pt x="9369967" y="6094117"/>
                </a:cubicBezTo>
                <a:cubicBezTo>
                  <a:pt x="9358825" y="6161554"/>
                  <a:pt x="9351202" y="6229577"/>
                  <a:pt x="9344751" y="6298187"/>
                </a:cubicBezTo>
                <a:cubicBezTo>
                  <a:pt x="9341819" y="6311088"/>
                  <a:pt x="9330091" y="6309329"/>
                  <a:pt x="9321295" y="6311674"/>
                </a:cubicBezTo>
                <a:cubicBezTo>
                  <a:pt x="9301357" y="6318125"/>
                  <a:pt x="9284351" y="6328680"/>
                  <a:pt x="9270864" y="6345099"/>
                </a:cubicBezTo>
                <a:cubicBezTo>
                  <a:pt x="9236852" y="6389666"/>
                  <a:pt x="9246821" y="6452998"/>
                  <a:pt x="9293147" y="6484078"/>
                </a:cubicBezTo>
                <a:lnTo>
                  <a:pt x="9317015" y="6493620"/>
                </a:lnTo>
                <a:lnTo>
                  <a:pt x="9155689" y="6858000"/>
                </a:lnTo>
                <a:lnTo>
                  <a:pt x="0" y="6858000"/>
                </a:lnTo>
                <a:lnTo>
                  <a:pt x="552112" y="5610966"/>
                </a:lnTo>
                <a:lnTo>
                  <a:pt x="550885" y="5621088"/>
                </a:lnTo>
                <a:cubicBezTo>
                  <a:pt x="548195" y="5624450"/>
                  <a:pt x="549541" y="5627814"/>
                  <a:pt x="550213" y="5631177"/>
                </a:cubicBezTo>
                <a:cubicBezTo>
                  <a:pt x="550213" y="5635212"/>
                  <a:pt x="550213" y="5639248"/>
                  <a:pt x="548195" y="5643284"/>
                </a:cubicBezTo>
                <a:cubicBezTo>
                  <a:pt x="544832" y="5647319"/>
                  <a:pt x="546177" y="5652028"/>
                  <a:pt x="546177" y="5656737"/>
                </a:cubicBezTo>
                <a:cubicBezTo>
                  <a:pt x="545505" y="5697767"/>
                  <a:pt x="548195" y="5738124"/>
                  <a:pt x="547523" y="5779155"/>
                </a:cubicBezTo>
                <a:cubicBezTo>
                  <a:pt x="546850" y="5801352"/>
                  <a:pt x="546850" y="5822875"/>
                  <a:pt x="546850" y="5845072"/>
                </a:cubicBezTo>
                <a:cubicBezTo>
                  <a:pt x="546177" y="5851125"/>
                  <a:pt x="546177" y="5857179"/>
                  <a:pt x="545505" y="5863233"/>
                </a:cubicBezTo>
                <a:cubicBezTo>
                  <a:pt x="540796" y="5912334"/>
                  <a:pt x="523308" y="5958073"/>
                  <a:pt x="509855" y="6005157"/>
                </a:cubicBezTo>
                <a:cubicBezTo>
                  <a:pt x="498421" y="6044169"/>
                  <a:pt x="491022" y="6077801"/>
                  <a:pt x="517255" y="6112777"/>
                </a:cubicBezTo>
                <a:cubicBezTo>
                  <a:pt x="528016" y="6139682"/>
                  <a:pt x="546177" y="6153135"/>
                  <a:pt x="570392" y="6164569"/>
                </a:cubicBezTo>
                <a:cubicBezTo>
                  <a:pt x="577118" y="6167933"/>
                  <a:pt x="599988" y="6155152"/>
                  <a:pt x="606714" y="6152462"/>
                </a:cubicBezTo>
                <a:cubicBezTo>
                  <a:pt x="628237" y="6143718"/>
                  <a:pt x="665905" y="6129593"/>
                  <a:pt x="688101" y="6120848"/>
                </a:cubicBezTo>
                <a:cubicBezTo>
                  <a:pt x="764109" y="6091926"/>
                  <a:pt x="823972" y="6068384"/>
                  <a:pt x="899979" y="6040134"/>
                </a:cubicBezTo>
                <a:cubicBezTo>
                  <a:pt x="901997" y="6046860"/>
                  <a:pt x="900651" y="6060985"/>
                  <a:pt x="904015" y="6052240"/>
                </a:cubicBezTo>
                <a:cubicBezTo>
                  <a:pt x="907378" y="6050896"/>
                  <a:pt x="925538" y="6040806"/>
                  <a:pt x="929574" y="6040134"/>
                </a:cubicBezTo>
                <a:cubicBezTo>
                  <a:pt x="943027" y="6037443"/>
                  <a:pt x="939664" y="6027354"/>
                  <a:pt x="933610" y="6013901"/>
                </a:cubicBezTo>
                <a:cubicBezTo>
                  <a:pt x="920830" y="5985650"/>
                  <a:pt x="910069" y="5956728"/>
                  <a:pt x="898634" y="5927805"/>
                </a:cubicBezTo>
                <a:cubicBezTo>
                  <a:pt x="896616" y="5922424"/>
                  <a:pt x="889217" y="5888120"/>
                  <a:pt x="901324" y="5878703"/>
                </a:cubicBezTo>
                <a:cubicBezTo>
                  <a:pt x="904687" y="5876686"/>
                  <a:pt x="908051" y="5876012"/>
                  <a:pt x="910741" y="5873322"/>
                </a:cubicBezTo>
                <a:cubicBezTo>
                  <a:pt x="912086" y="5871304"/>
                  <a:pt x="935628" y="5867269"/>
                  <a:pt x="944372" y="5863233"/>
                </a:cubicBezTo>
                <a:cubicBezTo>
                  <a:pt x="1002218" y="5835655"/>
                  <a:pt x="1047285" y="5792607"/>
                  <a:pt x="1084279" y="5741488"/>
                </a:cubicBezTo>
                <a:cubicBezTo>
                  <a:pt x="1089660" y="5734088"/>
                  <a:pt x="1096386" y="5727362"/>
                  <a:pt x="1095713" y="5717273"/>
                </a:cubicBezTo>
                <a:cubicBezTo>
                  <a:pt x="1096386" y="5715255"/>
                  <a:pt x="1095713" y="5713237"/>
                  <a:pt x="1097058" y="5711892"/>
                </a:cubicBezTo>
                <a:cubicBezTo>
                  <a:pt x="1107820" y="5700458"/>
                  <a:pt x="1101094" y="5693731"/>
                  <a:pt x="1092350" y="5686332"/>
                </a:cubicBezTo>
                <a:cubicBezTo>
                  <a:pt x="1076207" y="5672880"/>
                  <a:pt x="1060737" y="5658082"/>
                  <a:pt x="1044594" y="5644629"/>
                </a:cubicBezTo>
                <a:cubicBezTo>
                  <a:pt x="1037867" y="5639248"/>
                  <a:pt x="1035177" y="5633867"/>
                  <a:pt x="1037195" y="5624450"/>
                </a:cubicBezTo>
                <a:cubicBezTo>
                  <a:pt x="1044594" y="5586783"/>
                  <a:pt x="1050647" y="5549116"/>
                  <a:pt x="1058046" y="5511449"/>
                </a:cubicBezTo>
                <a:cubicBezTo>
                  <a:pt x="1069481" y="5455621"/>
                  <a:pt x="1075534" y="5398448"/>
                  <a:pt x="1093695" y="5343966"/>
                </a:cubicBezTo>
                <a:cubicBezTo>
                  <a:pt x="1154905" y="5164374"/>
                  <a:pt x="1199970" y="4980747"/>
                  <a:pt x="1226203" y="4793084"/>
                </a:cubicBezTo>
                <a:cubicBezTo>
                  <a:pt x="1247054" y="4646452"/>
                  <a:pt x="1260507" y="4498473"/>
                  <a:pt x="1273287" y="4351169"/>
                </a:cubicBezTo>
                <a:lnTo>
                  <a:pt x="1305774" y="3908700"/>
                </a:lnTo>
                <a:lnTo>
                  <a:pt x="1319097" y="3878607"/>
                </a:lnTo>
                <a:lnTo>
                  <a:pt x="1319698" y="3878312"/>
                </a:lnTo>
                <a:cubicBezTo>
                  <a:pt x="1342567" y="3872931"/>
                  <a:pt x="1365437" y="3866877"/>
                  <a:pt x="1388306" y="3861497"/>
                </a:cubicBezTo>
                <a:cubicBezTo>
                  <a:pt x="1390996" y="3851407"/>
                  <a:pt x="1388306" y="3841318"/>
                  <a:pt x="1390324" y="3831229"/>
                </a:cubicBezTo>
                <a:cubicBezTo>
                  <a:pt x="1390324" y="3828538"/>
                  <a:pt x="1390324" y="3825847"/>
                  <a:pt x="1390324" y="3823157"/>
                </a:cubicBezTo>
                <a:lnTo>
                  <a:pt x="1383847" y="3732357"/>
                </a:lnTo>
                <a:close/>
              </a:path>
            </a:pathLst>
          </a:custGeom>
          <a:solidFill>
            <a:schemeClr val="accent4"/>
          </a:solidFill>
          <a:ln w="929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447548EA-DD17-43F9-AACD-F23CB7F25EAD}"/>
              </a:ext>
            </a:extLst>
          </p:cNvPr>
          <p:cNvSpPr/>
          <p:nvPr userDrawn="1"/>
        </p:nvSpPr>
        <p:spPr>
          <a:xfrm>
            <a:off x="10644056" y="5716915"/>
            <a:ext cx="873784" cy="850432"/>
          </a:xfrm>
          <a:custGeom>
            <a:avLst/>
            <a:gdLst>
              <a:gd name="connsiteX0" fmla="*/ 1213500 w 2614664"/>
              <a:gd name="connsiteY0" fmla="*/ 1488843 h 2544791"/>
              <a:gd name="connsiteX1" fmla="*/ 1105867 w 2614664"/>
              <a:gd name="connsiteY1" fmla="*/ 1597428 h 2544791"/>
              <a:gd name="connsiteX2" fmla="*/ 1212547 w 2614664"/>
              <a:gd name="connsiteY2" fmla="*/ 1706013 h 2544791"/>
              <a:gd name="connsiteX3" fmla="*/ 1323037 w 2614664"/>
              <a:gd name="connsiteY3" fmla="*/ 1598380 h 2544791"/>
              <a:gd name="connsiteX4" fmla="*/ 1213500 w 2614664"/>
              <a:gd name="connsiteY4" fmla="*/ 1488843 h 2544791"/>
              <a:gd name="connsiteX5" fmla="*/ 1470674 w 2614664"/>
              <a:gd name="connsiteY5" fmla="*/ 1264053 h 2544791"/>
              <a:gd name="connsiteX6" fmla="*/ 1424954 w 2614664"/>
              <a:gd name="connsiteY6" fmla="*/ 1308820 h 2544791"/>
              <a:gd name="connsiteX7" fmla="*/ 1473532 w 2614664"/>
              <a:gd name="connsiteY7" fmla="*/ 1359303 h 2544791"/>
              <a:gd name="connsiteX8" fmla="*/ 1519252 w 2614664"/>
              <a:gd name="connsiteY8" fmla="*/ 1310725 h 2544791"/>
              <a:gd name="connsiteX9" fmla="*/ 1470674 w 2614664"/>
              <a:gd name="connsiteY9" fmla="*/ 1264053 h 2544791"/>
              <a:gd name="connsiteX10" fmla="*/ 909652 w 2614664"/>
              <a:gd name="connsiteY10" fmla="*/ 1184043 h 2544791"/>
              <a:gd name="connsiteX11" fmla="*/ 838214 w 2614664"/>
              <a:gd name="connsiteY11" fmla="*/ 1261196 h 2544791"/>
              <a:gd name="connsiteX12" fmla="*/ 911557 w 2614664"/>
              <a:gd name="connsiteY12" fmla="*/ 1332633 h 2544791"/>
              <a:gd name="connsiteX13" fmla="*/ 981089 w 2614664"/>
              <a:gd name="connsiteY13" fmla="*/ 1258338 h 2544791"/>
              <a:gd name="connsiteX14" fmla="*/ 909652 w 2614664"/>
              <a:gd name="connsiteY14" fmla="*/ 1184043 h 2544791"/>
              <a:gd name="connsiteX15" fmla="*/ 1816432 w 2614664"/>
              <a:gd name="connsiteY15" fmla="*/ 1064028 h 2544791"/>
              <a:gd name="connsiteX16" fmla="*/ 1759282 w 2614664"/>
              <a:gd name="connsiteY16" fmla="*/ 1121178 h 2544791"/>
              <a:gd name="connsiteX17" fmla="*/ 1813574 w 2614664"/>
              <a:gd name="connsiteY17" fmla="*/ 1172613 h 2544791"/>
              <a:gd name="connsiteX18" fmla="*/ 1867867 w 2614664"/>
              <a:gd name="connsiteY18" fmla="*/ 1119273 h 2544791"/>
              <a:gd name="connsiteX19" fmla="*/ 1816432 w 2614664"/>
              <a:gd name="connsiteY19" fmla="*/ 1064028 h 2544791"/>
              <a:gd name="connsiteX20" fmla="*/ 957277 w 2614664"/>
              <a:gd name="connsiteY20" fmla="*/ 835428 h 2544791"/>
              <a:gd name="connsiteX21" fmla="*/ 897270 w 2614664"/>
              <a:gd name="connsiteY21" fmla="*/ 894483 h 2544791"/>
              <a:gd name="connsiteX22" fmla="*/ 955372 w 2614664"/>
              <a:gd name="connsiteY22" fmla="*/ 957348 h 2544791"/>
              <a:gd name="connsiteX23" fmla="*/ 1016332 w 2614664"/>
              <a:gd name="connsiteY23" fmla="*/ 893531 h 2544791"/>
              <a:gd name="connsiteX24" fmla="*/ 957277 w 2614664"/>
              <a:gd name="connsiteY24" fmla="*/ 835428 h 2544791"/>
              <a:gd name="connsiteX25" fmla="*/ 1305892 w 2614664"/>
              <a:gd name="connsiteY25" fmla="*/ 744941 h 2544791"/>
              <a:gd name="connsiteX26" fmla="*/ 1182067 w 2614664"/>
              <a:gd name="connsiteY26" fmla="*/ 868766 h 2544791"/>
              <a:gd name="connsiteX27" fmla="*/ 1300177 w 2614664"/>
              <a:gd name="connsiteY27" fmla="*/ 999258 h 2544791"/>
              <a:gd name="connsiteX28" fmla="*/ 1429717 w 2614664"/>
              <a:gd name="connsiteY28" fmla="*/ 874481 h 2544791"/>
              <a:gd name="connsiteX29" fmla="*/ 1305892 w 2614664"/>
              <a:gd name="connsiteY29" fmla="*/ 744941 h 2544791"/>
              <a:gd name="connsiteX30" fmla="*/ 1924541 w 2614664"/>
              <a:gd name="connsiteY30" fmla="*/ 1754 h 2544791"/>
              <a:gd name="connsiteX31" fmla="*/ 2027887 w 2614664"/>
              <a:gd name="connsiteY31" fmla="*/ 21994 h 2544791"/>
              <a:gd name="connsiteX32" fmla="*/ 2093609 w 2614664"/>
              <a:gd name="connsiteY32" fmla="*/ 212494 h 2544791"/>
              <a:gd name="connsiteX33" fmla="*/ 1916444 w 2614664"/>
              <a:gd name="connsiteY33" fmla="*/ 309649 h 2544791"/>
              <a:gd name="connsiteX34" fmla="*/ 1879297 w 2614664"/>
              <a:gd name="connsiteY34" fmla="*/ 304887 h 2544791"/>
              <a:gd name="connsiteX35" fmla="*/ 1669747 w 2614664"/>
              <a:gd name="connsiteY35" fmla="*/ 627784 h 2544791"/>
              <a:gd name="connsiteX36" fmla="*/ 1706894 w 2614664"/>
              <a:gd name="connsiteY36" fmla="*/ 663027 h 2544791"/>
              <a:gd name="connsiteX37" fmla="*/ 1917397 w 2614664"/>
              <a:gd name="connsiteY37" fmla="*/ 925917 h 2544791"/>
              <a:gd name="connsiteX38" fmla="*/ 2029792 w 2614664"/>
              <a:gd name="connsiteY38" fmla="*/ 902104 h 2544791"/>
              <a:gd name="connsiteX39" fmla="*/ 2097419 w 2614664"/>
              <a:gd name="connsiteY39" fmla="*/ 884007 h 2544791"/>
              <a:gd name="connsiteX40" fmla="*/ 2124089 w 2614664"/>
              <a:gd name="connsiteY40" fmla="*/ 838287 h 2544791"/>
              <a:gd name="connsiteX41" fmla="*/ 2267917 w 2614664"/>
              <a:gd name="connsiteY41" fmla="*/ 703984 h 2544791"/>
              <a:gd name="connsiteX42" fmla="*/ 2426984 w 2614664"/>
              <a:gd name="connsiteY42" fmla="*/ 814474 h 2544791"/>
              <a:gd name="connsiteX43" fmla="*/ 2351737 w 2614664"/>
              <a:gd name="connsiteY43" fmla="*/ 997354 h 2544791"/>
              <a:gd name="connsiteX44" fmla="*/ 2157427 w 2614664"/>
              <a:gd name="connsiteY44" fmla="*/ 960207 h 2544791"/>
              <a:gd name="connsiteX45" fmla="*/ 2126947 w 2614664"/>
              <a:gd name="connsiteY45" fmla="*/ 931632 h 2544791"/>
              <a:gd name="connsiteX46" fmla="*/ 1953592 w 2614664"/>
              <a:gd name="connsiteY46" fmla="*/ 985924 h 2544791"/>
              <a:gd name="connsiteX47" fmla="*/ 1954544 w 2614664"/>
              <a:gd name="connsiteY47" fmla="*/ 1022119 h 2544791"/>
              <a:gd name="connsiteX48" fmla="*/ 1971689 w 2614664"/>
              <a:gd name="connsiteY48" fmla="*/ 1289772 h 2544791"/>
              <a:gd name="connsiteX49" fmla="*/ 1981214 w 2614664"/>
              <a:gd name="connsiteY49" fmla="*/ 1332634 h 2544791"/>
              <a:gd name="connsiteX50" fmla="*/ 2294587 w 2614664"/>
              <a:gd name="connsiteY50" fmla="*/ 1542184 h 2544791"/>
              <a:gd name="connsiteX51" fmla="*/ 2354594 w 2614664"/>
              <a:gd name="connsiteY51" fmla="*/ 1579332 h 2544791"/>
              <a:gd name="connsiteX52" fmla="*/ 2526997 w 2614664"/>
              <a:gd name="connsiteY52" fmla="*/ 1556472 h 2544791"/>
              <a:gd name="connsiteX53" fmla="*/ 2614627 w 2614664"/>
              <a:gd name="connsiteY53" fmla="*/ 1691727 h 2544791"/>
              <a:gd name="connsiteX54" fmla="*/ 2456512 w 2614664"/>
              <a:gd name="connsiteY54" fmla="*/ 1851747 h 2544791"/>
              <a:gd name="connsiteX55" fmla="*/ 2304112 w 2614664"/>
              <a:gd name="connsiteY55" fmla="*/ 1682202 h 2544791"/>
              <a:gd name="connsiteX56" fmla="*/ 2308874 w 2614664"/>
              <a:gd name="connsiteY56" fmla="*/ 1622194 h 2544791"/>
              <a:gd name="connsiteX57" fmla="*/ 1996454 w 2614664"/>
              <a:gd name="connsiteY57" fmla="*/ 1408834 h 2544791"/>
              <a:gd name="connsiteX58" fmla="*/ 1946924 w 2614664"/>
              <a:gd name="connsiteY58" fmla="*/ 1391689 h 2544791"/>
              <a:gd name="connsiteX59" fmla="*/ 1650697 w 2614664"/>
              <a:gd name="connsiteY59" fmla="*/ 1766974 h 2544791"/>
              <a:gd name="connsiteX60" fmla="*/ 1810717 w 2614664"/>
              <a:gd name="connsiteY60" fmla="*/ 1966999 h 2544791"/>
              <a:gd name="connsiteX61" fmla="*/ 1848817 w 2614664"/>
              <a:gd name="connsiteY61" fmla="*/ 2015577 h 2544791"/>
              <a:gd name="connsiteX62" fmla="*/ 1904062 w 2614664"/>
              <a:gd name="connsiteY62" fmla="*/ 2005099 h 2544791"/>
              <a:gd name="connsiteX63" fmla="*/ 2072654 w 2614664"/>
              <a:gd name="connsiteY63" fmla="*/ 2100349 h 2544791"/>
              <a:gd name="connsiteX64" fmla="*/ 2018362 w 2614664"/>
              <a:gd name="connsiteY64" fmla="*/ 2286087 h 2544791"/>
              <a:gd name="connsiteX65" fmla="*/ 1825004 w 2614664"/>
              <a:gd name="connsiteY65" fmla="*/ 2276562 h 2544791"/>
              <a:gd name="connsiteX66" fmla="*/ 1790714 w 2614664"/>
              <a:gd name="connsiteY66" fmla="*/ 2086062 h 2544791"/>
              <a:gd name="connsiteX67" fmla="*/ 1805954 w 2614664"/>
              <a:gd name="connsiteY67" fmla="*/ 2062249 h 2544791"/>
              <a:gd name="connsiteX68" fmla="*/ 1584974 w 2614664"/>
              <a:gd name="connsiteY68" fmla="*/ 1801264 h 2544791"/>
              <a:gd name="connsiteX69" fmla="*/ 1223024 w 2614664"/>
              <a:gd name="connsiteY69" fmla="*/ 1853652 h 2544791"/>
              <a:gd name="connsiteX70" fmla="*/ 1176352 w 2614664"/>
              <a:gd name="connsiteY70" fmla="*/ 2243224 h 2544791"/>
              <a:gd name="connsiteX71" fmla="*/ 1258267 w 2614664"/>
              <a:gd name="connsiteY71" fmla="*/ 2466109 h 2544791"/>
              <a:gd name="connsiteX72" fmla="*/ 1035382 w 2614664"/>
              <a:gd name="connsiteY72" fmla="*/ 2518497 h 2544791"/>
              <a:gd name="connsiteX73" fmla="*/ 999187 w 2614664"/>
              <a:gd name="connsiteY73" fmla="*/ 2292754 h 2544791"/>
              <a:gd name="connsiteX74" fmla="*/ 1081102 w 2614664"/>
              <a:gd name="connsiteY74" fmla="*/ 2238462 h 2544791"/>
              <a:gd name="connsiteX75" fmla="*/ 1119202 w 2614664"/>
              <a:gd name="connsiteY75" fmla="*/ 2216554 h 2544791"/>
              <a:gd name="connsiteX76" fmla="*/ 1160159 w 2614664"/>
              <a:gd name="connsiteY76" fmla="*/ 1885084 h 2544791"/>
              <a:gd name="connsiteX77" fmla="*/ 1163969 w 2614664"/>
              <a:gd name="connsiteY77" fmla="*/ 1861272 h 2544791"/>
              <a:gd name="connsiteX78" fmla="*/ 1135394 w 2614664"/>
              <a:gd name="connsiteY78" fmla="*/ 1834602 h 2544791"/>
              <a:gd name="connsiteX79" fmla="*/ 896317 w 2614664"/>
              <a:gd name="connsiteY79" fmla="*/ 1709824 h 2544791"/>
              <a:gd name="connsiteX80" fmla="*/ 852502 w 2614664"/>
              <a:gd name="connsiteY80" fmla="*/ 1714587 h 2544791"/>
              <a:gd name="connsiteX81" fmla="*/ 830594 w 2614664"/>
              <a:gd name="connsiteY81" fmla="*/ 1746019 h 2544791"/>
              <a:gd name="connsiteX82" fmla="*/ 816307 w 2614664"/>
              <a:gd name="connsiteY82" fmla="*/ 1858414 h 2544791"/>
              <a:gd name="connsiteX83" fmla="*/ 766777 w 2614664"/>
              <a:gd name="connsiteY83" fmla="*/ 2040342 h 2544791"/>
              <a:gd name="connsiteX84" fmla="*/ 580087 w 2614664"/>
              <a:gd name="connsiteY84" fmla="*/ 2040342 h 2544791"/>
              <a:gd name="connsiteX85" fmla="*/ 528652 w 2614664"/>
              <a:gd name="connsiteY85" fmla="*/ 1857462 h 2544791"/>
              <a:gd name="connsiteX86" fmla="*/ 687719 w 2614664"/>
              <a:gd name="connsiteY86" fmla="*/ 1762212 h 2544791"/>
              <a:gd name="connsiteX87" fmla="*/ 778207 w 2614664"/>
              <a:gd name="connsiteY87" fmla="*/ 1720302 h 2544791"/>
              <a:gd name="connsiteX88" fmla="*/ 778207 w 2614664"/>
              <a:gd name="connsiteY88" fmla="*/ 1585999 h 2544791"/>
              <a:gd name="connsiteX89" fmla="*/ 690577 w 2614664"/>
              <a:gd name="connsiteY89" fmla="*/ 1417407 h 2544791"/>
              <a:gd name="connsiteX90" fmla="*/ 661049 w 2614664"/>
              <a:gd name="connsiteY90" fmla="*/ 1378354 h 2544791"/>
              <a:gd name="connsiteX91" fmla="*/ 627712 w 2614664"/>
              <a:gd name="connsiteY91" fmla="*/ 1382164 h 2544791"/>
              <a:gd name="connsiteX92" fmla="*/ 401969 w 2614664"/>
              <a:gd name="connsiteY92" fmla="*/ 1395499 h 2544791"/>
              <a:gd name="connsiteX93" fmla="*/ 354344 w 2614664"/>
              <a:gd name="connsiteY93" fmla="*/ 1400262 h 2544791"/>
              <a:gd name="connsiteX94" fmla="*/ 298147 w 2614664"/>
              <a:gd name="connsiteY94" fmla="*/ 1438362 h 2544791"/>
              <a:gd name="connsiteX95" fmla="*/ 122887 w 2614664"/>
              <a:gd name="connsiteY95" fmla="*/ 1534564 h 2544791"/>
              <a:gd name="connsiteX96" fmla="*/ 14 w 2614664"/>
              <a:gd name="connsiteY96" fmla="*/ 1385974 h 2544791"/>
              <a:gd name="connsiteX97" fmla="*/ 119077 w 2614664"/>
              <a:gd name="connsiteY97" fmla="*/ 1229764 h 2544791"/>
              <a:gd name="connsiteX98" fmla="*/ 298147 w 2614664"/>
              <a:gd name="connsiteY98" fmla="*/ 1320252 h 2544791"/>
              <a:gd name="connsiteX99" fmla="*/ 307672 w 2614664"/>
              <a:gd name="connsiteY99" fmla="*/ 1342159 h 2544791"/>
              <a:gd name="connsiteX100" fmla="*/ 621044 w 2614664"/>
              <a:gd name="connsiteY100" fmla="*/ 1322157 h 2544791"/>
              <a:gd name="connsiteX101" fmla="*/ 662002 w 2614664"/>
              <a:gd name="connsiteY101" fmla="*/ 1301202 h 2544791"/>
              <a:gd name="connsiteX102" fmla="*/ 667717 w 2614664"/>
              <a:gd name="connsiteY102" fmla="*/ 1055457 h 2544791"/>
              <a:gd name="connsiteX103" fmla="*/ 468644 w 2614664"/>
              <a:gd name="connsiteY103" fmla="*/ 937347 h 2544791"/>
              <a:gd name="connsiteX104" fmla="*/ 239092 w 2614664"/>
              <a:gd name="connsiteY104" fmla="*/ 915439 h 2544791"/>
              <a:gd name="connsiteX105" fmla="*/ 281954 w 2614664"/>
              <a:gd name="connsiteY105" fmla="*/ 690649 h 2544791"/>
              <a:gd name="connsiteX106" fmla="*/ 500077 w 2614664"/>
              <a:gd name="connsiteY106" fmla="*/ 744942 h 2544791"/>
              <a:gd name="connsiteX107" fmla="*/ 518174 w 2614664"/>
              <a:gd name="connsiteY107" fmla="*/ 850669 h 2544791"/>
              <a:gd name="connsiteX108" fmla="*/ 524842 w 2614664"/>
              <a:gd name="connsiteY108" fmla="*/ 894484 h 2544791"/>
              <a:gd name="connsiteX109" fmla="*/ 688672 w 2614664"/>
              <a:gd name="connsiteY109" fmla="*/ 986877 h 2544791"/>
              <a:gd name="connsiteX110" fmla="*/ 848692 w 2614664"/>
              <a:gd name="connsiteY110" fmla="*/ 728749 h 2544791"/>
              <a:gd name="connsiteX111" fmla="*/ 832499 w 2614664"/>
              <a:gd name="connsiteY111" fmla="*/ 681124 h 2544791"/>
              <a:gd name="connsiteX112" fmla="*/ 621044 w 2614664"/>
              <a:gd name="connsiteY112" fmla="*/ 320127 h 2544791"/>
              <a:gd name="connsiteX113" fmla="*/ 472454 w 2614664"/>
              <a:gd name="connsiteY113" fmla="*/ 290599 h 2544791"/>
              <a:gd name="connsiteX114" fmla="*/ 450547 w 2614664"/>
              <a:gd name="connsiteY114" fmla="*/ 69619 h 2544791"/>
              <a:gd name="connsiteX115" fmla="*/ 674384 w 2614664"/>
              <a:gd name="connsiteY115" fmla="*/ 53427 h 2544791"/>
              <a:gd name="connsiteX116" fmla="*/ 677242 w 2614664"/>
              <a:gd name="connsiteY116" fmla="*/ 281074 h 2544791"/>
              <a:gd name="connsiteX117" fmla="*/ 685814 w 2614664"/>
              <a:gd name="connsiteY117" fmla="*/ 312507 h 2544791"/>
              <a:gd name="connsiteX118" fmla="*/ 901079 w 2614664"/>
              <a:gd name="connsiteY118" fmla="*/ 682077 h 2544791"/>
              <a:gd name="connsiteX119" fmla="*/ 1144919 w 2614664"/>
              <a:gd name="connsiteY119" fmla="*/ 558252 h 2544791"/>
              <a:gd name="connsiteX120" fmla="*/ 1191592 w 2614664"/>
              <a:gd name="connsiteY120" fmla="*/ 523962 h 2544791"/>
              <a:gd name="connsiteX121" fmla="*/ 1149682 w 2614664"/>
              <a:gd name="connsiteY121" fmla="*/ 455382 h 2544791"/>
              <a:gd name="connsiteX122" fmla="*/ 1059194 w 2614664"/>
              <a:gd name="connsiteY122" fmla="*/ 265834 h 2544791"/>
              <a:gd name="connsiteX123" fmla="*/ 1238264 w 2614664"/>
              <a:gd name="connsiteY123" fmla="*/ 160107 h 2544791"/>
              <a:gd name="connsiteX124" fmla="*/ 1363042 w 2614664"/>
              <a:gd name="connsiteY124" fmla="*/ 322032 h 2544791"/>
              <a:gd name="connsiteX125" fmla="*/ 1283032 w 2614664"/>
              <a:gd name="connsiteY125" fmla="*/ 447762 h 2544791"/>
              <a:gd name="connsiteX126" fmla="*/ 1251599 w 2614664"/>
              <a:gd name="connsiteY126" fmla="*/ 520152 h 2544791"/>
              <a:gd name="connsiteX127" fmla="*/ 1307797 w 2614664"/>
              <a:gd name="connsiteY127" fmla="*/ 535392 h 2544791"/>
              <a:gd name="connsiteX128" fmla="*/ 1620217 w 2614664"/>
              <a:gd name="connsiteY128" fmla="*/ 606829 h 2544791"/>
              <a:gd name="connsiteX129" fmla="*/ 1810717 w 2614664"/>
              <a:gd name="connsiteY129" fmla="*/ 306792 h 2544791"/>
              <a:gd name="connsiteX130" fmla="*/ 1829767 w 2614664"/>
              <a:gd name="connsiteY130" fmla="*/ 255357 h 2544791"/>
              <a:gd name="connsiteX131" fmla="*/ 1832624 w 2614664"/>
              <a:gd name="connsiteY131" fmla="*/ 51522 h 2544791"/>
              <a:gd name="connsiteX132" fmla="*/ 1924541 w 2614664"/>
              <a:gd name="connsiteY132" fmla="*/ 1754 h 2544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2614664" h="2544791">
                <a:moveTo>
                  <a:pt x="1213500" y="1488843"/>
                </a:moveTo>
                <a:cubicBezTo>
                  <a:pt x="1153492" y="1487890"/>
                  <a:pt x="1105867" y="1536468"/>
                  <a:pt x="1105867" y="1597428"/>
                </a:cubicBezTo>
                <a:cubicBezTo>
                  <a:pt x="1105867" y="1661245"/>
                  <a:pt x="1151587" y="1706965"/>
                  <a:pt x="1212547" y="1706013"/>
                </a:cubicBezTo>
                <a:cubicBezTo>
                  <a:pt x="1274460" y="1705060"/>
                  <a:pt x="1321132" y="1660293"/>
                  <a:pt x="1323037" y="1598380"/>
                </a:cubicBezTo>
                <a:cubicBezTo>
                  <a:pt x="1323990" y="1542183"/>
                  <a:pt x="1270649" y="1489795"/>
                  <a:pt x="1213500" y="1488843"/>
                </a:cubicBezTo>
                <a:close/>
                <a:moveTo>
                  <a:pt x="1470674" y="1264053"/>
                </a:moveTo>
                <a:cubicBezTo>
                  <a:pt x="1443052" y="1264053"/>
                  <a:pt x="1425907" y="1282150"/>
                  <a:pt x="1424954" y="1308820"/>
                </a:cubicBezTo>
                <a:cubicBezTo>
                  <a:pt x="1424002" y="1339300"/>
                  <a:pt x="1443052" y="1354540"/>
                  <a:pt x="1473532" y="1359303"/>
                </a:cubicBezTo>
                <a:cubicBezTo>
                  <a:pt x="1500202" y="1355493"/>
                  <a:pt x="1520204" y="1340253"/>
                  <a:pt x="1519252" y="1310725"/>
                </a:cubicBezTo>
                <a:cubicBezTo>
                  <a:pt x="1519252" y="1281198"/>
                  <a:pt x="1500202" y="1263100"/>
                  <a:pt x="1470674" y="1264053"/>
                </a:cubicBezTo>
                <a:close/>
                <a:moveTo>
                  <a:pt x="909652" y="1184043"/>
                </a:moveTo>
                <a:cubicBezTo>
                  <a:pt x="868694" y="1184043"/>
                  <a:pt x="837262" y="1218333"/>
                  <a:pt x="838214" y="1261196"/>
                </a:cubicBezTo>
                <a:cubicBezTo>
                  <a:pt x="840119" y="1302153"/>
                  <a:pt x="872504" y="1333585"/>
                  <a:pt x="911557" y="1332633"/>
                </a:cubicBezTo>
                <a:cubicBezTo>
                  <a:pt x="950609" y="1331681"/>
                  <a:pt x="981089" y="1299296"/>
                  <a:pt x="981089" y="1258338"/>
                </a:cubicBezTo>
                <a:cubicBezTo>
                  <a:pt x="981089" y="1217381"/>
                  <a:pt x="950609" y="1184995"/>
                  <a:pt x="909652" y="1184043"/>
                </a:cubicBezTo>
                <a:close/>
                <a:moveTo>
                  <a:pt x="1816432" y="1064028"/>
                </a:moveTo>
                <a:cubicBezTo>
                  <a:pt x="1782142" y="1064028"/>
                  <a:pt x="1759282" y="1086888"/>
                  <a:pt x="1759282" y="1121178"/>
                </a:cubicBezTo>
                <a:cubicBezTo>
                  <a:pt x="1759282" y="1154516"/>
                  <a:pt x="1782142" y="1170708"/>
                  <a:pt x="1813574" y="1172613"/>
                </a:cubicBezTo>
                <a:cubicBezTo>
                  <a:pt x="1847865" y="1171660"/>
                  <a:pt x="1866915" y="1154516"/>
                  <a:pt x="1867867" y="1119273"/>
                </a:cubicBezTo>
                <a:cubicBezTo>
                  <a:pt x="1867867" y="1085935"/>
                  <a:pt x="1849770" y="1064028"/>
                  <a:pt x="1816432" y="1064028"/>
                </a:cubicBezTo>
                <a:close/>
                <a:moveTo>
                  <a:pt x="957277" y="835428"/>
                </a:moveTo>
                <a:cubicBezTo>
                  <a:pt x="923940" y="832571"/>
                  <a:pt x="896317" y="860193"/>
                  <a:pt x="897270" y="894483"/>
                </a:cubicBezTo>
                <a:cubicBezTo>
                  <a:pt x="898222" y="931631"/>
                  <a:pt x="919177" y="954491"/>
                  <a:pt x="955372" y="957348"/>
                </a:cubicBezTo>
                <a:cubicBezTo>
                  <a:pt x="986805" y="960206"/>
                  <a:pt x="1016332" y="929726"/>
                  <a:pt x="1016332" y="893531"/>
                </a:cubicBezTo>
                <a:cubicBezTo>
                  <a:pt x="1011570" y="862098"/>
                  <a:pt x="993472" y="838286"/>
                  <a:pt x="957277" y="835428"/>
                </a:cubicBezTo>
                <a:close/>
                <a:moveTo>
                  <a:pt x="1305892" y="744941"/>
                </a:moveTo>
                <a:cubicBezTo>
                  <a:pt x="1237312" y="744941"/>
                  <a:pt x="1183972" y="798281"/>
                  <a:pt x="1182067" y="868766"/>
                </a:cubicBezTo>
                <a:cubicBezTo>
                  <a:pt x="1180162" y="940204"/>
                  <a:pt x="1232550" y="998306"/>
                  <a:pt x="1300177" y="999258"/>
                </a:cubicBezTo>
                <a:cubicBezTo>
                  <a:pt x="1372567" y="1000211"/>
                  <a:pt x="1428765" y="945918"/>
                  <a:pt x="1429717" y="874481"/>
                </a:cubicBezTo>
                <a:cubicBezTo>
                  <a:pt x="1430670" y="802091"/>
                  <a:pt x="1376377" y="745893"/>
                  <a:pt x="1305892" y="744941"/>
                </a:cubicBezTo>
                <a:close/>
                <a:moveTo>
                  <a:pt x="1924541" y="1754"/>
                </a:moveTo>
                <a:cubicBezTo>
                  <a:pt x="1959069" y="-3485"/>
                  <a:pt x="1995502" y="2944"/>
                  <a:pt x="2027887" y="21994"/>
                </a:cubicBezTo>
                <a:cubicBezTo>
                  <a:pt x="2092657" y="61047"/>
                  <a:pt x="2121232" y="141057"/>
                  <a:pt x="2093609" y="212494"/>
                </a:cubicBezTo>
                <a:cubicBezTo>
                  <a:pt x="2065987" y="282979"/>
                  <a:pt x="1994549" y="322032"/>
                  <a:pt x="1916444" y="309649"/>
                </a:cubicBezTo>
                <a:cubicBezTo>
                  <a:pt x="1904062" y="307744"/>
                  <a:pt x="1891679" y="306792"/>
                  <a:pt x="1879297" y="304887"/>
                </a:cubicBezTo>
                <a:cubicBezTo>
                  <a:pt x="1814527" y="416329"/>
                  <a:pt x="1744994" y="523962"/>
                  <a:pt x="1669747" y="627784"/>
                </a:cubicBezTo>
                <a:cubicBezTo>
                  <a:pt x="1674509" y="647787"/>
                  <a:pt x="1693559" y="652549"/>
                  <a:pt x="1706894" y="663027"/>
                </a:cubicBezTo>
                <a:cubicBezTo>
                  <a:pt x="1799287" y="732559"/>
                  <a:pt x="1873582" y="817332"/>
                  <a:pt x="1917397" y="925917"/>
                </a:cubicBezTo>
                <a:cubicBezTo>
                  <a:pt x="1958354" y="936394"/>
                  <a:pt x="1991692" y="909724"/>
                  <a:pt x="2029792" y="902104"/>
                </a:cubicBezTo>
                <a:cubicBezTo>
                  <a:pt x="2052652" y="897342"/>
                  <a:pt x="2074559" y="889722"/>
                  <a:pt x="2097419" y="884007"/>
                </a:cubicBezTo>
                <a:cubicBezTo>
                  <a:pt x="2121232" y="877339"/>
                  <a:pt x="2121232" y="857337"/>
                  <a:pt x="2124089" y="838287"/>
                </a:cubicBezTo>
                <a:cubicBezTo>
                  <a:pt x="2136472" y="762087"/>
                  <a:pt x="2193622" y="708747"/>
                  <a:pt x="2267917" y="703984"/>
                </a:cubicBezTo>
                <a:cubicBezTo>
                  <a:pt x="2338402" y="698269"/>
                  <a:pt x="2406982" y="745894"/>
                  <a:pt x="2426984" y="814474"/>
                </a:cubicBezTo>
                <a:cubicBezTo>
                  <a:pt x="2447939" y="886864"/>
                  <a:pt x="2416507" y="962112"/>
                  <a:pt x="2351737" y="997354"/>
                </a:cubicBezTo>
                <a:cubicBezTo>
                  <a:pt x="2285062" y="1032597"/>
                  <a:pt x="2208862" y="1018309"/>
                  <a:pt x="2157427" y="960207"/>
                </a:cubicBezTo>
                <a:cubicBezTo>
                  <a:pt x="2147902" y="949729"/>
                  <a:pt x="2142187" y="935442"/>
                  <a:pt x="2126947" y="931632"/>
                </a:cubicBezTo>
                <a:cubicBezTo>
                  <a:pt x="2070749" y="955444"/>
                  <a:pt x="2012647" y="971637"/>
                  <a:pt x="1953592" y="985924"/>
                </a:cubicBezTo>
                <a:cubicBezTo>
                  <a:pt x="1943114" y="998307"/>
                  <a:pt x="1951687" y="1010689"/>
                  <a:pt x="1954544" y="1022119"/>
                </a:cubicBezTo>
                <a:cubicBezTo>
                  <a:pt x="1978357" y="1109749"/>
                  <a:pt x="1982167" y="1199284"/>
                  <a:pt x="1971689" y="1289772"/>
                </a:cubicBezTo>
                <a:cubicBezTo>
                  <a:pt x="1969784" y="1305012"/>
                  <a:pt x="1965022" y="1321204"/>
                  <a:pt x="1981214" y="1332634"/>
                </a:cubicBezTo>
                <a:cubicBezTo>
                  <a:pt x="2091704" y="1394547"/>
                  <a:pt x="2189812" y="1472652"/>
                  <a:pt x="2294587" y="1542184"/>
                </a:cubicBezTo>
                <a:cubicBezTo>
                  <a:pt x="2314589" y="1554567"/>
                  <a:pt x="2334592" y="1566949"/>
                  <a:pt x="2354594" y="1579332"/>
                </a:cubicBezTo>
                <a:cubicBezTo>
                  <a:pt x="2406982" y="1536469"/>
                  <a:pt x="2465084" y="1526944"/>
                  <a:pt x="2526997" y="1556472"/>
                </a:cubicBezTo>
                <a:cubicBezTo>
                  <a:pt x="2583195" y="1583142"/>
                  <a:pt x="2612722" y="1629814"/>
                  <a:pt x="2614627" y="1691727"/>
                </a:cubicBezTo>
                <a:cubicBezTo>
                  <a:pt x="2616532" y="1781262"/>
                  <a:pt x="2545095" y="1852699"/>
                  <a:pt x="2456512" y="1851747"/>
                </a:cubicBezTo>
                <a:cubicBezTo>
                  <a:pt x="2366024" y="1850794"/>
                  <a:pt x="2297444" y="1773642"/>
                  <a:pt x="2304112" y="1682202"/>
                </a:cubicBezTo>
                <a:cubicBezTo>
                  <a:pt x="2305064" y="1662199"/>
                  <a:pt x="2319352" y="1643149"/>
                  <a:pt x="2308874" y="1622194"/>
                </a:cubicBezTo>
                <a:cubicBezTo>
                  <a:pt x="2205052" y="1550757"/>
                  <a:pt x="2101229" y="1479319"/>
                  <a:pt x="1996454" y="1408834"/>
                </a:cubicBezTo>
                <a:cubicBezTo>
                  <a:pt x="1982167" y="1399309"/>
                  <a:pt x="1969784" y="1379307"/>
                  <a:pt x="1946924" y="1391689"/>
                </a:cubicBezTo>
                <a:cubicBezTo>
                  <a:pt x="1899299" y="1556472"/>
                  <a:pt x="1797382" y="1679344"/>
                  <a:pt x="1650697" y="1766974"/>
                </a:cubicBezTo>
                <a:cubicBezTo>
                  <a:pt x="1696417" y="1840317"/>
                  <a:pt x="1758329" y="1899372"/>
                  <a:pt x="1810717" y="1966999"/>
                </a:cubicBezTo>
                <a:cubicBezTo>
                  <a:pt x="1823099" y="1983192"/>
                  <a:pt x="1836434" y="1999384"/>
                  <a:pt x="1848817" y="2015577"/>
                </a:cubicBezTo>
                <a:cubicBezTo>
                  <a:pt x="1866914" y="2011767"/>
                  <a:pt x="1885012" y="2007957"/>
                  <a:pt x="1904062" y="2005099"/>
                </a:cubicBezTo>
                <a:cubicBezTo>
                  <a:pt x="1979309" y="1994622"/>
                  <a:pt x="2045984" y="2033674"/>
                  <a:pt x="2072654" y="2100349"/>
                </a:cubicBezTo>
                <a:cubicBezTo>
                  <a:pt x="2099324" y="2167024"/>
                  <a:pt x="2077417" y="2244177"/>
                  <a:pt x="2018362" y="2286087"/>
                </a:cubicBezTo>
                <a:cubicBezTo>
                  <a:pt x="1960259" y="2327997"/>
                  <a:pt x="1879297" y="2324187"/>
                  <a:pt x="1825004" y="2276562"/>
                </a:cubicBezTo>
                <a:cubicBezTo>
                  <a:pt x="1771664" y="2228937"/>
                  <a:pt x="1757377" y="2151784"/>
                  <a:pt x="1790714" y="2086062"/>
                </a:cubicBezTo>
                <a:cubicBezTo>
                  <a:pt x="1794524" y="2077489"/>
                  <a:pt x="1801192" y="2069869"/>
                  <a:pt x="1805954" y="2062249"/>
                </a:cubicBezTo>
                <a:cubicBezTo>
                  <a:pt x="1737374" y="1970809"/>
                  <a:pt x="1666889" y="1881274"/>
                  <a:pt x="1584974" y="1801264"/>
                </a:cubicBezTo>
                <a:cubicBezTo>
                  <a:pt x="1469722" y="1854604"/>
                  <a:pt x="1347802" y="1867939"/>
                  <a:pt x="1223024" y="1853652"/>
                </a:cubicBezTo>
                <a:cubicBezTo>
                  <a:pt x="1207784" y="1983192"/>
                  <a:pt x="1191592" y="2113684"/>
                  <a:pt x="1176352" y="2243224"/>
                </a:cubicBezTo>
                <a:cubicBezTo>
                  <a:pt x="1270649" y="2286087"/>
                  <a:pt x="1305892" y="2382289"/>
                  <a:pt x="1258267" y="2466109"/>
                </a:cubicBezTo>
                <a:cubicBezTo>
                  <a:pt x="1213499" y="2544214"/>
                  <a:pt x="1110629" y="2568979"/>
                  <a:pt x="1035382" y="2518497"/>
                </a:cubicBezTo>
                <a:cubicBezTo>
                  <a:pt x="960134" y="2468014"/>
                  <a:pt x="943942" y="2365144"/>
                  <a:pt x="999187" y="2292754"/>
                </a:cubicBezTo>
                <a:cubicBezTo>
                  <a:pt x="1021094" y="2266084"/>
                  <a:pt x="1048717" y="2248939"/>
                  <a:pt x="1081102" y="2238462"/>
                </a:cubicBezTo>
                <a:cubicBezTo>
                  <a:pt x="1095389" y="2234652"/>
                  <a:pt x="1114439" y="2237509"/>
                  <a:pt x="1119202" y="2216554"/>
                </a:cubicBezTo>
                <a:cubicBezTo>
                  <a:pt x="1129679" y="2105112"/>
                  <a:pt x="1142062" y="1994622"/>
                  <a:pt x="1160159" y="1885084"/>
                </a:cubicBezTo>
                <a:cubicBezTo>
                  <a:pt x="1158254" y="1878417"/>
                  <a:pt x="1161112" y="1868892"/>
                  <a:pt x="1163969" y="1861272"/>
                </a:cubicBezTo>
                <a:cubicBezTo>
                  <a:pt x="1163017" y="1842222"/>
                  <a:pt x="1149682" y="1838412"/>
                  <a:pt x="1135394" y="1834602"/>
                </a:cubicBezTo>
                <a:cubicBezTo>
                  <a:pt x="1046812" y="1809837"/>
                  <a:pt x="966802" y="1767927"/>
                  <a:pt x="896317" y="1709824"/>
                </a:cubicBezTo>
                <a:cubicBezTo>
                  <a:pt x="877267" y="1693632"/>
                  <a:pt x="864884" y="1691727"/>
                  <a:pt x="852502" y="1714587"/>
                </a:cubicBezTo>
                <a:cubicBezTo>
                  <a:pt x="845834" y="1726017"/>
                  <a:pt x="839167" y="1736494"/>
                  <a:pt x="830594" y="1746019"/>
                </a:cubicBezTo>
                <a:cubicBezTo>
                  <a:pt x="802019" y="1780309"/>
                  <a:pt x="787732" y="1809837"/>
                  <a:pt x="816307" y="1858414"/>
                </a:cubicBezTo>
                <a:cubicBezTo>
                  <a:pt x="851549" y="1919374"/>
                  <a:pt x="823927" y="1998432"/>
                  <a:pt x="766777" y="2040342"/>
                </a:cubicBezTo>
                <a:cubicBezTo>
                  <a:pt x="711532" y="2081299"/>
                  <a:pt x="635332" y="2081299"/>
                  <a:pt x="580087" y="2040342"/>
                </a:cubicBezTo>
                <a:cubicBezTo>
                  <a:pt x="523889" y="1998432"/>
                  <a:pt x="502934" y="1923184"/>
                  <a:pt x="528652" y="1857462"/>
                </a:cubicBezTo>
                <a:cubicBezTo>
                  <a:pt x="554369" y="1793644"/>
                  <a:pt x="621044" y="1747924"/>
                  <a:pt x="687719" y="1762212"/>
                </a:cubicBezTo>
                <a:cubicBezTo>
                  <a:pt x="735344" y="1772689"/>
                  <a:pt x="755347" y="1755544"/>
                  <a:pt x="778207" y="1720302"/>
                </a:cubicBezTo>
                <a:cubicBezTo>
                  <a:pt x="823927" y="1649817"/>
                  <a:pt x="825832" y="1650769"/>
                  <a:pt x="778207" y="1585999"/>
                </a:cubicBezTo>
                <a:cubicBezTo>
                  <a:pt x="741059" y="1533612"/>
                  <a:pt x="712484" y="1477414"/>
                  <a:pt x="690577" y="1417407"/>
                </a:cubicBezTo>
                <a:cubicBezTo>
                  <a:pt x="684862" y="1401214"/>
                  <a:pt x="683909" y="1382164"/>
                  <a:pt x="661049" y="1378354"/>
                </a:cubicBezTo>
                <a:cubicBezTo>
                  <a:pt x="650572" y="1384069"/>
                  <a:pt x="639142" y="1383117"/>
                  <a:pt x="627712" y="1382164"/>
                </a:cubicBezTo>
                <a:cubicBezTo>
                  <a:pt x="552464" y="1390737"/>
                  <a:pt x="477217" y="1393594"/>
                  <a:pt x="401969" y="1395499"/>
                </a:cubicBezTo>
                <a:cubicBezTo>
                  <a:pt x="385777" y="1397404"/>
                  <a:pt x="370537" y="1400262"/>
                  <a:pt x="354344" y="1400262"/>
                </a:cubicBezTo>
                <a:cubicBezTo>
                  <a:pt x="327674" y="1401214"/>
                  <a:pt x="309577" y="1407882"/>
                  <a:pt x="298147" y="1438362"/>
                </a:cubicBezTo>
                <a:cubicBezTo>
                  <a:pt x="270524" y="1512657"/>
                  <a:pt x="196229" y="1549804"/>
                  <a:pt x="122887" y="1534564"/>
                </a:cubicBezTo>
                <a:cubicBezTo>
                  <a:pt x="50497" y="1519324"/>
                  <a:pt x="967" y="1459317"/>
                  <a:pt x="14" y="1385974"/>
                </a:cubicBezTo>
                <a:cubicBezTo>
                  <a:pt x="-938" y="1308822"/>
                  <a:pt x="45734" y="1247862"/>
                  <a:pt x="119077" y="1229764"/>
                </a:cubicBezTo>
                <a:cubicBezTo>
                  <a:pt x="192419" y="1211667"/>
                  <a:pt x="264809" y="1248814"/>
                  <a:pt x="298147" y="1320252"/>
                </a:cubicBezTo>
                <a:cubicBezTo>
                  <a:pt x="301957" y="1326919"/>
                  <a:pt x="304814" y="1334539"/>
                  <a:pt x="307672" y="1342159"/>
                </a:cubicBezTo>
                <a:cubicBezTo>
                  <a:pt x="412447" y="1335492"/>
                  <a:pt x="516269" y="1328824"/>
                  <a:pt x="621044" y="1322157"/>
                </a:cubicBezTo>
                <a:cubicBezTo>
                  <a:pt x="636284" y="1321204"/>
                  <a:pt x="658192" y="1326919"/>
                  <a:pt x="662002" y="1301202"/>
                </a:cubicBezTo>
                <a:cubicBezTo>
                  <a:pt x="646762" y="1218334"/>
                  <a:pt x="650572" y="1137372"/>
                  <a:pt x="667717" y="1055457"/>
                </a:cubicBezTo>
                <a:cubicBezTo>
                  <a:pt x="600089" y="1017357"/>
                  <a:pt x="542939" y="964017"/>
                  <a:pt x="468644" y="937347"/>
                </a:cubicBezTo>
                <a:cubicBezTo>
                  <a:pt x="392444" y="999259"/>
                  <a:pt x="293384" y="989734"/>
                  <a:pt x="239092" y="915439"/>
                </a:cubicBezTo>
                <a:cubicBezTo>
                  <a:pt x="186704" y="843049"/>
                  <a:pt x="205754" y="738274"/>
                  <a:pt x="281954" y="690649"/>
                </a:cubicBezTo>
                <a:cubicBezTo>
                  <a:pt x="356249" y="643977"/>
                  <a:pt x="456262" y="668742"/>
                  <a:pt x="500077" y="744942"/>
                </a:cubicBezTo>
                <a:cubicBezTo>
                  <a:pt x="519127" y="778279"/>
                  <a:pt x="522937" y="813522"/>
                  <a:pt x="518174" y="850669"/>
                </a:cubicBezTo>
                <a:cubicBezTo>
                  <a:pt x="516269" y="865909"/>
                  <a:pt x="507697" y="882102"/>
                  <a:pt x="524842" y="894484"/>
                </a:cubicBezTo>
                <a:cubicBezTo>
                  <a:pt x="581992" y="920202"/>
                  <a:pt x="626759" y="969732"/>
                  <a:pt x="688672" y="986877"/>
                </a:cubicBezTo>
                <a:cubicBezTo>
                  <a:pt x="720104" y="886864"/>
                  <a:pt x="772492" y="800187"/>
                  <a:pt x="848692" y="728749"/>
                </a:cubicBezTo>
                <a:cubicBezTo>
                  <a:pt x="855359" y="708747"/>
                  <a:pt x="841072" y="695412"/>
                  <a:pt x="832499" y="681124"/>
                </a:cubicBezTo>
                <a:cubicBezTo>
                  <a:pt x="762014" y="561109"/>
                  <a:pt x="691529" y="440142"/>
                  <a:pt x="621044" y="320127"/>
                </a:cubicBezTo>
                <a:cubicBezTo>
                  <a:pt x="566752" y="330604"/>
                  <a:pt x="516269" y="326794"/>
                  <a:pt x="472454" y="290599"/>
                </a:cubicBezTo>
                <a:cubicBezTo>
                  <a:pt x="404827" y="235354"/>
                  <a:pt x="395302" y="136294"/>
                  <a:pt x="450547" y="69619"/>
                </a:cubicBezTo>
                <a:cubicBezTo>
                  <a:pt x="505792" y="1992"/>
                  <a:pt x="609614" y="-5628"/>
                  <a:pt x="674384" y="53427"/>
                </a:cubicBezTo>
                <a:cubicBezTo>
                  <a:pt x="742012" y="114387"/>
                  <a:pt x="742964" y="209637"/>
                  <a:pt x="677242" y="281074"/>
                </a:cubicBezTo>
                <a:cubicBezTo>
                  <a:pt x="675337" y="293457"/>
                  <a:pt x="680099" y="302982"/>
                  <a:pt x="685814" y="312507"/>
                </a:cubicBezTo>
                <a:cubicBezTo>
                  <a:pt x="757252" y="434427"/>
                  <a:pt x="829642" y="557299"/>
                  <a:pt x="901079" y="682077"/>
                </a:cubicBezTo>
                <a:cubicBezTo>
                  <a:pt x="973469" y="623022"/>
                  <a:pt x="1055384" y="583017"/>
                  <a:pt x="1144919" y="558252"/>
                </a:cubicBezTo>
                <a:cubicBezTo>
                  <a:pt x="1163017" y="553489"/>
                  <a:pt x="1193497" y="559204"/>
                  <a:pt x="1191592" y="523962"/>
                </a:cubicBezTo>
                <a:cubicBezTo>
                  <a:pt x="1189687" y="493482"/>
                  <a:pt x="1189687" y="469669"/>
                  <a:pt x="1149682" y="455382"/>
                </a:cubicBezTo>
                <a:cubicBezTo>
                  <a:pt x="1070624" y="427759"/>
                  <a:pt x="1034429" y="343939"/>
                  <a:pt x="1059194" y="265834"/>
                </a:cubicBezTo>
                <a:cubicBezTo>
                  <a:pt x="1083007" y="189634"/>
                  <a:pt x="1158254" y="144867"/>
                  <a:pt x="1238264" y="160107"/>
                </a:cubicBezTo>
                <a:cubicBezTo>
                  <a:pt x="1313512" y="174394"/>
                  <a:pt x="1367804" y="243927"/>
                  <a:pt x="1363042" y="322032"/>
                </a:cubicBezTo>
                <a:cubicBezTo>
                  <a:pt x="1359232" y="378229"/>
                  <a:pt x="1334467" y="424902"/>
                  <a:pt x="1283032" y="447762"/>
                </a:cubicBezTo>
                <a:cubicBezTo>
                  <a:pt x="1244932" y="463954"/>
                  <a:pt x="1243979" y="490624"/>
                  <a:pt x="1251599" y="520152"/>
                </a:cubicBezTo>
                <a:cubicBezTo>
                  <a:pt x="1260172" y="553489"/>
                  <a:pt x="1288747" y="535392"/>
                  <a:pt x="1307797" y="535392"/>
                </a:cubicBezTo>
                <a:cubicBezTo>
                  <a:pt x="1417334" y="534439"/>
                  <a:pt x="1521157" y="562062"/>
                  <a:pt x="1620217" y="606829"/>
                </a:cubicBezTo>
                <a:cubicBezTo>
                  <a:pt x="1684034" y="506817"/>
                  <a:pt x="1747852" y="406804"/>
                  <a:pt x="1810717" y="306792"/>
                </a:cubicBezTo>
                <a:cubicBezTo>
                  <a:pt x="1820242" y="290599"/>
                  <a:pt x="1836434" y="277264"/>
                  <a:pt x="1829767" y="255357"/>
                </a:cubicBezTo>
                <a:cubicBezTo>
                  <a:pt x="1779284" y="189634"/>
                  <a:pt x="1780237" y="109624"/>
                  <a:pt x="1832624" y="51522"/>
                </a:cubicBezTo>
                <a:cubicBezTo>
                  <a:pt x="1857389" y="23900"/>
                  <a:pt x="1890012" y="6993"/>
                  <a:pt x="1924541" y="1754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CD3D5115-8999-478C-BF76-47C5692CB962}"/>
              </a:ext>
            </a:extLst>
          </p:cNvPr>
          <p:cNvSpPr/>
          <p:nvPr userDrawn="1"/>
        </p:nvSpPr>
        <p:spPr>
          <a:xfrm>
            <a:off x="893813" y="5721307"/>
            <a:ext cx="470839" cy="188335"/>
          </a:xfrm>
          <a:custGeom>
            <a:avLst/>
            <a:gdLst>
              <a:gd name="connsiteX0" fmla="*/ 2960 w 654032"/>
              <a:gd name="connsiteY0" fmla="*/ 269088 h 261613"/>
              <a:gd name="connsiteX1" fmla="*/ 7631 w 654032"/>
              <a:gd name="connsiteY1" fmla="*/ 222371 h 261613"/>
              <a:gd name="connsiteX2" fmla="*/ 43136 w 654032"/>
              <a:gd name="connsiteY2" fmla="*/ 205553 h 261613"/>
              <a:gd name="connsiteX3" fmla="*/ 154321 w 654032"/>
              <a:gd name="connsiteY3" fmla="*/ 143887 h 261613"/>
              <a:gd name="connsiteX4" fmla="*/ 282325 w 654032"/>
              <a:gd name="connsiteY4" fmla="*/ 0 h 261613"/>
              <a:gd name="connsiteX5" fmla="*/ 477600 w 654032"/>
              <a:gd name="connsiteY5" fmla="*/ 64469 h 261613"/>
              <a:gd name="connsiteX6" fmla="*/ 576640 w 654032"/>
              <a:gd name="connsiteY6" fmla="*/ 72878 h 261613"/>
              <a:gd name="connsiteX7" fmla="*/ 653255 w 654032"/>
              <a:gd name="connsiteY7" fmla="*/ 196210 h 261613"/>
              <a:gd name="connsiteX8" fmla="*/ 456111 w 654032"/>
              <a:gd name="connsiteY8" fmla="*/ 269088 h 261613"/>
              <a:gd name="connsiteX9" fmla="*/ 177680 w 654032"/>
              <a:gd name="connsiteY9" fmla="*/ 258810 h 261613"/>
              <a:gd name="connsiteX10" fmla="*/ 2960 w 654032"/>
              <a:gd name="connsiteY10" fmla="*/ 269088 h 26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4032" h="261613">
                <a:moveTo>
                  <a:pt x="2960" y="269088"/>
                </a:moveTo>
                <a:cubicBezTo>
                  <a:pt x="-2646" y="256941"/>
                  <a:pt x="157" y="230780"/>
                  <a:pt x="7631" y="222371"/>
                </a:cubicBezTo>
                <a:cubicBezTo>
                  <a:pt x="14172" y="214896"/>
                  <a:pt x="36596" y="207422"/>
                  <a:pt x="43136" y="205553"/>
                </a:cubicBezTo>
                <a:cubicBezTo>
                  <a:pt x="87049" y="196210"/>
                  <a:pt x="119751" y="170049"/>
                  <a:pt x="154321" y="143887"/>
                </a:cubicBezTo>
                <a:cubicBezTo>
                  <a:pt x="209447" y="101842"/>
                  <a:pt x="240280" y="53257"/>
                  <a:pt x="282325" y="0"/>
                </a:cubicBezTo>
                <a:cubicBezTo>
                  <a:pt x="343991" y="51388"/>
                  <a:pt x="399116" y="65403"/>
                  <a:pt x="477600" y="64469"/>
                </a:cubicBezTo>
                <a:cubicBezTo>
                  <a:pt x="510302" y="64469"/>
                  <a:pt x="543938" y="63534"/>
                  <a:pt x="576640" y="72878"/>
                </a:cubicBezTo>
                <a:cubicBezTo>
                  <a:pt x="629897" y="87827"/>
                  <a:pt x="664467" y="142019"/>
                  <a:pt x="653255" y="196210"/>
                </a:cubicBezTo>
                <a:cubicBezTo>
                  <a:pt x="636437" y="280300"/>
                  <a:pt x="520580" y="269088"/>
                  <a:pt x="456111" y="269088"/>
                </a:cubicBezTo>
                <a:cubicBezTo>
                  <a:pt x="363612" y="268154"/>
                  <a:pt x="270179" y="258810"/>
                  <a:pt x="177680" y="258810"/>
                </a:cubicBezTo>
                <a:cubicBezTo>
                  <a:pt x="117882" y="257876"/>
                  <a:pt x="64625" y="265351"/>
                  <a:pt x="2960" y="269088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92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0FA44E46-E220-4C0D-BAFF-7A21112D0D41}"/>
              </a:ext>
            </a:extLst>
          </p:cNvPr>
          <p:cNvSpPr/>
          <p:nvPr userDrawn="1"/>
        </p:nvSpPr>
        <p:spPr>
          <a:xfrm>
            <a:off x="489961" y="6040132"/>
            <a:ext cx="699532" cy="349766"/>
          </a:xfrm>
          <a:custGeom>
            <a:avLst/>
            <a:gdLst>
              <a:gd name="connsiteX0" fmla="*/ 33240 w 971705"/>
              <a:gd name="connsiteY0" fmla="*/ 94367 h 485852"/>
              <a:gd name="connsiteX1" fmla="*/ 93971 w 971705"/>
              <a:gd name="connsiteY1" fmla="*/ 163508 h 485852"/>
              <a:gd name="connsiteX2" fmla="*/ 129476 w 971705"/>
              <a:gd name="connsiteY2" fmla="*/ 168180 h 485852"/>
              <a:gd name="connsiteX3" fmla="*/ 569547 w 971705"/>
              <a:gd name="connsiteY3" fmla="*/ 0 h 485852"/>
              <a:gd name="connsiteX4" fmla="*/ 726514 w 971705"/>
              <a:gd name="connsiteY4" fmla="*/ 161639 h 485852"/>
              <a:gd name="connsiteX5" fmla="*/ 866664 w 971705"/>
              <a:gd name="connsiteY5" fmla="*/ 214896 h 485852"/>
              <a:gd name="connsiteX6" fmla="*/ 934871 w 971705"/>
              <a:gd name="connsiteY6" fmla="*/ 249467 h 485852"/>
              <a:gd name="connsiteX7" fmla="*/ 954492 w 971705"/>
              <a:gd name="connsiteY7" fmla="*/ 390551 h 485852"/>
              <a:gd name="connsiteX8" fmla="*/ 801261 w 971705"/>
              <a:gd name="connsiteY8" fmla="*/ 475575 h 485852"/>
              <a:gd name="connsiteX9" fmla="*/ 609723 w 971705"/>
              <a:gd name="connsiteY9" fmla="*/ 482115 h 485852"/>
              <a:gd name="connsiteX10" fmla="*/ 421922 w 971705"/>
              <a:gd name="connsiteY10" fmla="*/ 416712 h 485852"/>
              <a:gd name="connsiteX11" fmla="*/ 250005 w 971705"/>
              <a:gd name="connsiteY11" fmla="*/ 347572 h 485852"/>
              <a:gd name="connsiteX12" fmla="*/ 182733 w 971705"/>
              <a:gd name="connsiteY12" fmla="*/ 330753 h 485852"/>
              <a:gd name="connsiteX13" fmla="*/ 94906 w 971705"/>
              <a:gd name="connsiteY13" fmla="*/ 306461 h 485852"/>
              <a:gd name="connsiteX14" fmla="*/ 57532 w 971705"/>
              <a:gd name="connsiteY14" fmla="*/ 292446 h 485852"/>
              <a:gd name="connsiteX15" fmla="*/ 2407 w 971705"/>
              <a:gd name="connsiteY15" fmla="*/ 187801 h 485852"/>
              <a:gd name="connsiteX16" fmla="*/ 33240 w 971705"/>
              <a:gd name="connsiteY16" fmla="*/ 94367 h 485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71705" h="485852">
                <a:moveTo>
                  <a:pt x="33240" y="94367"/>
                </a:moveTo>
                <a:cubicBezTo>
                  <a:pt x="55664" y="113989"/>
                  <a:pt x="67810" y="148559"/>
                  <a:pt x="93971" y="163508"/>
                </a:cubicBezTo>
                <a:cubicBezTo>
                  <a:pt x="106118" y="170983"/>
                  <a:pt x="116395" y="172852"/>
                  <a:pt x="129476" y="168180"/>
                </a:cubicBezTo>
                <a:cubicBezTo>
                  <a:pt x="276166" y="112120"/>
                  <a:pt x="422856" y="56060"/>
                  <a:pt x="569547" y="0"/>
                </a:cubicBezTo>
                <a:cubicBezTo>
                  <a:pt x="592905" y="82221"/>
                  <a:pt x="648965" y="131741"/>
                  <a:pt x="726514" y="161639"/>
                </a:cubicBezTo>
                <a:cubicBezTo>
                  <a:pt x="773231" y="179392"/>
                  <a:pt x="819948" y="197144"/>
                  <a:pt x="866664" y="214896"/>
                </a:cubicBezTo>
                <a:cubicBezTo>
                  <a:pt x="890957" y="224240"/>
                  <a:pt x="913381" y="235452"/>
                  <a:pt x="934871" y="249467"/>
                </a:cubicBezTo>
                <a:cubicBezTo>
                  <a:pt x="986259" y="285906"/>
                  <a:pt x="994668" y="341965"/>
                  <a:pt x="954492" y="390551"/>
                </a:cubicBezTo>
                <a:cubicBezTo>
                  <a:pt x="915250" y="439136"/>
                  <a:pt x="859190" y="459692"/>
                  <a:pt x="801261" y="475575"/>
                </a:cubicBezTo>
                <a:cubicBezTo>
                  <a:pt x="740529" y="492393"/>
                  <a:pt x="671389" y="497065"/>
                  <a:pt x="609723" y="482115"/>
                </a:cubicBezTo>
                <a:cubicBezTo>
                  <a:pt x="545254" y="466232"/>
                  <a:pt x="483588" y="441005"/>
                  <a:pt x="421922" y="416712"/>
                </a:cubicBezTo>
                <a:cubicBezTo>
                  <a:pt x="364928" y="393354"/>
                  <a:pt x="306999" y="369995"/>
                  <a:pt x="250005" y="347572"/>
                </a:cubicBezTo>
                <a:cubicBezTo>
                  <a:pt x="227581" y="338228"/>
                  <a:pt x="206091" y="337294"/>
                  <a:pt x="182733" y="330753"/>
                </a:cubicBezTo>
                <a:cubicBezTo>
                  <a:pt x="153769" y="323279"/>
                  <a:pt x="124804" y="314870"/>
                  <a:pt x="94906" y="306461"/>
                </a:cubicBezTo>
                <a:cubicBezTo>
                  <a:pt x="81825" y="302723"/>
                  <a:pt x="69679" y="298052"/>
                  <a:pt x="57532" y="292446"/>
                </a:cubicBezTo>
                <a:cubicBezTo>
                  <a:pt x="10816" y="271891"/>
                  <a:pt x="-6936" y="238255"/>
                  <a:pt x="2407" y="187801"/>
                </a:cubicBezTo>
                <a:cubicBezTo>
                  <a:pt x="7079" y="159771"/>
                  <a:pt x="23897" y="120529"/>
                  <a:pt x="33240" y="94367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92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4A79E7B5-FE81-414C-BC66-62FE693A21CD}"/>
              </a:ext>
            </a:extLst>
          </p:cNvPr>
          <p:cNvSpPr/>
          <p:nvPr userDrawn="1"/>
        </p:nvSpPr>
        <p:spPr>
          <a:xfrm>
            <a:off x="616803" y="2305711"/>
            <a:ext cx="803790" cy="3565153"/>
          </a:xfrm>
          <a:custGeom>
            <a:avLst/>
            <a:gdLst>
              <a:gd name="connsiteX0" fmla="*/ 303469 w 880209"/>
              <a:gd name="connsiteY0" fmla="*/ 3751377 h 3904105"/>
              <a:gd name="connsiteX1" fmla="*/ 301997 w 880209"/>
              <a:gd name="connsiteY1" fmla="*/ 3883961 h 3904105"/>
              <a:gd name="connsiteX2" fmla="*/ 310099 w 880209"/>
              <a:gd name="connsiteY2" fmla="*/ 3903849 h 3904105"/>
              <a:gd name="connsiteX3" fmla="*/ 320412 w 880209"/>
              <a:gd name="connsiteY3" fmla="*/ 3900166 h 3904105"/>
              <a:gd name="connsiteX4" fmla="*/ 303469 w 880209"/>
              <a:gd name="connsiteY4" fmla="*/ 3751377 h 3904105"/>
              <a:gd name="connsiteX5" fmla="*/ 342509 w 880209"/>
              <a:gd name="connsiteY5" fmla="*/ 3458957 h 3904105"/>
              <a:gd name="connsiteX6" fmla="*/ 303469 w 880209"/>
              <a:gd name="connsiteY6" fmla="*/ 3724125 h 3904105"/>
              <a:gd name="connsiteX7" fmla="*/ 342509 w 880209"/>
              <a:gd name="connsiteY7" fmla="*/ 3458957 h 3904105"/>
              <a:gd name="connsiteX8" fmla="*/ 556115 w 880209"/>
              <a:gd name="connsiteY8" fmla="*/ 2540448 h 3904105"/>
              <a:gd name="connsiteX9" fmla="*/ 350609 w 880209"/>
              <a:gd name="connsiteY9" fmla="*/ 3431705 h 3904105"/>
              <a:gd name="connsiteX10" fmla="*/ 394067 w 880209"/>
              <a:gd name="connsiteY10" fmla="*/ 3325637 h 3904105"/>
              <a:gd name="connsiteX11" fmla="*/ 480246 w 880209"/>
              <a:gd name="connsiteY11" fmla="*/ 2977237 h 3904105"/>
              <a:gd name="connsiteX12" fmla="*/ 543593 w 880209"/>
              <a:gd name="connsiteY12" fmla="*/ 2619262 h 3904105"/>
              <a:gd name="connsiteX13" fmla="*/ 556115 w 880209"/>
              <a:gd name="connsiteY13" fmla="*/ 2540448 h 3904105"/>
              <a:gd name="connsiteX14" fmla="*/ 620933 w 880209"/>
              <a:gd name="connsiteY14" fmla="*/ 2125020 h 3904105"/>
              <a:gd name="connsiteX15" fmla="*/ 565690 w 880209"/>
              <a:gd name="connsiteY15" fmla="*/ 2481524 h 3904105"/>
              <a:gd name="connsiteX16" fmla="*/ 620933 w 880209"/>
              <a:gd name="connsiteY16" fmla="*/ 2125020 h 3904105"/>
              <a:gd name="connsiteX17" fmla="*/ 224655 w 880209"/>
              <a:gd name="connsiteY17" fmla="*/ 1768105 h 3904105"/>
              <a:gd name="connsiteX18" fmla="*/ 256327 w 880209"/>
              <a:gd name="connsiteY18" fmla="*/ 1775579 h 3904105"/>
              <a:gd name="connsiteX19" fmla="*/ 257626 w 880209"/>
              <a:gd name="connsiteY19" fmla="*/ 1773933 h 3904105"/>
              <a:gd name="connsiteX20" fmla="*/ 348401 w 880209"/>
              <a:gd name="connsiteY20" fmla="*/ 1792088 h 3904105"/>
              <a:gd name="connsiteX21" fmla="*/ 477302 w 880209"/>
              <a:gd name="connsiteY21" fmla="*/ 1779566 h 3904105"/>
              <a:gd name="connsiteX22" fmla="*/ 259274 w 880209"/>
              <a:gd name="connsiteY22" fmla="*/ 1770727 h 3904105"/>
              <a:gd name="connsiteX23" fmla="*/ 258268 w 880209"/>
              <a:gd name="connsiteY23" fmla="*/ 1771734 h 3904105"/>
              <a:gd name="connsiteX24" fmla="*/ 0 w 880209"/>
              <a:gd name="connsiteY24" fmla="*/ 1722113 h 3904105"/>
              <a:gd name="connsiteX25" fmla="*/ 92072 w 880209"/>
              <a:gd name="connsiteY25" fmla="*/ 1743476 h 3904105"/>
              <a:gd name="connsiteX26" fmla="*/ 92074 w 880209"/>
              <a:gd name="connsiteY26" fmla="*/ 1743475 h 3904105"/>
              <a:gd name="connsiteX27" fmla="*/ 176779 w 880209"/>
              <a:gd name="connsiteY27" fmla="*/ 1758943 h 3904105"/>
              <a:gd name="connsiteX28" fmla="*/ 95594 w 880209"/>
              <a:gd name="connsiteY28" fmla="*/ 1740657 h 3904105"/>
              <a:gd name="connsiteX29" fmla="*/ 95755 w 880209"/>
              <a:gd name="connsiteY29" fmla="*/ 1740529 h 3904105"/>
              <a:gd name="connsiteX30" fmla="*/ 0 w 880209"/>
              <a:gd name="connsiteY30" fmla="*/ 1722113 h 3904105"/>
              <a:gd name="connsiteX31" fmla="*/ 517076 w 880209"/>
              <a:gd name="connsiteY31" fmla="*/ 1055512 h 3904105"/>
              <a:gd name="connsiteX32" fmla="*/ 516339 w 880209"/>
              <a:gd name="connsiteY32" fmla="*/ 1061405 h 3904105"/>
              <a:gd name="connsiteX33" fmla="*/ 591470 w 880209"/>
              <a:gd name="connsiteY33" fmla="*/ 1467995 h 3904105"/>
              <a:gd name="connsiteX34" fmla="*/ 629035 w 880209"/>
              <a:gd name="connsiteY34" fmla="*/ 1673500 h 3904105"/>
              <a:gd name="connsiteX35" fmla="*/ 632258 w 880209"/>
              <a:gd name="connsiteY35" fmla="*/ 1689335 h 3904105"/>
              <a:gd name="connsiteX36" fmla="*/ 637138 w 880209"/>
              <a:gd name="connsiteY36" fmla="*/ 1705172 h 3904105"/>
              <a:gd name="connsiteX37" fmla="*/ 635665 w 880209"/>
              <a:gd name="connsiteY37" fmla="*/ 1686389 h 3904105"/>
              <a:gd name="connsiteX38" fmla="*/ 632895 w 880209"/>
              <a:gd name="connsiteY38" fmla="*/ 1672265 h 3904105"/>
              <a:gd name="connsiteX39" fmla="*/ 633639 w 880209"/>
              <a:gd name="connsiteY39" fmla="*/ 1672027 h 3904105"/>
              <a:gd name="connsiteX40" fmla="*/ 632719 w 880209"/>
              <a:gd name="connsiteY40" fmla="*/ 1668344 h 3904105"/>
              <a:gd name="connsiteX41" fmla="*/ 623143 w 880209"/>
              <a:gd name="connsiteY41" fmla="*/ 1476098 h 3904105"/>
              <a:gd name="connsiteX42" fmla="*/ 622406 w 880209"/>
              <a:gd name="connsiteY42" fmla="*/ 1468732 h 3904105"/>
              <a:gd name="connsiteX43" fmla="*/ 589997 w 880209"/>
              <a:gd name="connsiteY43" fmla="*/ 1364875 h 3904105"/>
              <a:gd name="connsiteX44" fmla="*/ 558324 w 880209"/>
              <a:gd name="connsiteY44" fmla="*/ 1262490 h 3904105"/>
              <a:gd name="connsiteX45" fmla="*/ 556851 w 880209"/>
              <a:gd name="connsiteY45" fmla="*/ 1169682 h 3904105"/>
              <a:gd name="connsiteX46" fmla="*/ 517076 w 880209"/>
              <a:gd name="connsiteY46" fmla="*/ 1055512 h 3904105"/>
              <a:gd name="connsiteX47" fmla="*/ 778562 w 880209"/>
              <a:gd name="connsiteY47" fmla="*/ 943552 h 3904105"/>
              <a:gd name="connsiteX48" fmla="*/ 729946 w 880209"/>
              <a:gd name="connsiteY48" fmla="*/ 1009845 h 3904105"/>
              <a:gd name="connsiteX49" fmla="*/ 778562 w 880209"/>
              <a:gd name="connsiteY49" fmla="*/ 943552 h 3904105"/>
              <a:gd name="connsiteX50" fmla="*/ 278425 w 880209"/>
              <a:gd name="connsiteY50" fmla="*/ 849271 h 3904105"/>
              <a:gd name="connsiteX51" fmla="*/ 275479 w 880209"/>
              <a:gd name="connsiteY51" fmla="*/ 852217 h 3904105"/>
              <a:gd name="connsiteX52" fmla="*/ 283581 w 880209"/>
              <a:gd name="connsiteY52" fmla="*/ 858110 h 3904105"/>
              <a:gd name="connsiteX53" fmla="*/ 568636 w 880209"/>
              <a:gd name="connsiteY53" fmla="*/ 1076136 h 3904105"/>
              <a:gd name="connsiteX54" fmla="*/ 595890 w 880209"/>
              <a:gd name="connsiteY54" fmla="*/ 1080555 h 3904105"/>
              <a:gd name="connsiteX55" fmla="*/ 665128 w 880209"/>
              <a:gd name="connsiteY55" fmla="*/ 1057722 h 3904105"/>
              <a:gd name="connsiteX56" fmla="*/ 665864 w 880209"/>
              <a:gd name="connsiteY56" fmla="*/ 1056248 h 3904105"/>
              <a:gd name="connsiteX57" fmla="*/ 665128 w 880209"/>
              <a:gd name="connsiteY57" fmla="*/ 1054038 h 3904105"/>
              <a:gd name="connsiteX58" fmla="*/ 620196 w 880209"/>
              <a:gd name="connsiteY58" fmla="*/ 1058459 h 3904105"/>
              <a:gd name="connsiteX59" fmla="*/ 502344 w 880209"/>
              <a:gd name="connsiteY59" fmla="*/ 1004688 h 3904105"/>
              <a:gd name="connsiteX60" fmla="*/ 309361 w 880209"/>
              <a:gd name="connsiteY60" fmla="*/ 871368 h 3904105"/>
              <a:gd name="connsiteX61" fmla="*/ 278425 w 880209"/>
              <a:gd name="connsiteY61" fmla="*/ 849271 h 3904105"/>
              <a:gd name="connsiteX62" fmla="*/ 811706 w 880209"/>
              <a:gd name="connsiteY62" fmla="*/ 826437 h 3904105"/>
              <a:gd name="connsiteX63" fmla="*/ 880209 w 880209"/>
              <a:gd name="connsiteY63" fmla="*/ 847798 h 3904105"/>
              <a:gd name="connsiteX64" fmla="*/ 811706 w 880209"/>
              <a:gd name="connsiteY64" fmla="*/ 826437 h 3904105"/>
              <a:gd name="connsiteX65" fmla="*/ 706376 w 880209"/>
              <a:gd name="connsiteY65" fmla="*/ 698273 h 3904105"/>
              <a:gd name="connsiteX66" fmla="*/ 796976 w 880209"/>
              <a:gd name="connsiteY66" fmla="*/ 810233 h 3904105"/>
              <a:gd name="connsiteX67" fmla="*/ 706376 w 880209"/>
              <a:gd name="connsiteY67" fmla="*/ 698273 h 3904105"/>
              <a:gd name="connsiteX68" fmla="*/ 643767 w 880209"/>
              <a:gd name="connsiteY68" fmla="*/ 584104 h 3904105"/>
              <a:gd name="connsiteX69" fmla="*/ 727738 w 880209"/>
              <a:gd name="connsiteY69" fmla="*/ 612094 h 3904105"/>
              <a:gd name="connsiteX70" fmla="*/ 643767 w 880209"/>
              <a:gd name="connsiteY70" fmla="*/ 584104 h 3904105"/>
              <a:gd name="connsiteX71" fmla="*/ 828649 w 880209"/>
              <a:gd name="connsiteY71" fmla="*/ 555377 h 3904105"/>
              <a:gd name="connsiteX72" fmla="*/ 734366 w 880209"/>
              <a:gd name="connsiteY72" fmla="*/ 611357 h 3904105"/>
              <a:gd name="connsiteX73" fmla="*/ 771196 w 880209"/>
              <a:gd name="connsiteY73" fmla="*/ 608411 h 3904105"/>
              <a:gd name="connsiteX74" fmla="*/ 816863 w 880209"/>
              <a:gd name="connsiteY74" fmla="*/ 570845 h 3904105"/>
              <a:gd name="connsiteX75" fmla="*/ 828649 w 880209"/>
              <a:gd name="connsiteY75" fmla="*/ 555377 h 3904105"/>
              <a:gd name="connsiteX76" fmla="*/ 686488 w 880209"/>
              <a:gd name="connsiteY76" fmla="*/ 385965 h 3904105"/>
              <a:gd name="connsiteX77" fmla="*/ 683542 w 880209"/>
              <a:gd name="connsiteY77" fmla="*/ 387438 h 3904105"/>
              <a:gd name="connsiteX78" fmla="*/ 695327 w 880209"/>
              <a:gd name="connsiteY78" fmla="*/ 452993 h 3904105"/>
              <a:gd name="connsiteX79" fmla="*/ 717425 w 880209"/>
              <a:gd name="connsiteY79" fmla="*/ 573793 h 3904105"/>
              <a:gd name="connsiteX80" fmla="*/ 734367 w 880209"/>
              <a:gd name="connsiteY80" fmla="*/ 584842 h 3904105"/>
              <a:gd name="connsiteX81" fmla="*/ 743206 w 880209"/>
              <a:gd name="connsiteY81" fmla="*/ 582632 h 3904105"/>
              <a:gd name="connsiteX82" fmla="*/ 751308 w 880209"/>
              <a:gd name="connsiteY82" fmla="*/ 568637 h 3904105"/>
              <a:gd name="connsiteX83" fmla="*/ 723318 w 880209"/>
              <a:gd name="connsiteY83" fmla="*/ 488349 h 3904105"/>
              <a:gd name="connsiteX84" fmla="*/ 686488 w 880209"/>
              <a:gd name="connsiteY84" fmla="*/ 385965 h 3904105"/>
              <a:gd name="connsiteX85" fmla="*/ 373943 w 880209"/>
              <a:gd name="connsiteY85" fmla="*/ 235704 h 3904105"/>
              <a:gd name="connsiteX86" fmla="*/ 389687 w 880209"/>
              <a:gd name="connsiteY86" fmla="*/ 268482 h 3904105"/>
              <a:gd name="connsiteX87" fmla="*/ 398210 w 880209"/>
              <a:gd name="connsiteY87" fmla="*/ 283454 h 3904105"/>
              <a:gd name="connsiteX88" fmla="*/ 383756 w 880209"/>
              <a:gd name="connsiteY88" fmla="*/ 268850 h 3904105"/>
              <a:gd name="connsiteX89" fmla="*/ 390385 w 880209"/>
              <a:gd name="connsiteY89" fmla="*/ 280635 h 3904105"/>
              <a:gd name="connsiteX90" fmla="*/ 542119 w 880209"/>
              <a:gd name="connsiteY90" fmla="*/ 465515 h 3904105"/>
              <a:gd name="connsiteX91" fmla="*/ 617250 w 880209"/>
              <a:gd name="connsiteY91" fmla="*/ 554641 h 3904105"/>
              <a:gd name="connsiteX92" fmla="*/ 626826 w 880209"/>
              <a:gd name="connsiteY92" fmla="*/ 563479 h 3904105"/>
              <a:gd name="connsiteX93" fmla="*/ 617250 w 880209"/>
              <a:gd name="connsiteY93" fmla="*/ 550958 h 3904105"/>
              <a:gd name="connsiteX94" fmla="*/ 617250 w 880209"/>
              <a:gd name="connsiteY94" fmla="*/ 551695 h 3904105"/>
              <a:gd name="connsiteX95" fmla="*/ 576738 w 880209"/>
              <a:gd name="connsiteY95" fmla="*/ 491295 h 3904105"/>
              <a:gd name="connsiteX96" fmla="*/ 470671 w 880209"/>
              <a:gd name="connsiteY96" fmla="*/ 361658 h 3904105"/>
              <a:gd name="connsiteX97" fmla="*/ 428318 w 880209"/>
              <a:gd name="connsiteY97" fmla="*/ 313873 h 3904105"/>
              <a:gd name="connsiteX98" fmla="*/ 405989 w 880209"/>
              <a:gd name="connsiteY98" fmla="*/ 291313 h 3904105"/>
              <a:gd name="connsiteX99" fmla="*/ 401565 w 880209"/>
              <a:gd name="connsiteY99" fmla="*/ 260195 h 3904105"/>
              <a:gd name="connsiteX100" fmla="*/ 373943 w 880209"/>
              <a:gd name="connsiteY100" fmla="*/ 235704 h 3904105"/>
              <a:gd name="connsiteX101" fmla="*/ 283344 w 880209"/>
              <a:gd name="connsiteY101" fmla="*/ 131846 h 3904105"/>
              <a:gd name="connsiteX102" fmla="*/ 362894 w 880209"/>
              <a:gd name="connsiteY102" fmla="*/ 216553 h 3904105"/>
              <a:gd name="connsiteX103" fmla="*/ 283344 w 880209"/>
              <a:gd name="connsiteY103" fmla="*/ 131846 h 3904105"/>
              <a:gd name="connsiteX104" fmla="*/ 93308 w 880209"/>
              <a:gd name="connsiteY104" fmla="*/ 0 h 3904105"/>
              <a:gd name="connsiteX105" fmla="*/ 216316 w 880209"/>
              <a:gd name="connsiteY105" fmla="*/ 95755 h 3904105"/>
              <a:gd name="connsiteX106" fmla="*/ 264929 w 880209"/>
              <a:gd name="connsiteY106" fmla="*/ 119325 h 3904105"/>
              <a:gd name="connsiteX107" fmla="*/ 93308 w 880209"/>
              <a:gd name="connsiteY107" fmla="*/ 0 h 3904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880209" h="3904105">
                <a:moveTo>
                  <a:pt x="303469" y="3751377"/>
                </a:moveTo>
                <a:cubicBezTo>
                  <a:pt x="297577" y="3795572"/>
                  <a:pt x="296840" y="3839767"/>
                  <a:pt x="301997" y="3883961"/>
                </a:cubicBezTo>
                <a:cubicBezTo>
                  <a:pt x="302733" y="3891327"/>
                  <a:pt x="301997" y="3899429"/>
                  <a:pt x="310099" y="3903849"/>
                </a:cubicBezTo>
                <a:cubicBezTo>
                  <a:pt x="316729" y="3904585"/>
                  <a:pt x="319676" y="3903849"/>
                  <a:pt x="320412" y="3900166"/>
                </a:cubicBezTo>
                <a:cubicBezTo>
                  <a:pt x="318939" y="3850079"/>
                  <a:pt x="310099" y="3800728"/>
                  <a:pt x="303469" y="3751377"/>
                </a:cubicBezTo>
                <a:close/>
                <a:moveTo>
                  <a:pt x="342509" y="3458957"/>
                </a:moveTo>
                <a:cubicBezTo>
                  <a:pt x="299050" y="3525249"/>
                  <a:pt x="280635" y="3654887"/>
                  <a:pt x="303469" y="3724125"/>
                </a:cubicBezTo>
                <a:cubicBezTo>
                  <a:pt x="312308" y="3634999"/>
                  <a:pt x="327777" y="3547347"/>
                  <a:pt x="342509" y="3458957"/>
                </a:cubicBezTo>
                <a:close/>
                <a:moveTo>
                  <a:pt x="556115" y="2540448"/>
                </a:moveTo>
                <a:cubicBezTo>
                  <a:pt x="482457" y="2836552"/>
                  <a:pt x="408798" y="3131918"/>
                  <a:pt x="350609" y="3431705"/>
                </a:cubicBezTo>
                <a:cubicBezTo>
                  <a:pt x="369023" y="3397822"/>
                  <a:pt x="381545" y="3361730"/>
                  <a:pt x="394067" y="3325637"/>
                </a:cubicBezTo>
                <a:cubicBezTo>
                  <a:pt x="433106" y="3212205"/>
                  <a:pt x="457413" y="3095090"/>
                  <a:pt x="480246" y="2977237"/>
                </a:cubicBezTo>
                <a:cubicBezTo>
                  <a:pt x="503817" y="2857912"/>
                  <a:pt x="523705" y="2738587"/>
                  <a:pt x="543593" y="2619262"/>
                </a:cubicBezTo>
                <a:cubicBezTo>
                  <a:pt x="548012" y="2592745"/>
                  <a:pt x="551695" y="2566965"/>
                  <a:pt x="556115" y="2540448"/>
                </a:cubicBezTo>
                <a:close/>
                <a:moveTo>
                  <a:pt x="620933" y="2125020"/>
                </a:moveTo>
                <a:cubicBezTo>
                  <a:pt x="602519" y="2244346"/>
                  <a:pt x="584104" y="2362935"/>
                  <a:pt x="565690" y="2481524"/>
                </a:cubicBezTo>
                <a:cubicBezTo>
                  <a:pt x="607675" y="2366618"/>
                  <a:pt x="608411" y="2245082"/>
                  <a:pt x="620933" y="2125020"/>
                </a:cubicBezTo>
                <a:close/>
                <a:moveTo>
                  <a:pt x="224655" y="1768105"/>
                </a:moveTo>
                <a:cubicBezTo>
                  <a:pt x="234967" y="1769973"/>
                  <a:pt x="246016" y="1772776"/>
                  <a:pt x="256327" y="1775579"/>
                </a:cubicBezTo>
                <a:lnTo>
                  <a:pt x="257626" y="1773933"/>
                </a:lnTo>
                <a:lnTo>
                  <a:pt x="348401" y="1792088"/>
                </a:lnTo>
                <a:cubicBezTo>
                  <a:pt x="385967" y="1800928"/>
                  <a:pt x="438263" y="1796508"/>
                  <a:pt x="477302" y="1779566"/>
                </a:cubicBezTo>
                <a:cubicBezTo>
                  <a:pt x="402907" y="1781776"/>
                  <a:pt x="330723" y="1780303"/>
                  <a:pt x="259274" y="1770727"/>
                </a:cubicBezTo>
                <a:lnTo>
                  <a:pt x="258268" y="1771734"/>
                </a:lnTo>
                <a:close/>
                <a:moveTo>
                  <a:pt x="0" y="1722113"/>
                </a:moveTo>
                <a:cubicBezTo>
                  <a:pt x="30200" y="1728743"/>
                  <a:pt x="61136" y="1736110"/>
                  <a:pt x="92072" y="1743476"/>
                </a:cubicBezTo>
                <a:lnTo>
                  <a:pt x="92074" y="1743475"/>
                </a:lnTo>
                <a:lnTo>
                  <a:pt x="176779" y="1758943"/>
                </a:lnTo>
                <a:lnTo>
                  <a:pt x="95594" y="1740657"/>
                </a:lnTo>
                <a:lnTo>
                  <a:pt x="95755" y="1740529"/>
                </a:lnTo>
                <a:cubicBezTo>
                  <a:pt x="64818" y="1730216"/>
                  <a:pt x="32409" y="1726533"/>
                  <a:pt x="0" y="1722113"/>
                </a:cubicBezTo>
                <a:close/>
                <a:moveTo>
                  <a:pt x="517076" y="1055512"/>
                </a:moveTo>
                <a:cubicBezTo>
                  <a:pt x="515602" y="1057722"/>
                  <a:pt x="516339" y="1059195"/>
                  <a:pt x="516339" y="1061405"/>
                </a:cubicBezTo>
                <a:cubicBezTo>
                  <a:pt x="541383" y="1196935"/>
                  <a:pt x="566426" y="1332465"/>
                  <a:pt x="591470" y="1467995"/>
                </a:cubicBezTo>
                <a:cubicBezTo>
                  <a:pt x="603992" y="1536497"/>
                  <a:pt x="616514" y="1604998"/>
                  <a:pt x="629035" y="1673500"/>
                </a:cubicBezTo>
                <a:lnTo>
                  <a:pt x="632258" y="1689335"/>
                </a:lnTo>
                <a:cubicBezTo>
                  <a:pt x="633087" y="1694676"/>
                  <a:pt x="634192" y="1700016"/>
                  <a:pt x="637138" y="1705172"/>
                </a:cubicBezTo>
                <a:cubicBezTo>
                  <a:pt x="636401" y="1698911"/>
                  <a:pt x="636217" y="1692650"/>
                  <a:pt x="635665" y="1686389"/>
                </a:cubicBezTo>
                <a:lnTo>
                  <a:pt x="632895" y="1672265"/>
                </a:lnTo>
                <a:lnTo>
                  <a:pt x="633639" y="1672027"/>
                </a:lnTo>
                <a:cubicBezTo>
                  <a:pt x="634008" y="1671106"/>
                  <a:pt x="633455" y="1669817"/>
                  <a:pt x="632719" y="1668344"/>
                </a:cubicBezTo>
                <a:cubicBezTo>
                  <a:pt x="627563" y="1604262"/>
                  <a:pt x="622406" y="1540180"/>
                  <a:pt x="623143" y="1476098"/>
                </a:cubicBezTo>
                <a:cubicBezTo>
                  <a:pt x="623143" y="1473888"/>
                  <a:pt x="622406" y="1470942"/>
                  <a:pt x="622406" y="1468732"/>
                </a:cubicBezTo>
                <a:cubicBezTo>
                  <a:pt x="617987" y="1431903"/>
                  <a:pt x="603255" y="1398757"/>
                  <a:pt x="589997" y="1364875"/>
                </a:cubicBezTo>
                <a:cubicBezTo>
                  <a:pt x="577475" y="1330992"/>
                  <a:pt x="560534" y="1299319"/>
                  <a:pt x="558324" y="1262490"/>
                </a:cubicBezTo>
                <a:cubicBezTo>
                  <a:pt x="556851" y="1231554"/>
                  <a:pt x="558324" y="1200618"/>
                  <a:pt x="556851" y="1169682"/>
                </a:cubicBezTo>
                <a:cubicBezTo>
                  <a:pt x="554641" y="1127697"/>
                  <a:pt x="535490" y="1091605"/>
                  <a:pt x="517076" y="1055512"/>
                </a:cubicBezTo>
                <a:close/>
                <a:moveTo>
                  <a:pt x="778562" y="943552"/>
                </a:moveTo>
                <a:cubicBezTo>
                  <a:pt x="763093" y="966386"/>
                  <a:pt x="748361" y="989220"/>
                  <a:pt x="729946" y="1009845"/>
                </a:cubicBezTo>
                <a:cubicBezTo>
                  <a:pt x="759410" y="997323"/>
                  <a:pt x="766776" y="969333"/>
                  <a:pt x="778562" y="943552"/>
                </a:cubicBezTo>
                <a:close/>
                <a:moveTo>
                  <a:pt x="278425" y="849271"/>
                </a:moveTo>
                <a:cubicBezTo>
                  <a:pt x="277688" y="850007"/>
                  <a:pt x="276215" y="851481"/>
                  <a:pt x="275479" y="852217"/>
                </a:cubicBezTo>
                <a:cubicBezTo>
                  <a:pt x="278425" y="854427"/>
                  <a:pt x="280635" y="855900"/>
                  <a:pt x="283581" y="858110"/>
                </a:cubicBezTo>
                <a:cubicBezTo>
                  <a:pt x="378600" y="931031"/>
                  <a:pt x="473617" y="1003216"/>
                  <a:pt x="568636" y="1076136"/>
                </a:cubicBezTo>
                <a:cubicBezTo>
                  <a:pt x="577475" y="1083502"/>
                  <a:pt x="585577" y="1084238"/>
                  <a:pt x="595890" y="1080555"/>
                </a:cubicBezTo>
                <a:cubicBezTo>
                  <a:pt x="618724" y="1072453"/>
                  <a:pt x="642294" y="1065087"/>
                  <a:pt x="665128" y="1057722"/>
                </a:cubicBezTo>
                <a:cubicBezTo>
                  <a:pt x="665864" y="1057722"/>
                  <a:pt x="665864" y="1057722"/>
                  <a:pt x="665864" y="1056248"/>
                </a:cubicBezTo>
                <a:cubicBezTo>
                  <a:pt x="666601" y="1055512"/>
                  <a:pt x="665864" y="1054776"/>
                  <a:pt x="665128" y="1054038"/>
                </a:cubicBezTo>
                <a:cubicBezTo>
                  <a:pt x="650396" y="1055512"/>
                  <a:pt x="636401" y="1061405"/>
                  <a:pt x="620196" y="1058459"/>
                </a:cubicBezTo>
                <a:cubicBezTo>
                  <a:pt x="576002" y="1050356"/>
                  <a:pt x="539173" y="1027522"/>
                  <a:pt x="502344" y="1004688"/>
                </a:cubicBezTo>
                <a:cubicBezTo>
                  <a:pt x="436052" y="962703"/>
                  <a:pt x="372707" y="917773"/>
                  <a:pt x="309361" y="871368"/>
                </a:cubicBezTo>
                <a:cubicBezTo>
                  <a:pt x="299049" y="864003"/>
                  <a:pt x="288737" y="856637"/>
                  <a:pt x="278425" y="849271"/>
                </a:cubicBezTo>
                <a:close/>
                <a:moveTo>
                  <a:pt x="811706" y="826437"/>
                </a:moveTo>
                <a:cubicBezTo>
                  <a:pt x="838223" y="862529"/>
                  <a:pt x="830858" y="861057"/>
                  <a:pt x="880209" y="847798"/>
                </a:cubicBezTo>
                <a:cubicBezTo>
                  <a:pt x="854428" y="845589"/>
                  <a:pt x="834540" y="838222"/>
                  <a:pt x="811706" y="826437"/>
                </a:cubicBezTo>
                <a:close/>
                <a:moveTo>
                  <a:pt x="706376" y="698273"/>
                </a:moveTo>
                <a:cubicBezTo>
                  <a:pt x="730683" y="740994"/>
                  <a:pt x="756464" y="782243"/>
                  <a:pt x="796976" y="810233"/>
                </a:cubicBezTo>
                <a:cubicBezTo>
                  <a:pt x="766776" y="773404"/>
                  <a:pt x="736576" y="735839"/>
                  <a:pt x="706376" y="698273"/>
                </a:cubicBezTo>
                <a:close/>
                <a:moveTo>
                  <a:pt x="643767" y="584104"/>
                </a:moveTo>
                <a:cubicBezTo>
                  <a:pt x="654816" y="613567"/>
                  <a:pt x="700485" y="626826"/>
                  <a:pt x="727738" y="612094"/>
                </a:cubicBezTo>
                <a:cubicBezTo>
                  <a:pt x="699011" y="602518"/>
                  <a:pt x="672494" y="593679"/>
                  <a:pt x="643767" y="584104"/>
                </a:cubicBezTo>
                <a:close/>
                <a:moveTo>
                  <a:pt x="828649" y="555377"/>
                </a:moveTo>
                <a:cubicBezTo>
                  <a:pt x="796975" y="578948"/>
                  <a:pt x="768249" y="597362"/>
                  <a:pt x="734366" y="611357"/>
                </a:cubicBezTo>
                <a:cubicBezTo>
                  <a:pt x="749098" y="623143"/>
                  <a:pt x="760147" y="619460"/>
                  <a:pt x="771196" y="608411"/>
                </a:cubicBezTo>
                <a:cubicBezTo>
                  <a:pt x="785927" y="595153"/>
                  <a:pt x="801395" y="583367"/>
                  <a:pt x="816863" y="570845"/>
                </a:cubicBezTo>
                <a:cubicBezTo>
                  <a:pt x="820546" y="567162"/>
                  <a:pt x="824966" y="564216"/>
                  <a:pt x="828649" y="555377"/>
                </a:cubicBezTo>
                <a:close/>
                <a:moveTo>
                  <a:pt x="686488" y="385965"/>
                </a:moveTo>
                <a:cubicBezTo>
                  <a:pt x="685752" y="385965"/>
                  <a:pt x="685016" y="386701"/>
                  <a:pt x="683542" y="387438"/>
                </a:cubicBezTo>
                <a:cubicBezTo>
                  <a:pt x="687225" y="409536"/>
                  <a:pt x="691645" y="430896"/>
                  <a:pt x="695327" y="452993"/>
                </a:cubicBezTo>
                <a:cubicBezTo>
                  <a:pt x="702694" y="493506"/>
                  <a:pt x="710059" y="533280"/>
                  <a:pt x="717425" y="573793"/>
                </a:cubicBezTo>
                <a:cubicBezTo>
                  <a:pt x="718898" y="584106"/>
                  <a:pt x="723318" y="589261"/>
                  <a:pt x="734367" y="584842"/>
                </a:cubicBezTo>
                <a:cubicBezTo>
                  <a:pt x="737313" y="583368"/>
                  <a:pt x="740260" y="582632"/>
                  <a:pt x="743206" y="582632"/>
                </a:cubicBezTo>
                <a:cubicBezTo>
                  <a:pt x="752781" y="581895"/>
                  <a:pt x="754991" y="578213"/>
                  <a:pt x="751308" y="568637"/>
                </a:cubicBezTo>
                <a:cubicBezTo>
                  <a:pt x="741732" y="542120"/>
                  <a:pt x="732893" y="514866"/>
                  <a:pt x="723318" y="488349"/>
                </a:cubicBezTo>
                <a:cubicBezTo>
                  <a:pt x="711533" y="453731"/>
                  <a:pt x="699011" y="419847"/>
                  <a:pt x="686488" y="385965"/>
                </a:cubicBezTo>
                <a:close/>
                <a:moveTo>
                  <a:pt x="373943" y="235704"/>
                </a:moveTo>
                <a:cubicBezTo>
                  <a:pt x="380204" y="246385"/>
                  <a:pt x="384807" y="257617"/>
                  <a:pt x="389687" y="268482"/>
                </a:cubicBezTo>
                <a:lnTo>
                  <a:pt x="398210" y="283454"/>
                </a:lnTo>
                <a:lnTo>
                  <a:pt x="383756" y="268850"/>
                </a:lnTo>
                <a:cubicBezTo>
                  <a:pt x="383756" y="274006"/>
                  <a:pt x="387439" y="276952"/>
                  <a:pt x="390385" y="280635"/>
                </a:cubicBezTo>
                <a:cubicBezTo>
                  <a:pt x="441209" y="342507"/>
                  <a:pt x="491296" y="404379"/>
                  <a:pt x="542119" y="465515"/>
                </a:cubicBezTo>
                <a:cubicBezTo>
                  <a:pt x="567163" y="495714"/>
                  <a:pt x="589997" y="526651"/>
                  <a:pt x="617250" y="554641"/>
                </a:cubicBezTo>
                <a:cubicBezTo>
                  <a:pt x="617987" y="558323"/>
                  <a:pt x="618724" y="562006"/>
                  <a:pt x="626826" y="563479"/>
                </a:cubicBezTo>
                <a:cubicBezTo>
                  <a:pt x="622406" y="557587"/>
                  <a:pt x="620196" y="554641"/>
                  <a:pt x="617250" y="550958"/>
                </a:cubicBezTo>
                <a:lnTo>
                  <a:pt x="617250" y="551695"/>
                </a:lnTo>
                <a:cubicBezTo>
                  <a:pt x="603991" y="531070"/>
                  <a:pt x="590733" y="511183"/>
                  <a:pt x="576738" y="491295"/>
                </a:cubicBezTo>
                <a:cubicBezTo>
                  <a:pt x="544329" y="445628"/>
                  <a:pt x="508237" y="402906"/>
                  <a:pt x="470671" y="361658"/>
                </a:cubicBezTo>
                <a:cubicBezTo>
                  <a:pt x="456308" y="345822"/>
                  <a:pt x="442497" y="329618"/>
                  <a:pt x="428318" y="313873"/>
                </a:cubicBezTo>
                <a:lnTo>
                  <a:pt x="405989" y="291313"/>
                </a:lnTo>
                <a:lnTo>
                  <a:pt x="401565" y="260195"/>
                </a:lnTo>
                <a:cubicBezTo>
                  <a:pt x="396040" y="249699"/>
                  <a:pt x="386833" y="241596"/>
                  <a:pt x="373943" y="235704"/>
                </a:cubicBezTo>
                <a:close/>
                <a:moveTo>
                  <a:pt x="283344" y="131846"/>
                </a:moveTo>
                <a:cubicBezTo>
                  <a:pt x="316490" y="153943"/>
                  <a:pt x="329748" y="194455"/>
                  <a:pt x="362894" y="216553"/>
                </a:cubicBezTo>
                <a:cubicBezTo>
                  <a:pt x="345216" y="179724"/>
                  <a:pt x="322382" y="148788"/>
                  <a:pt x="283344" y="131846"/>
                </a:cubicBezTo>
                <a:close/>
                <a:moveTo>
                  <a:pt x="93308" y="0"/>
                </a:moveTo>
                <a:cubicBezTo>
                  <a:pt x="133083" y="33882"/>
                  <a:pt x="174331" y="65555"/>
                  <a:pt x="216316" y="95755"/>
                </a:cubicBezTo>
                <a:cubicBezTo>
                  <a:pt x="230311" y="106803"/>
                  <a:pt x="243569" y="120062"/>
                  <a:pt x="264929" y="119325"/>
                </a:cubicBezTo>
                <a:cubicBezTo>
                  <a:pt x="207477" y="79550"/>
                  <a:pt x="150024" y="39775"/>
                  <a:pt x="93308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 w="929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3B97EDE4-557B-4866-937A-246D356D3E9B}"/>
              </a:ext>
            </a:extLst>
          </p:cNvPr>
          <p:cNvSpPr/>
          <p:nvPr userDrawn="1"/>
        </p:nvSpPr>
        <p:spPr>
          <a:xfrm>
            <a:off x="530413" y="1457403"/>
            <a:ext cx="531375" cy="753341"/>
          </a:xfrm>
          <a:custGeom>
            <a:avLst/>
            <a:gdLst>
              <a:gd name="connsiteX0" fmla="*/ 649769 w 738122"/>
              <a:gd name="connsiteY0" fmla="*/ 968144 h 1046452"/>
              <a:gd name="connsiteX1" fmla="*/ 704894 w 738122"/>
              <a:gd name="connsiteY1" fmla="*/ 887791 h 1046452"/>
              <a:gd name="connsiteX2" fmla="*/ 732924 w 738122"/>
              <a:gd name="connsiteY2" fmla="*/ 780343 h 1046452"/>
              <a:gd name="connsiteX3" fmla="*/ 736662 w 738122"/>
              <a:gd name="connsiteY3" fmla="*/ 597214 h 1046452"/>
              <a:gd name="connsiteX4" fmla="*/ 726384 w 738122"/>
              <a:gd name="connsiteY4" fmla="*/ 547694 h 1046452"/>
              <a:gd name="connsiteX5" fmla="*/ 695551 w 738122"/>
              <a:gd name="connsiteY5" fmla="*/ 498174 h 1046452"/>
              <a:gd name="connsiteX6" fmla="*/ 689945 w 738122"/>
              <a:gd name="connsiteY6" fmla="*/ 450524 h 1046452"/>
              <a:gd name="connsiteX7" fmla="*/ 696485 w 738122"/>
              <a:gd name="connsiteY7" fmla="*/ 367368 h 1046452"/>
              <a:gd name="connsiteX8" fmla="*/ 690879 w 738122"/>
              <a:gd name="connsiteY8" fmla="*/ 315045 h 1046452"/>
              <a:gd name="connsiteX9" fmla="*/ 669390 w 738122"/>
              <a:gd name="connsiteY9" fmla="*/ 253379 h 1046452"/>
              <a:gd name="connsiteX10" fmla="*/ 587169 w 738122"/>
              <a:gd name="connsiteY10" fmla="*/ 111361 h 1046452"/>
              <a:gd name="connsiteX11" fmla="*/ 485326 w 738122"/>
              <a:gd name="connsiteY11" fmla="*/ 17928 h 1046452"/>
              <a:gd name="connsiteX12" fmla="*/ 441413 w 738122"/>
              <a:gd name="connsiteY12" fmla="*/ 5781 h 1046452"/>
              <a:gd name="connsiteX13" fmla="*/ 287248 w 738122"/>
              <a:gd name="connsiteY13" fmla="*/ 12322 h 1046452"/>
              <a:gd name="connsiteX14" fmla="*/ 139623 w 738122"/>
              <a:gd name="connsiteY14" fmla="*/ 59973 h 1046452"/>
              <a:gd name="connsiteX15" fmla="*/ 42453 w 738122"/>
              <a:gd name="connsiteY15" fmla="*/ 172092 h 1046452"/>
              <a:gd name="connsiteX16" fmla="*/ 408 w 738122"/>
              <a:gd name="connsiteY16" fmla="*/ 364565 h 1046452"/>
              <a:gd name="connsiteX17" fmla="*/ 48059 w 738122"/>
              <a:gd name="connsiteY17" fmla="*/ 544891 h 1046452"/>
              <a:gd name="connsiteX18" fmla="*/ 48059 w 738122"/>
              <a:gd name="connsiteY18" fmla="*/ 544891 h 1046452"/>
              <a:gd name="connsiteX19" fmla="*/ 50862 w 738122"/>
              <a:gd name="connsiteY19" fmla="*/ 548628 h 1046452"/>
              <a:gd name="connsiteX20" fmla="*/ 51796 w 738122"/>
              <a:gd name="connsiteY20" fmla="*/ 548628 h 1046452"/>
              <a:gd name="connsiteX21" fmla="*/ 74220 w 738122"/>
              <a:gd name="connsiteY21" fmla="*/ 640193 h 1046452"/>
              <a:gd name="connsiteX22" fmla="*/ 106922 w 738122"/>
              <a:gd name="connsiteY22" fmla="*/ 692516 h 1046452"/>
              <a:gd name="connsiteX23" fmla="*/ 145229 w 738122"/>
              <a:gd name="connsiteY23" fmla="*/ 747641 h 1046452"/>
              <a:gd name="connsiteX24" fmla="*/ 183537 w 738122"/>
              <a:gd name="connsiteY24" fmla="*/ 946654 h 1046452"/>
              <a:gd name="connsiteX25" fmla="*/ 576891 w 738122"/>
              <a:gd name="connsiteY25" fmla="*/ 1049431 h 1046452"/>
              <a:gd name="connsiteX26" fmla="*/ 593709 w 738122"/>
              <a:gd name="connsiteY26" fmla="*/ 1054102 h 1046452"/>
              <a:gd name="connsiteX27" fmla="*/ 596512 w 738122"/>
              <a:gd name="connsiteY27" fmla="*/ 1016729 h 104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38122" h="1046452">
                <a:moveTo>
                  <a:pt x="649769" y="968144"/>
                </a:moveTo>
                <a:cubicBezTo>
                  <a:pt x="674062" y="943851"/>
                  <a:pt x="693683" y="919558"/>
                  <a:pt x="704894" y="887791"/>
                </a:cubicBezTo>
                <a:cubicBezTo>
                  <a:pt x="717041" y="852286"/>
                  <a:pt x="727318" y="816782"/>
                  <a:pt x="732924" y="780343"/>
                </a:cubicBezTo>
                <a:cubicBezTo>
                  <a:pt x="743202" y="720546"/>
                  <a:pt x="745071" y="657945"/>
                  <a:pt x="736662" y="597214"/>
                </a:cubicBezTo>
                <a:cubicBezTo>
                  <a:pt x="733859" y="580396"/>
                  <a:pt x="731056" y="563578"/>
                  <a:pt x="726384" y="547694"/>
                </a:cubicBezTo>
                <a:cubicBezTo>
                  <a:pt x="721712" y="529007"/>
                  <a:pt x="711435" y="510321"/>
                  <a:pt x="695551" y="498174"/>
                </a:cubicBezTo>
                <a:cubicBezTo>
                  <a:pt x="687142" y="491634"/>
                  <a:pt x="689945" y="458933"/>
                  <a:pt x="689945" y="450524"/>
                </a:cubicBezTo>
                <a:cubicBezTo>
                  <a:pt x="691814" y="422494"/>
                  <a:pt x="702092" y="395398"/>
                  <a:pt x="696485" y="367368"/>
                </a:cubicBezTo>
                <a:cubicBezTo>
                  <a:pt x="692748" y="350550"/>
                  <a:pt x="693683" y="332798"/>
                  <a:pt x="690879" y="315045"/>
                </a:cubicBezTo>
                <a:cubicBezTo>
                  <a:pt x="687142" y="292621"/>
                  <a:pt x="681536" y="273000"/>
                  <a:pt x="669390" y="253379"/>
                </a:cubicBezTo>
                <a:cubicBezTo>
                  <a:pt x="640426" y="206663"/>
                  <a:pt x="612396" y="159946"/>
                  <a:pt x="587169" y="111361"/>
                </a:cubicBezTo>
                <a:cubicBezTo>
                  <a:pt x="564745" y="68382"/>
                  <a:pt x="532977" y="33811"/>
                  <a:pt x="485326" y="17928"/>
                </a:cubicBezTo>
                <a:cubicBezTo>
                  <a:pt x="471311" y="13256"/>
                  <a:pt x="456362" y="9519"/>
                  <a:pt x="441413" y="5781"/>
                </a:cubicBezTo>
                <a:cubicBezTo>
                  <a:pt x="390024" y="-6365"/>
                  <a:pt x="338636" y="2978"/>
                  <a:pt x="287248" y="12322"/>
                </a:cubicBezTo>
                <a:cubicBezTo>
                  <a:pt x="235860" y="21665"/>
                  <a:pt x="185406" y="35680"/>
                  <a:pt x="139623" y="59973"/>
                </a:cubicBezTo>
                <a:cubicBezTo>
                  <a:pt x="93841" y="84265"/>
                  <a:pt x="59271" y="122573"/>
                  <a:pt x="42453" y="172092"/>
                </a:cubicBezTo>
                <a:cubicBezTo>
                  <a:pt x="21898" y="233758"/>
                  <a:pt x="4145" y="299162"/>
                  <a:pt x="408" y="364565"/>
                </a:cubicBezTo>
                <a:cubicBezTo>
                  <a:pt x="-3329" y="428100"/>
                  <a:pt x="19095" y="488831"/>
                  <a:pt x="48059" y="544891"/>
                </a:cubicBezTo>
                <a:cubicBezTo>
                  <a:pt x="48059" y="544891"/>
                  <a:pt x="48059" y="544891"/>
                  <a:pt x="48059" y="544891"/>
                </a:cubicBezTo>
                <a:cubicBezTo>
                  <a:pt x="48993" y="545825"/>
                  <a:pt x="49927" y="547694"/>
                  <a:pt x="50862" y="548628"/>
                </a:cubicBezTo>
                <a:cubicBezTo>
                  <a:pt x="50862" y="548628"/>
                  <a:pt x="50862" y="548628"/>
                  <a:pt x="51796" y="548628"/>
                </a:cubicBezTo>
                <a:cubicBezTo>
                  <a:pt x="40584" y="571987"/>
                  <a:pt x="59271" y="615900"/>
                  <a:pt x="74220" y="640193"/>
                </a:cubicBezTo>
                <a:cubicBezTo>
                  <a:pt x="77957" y="643930"/>
                  <a:pt x="97578" y="679435"/>
                  <a:pt x="106922" y="692516"/>
                </a:cubicBezTo>
                <a:cubicBezTo>
                  <a:pt x="119068" y="711202"/>
                  <a:pt x="133083" y="728955"/>
                  <a:pt x="145229" y="747641"/>
                </a:cubicBezTo>
                <a:cubicBezTo>
                  <a:pt x="186340" y="808373"/>
                  <a:pt x="180734" y="876579"/>
                  <a:pt x="183537" y="946654"/>
                </a:cubicBezTo>
                <a:cubicBezTo>
                  <a:pt x="203158" y="954129"/>
                  <a:pt x="564745" y="1046628"/>
                  <a:pt x="576891" y="1049431"/>
                </a:cubicBezTo>
                <a:cubicBezTo>
                  <a:pt x="585300" y="1051299"/>
                  <a:pt x="585300" y="1051299"/>
                  <a:pt x="593709" y="1054102"/>
                </a:cubicBezTo>
                <a:cubicBezTo>
                  <a:pt x="595578" y="1039153"/>
                  <a:pt x="596512" y="1027007"/>
                  <a:pt x="596512" y="1016729"/>
                </a:cubicBezTo>
              </a:path>
            </a:pathLst>
          </a:custGeom>
          <a:solidFill>
            <a:srgbClr val="FDBD87"/>
          </a:solidFill>
          <a:ln w="92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A25A1B60-9443-42DA-9712-F5EBD5808310}"/>
              </a:ext>
            </a:extLst>
          </p:cNvPr>
          <p:cNvSpPr/>
          <p:nvPr userDrawn="1"/>
        </p:nvSpPr>
        <p:spPr>
          <a:xfrm>
            <a:off x="524027" y="1454657"/>
            <a:ext cx="531375" cy="390124"/>
          </a:xfrm>
          <a:custGeom>
            <a:avLst/>
            <a:gdLst>
              <a:gd name="connsiteX0" fmla="*/ 443808 w 700749"/>
              <a:gd name="connsiteY0" fmla="*/ 5858 h 541912"/>
              <a:gd name="connsiteX1" fmla="*/ 487721 w 700749"/>
              <a:gd name="connsiteY1" fmla="*/ 18004 h 541912"/>
              <a:gd name="connsiteX2" fmla="*/ 590498 w 700749"/>
              <a:gd name="connsiteY2" fmla="*/ 111437 h 541912"/>
              <a:gd name="connsiteX3" fmla="*/ 673654 w 700749"/>
              <a:gd name="connsiteY3" fmla="*/ 253456 h 541912"/>
              <a:gd name="connsiteX4" fmla="*/ 698881 w 700749"/>
              <a:gd name="connsiteY4" fmla="*/ 340349 h 541912"/>
              <a:gd name="connsiteX5" fmla="*/ 697012 w 700749"/>
              <a:gd name="connsiteY5" fmla="*/ 355298 h 541912"/>
              <a:gd name="connsiteX6" fmla="*/ 641886 w 700749"/>
              <a:gd name="connsiteY6" fmla="*/ 347823 h 541912"/>
              <a:gd name="connsiteX7" fmla="*/ 468100 w 700749"/>
              <a:gd name="connsiteY7" fmla="*/ 365576 h 541912"/>
              <a:gd name="connsiteX8" fmla="*/ 298986 w 700749"/>
              <a:gd name="connsiteY8" fmla="*/ 452469 h 541912"/>
              <a:gd name="connsiteX9" fmla="*/ 226108 w 700749"/>
              <a:gd name="connsiteY9" fmla="*/ 485170 h 541912"/>
              <a:gd name="connsiteX10" fmla="*/ 133610 w 700749"/>
              <a:gd name="connsiteY10" fmla="*/ 516003 h 541912"/>
              <a:gd name="connsiteX11" fmla="*/ 106514 w 700749"/>
              <a:gd name="connsiteY11" fmla="*/ 514135 h 541912"/>
              <a:gd name="connsiteX12" fmla="*/ 58863 w 700749"/>
              <a:gd name="connsiteY12" fmla="*/ 533756 h 541912"/>
              <a:gd name="connsiteX13" fmla="*/ 49520 w 700749"/>
              <a:gd name="connsiteY13" fmla="*/ 546836 h 541912"/>
              <a:gd name="connsiteX14" fmla="*/ 12146 w 700749"/>
              <a:gd name="connsiteY14" fmla="*/ 456206 h 541912"/>
              <a:gd name="connsiteX15" fmla="*/ 0 w 700749"/>
              <a:gd name="connsiteY15" fmla="*/ 402949 h 541912"/>
              <a:gd name="connsiteX16" fmla="*/ 0 w 700749"/>
              <a:gd name="connsiteY16" fmla="*/ 362773 h 541912"/>
              <a:gd name="connsiteX17" fmla="*/ 42979 w 700749"/>
              <a:gd name="connsiteY17" fmla="*/ 170300 h 541912"/>
              <a:gd name="connsiteX18" fmla="*/ 141084 w 700749"/>
              <a:gd name="connsiteY18" fmla="*/ 58180 h 541912"/>
              <a:gd name="connsiteX19" fmla="*/ 289643 w 700749"/>
              <a:gd name="connsiteY19" fmla="*/ 10529 h 541912"/>
              <a:gd name="connsiteX20" fmla="*/ 443808 w 700749"/>
              <a:gd name="connsiteY20" fmla="*/ 5858 h 54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00749" h="541912">
                <a:moveTo>
                  <a:pt x="443808" y="5858"/>
                </a:moveTo>
                <a:cubicBezTo>
                  <a:pt x="458757" y="9595"/>
                  <a:pt x="473707" y="13332"/>
                  <a:pt x="487721" y="18004"/>
                </a:cubicBezTo>
                <a:cubicBezTo>
                  <a:pt x="535372" y="33888"/>
                  <a:pt x="567140" y="68458"/>
                  <a:pt x="590498" y="111437"/>
                </a:cubicBezTo>
                <a:cubicBezTo>
                  <a:pt x="615725" y="160023"/>
                  <a:pt x="644689" y="207674"/>
                  <a:pt x="673654" y="253456"/>
                </a:cubicBezTo>
                <a:cubicBezTo>
                  <a:pt x="691406" y="281486"/>
                  <a:pt x="695143" y="304844"/>
                  <a:pt x="698881" y="340349"/>
                </a:cubicBezTo>
                <a:cubicBezTo>
                  <a:pt x="699815" y="345955"/>
                  <a:pt x="704487" y="357167"/>
                  <a:pt x="697012" y="355298"/>
                </a:cubicBezTo>
                <a:cubicBezTo>
                  <a:pt x="685800" y="352495"/>
                  <a:pt x="654967" y="348758"/>
                  <a:pt x="641886" y="347823"/>
                </a:cubicBezTo>
                <a:cubicBezTo>
                  <a:pt x="600776" y="344086"/>
                  <a:pt x="521357" y="344086"/>
                  <a:pt x="468100" y="365576"/>
                </a:cubicBezTo>
                <a:cubicBezTo>
                  <a:pt x="408303" y="390803"/>
                  <a:pt x="358784" y="427242"/>
                  <a:pt x="298986" y="452469"/>
                </a:cubicBezTo>
                <a:cubicBezTo>
                  <a:pt x="276562" y="461812"/>
                  <a:pt x="249467" y="477696"/>
                  <a:pt x="226108" y="485170"/>
                </a:cubicBezTo>
                <a:cubicBezTo>
                  <a:pt x="196210" y="499185"/>
                  <a:pt x="164442" y="505726"/>
                  <a:pt x="133610" y="516003"/>
                </a:cubicBezTo>
                <a:cubicBezTo>
                  <a:pt x="126135" y="516938"/>
                  <a:pt x="113989" y="515069"/>
                  <a:pt x="106514" y="514135"/>
                </a:cubicBezTo>
                <a:cubicBezTo>
                  <a:pt x="86893" y="512266"/>
                  <a:pt x="71944" y="518806"/>
                  <a:pt x="58863" y="533756"/>
                </a:cubicBezTo>
                <a:cubicBezTo>
                  <a:pt x="54191" y="536559"/>
                  <a:pt x="54191" y="540296"/>
                  <a:pt x="49520" y="546836"/>
                </a:cubicBezTo>
                <a:cubicBezTo>
                  <a:pt x="34570" y="518806"/>
                  <a:pt x="22424" y="485170"/>
                  <a:pt x="12146" y="456206"/>
                </a:cubicBezTo>
                <a:cubicBezTo>
                  <a:pt x="7475" y="443125"/>
                  <a:pt x="0" y="421636"/>
                  <a:pt x="0" y="402949"/>
                </a:cubicBezTo>
                <a:cubicBezTo>
                  <a:pt x="0" y="389868"/>
                  <a:pt x="0" y="375853"/>
                  <a:pt x="0" y="362773"/>
                </a:cubicBezTo>
                <a:cubicBezTo>
                  <a:pt x="3737" y="297369"/>
                  <a:pt x="21490" y="231966"/>
                  <a:pt x="42979" y="170300"/>
                </a:cubicBezTo>
                <a:cubicBezTo>
                  <a:pt x="59797" y="120781"/>
                  <a:pt x="94368" y="82473"/>
                  <a:pt x="141084" y="58180"/>
                </a:cubicBezTo>
                <a:cubicBezTo>
                  <a:pt x="187801" y="33888"/>
                  <a:pt x="238255" y="19873"/>
                  <a:pt x="289643" y="10529"/>
                </a:cubicBezTo>
                <a:cubicBezTo>
                  <a:pt x="340097" y="3055"/>
                  <a:pt x="392420" y="-6289"/>
                  <a:pt x="443808" y="5858"/>
                </a:cubicBezTo>
                <a:close/>
              </a:path>
            </a:pathLst>
          </a:custGeom>
          <a:solidFill>
            <a:schemeClr val="accent4"/>
          </a:solidFill>
          <a:ln w="92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404FBAC6-8ACC-4C47-A47C-87A4B1C384EC}"/>
              </a:ext>
            </a:extLst>
          </p:cNvPr>
          <p:cNvSpPr/>
          <p:nvPr userDrawn="1"/>
        </p:nvSpPr>
        <p:spPr>
          <a:xfrm>
            <a:off x="651779" y="1813868"/>
            <a:ext cx="417429" cy="373711"/>
          </a:xfrm>
          <a:custGeom>
            <a:avLst/>
            <a:gdLst>
              <a:gd name="connsiteX0" fmla="*/ 423532 w 457115"/>
              <a:gd name="connsiteY0" fmla="*/ 813 h 409241"/>
              <a:gd name="connsiteX1" fmla="*/ 420585 w 457115"/>
              <a:gd name="connsiteY1" fmla="*/ 3851 h 409241"/>
              <a:gd name="connsiteX2" fmla="*/ 377128 w 457115"/>
              <a:gd name="connsiteY2" fmla="*/ 17847 h 409241"/>
              <a:gd name="connsiteX3" fmla="*/ 235705 w 457115"/>
              <a:gd name="connsiteY3" fmla="*/ 47310 h 409241"/>
              <a:gd name="connsiteX4" fmla="*/ 159101 w 457115"/>
              <a:gd name="connsiteY4" fmla="*/ 63514 h 409241"/>
              <a:gd name="connsiteX5" fmla="*/ 100175 w 457115"/>
              <a:gd name="connsiteY5" fmla="*/ 77509 h 409241"/>
              <a:gd name="connsiteX6" fmla="*/ 101346 w 457115"/>
              <a:gd name="connsiteY6" fmla="*/ 81608 h 409241"/>
              <a:gd name="connsiteX7" fmla="*/ 3684 w 457115"/>
              <a:gd name="connsiteY7" fmla="*/ 49519 h 409241"/>
              <a:gd name="connsiteX8" fmla="*/ 8103 w 457115"/>
              <a:gd name="connsiteY8" fmla="*/ 59094 h 409241"/>
              <a:gd name="connsiteX9" fmla="*/ 103859 w 457115"/>
              <a:gd name="connsiteY9" fmla="*/ 90768 h 409241"/>
              <a:gd name="connsiteX10" fmla="*/ 103920 w 457115"/>
              <a:gd name="connsiteY10" fmla="*/ 90616 h 409241"/>
              <a:gd name="connsiteX11" fmla="*/ 104595 w 457115"/>
              <a:gd name="connsiteY11" fmla="*/ 92977 h 409241"/>
              <a:gd name="connsiteX12" fmla="*/ 122272 w 457115"/>
              <a:gd name="connsiteY12" fmla="*/ 130542 h 409241"/>
              <a:gd name="connsiteX13" fmla="*/ 136267 w 457115"/>
              <a:gd name="connsiteY13" fmla="*/ 199044 h 409241"/>
              <a:gd name="connsiteX14" fmla="*/ 100911 w 457115"/>
              <a:gd name="connsiteY14" fmla="*/ 267546 h 409241"/>
              <a:gd name="connsiteX15" fmla="*/ 90500 w 457115"/>
              <a:gd name="connsiteY15" fmla="*/ 280880 h 409241"/>
              <a:gd name="connsiteX16" fmla="*/ 0 w 457115"/>
              <a:gd name="connsiteY16" fmla="*/ 233662 h 409241"/>
              <a:gd name="connsiteX17" fmla="*/ 2946 w 457115"/>
              <a:gd name="connsiteY17" fmla="*/ 243974 h 409241"/>
              <a:gd name="connsiteX18" fmla="*/ 85385 w 457115"/>
              <a:gd name="connsiteY18" fmla="*/ 287430 h 409241"/>
              <a:gd name="connsiteX19" fmla="*/ 85167 w 457115"/>
              <a:gd name="connsiteY19" fmla="*/ 287710 h 409241"/>
              <a:gd name="connsiteX20" fmla="*/ 92073 w 457115"/>
              <a:gd name="connsiteY20" fmla="*/ 302902 h 409241"/>
              <a:gd name="connsiteX21" fmla="*/ 245280 w 457115"/>
              <a:gd name="connsiteY21" fmla="*/ 392027 h 409241"/>
              <a:gd name="connsiteX22" fmla="*/ 341035 w 457115"/>
              <a:gd name="connsiteY22" fmla="*/ 408233 h 409241"/>
              <a:gd name="connsiteX23" fmla="*/ 426478 w 457115"/>
              <a:gd name="connsiteY23" fmla="*/ 312478 h 409241"/>
              <a:gd name="connsiteX24" fmla="*/ 455941 w 457115"/>
              <a:gd name="connsiteY24" fmla="*/ 174737 h 409241"/>
              <a:gd name="connsiteX25" fmla="*/ 452259 w 457115"/>
              <a:gd name="connsiteY25" fmla="*/ 77509 h 409241"/>
              <a:gd name="connsiteX26" fmla="*/ 444892 w 457115"/>
              <a:gd name="connsiteY26" fmla="*/ 38471 h 409241"/>
              <a:gd name="connsiteX27" fmla="*/ 428688 w 457115"/>
              <a:gd name="connsiteY27" fmla="*/ 6061 h 409241"/>
              <a:gd name="connsiteX28" fmla="*/ 423532 w 457115"/>
              <a:gd name="connsiteY28" fmla="*/ 813 h 409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57115" h="409241">
                <a:moveTo>
                  <a:pt x="423532" y="813"/>
                </a:moveTo>
                <a:cubicBezTo>
                  <a:pt x="421506" y="-568"/>
                  <a:pt x="419849" y="-568"/>
                  <a:pt x="420585" y="3851"/>
                </a:cubicBezTo>
                <a:cubicBezTo>
                  <a:pt x="418376" y="6061"/>
                  <a:pt x="385967" y="16373"/>
                  <a:pt x="377128" y="17847"/>
                </a:cubicBezTo>
                <a:cubicBezTo>
                  <a:pt x="315992" y="29632"/>
                  <a:pt x="296104" y="34051"/>
                  <a:pt x="235705" y="47310"/>
                </a:cubicBezTo>
                <a:cubicBezTo>
                  <a:pt x="207715" y="53202"/>
                  <a:pt x="187091" y="59095"/>
                  <a:pt x="159101" y="63514"/>
                </a:cubicBezTo>
                <a:cubicBezTo>
                  <a:pt x="142160" y="66460"/>
                  <a:pt x="101648" y="70879"/>
                  <a:pt x="100175" y="77509"/>
                </a:cubicBezTo>
                <a:lnTo>
                  <a:pt x="101346" y="81608"/>
                </a:lnTo>
                <a:lnTo>
                  <a:pt x="3684" y="49519"/>
                </a:lnTo>
                <a:lnTo>
                  <a:pt x="8103" y="59094"/>
                </a:lnTo>
                <a:lnTo>
                  <a:pt x="103859" y="90768"/>
                </a:lnTo>
                <a:lnTo>
                  <a:pt x="103920" y="90616"/>
                </a:lnTo>
                <a:lnTo>
                  <a:pt x="104595" y="92977"/>
                </a:lnTo>
                <a:cubicBezTo>
                  <a:pt x="114906" y="109918"/>
                  <a:pt x="115643" y="115074"/>
                  <a:pt x="122272" y="130542"/>
                </a:cubicBezTo>
                <a:cubicBezTo>
                  <a:pt x="128165" y="146748"/>
                  <a:pt x="137003" y="182103"/>
                  <a:pt x="136267" y="199044"/>
                </a:cubicBezTo>
                <a:cubicBezTo>
                  <a:pt x="134057" y="229980"/>
                  <a:pt x="119326" y="243239"/>
                  <a:pt x="100911" y="267546"/>
                </a:cubicBezTo>
                <a:lnTo>
                  <a:pt x="90500" y="280880"/>
                </a:lnTo>
                <a:lnTo>
                  <a:pt x="0" y="233662"/>
                </a:lnTo>
                <a:lnTo>
                  <a:pt x="2946" y="243974"/>
                </a:lnTo>
                <a:lnTo>
                  <a:pt x="85385" y="287430"/>
                </a:lnTo>
                <a:lnTo>
                  <a:pt x="85167" y="287710"/>
                </a:lnTo>
                <a:cubicBezTo>
                  <a:pt x="82496" y="292958"/>
                  <a:pt x="83601" y="297377"/>
                  <a:pt x="92073" y="302902"/>
                </a:cubicBezTo>
                <a:cubicBezTo>
                  <a:pt x="141423" y="335311"/>
                  <a:pt x="192984" y="363301"/>
                  <a:pt x="245280" y="392027"/>
                </a:cubicBezTo>
                <a:cubicBezTo>
                  <a:pt x="269587" y="405286"/>
                  <a:pt x="310836" y="411915"/>
                  <a:pt x="341035" y="408233"/>
                </a:cubicBezTo>
                <a:cubicBezTo>
                  <a:pt x="361660" y="390555"/>
                  <a:pt x="410274" y="352989"/>
                  <a:pt x="426478" y="312478"/>
                </a:cubicBezTo>
                <a:cubicBezTo>
                  <a:pt x="436791" y="285961"/>
                  <a:pt x="455205" y="193888"/>
                  <a:pt x="455941" y="174737"/>
                </a:cubicBezTo>
                <a:cubicBezTo>
                  <a:pt x="458151" y="142328"/>
                  <a:pt x="457414" y="109918"/>
                  <a:pt x="452259" y="77509"/>
                </a:cubicBezTo>
                <a:cubicBezTo>
                  <a:pt x="450049" y="61304"/>
                  <a:pt x="449312" y="53939"/>
                  <a:pt x="444892" y="38471"/>
                </a:cubicBezTo>
                <a:cubicBezTo>
                  <a:pt x="443420" y="32578"/>
                  <a:pt x="433844" y="11217"/>
                  <a:pt x="428688" y="6061"/>
                </a:cubicBezTo>
                <a:cubicBezTo>
                  <a:pt x="427951" y="4956"/>
                  <a:pt x="425557" y="2194"/>
                  <a:pt x="423532" y="81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29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D6B5CDEA-270F-469C-AEA0-1211E082A36F}"/>
              </a:ext>
            </a:extLst>
          </p:cNvPr>
          <p:cNvSpPr/>
          <p:nvPr userDrawn="1"/>
        </p:nvSpPr>
        <p:spPr>
          <a:xfrm>
            <a:off x="628910" y="1805276"/>
            <a:ext cx="60537" cy="87442"/>
          </a:xfrm>
          <a:custGeom>
            <a:avLst/>
            <a:gdLst>
              <a:gd name="connsiteX0" fmla="*/ 92499 w 84089"/>
              <a:gd name="connsiteY0" fmla="*/ 0 h 121463"/>
              <a:gd name="connsiteX1" fmla="*/ 92499 w 84089"/>
              <a:gd name="connsiteY1" fmla="*/ 96236 h 121463"/>
              <a:gd name="connsiteX2" fmla="*/ 72878 w 84089"/>
              <a:gd name="connsiteY2" fmla="*/ 128004 h 121463"/>
              <a:gd name="connsiteX3" fmla="*/ 41111 w 84089"/>
              <a:gd name="connsiteY3" fmla="*/ 76615 h 121463"/>
              <a:gd name="connsiteX4" fmla="*/ 0 w 84089"/>
              <a:gd name="connsiteY4" fmla="*/ 31767 h 121463"/>
              <a:gd name="connsiteX5" fmla="*/ 92499 w 84089"/>
              <a:gd name="connsiteY5" fmla="*/ 0 h 121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089" h="121463">
                <a:moveTo>
                  <a:pt x="92499" y="0"/>
                </a:moveTo>
                <a:cubicBezTo>
                  <a:pt x="92499" y="31767"/>
                  <a:pt x="92499" y="63535"/>
                  <a:pt x="92499" y="96236"/>
                </a:cubicBezTo>
                <a:cubicBezTo>
                  <a:pt x="92499" y="128004"/>
                  <a:pt x="88762" y="128004"/>
                  <a:pt x="72878" y="128004"/>
                </a:cubicBezTo>
                <a:cubicBezTo>
                  <a:pt x="60732" y="126135"/>
                  <a:pt x="43914" y="81287"/>
                  <a:pt x="41111" y="76615"/>
                </a:cubicBezTo>
                <a:cubicBezTo>
                  <a:pt x="29899" y="58863"/>
                  <a:pt x="17752" y="42979"/>
                  <a:pt x="0" y="31767"/>
                </a:cubicBezTo>
                <a:cubicBezTo>
                  <a:pt x="30833" y="20555"/>
                  <a:pt x="61666" y="10278"/>
                  <a:pt x="92499" y="0"/>
                </a:cubicBezTo>
                <a:close/>
              </a:path>
            </a:pathLst>
          </a:custGeom>
          <a:solidFill>
            <a:srgbClr val="9A6217"/>
          </a:solidFill>
          <a:ln w="92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086642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653152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4452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 dirty="0">
              <a:solidFill>
                <a:prstClr val="black">
                  <a:lumMod val="85000"/>
                  <a:lumOff val="1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www.allppt.com</a:t>
            </a:r>
            <a:endParaRPr lang="ko-KR" altLang="en-US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559125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648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552" y="34314"/>
            <a:ext cx="10128448" cy="1035373"/>
          </a:xfrm>
          <a:prstGeom prst="rect">
            <a:avLst/>
          </a:prstGeom>
        </p:spPr>
        <p:txBody>
          <a:bodyPr anchor="ctr"/>
          <a:lstStyle>
            <a:lvl1pPr algn="l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56621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2288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9819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680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08서울남산체 B" panose="02020603020101020101" pitchFamily="18" charset="-127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4010843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0706" y="395209"/>
            <a:ext cx="11617291" cy="2908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58527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3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628466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6398405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6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9168343" y="2695539"/>
            <a:ext cx="2161509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ea typeface="08서울남산체 B" panose="02020603020101020101" pitchFamily="18" charset="-127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03068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540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1708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315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279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chart" Target="../charts/chart2.xml"/><Relationship Id="rId7" Type="http://schemas.openxmlformats.org/officeDocument/2006/relationships/image" Target="../media/image5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10" Type="http://schemas.openxmlformats.org/officeDocument/2006/relationships/image" Target="../media/image54.png"/><Relationship Id="rId4" Type="http://schemas.openxmlformats.org/officeDocument/2006/relationships/chart" Target="../charts/chart3.xml"/><Relationship Id="rId9" Type="http://schemas.openxmlformats.org/officeDocument/2006/relationships/image" Target="../media/image5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6.png"/><Relationship Id="rId7" Type="http://schemas.openxmlformats.org/officeDocument/2006/relationships/image" Target="../media/image59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5" Type="http://schemas.microsoft.com/office/2007/relationships/hdphoto" Target="../media/hdphoto3.wdp"/><Relationship Id="rId10" Type="http://schemas.openxmlformats.org/officeDocument/2006/relationships/image" Target="../media/image62.png"/><Relationship Id="rId4" Type="http://schemas.openxmlformats.org/officeDocument/2006/relationships/image" Target="../media/image57.png"/><Relationship Id="rId9" Type="http://schemas.openxmlformats.org/officeDocument/2006/relationships/image" Target="../media/image6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65.png"/><Relationship Id="rId7" Type="http://schemas.openxmlformats.org/officeDocument/2006/relationships/image" Target="../media/image67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2.xml"/><Relationship Id="rId6" Type="http://schemas.microsoft.com/office/2007/relationships/hdphoto" Target="../media/hdphoto5.wdp"/><Relationship Id="rId5" Type="http://schemas.openxmlformats.org/officeDocument/2006/relationships/image" Target="../media/image66.png"/><Relationship Id="rId4" Type="http://schemas.microsoft.com/office/2007/relationships/hdphoto" Target="../media/hdphoto4.wdp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microsoft.com/office/2007/relationships/hdphoto" Target="../media/hdphoto10.wdp"/><Relationship Id="rId18" Type="http://schemas.openxmlformats.org/officeDocument/2006/relationships/image" Target="../media/image133.png"/><Relationship Id="rId3" Type="http://schemas.openxmlformats.org/officeDocument/2006/relationships/image" Target="../media/image122.png"/><Relationship Id="rId7" Type="http://schemas.openxmlformats.org/officeDocument/2006/relationships/image" Target="../media/image124.png"/><Relationship Id="rId12" Type="http://schemas.openxmlformats.org/officeDocument/2006/relationships/image" Target="../media/image128.png"/><Relationship Id="rId17" Type="http://schemas.openxmlformats.org/officeDocument/2006/relationships/image" Target="../media/image132.png"/><Relationship Id="rId2" Type="http://schemas.openxmlformats.org/officeDocument/2006/relationships/image" Target="../media/image121.png"/><Relationship Id="rId16" Type="http://schemas.openxmlformats.org/officeDocument/2006/relationships/image" Target="../media/image131.png"/><Relationship Id="rId1" Type="http://schemas.openxmlformats.org/officeDocument/2006/relationships/slideLayout" Target="../slideLayouts/slideLayout53.xml"/><Relationship Id="rId6" Type="http://schemas.microsoft.com/office/2007/relationships/hdphoto" Target="../media/hdphoto8.wdp"/><Relationship Id="rId11" Type="http://schemas.microsoft.com/office/2007/relationships/hdphoto" Target="../media/hdphoto9.wdp"/><Relationship Id="rId5" Type="http://schemas.openxmlformats.org/officeDocument/2006/relationships/image" Target="../media/image123.png"/><Relationship Id="rId15" Type="http://schemas.openxmlformats.org/officeDocument/2006/relationships/image" Target="../media/image130.png"/><Relationship Id="rId10" Type="http://schemas.openxmlformats.org/officeDocument/2006/relationships/image" Target="../media/image127.png"/><Relationship Id="rId19" Type="http://schemas.openxmlformats.org/officeDocument/2006/relationships/image" Target="../media/image134.png"/><Relationship Id="rId4" Type="http://schemas.microsoft.com/office/2007/relationships/hdphoto" Target="../media/hdphoto7.wdp"/><Relationship Id="rId9" Type="http://schemas.openxmlformats.org/officeDocument/2006/relationships/image" Target="../media/image126.png"/><Relationship Id="rId14" Type="http://schemas.openxmlformats.org/officeDocument/2006/relationships/image" Target="../media/image129.gif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2" Type="http://schemas.openxmlformats.org/officeDocument/2006/relationships/image" Target="../media/image135.gif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39.png"/><Relationship Id="rId5" Type="http://schemas.openxmlformats.org/officeDocument/2006/relationships/image" Target="../media/image138.gif"/><Relationship Id="rId10" Type="http://schemas.microsoft.com/office/2007/relationships/hdphoto" Target="../media/hdphoto11.wdp"/><Relationship Id="rId4" Type="http://schemas.openxmlformats.org/officeDocument/2006/relationships/image" Target="../media/image137.png"/><Relationship Id="rId9" Type="http://schemas.openxmlformats.org/officeDocument/2006/relationships/image" Target="../media/image142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7507349-1603-4835-A7E9-859C7AC1BB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7507349-1603-4835-A7E9-859C7AC1B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4CFC9D7C-7287-4CB2-AD36-BEA7D3B1C8E1}"/>
              </a:ext>
            </a:extLst>
          </p:cNvPr>
          <p:cNvSpPr/>
          <p:nvPr/>
        </p:nvSpPr>
        <p:spPr>
          <a:xfrm>
            <a:off x="0" y="1043755"/>
            <a:ext cx="12192000" cy="5814245"/>
          </a:xfrm>
          <a:custGeom>
            <a:avLst/>
            <a:gdLst>
              <a:gd name="connsiteX0" fmla="*/ 4768964 w 12192000"/>
              <a:gd name="connsiteY0" fmla="*/ 1178 h 5814245"/>
              <a:gd name="connsiteX1" fmla="*/ 4868884 w 12192000"/>
              <a:gd name="connsiteY1" fmla="*/ 1274 h 5814245"/>
              <a:gd name="connsiteX2" fmla="*/ 6241130 w 12192000"/>
              <a:gd name="connsiteY2" fmla="*/ 2034191 h 5814245"/>
              <a:gd name="connsiteX3" fmla="*/ 6254151 w 12192000"/>
              <a:gd name="connsiteY3" fmla="*/ 2116718 h 5814245"/>
              <a:gd name="connsiteX4" fmla="*/ 6270171 w 12192000"/>
              <a:gd name="connsiteY4" fmla="*/ 2120359 h 5814245"/>
              <a:gd name="connsiteX5" fmla="*/ 7315200 w 12192000"/>
              <a:gd name="connsiteY5" fmla="*/ 4515216 h 5814245"/>
              <a:gd name="connsiteX6" fmla="*/ 10101943 w 12192000"/>
              <a:gd name="connsiteY6" fmla="*/ 5110302 h 5814245"/>
              <a:gd name="connsiteX7" fmla="*/ 11843657 w 12192000"/>
              <a:gd name="connsiteY7" fmla="*/ 3542759 h 5814245"/>
              <a:gd name="connsiteX8" fmla="*/ 12138385 w 12192000"/>
              <a:gd name="connsiteY8" fmla="*/ 3664027 h 5814245"/>
              <a:gd name="connsiteX9" fmla="*/ 12192000 w 12192000"/>
              <a:gd name="connsiteY9" fmla="*/ 3706925 h 5814245"/>
              <a:gd name="connsiteX10" fmla="*/ 12192000 w 12192000"/>
              <a:gd name="connsiteY10" fmla="*/ 5814245 h 5814245"/>
              <a:gd name="connsiteX11" fmla="*/ 0 w 12192000"/>
              <a:gd name="connsiteY11" fmla="*/ 5814245 h 5814245"/>
              <a:gd name="connsiteX12" fmla="*/ 0 w 12192000"/>
              <a:gd name="connsiteY12" fmla="*/ 2167841 h 5814245"/>
              <a:gd name="connsiteX13" fmla="*/ 28152 w 12192000"/>
              <a:gd name="connsiteY13" fmla="*/ 2153336 h 5814245"/>
              <a:gd name="connsiteX14" fmla="*/ 4768964 w 12192000"/>
              <a:gd name="connsiteY14" fmla="*/ 1178 h 58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5814245">
                <a:moveTo>
                  <a:pt x="4768964" y="1178"/>
                </a:moveTo>
                <a:cubicBezTo>
                  <a:pt x="4803939" y="-411"/>
                  <a:pt x="4837282" y="-407"/>
                  <a:pt x="4868884" y="1274"/>
                </a:cubicBezTo>
                <a:cubicBezTo>
                  <a:pt x="5745309" y="47909"/>
                  <a:pt x="6091253" y="1155499"/>
                  <a:pt x="6241130" y="2034191"/>
                </a:cubicBezTo>
                <a:lnTo>
                  <a:pt x="6254151" y="2116718"/>
                </a:lnTo>
                <a:lnTo>
                  <a:pt x="6270171" y="2120359"/>
                </a:lnTo>
                <a:cubicBezTo>
                  <a:pt x="6717696" y="2294530"/>
                  <a:pt x="6676573" y="4016892"/>
                  <a:pt x="7315200" y="4515216"/>
                </a:cubicBezTo>
                <a:cubicBezTo>
                  <a:pt x="7953829" y="5013540"/>
                  <a:pt x="9347200" y="5272378"/>
                  <a:pt x="10101943" y="5110302"/>
                </a:cubicBezTo>
                <a:cubicBezTo>
                  <a:pt x="10856686" y="4948226"/>
                  <a:pt x="11350171" y="3520988"/>
                  <a:pt x="11843657" y="3542759"/>
                </a:cubicBezTo>
                <a:cubicBezTo>
                  <a:pt x="11936186" y="3546841"/>
                  <a:pt x="12036453" y="3591235"/>
                  <a:pt x="12138385" y="3664027"/>
                </a:cubicBezTo>
                <a:lnTo>
                  <a:pt x="12192000" y="3706925"/>
                </a:lnTo>
                <a:lnTo>
                  <a:pt x="12192000" y="5814245"/>
                </a:lnTo>
                <a:lnTo>
                  <a:pt x="0" y="5814245"/>
                </a:lnTo>
                <a:lnTo>
                  <a:pt x="0" y="2167841"/>
                </a:lnTo>
                <a:lnTo>
                  <a:pt x="28152" y="2153336"/>
                </a:lnTo>
                <a:cubicBezTo>
                  <a:pt x="1030980" y="1629236"/>
                  <a:pt x="3684701" y="50421"/>
                  <a:pt x="4768964" y="1178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78810EA9-C32E-4282-9010-D4A8D59E4692}"/>
              </a:ext>
            </a:extLst>
          </p:cNvPr>
          <p:cNvSpPr/>
          <p:nvPr/>
        </p:nvSpPr>
        <p:spPr>
          <a:xfrm>
            <a:off x="0" y="-43132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xmlns="" id="{B84DF823-4F38-465C-A86A-3025C9F0BEC5}"/>
              </a:ext>
            </a:extLst>
          </p:cNvPr>
          <p:cNvSpPr/>
          <p:nvPr/>
        </p:nvSpPr>
        <p:spPr>
          <a:xfrm>
            <a:off x="8308402" y="0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EE016D9A-3D4D-403B-9F7E-58579D48A7FB}"/>
              </a:ext>
            </a:extLst>
          </p:cNvPr>
          <p:cNvSpPr txBox="1"/>
          <p:nvPr/>
        </p:nvSpPr>
        <p:spPr>
          <a:xfrm>
            <a:off x="1103366" y="3049212"/>
            <a:ext cx="5112302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4400" b="1" dirty="0">
                <a:solidFill>
                  <a:srgbClr val="44436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삼성카드 데이터 분석 마케팅 공모전</a:t>
            </a:r>
            <a:endParaRPr lang="en-US" altLang="ko-KR" sz="4400" b="1" dirty="0">
              <a:solidFill>
                <a:srgbClr val="44436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444361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Track 2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D31B99DC-F2D7-4B3D-A7E0-13D726E85C6B}"/>
              </a:ext>
            </a:extLst>
          </p:cNvPr>
          <p:cNvGrpSpPr/>
          <p:nvPr/>
        </p:nvGrpSpPr>
        <p:grpSpPr>
          <a:xfrm>
            <a:off x="202274" y="254454"/>
            <a:ext cx="304800" cy="226242"/>
            <a:chOff x="202274" y="254454"/>
            <a:chExt cx="304800" cy="226242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xmlns="" id="{7B9D80AF-CBDC-4F06-BFB3-903F680BDF9D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6489337C-7451-48C4-825E-B67F0888466E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EFE43B90-3247-49EF-B026-8064CA7C229B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CF7E80D2-CAC5-490A-9A62-E12576AF0108}"/>
              </a:ext>
            </a:extLst>
          </p:cNvPr>
          <p:cNvGrpSpPr/>
          <p:nvPr/>
        </p:nvGrpSpPr>
        <p:grpSpPr>
          <a:xfrm flipH="1">
            <a:off x="11649736" y="6399666"/>
            <a:ext cx="304800" cy="226242"/>
            <a:chOff x="202274" y="254454"/>
            <a:chExt cx="304800" cy="226242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xmlns="" id="{836B7D85-FB32-47EA-9B4E-9FB586C13AE2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xmlns="" id="{675630C6-4BFA-4084-8C4D-D1324E72D46D}"/>
                </a:ext>
              </a:extLst>
            </p:cNvPr>
            <p:cNvCxnSpPr/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xmlns="" id="{3303E8AE-2057-4400-9429-67EC5951A3FF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217">
            <a:extLst>
              <a:ext uri="{FF2B5EF4-FFF2-40B4-BE49-F238E27FC236}">
                <a16:creationId xmlns:a16="http://schemas.microsoft.com/office/drawing/2014/main" xmlns="" id="{81CBC0E1-5CBD-40D8-9CD3-1F49F2135446}"/>
              </a:ext>
            </a:extLst>
          </p:cNvPr>
          <p:cNvGrpSpPr>
            <a:grpSpLocks/>
          </p:cNvGrpSpPr>
          <p:nvPr/>
        </p:nvGrpSpPr>
        <p:grpSpPr bwMode="auto">
          <a:xfrm>
            <a:off x="5684037" y="1227133"/>
            <a:ext cx="5248729" cy="5261220"/>
            <a:chOff x="3138" y="-154"/>
            <a:chExt cx="4202" cy="4212"/>
          </a:xfrm>
        </p:grpSpPr>
        <p:sp>
          <p:nvSpPr>
            <p:cNvPr id="109" name="Freeform 20">
              <a:extLst>
                <a:ext uri="{FF2B5EF4-FFF2-40B4-BE49-F238E27FC236}">
                  <a16:creationId xmlns:a16="http://schemas.microsoft.com/office/drawing/2014/main" xmlns="" id="{1B460361-3295-4CAE-860A-D9B8EF309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4" y="2633"/>
              <a:ext cx="1847" cy="727"/>
            </a:xfrm>
            <a:custGeom>
              <a:avLst/>
              <a:gdLst>
                <a:gd name="T0" fmla="*/ 38 w 1847"/>
                <a:gd name="T1" fmla="*/ 727 h 727"/>
                <a:gd name="T2" fmla="*/ 1811 w 1847"/>
                <a:gd name="T3" fmla="*/ 727 h 727"/>
                <a:gd name="T4" fmla="*/ 1847 w 1847"/>
                <a:gd name="T5" fmla="*/ 0 h 727"/>
                <a:gd name="T6" fmla="*/ 0 w 1847"/>
                <a:gd name="T7" fmla="*/ 0 h 727"/>
                <a:gd name="T8" fmla="*/ 38 w 1847"/>
                <a:gd name="T9" fmla="*/ 727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7" h="727">
                  <a:moveTo>
                    <a:pt x="38" y="727"/>
                  </a:moveTo>
                  <a:lnTo>
                    <a:pt x="1811" y="727"/>
                  </a:lnTo>
                  <a:lnTo>
                    <a:pt x="1847" y="0"/>
                  </a:lnTo>
                  <a:lnTo>
                    <a:pt x="0" y="0"/>
                  </a:lnTo>
                  <a:lnTo>
                    <a:pt x="38" y="727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0" name="Freeform 21">
              <a:extLst>
                <a:ext uri="{FF2B5EF4-FFF2-40B4-BE49-F238E27FC236}">
                  <a16:creationId xmlns:a16="http://schemas.microsoft.com/office/drawing/2014/main" xmlns="" id="{7D975171-8A18-41DF-AF05-E72752EB7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5" y="2714"/>
              <a:ext cx="771" cy="252"/>
            </a:xfrm>
            <a:custGeom>
              <a:avLst/>
              <a:gdLst>
                <a:gd name="T0" fmla="*/ 755 w 771"/>
                <a:gd name="T1" fmla="*/ 252 h 252"/>
                <a:gd name="T2" fmla="*/ 14 w 771"/>
                <a:gd name="T3" fmla="*/ 252 h 252"/>
                <a:gd name="T4" fmla="*/ 0 w 771"/>
                <a:gd name="T5" fmla="*/ 0 h 252"/>
                <a:gd name="T6" fmla="*/ 771 w 771"/>
                <a:gd name="T7" fmla="*/ 0 h 252"/>
                <a:gd name="T8" fmla="*/ 755 w 771"/>
                <a:gd name="T9" fmla="*/ 252 h 252"/>
                <a:gd name="T10" fmla="*/ 23 w 771"/>
                <a:gd name="T11" fmla="*/ 242 h 252"/>
                <a:gd name="T12" fmla="*/ 748 w 771"/>
                <a:gd name="T13" fmla="*/ 242 h 252"/>
                <a:gd name="T14" fmla="*/ 762 w 771"/>
                <a:gd name="T15" fmla="*/ 10 h 252"/>
                <a:gd name="T16" fmla="*/ 9 w 771"/>
                <a:gd name="T17" fmla="*/ 10 h 252"/>
                <a:gd name="T18" fmla="*/ 23 w 771"/>
                <a:gd name="T19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1" h="252">
                  <a:moveTo>
                    <a:pt x="755" y="252"/>
                  </a:moveTo>
                  <a:lnTo>
                    <a:pt x="14" y="252"/>
                  </a:lnTo>
                  <a:lnTo>
                    <a:pt x="0" y="0"/>
                  </a:lnTo>
                  <a:lnTo>
                    <a:pt x="771" y="0"/>
                  </a:lnTo>
                  <a:lnTo>
                    <a:pt x="755" y="252"/>
                  </a:lnTo>
                  <a:close/>
                  <a:moveTo>
                    <a:pt x="23" y="242"/>
                  </a:moveTo>
                  <a:lnTo>
                    <a:pt x="748" y="242"/>
                  </a:lnTo>
                  <a:lnTo>
                    <a:pt x="762" y="10"/>
                  </a:lnTo>
                  <a:lnTo>
                    <a:pt x="9" y="10"/>
                  </a:lnTo>
                  <a:lnTo>
                    <a:pt x="23" y="24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1" name="Freeform 22">
              <a:extLst>
                <a:ext uri="{FF2B5EF4-FFF2-40B4-BE49-F238E27FC236}">
                  <a16:creationId xmlns:a16="http://schemas.microsoft.com/office/drawing/2014/main" xmlns="" id="{105B9A83-316E-466F-967B-FAC39DE5DC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8" y="3030"/>
              <a:ext cx="724" cy="228"/>
            </a:xfrm>
            <a:custGeom>
              <a:avLst/>
              <a:gdLst>
                <a:gd name="T0" fmla="*/ 710 w 724"/>
                <a:gd name="T1" fmla="*/ 228 h 228"/>
                <a:gd name="T2" fmla="*/ 9 w 724"/>
                <a:gd name="T3" fmla="*/ 228 h 228"/>
                <a:gd name="T4" fmla="*/ 0 w 724"/>
                <a:gd name="T5" fmla="*/ 0 h 228"/>
                <a:gd name="T6" fmla="*/ 724 w 724"/>
                <a:gd name="T7" fmla="*/ 0 h 228"/>
                <a:gd name="T8" fmla="*/ 710 w 724"/>
                <a:gd name="T9" fmla="*/ 228 h 228"/>
                <a:gd name="T10" fmla="*/ 19 w 724"/>
                <a:gd name="T11" fmla="*/ 218 h 228"/>
                <a:gd name="T12" fmla="*/ 700 w 724"/>
                <a:gd name="T13" fmla="*/ 218 h 228"/>
                <a:gd name="T14" fmla="*/ 715 w 724"/>
                <a:gd name="T15" fmla="*/ 7 h 228"/>
                <a:gd name="T16" fmla="*/ 9 w 724"/>
                <a:gd name="T17" fmla="*/ 7 h 228"/>
                <a:gd name="T18" fmla="*/ 19 w 724"/>
                <a:gd name="T19" fmla="*/ 21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228">
                  <a:moveTo>
                    <a:pt x="710" y="228"/>
                  </a:moveTo>
                  <a:lnTo>
                    <a:pt x="9" y="228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10" y="228"/>
                  </a:lnTo>
                  <a:close/>
                  <a:moveTo>
                    <a:pt x="19" y="218"/>
                  </a:moveTo>
                  <a:lnTo>
                    <a:pt x="700" y="218"/>
                  </a:lnTo>
                  <a:lnTo>
                    <a:pt x="715" y="7"/>
                  </a:lnTo>
                  <a:lnTo>
                    <a:pt x="9" y="7"/>
                  </a:lnTo>
                  <a:lnTo>
                    <a:pt x="19" y="218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2" name="Freeform 23">
              <a:extLst>
                <a:ext uri="{FF2B5EF4-FFF2-40B4-BE49-F238E27FC236}">
                  <a16:creationId xmlns:a16="http://schemas.microsoft.com/office/drawing/2014/main" xmlns="" id="{9514E5A9-0D4B-41D5-82DC-369477A7D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0" y="2807"/>
              <a:ext cx="140" cy="61"/>
            </a:xfrm>
            <a:custGeom>
              <a:avLst/>
              <a:gdLst>
                <a:gd name="T0" fmla="*/ 131 w 140"/>
                <a:gd name="T1" fmla="*/ 61 h 61"/>
                <a:gd name="T2" fmla="*/ 7 w 140"/>
                <a:gd name="T3" fmla="*/ 61 h 61"/>
                <a:gd name="T4" fmla="*/ 0 w 140"/>
                <a:gd name="T5" fmla="*/ 0 h 61"/>
                <a:gd name="T6" fmla="*/ 140 w 140"/>
                <a:gd name="T7" fmla="*/ 0 h 61"/>
                <a:gd name="T8" fmla="*/ 131 w 140"/>
                <a:gd name="T9" fmla="*/ 61 h 61"/>
                <a:gd name="T10" fmla="*/ 14 w 140"/>
                <a:gd name="T11" fmla="*/ 52 h 61"/>
                <a:gd name="T12" fmla="*/ 123 w 140"/>
                <a:gd name="T13" fmla="*/ 52 h 61"/>
                <a:gd name="T14" fmla="*/ 128 w 140"/>
                <a:gd name="T15" fmla="*/ 9 h 61"/>
                <a:gd name="T16" fmla="*/ 9 w 140"/>
                <a:gd name="T17" fmla="*/ 9 h 61"/>
                <a:gd name="T18" fmla="*/ 14 w 140"/>
                <a:gd name="T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61">
                  <a:moveTo>
                    <a:pt x="131" y="61"/>
                  </a:moveTo>
                  <a:lnTo>
                    <a:pt x="7" y="61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1" y="61"/>
                  </a:lnTo>
                  <a:close/>
                  <a:moveTo>
                    <a:pt x="14" y="52"/>
                  </a:moveTo>
                  <a:lnTo>
                    <a:pt x="123" y="52"/>
                  </a:lnTo>
                  <a:lnTo>
                    <a:pt x="128" y="9"/>
                  </a:lnTo>
                  <a:lnTo>
                    <a:pt x="9" y="9"/>
                  </a:lnTo>
                  <a:lnTo>
                    <a:pt x="14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3" name="Freeform 24">
              <a:extLst>
                <a:ext uri="{FF2B5EF4-FFF2-40B4-BE49-F238E27FC236}">
                  <a16:creationId xmlns:a16="http://schemas.microsoft.com/office/drawing/2014/main" xmlns="" id="{7DCEAD87-3BFA-4E5C-B20D-C641F5662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0" y="3113"/>
              <a:ext cx="140" cy="59"/>
            </a:xfrm>
            <a:custGeom>
              <a:avLst/>
              <a:gdLst>
                <a:gd name="T0" fmla="*/ 131 w 140"/>
                <a:gd name="T1" fmla="*/ 59 h 59"/>
                <a:gd name="T2" fmla="*/ 7 w 140"/>
                <a:gd name="T3" fmla="*/ 59 h 59"/>
                <a:gd name="T4" fmla="*/ 0 w 140"/>
                <a:gd name="T5" fmla="*/ 0 h 59"/>
                <a:gd name="T6" fmla="*/ 140 w 140"/>
                <a:gd name="T7" fmla="*/ 0 h 59"/>
                <a:gd name="T8" fmla="*/ 131 w 140"/>
                <a:gd name="T9" fmla="*/ 59 h 59"/>
                <a:gd name="T10" fmla="*/ 14 w 140"/>
                <a:gd name="T11" fmla="*/ 52 h 59"/>
                <a:gd name="T12" fmla="*/ 123 w 140"/>
                <a:gd name="T13" fmla="*/ 52 h 59"/>
                <a:gd name="T14" fmla="*/ 128 w 140"/>
                <a:gd name="T15" fmla="*/ 9 h 59"/>
                <a:gd name="T16" fmla="*/ 9 w 140"/>
                <a:gd name="T17" fmla="*/ 9 h 59"/>
                <a:gd name="T18" fmla="*/ 14 w 140"/>
                <a:gd name="T19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59">
                  <a:moveTo>
                    <a:pt x="131" y="5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1" y="59"/>
                  </a:lnTo>
                  <a:close/>
                  <a:moveTo>
                    <a:pt x="14" y="52"/>
                  </a:moveTo>
                  <a:lnTo>
                    <a:pt x="123" y="52"/>
                  </a:lnTo>
                  <a:lnTo>
                    <a:pt x="128" y="9"/>
                  </a:lnTo>
                  <a:lnTo>
                    <a:pt x="9" y="9"/>
                  </a:lnTo>
                  <a:lnTo>
                    <a:pt x="14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4" name="Freeform 25">
              <a:extLst>
                <a:ext uri="{FF2B5EF4-FFF2-40B4-BE49-F238E27FC236}">
                  <a16:creationId xmlns:a16="http://schemas.microsoft.com/office/drawing/2014/main" xmlns="" id="{FD3D33F1-61D4-48A1-9020-9EA0C8D486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3" y="2714"/>
              <a:ext cx="772" cy="252"/>
            </a:xfrm>
            <a:custGeom>
              <a:avLst/>
              <a:gdLst>
                <a:gd name="T0" fmla="*/ 755 w 772"/>
                <a:gd name="T1" fmla="*/ 252 h 252"/>
                <a:gd name="T2" fmla="*/ 15 w 772"/>
                <a:gd name="T3" fmla="*/ 252 h 252"/>
                <a:gd name="T4" fmla="*/ 0 w 772"/>
                <a:gd name="T5" fmla="*/ 0 h 252"/>
                <a:gd name="T6" fmla="*/ 772 w 772"/>
                <a:gd name="T7" fmla="*/ 0 h 252"/>
                <a:gd name="T8" fmla="*/ 755 w 772"/>
                <a:gd name="T9" fmla="*/ 252 h 252"/>
                <a:gd name="T10" fmla="*/ 22 w 772"/>
                <a:gd name="T11" fmla="*/ 242 h 252"/>
                <a:gd name="T12" fmla="*/ 748 w 772"/>
                <a:gd name="T13" fmla="*/ 242 h 252"/>
                <a:gd name="T14" fmla="*/ 763 w 772"/>
                <a:gd name="T15" fmla="*/ 10 h 252"/>
                <a:gd name="T16" fmla="*/ 10 w 772"/>
                <a:gd name="T17" fmla="*/ 10 h 252"/>
                <a:gd name="T18" fmla="*/ 22 w 772"/>
                <a:gd name="T19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2" h="252">
                  <a:moveTo>
                    <a:pt x="755" y="252"/>
                  </a:moveTo>
                  <a:lnTo>
                    <a:pt x="15" y="252"/>
                  </a:lnTo>
                  <a:lnTo>
                    <a:pt x="0" y="0"/>
                  </a:lnTo>
                  <a:lnTo>
                    <a:pt x="772" y="0"/>
                  </a:lnTo>
                  <a:lnTo>
                    <a:pt x="755" y="252"/>
                  </a:lnTo>
                  <a:close/>
                  <a:moveTo>
                    <a:pt x="22" y="242"/>
                  </a:moveTo>
                  <a:lnTo>
                    <a:pt x="748" y="242"/>
                  </a:lnTo>
                  <a:lnTo>
                    <a:pt x="763" y="10"/>
                  </a:lnTo>
                  <a:lnTo>
                    <a:pt x="10" y="10"/>
                  </a:lnTo>
                  <a:lnTo>
                    <a:pt x="22" y="24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5" name="Freeform 26">
              <a:extLst>
                <a:ext uri="{FF2B5EF4-FFF2-40B4-BE49-F238E27FC236}">
                  <a16:creationId xmlns:a16="http://schemas.microsoft.com/office/drawing/2014/main" xmlns="" id="{49AD9E3E-5E9B-4AE3-9EBB-AE21877379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4" y="3030"/>
              <a:ext cx="724" cy="228"/>
            </a:xfrm>
            <a:custGeom>
              <a:avLst/>
              <a:gdLst>
                <a:gd name="T0" fmla="*/ 710 w 724"/>
                <a:gd name="T1" fmla="*/ 228 h 228"/>
                <a:gd name="T2" fmla="*/ 12 w 724"/>
                <a:gd name="T3" fmla="*/ 228 h 228"/>
                <a:gd name="T4" fmla="*/ 0 w 724"/>
                <a:gd name="T5" fmla="*/ 0 h 228"/>
                <a:gd name="T6" fmla="*/ 724 w 724"/>
                <a:gd name="T7" fmla="*/ 0 h 228"/>
                <a:gd name="T8" fmla="*/ 710 w 724"/>
                <a:gd name="T9" fmla="*/ 228 h 228"/>
                <a:gd name="T10" fmla="*/ 22 w 724"/>
                <a:gd name="T11" fmla="*/ 218 h 228"/>
                <a:gd name="T12" fmla="*/ 703 w 724"/>
                <a:gd name="T13" fmla="*/ 218 h 228"/>
                <a:gd name="T14" fmla="*/ 715 w 724"/>
                <a:gd name="T15" fmla="*/ 7 h 228"/>
                <a:gd name="T16" fmla="*/ 10 w 724"/>
                <a:gd name="T17" fmla="*/ 7 h 228"/>
                <a:gd name="T18" fmla="*/ 22 w 724"/>
                <a:gd name="T19" fmla="*/ 21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228">
                  <a:moveTo>
                    <a:pt x="710" y="228"/>
                  </a:moveTo>
                  <a:lnTo>
                    <a:pt x="12" y="228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10" y="228"/>
                  </a:lnTo>
                  <a:close/>
                  <a:moveTo>
                    <a:pt x="22" y="218"/>
                  </a:moveTo>
                  <a:lnTo>
                    <a:pt x="703" y="218"/>
                  </a:lnTo>
                  <a:lnTo>
                    <a:pt x="715" y="7"/>
                  </a:lnTo>
                  <a:lnTo>
                    <a:pt x="10" y="7"/>
                  </a:lnTo>
                  <a:lnTo>
                    <a:pt x="22" y="218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6" name="Freeform 27">
              <a:extLst>
                <a:ext uri="{FF2B5EF4-FFF2-40B4-BE49-F238E27FC236}">
                  <a16:creationId xmlns:a16="http://schemas.microsoft.com/office/drawing/2014/main" xmlns="" id="{1F8C54A6-D232-4FFD-A8F0-595D7E19B5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6" y="2807"/>
              <a:ext cx="140" cy="61"/>
            </a:xfrm>
            <a:custGeom>
              <a:avLst/>
              <a:gdLst>
                <a:gd name="T0" fmla="*/ 133 w 140"/>
                <a:gd name="T1" fmla="*/ 61 h 61"/>
                <a:gd name="T2" fmla="*/ 10 w 140"/>
                <a:gd name="T3" fmla="*/ 61 h 61"/>
                <a:gd name="T4" fmla="*/ 0 w 140"/>
                <a:gd name="T5" fmla="*/ 0 h 61"/>
                <a:gd name="T6" fmla="*/ 140 w 140"/>
                <a:gd name="T7" fmla="*/ 0 h 61"/>
                <a:gd name="T8" fmla="*/ 133 w 140"/>
                <a:gd name="T9" fmla="*/ 61 h 61"/>
                <a:gd name="T10" fmla="*/ 17 w 140"/>
                <a:gd name="T11" fmla="*/ 52 h 61"/>
                <a:gd name="T12" fmla="*/ 126 w 140"/>
                <a:gd name="T13" fmla="*/ 52 h 61"/>
                <a:gd name="T14" fmla="*/ 131 w 140"/>
                <a:gd name="T15" fmla="*/ 9 h 61"/>
                <a:gd name="T16" fmla="*/ 12 w 140"/>
                <a:gd name="T17" fmla="*/ 9 h 61"/>
                <a:gd name="T18" fmla="*/ 17 w 140"/>
                <a:gd name="T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61">
                  <a:moveTo>
                    <a:pt x="133" y="61"/>
                  </a:moveTo>
                  <a:lnTo>
                    <a:pt x="10" y="61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3" y="61"/>
                  </a:lnTo>
                  <a:close/>
                  <a:moveTo>
                    <a:pt x="17" y="52"/>
                  </a:moveTo>
                  <a:lnTo>
                    <a:pt x="126" y="52"/>
                  </a:lnTo>
                  <a:lnTo>
                    <a:pt x="131" y="9"/>
                  </a:lnTo>
                  <a:lnTo>
                    <a:pt x="12" y="9"/>
                  </a:lnTo>
                  <a:lnTo>
                    <a:pt x="17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7" name="Freeform 28">
              <a:extLst>
                <a:ext uri="{FF2B5EF4-FFF2-40B4-BE49-F238E27FC236}">
                  <a16:creationId xmlns:a16="http://schemas.microsoft.com/office/drawing/2014/main" xmlns="" id="{8347D4FF-7E66-4C63-A6E7-572C0E0828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6" y="3113"/>
              <a:ext cx="140" cy="59"/>
            </a:xfrm>
            <a:custGeom>
              <a:avLst/>
              <a:gdLst>
                <a:gd name="T0" fmla="*/ 133 w 140"/>
                <a:gd name="T1" fmla="*/ 59 h 59"/>
                <a:gd name="T2" fmla="*/ 10 w 140"/>
                <a:gd name="T3" fmla="*/ 59 h 59"/>
                <a:gd name="T4" fmla="*/ 0 w 140"/>
                <a:gd name="T5" fmla="*/ 0 h 59"/>
                <a:gd name="T6" fmla="*/ 140 w 140"/>
                <a:gd name="T7" fmla="*/ 0 h 59"/>
                <a:gd name="T8" fmla="*/ 133 w 140"/>
                <a:gd name="T9" fmla="*/ 59 h 59"/>
                <a:gd name="T10" fmla="*/ 17 w 140"/>
                <a:gd name="T11" fmla="*/ 52 h 59"/>
                <a:gd name="T12" fmla="*/ 126 w 140"/>
                <a:gd name="T13" fmla="*/ 52 h 59"/>
                <a:gd name="T14" fmla="*/ 131 w 140"/>
                <a:gd name="T15" fmla="*/ 9 h 59"/>
                <a:gd name="T16" fmla="*/ 12 w 140"/>
                <a:gd name="T17" fmla="*/ 9 h 59"/>
                <a:gd name="T18" fmla="*/ 17 w 140"/>
                <a:gd name="T19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59">
                  <a:moveTo>
                    <a:pt x="133" y="59"/>
                  </a:moveTo>
                  <a:lnTo>
                    <a:pt x="10" y="59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3" y="59"/>
                  </a:lnTo>
                  <a:close/>
                  <a:moveTo>
                    <a:pt x="17" y="52"/>
                  </a:moveTo>
                  <a:lnTo>
                    <a:pt x="126" y="52"/>
                  </a:lnTo>
                  <a:lnTo>
                    <a:pt x="131" y="9"/>
                  </a:lnTo>
                  <a:lnTo>
                    <a:pt x="12" y="9"/>
                  </a:lnTo>
                  <a:lnTo>
                    <a:pt x="17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8" name="Freeform 29">
              <a:extLst>
                <a:ext uri="{FF2B5EF4-FFF2-40B4-BE49-F238E27FC236}">
                  <a16:creationId xmlns:a16="http://schemas.microsoft.com/office/drawing/2014/main" xmlns="" id="{99C00E35-7A2E-4384-98D9-965FB19B4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360"/>
              <a:ext cx="79" cy="240"/>
            </a:xfrm>
            <a:custGeom>
              <a:avLst/>
              <a:gdLst>
                <a:gd name="T0" fmla="*/ 79 w 79"/>
                <a:gd name="T1" fmla="*/ 0 h 240"/>
                <a:gd name="T2" fmla="*/ 67 w 79"/>
                <a:gd name="T3" fmla="*/ 81 h 240"/>
                <a:gd name="T4" fmla="*/ 46 w 79"/>
                <a:gd name="T5" fmla="*/ 240 h 240"/>
                <a:gd name="T6" fmla="*/ 0 w 79"/>
                <a:gd name="T7" fmla="*/ 240 h 240"/>
                <a:gd name="T8" fmla="*/ 0 w 79"/>
                <a:gd name="T9" fmla="*/ 0 h 240"/>
                <a:gd name="T10" fmla="*/ 79 w 7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240">
                  <a:moveTo>
                    <a:pt x="79" y="0"/>
                  </a:moveTo>
                  <a:lnTo>
                    <a:pt x="67" y="81"/>
                  </a:lnTo>
                  <a:lnTo>
                    <a:pt x="46" y="240"/>
                  </a:lnTo>
                  <a:lnTo>
                    <a:pt x="0" y="240"/>
                  </a:lnTo>
                  <a:lnTo>
                    <a:pt x="0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9" name="Freeform 30">
              <a:extLst>
                <a:ext uri="{FF2B5EF4-FFF2-40B4-BE49-F238E27FC236}">
                  <a16:creationId xmlns:a16="http://schemas.microsoft.com/office/drawing/2014/main" xmlns="" id="{A9942964-96DE-4CAB-B868-705683F83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360"/>
              <a:ext cx="79" cy="81"/>
            </a:xfrm>
            <a:custGeom>
              <a:avLst/>
              <a:gdLst>
                <a:gd name="T0" fmla="*/ 79 w 79"/>
                <a:gd name="T1" fmla="*/ 0 h 81"/>
                <a:gd name="T2" fmla="*/ 67 w 79"/>
                <a:gd name="T3" fmla="*/ 81 h 81"/>
                <a:gd name="T4" fmla="*/ 0 w 79"/>
                <a:gd name="T5" fmla="*/ 81 h 81"/>
                <a:gd name="T6" fmla="*/ 0 w 79"/>
                <a:gd name="T7" fmla="*/ 0 h 81"/>
                <a:gd name="T8" fmla="*/ 79 w 79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81">
                  <a:moveTo>
                    <a:pt x="79" y="0"/>
                  </a:moveTo>
                  <a:lnTo>
                    <a:pt x="67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0" name="Freeform 31">
              <a:extLst>
                <a:ext uri="{FF2B5EF4-FFF2-40B4-BE49-F238E27FC236}">
                  <a16:creationId xmlns:a16="http://schemas.microsoft.com/office/drawing/2014/main" xmlns="" id="{663CAB0F-DCE4-4F69-B3C7-7E535E1BA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" y="3360"/>
              <a:ext cx="76" cy="240"/>
            </a:xfrm>
            <a:custGeom>
              <a:avLst/>
              <a:gdLst>
                <a:gd name="T0" fmla="*/ 0 w 76"/>
                <a:gd name="T1" fmla="*/ 0 h 240"/>
                <a:gd name="T2" fmla="*/ 10 w 76"/>
                <a:gd name="T3" fmla="*/ 81 h 240"/>
                <a:gd name="T4" fmla="*/ 33 w 76"/>
                <a:gd name="T5" fmla="*/ 240 h 240"/>
                <a:gd name="T6" fmla="*/ 76 w 76"/>
                <a:gd name="T7" fmla="*/ 240 h 240"/>
                <a:gd name="T8" fmla="*/ 76 w 76"/>
                <a:gd name="T9" fmla="*/ 0 h 240"/>
                <a:gd name="T10" fmla="*/ 0 w 76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240">
                  <a:moveTo>
                    <a:pt x="0" y="0"/>
                  </a:moveTo>
                  <a:lnTo>
                    <a:pt x="10" y="81"/>
                  </a:lnTo>
                  <a:lnTo>
                    <a:pt x="33" y="240"/>
                  </a:lnTo>
                  <a:lnTo>
                    <a:pt x="76" y="240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1" name="Freeform 32">
              <a:extLst>
                <a:ext uri="{FF2B5EF4-FFF2-40B4-BE49-F238E27FC236}">
                  <a16:creationId xmlns:a16="http://schemas.microsoft.com/office/drawing/2014/main" xmlns="" id="{E81528D9-1ACC-43CF-ACF1-BDAB5FACA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" y="3360"/>
              <a:ext cx="76" cy="81"/>
            </a:xfrm>
            <a:custGeom>
              <a:avLst/>
              <a:gdLst>
                <a:gd name="T0" fmla="*/ 0 w 76"/>
                <a:gd name="T1" fmla="*/ 0 h 81"/>
                <a:gd name="T2" fmla="*/ 10 w 76"/>
                <a:gd name="T3" fmla="*/ 81 h 81"/>
                <a:gd name="T4" fmla="*/ 76 w 76"/>
                <a:gd name="T5" fmla="*/ 81 h 81"/>
                <a:gd name="T6" fmla="*/ 76 w 76"/>
                <a:gd name="T7" fmla="*/ 0 h 81"/>
                <a:gd name="T8" fmla="*/ 0 w 76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81">
                  <a:moveTo>
                    <a:pt x="0" y="0"/>
                  </a:moveTo>
                  <a:lnTo>
                    <a:pt x="10" y="81"/>
                  </a:lnTo>
                  <a:lnTo>
                    <a:pt x="76" y="81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2" name="Oval 33">
              <a:extLst>
                <a:ext uri="{FF2B5EF4-FFF2-40B4-BE49-F238E27FC236}">
                  <a16:creationId xmlns:a16="http://schemas.microsoft.com/office/drawing/2014/main" xmlns="" id="{0E0E3EB6-6CE7-4EA7-A63F-EC0E3801F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5" y="3709"/>
              <a:ext cx="2018" cy="349"/>
            </a:xfrm>
            <a:prstGeom prst="ellipse">
              <a:avLst/>
            </a:pr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xmlns="" id="{B8CA8EFB-6FD5-4155-9974-8F6BF3FDC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" y="3600"/>
              <a:ext cx="4183" cy="9"/>
            </a:xfrm>
            <a:custGeom>
              <a:avLst/>
              <a:gdLst>
                <a:gd name="T0" fmla="*/ 0 w 4183"/>
                <a:gd name="T1" fmla="*/ 4 h 9"/>
                <a:gd name="T2" fmla="*/ 523 w 4183"/>
                <a:gd name="T3" fmla="*/ 2 h 9"/>
                <a:gd name="T4" fmla="*/ 1045 w 4183"/>
                <a:gd name="T5" fmla="*/ 2 h 9"/>
                <a:gd name="T6" fmla="*/ 2092 w 4183"/>
                <a:gd name="T7" fmla="*/ 0 h 9"/>
                <a:gd name="T8" fmla="*/ 3139 w 4183"/>
                <a:gd name="T9" fmla="*/ 2 h 9"/>
                <a:gd name="T10" fmla="*/ 3661 w 4183"/>
                <a:gd name="T11" fmla="*/ 2 h 9"/>
                <a:gd name="T12" fmla="*/ 4183 w 4183"/>
                <a:gd name="T13" fmla="*/ 4 h 9"/>
                <a:gd name="T14" fmla="*/ 3661 w 4183"/>
                <a:gd name="T15" fmla="*/ 7 h 9"/>
                <a:gd name="T16" fmla="*/ 3139 w 4183"/>
                <a:gd name="T17" fmla="*/ 7 h 9"/>
                <a:gd name="T18" fmla="*/ 2092 w 4183"/>
                <a:gd name="T19" fmla="*/ 9 h 9"/>
                <a:gd name="T20" fmla="*/ 1045 w 4183"/>
                <a:gd name="T21" fmla="*/ 7 h 9"/>
                <a:gd name="T22" fmla="*/ 523 w 4183"/>
                <a:gd name="T23" fmla="*/ 7 h 9"/>
                <a:gd name="T24" fmla="*/ 0 w 4183"/>
                <a:gd name="T2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83" h="9">
                  <a:moveTo>
                    <a:pt x="0" y="4"/>
                  </a:moveTo>
                  <a:lnTo>
                    <a:pt x="523" y="2"/>
                  </a:lnTo>
                  <a:lnTo>
                    <a:pt x="1045" y="2"/>
                  </a:lnTo>
                  <a:lnTo>
                    <a:pt x="2092" y="0"/>
                  </a:lnTo>
                  <a:lnTo>
                    <a:pt x="3139" y="2"/>
                  </a:lnTo>
                  <a:lnTo>
                    <a:pt x="3661" y="2"/>
                  </a:lnTo>
                  <a:lnTo>
                    <a:pt x="4183" y="4"/>
                  </a:lnTo>
                  <a:lnTo>
                    <a:pt x="3661" y="7"/>
                  </a:lnTo>
                  <a:lnTo>
                    <a:pt x="3139" y="7"/>
                  </a:lnTo>
                  <a:lnTo>
                    <a:pt x="2092" y="9"/>
                  </a:lnTo>
                  <a:lnTo>
                    <a:pt x="1045" y="7"/>
                  </a:lnTo>
                  <a:lnTo>
                    <a:pt x="523" y="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5" name="Freeform 36">
              <a:extLst>
                <a:ext uri="{FF2B5EF4-FFF2-40B4-BE49-F238E27FC236}">
                  <a16:creationId xmlns:a16="http://schemas.microsoft.com/office/drawing/2014/main" xmlns="" id="{75A6E519-7439-483E-BDDF-E2F2D920AD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4" y="33"/>
              <a:ext cx="798" cy="798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246 h 336"/>
                <a:gd name="T12" fmla="*/ 90 w 336"/>
                <a:gd name="T13" fmla="*/ 168 h 336"/>
                <a:gd name="T14" fmla="*/ 168 w 336"/>
                <a:gd name="T15" fmla="*/ 89 h 336"/>
                <a:gd name="T16" fmla="*/ 246 w 336"/>
                <a:gd name="T17" fmla="*/ 168 h 336"/>
                <a:gd name="T18" fmla="*/ 168 w 336"/>
                <a:gd name="T19" fmla="*/ 24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5" y="0"/>
                    <a:pt x="0" y="75"/>
                    <a:pt x="0" y="168"/>
                  </a:cubicBezTo>
                  <a:cubicBezTo>
                    <a:pt x="0" y="260"/>
                    <a:pt x="75" y="336"/>
                    <a:pt x="168" y="336"/>
                  </a:cubicBezTo>
                  <a:cubicBezTo>
                    <a:pt x="261" y="336"/>
                    <a:pt x="336" y="260"/>
                    <a:pt x="336" y="168"/>
                  </a:cubicBezTo>
                  <a:cubicBezTo>
                    <a:pt x="336" y="75"/>
                    <a:pt x="261" y="0"/>
                    <a:pt x="168" y="0"/>
                  </a:cubicBezTo>
                  <a:close/>
                  <a:moveTo>
                    <a:pt x="168" y="246"/>
                  </a:moveTo>
                  <a:cubicBezTo>
                    <a:pt x="125" y="246"/>
                    <a:pt x="90" y="211"/>
                    <a:pt x="90" y="168"/>
                  </a:cubicBezTo>
                  <a:cubicBezTo>
                    <a:pt x="90" y="124"/>
                    <a:pt x="125" y="89"/>
                    <a:pt x="168" y="89"/>
                  </a:cubicBezTo>
                  <a:cubicBezTo>
                    <a:pt x="211" y="89"/>
                    <a:pt x="246" y="124"/>
                    <a:pt x="246" y="168"/>
                  </a:cubicBezTo>
                  <a:cubicBezTo>
                    <a:pt x="246" y="211"/>
                    <a:pt x="211" y="246"/>
                    <a:pt x="168" y="246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6" name="Freeform 37">
              <a:extLst>
                <a:ext uri="{FF2B5EF4-FFF2-40B4-BE49-F238E27FC236}">
                  <a16:creationId xmlns:a16="http://schemas.microsoft.com/office/drawing/2014/main" xmlns="" id="{8ADE568F-968C-4437-A4D6-BC29CC967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" y="-59"/>
              <a:ext cx="152" cy="109"/>
            </a:xfrm>
            <a:custGeom>
              <a:avLst/>
              <a:gdLst>
                <a:gd name="T0" fmla="*/ 152 w 152"/>
                <a:gd name="T1" fmla="*/ 109 h 109"/>
                <a:gd name="T2" fmla="*/ 0 w 152"/>
                <a:gd name="T3" fmla="*/ 109 h 109"/>
                <a:gd name="T4" fmla="*/ 7 w 152"/>
                <a:gd name="T5" fmla="*/ 0 h 109"/>
                <a:gd name="T6" fmla="*/ 145 w 152"/>
                <a:gd name="T7" fmla="*/ 0 h 109"/>
                <a:gd name="T8" fmla="*/ 152 w 152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09">
                  <a:moveTo>
                    <a:pt x="152" y="109"/>
                  </a:moveTo>
                  <a:lnTo>
                    <a:pt x="0" y="109"/>
                  </a:lnTo>
                  <a:lnTo>
                    <a:pt x="7" y="0"/>
                  </a:lnTo>
                  <a:lnTo>
                    <a:pt x="145" y="0"/>
                  </a:lnTo>
                  <a:lnTo>
                    <a:pt x="152" y="10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7" name="Freeform 38">
              <a:extLst>
                <a:ext uri="{FF2B5EF4-FFF2-40B4-BE49-F238E27FC236}">
                  <a16:creationId xmlns:a16="http://schemas.microsoft.com/office/drawing/2014/main" xmlns="" id="{79B88DD5-6357-47AB-A011-57475F8D1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31"/>
              <a:ext cx="178" cy="178"/>
            </a:xfrm>
            <a:custGeom>
              <a:avLst/>
              <a:gdLst>
                <a:gd name="T0" fmla="*/ 178 w 178"/>
                <a:gd name="T1" fmla="*/ 69 h 178"/>
                <a:gd name="T2" fmla="*/ 71 w 178"/>
                <a:gd name="T3" fmla="*/ 178 h 178"/>
                <a:gd name="T4" fmla="*/ 0 w 178"/>
                <a:gd name="T5" fmla="*/ 95 h 178"/>
                <a:gd name="T6" fmla="*/ 97 w 178"/>
                <a:gd name="T7" fmla="*/ 0 h 178"/>
                <a:gd name="T8" fmla="*/ 178 w 178"/>
                <a:gd name="T9" fmla="*/ 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178" y="69"/>
                  </a:moveTo>
                  <a:lnTo>
                    <a:pt x="71" y="178"/>
                  </a:lnTo>
                  <a:lnTo>
                    <a:pt x="0" y="95"/>
                  </a:lnTo>
                  <a:lnTo>
                    <a:pt x="97" y="0"/>
                  </a:lnTo>
                  <a:lnTo>
                    <a:pt x="178" y="6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8" name="Freeform 39">
              <a:extLst>
                <a:ext uri="{FF2B5EF4-FFF2-40B4-BE49-F238E27FC236}">
                  <a16:creationId xmlns:a16="http://schemas.microsoft.com/office/drawing/2014/main" xmlns="" id="{793221CB-62A8-45BA-807E-676112440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" y="344"/>
              <a:ext cx="110" cy="152"/>
            </a:xfrm>
            <a:custGeom>
              <a:avLst/>
              <a:gdLst>
                <a:gd name="T0" fmla="*/ 110 w 110"/>
                <a:gd name="T1" fmla="*/ 0 h 152"/>
                <a:gd name="T2" fmla="*/ 110 w 110"/>
                <a:gd name="T3" fmla="*/ 152 h 152"/>
                <a:gd name="T4" fmla="*/ 0 w 110"/>
                <a:gd name="T5" fmla="*/ 145 h 152"/>
                <a:gd name="T6" fmla="*/ 0 w 110"/>
                <a:gd name="T7" fmla="*/ 7 h 152"/>
                <a:gd name="T8" fmla="*/ 110 w 110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52">
                  <a:moveTo>
                    <a:pt x="110" y="0"/>
                  </a:moveTo>
                  <a:lnTo>
                    <a:pt x="110" y="152"/>
                  </a:lnTo>
                  <a:lnTo>
                    <a:pt x="0" y="145"/>
                  </a:lnTo>
                  <a:lnTo>
                    <a:pt x="0" y="7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9" name="Freeform 40">
              <a:extLst>
                <a:ext uri="{FF2B5EF4-FFF2-40B4-BE49-F238E27FC236}">
                  <a16:creationId xmlns:a16="http://schemas.microsoft.com/office/drawing/2014/main" xmlns="" id="{5245E1C4-839B-4E32-B7F7-BB78CE45C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" y="636"/>
              <a:ext cx="178" cy="178"/>
            </a:xfrm>
            <a:custGeom>
              <a:avLst/>
              <a:gdLst>
                <a:gd name="T0" fmla="*/ 71 w 178"/>
                <a:gd name="T1" fmla="*/ 0 h 178"/>
                <a:gd name="T2" fmla="*/ 178 w 178"/>
                <a:gd name="T3" fmla="*/ 107 h 178"/>
                <a:gd name="T4" fmla="*/ 95 w 178"/>
                <a:gd name="T5" fmla="*/ 178 h 178"/>
                <a:gd name="T6" fmla="*/ 0 w 178"/>
                <a:gd name="T7" fmla="*/ 83 h 178"/>
                <a:gd name="T8" fmla="*/ 71 w 178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71" y="0"/>
                  </a:moveTo>
                  <a:lnTo>
                    <a:pt x="178" y="107"/>
                  </a:lnTo>
                  <a:lnTo>
                    <a:pt x="95" y="178"/>
                  </a:lnTo>
                  <a:lnTo>
                    <a:pt x="0" y="8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0" name="Freeform 41">
              <a:extLst>
                <a:ext uri="{FF2B5EF4-FFF2-40B4-BE49-F238E27FC236}">
                  <a16:creationId xmlns:a16="http://schemas.microsoft.com/office/drawing/2014/main" xmlns="" id="{6CCE5C85-CA5E-4F1C-93E6-892E6CCE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3" y="805"/>
              <a:ext cx="154" cy="109"/>
            </a:xfrm>
            <a:custGeom>
              <a:avLst/>
              <a:gdLst>
                <a:gd name="T0" fmla="*/ 0 w 154"/>
                <a:gd name="T1" fmla="*/ 0 h 109"/>
                <a:gd name="T2" fmla="*/ 154 w 154"/>
                <a:gd name="T3" fmla="*/ 0 h 109"/>
                <a:gd name="T4" fmla="*/ 145 w 154"/>
                <a:gd name="T5" fmla="*/ 109 h 109"/>
                <a:gd name="T6" fmla="*/ 9 w 154"/>
                <a:gd name="T7" fmla="*/ 109 h 109"/>
                <a:gd name="T8" fmla="*/ 0 w 154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09">
                  <a:moveTo>
                    <a:pt x="0" y="0"/>
                  </a:moveTo>
                  <a:lnTo>
                    <a:pt x="154" y="0"/>
                  </a:lnTo>
                  <a:lnTo>
                    <a:pt x="145" y="109"/>
                  </a:lnTo>
                  <a:lnTo>
                    <a:pt x="9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1" name="Freeform 42">
              <a:extLst>
                <a:ext uri="{FF2B5EF4-FFF2-40B4-BE49-F238E27FC236}">
                  <a16:creationId xmlns:a16="http://schemas.microsoft.com/office/drawing/2014/main" xmlns="" id="{915EBAB9-52B6-4678-980C-FFEFD9605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646"/>
              <a:ext cx="178" cy="178"/>
            </a:xfrm>
            <a:custGeom>
              <a:avLst/>
              <a:gdLst>
                <a:gd name="T0" fmla="*/ 0 w 178"/>
                <a:gd name="T1" fmla="*/ 107 h 178"/>
                <a:gd name="T2" fmla="*/ 109 w 178"/>
                <a:gd name="T3" fmla="*/ 0 h 178"/>
                <a:gd name="T4" fmla="*/ 178 w 178"/>
                <a:gd name="T5" fmla="*/ 83 h 178"/>
                <a:gd name="T6" fmla="*/ 83 w 178"/>
                <a:gd name="T7" fmla="*/ 178 h 178"/>
                <a:gd name="T8" fmla="*/ 0 w 178"/>
                <a:gd name="T9" fmla="*/ 10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0" y="107"/>
                  </a:moveTo>
                  <a:lnTo>
                    <a:pt x="109" y="0"/>
                  </a:lnTo>
                  <a:lnTo>
                    <a:pt x="178" y="83"/>
                  </a:lnTo>
                  <a:lnTo>
                    <a:pt x="83" y="178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2" name="Freeform 43">
              <a:extLst>
                <a:ext uri="{FF2B5EF4-FFF2-40B4-BE49-F238E27FC236}">
                  <a16:creationId xmlns:a16="http://schemas.microsoft.com/office/drawing/2014/main" xmlns="" id="{36B56C0F-3D55-4D1F-9342-F1C4A7A83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359"/>
              <a:ext cx="109" cy="152"/>
            </a:xfrm>
            <a:custGeom>
              <a:avLst/>
              <a:gdLst>
                <a:gd name="T0" fmla="*/ 0 w 109"/>
                <a:gd name="T1" fmla="*/ 152 h 152"/>
                <a:gd name="T2" fmla="*/ 0 w 109"/>
                <a:gd name="T3" fmla="*/ 0 h 152"/>
                <a:gd name="T4" fmla="*/ 109 w 109"/>
                <a:gd name="T5" fmla="*/ 7 h 152"/>
                <a:gd name="T6" fmla="*/ 109 w 109"/>
                <a:gd name="T7" fmla="*/ 144 h 152"/>
                <a:gd name="T8" fmla="*/ 0 w 109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52">
                  <a:moveTo>
                    <a:pt x="0" y="152"/>
                  </a:moveTo>
                  <a:lnTo>
                    <a:pt x="0" y="0"/>
                  </a:lnTo>
                  <a:lnTo>
                    <a:pt x="109" y="7"/>
                  </a:lnTo>
                  <a:lnTo>
                    <a:pt x="109" y="1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3" name="Freeform 44">
              <a:extLst>
                <a:ext uri="{FF2B5EF4-FFF2-40B4-BE49-F238E27FC236}">
                  <a16:creationId xmlns:a16="http://schemas.microsoft.com/office/drawing/2014/main" xmlns="" id="{75710C23-BAF6-4369-90B1-2AD494D86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4" y="40"/>
              <a:ext cx="179" cy="178"/>
            </a:xfrm>
            <a:custGeom>
              <a:avLst/>
              <a:gdLst>
                <a:gd name="T0" fmla="*/ 110 w 179"/>
                <a:gd name="T1" fmla="*/ 178 h 178"/>
                <a:gd name="T2" fmla="*/ 0 w 179"/>
                <a:gd name="T3" fmla="*/ 72 h 178"/>
                <a:gd name="T4" fmla="*/ 84 w 179"/>
                <a:gd name="T5" fmla="*/ 0 h 178"/>
                <a:gd name="T6" fmla="*/ 179 w 179"/>
                <a:gd name="T7" fmla="*/ 95 h 178"/>
                <a:gd name="T8" fmla="*/ 110 w 179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178">
                  <a:moveTo>
                    <a:pt x="110" y="178"/>
                  </a:moveTo>
                  <a:lnTo>
                    <a:pt x="0" y="72"/>
                  </a:lnTo>
                  <a:lnTo>
                    <a:pt x="84" y="0"/>
                  </a:lnTo>
                  <a:lnTo>
                    <a:pt x="179" y="95"/>
                  </a:lnTo>
                  <a:lnTo>
                    <a:pt x="110" y="178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4" name="Freeform 45">
              <a:extLst>
                <a:ext uri="{FF2B5EF4-FFF2-40B4-BE49-F238E27FC236}">
                  <a16:creationId xmlns:a16="http://schemas.microsoft.com/office/drawing/2014/main" xmlns="" id="{BCA8A228-6BCE-42E9-8D6B-1FA41EC84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" y="-154"/>
              <a:ext cx="306" cy="351"/>
            </a:xfrm>
            <a:custGeom>
              <a:avLst/>
              <a:gdLst>
                <a:gd name="T0" fmla="*/ 126 w 129"/>
                <a:gd name="T1" fmla="*/ 69 h 148"/>
                <a:gd name="T2" fmla="*/ 91 w 129"/>
                <a:gd name="T3" fmla="*/ 127 h 148"/>
                <a:gd name="T4" fmla="*/ 85 w 129"/>
                <a:gd name="T5" fmla="*/ 148 h 148"/>
                <a:gd name="T6" fmla="*/ 43 w 129"/>
                <a:gd name="T7" fmla="*/ 148 h 148"/>
                <a:gd name="T8" fmla="*/ 38 w 129"/>
                <a:gd name="T9" fmla="*/ 127 h 148"/>
                <a:gd name="T10" fmla="*/ 3 w 129"/>
                <a:gd name="T11" fmla="*/ 68 h 148"/>
                <a:gd name="T12" fmla="*/ 64 w 129"/>
                <a:gd name="T13" fmla="*/ 0 h 148"/>
                <a:gd name="T14" fmla="*/ 126 w 129"/>
                <a:gd name="T15" fmla="*/ 6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48">
                  <a:moveTo>
                    <a:pt x="126" y="69"/>
                  </a:moveTo>
                  <a:cubicBezTo>
                    <a:pt x="121" y="109"/>
                    <a:pt x="95" y="116"/>
                    <a:pt x="91" y="127"/>
                  </a:cubicBezTo>
                  <a:cubicBezTo>
                    <a:pt x="89" y="133"/>
                    <a:pt x="85" y="148"/>
                    <a:pt x="85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8"/>
                    <a:pt x="40" y="133"/>
                    <a:pt x="38" y="127"/>
                  </a:cubicBezTo>
                  <a:cubicBezTo>
                    <a:pt x="33" y="116"/>
                    <a:pt x="7" y="109"/>
                    <a:pt x="3" y="68"/>
                  </a:cubicBezTo>
                  <a:cubicBezTo>
                    <a:pt x="0" y="42"/>
                    <a:pt x="20" y="0"/>
                    <a:pt x="64" y="0"/>
                  </a:cubicBezTo>
                  <a:cubicBezTo>
                    <a:pt x="109" y="0"/>
                    <a:pt x="129" y="42"/>
                    <a:pt x="126" y="69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5" name="Freeform 46">
              <a:extLst>
                <a:ext uri="{FF2B5EF4-FFF2-40B4-BE49-F238E27FC236}">
                  <a16:creationId xmlns:a16="http://schemas.microsoft.com/office/drawing/2014/main" xmlns="" id="{19BB81C9-A9C3-4101-B88D-31946BB4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" y="43"/>
              <a:ext cx="36" cy="161"/>
            </a:xfrm>
            <a:custGeom>
              <a:avLst/>
              <a:gdLst>
                <a:gd name="T0" fmla="*/ 31 w 36"/>
                <a:gd name="T1" fmla="*/ 161 h 161"/>
                <a:gd name="T2" fmla="*/ 0 w 36"/>
                <a:gd name="T3" fmla="*/ 2 h 161"/>
                <a:gd name="T4" fmla="*/ 7 w 36"/>
                <a:gd name="T5" fmla="*/ 0 h 161"/>
                <a:gd name="T6" fmla="*/ 36 w 36"/>
                <a:gd name="T7" fmla="*/ 159 h 161"/>
                <a:gd name="T8" fmla="*/ 31 w 3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61">
                  <a:moveTo>
                    <a:pt x="31" y="161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36" y="159"/>
                  </a:lnTo>
                  <a:lnTo>
                    <a:pt x="31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6" name="Freeform 47">
              <a:extLst>
                <a:ext uri="{FF2B5EF4-FFF2-40B4-BE49-F238E27FC236}">
                  <a16:creationId xmlns:a16="http://schemas.microsoft.com/office/drawing/2014/main" xmlns="" id="{90905741-41C6-4E3E-9493-20609F9B1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" y="43"/>
              <a:ext cx="38" cy="161"/>
            </a:xfrm>
            <a:custGeom>
              <a:avLst/>
              <a:gdLst>
                <a:gd name="T0" fmla="*/ 7 w 38"/>
                <a:gd name="T1" fmla="*/ 161 h 161"/>
                <a:gd name="T2" fmla="*/ 0 w 38"/>
                <a:gd name="T3" fmla="*/ 159 h 161"/>
                <a:gd name="T4" fmla="*/ 31 w 38"/>
                <a:gd name="T5" fmla="*/ 0 h 161"/>
                <a:gd name="T6" fmla="*/ 38 w 38"/>
                <a:gd name="T7" fmla="*/ 2 h 161"/>
                <a:gd name="T8" fmla="*/ 7 w 38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1">
                  <a:moveTo>
                    <a:pt x="7" y="161"/>
                  </a:moveTo>
                  <a:lnTo>
                    <a:pt x="0" y="159"/>
                  </a:lnTo>
                  <a:lnTo>
                    <a:pt x="31" y="0"/>
                  </a:lnTo>
                  <a:lnTo>
                    <a:pt x="38" y="2"/>
                  </a:lnTo>
                  <a:lnTo>
                    <a:pt x="7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7" name="Freeform 48">
              <a:extLst>
                <a:ext uri="{FF2B5EF4-FFF2-40B4-BE49-F238E27FC236}">
                  <a16:creationId xmlns:a16="http://schemas.microsoft.com/office/drawing/2014/main" xmlns="" id="{B08EC999-4C67-4132-ADAA-AB431A8AD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" y="33"/>
              <a:ext cx="107" cy="64"/>
            </a:xfrm>
            <a:custGeom>
              <a:avLst/>
              <a:gdLst>
                <a:gd name="T0" fmla="*/ 22 w 45"/>
                <a:gd name="T1" fmla="*/ 27 h 27"/>
                <a:gd name="T2" fmla="*/ 22 w 45"/>
                <a:gd name="T3" fmla="*/ 27 h 27"/>
                <a:gd name="T4" fmla="*/ 13 w 45"/>
                <a:gd name="T5" fmla="*/ 19 h 27"/>
                <a:gd name="T6" fmla="*/ 9 w 45"/>
                <a:gd name="T7" fmla="*/ 21 h 27"/>
                <a:gd name="T8" fmla="*/ 9 w 45"/>
                <a:gd name="T9" fmla="*/ 21 h 27"/>
                <a:gd name="T10" fmla="*/ 0 w 45"/>
                <a:gd name="T11" fmla="*/ 7 h 27"/>
                <a:gd name="T12" fmla="*/ 1 w 45"/>
                <a:gd name="T13" fmla="*/ 7 h 27"/>
                <a:gd name="T14" fmla="*/ 9 w 45"/>
                <a:gd name="T15" fmla="*/ 19 h 27"/>
                <a:gd name="T16" fmla="*/ 9 w 45"/>
                <a:gd name="T17" fmla="*/ 19 h 27"/>
                <a:gd name="T18" fmla="*/ 12 w 45"/>
                <a:gd name="T19" fmla="*/ 18 h 27"/>
                <a:gd name="T20" fmla="*/ 9 w 45"/>
                <a:gd name="T21" fmla="*/ 6 h 27"/>
                <a:gd name="T22" fmla="*/ 13 w 45"/>
                <a:gd name="T23" fmla="*/ 0 h 27"/>
                <a:gd name="T24" fmla="*/ 13 w 45"/>
                <a:gd name="T25" fmla="*/ 0 h 27"/>
                <a:gd name="T26" fmla="*/ 16 w 45"/>
                <a:gd name="T27" fmla="*/ 2 h 27"/>
                <a:gd name="T28" fmla="*/ 14 w 45"/>
                <a:gd name="T29" fmla="*/ 17 h 27"/>
                <a:gd name="T30" fmla="*/ 14 w 45"/>
                <a:gd name="T31" fmla="*/ 18 h 27"/>
                <a:gd name="T32" fmla="*/ 22 w 45"/>
                <a:gd name="T33" fmla="*/ 26 h 27"/>
                <a:gd name="T34" fmla="*/ 22 w 45"/>
                <a:gd name="T35" fmla="*/ 26 h 27"/>
                <a:gd name="T36" fmla="*/ 30 w 45"/>
                <a:gd name="T37" fmla="*/ 19 h 27"/>
                <a:gd name="T38" fmla="*/ 26 w 45"/>
                <a:gd name="T39" fmla="*/ 8 h 27"/>
                <a:gd name="T40" fmla="*/ 31 w 45"/>
                <a:gd name="T41" fmla="*/ 0 h 27"/>
                <a:gd name="T42" fmla="*/ 31 w 45"/>
                <a:gd name="T43" fmla="*/ 0 h 27"/>
                <a:gd name="T44" fmla="*/ 35 w 45"/>
                <a:gd name="T45" fmla="*/ 6 h 27"/>
                <a:gd name="T46" fmla="*/ 32 w 45"/>
                <a:gd name="T47" fmla="*/ 19 h 27"/>
                <a:gd name="T48" fmla="*/ 36 w 45"/>
                <a:gd name="T49" fmla="*/ 20 h 27"/>
                <a:gd name="T50" fmla="*/ 36 w 45"/>
                <a:gd name="T51" fmla="*/ 20 h 27"/>
                <a:gd name="T52" fmla="*/ 44 w 45"/>
                <a:gd name="T53" fmla="*/ 8 h 27"/>
                <a:gd name="T54" fmla="*/ 45 w 45"/>
                <a:gd name="T55" fmla="*/ 8 h 27"/>
                <a:gd name="T56" fmla="*/ 36 w 45"/>
                <a:gd name="T57" fmla="*/ 22 h 27"/>
                <a:gd name="T58" fmla="*/ 36 w 45"/>
                <a:gd name="T59" fmla="*/ 22 h 27"/>
                <a:gd name="T60" fmla="*/ 31 w 45"/>
                <a:gd name="T61" fmla="*/ 20 h 27"/>
                <a:gd name="T62" fmla="*/ 22 w 45"/>
                <a:gd name="T63" fmla="*/ 27 h 27"/>
                <a:gd name="T64" fmla="*/ 31 w 45"/>
                <a:gd name="T65" fmla="*/ 1 h 27"/>
                <a:gd name="T66" fmla="*/ 28 w 45"/>
                <a:gd name="T67" fmla="*/ 8 h 27"/>
                <a:gd name="T68" fmla="*/ 31 w 45"/>
                <a:gd name="T69" fmla="*/ 18 h 27"/>
                <a:gd name="T70" fmla="*/ 33 w 45"/>
                <a:gd name="T71" fmla="*/ 6 h 27"/>
                <a:gd name="T72" fmla="*/ 31 w 45"/>
                <a:gd name="T73" fmla="*/ 1 h 27"/>
                <a:gd name="T74" fmla="*/ 13 w 45"/>
                <a:gd name="T75" fmla="*/ 1 h 27"/>
                <a:gd name="T76" fmla="*/ 10 w 45"/>
                <a:gd name="T77" fmla="*/ 6 h 27"/>
                <a:gd name="T78" fmla="*/ 13 w 45"/>
                <a:gd name="T79" fmla="*/ 16 h 27"/>
                <a:gd name="T80" fmla="*/ 13 w 45"/>
                <a:gd name="T81" fmla="*/ 16 h 27"/>
                <a:gd name="T82" fmla="*/ 15 w 45"/>
                <a:gd name="T83" fmla="*/ 3 h 27"/>
                <a:gd name="T84" fmla="*/ 13 w 45"/>
                <a:gd name="T8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27"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18" y="27"/>
                    <a:pt x="15" y="23"/>
                    <a:pt x="13" y="19"/>
                  </a:cubicBezTo>
                  <a:cubicBezTo>
                    <a:pt x="11" y="20"/>
                    <a:pt x="10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3" y="21"/>
                    <a:pt x="0" y="8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10"/>
                    <a:pt x="5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1" y="19"/>
                    <a:pt x="12" y="18"/>
                  </a:cubicBezTo>
                  <a:cubicBezTo>
                    <a:pt x="10" y="14"/>
                    <a:pt x="9" y="9"/>
                    <a:pt x="9" y="6"/>
                  </a:cubicBezTo>
                  <a:cubicBezTo>
                    <a:pt x="9" y="2"/>
                    <a:pt x="10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2"/>
                  </a:cubicBezTo>
                  <a:cubicBezTo>
                    <a:pt x="18" y="5"/>
                    <a:pt x="17" y="12"/>
                    <a:pt x="14" y="17"/>
                  </a:cubicBezTo>
                  <a:cubicBezTo>
                    <a:pt x="14" y="17"/>
                    <a:pt x="14" y="17"/>
                    <a:pt x="14" y="18"/>
                  </a:cubicBezTo>
                  <a:cubicBezTo>
                    <a:pt x="16" y="22"/>
                    <a:pt x="19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5" y="26"/>
                    <a:pt x="28" y="23"/>
                    <a:pt x="30" y="19"/>
                  </a:cubicBezTo>
                  <a:cubicBezTo>
                    <a:pt x="28" y="16"/>
                    <a:pt x="26" y="12"/>
                    <a:pt x="26" y="8"/>
                  </a:cubicBezTo>
                  <a:cubicBezTo>
                    <a:pt x="26" y="3"/>
                    <a:pt x="28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4" y="0"/>
                    <a:pt x="35" y="2"/>
                    <a:pt x="35" y="6"/>
                  </a:cubicBezTo>
                  <a:cubicBezTo>
                    <a:pt x="35" y="10"/>
                    <a:pt x="34" y="15"/>
                    <a:pt x="32" y="19"/>
                  </a:cubicBezTo>
                  <a:cubicBezTo>
                    <a:pt x="33" y="20"/>
                    <a:pt x="34" y="20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40" y="20"/>
                    <a:pt x="43" y="11"/>
                    <a:pt x="44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1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4" y="22"/>
                    <a:pt x="33" y="21"/>
                    <a:pt x="31" y="20"/>
                  </a:cubicBezTo>
                  <a:cubicBezTo>
                    <a:pt x="29" y="24"/>
                    <a:pt x="26" y="27"/>
                    <a:pt x="22" y="27"/>
                  </a:cubicBezTo>
                  <a:close/>
                  <a:moveTo>
                    <a:pt x="31" y="1"/>
                  </a:moveTo>
                  <a:cubicBezTo>
                    <a:pt x="29" y="1"/>
                    <a:pt x="28" y="5"/>
                    <a:pt x="28" y="8"/>
                  </a:cubicBezTo>
                  <a:cubicBezTo>
                    <a:pt x="28" y="11"/>
                    <a:pt x="29" y="15"/>
                    <a:pt x="31" y="18"/>
                  </a:cubicBezTo>
                  <a:cubicBezTo>
                    <a:pt x="33" y="14"/>
                    <a:pt x="33" y="10"/>
                    <a:pt x="33" y="6"/>
                  </a:cubicBezTo>
                  <a:cubicBezTo>
                    <a:pt x="33" y="5"/>
                    <a:pt x="33" y="1"/>
                    <a:pt x="31" y="1"/>
                  </a:cubicBezTo>
                  <a:close/>
                  <a:moveTo>
                    <a:pt x="13" y="1"/>
                  </a:moveTo>
                  <a:cubicBezTo>
                    <a:pt x="11" y="1"/>
                    <a:pt x="10" y="4"/>
                    <a:pt x="10" y="6"/>
                  </a:cubicBezTo>
                  <a:cubicBezTo>
                    <a:pt x="10" y="9"/>
                    <a:pt x="11" y="13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2"/>
                    <a:pt x="17" y="6"/>
                    <a:pt x="15" y="3"/>
                  </a:cubicBezTo>
                  <a:cubicBezTo>
                    <a:pt x="15" y="2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8" name="Rectangle 49">
              <a:extLst>
                <a:ext uri="{FF2B5EF4-FFF2-40B4-BE49-F238E27FC236}">
                  <a16:creationId xmlns:a16="http://schemas.microsoft.com/office/drawing/2014/main" xmlns="" id="{E82C1BCC-FA43-4280-80AB-738C598CC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192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39" name="Rectangle 50">
              <a:extLst>
                <a:ext uri="{FF2B5EF4-FFF2-40B4-BE49-F238E27FC236}">
                  <a16:creationId xmlns:a16="http://schemas.microsoft.com/office/drawing/2014/main" xmlns="" id="{06FF75B1-33C2-4013-81E3-05F5BB13B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221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0" name="Rectangle 51">
              <a:extLst>
                <a:ext uri="{FF2B5EF4-FFF2-40B4-BE49-F238E27FC236}">
                  <a16:creationId xmlns:a16="http://schemas.microsoft.com/office/drawing/2014/main" xmlns="" id="{6755CE3F-6B45-4E39-8D85-2117EACD19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249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1" name="Freeform 52">
              <a:extLst>
                <a:ext uri="{FF2B5EF4-FFF2-40B4-BE49-F238E27FC236}">
                  <a16:creationId xmlns:a16="http://schemas.microsoft.com/office/drawing/2014/main" xmlns="" id="{3A28EDFC-0CE7-4E4A-AB7A-411DFBBFD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8" y="909"/>
              <a:ext cx="1608" cy="1608"/>
            </a:xfrm>
            <a:custGeom>
              <a:avLst/>
              <a:gdLst>
                <a:gd name="T0" fmla="*/ 338 w 677"/>
                <a:gd name="T1" fmla="*/ 137 h 677"/>
                <a:gd name="T2" fmla="*/ 137 w 677"/>
                <a:gd name="T3" fmla="*/ 338 h 677"/>
                <a:gd name="T4" fmla="*/ 338 w 677"/>
                <a:gd name="T5" fmla="*/ 539 h 677"/>
                <a:gd name="T6" fmla="*/ 539 w 677"/>
                <a:gd name="T7" fmla="*/ 338 h 677"/>
                <a:gd name="T8" fmla="*/ 338 w 677"/>
                <a:gd name="T9" fmla="*/ 137 h 677"/>
                <a:gd name="T10" fmla="*/ 338 w 677"/>
                <a:gd name="T11" fmla="*/ 497 h 677"/>
                <a:gd name="T12" fmla="*/ 180 w 677"/>
                <a:gd name="T13" fmla="*/ 338 h 677"/>
                <a:gd name="T14" fmla="*/ 338 w 677"/>
                <a:gd name="T15" fmla="*/ 180 h 677"/>
                <a:gd name="T16" fmla="*/ 496 w 677"/>
                <a:gd name="T17" fmla="*/ 338 h 677"/>
                <a:gd name="T18" fmla="*/ 338 w 677"/>
                <a:gd name="T19" fmla="*/ 497 h 677"/>
                <a:gd name="T20" fmla="*/ 338 w 677"/>
                <a:gd name="T21" fmla="*/ 137 h 677"/>
                <a:gd name="T22" fmla="*/ 137 w 677"/>
                <a:gd name="T23" fmla="*/ 338 h 677"/>
                <a:gd name="T24" fmla="*/ 338 w 677"/>
                <a:gd name="T25" fmla="*/ 539 h 677"/>
                <a:gd name="T26" fmla="*/ 539 w 677"/>
                <a:gd name="T27" fmla="*/ 338 h 677"/>
                <a:gd name="T28" fmla="*/ 338 w 677"/>
                <a:gd name="T29" fmla="*/ 137 h 677"/>
                <a:gd name="T30" fmla="*/ 338 w 677"/>
                <a:gd name="T31" fmla="*/ 497 h 677"/>
                <a:gd name="T32" fmla="*/ 180 w 677"/>
                <a:gd name="T33" fmla="*/ 338 h 677"/>
                <a:gd name="T34" fmla="*/ 338 w 677"/>
                <a:gd name="T35" fmla="*/ 180 h 677"/>
                <a:gd name="T36" fmla="*/ 496 w 677"/>
                <a:gd name="T37" fmla="*/ 338 h 677"/>
                <a:gd name="T38" fmla="*/ 338 w 677"/>
                <a:gd name="T39" fmla="*/ 497 h 677"/>
                <a:gd name="T40" fmla="*/ 338 w 677"/>
                <a:gd name="T41" fmla="*/ 0 h 677"/>
                <a:gd name="T42" fmla="*/ 0 w 677"/>
                <a:gd name="T43" fmla="*/ 338 h 677"/>
                <a:gd name="T44" fmla="*/ 338 w 677"/>
                <a:gd name="T45" fmla="*/ 677 h 677"/>
                <a:gd name="T46" fmla="*/ 677 w 677"/>
                <a:gd name="T47" fmla="*/ 338 h 677"/>
                <a:gd name="T48" fmla="*/ 338 w 677"/>
                <a:gd name="T49" fmla="*/ 0 h 677"/>
                <a:gd name="T50" fmla="*/ 338 w 677"/>
                <a:gd name="T51" fmla="*/ 559 h 677"/>
                <a:gd name="T52" fmla="*/ 118 w 677"/>
                <a:gd name="T53" fmla="*/ 338 h 677"/>
                <a:gd name="T54" fmla="*/ 338 w 677"/>
                <a:gd name="T55" fmla="*/ 118 h 677"/>
                <a:gd name="T56" fmla="*/ 559 w 677"/>
                <a:gd name="T57" fmla="*/ 338 h 677"/>
                <a:gd name="T58" fmla="*/ 338 w 677"/>
                <a:gd name="T59" fmla="*/ 559 h 677"/>
                <a:gd name="T60" fmla="*/ 338 w 677"/>
                <a:gd name="T61" fmla="*/ 137 h 677"/>
                <a:gd name="T62" fmla="*/ 137 w 677"/>
                <a:gd name="T63" fmla="*/ 338 h 677"/>
                <a:gd name="T64" fmla="*/ 338 w 677"/>
                <a:gd name="T65" fmla="*/ 539 h 677"/>
                <a:gd name="T66" fmla="*/ 539 w 677"/>
                <a:gd name="T67" fmla="*/ 338 h 677"/>
                <a:gd name="T68" fmla="*/ 338 w 677"/>
                <a:gd name="T69" fmla="*/ 137 h 677"/>
                <a:gd name="T70" fmla="*/ 338 w 677"/>
                <a:gd name="T71" fmla="*/ 497 h 677"/>
                <a:gd name="T72" fmla="*/ 180 w 677"/>
                <a:gd name="T73" fmla="*/ 338 h 677"/>
                <a:gd name="T74" fmla="*/ 338 w 677"/>
                <a:gd name="T75" fmla="*/ 180 h 677"/>
                <a:gd name="T76" fmla="*/ 496 w 677"/>
                <a:gd name="T77" fmla="*/ 338 h 677"/>
                <a:gd name="T78" fmla="*/ 338 w 677"/>
                <a:gd name="T79" fmla="*/ 49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7" h="677"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  <a:moveTo>
                    <a:pt x="338" y="0"/>
                  </a:moveTo>
                  <a:cubicBezTo>
                    <a:pt x="151" y="0"/>
                    <a:pt x="0" y="151"/>
                    <a:pt x="0" y="338"/>
                  </a:cubicBezTo>
                  <a:cubicBezTo>
                    <a:pt x="0" y="525"/>
                    <a:pt x="151" y="677"/>
                    <a:pt x="338" y="677"/>
                  </a:cubicBezTo>
                  <a:cubicBezTo>
                    <a:pt x="525" y="677"/>
                    <a:pt x="677" y="525"/>
                    <a:pt x="677" y="338"/>
                  </a:cubicBezTo>
                  <a:cubicBezTo>
                    <a:pt x="677" y="151"/>
                    <a:pt x="525" y="0"/>
                    <a:pt x="338" y="0"/>
                  </a:cubicBezTo>
                  <a:close/>
                  <a:moveTo>
                    <a:pt x="338" y="559"/>
                  </a:moveTo>
                  <a:cubicBezTo>
                    <a:pt x="217" y="559"/>
                    <a:pt x="118" y="460"/>
                    <a:pt x="118" y="338"/>
                  </a:cubicBezTo>
                  <a:cubicBezTo>
                    <a:pt x="118" y="217"/>
                    <a:pt x="217" y="118"/>
                    <a:pt x="338" y="118"/>
                  </a:cubicBezTo>
                  <a:cubicBezTo>
                    <a:pt x="460" y="118"/>
                    <a:pt x="559" y="217"/>
                    <a:pt x="559" y="338"/>
                  </a:cubicBezTo>
                  <a:cubicBezTo>
                    <a:pt x="559" y="460"/>
                    <a:pt x="460" y="559"/>
                    <a:pt x="338" y="559"/>
                  </a:cubicBezTo>
                  <a:close/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2" name="Freeform 53">
              <a:extLst>
                <a:ext uri="{FF2B5EF4-FFF2-40B4-BE49-F238E27FC236}">
                  <a16:creationId xmlns:a16="http://schemas.microsoft.com/office/drawing/2014/main" xmlns="" id="{20A858BF-1FFC-4FB4-ADA4-816E325A3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3" y="738"/>
              <a:ext cx="183" cy="186"/>
            </a:xfrm>
            <a:custGeom>
              <a:avLst/>
              <a:gdLst>
                <a:gd name="T0" fmla="*/ 183 w 183"/>
                <a:gd name="T1" fmla="*/ 186 h 186"/>
                <a:gd name="T2" fmla="*/ 0 w 183"/>
                <a:gd name="T3" fmla="*/ 186 h 186"/>
                <a:gd name="T4" fmla="*/ 17 w 183"/>
                <a:gd name="T5" fmla="*/ 0 h 186"/>
                <a:gd name="T6" fmla="*/ 164 w 183"/>
                <a:gd name="T7" fmla="*/ 0 h 186"/>
                <a:gd name="T8" fmla="*/ 183 w 183"/>
                <a:gd name="T9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6">
                  <a:moveTo>
                    <a:pt x="183" y="186"/>
                  </a:moveTo>
                  <a:lnTo>
                    <a:pt x="0" y="186"/>
                  </a:lnTo>
                  <a:lnTo>
                    <a:pt x="17" y="0"/>
                  </a:lnTo>
                  <a:lnTo>
                    <a:pt x="164" y="0"/>
                  </a:lnTo>
                  <a:lnTo>
                    <a:pt x="183" y="186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3" name="Freeform 54">
              <a:extLst>
                <a:ext uri="{FF2B5EF4-FFF2-40B4-BE49-F238E27FC236}">
                  <a16:creationId xmlns:a16="http://schemas.microsoft.com/office/drawing/2014/main" xmlns="" id="{FDDA5EB5-02AC-43A8-8AA4-2A10704F7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" y="831"/>
              <a:ext cx="235" cy="242"/>
            </a:xfrm>
            <a:custGeom>
              <a:avLst/>
              <a:gdLst>
                <a:gd name="T0" fmla="*/ 235 w 235"/>
                <a:gd name="T1" fmla="*/ 150 h 242"/>
                <a:gd name="T2" fmla="*/ 76 w 235"/>
                <a:gd name="T3" fmla="*/ 242 h 242"/>
                <a:gd name="T4" fmla="*/ 0 w 235"/>
                <a:gd name="T5" fmla="*/ 74 h 242"/>
                <a:gd name="T6" fmla="*/ 129 w 235"/>
                <a:gd name="T7" fmla="*/ 0 h 242"/>
                <a:gd name="T8" fmla="*/ 235 w 235"/>
                <a:gd name="T9" fmla="*/ 15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2">
                  <a:moveTo>
                    <a:pt x="235" y="150"/>
                  </a:moveTo>
                  <a:lnTo>
                    <a:pt x="76" y="242"/>
                  </a:lnTo>
                  <a:lnTo>
                    <a:pt x="0" y="74"/>
                  </a:lnTo>
                  <a:lnTo>
                    <a:pt x="129" y="0"/>
                  </a:lnTo>
                  <a:lnTo>
                    <a:pt x="235" y="15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4" name="Freeform 55">
              <a:extLst>
                <a:ext uri="{FF2B5EF4-FFF2-40B4-BE49-F238E27FC236}">
                  <a16:creationId xmlns:a16="http://schemas.microsoft.com/office/drawing/2014/main" xmlns="" id="{A596CA58-1488-4F74-88A6-79FC551BA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161"/>
              <a:ext cx="243" cy="235"/>
            </a:xfrm>
            <a:custGeom>
              <a:avLst/>
              <a:gdLst>
                <a:gd name="T0" fmla="*/ 243 w 243"/>
                <a:gd name="T1" fmla="*/ 76 h 235"/>
                <a:gd name="T2" fmla="*/ 150 w 243"/>
                <a:gd name="T3" fmla="*/ 235 h 235"/>
                <a:gd name="T4" fmla="*/ 0 w 243"/>
                <a:gd name="T5" fmla="*/ 126 h 235"/>
                <a:gd name="T6" fmla="*/ 74 w 243"/>
                <a:gd name="T7" fmla="*/ 0 h 235"/>
                <a:gd name="T8" fmla="*/ 243 w 243"/>
                <a:gd name="T9" fmla="*/ 7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35">
                  <a:moveTo>
                    <a:pt x="243" y="76"/>
                  </a:moveTo>
                  <a:lnTo>
                    <a:pt x="150" y="235"/>
                  </a:lnTo>
                  <a:lnTo>
                    <a:pt x="0" y="126"/>
                  </a:lnTo>
                  <a:lnTo>
                    <a:pt x="74" y="0"/>
                  </a:lnTo>
                  <a:lnTo>
                    <a:pt x="243" y="76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5" name="Freeform 56">
              <a:extLst>
                <a:ext uri="{FF2B5EF4-FFF2-40B4-BE49-F238E27FC236}">
                  <a16:creationId xmlns:a16="http://schemas.microsoft.com/office/drawing/2014/main" xmlns="" id="{97DF2034-0BBA-45C5-A349-A133BC884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1619"/>
              <a:ext cx="186" cy="183"/>
            </a:xfrm>
            <a:custGeom>
              <a:avLst/>
              <a:gdLst>
                <a:gd name="T0" fmla="*/ 186 w 186"/>
                <a:gd name="T1" fmla="*/ 0 h 183"/>
                <a:gd name="T2" fmla="*/ 186 w 186"/>
                <a:gd name="T3" fmla="*/ 183 h 183"/>
                <a:gd name="T4" fmla="*/ 0 w 186"/>
                <a:gd name="T5" fmla="*/ 164 h 183"/>
                <a:gd name="T6" fmla="*/ 0 w 186"/>
                <a:gd name="T7" fmla="*/ 17 h 183"/>
                <a:gd name="T8" fmla="*/ 186 w 186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3">
                  <a:moveTo>
                    <a:pt x="186" y="0"/>
                  </a:moveTo>
                  <a:lnTo>
                    <a:pt x="186" y="183"/>
                  </a:lnTo>
                  <a:lnTo>
                    <a:pt x="0" y="164"/>
                  </a:lnTo>
                  <a:lnTo>
                    <a:pt x="0" y="17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6" name="Freeform 57">
              <a:extLst>
                <a:ext uri="{FF2B5EF4-FFF2-40B4-BE49-F238E27FC236}">
                  <a16:creationId xmlns:a16="http://schemas.microsoft.com/office/drawing/2014/main" xmlns="" id="{949B0D1F-DD3D-425D-B5D1-09D826505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" y="2025"/>
              <a:ext cx="242" cy="236"/>
            </a:xfrm>
            <a:custGeom>
              <a:avLst/>
              <a:gdLst>
                <a:gd name="T0" fmla="*/ 150 w 242"/>
                <a:gd name="T1" fmla="*/ 0 h 236"/>
                <a:gd name="T2" fmla="*/ 242 w 242"/>
                <a:gd name="T3" fmla="*/ 160 h 236"/>
                <a:gd name="T4" fmla="*/ 74 w 242"/>
                <a:gd name="T5" fmla="*/ 236 h 236"/>
                <a:gd name="T6" fmla="*/ 0 w 242"/>
                <a:gd name="T7" fmla="*/ 110 h 236"/>
                <a:gd name="T8" fmla="*/ 150 w 242"/>
                <a:gd name="T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36">
                  <a:moveTo>
                    <a:pt x="150" y="0"/>
                  </a:moveTo>
                  <a:lnTo>
                    <a:pt x="242" y="160"/>
                  </a:lnTo>
                  <a:lnTo>
                    <a:pt x="74" y="236"/>
                  </a:lnTo>
                  <a:lnTo>
                    <a:pt x="0" y="110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7" name="Freeform 58">
              <a:extLst>
                <a:ext uri="{FF2B5EF4-FFF2-40B4-BE49-F238E27FC236}">
                  <a16:creationId xmlns:a16="http://schemas.microsoft.com/office/drawing/2014/main" xmlns="" id="{53D5AD5F-2975-4FA3-9A2E-000D553CA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" y="2351"/>
              <a:ext cx="235" cy="240"/>
            </a:xfrm>
            <a:custGeom>
              <a:avLst/>
              <a:gdLst>
                <a:gd name="T0" fmla="*/ 76 w 235"/>
                <a:gd name="T1" fmla="*/ 0 h 240"/>
                <a:gd name="T2" fmla="*/ 235 w 235"/>
                <a:gd name="T3" fmla="*/ 90 h 240"/>
                <a:gd name="T4" fmla="*/ 126 w 235"/>
                <a:gd name="T5" fmla="*/ 240 h 240"/>
                <a:gd name="T6" fmla="*/ 0 w 235"/>
                <a:gd name="T7" fmla="*/ 166 h 240"/>
                <a:gd name="T8" fmla="*/ 76 w 235"/>
                <a:gd name="T9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0">
                  <a:moveTo>
                    <a:pt x="76" y="0"/>
                  </a:moveTo>
                  <a:lnTo>
                    <a:pt x="235" y="90"/>
                  </a:lnTo>
                  <a:lnTo>
                    <a:pt x="126" y="240"/>
                  </a:lnTo>
                  <a:lnTo>
                    <a:pt x="0" y="166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8" name="Freeform 59">
              <a:extLst>
                <a:ext uri="{FF2B5EF4-FFF2-40B4-BE49-F238E27FC236}">
                  <a16:creationId xmlns:a16="http://schemas.microsoft.com/office/drawing/2014/main" xmlns="" id="{102C85F4-DEA6-438F-A53D-CBE944F09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" y="2503"/>
              <a:ext cx="183" cy="183"/>
            </a:xfrm>
            <a:custGeom>
              <a:avLst/>
              <a:gdLst>
                <a:gd name="T0" fmla="*/ 0 w 183"/>
                <a:gd name="T1" fmla="*/ 0 h 183"/>
                <a:gd name="T2" fmla="*/ 183 w 183"/>
                <a:gd name="T3" fmla="*/ 0 h 183"/>
                <a:gd name="T4" fmla="*/ 164 w 183"/>
                <a:gd name="T5" fmla="*/ 183 h 183"/>
                <a:gd name="T6" fmla="*/ 17 w 183"/>
                <a:gd name="T7" fmla="*/ 183 h 183"/>
                <a:gd name="T8" fmla="*/ 0 w 183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0"/>
                  </a:moveTo>
                  <a:lnTo>
                    <a:pt x="183" y="0"/>
                  </a:lnTo>
                  <a:lnTo>
                    <a:pt x="164" y="183"/>
                  </a:lnTo>
                  <a:lnTo>
                    <a:pt x="17" y="1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49" name="Freeform 60">
              <a:extLst>
                <a:ext uri="{FF2B5EF4-FFF2-40B4-BE49-F238E27FC236}">
                  <a16:creationId xmlns:a16="http://schemas.microsoft.com/office/drawing/2014/main" xmlns="" id="{FB2AB5C4-B9AF-4FD4-A67B-0674F164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" y="2353"/>
              <a:ext cx="235" cy="240"/>
            </a:xfrm>
            <a:custGeom>
              <a:avLst/>
              <a:gdLst>
                <a:gd name="T0" fmla="*/ 0 w 235"/>
                <a:gd name="T1" fmla="*/ 90 h 240"/>
                <a:gd name="T2" fmla="*/ 159 w 235"/>
                <a:gd name="T3" fmla="*/ 0 h 240"/>
                <a:gd name="T4" fmla="*/ 235 w 235"/>
                <a:gd name="T5" fmla="*/ 166 h 240"/>
                <a:gd name="T6" fmla="*/ 109 w 235"/>
                <a:gd name="T7" fmla="*/ 240 h 240"/>
                <a:gd name="T8" fmla="*/ 0 w 235"/>
                <a:gd name="T9" fmla="*/ 9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0">
                  <a:moveTo>
                    <a:pt x="0" y="90"/>
                  </a:moveTo>
                  <a:lnTo>
                    <a:pt x="159" y="0"/>
                  </a:lnTo>
                  <a:lnTo>
                    <a:pt x="235" y="166"/>
                  </a:lnTo>
                  <a:lnTo>
                    <a:pt x="109" y="24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0" name="Freeform 61">
              <a:extLst>
                <a:ext uri="{FF2B5EF4-FFF2-40B4-BE49-F238E27FC236}">
                  <a16:creationId xmlns:a16="http://schemas.microsoft.com/office/drawing/2014/main" xmlns="" id="{82D99088-E02F-4336-A585-CCA5B6CCC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" y="2030"/>
              <a:ext cx="242" cy="235"/>
            </a:xfrm>
            <a:custGeom>
              <a:avLst/>
              <a:gdLst>
                <a:gd name="T0" fmla="*/ 0 w 242"/>
                <a:gd name="T1" fmla="*/ 159 h 235"/>
                <a:gd name="T2" fmla="*/ 93 w 242"/>
                <a:gd name="T3" fmla="*/ 0 h 235"/>
                <a:gd name="T4" fmla="*/ 242 w 242"/>
                <a:gd name="T5" fmla="*/ 107 h 235"/>
                <a:gd name="T6" fmla="*/ 169 w 242"/>
                <a:gd name="T7" fmla="*/ 235 h 235"/>
                <a:gd name="T8" fmla="*/ 0 w 242"/>
                <a:gd name="T9" fmla="*/ 15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35">
                  <a:moveTo>
                    <a:pt x="0" y="159"/>
                  </a:moveTo>
                  <a:lnTo>
                    <a:pt x="93" y="0"/>
                  </a:lnTo>
                  <a:lnTo>
                    <a:pt x="242" y="107"/>
                  </a:lnTo>
                  <a:lnTo>
                    <a:pt x="169" y="235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1" name="Freeform 62">
              <a:extLst>
                <a:ext uri="{FF2B5EF4-FFF2-40B4-BE49-F238E27FC236}">
                  <a16:creationId xmlns:a16="http://schemas.microsoft.com/office/drawing/2014/main" xmlns="" id="{489DB6B8-7FF0-43FD-AE68-1C0CE505F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1" y="1624"/>
              <a:ext cx="183" cy="183"/>
            </a:xfrm>
            <a:custGeom>
              <a:avLst/>
              <a:gdLst>
                <a:gd name="T0" fmla="*/ 0 w 183"/>
                <a:gd name="T1" fmla="*/ 183 h 183"/>
                <a:gd name="T2" fmla="*/ 0 w 183"/>
                <a:gd name="T3" fmla="*/ 0 h 183"/>
                <a:gd name="T4" fmla="*/ 183 w 183"/>
                <a:gd name="T5" fmla="*/ 17 h 183"/>
                <a:gd name="T6" fmla="*/ 183 w 183"/>
                <a:gd name="T7" fmla="*/ 164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0" y="0"/>
                  </a:lnTo>
                  <a:lnTo>
                    <a:pt x="183" y="17"/>
                  </a:lnTo>
                  <a:lnTo>
                    <a:pt x="183" y="164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2" name="Freeform 63">
              <a:extLst>
                <a:ext uri="{FF2B5EF4-FFF2-40B4-BE49-F238E27FC236}">
                  <a16:creationId xmlns:a16="http://schemas.microsoft.com/office/drawing/2014/main" xmlns="" id="{1CAADA1F-8D82-4449-BDCD-4414EB37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" y="1163"/>
              <a:ext cx="243" cy="238"/>
            </a:xfrm>
            <a:custGeom>
              <a:avLst/>
              <a:gdLst>
                <a:gd name="T0" fmla="*/ 93 w 243"/>
                <a:gd name="T1" fmla="*/ 238 h 238"/>
                <a:gd name="T2" fmla="*/ 0 w 243"/>
                <a:gd name="T3" fmla="*/ 76 h 238"/>
                <a:gd name="T4" fmla="*/ 169 w 243"/>
                <a:gd name="T5" fmla="*/ 0 h 238"/>
                <a:gd name="T6" fmla="*/ 243 w 243"/>
                <a:gd name="T7" fmla="*/ 129 h 238"/>
                <a:gd name="T8" fmla="*/ 93 w 243"/>
                <a:gd name="T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38">
                  <a:moveTo>
                    <a:pt x="93" y="238"/>
                  </a:moveTo>
                  <a:lnTo>
                    <a:pt x="0" y="76"/>
                  </a:lnTo>
                  <a:lnTo>
                    <a:pt x="169" y="0"/>
                  </a:lnTo>
                  <a:lnTo>
                    <a:pt x="243" y="129"/>
                  </a:lnTo>
                  <a:lnTo>
                    <a:pt x="93" y="238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3" name="Freeform 64">
              <a:extLst>
                <a:ext uri="{FF2B5EF4-FFF2-40B4-BE49-F238E27FC236}">
                  <a16:creationId xmlns:a16="http://schemas.microsoft.com/office/drawing/2014/main" xmlns="" id="{9BB52CB4-003E-4F0B-A445-8A73D3CDC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" y="833"/>
              <a:ext cx="235" cy="243"/>
            </a:xfrm>
            <a:custGeom>
              <a:avLst/>
              <a:gdLst>
                <a:gd name="T0" fmla="*/ 159 w 235"/>
                <a:gd name="T1" fmla="*/ 243 h 243"/>
                <a:gd name="T2" fmla="*/ 0 w 235"/>
                <a:gd name="T3" fmla="*/ 150 h 243"/>
                <a:gd name="T4" fmla="*/ 107 w 235"/>
                <a:gd name="T5" fmla="*/ 0 h 243"/>
                <a:gd name="T6" fmla="*/ 235 w 235"/>
                <a:gd name="T7" fmla="*/ 74 h 243"/>
                <a:gd name="T8" fmla="*/ 159 w 235"/>
                <a:gd name="T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3">
                  <a:moveTo>
                    <a:pt x="159" y="243"/>
                  </a:moveTo>
                  <a:lnTo>
                    <a:pt x="0" y="150"/>
                  </a:lnTo>
                  <a:lnTo>
                    <a:pt x="107" y="0"/>
                  </a:lnTo>
                  <a:lnTo>
                    <a:pt x="235" y="74"/>
                  </a:lnTo>
                  <a:lnTo>
                    <a:pt x="159" y="24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4" name="Freeform 65">
              <a:extLst>
                <a:ext uri="{FF2B5EF4-FFF2-40B4-BE49-F238E27FC236}">
                  <a16:creationId xmlns:a16="http://schemas.microsoft.com/office/drawing/2014/main" xmlns="" id="{DDAA3F52-452E-40FD-889C-7A467EF66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" y="1142"/>
              <a:ext cx="200" cy="240"/>
            </a:xfrm>
            <a:custGeom>
              <a:avLst/>
              <a:gdLst>
                <a:gd name="T0" fmla="*/ 84 w 84"/>
                <a:gd name="T1" fmla="*/ 83 h 101"/>
                <a:gd name="T2" fmla="*/ 60 w 84"/>
                <a:gd name="T3" fmla="*/ 101 h 101"/>
                <a:gd name="T4" fmla="*/ 16 w 84"/>
                <a:gd name="T5" fmla="*/ 42 h 101"/>
                <a:gd name="T6" fmla="*/ 0 w 84"/>
                <a:gd name="T7" fmla="*/ 21 h 101"/>
                <a:gd name="T8" fmla="*/ 9 w 84"/>
                <a:gd name="T9" fmla="*/ 16 h 101"/>
                <a:gd name="T10" fmla="*/ 21 w 84"/>
                <a:gd name="T11" fmla="*/ 0 h 101"/>
                <a:gd name="T12" fmla="*/ 39 w 84"/>
                <a:gd name="T13" fmla="*/ 23 h 101"/>
                <a:gd name="T14" fmla="*/ 84 w 84"/>
                <a:gd name="T15" fmla="*/ 8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01">
                  <a:moveTo>
                    <a:pt x="84" y="83"/>
                  </a:moveTo>
                  <a:cubicBezTo>
                    <a:pt x="60" y="101"/>
                    <a:pt x="60" y="101"/>
                    <a:pt x="60" y="101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6" y="18"/>
                    <a:pt x="9" y="16"/>
                  </a:cubicBezTo>
                  <a:cubicBezTo>
                    <a:pt x="15" y="11"/>
                    <a:pt x="19" y="6"/>
                    <a:pt x="21" y="0"/>
                  </a:cubicBezTo>
                  <a:cubicBezTo>
                    <a:pt x="39" y="23"/>
                    <a:pt x="39" y="23"/>
                    <a:pt x="39" y="23"/>
                  </a:cubicBezTo>
                  <a:lnTo>
                    <a:pt x="84" y="83"/>
                  </a:ln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5" name="Freeform 66">
              <a:extLst>
                <a:ext uri="{FF2B5EF4-FFF2-40B4-BE49-F238E27FC236}">
                  <a16:creationId xmlns:a16="http://schemas.microsoft.com/office/drawing/2014/main" xmlns="" id="{0CB7D0BD-CAD3-4370-90CC-BE2FB5D6C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9" y="931"/>
              <a:ext cx="340" cy="346"/>
            </a:xfrm>
            <a:custGeom>
              <a:avLst/>
              <a:gdLst>
                <a:gd name="T0" fmla="*/ 125 w 143"/>
                <a:gd name="T1" fmla="*/ 34 h 146"/>
                <a:gd name="T2" fmla="*/ 34 w 143"/>
                <a:gd name="T3" fmla="*/ 22 h 146"/>
                <a:gd name="T4" fmla="*/ 22 w 143"/>
                <a:gd name="T5" fmla="*/ 114 h 146"/>
                <a:gd name="T6" fmla="*/ 104 w 143"/>
                <a:gd name="T7" fmla="*/ 131 h 146"/>
                <a:gd name="T8" fmla="*/ 113 w 143"/>
                <a:gd name="T9" fmla="*/ 126 h 146"/>
                <a:gd name="T10" fmla="*/ 127 w 143"/>
                <a:gd name="T11" fmla="*/ 112 h 146"/>
                <a:gd name="T12" fmla="*/ 125 w 143"/>
                <a:gd name="T13" fmla="*/ 34 h 146"/>
                <a:gd name="T14" fmla="*/ 97 w 143"/>
                <a:gd name="T15" fmla="*/ 105 h 146"/>
                <a:gd name="T16" fmla="*/ 88 w 143"/>
                <a:gd name="T17" fmla="*/ 110 h 146"/>
                <a:gd name="T18" fmla="*/ 42 w 143"/>
                <a:gd name="T19" fmla="*/ 98 h 146"/>
                <a:gd name="T20" fmla="*/ 50 w 143"/>
                <a:gd name="T21" fmla="*/ 43 h 146"/>
                <a:gd name="T22" fmla="*/ 104 w 143"/>
                <a:gd name="T23" fmla="*/ 50 h 146"/>
                <a:gd name="T24" fmla="*/ 109 w 143"/>
                <a:gd name="T25" fmla="*/ 89 h 146"/>
                <a:gd name="T26" fmla="*/ 97 w 143"/>
                <a:gd name="T27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6">
                  <a:moveTo>
                    <a:pt x="125" y="34"/>
                  </a:moveTo>
                  <a:cubicBezTo>
                    <a:pt x="103" y="6"/>
                    <a:pt x="62" y="0"/>
                    <a:pt x="34" y="22"/>
                  </a:cubicBezTo>
                  <a:cubicBezTo>
                    <a:pt x="5" y="44"/>
                    <a:pt x="0" y="85"/>
                    <a:pt x="22" y="114"/>
                  </a:cubicBezTo>
                  <a:cubicBezTo>
                    <a:pt x="41" y="139"/>
                    <a:pt x="76" y="146"/>
                    <a:pt x="104" y="131"/>
                  </a:cubicBezTo>
                  <a:cubicBezTo>
                    <a:pt x="107" y="130"/>
                    <a:pt x="110" y="128"/>
                    <a:pt x="113" y="126"/>
                  </a:cubicBezTo>
                  <a:cubicBezTo>
                    <a:pt x="118" y="121"/>
                    <a:pt x="123" y="117"/>
                    <a:pt x="127" y="112"/>
                  </a:cubicBezTo>
                  <a:cubicBezTo>
                    <a:pt x="143" y="89"/>
                    <a:pt x="143" y="57"/>
                    <a:pt x="125" y="34"/>
                  </a:cubicBezTo>
                  <a:close/>
                  <a:moveTo>
                    <a:pt x="97" y="105"/>
                  </a:moveTo>
                  <a:cubicBezTo>
                    <a:pt x="94" y="107"/>
                    <a:pt x="91" y="109"/>
                    <a:pt x="88" y="110"/>
                  </a:cubicBezTo>
                  <a:cubicBezTo>
                    <a:pt x="72" y="116"/>
                    <a:pt x="53" y="112"/>
                    <a:pt x="42" y="98"/>
                  </a:cubicBezTo>
                  <a:cubicBezTo>
                    <a:pt x="29" y="81"/>
                    <a:pt x="33" y="56"/>
                    <a:pt x="50" y="43"/>
                  </a:cubicBezTo>
                  <a:cubicBezTo>
                    <a:pt x="67" y="30"/>
                    <a:pt x="91" y="33"/>
                    <a:pt x="104" y="50"/>
                  </a:cubicBezTo>
                  <a:cubicBezTo>
                    <a:pt x="113" y="62"/>
                    <a:pt x="115" y="76"/>
                    <a:pt x="109" y="89"/>
                  </a:cubicBezTo>
                  <a:cubicBezTo>
                    <a:pt x="107" y="95"/>
                    <a:pt x="103" y="100"/>
                    <a:pt x="97" y="105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6" name="Freeform 67">
              <a:extLst>
                <a:ext uri="{FF2B5EF4-FFF2-40B4-BE49-F238E27FC236}">
                  <a16:creationId xmlns:a16="http://schemas.microsoft.com/office/drawing/2014/main" xmlns="" id="{F27B5373-BAEF-4FDA-B255-2CADF8DED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1" y="387"/>
              <a:ext cx="805" cy="803"/>
            </a:xfrm>
            <a:custGeom>
              <a:avLst/>
              <a:gdLst>
                <a:gd name="T0" fmla="*/ 162 w 339"/>
                <a:gd name="T1" fmla="*/ 93 h 338"/>
                <a:gd name="T2" fmla="*/ 177 w 339"/>
                <a:gd name="T3" fmla="*/ 246 h 338"/>
                <a:gd name="T4" fmla="*/ 176 w 339"/>
                <a:gd name="T5" fmla="*/ 236 h 338"/>
                <a:gd name="T6" fmla="*/ 163 w 339"/>
                <a:gd name="T7" fmla="*/ 102 h 338"/>
                <a:gd name="T8" fmla="*/ 176 w 339"/>
                <a:gd name="T9" fmla="*/ 236 h 338"/>
                <a:gd name="T10" fmla="*/ 162 w 339"/>
                <a:gd name="T11" fmla="*/ 93 h 338"/>
                <a:gd name="T12" fmla="*/ 177 w 339"/>
                <a:gd name="T13" fmla="*/ 246 h 338"/>
                <a:gd name="T14" fmla="*/ 176 w 339"/>
                <a:gd name="T15" fmla="*/ 236 h 338"/>
                <a:gd name="T16" fmla="*/ 163 w 339"/>
                <a:gd name="T17" fmla="*/ 102 h 338"/>
                <a:gd name="T18" fmla="*/ 176 w 339"/>
                <a:gd name="T19" fmla="*/ 236 h 338"/>
                <a:gd name="T20" fmla="*/ 162 w 339"/>
                <a:gd name="T21" fmla="*/ 93 h 338"/>
                <a:gd name="T22" fmla="*/ 177 w 339"/>
                <a:gd name="T23" fmla="*/ 246 h 338"/>
                <a:gd name="T24" fmla="*/ 176 w 339"/>
                <a:gd name="T25" fmla="*/ 236 h 338"/>
                <a:gd name="T26" fmla="*/ 163 w 339"/>
                <a:gd name="T27" fmla="*/ 102 h 338"/>
                <a:gd name="T28" fmla="*/ 176 w 339"/>
                <a:gd name="T29" fmla="*/ 236 h 338"/>
                <a:gd name="T30" fmla="*/ 155 w 339"/>
                <a:gd name="T31" fmla="*/ 8 h 338"/>
                <a:gd name="T32" fmla="*/ 185 w 339"/>
                <a:gd name="T33" fmla="*/ 330 h 338"/>
                <a:gd name="T34" fmla="*/ 178 w 339"/>
                <a:gd name="T35" fmla="*/ 257 h 338"/>
                <a:gd name="T36" fmla="*/ 161 w 339"/>
                <a:gd name="T37" fmla="*/ 81 h 338"/>
                <a:gd name="T38" fmla="*/ 178 w 339"/>
                <a:gd name="T39" fmla="*/ 257 h 338"/>
                <a:gd name="T40" fmla="*/ 93 w 339"/>
                <a:gd name="T41" fmla="*/ 176 h 338"/>
                <a:gd name="T42" fmla="*/ 246 w 339"/>
                <a:gd name="T43" fmla="*/ 162 h 338"/>
                <a:gd name="T44" fmla="*/ 176 w 339"/>
                <a:gd name="T45" fmla="*/ 236 h 338"/>
                <a:gd name="T46" fmla="*/ 163 w 339"/>
                <a:gd name="T47" fmla="*/ 102 h 338"/>
                <a:gd name="T48" fmla="*/ 176 w 339"/>
                <a:gd name="T49" fmla="*/ 236 h 338"/>
                <a:gd name="T50" fmla="*/ 162 w 339"/>
                <a:gd name="T51" fmla="*/ 93 h 338"/>
                <a:gd name="T52" fmla="*/ 177 w 339"/>
                <a:gd name="T53" fmla="*/ 246 h 338"/>
                <a:gd name="T54" fmla="*/ 176 w 339"/>
                <a:gd name="T55" fmla="*/ 236 h 338"/>
                <a:gd name="T56" fmla="*/ 163 w 339"/>
                <a:gd name="T57" fmla="*/ 102 h 338"/>
                <a:gd name="T58" fmla="*/ 176 w 339"/>
                <a:gd name="T59" fmla="*/ 236 h 338"/>
                <a:gd name="T60" fmla="*/ 162 w 339"/>
                <a:gd name="T61" fmla="*/ 93 h 338"/>
                <a:gd name="T62" fmla="*/ 177 w 339"/>
                <a:gd name="T63" fmla="*/ 246 h 338"/>
                <a:gd name="T64" fmla="*/ 176 w 339"/>
                <a:gd name="T65" fmla="*/ 236 h 338"/>
                <a:gd name="T66" fmla="*/ 163 w 339"/>
                <a:gd name="T67" fmla="*/ 102 h 338"/>
                <a:gd name="T68" fmla="*/ 176 w 339"/>
                <a:gd name="T69" fmla="*/ 2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9" h="338"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330" y="154"/>
                  </a:moveTo>
                  <a:cubicBezTo>
                    <a:pt x="322" y="66"/>
                    <a:pt x="243" y="0"/>
                    <a:pt x="155" y="8"/>
                  </a:cubicBezTo>
                  <a:cubicBezTo>
                    <a:pt x="66" y="17"/>
                    <a:pt x="0" y="95"/>
                    <a:pt x="9" y="184"/>
                  </a:cubicBezTo>
                  <a:cubicBezTo>
                    <a:pt x="17" y="273"/>
                    <a:pt x="96" y="338"/>
                    <a:pt x="185" y="330"/>
                  </a:cubicBezTo>
                  <a:cubicBezTo>
                    <a:pt x="273" y="322"/>
                    <a:pt x="339" y="243"/>
                    <a:pt x="330" y="154"/>
                  </a:cubicBezTo>
                  <a:close/>
                  <a:moveTo>
                    <a:pt x="178" y="257"/>
                  </a:moveTo>
                  <a:cubicBezTo>
                    <a:pt x="129" y="262"/>
                    <a:pt x="86" y="226"/>
                    <a:pt x="81" y="177"/>
                  </a:cubicBezTo>
                  <a:cubicBezTo>
                    <a:pt x="77" y="129"/>
                    <a:pt x="113" y="86"/>
                    <a:pt x="161" y="81"/>
                  </a:cubicBezTo>
                  <a:cubicBezTo>
                    <a:pt x="210" y="77"/>
                    <a:pt x="253" y="112"/>
                    <a:pt x="258" y="161"/>
                  </a:cubicBezTo>
                  <a:cubicBezTo>
                    <a:pt x="262" y="210"/>
                    <a:pt x="226" y="253"/>
                    <a:pt x="178" y="257"/>
                  </a:cubicBezTo>
                  <a:close/>
                  <a:moveTo>
                    <a:pt x="162" y="93"/>
                  </a:move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ubicBezTo>
                    <a:pt x="242" y="120"/>
                    <a:pt x="205" y="89"/>
                    <a:pt x="162" y="93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7" name="Freeform 68">
              <a:extLst>
                <a:ext uri="{FF2B5EF4-FFF2-40B4-BE49-F238E27FC236}">
                  <a16:creationId xmlns:a16="http://schemas.microsoft.com/office/drawing/2014/main" xmlns="" id="{8F0F2653-D299-4B60-AF96-1929467A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" y="313"/>
              <a:ext cx="147" cy="117"/>
            </a:xfrm>
            <a:custGeom>
              <a:avLst/>
              <a:gdLst>
                <a:gd name="T0" fmla="*/ 147 w 147"/>
                <a:gd name="T1" fmla="*/ 103 h 117"/>
                <a:gd name="T2" fmla="*/ 0 w 147"/>
                <a:gd name="T3" fmla="*/ 117 h 117"/>
                <a:gd name="T4" fmla="*/ 0 w 147"/>
                <a:gd name="T5" fmla="*/ 12 h 117"/>
                <a:gd name="T6" fmla="*/ 130 w 147"/>
                <a:gd name="T7" fmla="*/ 0 h 117"/>
                <a:gd name="T8" fmla="*/ 147 w 147"/>
                <a:gd name="T9" fmla="*/ 10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17">
                  <a:moveTo>
                    <a:pt x="147" y="103"/>
                  </a:moveTo>
                  <a:lnTo>
                    <a:pt x="0" y="117"/>
                  </a:lnTo>
                  <a:lnTo>
                    <a:pt x="0" y="12"/>
                  </a:lnTo>
                  <a:lnTo>
                    <a:pt x="130" y="0"/>
                  </a:lnTo>
                  <a:lnTo>
                    <a:pt x="147" y="10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8" name="Freeform 69">
              <a:extLst>
                <a:ext uri="{FF2B5EF4-FFF2-40B4-BE49-F238E27FC236}">
                  <a16:creationId xmlns:a16="http://schemas.microsoft.com/office/drawing/2014/main" xmlns="" id="{D07C1C7E-7C1F-4869-83B5-BE7887A17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432"/>
              <a:ext cx="169" cy="173"/>
            </a:xfrm>
            <a:custGeom>
              <a:avLst/>
              <a:gdLst>
                <a:gd name="T0" fmla="*/ 169 w 169"/>
                <a:gd name="T1" fmla="*/ 60 h 173"/>
                <a:gd name="T2" fmla="*/ 76 w 169"/>
                <a:gd name="T3" fmla="*/ 173 h 173"/>
                <a:gd name="T4" fmla="*/ 0 w 169"/>
                <a:gd name="T5" fmla="*/ 100 h 173"/>
                <a:gd name="T6" fmla="*/ 83 w 169"/>
                <a:gd name="T7" fmla="*/ 0 h 173"/>
                <a:gd name="T8" fmla="*/ 169 w 169"/>
                <a:gd name="T9" fmla="*/ 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73">
                  <a:moveTo>
                    <a:pt x="169" y="60"/>
                  </a:moveTo>
                  <a:lnTo>
                    <a:pt x="76" y="173"/>
                  </a:lnTo>
                  <a:lnTo>
                    <a:pt x="0" y="100"/>
                  </a:lnTo>
                  <a:lnTo>
                    <a:pt x="83" y="0"/>
                  </a:lnTo>
                  <a:lnTo>
                    <a:pt x="169" y="6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59" name="Freeform 70">
              <a:extLst>
                <a:ext uri="{FF2B5EF4-FFF2-40B4-BE49-F238E27FC236}">
                  <a16:creationId xmlns:a16="http://schemas.microsoft.com/office/drawing/2014/main" xmlns="" id="{78747A6A-9E88-49CB-9E0B-64DAF02D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" y="738"/>
              <a:ext cx="116" cy="150"/>
            </a:xfrm>
            <a:custGeom>
              <a:avLst/>
              <a:gdLst>
                <a:gd name="T0" fmla="*/ 102 w 116"/>
                <a:gd name="T1" fmla="*/ 0 h 150"/>
                <a:gd name="T2" fmla="*/ 116 w 116"/>
                <a:gd name="T3" fmla="*/ 148 h 150"/>
                <a:gd name="T4" fmla="*/ 11 w 116"/>
                <a:gd name="T5" fmla="*/ 150 h 150"/>
                <a:gd name="T6" fmla="*/ 0 w 116"/>
                <a:gd name="T7" fmla="*/ 19 h 150"/>
                <a:gd name="T8" fmla="*/ 102 w 116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50">
                  <a:moveTo>
                    <a:pt x="102" y="0"/>
                  </a:moveTo>
                  <a:lnTo>
                    <a:pt x="116" y="148"/>
                  </a:lnTo>
                  <a:lnTo>
                    <a:pt x="11" y="150"/>
                  </a:lnTo>
                  <a:lnTo>
                    <a:pt x="0" y="19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0" name="Freeform 71">
              <a:extLst>
                <a:ext uri="{FF2B5EF4-FFF2-40B4-BE49-F238E27FC236}">
                  <a16:creationId xmlns:a16="http://schemas.microsoft.com/office/drawing/2014/main" xmlns="" id="{E8083ABA-3E41-41A9-9ACA-6C6E9954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" y="1014"/>
              <a:ext cx="176" cy="168"/>
            </a:xfrm>
            <a:custGeom>
              <a:avLst/>
              <a:gdLst>
                <a:gd name="T0" fmla="*/ 62 w 176"/>
                <a:gd name="T1" fmla="*/ 0 h 168"/>
                <a:gd name="T2" fmla="*/ 176 w 176"/>
                <a:gd name="T3" fmla="*/ 95 h 168"/>
                <a:gd name="T4" fmla="*/ 102 w 176"/>
                <a:gd name="T5" fmla="*/ 168 h 168"/>
                <a:gd name="T6" fmla="*/ 0 w 176"/>
                <a:gd name="T7" fmla="*/ 85 h 168"/>
                <a:gd name="T8" fmla="*/ 62 w 176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68">
                  <a:moveTo>
                    <a:pt x="62" y="0"/>
                  </a:moveTo>
                  <a:lnTo>
                    <a:pt x="176" y="95"/>
                  </a:lnTo>
                  <a:lnTo>
                    <a:pt x="102" y="168"/>
                  </a:lnTo>
                  <a:lnTo>
                    <a:pt x="0" y="85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1" name="Freeform 72">
              <a:extLst>
                <a:ext uri="{FF2B5EF4-FFF2-40B4-BE49-F238E27FC236}">
                  <a16:creationId xmlns:a16="http://schemas.microsoft.com/office/drawing/2014/main" xmlns="" id="{E3E4DE6A-7D0B-4F42-AAF5-224014359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0" y="1142"/>
              <a:ext cx="150" cy="116"/>
            </a:xfrm>
            <a:custGeom>
              <a:avLst/>
              <a:gdLst>
                <a:gd name="T0" fmla="*/ 0 w 150"/>
                <a:gd name="T1" fmla="*/ 12 h 116"/>
                <a:gd name="T2" fmla="*/ 148 w 150"/>
                <a:gd name="T3" fmla="*/ 0 h 116"/>
                <a:gd name="T4" fmla="*/ 150 w 150"/>
                <a:gd name="T5" fmla="*/ 105 h 116"/>
                <a:gd name="T6" fmla="*/ 19 w 150"/>
                <a:gd name="T7" fmla="*/ 116 h 116"/>
                <a:gd name="T8" fmla="*/ 0 w 150"/>
                <a:gd name="T9" fmla="*/ 1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16">
                  <a:moveTo>
                    <a:pt x="0" y="12"/>
                  </a:moveTo>
                  <a:lnTo>
                    <a:pt x="148" y="0"/>
                  </a:lnTo>
                  <a:lnTo>
                    <a:pt x="150" y="105"/>
                  </a:lnTo>
                  <a:lnTo>
                    <a:pt x="19" y="11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2" name="Freeform 73">
              <a:extLst>
                <a:ext uri="{FF2B5EF4-FFF2-40B4-BE49-F238E27FC236}">
                  <a16:creationId xmlns:a16="http://schemas.microsoft.com/office/drawing/2014/main" xmlns="" id="{5D815BF5-CDF0-4EED-9B01-338E9463B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" y="966"/>
              <a:ext cx="168" cy="174"/>
            </a:xfrm>
            <a:custGeom>
              <a:avLst/>
              <a:gdLst>
                <a:gd name="T0" fmla="*/ 0 w 168"/>
                <a:gd name="T1" fmla="*/ 114 h 174"/>
                <a:gd name="T2" fmla="*/ 92 w 168"/>
                <a:gd name="T3" fmla="*/ 0 h 174"/>
                <a:gd name="T4" fmla="*/ 168 w 168"/>
                <a:gd name="T5" fmla="*/ 74 h 174"/>
                <a:gd name="T6" fmla="*/ 85 w 168"/>
                <a:gd name="T7" fmla="*/ 174 h 174"/>
                <a:gd name="T8" fmla="*/ 0 w 168"/>
                <a:gd name="T9" fmla="*/ 11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74">
                  <a:moveTo>
                    <a:pt x="0" y="114"/>
                  </a:moveTo>
                  <a:lnTo>
                    <a:pt x="92" y="0"/>
                  </a:lnTo>
                  <a:lnTo>
                    <a:pt x="168" y="74"/>
                  </a:lnTo>
                  <a:lnTo>
                    <a:pt x="85" y="17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3" name="Freeform 74">
              <a:extLst>
                <a:ext uri="{FF2B5EF4-FFF2-40B4-BE49-F238E27FC236}">
                  <a16:creationId xmlns:a16="http://schemas.microsoft.com/office/drawing/2014/main" xmlns="" id="{BD60FD99-8FB1-4F1F-9919-A12165706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" y="684"/>
              <a:ext cx="118" cy="147"/>
            </a:xfrm>
            <a:custGeom>
              <a:avLst/>
              <a:gdLst>
                <a:gd name="T0" fmla="*/ 14 w 118"/>
                <a:gd name="T1" fmla="*/ 147 h 147"/>
                <a:gd name="T2" fmla="*/ 0 w 118"/>
                <a:gd name="T3" fmla="*/ 2 h 147"/>
                <a:gd name="T4" fmla="*/ 107 w 118"/>
                <a:gd name="T5" fmla="*/ 0 h 147"/>
                <a:gd name="T6" fmla="*/ 118 w 118"/>
                <a:gd name="T7" fmla="*/ 130 h 147"/>
                <a:gd name="T8" fmla="*/ 14 w 11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47">
                  <a:moveTo>
                    <a:pt x="14" y="147"/>
                  </a:moveTo>
                  <a:lnTo>
                    <a:pt x="0" y="2"/>
                  </a:lnTo>
                  <a:lnTo>
                    <a:pt x="107" y="0"/>
                  </a:lnTo>
                  <a:lnTo>
                    <a:pt x="118" y="130"/>
                  </a:lnTo>
                  <a:lnTo>
                    <a:pt x="14" y="14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4" name="Freeform 75">
              <a:extLst>
                <a:ext uri="{FF2B5EF4-FFF2-40B4-BE49-F238E27FC236}">
                  <a16:creationId xmlns:a16="http://schemas.microsoft.com/office/drawing/2014/main" xmlns="" id="{18DC17C9-4102-4EAF-ABE3-7060B83D3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" y="387"/>
              <a:ext cx="174" cy="171"/>
            </a:xfrm>
            <a:custGeom>
              <a:avLst/>
              <a:gdLst>
                <a:gd name="T0" fmla="*/ 112 w 174"/>
                <a:gd name="T1" fmla="*/ 171 h 171"/>
                <a:gd name="T2" fmla="*/ 0 w 174"/>
                <a:gd name="T3" fmla="*/ 76 h 171"/>
                <a:gd name="T4" fmla="*/ 72 w 174"/>
                <a:gd name="T5" fmla="*/ 0 h 171"/>
                <a:gd name="T6" fmla="*/ 174 w 174"/>
                <a:gd name="T7" fmla="*/ 86 h 171"/>
                <a:gd name="T8" fmla="*/ 112 w 174"/>
                <a:gd name="T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1">
                  <a:moveTo>
                    <a:pt x="112" y="171"/>
                  </a:moveTo>
                  <a:lnTo>
                    <a:pt x="0" y="76"/>
                  </a:lnTo>
                  <a:lnTo>
                    <a:pt x="72" y="0"/>
                  </a:lnTo>
                  <a:lnTo>
                    <a:pt x="174" y="86"/>
                  </a:lnTo>
                  <a:lnTo>
                    <a:pt x="112" y="171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5" name="Freeform 76">
              <a:extLst>
                <a:ext uri="{FF2B5EF4-FFF2-40B4-BE49-F238E27FC236}">
                  <a16:creationId xmlns:a16="http://schemas.microsoft.com/office/drawing/2014/main" xmlns="" id="{AA64DB02-C3BA-4CC2-9E5D-B942A8724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2" y="335"/>
              <a:ext cx="95" cy="81"/>
            </a:xfrm>
            <a:custGeom>
              <a:avLst/>
              <a:gdLst>
                <a:gd name="T0" fmla="*/ 28 w 40"/>
                <a:gd name="T1" fmla="*/ 34 h 34"/>
                <a:gd name="T2" fmla="*/ 23 w 40"/>
                <a:gd name="T3" fmla="*/ 8 h 34"/>
                <a:gd name="T4" fmla="*/ 0 w 40"/>
                <a:gd name="T5" fmla="*/ 20 h 34"/>
                <a:gd name="T6" fmla="*/ 28 w 40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34">
                  <a:moveTo>
                    <a:pt x="28" y="34"/>
                  </a:moveTo>
                  <a:cubicBezTo>
                    <a:pt x="28" y="34"/>
                    <a:pt x="40" y="16"/>
                    <a:pt x="23" y="8"/>
                  </a:cubicBezTo>
                  <a:cubicBezTo>
                    <a:pt x="7" y="0"/>
                    <a:pt x="0" y="20"/>
                    <a:pt x="0" y="20"/>
                  </a:cubicBezTo>
                  <a:lnTo>
                    <a:pt x="28" y="34"/>
                  </a:lnTo>
                  <a:close/>
                </a:path>
              </a:pathLst>
            </a:custGeom>
            <a:solidFill>
              <a:srgbClr val="DD6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6" name="Freeform 77">
              <a:extLst>
                <a:ext uri="{FF2B5EF4-FFF2-40B4-BE49-F238E27FC236}">
                  <a16:creationId xmlns:a16="http://schemas.microsoft.com/office/drawing/2014/main" xmlns="" id="{4ABD232F-7210-4AD2-8A3C-14353A5BD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" y="380"/>
              <a:ext cx="223" cy="356"/>
            </a:xfrm>
            <a:custGeom>
              <a:avLst/>
              <a:gdLst>
                <a:gd name="T0" fmla="*/ 0 w 223"/>
                <a:gd name="T1" fmla="*/ 323 h 356"/>
                <a:gd name="T2" fmla="*/ 68 w 223"/>
                <a:gd name="T3" fmla="*/ 356 h 356"/>
                <a:gd name="T4" fmla="*/ 223 w 223"/>
                <a:gd name="T5" fmla="*/ 33 h 356"/>
                <a:gd name="T6" fmla="*/ 154 w 223"/>
                <a:gd name="T7" fmla="*/ 0 h 356"/>
                <a:gd name="T8" fmla="*/ 0 w 223"/>
                <a:gd name="T9" fmla="*/ 32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356">
                  <a:moveTo>
                    <a:pt x="0" y="323"/>
                  </a:moveTo>
                  <a:lnTo>
                    <a:pt x="68" y="356"/>
                  </a:lnTo>
                  <a:lnTo>
                    <a:pt x="223" y="33"/>
                  </a:lnTo>
                  <a:lnTo>
                    <a:pt x="154" y="0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7" name="Freeform 78">
              <a:extLst>
                <a:ext uri="{FF2B5EF4-FFF2-40B4-BE49-F238E27FC236}">
                  <a16:creationId xmlns:a16="http://schemas.microsoft.com/office/drawing/2014/main" xmlns="" id="{DE5D5C1B-CCC2-4AD8-BA89-40A6C7707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2" y="375"/>
              <a:ext cx="86" cy="52"/>
            </a:xfrm>
            <a:custGeom>
              <a:avLst/>
              <a:gdLst>
                <a:gd name="T0" fmla="*/ 0 w 86"/>
                <a:gd name="T1" fmla="*/ 14 h 52"/>
                <a:gd name="T2" fmla="*/ 79 w 86"/>
                <a:gd name="T3" fmla="*/ 52 h 52"/>
                <a:gd name="T4" fmla="*/ 86 w 86"/>
                <a:gd name="T5" fmla="*/ 41 h 52"/>
                <a:gd name="T6" fmla="*/ 5 w 86"/>
                <a:gd name="T7" fmla="*/ 0 h 52"/>
                <a:gd name="T8" fmla="*/ 0 w 86"/>
                <a:gd name="T9" fmla="*/ 1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2">
                  <a:moveTo>
                    <a:pt x="0" y="14"/>
                  </a:moveTo>
                  <a:lnTo>
                    <a:pt x="79" y="52"/>
                  </a:lnTo>
                  <a:lnTo>
                    <a:pt x="86" y="41"/>
                  </a:lnTo>
                  <a:lnTo>
                    <a:pt x="5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8" name="Freeform 79">
              <a:extLst>
                <a:ext uri="{FF2B5EF4-FFF2-40B4-BE49-F238E27FC236}">
                  <a16:creationId xmlns:a16="http://schemas.microsoft.com/office/drawing/2014/main" xmlns="" id="{2DF39738-8FA6-4CAC-8BF2-3D1E14513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" y="389"/>
              <a:ext cx="86" cy="53"/>
            </a:xfrm>
            <a:custGeom>
              <a:avLst/>
              <a:gdLst>
                <a:gd name="T0" fmla="*/ 0 w 86"/>
                <a:gd name="T1" fmla="*/ 15 h 53"/>
                <a:gd name="T2" fmla="*/ 79 w 86"/>
                <a:gd name="T3" fmla="*/ 53 h 53"/>
                <a:gd name="T4" fmla="*/ 86 w 86"/>
                <a:gd name="T5" fmla="*/ 41 h 53"/>
                <a:gd name="T6" fmla="*/ 5 w 86"/>
                <a:gd name="T7" fmla="*/ 0 h 53"/>
                <a:gd name="T8" fmla="*/ 0 w 86"/>
                <a:gd name="T9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3">
                  <a:moveTo>
                    <a:pt x="0" y="15"/>
                  </a:moveTo>
                  <a:lnTo>
                    <a:pt x="79" y="53"/>
                  </a:lnTo>
                  <a:lnTo>
                    <a:pt x="86" y="41"/>
                  </a:lnTo>
                  <a:lnTo>
                    <a:pt x="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69" name="Freeform 80">
              <a:extLst>
                <a:ext uri="{FF2B5EF4-FFF2-40B4-BE49-F238E27FC236}">
                  <a16:creationId xmlns:a16="http://schemas.microsoft.com/office/drawing/2014/main" xmlns="" id="{11C3E2A3-720B-4F5D-BAEA-747680B22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" y="698"/>
              <a:ext cx="68" cy="74"/>
            </a:xfrm>
            <a:custGeom>
              <a:avLst/>
              <a:gdLst>
                <a:gd name="T0" fmla="*/ 0 w 68"/>
                <a:gd name="T1" fmla="*/ 5 h 74"/>
                <a:gd name="T2" fmla="*/ 7 w 68"/>
                <a:gd name="T3" fmla="*/ 57 h 74"/>
                <a:gd name="T4" fmla="*/ 9 w 68"/>
                <a:gd name="T5" fmla="*/ 74 h 74"/>
                <a:gd name="T6" fmla="*/ 23 w 68"/>
                <a:gd name="T7" fmla="*/ 67 h 74"/>
                <a:gd name="T8" fmla="*/ 68 w 68"/>
                <a:gd name="T9" fmla="*/ 38 h 74"/>
                <a:gd name="T10" fmla="*/ 66 w 68"/>
                <a:gd name="T11" fmla="*/ 26 h 74"/>
                <a:gd name="T12" fmla="*/ 54 w 68"/>
                <a:gd name="T13" fmla="*/ 31 h 74"/>
                <a:gd name="T14" fmla="*/ 52 w 68"/>
                <a:gd name="T15" fmla="*/ 19 h 74"/>
                <a:gd name="T16" fmla="*/ 40 w 68"/>
                <a:gd name="T17" fmla="*/ 24 h 74"/>
                <a:gd name="T18" fmla="*/ 37 w 68"/>
                <a:gd name="T19" fmla="*/ 14 h 74"/>
                <a:gd name="T20" fmla="*/ 28 w 68"/>
                <a:gd name="T21" fmla="*/ 19 h 74"/>
                <a:gd name="T22" fmla="*/ 26 w 68"/>
                <a:gd name="T23" fmla="*/ 7 h 74"/>
                <a:gd name="T24" fmla="*/ 14 w 68"/>
                <a:gd name="T25" fmla="*/ 12 h 74"/>
                <a:gd name="T26" fmla="*/ 11 w 68"/>
                <a:gd name="T27" fmla="*/ 0 h 74"/>
                <a:gd name="T28" fmla="*/ 0 w 68"/>
                <a:gd name="T2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4">
                  <a:moveTo>
                    <a:pt x="0" y="5"/>
                  </a:moveTo>
                  <a:lnTo>
                    <a:pt x="7" y="57"/>
                  </a:lnTo>
                  <a:lnTo>
                    <a:pt x="9" y="74"/>
                  </a:lnTo>
                  <a:lnTo>
                    <a:pt x="23" y="67"/>
                  </a:lnTo>
                  <a:lnTo>
                    <a:pt x="68" y="38"/>
                  </a:lnTo>
                  <a:lnTo>
                    <a:pt x="66" y="26"/>
                  </a:lnTo>
                  <a:lnTo>
                    <a:pt x="54" y="31"/>
                  </a:lnTo>
                  <a:lnTo>
                    <a:pt x="52" y="19"/>
                  </a:lnTo>
                  <a:lnTo>
                    <a:pt x="40" y="24"/>
                  </a:lnTo>
                  <a:lnTo>
                    <a:pt x="37" y="14"/>
                  </a:lnTo>
                  <a:lnTo>
                    <a:pt x="28" y="19"/>
                  </a:lnTo>
                  <a:lnTo>
                    <a:pt x="26" y="7"/>
                  </a:lnTo>
                  <a:lnTo>
                    <a:pt x="14" y="12"/>
                  </a:lnTo>
                  <a:lnTo>
                    <a:pt x="11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0" name="Freeform 81">
              <a:extLst>
                <a:ext uri="{FF2B5EF4-FFF2-40B4-BE49-F238E27FC236}">
                  <a16:creationId xmlns:a16="http://schemas.microsoft.com/office/drawing/2014/main" xmlns="" id="{AC146DDF-DD53-4AD2-A337-A8A2278DD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5" y="755"/>
              <a:ext cx="16" cy="17"/>
            </a:xfrm>
            <a:custGeom>
              <a:avLst/>
              <a:gdLst>
                <a:gd name="T0" fmla="*/ 0 w 16"/>
                <a:gd name="T1" fmla="*/ 0 h 17"/>
                <a:gd name="T2" fmla="*/ 2 w 16"/>
                <a:gd name="T3" fmla="*/ 17 h 17"/>
                <a:gd name="T4" fmla="*/ 16 w 16"/>
                <a:gd name="T5" fmla="*/ 10 h 17"/>
                <a:gd name="T6" fmla="*/ 0 w 16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7">
                  <a:moveTo>
                    <a:pt x="0" y="0"/>
                  </a:moveTo>
                  <a:lnTo>
                    <a:pt x="2" y="17"/>
                  </a:lnTo>
                  <a:lnTo>
                    <a:pt x="16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1" name="Freeform 82">
              <a:extLst>
                <a:ext uri="{FF2B5EF4-FFF2-40B4-BE49-F238E27FC236}">
                  <a16:creationId xmlns:a16="http://schemas.microsoft.com/office/drawing/2014/main" xmlns="" id="{8716E783-49E4-4D31-9E88-A647D4F2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425"/>
              <a:ext cx="128" cy="268"/>
            </a:xfrm>
            <a:custGeom>
              <a:avLst/>
              <a:gdLst>
                <a:gd name="T0" fmla="*/ 0 w 54"/>
                <a:gd name="T1" fmla="*/ 113 h 113"/>
                <a:gd name="T2" fmla="*/ 12 w 54"/>
                <a:gd name="T3" fmla="*/ 84 h 113"/>
                <a:gd name="T4" fmla="*/ 25 w 54"/>
                <a:gd name="T5" fmla="*/ 56 h 113"/>
                <a:gd name="T6" fmla="*/ 39 w 54"/>
                <a:gd name="T7" fmla="*/ 28 h 113"/>
                <a:gd name="T8" fmla="*/ 54 w 54"/>
                <a:gd name="T9" fmla="*/ 0 h 113"/>
                <a:gd name="T10" fmla="*/ 42 w 54"/>
                <a:gd name="T11" fmla="*/ 29 h 113"/>
                <a:gd name="T12" fmla="*/ 29 w 54"/>
                <a:gd name="T13" fmla="*/ 57 h 113"/>
                <a:gd name="T14" fmla="*/ 15 w 54"/>
                <a:gd name="T15" fmla="*/ 85 h 113"/>
                <a:gd name="T16" fmla="*/ 0 w 54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13">
                  <a:moveTo>
                    <a:pt x="0" y="113"/>
                  </a:moveTo>
                  <a:cubicBezTo>
                    <a:pt x="4" y="103"/>
                    <a:pt x="8" y="93"/>
                    <a:pt x="12" y="84"/>
                  </a:cubicBezTo>
                  <a:cubicBezTo>
                    <a:pt x="17" y="74"/>
                    <a:pt x="21" y="65"/>
                    <a:pt x="25" y="56"/>
                  </a:cubicBezTo>
                  <a:cubicBezTo>
                    <a:pt x="30" y="46"/>
                    <a:pt x="35" y="37"/>
                    <a:pt x="39" y="28"/>
                  </a:cubicBezTo>
                  <a:cubicBezTo>
                    <a:pt x="44" y="19"/>
                    <a:pt x="49" y="9"/>
                    <a:pt x="54" y="0"/>
                  </a:cubicBezTo>
                  <a:cubicBezTo>
                    <a:pt x="50" y="10"/>
                    <a:pt x="46" y="19"/>
                    <a:pt x="42" y="29"/>
                  </a:cubicBezTo>
                  <a:cubicBezTo>
                    <a:pt x="37" y="38"/>
                    <a:pt x="33" y="48"/>
                    <a:pt x="29" y="57"/>
                  </a:cubicBezTo>
                  <a:cubicBezTo>
                    <a:pt x="24" y="66"/>
                    <a:pt x="20" y="76"/>
                    <a:pt x="15" y="85"/>
                  </a:cubicBezTo>
                  <a:cubicBezTo>
                    <a:pt x="10" y="94"/>
                    <a:pt x="5" y="103"/>
                    <a:pt x="0" y="1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2" name="Freeform 83">
              <a:extLst>
                <a:ext uri="{FF2B5EF4-FFF2-40B4-BE49-F238E27FC236}">
                  <a16:creationId xmlns:a16="http://schemas.microsoft.com/office/drawing/2014/main" xmlns="" id="{7FDF9934-B53E-454E-BC97-CC677199E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7" y="439"/>
              <a:ext cx="128" cy="269"/>
            </a:xfrm>
            <a:custGeom>
              <a:avLst/>
              <a:gdLst>
                <a:gd name="T0" fmla="*/ 0 w 54"/>
                <a:gd name="T1" fmla="*/ 113 h 113"/>
                <a:gd name="T2" fmla="*/ 12 w 54"/>
                <a:gd name="T3" fmla="*/ 84 h 113"/>
                <a:gd name="T4" fmla="*/ 25 w 54"/>
                <a:gd name="T5" fmla="*/ 56 h 113"/>
                <a:gd name="T6" fmla="*/ 39 w 54"/>
                <a:gd name="T7" fmla="*/ 28 h 113"/>
                <a:gd name="T8" fmla="*/ 54 w 54"/>
                <a:gd name="T9" fmla="*/ 0 h 113"/>
                <a:gd name="T10" fmla="*/ 42 w 54"/>
                <a:gd name="T11" fmla="*/ 29 h 113"/>
                <a:gd name="T12" fmla="*/ 28 w 54"/>
                <a:gd name="T13" fmla="*/ 57 h 113"/>
                <a:gd name="T14" fmla="*/ 15 w 54"/>
                <a:gd name="T15" fmla="*/ 85 h 113"/>
                <a:gd name="T16" fmla="*/ 0 w 54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13">
                  <a:moveTo>
                    <a:pt x="0" y="113"/>
                  </a:moveTo>
                  <a:cubicBezTo>
                    <a:pt x="4" y="103"/>
                    <a:pt x="8" y="94"/>
                    <a:pt x="12" y="84"/>
                  </a:cubicBezTo>
                  <a:cubicBezTo>
                    <a:pt x="17" y="75"/>
                    <a:pt x="21" y="65"/>
                    <a:pt x="25" y="56"/>
                  </a:cubicBezTo>
                  <a:cubicBezTo>
                    <a:pt x="30" y="47"/>
                    <a:pt x="34" y="37"/>
                    <a:pt x="39" y="28"/>
                  </a:cubicBezTo>
                  <a:cubicBezTo>
                    <a:pt x="44" y="19"/>
                    <a:pt x="49" y="9"/>
                    <a:pt x="54" y="0"/>
                  </a:cubicBezTo>
                  <a:cubicBezTo>
                    <a:pt x="50" y="10"/>
                    <a:pt x="46" y="20"/>
                    <a:pt x="42" y="29"/>
                  </a:cubicBezTo>
                  <a:cubicBezTo>
                    <a:pt x="37" y="39"/>
                    <a:pt x="33" y="48"/>
                    <a:pt x="28" y="57"/>
                  </a:cubicBezTo>
                  <a:cubicBezTo>
                    <a:pt x="24" y="67"/>
                    <a:pt x="19" y="76"/>
                    <a:pt x="15" y="85"/>
                  </a:cubicBezTo>
                  <a:cubicBezTo>
                    <a:pt x="10" y="94"/>
                    <a:pt x="5" y="104"/>
                    <a:pt x="0" y="1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3" name="Freeform 84">
              <a:extLst>
                <a:ext uri="{FF2B5EF4-FFF2-40B4-BE49-F238E27FC236}">
                  <a16:creationId xmlns:a16="http://schemas.microsoft.com/office/drawing/2014/main" xmlns="" id="{307E2E0D-4CD4-49A8-A7C2-28DE3C8C3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0" y="508"/>
              <a:ext cx="1021" cy="1021"/>
            </a:xfrm>
            <a:custGeom>
              <a:avLst/>
              <a:gdLst>
                <a:gd name="T0" fmla="*/ 215 w 430"/>
                <a:gd name="T1" fmla="*/ 0 h 430"/>
                <a:gd name="T2" fmla="*/ 0 w 430"/>
                <a:gd name="T3" fmla="*/ 215 h 430"/>
                <a:gd name="T4" fmla="*/ 215 w 430"/>
                <a:gd name="T5" fmla="*/ 430 h 430"/>
                <a:gd name="T6" fmla="*/ 430 w 430"/>
                <a:gd name="T7" fmla="*/ 215 h 430"/>
                <a:gd name="T8" fmla="*/ 215 w 430"/>
                <a:gd name="T9" fmla="*/ 0 h 430"/>
                <a:gd name="T10" fmla="*/ 215 w 430"/>
                <a:gd name="T11" fmla="*/ 316 h 430"/>
                <a:gd name="T12" fmla="*/ 115 w 430"/>
                <a:gd name="T13" fmla="*/ 215 h 430"/>
                <a:gd name="T14" fmla="*/ 215 w 430"/>
                <a:gd name="T15" fmla="*/ 115 h 430"/>
                <a:gd name="T16" fmla="*/ 315 w 430"/>
                <a:gd name="T17" fmla="*/ 215 h 430"/>
                <a:gd name="T18" fmla="*/ 215 w 430"/>
                <a:gd name="T19" fmla="*/ 316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0" h="430">
                  <a:moveTo>
                    <a:pt x="215" y="0"/>
                  </a:moveTo>
                  <a:cubicBezTo>
                    <a:pt x="96" y="0"/>
                    <a:pt x="0" y="96"/>
                    <a:pt x="0" y="215"/>
                  </a:cubicBezTo>
                  <a:cubicBezTo>
                    <a:pt x="0" y="334"/>
                    <a:pt x="96" y="430"/>
                    <a:pt x="215" y="430"/>
                  </a:cubicBezTo>
                  <a:cubicBezTo>
                    <a:pt x="334" y="430"/>
                    <a:pt x="430" y="334"/>
                    <a:pt x="430" y="215"/>
                  </a:cubicBezTo>
                  <a:cubicBezTo>
                    <a:pt x="430" y="96"/>
                    <a:pt x="334" y="0"/>
                    <a:pt x="215" y="0"/>
                  </a:cubicBezTo>
                  <a:moveTo>
                    <a:pt x="215" y="316"/>
                  </a:moveTo>
                  <a:cubicBezTo>
                    <a:pt x="160" y="316"/>
                    <a:pt x="115" y="271"/>
                    <a:pt x="115" y="215"/>
                  </a:cubicBezTo>
                  <a:cubicBezTo>
                    <a:pt x="115" y="160"/>
                    <a:pt x="160" y="115"/>
                    <a:pt x="215" y="115"/>
                  </a:cubicBezTo>
                  <a:cubicBezTo>
                    <a:pt x="270" y="115"/>
                    <a:pt x="315" y="160"/>
                    <a:pt x="315" y="215"/>
                  </a:cubicBezTo>
                  <a:cubicBezTo>
                    <a:pt x="315" y="271"/>
                    <a:pt x="270" y="316"/>
                    <a:pt x="215" y="316"/>
                  </a:cubicBezTo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4" name="Freeform 85">
              <a:extLst>
                <a:ext uri="{FF2B5EF4-FFF2-40B4-BE49-F238E27FC236}">
                  <a16:creationId xmlns:a16="http://schemas.microsoft.com/office/drawing/2014/main" xmlns="" id="{D916B47E-6659-497C-BA2B-ABA5F7A93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3" y="389"/>
              <a:ext cx="195" cy="141"/>
            </a:xfrm>
            <a:custGeom>
              <a:avLst/>
              <a:gdLst>
                <a:gd name="T0" fmla="*/ 195 w 195"/>
                <a:gd name="T1" fmla="*/ 141 h 141"/>
                <a:gd name="T2" fmla="*/ 0 w 195"/>
                <a:gd name="T3" fmla="*/ 141 h 141"/>
                <a:gd name="T4" fmla="*/ 9 w 195"/>
                <a:gd name="T5" fmla="*/ 0 h 141"/>
                <a:gd name="T6" fmla="*/ 185 w 195"/>
                <a:gd name="T7" fmla="*/ 0 h 141"/>
                <a:gd name="T8" fmla="*/ 195 w 195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1">
                  <a:moveTo>
                    <a:pt x="195" y="141"/>
                  </a:moveTo>
                  <a:lnTo>
                    <a:pt x="0" y="141"/>
                  </a:lnTo>
                  <a:lnTo>
                    <a:pt x="9" y="0"/>
                  </a:lnTo>
                  <a:lnTo>
                    <a:pt x="185" y="0"/>
                  </a:lnTo>
                  <a:lnTo>
                    <a:pt x="195" y="141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5" name="Freeform 86">
              <a:extLst>
                <a:ext uri="{FF2B5EF4-FFF2-40B4-BE49-F238E27FC236}">
                  <a16:creationId xmlns:a16="http://schemas.microsoft.com/office/drawing/2014/main" xmlns="" id="{AEAC8197-67D9-4E70-A8F8-8711FC315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" y="506"/>
              <a:ext cx="230" cy="228"/>
            </a:xfrm>
            <a:custGeom>
              <a:avLst/>
              <a:gdLst>
                <a:gd name="T0" fmla="*/ 230 w 230"/>
                <a:gd name="T1" fmla="*/ 90 h 228"/>
                <a:gd name="T2" fmla="*/ 90 w 230"/>
                <a:gd name="T3" fmla="*/ 228 h 228"/>
                <a:gd name="T4" fmla="*/ 0 w 230"/>
                <a:gd name="T5" fmla="*/ 123 h 228"/>
                <a:gd name="T6" fmla="*/ 123 w 230"/>
                <a:gd name="T7" fmla="*/ 0 h 228"/>
                <a:gd name="T8" fmla="*/ 230 w 230"/>
                <a:gd name="T9" fmla="*/ 9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28">
                  <a:moveTo>
                    <a:pt x="230" y="90"/>
                  </a:moveTo>
                  <a:lnTo>
                    <a:pt x="90" y="228"/>
                  </a:lnTo>
                  <a:lnTo>
                    <a:pt x="0" y="123"/>
                  </a:lnTo>
                  <a:lnTo>
                    <a:pt x="123" y="0"/>
                  </a:lnTo>
                  <a:lnTo>
                    <a:pt x="230" y="9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6" name="Freeform 87">
              <a:extLst>
                <a:ext uri="{FF2B5EF4-FFF2-40B4-BE49-F238E27FC236}">
                  <a16:creationId xmlns:a16="http://schemas.microsoft.com/office/drawing/2014/main" xmlns="" id="{A467B675-7DB8-4299-8B0C-B55AF90A9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907"/>
              <a:ext cx="138" cy="197"/>
            </a:xfrm>
            <a:custGeom>
              <a:avLst/>
              <a:gdLst>
                <a:gd name="T0" fmla="*/ 138 w 138"/>
                <a:gd name="T1" fmla="*/ 0 h 197"/>
                <a:gd name="T2" fmla="*/ 138 w 138"/>
                <a:gd name="T3" fmla="*/ 197 h 197"/>
                <a:gd name="T4" fmla="*/ 0 w 138"/>
                <a:gd name="T5" fmla="*/ 185 h 197"/>
                <a:gd name="T6" fmla="*/ 0 w 138"/>
                <a:gd name="T7" fmla="*/ 10 h 197"/>
                <a:gd name="T8" fmla="*/ 138 w 138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97">
                  <a:moveTo>
                    <a:pt x="138" y="0"/>
                  </a:moveTo>
                  <a:lnTo>
                    <a:pt x="138" y="197"/>
                  </a:lnTo>
                  <a:lnTo>
                    <a:pt x="0" y="185"/>
                  </a:lnTo>
                  <a:lnTo>
                    <a:pt x="0" y="1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7" name="Freeform 88">
              <a:extLst>
                <a:ext uri="{FF2B5EF4-FFF2-40B4-BE49-F238E27FC236}">
                  <a16:creationId xmlns:a16="http://schemas.microsoft.com/office/drawing/2014/main" xmlns="" id="{06E17500-B75F-4727-8064-27999BBC1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3" y="1280"/>
              <a:ext cx="230" cy="230"/>
            </a:xfrm>
            <a:custGeom>
              <a:avLst/>
              <a:gdLst>
                <a:gd name="T0" fmla="*/ 90 w 230"/>
                <a:gd name="T1" fmla="*/ 0 h 230"/>
                <a:gd name="T2" fmla="*/ 230 w 230"/>
                <a:gd name="T3" fmla="*/ 140 h 230"/>
                <a:gd name="T4" fmla="*/ 123 w 230"/>
                <a:gd name="T5" fmla="*/ 230 h 230"/>
                <a:gd name="T6" fmla="*/ 0 w 230"/>
                <a:gd name="T7" fmla="*/ 107 h 230"/>
                <a:gd name="T8" fmla="*/ 90 w 230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90" y="0"/>
                  </a:moveTo>
                  <a:lnTo>
                    <a:pt x="230" y="140"/>
                  </a:lnTo>
                  <a:lnTo>
                    <a:pt x="123" y="230"/>
                  </a:lnTo>
                  <a:lnTo>
                    <a:pt x="0" y="107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8" name="Freeform 89">
              <a:extLst>
                <a:ext uri="{FF2B5EF4-FFF2-40B4-BE49-F238E27FC236}">
                  <a16:creationId xmlns:a16="http://schemas.microsoft.com/office/drawing/2014/main" xmlns="" id="{9CF7C709-9785-4456-A00C-B73AB2503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" y="1498"/>
              <a:ext cx="197" cy="138"/>
            </a:xfrm>
            <a:custGeom>
              <a:avLst/>
              <a:gdLst>
                <a:gd name="T0" fmla="*/ 0 w 197"/>
                <a:gd name="T1" fmla="*/ 0 h 138"/>
                <a:gd name="T2" fmla="*/ 197 w 197"/>
                <a:gd name="T3" fmla="*/ 0 h 138"/>
                <a:gd name="T4" fmla="*/ 185 w 197"/>
                <a:gd name="T5" fmla="*/ 138 h 138"/>
                <a:gd name="T6" fmla="*/ 12 w 197"/>
                <a:gd name="T7" fmla="*/ 138 h 138"/>
                <a:gd name="T8" fmla="*/ 0 w 197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8">
                  <a:moveTo>
                    <a:pt x="0" y="0"/>
                  </a:moveTo>
                  <a:lnTo>
                    <a:pt x="197" y="0"/>
                  </a:lnTo>
                  <a:lnTo>
                    <a:pt x="185" y="138"/>
                  </a:lnTo>
                  <a:lnTo>
                    <a:pt x="12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79" name="Freeform 90">
              <a:extLst>
                <a:ext uri="{FF2B5EF4-FFF2-40B4-BE49-F238E27FC236}">
                  <a16:creationId xmlns:a16="http://schemas.microsoft.com/office/drawing/2014/main" xmlns="" id="{E5F31EE1-627D-4D88-8AB6-4B33F11FF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" y="1292"/>
              <a:ext cx="228" cy="230"/>
            </a:xfrm>
            <a:custGeom>
              <a:avLst/>
              <a:gdLst>
                <a:gd name="T0" fmla="*/ 0 w 228"/>
                <a:gd name="T1" fmla="*/ 140 h 230"/>
                <a:gd name="T2" fmla="*/ 138 w 228"/>
                <a:gd name="T3" fmla="*/ 0 h 230"/>
                <a:gd name="T4" fmla="*/ 228 w 228"/>
                <a:gd name="T5" fmla="*/ 107 h 230"/>
                <a:gd name="T6" fmla="*/ 105 w 228"/>
                <a:gd name="T7" fmla="*/ 230 h 230"/>
                <a:gd name="T8" fmla="*/ 0 w 228"/>
                <a:gd name="T9" fmla="*/ 14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0" y="140"/>
                  </a:moveTo>
                  <a:lnTo>
                    <a:pt x="138" y="0"/>
                  </a:lnTo>
                  <a:lnTo>
                    <a:pt x="228" y="107"/>
                  </a:lnTo>
                  <a:lnTo>
                    <a:pt x="105" y="230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0" name="Freeform 91">
              <a:extLst>
                <a:ext uri="{FF2B5EF4-FFF2-40B4-BE49-F238E27FC236}">
                  <a16:creationId xmlns:a16="http://schemas.microsoft.com/office/drawing/2014/main" xmlns="" id="{5DEC4558-7B30-41DC-94AA-3B2BAF224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5" y="924"/>
              <a:ext cx="140" cy="197"/>
            </a:xfrm>
            <a:custGeom>
              <a:avLst/>
              <a:gdLst>
                <a:gd name="T0" fmla="*/ 0 w 140"/>
                <a:gd name="T1" fmla="*/ 197 h 197"/>
                <a:gd name="T2" fmla="*/ 0 w 140"/>
                <a:gd name="T3" fmla="*/ 0 h 197"/>
                <a:gd name="T4" fmla="*/ 140 w 140"/>
                <a:gd name="T5" fmla="*/ 12 h 197"/>
                <a:gd name="T6" fmla="*/ 140 w 140"/>
                <a:gd name="T7" fmla="*/ 185 h 197"/>
                <a:gd name="T8" fmla="*/ 0 w 140"/>
                <a:gd name="T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97">
                  <a:moveTo>
                    <a:pt x="0" y="197"/>
                  </a:moveTo>
                  <a:lnTo>
                    <a:pt x="0" y="0"/>
                  </a:lnTo>
                  <a:lnTo>
                    <a:pt x="140" y="12"/>
                  </a:lnTo>
                  <a:lnTo>
                    <a:pt x="140" y="185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1" name="Freeform 92">
              <a:extLst>
                <a:ext uri="{FF2B5EF4-FFF2-40B4-BE49-F238E27FC236}">
                  <a16:creationId xmlns:a16="http://schemas.microsoft.com/office/drawing/2014/main" xmlns="" id="{8FF22A91-4616-4AFE-9E4E-8B52B172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" y="518"/>
              <a:ext cx="228" cy="230"/>
            </a:xfrm>
            <a:custGeom>
              <a:avLst/>
              <a:gdLst>
                <a:gd name="T0" fmla="*/ 138 w 228"/>
                <a:gd name="T1" fmla="*/ 230 h 230"/>
                <a:gd name="T2" fmla="*/ 0 w 228"/>
                <a:gd name="T3" fmla="*/ 90 h 230"/>
                <a:gd name="T4" fmla="*/ 104 w 228"/>
                <a:gd name="T5" fmla="*/ 0 h 230"/>
                <a:gd name="T6" fmla="*/ 228 w 228"/>
                <a:gd name="T7" fmla="*/ 123 h 230"/>
                <a:gd name="T8" fmla="*/ 138 w 22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138" y="230"/>
                  </a:moveTo>
                  <a:lnTo>
                    <a:pt x="0" y="90"/>
                  </a:lnTo>
                  <a:lnTo>
                    <a:pt x="104" y="0"/>
                  </a:lnTo>
                  <a:lnTo>
                    <a:pt x="228" y="123"/>
                  </a:lnTo>
                  <a:lnTo>
                    <a:pt x="138" y="23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2" name="Freeform 93">
              <a:extLst>
                <a:ext uri="{FF2B5EF4-FFF2-40B4-BE49-F238E27FC236}">
                  <a16:creationId xmlns:a16="http://schemas.microsoft.com/office/drawing/2014/main" xmlns="" id="{672A31A2-2F4B-4FAC-8A7A-73167CF6A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" y="518"/>
              <a:ext cx="228" cy="230"/>
            </a:xfrm>
            <a:custGeom>
              <a:avLst/>
              <a:gdLst>
                <a:gd name="T0" fmla="*/ 138 w 228"/>
                <a:gd name="T1" fmla="*/ 230 h 230"/>
                <a:gd name="T2" fmla="*/ 0 w 228"/>
                <a:gd name="T3" fmla="*/ 90 h 230"/>
                <a:gd name="T4" fmla="*/ 104 w 228"/>
                <a:gd name="T5" fmla="*/ 0 h 230"/>
                <a:gd name="T6" fmla="*/ 228 w 228"/>
                <a:gd name="T7" fmla="*/ 123 h 230"/>
                <a:gd name="T8" fmla="*/ 138 w 22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138" y="230"/>
                  </a:moveTo>
                  <a:lnTo>
                    <a:pt x="0" y="90"/>
                  </a:lnTo>
                  <a:lnTo>
                    <a:pt x="104" y="0"/>
                  </a:lnTo>
                  <a:lnTo>
                    <a:pt x="228" y="123"/>
                  </a:lnTo>
                  <a:lnTo>
                    <a:pt x="138" y="2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3" name="Oval 94">
              <a:extLst>
                <a:ext uri="{FF2B5EF4-FFF2-40B4-BE49-F238E27FC236}">
                  <a16:creationId xmlns:a16="http://schemas.microsoft.com/office/drawing/2014/main" xmlns="" id="{D629C717-4974-483F-A435-0385C721A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3" y="522"/>
              <a:ext cx="119" cy="119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4" name="Rectangle 95">
              <a:extLst>
                <a:ext uri="{FF2B5EF4-FFF2-40B4-BE49-F238E27FC236}">
                  <a16:creationId xmlns:a16="http://schemas.microsoft.com/office/drawing/2014/main" xmlns="" id="{12C71C80-B94A-4DAE-B4E7-BEC727943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0" y="632"/>
              <a:ext cx="126" cy="19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5" name="Rectangle 96">
              <a:extLst>
                <a:ext uri="{FF2B5EF4-FFF2-40B4-BE49-F238E27FC236}">
                  <a16:creationId xmlns:a16="http://schemas.microsoft.com/office/drawing/2014/main" xmlns="" id="{316190BD-A0BD-4634-B443-4317BB45B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0" y="632"/>
              <a:ext cx="126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6" name="Freeform 97">
              <a:extLst>
                <a:ext uri="{FF2B5EF4-FFF2-40B4-BE49-F238E27FC236}">
                  <a16:creationId xmlns:a16="http://schemas.microsoft.com/office/drawing/2014/main" xmlns="" id="{1601A813-C965-4905-BFD9-2CC849E33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" y="632"/>
              <a:ext cx="126" cy="19"/>
            </a:xfrm>
            <a:custGeom>
              <a:avLst/>
              <a:gdLst>
                <a:gd name="T0" fmla="*/ 126 w 126"/>
                <a:gd name="T1" fmla="*/ 0 h 19"/>
                <a:gd name="T2" fmla="*/ 95 w 126"/>
                <a:gd name="T3" fmla="*/ 0 h 19"/>
                <a:gd name="T4" fmla="*/ 31 w 126"/>
                <a:gd name="T5" fmla="*/ 0 h 19"/>
                <a:gd name="T6" fmla="*/ 0 w 126"/>
                <a:gd name="T7" fmla="*/ 0 h 19"/>
                <a:gd name="T8" fmla="*/ 0 w 126"/>
                <a:gd name="T9" fmla="*/ 19 h 19"/>
                <a:gd name="T10" fmla="*/ 126 w 126"/>
                <a:gd name="T11" fmla="*/ 19 h 19"/>
                <a:gd name="T12" fmla="*/ 126 w 126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9">
                  <a:moveTo>
                    <a:pt x="126" y="0"/>
                  </a:moveTo>
                  <a:lnTo>
                    <a:pt x="95" y="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26" y="19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7" name="Freeform 98">
              <a:extLst>
                <a:ext uri="{FF2B5EF4-FFF2-40B4-BE49-F238E27FC236}">
                  <a16:creationId xmlns:a16="http://schemas.microsoft.com/office/drawing/2014/main" xmlns="" id="{00296F10-02ED-4EB3-9103-CE13D29A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" y="632"/>
              <a:ext cx="126" cy="19"/>
            </a:xfrm>
            <a:custGeom>
              <a:avLst/>
              <a:gdLst>
                <a:gd name="T0" fmla="*/ 126 w 126"/>
                <a:gd name="T1" fmla="*/ 0 h 19"/>
                <a:gd name="T2" fmla="*/ 95 w 126"/>
                <a:gd name="T3" fmla="*/ 0 h 19"/>
                <a:gd name="T4" fmla="*/ 31 w 126"/>
                <a:gd name="T5" fmla="*/ 0 h 19"/>
                <a:gd name="T6" fmla="*/ 0 w 126"/>
                <a:gd name="T7" fmla="*/ 0 h 19"/>
                <a:gd name="T8" fmla="*/ 0 w 126"/>
                <a:gd name="T9" fmla="*/ 19 h 19"/>
                <a:gd name="T10" fmla="*/ 126 w 126"/>
                <a:gd name="T11" fmla="*/ 19 h 19"/>
                <a:gd name="T12" fmla="*/ 126 w 126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9">
                  <a:moveTo>
                    <a:pt x="126" y="0"/>
                  </a:moveTo>
                  <a:lnTo>
                    <a:pt x="95" y="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26" y="19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8" name="Rectangle 99">
              <a:extLst>
                <a:ext uri="{FF2B5EF4-FFF2-40B4-BE49-F238E27FC236}">
                  <a16:creationId xmlns:a16="http://schemas.microsoft.com/office/drawing/2014/main" xmlns="" id="{52030C4E-63C7-4AA9-B16A-849DC538B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89" name="Rectangle 100">
              <a:extLst>
                <a:ext uri="{FF2B5EF4-FFF2-40B4-BE49-F238E27FC236}">
                  <a16:creationId xmlns:a16="http://schemas.microsoft.com/office/drawing/2014/main" xmlns="" id="{0D692833-5BFB-4401-BD7E-7A3ECD833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0" name="Rectangle 101">
              <a:extLst>
                <a:ext uri="{FF2B5EF4-FFF2-40B4-BE49-F238E27FC236}">
                  <a16:creationId xmlns:a16="http://schemas.microsoft.com/office/drawing/2014/main" xmlns="" id="{DBDA7C2E-7D48-4B81-9A1E-FBB46D35C6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1" name="Rectangle 102">
              <a:extLst>
                <a:ext uri="{FF2B5EF4-FFF2-40B4-BE49-F238E27FC236}">
                  <a16:creationId xmlns:a16="http://schemas.microsoft.com/office/drawing/2014/main" xmlns="" id="{F5F1FA6E-EBB8-4946-A114-755011070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2" name="Rectangle 103">
              <a:extLst>
                <a:ext uri="{FF2B5EF4-FFF2-40B4-BE49-F238E27FC236}">
                  <a16:creationId xmlns:a16="http://schemas.microsoft.com/office/drawing/2014/main" xmlns="" id="{9F3A7AD0-CA6C-410C-AF1F-B80EC7B1D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3" name="Rectangle 104">
              <a:extLst>
                <a:ext uri="{FF2B5EF4-FFF2-40B4-BE49-F238E27FC236}">
                  <a16:creationId xmlns:a16="http://schemas.microsoft.com/office/drawing/2014/main" xmlns="" id="{655DD65A-BC9A-4225-8B96-DA1EA2DDB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4" name="Rectangle 105">
              <a:extLst>
                <a:ext uri="{FF2B5EF4-FFF2-40B4-BE49-F238E27FC236}">
                  <a16:creationId xmlns:a16="http://schemas.microsoft.com/office/drawing/2014/main" xmlns="" id="{56E1D496-D07D-401B-BB16-4B42CC699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5" name="Rectangle 106">
              <a:extLst>
                <a:ext uri="{FF2B5EF4-FFF2-40B4-BE49-F238E27FC236}">
                  <a16:creationId xmlns:a16="http://schemas.microsoft.com/office/drawing/2014/main" xmlns="" id="{08578800-978C-4595-9D60-E9215F91B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6" name="Rectangle 107">
              <a:extLst>
                <a:ext uri="{FF2B5EF4-FFF2-40B4-BE49-F238E27FC236}">
                  <a16:creationId xmlns:a16="http://schemas.microsoft.com/office/drawing/2014/main" xmlns="" id="{979774D2-DBDB-413E-9C59-7DF66ED25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6" y="900"/>
              <a:ext cx="235" cy="33"/>
            </a:xfrm>
            <a:prstGeom prst="rect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7" name="Rectangle 108">
              <a:extLst>
                <a:ext uri="{FF2B5EF4-FFF2-40B4-BE49-F238E27FC236}">
                  <a16:creationId xmlns:a16="http://schemas.microsoft.com/office/drawing/2014/main" xmlns="" id="{7CBD2F08-7891-4649-A70D-D5A1DDC8E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2" y="651"/>
              <a:ext cx="102" cy="19"/>
            </a:xfrm>
            <a:prstGeom prst="rect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8" name="Freeform 109">
              <a:extLst>
                <a:ext uri="{FF2B5EF4-FFF2-40B4-BE49-F238E27FC236}">
                  <a16:creationId xmlns:a16="http://schemas.microsoft.com/office/drawing/2014/main" xmlns="" id="{BD225DFF-35CE-446E-B02B-95BCF1229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8" y="670"/>
              <a:ext cx="209" cy="213"/>
            </a:xfrm>
            <a:custGeom>
              <a:avLst/>
              <a:gdLst>
                <a:gd name="T0" fmla="*/ 88 w 88"/>
                <a:gd name="T1" fmla="*/ 90 h 90"/>
                <a:gd name="T2" fmla="*/ 0 w 88"/>
                <a:gd name="T3" fmla="*/ 90 h 90"/>
                <a:gd name="T4" fmla="*/ 25 w 88"/>
                <a:gd name="T5" fmla="*/ 46 h 90"/>
                <a:gd name="T6" fmla="*/ 30 w 88"/>
                <a:gd name="T7" fmla="*/ 0 h 90"/>
                <a:gd name="T8" fmla="*/ 59 w 88"/>
                <a:gd name="T9" fmla="*/ 0 h 90"/>
                <a:gd name="T10" fmla="*/ 64 w 88"/>
                <a:gd name="T11" fmla="*/ 46 h 90"/>
                <a:gd name="T12" fmla="*/ 88 w 88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90">
                  <a:moveTo>
                    <a:pt x="88" y="9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20" y="70"/>
                    <a:pt x="25" y="46"/>
                  </a:cubicBezTo>
                  <a:cubicBezTo>
                    <a:pt x="28" y="25"/>
                    <a:pt x="30" y="0"/>
                    <a:pt x="30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60" y="25"/>
                    <a:pt x="64" y="46"/>
                  </a:cubicBezTo>
                  <a:cubicBezTo>
                    <a:pt x="68" y="70"/>
                    <a:pt x="88" y="90"/>
                    <a:pt x="88" y="90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9" name="Freeform 110">
              <a:extLst>
                <a:ext uri="{FF2B5EF4-FFF2-40B4-BE49-F238E27FC236}">
                  <a16:creationId xmlns:a16="http://schemas.microsoft.com/office/drawing/2014/main" xmlns="" id="{7AB84554-AC9E-4AA9-A263-5779D87C3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" y="-5"/>
              <a:ext cx="19" cy="19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5 h 8"/>
                <a:gd name="T4" fmla="*/ 6 w 8"/>
                <a:gd name="T5" fmla="*/ 0 h 8"/>
                <a:gd name="T6" fmla="*/ 8 w 8"/>
                <a:gd name="T7" fmla="*/ 4 h 8"/>
                <a:gd name="T8" fmla="*/ 2 w 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4" y="2"/>
                    <a:pt x="6" y="0"/>
                    <a:pt x="6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6" y="5"/>
                    <a:pt x="2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0" name="Freeform 111">
              <a:extLst>
                <a:ext uri="{FF2B5EF4-FFF2-40B4-BE49-F238E27FC236}">
                  <a16:creationId xmlns:a16="http://schemas.microsoft.com/office/drawing/2014/main" xmlns="" id="{EF93F46F-DEA7-4E04-9BED-82EBC9DD2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2" y="31"/>
              <a:ext cx="3634" cy="1624"/>
            </a:xfrm>
            <a:custGeom>
              <a:avLst/>
              <a:gdLst>
                <a:gd name="T0" fmla="*/ 1155 w 1531"/>
                <a:gd name="T1" fmla="*/ 684 h 684"/>
                <a:gd name="T2" fmla="*/ 1091 w 1531"/>
                <a:gd name="T3" fmla="*/ 680 h 684"/>
                <a:gd name="T4" fmla="*/ 1202 w 1531"/>
                <a:gd name="T5" fmla="*/ 672 h 684"/>
                <a:gd name="T6" fmla="*/ 1076 w 1531"/>
                <a:gd name="T7" fmla="*/ 673 h 684"/>
                <a:gd name="T8" fmla="*/ 1218 w 1531"/>
                <a:gd name="T9" fmla="*/ 671 h 684"/>
                <a:gd name="T10" fmla="*/ 1246 w 1531"/>
                <a:gd name="T11" fmla="*/ 656 h 684"/>
                <a:gd name="T12" fmla="*/ 1002 w 1531"/>
                <a:gd name="T13" fmla="*/ 645 h 684"/>
                <a:gd name="T14" fmla="*/ 979 w 1531"/>
                <a:gd name="T15" fmla="*/ 622 h 684"/>
                <a:gd name="T16" fmla="*/ 1282 w 1531"/>
                <a:gd name="T17" fmla="*/ 623 h 684"/>
                <a:gd name="T18" fmla="*/ 965 w 1531"/>
                <a:gd name="T19" fmla="*/ 614 h 684"/>
                <a:gd name="T20" fmla="*/ 943 w 1531"/>
                <a:gd name="T21" fmla="*/ 591 h 684"/>
                <a:gd name="T22" fmla="*/ 1305 w 1531"/>
                <a:gd name="T23" fmla="*/ 581 h 684"/>
                <a:gd name="T24" fmla="*/ 917 w 1531"/>
                <a:gd name="T25" fmla="*/ 550 h 684"/>
                <a:gd name="T26" fmla="*/ 1328 w 1531"/>
                <a:gd name="T27" fmla="*/ 539 h 684"/>
                <a:gd name="T28" fmla="*/ 904 w 1531"/>
                <a:gd name="T29" fmla="*/ 539 h 684"/>
                <a:gd name="T30" fmla="*/ 887 w 1531"/>
                <a:gd name="T31" fmla="*/ 513 h 684"/>
                <a:gd name="T32" fmla="*/ 1338 w 1531"/>
                <a:gd name="T33" fmla="*/ 492 h 684"/>
                <a:gd name="T34" fmla="*/ 863 w 1531"/>
                <a:gd name="T35" fmla="*/ 470 h 684"/>
                <a:gd name="T36" fmla="*/ 1355 w 1531"/>
                <a:gd name="T37" fmla="*/ 446 h 684"/>
                <a:gd name="T38" fmla="*/ 851 w 1531"/>
                <a:gd name="T39" fmla="*/ 460 h 684"/>
                <a:gd name="T40" fmla="*/ 1359 w 1531"/>
                <a:gd name="T41" fmla="*/ 431 h 684"/>
                <a:gd name="T42" fmla="*/ 799 w 1531"/>
                <a:gd name="T43" fmla="*/ 399 h 684"/>
                <a:gd name="T44" fmla="*/ 1366 w 1531"/>
                <a:gd name="T45" fmla="*/ 383 h 684"/>
                <a:gd name="T46" fmla="*/ 210 w 1531"/>
                <a:gd name="T47" fmla="*/ 386 h 684"/>
                <a:gd name="T48" fmla="*/ 226 w 1531"/>
                <a:gd name="T49" fmla="*/ 390 h 684"/>
                <a:gd name="T50" fmla="*/ 178 w 1531"/>
                <a:gd name="T51" fmla="*/ 387 h 684"/>
                <a:gd name="T52" fmla="*/ 258 w 1531"/>
                <a:gd name="T53" fmla="*/ 381 h 684"/>
                <a:gd name="T54" fmla="*/ 133 w 1531"/>
                <a:gd name="T55" fmla="*/ 370 h 684"/>
                <a:gd name="T56" fmla="*/ 305 w 1531"/>
                <a:gd name="T57" fmla="*/ 372 h 684"/>
                <a:gd name="T58" fmla="*/ 1374 w 1531"/>
                <a:gd name="T59" fmla="*/ 368 h 684"/>
                <a:gd name="T60" fmla="*/ 117 w 1531"/>
                <a:gd name="T61" fmla="*/ 368 h 684"/>
                <a:gd name="T62" fmla="*/ 319 w 1531"/>
                <a:gd name="T63" fmla="*/ 363 h 684"/>
                <a:gd name="T64" fmla="*/ 364 w 1531"/>
                <a:gd name="T65" fmla="*/ 349 h 684"/>
                <a:gd name="T66" fmla="*/ 91 w 1531"/>
                <a:gd name="T67" fmla="*/ 348 h 684"/>
                <a:gd name="T68" fmla="*/ 736 w 1531"/>
                <a:gd name="T69" fmla="*/ 351 h 684"/>
                <a:gd name="T70" fmla="*/ 411 w 1531"/>
                <a:gd name="T71" fmla="*/ 338 h 684"/>
                <a:gd name="T72" fmla="*/ 1379 w 1531"/>
                <a:gd name="T73" fmla="*/ 336 h 684"/>
                <a:gd name="T74" fmla="*/ 693 w 1531"/>
                <a:gd name="T75" fmla="*/ 332 h 684"/>
                <a:gd name="T76" fmla="*/ 52 w 1531"/>
                <a:gd name="T77" fmla="*/ 320 h 684"/>
                <a:gd name="T78" fmla="*/ 457 w 1531"/>
                <a:gd name="T79" fmla="*/ 321 h 684"/>
                <a:gd name="T80" fmla="*/ 679 w 1531"/>
                <a:gd name="T81" fmla="*/ 323 h 684"/>
                <a:gd name="T82" fmla="*/ 473 w 1531"/>
                <a:gd name="T83" fmla="*/ 322 h 684"/>
                <a:gd name="T84" fmla="*/ 505 w 1531"/>
                <a:gd name="T85" fmla="*/ 316 h 684"/>
                <a:gd name="T86" fmla="*/ 600 w 1531"/>
                <a:gd name="T87" fmla="*/ 312 h 684"/>
                <a:gd name="T88" fmla="*/ 552 w 1531"/>
                <a:gd name="T89" fmla="*/ 307 h 684"/>
                <a:gd name="T90" fmla="*/ 568 w 1531"/>
                <a:gd name="T91" fmla="*/ 306 h 684"/>
                <a:gd name="T92" fmla="*/ 36 w 1531"/>
                <a:gd name="T93" fmla="*/ 292 h 684"/>
                <a:gd name="T94" fmla="*/ 1397 w 1531"/>
                <a:gd name="T95" fmla="*/ 292 h 684"/>
                <a:gd name="T96" fmla="*/ 24 w 1531"/>
                <a:gd name="T97" fmla="*/ 281 h 684"/>
                <a:gd name="T98" fmla="*/ 11 w 1531"/>
                <a:gd name="T99" fmla="*/ 251 h 684"/>
                <a:gd name="T100" fmla="*/ 1412 w 1531"/>
                <a:gd name="T101" fmla="*/ 246 h 684"/>
                <a:gd name="T102" fmla="*/ 1435 w 1531"/>
                <a:gd name="T103" fmla="*/ 204 h 684"/>
                <a:gd name="T104" fmla="*/ 5 w 1531"/>
                <a:gd name="T105" fmla="*/ 203 h 684"/>
                <a:gd name="T106" fmla="*/ 1455 w 1531"/>
                <a:gd name="T107" fmla="*/ 178 h 684"/>
                <a:gd name="T108" fmla="*/ 4 w 1531"/>
                <a:gd name="T109" fmla="*/ 172 h 684"/>
                <a:gd name="T110" fmla="*/ 1477 w 1531"/>
                <a:gd name="T111" fmla="*/ 155 h 684"/>
                <a:gd name="T112" fmla="*/ 6 w 1531"/>
                <a:gd name="T113" fmla="*/ 140 h 684"/>
                <a:gd name="T114" fmla="*/ 1491 w 1531"/>
                <a:gd name="T115" fmla="*/ 147 h 684"/>
                <a:gd name="T116" fmla="*/ 9 w 1531"/>
                <a:gd name="T117" fmla="*/ 124 h 684"/>
                <a:gd name="T118" fmla="*/ 13 w 1531"/>
                <a:gd name="T119" fmla="*/ 92 h 684"/>
                <a:gd name="T120" fmla="*/ 34 w 1531"/>
                <a:gd name="T121" fmla="*/ 49 h 684"/>
                <a:gd name="T122" fmla="*/ 56 w 1531"/>
                <a:gd name="T123" fmla="*/ 25 h 684"/>
                <a:gd name="T124" fmla="*/ 67 w 1531"/>
                <a:gd name="T125" fmla="*/ 14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1" h="684">
                  <a:moveTo>
                    <a:pt x="1139" y="684"/>
                  </a:moveTo>
                  <a:cubicBezTo>
                    <a:pt x="1134" y="684"/>
                    <a:pt x="1128" y="684"/>
                    <a:pt x="1123" y="684"/>
                  </a:cubicBezTo>
                  <a:cubicBezTo>
                    <a:pt x="1123" y="680"/>
                    <a:pt x="1123" y="680"/>
                    <a:pt x="1123" y="680"/>
                  </a:cubicBezTo>
                  <a:cubicBezTo>
                    <a:pt x="1128" y="680"/>
                    <a:pt x="1134" y="680"/>
                    <a:pt x="1139" y="680"/>
                  </a:cubicBezTo>
                  <a:lnTo>
                    <a:pt x="1139" y="684"/>
                  </a:lnTo>
                  <a:close/>
                  <a:moveTo>
                    <a:pt x="1155" y="684"/>
                  </a:moveTo>
                  <a:cubicBezTo>
                    <a:pt x="1155" y="680"/>
                    <a:pt x="1155" y="680"/>
                    <a:pt x="1155" y="680"/>
                  </a:cubicBezTo>
                  <a:cubicBezTo>
                    <a:pt x="1160" y="680"/>
                    <a:pt x="1166" y="679"/>
                    <a:pt x="1171" y="678"/>
                  </a:cubicBezTo>
                  <a:cubicBezTo>
                    <a:pt x="1171" y="682"/>
                    <a:pt x="1171" y="682"/>
                    <a:pt x="1171" y="682"/>
                  </a:cubicBezTo>
                  <a:cubicBezTo>
                    <a:pt x="1166" y="683"/>
                    <a:pt x="1161" y="683"/>
                    <a:pt x="1155" y="684"/>
                  </a:cubicBezTo>
                  <a:close/>
                  <a:moveTo>
                    <a:pt x="1107" y="682"/>
                  </a:moveTo>
                  <a:cubicBezTo>
                    <a:pt x="1102" y="682"/>
                    <a:pt x="1096" y="681"/>
                    <a:pt x="1091" y="680"/>
                  </a:cubicBezTo>
                  <a:cubicBezTo>
                    <a:pt x="1092" y="676"/>
                    <a:pt x="1092" y="676"/>
                    <a:pt x="1092" y="676"/>
                  </a:cubicBezTo>
                  <a:cubicBezTo>
                    <a:pt x="1097" y="677"/>
                    <a:pt x="1102" y="678"/>
                    <a:pt x="1108" y="678"/>
                  </a:cubicBezTo>
                  <a:lnTo>
                    <a:pt x="1107" y="682"/>
                  </a:lnTo>
                  <a:close/>
                  <a:moveTo>
                    <a:pt x="1187" y="680"/>
                  </a:moveTo>
                  <a:cubicBezTo>
                    <a:pt x="1186" y="676"/>
                    <a:pt x="1186" y="676"/>
                    <a:pt x="1186" y="676"/>
                  </a:cubicBezTo>
                  <a:cubicBezTo>
                    <a:pt x="1192" y="675"/>
                    <a:pt x="1197" y="674"/>
                    <a:pt x="1202" y="672"/>
                  </a:cubicBezTo>
                  <a:cubicBezTo>
                    <a:pt x="1203" y="676"/>
                    <a:pt x="1203" y="676"/>
                    <a:pt x="1203" y="676"/>
                  </a:cubicBezTo>
                  <a:cubicBezTo>
                    <a:pt x="1198" y="678"/>
                    <a:pt x="1192" y="679"/>
                    <a:pt x="1187" y="680"/>
                  </a:cubicBezTo>
                  <a:close/>
                  <a:moveTo>
                    <a:pt x="1075" y="677"/>
                  </a:moveTo>
                  <a:cubicBezTo>
                    <a:pt x="1070" y="675"/>
                    <a:pt x="1065" y="674"/>
                    <a:pt x="1060" y="672"/>
                  </a:cubicBezTo>
                  <a:cubicBezTo>
                    <a:pt x="1061" y="669"/>
                    <a:pt x="1061" y="669"/>
                    <a:pt x="1061" y="669"/>
                  </a:cubicBezTo>
                  <a:cubicBezTo>
                    <a:pt x="1066" y="670"/>
                    <a:pt x="1071" y="672"/>
                    <a:pt x="1076" y="673"/>
                  </a:cubicBezTo>
                  <a:lnTo>
                    <a:pt x="1075" y="677"/>
                  </a:lnTo>
                  <a:close/>
                  <a:moveTo>
                    <a:pt x="1218" y="671"/>
                  </a:moveTo>
                  <a:cubicBezTo>
                    <a:pt x="1216" y="667"/>
                    <a:pt x="1216" y="667"/>
                    <a:pt x="1216" y="667"/>
                  </a:cubicBezTo>
                  <a:cubicBezTo>
                    <a:pt x="1221" y="665"/>
                    <a:pt x="1226" y="663"/>
                    <a:pt x="1231" y="661"/>
                  </a:cubicBezTo>
                  <a:cubicBezTo>
                    <a:pt x="1233" y="664"/>
                    <a:pt x="1233" y="664"/>
                    <a:pt x="1233" y="664"/>
                  </a:cubicBezTo>
                  <a:cubicBezTo>
                    <a:pt x="1228" y="667"/>
                    <a:pt x="1223" y="669"/>
                    <a:pt x="1218" y="671"/>
                  </a:cubicBezTo>
                  <a:close/>
                  <a:moveTo>
                    <a:pt x="1045" y="667"/>
                  </a:moveTo>
                  <a:cubicBezTo>
                    <a:pt x="1040" y="665"/>
                    <a:pt x="1035" y="663"/>
                    <a:pt x="1030" y="661"/>
                  </a:cubicBezTo>
                  <a:cubicBezTo>
                    <a:pt x="1032" y="657"/>
                    <a:pt x="1032" y="657"/>
                    <a:pt x="1032" y="657"/>
                  </a:cubicBezTo>
                  <a:cubicBezTo>
                    <a:pt x="1036" y="659"/>
                    <a:pt x="1041" y="662"/>
                    <a:pt x="1046" y="663"/>
                  </a:cubicBezTo>
                  <a:lnTo>
                    <a:pt x="1045" y="667"/>
                  </a:lnTo>
                  <a:close/>
                  <a:moveTo>
                    <a:pt x="1246" y="656"/>
                  </a:moveTo>
                  <a:cubicBezTo>
                    <a:pt x="1244" y="653"/>
                    <a:pt x="1244" y="653"/>
                    <a:pt x="1244" y="653"/>
                  </a:cubicBezTo>
                  <a:cubicBezTo>
                    <a:pt x="1249" y="650"/>
                    <a:pt x="1253" y="646"/>
                    <a:pt x="1257" y="643"/>
                  </a:cubicBezTo>
                  <a:cubicBezTo>
                    <a:pt x="1259" y="646"/>
                    <a:pt x="1259" y="646"/>
                    <a:pt x="1259" y="646"/>
                  </a:cubicBezTo>
                  <a:cubicBezTo>
                    <a:pt x="1255" y="650"/>
                    <a:pt x="1251" y="653"/>
                    <a:pt x="1246" y="656"/>
                  </a:cubicBezTo>
                  <a:close/>
                  <a:moveTo>
                    <a:pt x="1016" y="653"/>
                  </a:moveTo>
                  <a:cubicBezTo>
                    <a:pt x="1011" y="651"/>
                    <a:pt x="1006" y="648"/>
                    <a:pt x="1002" y="645"/>
                  </a:cubicBezTo>
                  <a:cubicBezTo>
                    <a:pt x="1004" y="642"/>
                    <a:pt x="1004" y="642"/>
                    <a:pt x="1004" y="642"/>
                  </a:cubicBezTo>
                  <a:cubicBezTo>
                    <a:pt x="1009" y="644"/>
                    <a:pt x="1013" y="647"/>
                    <a:pt x="1018" y="650"/>
                  </a:cubicBezTo>
                  <a:lnTo>
                    <a:pt x="1016" y="653"/>
                  </a:lnTo>
                  <a:close/>
                  <a:moveTo>
                    <a:pt x="989" y="635"/>
                  </a:moveTo>
                  <a:cubicBezTo>
                    <a:pt x="985" y="632"/>
                    <a:pt x="980" y="629"/>
                    <a:pt x="976" y="625"/>
                  </a:cubicBezTo>
                  <a:cubicBezTo>
                    <a:pt x="979" y="622"/>
                    <a:pt x="979" y="622"/>
                    <a:pt x="979" y="622"/>
                  </a:cubicBezTo>
                  <a:cubicBezTo>
                    <a:pt x="983" y="626"/>
                    <a:pt x="987" y="629"/>
                    <a:pt x="991" y="632"/>
                  </a:cubicBezTo>
                  <a:lnTo>
                    <a:pt x="989" y="635"/>
                  </a:lnTo>
                  <a:close/>
                  <a:moveTo>
                    <a:pt x="1271" y="635"/>
                  </a:moveTo>
                  <a:cubicBezTo>
                    <a:pt x="1268" y="632"/>
                    <a:pt x="1268" y="632"/>
                    <a:pt x="1268" y="632"/>
                  </a:cubicBezTo>
                  <a:cubicBezTo>
                    <a:pt x="1272" y="629"/>
                    <a:pt x="1276" y="625"/>
                    <a:pt x="1279" y="621"/>
                  </a:cubicBezTo>
                  <a:cubicBezTo>
                    <a:pt x="1282" y="623"/>
                    <a:pt x="1282" y="623"/>
                    <a:pt x="1282" y="623"/>
                  </a:cubicBezTo>
                  <a:cubicBezTo>
                    <a:pt x="1279" y="627"/>
                    <a:pt x="1275" y="632"/>
                    <a:pt x="1271" y="635"/>
                  </a:cubicBezTo>
                  <a:close/>
                  <a:moveTo>
                    <a:pt x="965" y="614"/>
                  </a:moveTo>
                  <a:cubicBezTo>
                    <a:pt x="961" y="611"/>
                    <a:pt x="957" y="607"/>
                    <a:pt x="953" y="603"/>
                  </a:cubicBezTo>
                  <a:cubicBezTo>
                    <a:pt x="956" y="600"/>
                    <a:pt x="956" y="600"/>
                    <a:pt x="956" y="600"/>
                  </a:cubicBezTo>
                  <a:cubicBezTo>
                    <a:pt x="960" y="604"/>
                    <a:pt x="964" y="608"/>
                    <a:pt x="967" y="611"/>
                  </a:cubicBezTo>
                  <a:lnTo>
                    <a:pt x="965" y="614"/>
                  </a:lnTo>
                  <a:close/>
                  <a:moveTo>
                    <a:pt x="1292" y="610"/>
                  </a:moveTo>
                  <a:cubicBezTo>
                    <a:pt x="1288" y="608"/>
                    <a:pt x="1288" y="608"/>
                    <a:pt x="1288" y="608"/>
                  </a:cubicBezTo>
                  <a:cubicBezTo>
                    <a:pt x="1291" y="604"/>
                    <a:pt x="1294" y="599"/>
                    <a:pt x="1297" y="595"/>
                  </a:cubicBezTo>
                  <a:cubicBezTo>
                    <a:pt x="1301" y="597"/>
                    <a:pt x="1301" y="597"/>
                    <a:pt x="1301" y="597"/>
                  </a:cubicBezTo>
                  <a:cubicBezTo>
                    <a:pt x="1298" y="602"/>
                    <a:pt x="1295" y="606"/>
                    <a:pt x="1292" y="610"/>
                  </a:cubicBezTo>
                  <a:close/>
                  <a:moveTo>
                    <a:pt x="943" y="591"/>
                  </a:moveTo>
                  <a:cubicBezTo>
                    <a:pt x="939" y="587"/>
                    <a:pt x="936" y="583"/>
                    <a:pt x="933" y="578"/>
                  </a:cubicBezTo>
                  <a:cubicBezTo>
                    <a:pt x="936" y="576"/>
                    <a:pt x="936" y="576"/>
                    <a:pt x="936" y="576"/>
                  </a:cubicBezTo>
                  <a:cubicBezTo>
                    <a:pt x="939" y="580"/>
                    <a:pt x="943" y="584"/>
                    <a:pt x="946" y="588"/>
                  </a:cubicBezTo>
                  <a:lnTo>
                    <a:pt x="943" y="591"/>
                  </a:lnTo>
                  <a:close/>
                  <a:moveTo>
                    <a:pt x="1308" y="583"/>
                  </a:moveTo>
                  <a:cubicBezTo>
                    <a:pt x="1305" y="581"/>
                    <a:pt x="1305" y="581"/>
                    <a:pt x="1305" y="581"/>
                  </a:cubicBezTo>
                  <a:cubicBezTo>
                    <a:pt x="1307" y="576"/>
                    <a:pt x="1309" y="572"/>
                    <a:pt x="1312" y="567"/>
                  </a:cubicBezTo>
                  <a:cubicBezTo>
                    <a:pt x="1315" y="568"/>
                    <a:pt x="1315" y="568"/>
                    <a:pt x="1315" y="568"/>
                  </a:cubicBezTo>
                  <a:cubicBezTo>
                    <a:pt x="1313" y="573"/>
                    <a:pt x="1311" y="578"/>
                    <a:pt x="1308" y="583"/>
                  </a:cubicBezTo>
                  <a:close/>
                  <a:moveTo>
                    <a:pt x="923" y="565"/>
                  </a:moveTo>
                  <a:cubicBezTo>
                    <a:pt x="920" y="561"/>
                    <a:pt x="917" y="557"/>
                    <a:pt x="913" y="552"/>
                  </a:cubicBezTo>
                  <a:cubicBezTo>
                    <a:pt x="917" y="550"/>
                    <a:pt x="917" y="550"/>
                    <a:pt x="917" y="550"/>
                  </a:cubicBezTo>
                  <a:cubicBezTo>
                    <a:pt x="920" y="554"/>
                    <a:pt x="923" y="559"/>
                    <a:pt x="926" y="563"/>
                  </a:cubicBezTo>
                  <a:lnTo>
                    <a:pt x="923" y="565"/>
                  </a:lnTo>
                  <a:close/>
                  <a:moveTo>
                    <a:pt x="1322" y="554"/>
                  </a:moveTo>
                  <a:cubicBezTo>
                    <a:pt x="1318" y="552"/>
                    <a:pt x="1318" y="552"/>
                    <a:pt x="1318" y="552"/>
                  </a:cubicBezTo>
                  <a:cubicBezTo>
                    <a:pt x="1320" y="547"/>
                    <a:pt x="1322" y="542"/>
                    <a:pt x="1324" y="537"/>
                  </a:cubicBezTo>
                  <a:cubicBezTo>
                    <a:pt x="1328" y="539"/>
                    <a:pt x="1328" y="539"/>
                    <a:pt x="1328" y="539"/>
                  </a:cubicBezTo>
                  <a:cubicBezTo>
                    <a:pt x="1326" y="544"/>
                    <a:pt x="1324" y="549"/>
                    <a:pt x="1322" y="554"/>
                  </a:cubicBezTo>
                  <a:close/>
                  <a:moveTo>
                    <a:pt x="904" y="539"/>
                  </a:moveTo>
                  <a:cubicBezTo>
                    <a:pt x="901" y="535"/>
                    <a:pt x="898" y="530"/>
                    <a:pt x="895" y="526"/>
                  </a:cubicBezTo>
                  <a:cubicBezTo>
                    <a:pt x="899" y="524"/>
                    <a:pt x="899" y="524"/>
                    <a:pt x="899" y="524"/>
                  </a:cubicBezTo>
                  <a:cubicBezTo>
                    <a:pt x="902" y="528"/>
                    <a:pt x="905" y="533"/>
                    <a:pt x="908" y="537"/>
                  </a:cubicBezTo>
                  <a:lnTo>
                    <a:pt x="904" y="539"/>
                  </a:lnTo>
                  <a:close/>
                  <a:moveTo>
                    <a:pt x="1333" y="523"/>
                  </a:moveTo>
                  <a:cubicBezTo>
                    <a:pt x="1329" y="522"/>
                    <a:pt x="1329" y="522"/>
                    <a:pt x="1329" y="522"/>
                  </a:cubicBezTo>
                  <a:cubicBezTo>
                    <a:pt x="1331" y="517"/>
                    <a:pt x="1332" y="512"/>
                    <a:pt x="1334" y="507"/>
                  </a:cubicBezTo>
                  <a:cubicBezTo>
                    <a:pt x="1338" y="508"/>
                    <a:pt x="1338" y="508"/>
                    <a:pt x="1338" y="508"/>
                  </a:cubicBezTo>
                  <a:cubicBezTo>
                    <a:pt x="1336" y="513"/>
                    <a:pt x="1334" y="518"/>
                    <a:pt x="1333" y="523"/>
                  </a:cubicBezTo>
                  <a:close/>
                  <a:moveTo>
                    <a:pt x="887" y="513"/>
                  </a:moveTo>
                  <a:cubicBezTo>
                    <a:pt x="878" y="499"/>
                    <a:pt x="878" y="499"/>
                    <a:pt x="878" y="499"/>
                  </a:cubicBezTo>
                  <a:cubicBezTo>
                    <a:pt x="881" y="497"/>
                    <a:pt x="881" y="497"/>
                    <a:pt x="881" y="497"/>
                  </a:cubicBezTo>
                  <a:cubicBezTo>
                    <a:pt x="890" y="510"/>
                    <a:pt x="890" y="510"/>
                    <a:pt x="890" y="510"/>
                  </a:cubicBezTo>
                  <a:lnTo>
                    <a:pt x="887" y="513"/>
                  </a:lnTo>
                  <a:close/>
                  <a:moveTo>
                    <a:pt x="1342" y="493"/>
                  </a:moveTo>
                  <a:cubicBezTo>
                    <a:pt x="1338" y="492"/>
                    <a:pt x="1338" y="492"/>
                    <a:pt x="1338" y="492"/>
                  </a:cubicBezTo>
                  <a:cubicBezTo>
                    <a:pt x="1340" y="486"/>
                    <a:pt x="1341" y="481"/>
                    <a:pt x="1343" y="476"/>
                  </a:cubicBezTo>
                  <a:cubicBezTo>
                    <a:pt x="1347" y="477"/>
                    <a:pt x="1347" y="477"/>
                    <a:pt x="1347" y="477"/>
                  </a:cubicBezTo>
                  <a:cubicBezTo>
                    <a:pt x="1345" y="482"/>
                    <a:pt x="1344" y="488"/>
                    <a:pt x="1342" y="493"/>
                  </a:cubicBezTo>
                  <a:close/>
                  <a:moveTo>
                    <a:pt x="869" y="486"/>
                  </a:moveTo>
                  <a:cubicBezTo>
                    <a:pt x="866" y="482"/>
                    <a:pt x="863" y="477"/>
                    <a:pt x="860" y="473"/>
                  </a:cubicBezTo>
                  <a:cubicBezTo>
                    <a:pt x="863" y="470"/>
                    <a:pt x="863" y="470"/>
                    <a:pt x="863" y="470"/>
                  </a:cubicBezTo>
                  <a:cubicBezTo>
                    <a:pt x="866" y="475"/>
                    <a:pt x="869" y="479"/>
                    <a:pt x="872" y="484"/>
                  </a:cubicBezTo>
                  <a:lnTo>
                    <a:pt x="869" y="486"/>
                  </a:lnTo>
                  <a:close/>
                  <a:moveTo>
                    <a:pt x="1351" y="462"/>
                  </a:moveTo>
                  <a:cubicBezTo>
                    <a:pt x="1347" y="461"/>
                    <a:pt x="1347" y="461"/>
                    <a:pt x="1347" y="461"/>
                  </a:cubicBezTo>
                  <a:cubicBezTo>
                    <a:pt x="1348" y="456"/>
                    <a:pt x="1349" y="450"/>
                    <a:pt x="1351" y="445"/>
                  </a:cubicBezTo>
                  <a:cubicBezTo>
                    <a:pt x="1355" y="446"/>
                    <a:pt x="1355" y="446"/>
                    <a:pt x="1355" y="446"/>
                  </a:cubicBezTo>
                  <a:cubicBezTo>
                    <a:pt x="1353" y="451"/>
                    <a:pt x="1352" y="457"/>
                    <a:pt x="1351" y="462"/>
                  </a:cubicBezTo>
                  <a:close/>
                  <a:moveTo>
                    <a:pt x="851" y="460"/>
                  </a:moveTo>
                  <a:cubicBezTo>
                    <a:pt x="847" y="455"/>
                    <a:pt x="844" y="451"/>
                    <a:pt x="841" y="447"/>
                  </a:cubicBezTo>
                  <a:cubicBezTo>
                    <a:pt x="844" y="444"/>
                    <a:pt x="844" y="444"/>
                    <a:pt x="844" y="444"/>
                  </a:cubicBezTo>
                  <a:cubicBezTo>
                    <a:pt x="847" y="449"/>
                    <a:pt x="851" y="453"/>
                    <a:pt x="854" y="457"/>
                  </a:cubicBezTo>
                  <a:lnTo>
                    <a:pt x="851" y="460"/>
                  </a:lnTo>
                  <a:close/>
                  <a:moveTo>
                    <a:pt x="831" y="434"/>
                  </a:moveTo>
                  <a:cubicBezTo>
                    <a:pt x="828" y="430"/>
                    <a:pt x="824" y="426"/>
                    <a:pt x="821" y="422"/>
                  </a:cubicBezTo>
                  <a:cubicBezTo>
                    <a:pt x="824" y="419"/>
                    <a:pt x="824" y="419"/>
                    <a:pt x="824" y="419"/>
                  </a:cubicBezTo>
                  <a:cubicBezTo>
                    <a:pt x="828" y="423"/>
                    <a:pt x="831" y="427"/>
                    <a:pt x="834" y="432"/>
                  </a:cubicBezTo>
                  <a:lnTo>
                    <a:pt x="831" y="434"/>
                  </a:lnTo>
                  <a:close/>
                  <a:moveTo>
                    <a:pt x="1359" y="431"/>
                  </a:moveTo>
                  <a:cubicBezTo>
                    <a:pt x="1355" y="430"/>
                    <a:pt x="1355" y="430"/>
                    <a:pt x="1355" y="430"/>
                  </a:cubicBezTo>
                  <a:cubicBezTo>
                    <a:pt x="1358" y="414"/>
                    <a:pt x="1358" y="414"/>
                    <a:pt x="1358" y="414"/>
                  </a:cubicBezTo>
                  <a:cubicBezTo>
                    <a:pt x="1362" y="415"/>
                    <a:pt x="1362" y="415"/>
                    <a:pt x="1362" y="415"/>
                  </a:cubicBezTo>
                  <a:lnTo>
                    <a:pt x="1359" y="431"/>
                  </a:lnTo>
                  <a:close/>
                  <a:moveTo>
                    <a:pt x="810" y="410"/>
                  </a:moveTo>
                  <a:cubicBezTo>
                    <a:pt x="807" y="406"/>
                    <a:pt x="803" y="402"/>
                    <a:pt x="799" y="399"/>
                  </a:cubicBezTo>
                  <a:cubicBezTo>
                    <a:pt x="802" y="396"/>
                    <a:pt x="802" y="396"/>
                    <a:pt x="802" y="396"/>
                  </a:cubicBezTo>
                  <a:cubicBezTo>
                    <a:pt x="806" y="399"/>
                    <a:pt x="810" y="403"/>
                    <a:pt x="813" y="407"/>
                  </a:cubicBezTo>
                  <a:lnTo>
                    <a:pt x="810" y="410"/>
                  </a:lnTo>
                  <a:close/>
                  <a:moveTo>
                    <a:pt x="1366" y="400"/>
                  </a:moveTo>
                  <a:cubicBezTo>
                    <a:pt x="1362" y="399"/>
                    <a:pt x="1362" y="399"/>
                    <a:pt x="1362" y="399"/>
                  </a:cubicBezTo>
                  <a:cubicBezTo>
                    <a:pt x="1364" y="393"/>
                    <a:pt x="1365" y="388"/>
                    <a:pt x="1366" y="383"/>
                  </a:cubicBezTo>
                  <a:cubicBezTo>
                    <a:pt x="1370" y="384"/>
                    <a:pt x="1370" y="384"/>
                    <a:pt x="1370" y="384"/>
                  </a:cubicBezTo>
                  <a:cubicBezTo>
                    <a:pt x="1369" y="389"/>
                    <a:pt x="1367" y="394"/>
                    <a:pt x="1366" y="400"/>
                  </a:cubicBezTo>
                  <a:close/>
                  <a:moveTo>
                    <a:pt x="210" y="390"/>
                  </a:moveTo>
                  <a:cubicBezTo>
                    <a:pt x="205" y="390"/>
                    <a:pt x="200" y="389"/>
                    <a:pt x="194" y="389"/>
                  </a:cubicBezTo>
                  <a:cubicBezTo>
                    <a:pt x="195" y="385"/>
                    <a:pt x="195" y="385"/>
                    <a:pt x="195" y="385"/>
                  </a:cubicBezTo>
                  <a:cubicBezTo>
                    <a:pt x="200" y="385"/>
                    <a:pt x="205" y="386"/>
                    <a:pt x="210" y="386"/>
                  </a:cubicBezTo>
                  <a:lnTo>
                    <a:pt x="210" y="390"/>
                  </a:lnTo>
                  <a:close/>
                  <a:moveTo>
                    <a:pt x="226" y="390"/>
                  </a:moveTo>
                  <a:cubicBezTo>
                    <a:pt x="226" y="386"/>
                    <a:pt x="226" y="386"/>
                    <a:pt x="226" y="386"/>
                  </a:cubicBezTo>
                  <a:cubicBezTo>
                    <a:pt x="231" y="385"/>
                    <a:pt x="237" y="385"/>
                    <a:pt x="242" y="384"/>
                  </a:cubicBezTo>
                  <a:cubicBezTo>
                    <a:pt x="243" y="388"/>
                    <a:pt x="243" y="388"/>
                    <a:pt x="243" y="388"/>
                  </a:cubicBezTo>
                  <a:cubicBezTo>
                    <a:pt x="237" y="389"/>
                    <a:pt x="232" y="389"/>
                    <a:pt x="226" y="390"/>
                  </a:cubicBezTo>
                  <a:close/>
                  <a:moveTo>
                    <a:pt x="788" y="388"/>
                  </a:moveTo>
                  <a:cubicBezTo>
                    <a:pt x="784" y="384"/>
                    <a:pt x="780" y="381"/>
                    <a:pt x="776" y="377"/>
                  </a:cubicBezTo>
                  <a:cubicBezTo>
                    <a:pt x="778" y="374"/>
                    <a:pt x="778" y="374"/>
                    <a:pt x="778" y="374"/>
                  </a:cubicBezTo>
                  <a:cubicBezTo>
                    <a:pt x="782" y="378"/>
                    <a:pt x="786" y="381"/>
                    <a:pt x="790" y="385"/>
                  </a:cubicBezTo>
                  <a:lnTo>
                    <a:pt x="788" y="388"/>
                  </a:lnTo>
                  <a:close/>
                  <a:moveTo>
                    <a:pt x="178" y="387"/>
                  </a:moveTo>
                  <a:cubicBezTo>
                    <a:pt x="173" y="386"/>
                    <a:pt x="168" y="385"/>
                    <a:pt x="162" y="384"/>
                  </a:cubicBezTo>
                  <a:cubicBezTo>
                    <a:pt x="163" y="380"/>
                    <a:pt x="163" y="380"/>
                    <a:pt x="163" y="380"/>
                  </a:cubicBezTo>
                  <a:cubicBezTo>
                    <a:pt x="168" y="381"/>
                    <a:pt x="174" y="382"/>
                    <a:pt x="179" y="383"/>
                  </a:cubicBezTo>
                  <a:lnTo>
                    <a:pt x="178" y="387"/>
                  </a:lnTo>
                  <a:close/>
                  <a:moveTo>
                    <a:pt x="258" y="385"/>
                  </a:moveTo>
                  <a:cubicBezTo>
                    <a:pt x="258" y="381"/>
                    <a:pt x="258" y="381"/>
                    <a:pt x="258" y="381"/>
                  </a:cubicBezTo>
                  <a:cubicBezTo>
                    <a:pt x="263" y="380"/>
                    <a:pt x="268" y="379"/>
                    <a:pt x="273" y="378"/>
                  </a:cubicBezTo>
                  <a:cubicBezTo>
                    <a:pt x="274" y="382"/>
                    <a:pt x="274" y="382"/>
                    <a:pt x="274" y="382"/>
                  </a:cubicBezTo>
                  <a:cubicBezTo>
                    <a:pt x="269" y="383"/>
                    <a:pt x="264" y="384"/>
                    <a:pt x="258" y="385"/>
                  </a:cubicBezTo>
                  <a:close/>
                  <a:moveTo>
                    <a:pt x="147" y="380"/>
                  </a:moveTo>
                  <a:cubicBezTo>
                    <a:pt x="142" y="378"/>
                    <a:pt x="137" y="376"/>
                    <a:pt x="132" y="374"/>
                  </a:cubicBezTo>
                  <a:cubicBezTo>
                    <a:pt x="133" y="370"/>
                    <a:pt x="133" y="370"/>
                    <a:pt x="133" y="370"/>
                  </a:cubicBezTo>
                  <a:cubicBezTo>
                    <a:pt x="138" y="372"/>
                    <a:pt x="143" y="374"/>
                    <a:pt x="148" y="376"/>
                  </a:cubicBezTo>
                  <a:lnTo>
                    <a:pt x="147" y="380"/>
                  </a:lnTo>
                  <a:close/>
                  <a:moveTo>
                    <a:pt x="289" y="377"/>
                  </a:moveTo>
                  <a:cubicBezTo>
                    <a:pt x="288" y="373"/>
                    <a:pt x="288" y="373"/>
                    <a:pt x="288" y="373"/>
                  </a:cubicBezTo>
                  <a:cubicBezTo>
                    <a:pt x="293" y="371"/>
                    <a:pt x="299" y="370"/>
                    <a:pt x="304" y="368"/>
                  </a:cubicBezTo>
                  <a:cubicBezTo>
                    <a:pt x="305" y="372"/>
                    <a:pt x="305" y="372"/>
                    <a:pt x="305" y="372"/>
                  </a:cubicBezTo>
                  <a:cubicBezTo>
                    <a:pt x="300" y="374"/>
                    <a:pt x="295" y="375"/>
                    <a:pt x="289" y="377"/>
                  </a:cubicBezTo>
                  <a:close/>
                  <a:moveTo>
                    <a:pt x="1374" y="368"/>
                  </a:moveTo>
                  <a:cubicBezTo>
                    <a:pt x="1370" y="367"/>
                    <a:pt x="1370" y="367"/>
                    <a:pt x="1370" y="367"/>
                  </a:cubicBezTo>
                  <a:cubicBezTo>
                    <a:pt x="1372" y="362"/>
                    <a:pt x="1373" y="357"/>
                    <a:pt x="1374" y="352"/>
                  </a:cubicBezTo>
                  <a:cubicBezTo>
                    <a:pt x="1378" y="353"/>
                    <a:pt x="1378" y="353"/>
                    <a:pt x="1378" y="353"/>
                  </a:cubicBezTo>
                  <a:cubicBezTo>
                    <a:pt x="1377" y="358"/>
                    <a:pt x="1375" y="363"/>
                    <a:pt x="1374" y="368"/>
                  </a:cubicBezTo>
                  <a:close/>
                  <a:moveTo>
                    <a:pt x="763" y="368"/>
                  </a:moveTo>
                  <a:cubicBezTo>
                    <a:pt x="759" y="365"/>
                    <a:pt x="754" y="362"/>
                    <a:pt x="750" y="359"/>
                  </a:cubicBezTo>
                  <a:cubicBezTo>
                    <a:pt x="752" y="356"/>
                    <a:pt x="752" y="356"/>
                    <a:pt x="752" y="356"/>
                  </a:cubicBezTo>
                  <a:cubicBezTo>
                    <a:pt x="757" y="358"/>
                    <a:pt x="761" y="361"/>
                    <a:pt x="765" y="365"/>
                  </a:cubicBezTo>
                  <a:lnTo>
                    <a:pt x="763" y="368"/>
                  </a:lnTo>
                  <a:close/>
                  <a:moveTo>
                    <a:pt x="117" y="368"/>
                  </a:moveTo>
                  <a:cubicBezTo>
                    <a:pt x="112" y="365"/>
                    <a:pt x="107" y="363"/>
                    <a:pt x="102" y="360"/>
                  </a:cubicBezTo>
                  <a:cubicBezTo>
                    <a:pt x="104" y="357"/>
                    <a:pt x="104" y="357"/>
                    <a:pt x="104" y="357"/>
                  </a:cubicBezTo>
                  <a:cubicBezTo>
                    <a:pt x="109" y="359"/>
                    <a:pt x="114" y="362"/>
                    <a:pt x="118" y="364"/>
                  </a:cubicBezTo>
                  <a:lnTo>
                    <a:pt x="117" y="368"/>
                  </a:lnTo>
                  <a:close/>
                  <a:moveTo>
                    <a:pt x="320" y="367"/>
                  </a:moveTo>
                  <a:cubicBezTo>
                    <a:pt x="319" y="363"/>
                    <a:pt x="319" y="363"/>
                    <a:pt x="319" y="363"/>
                  </a:cubicBezTo>
                  <a:cubicBezTo>
                    <a:pt x="324" y="362"/>
                    <a:pt x="329" y="360"/>
                    <a:pt x="334" y="358"/>
                  </a:cubicBezTo>
                  <a:cubicBezTo>
                    <a:pt x="335" y="362"/>
                    <a:pt x="335" y="362"/>
                    <a:pt x="335" y="362"/>
                  </a:cubicBezTo>
                  <a:cubicBezTo>
                    <a:pt x="330" y="364"/>
                    <a:pt x="325" y="366"/>
                    <a:pt x="320" y="367"/>
                  </a:cubicBezTo>
                  <a:close/>
                  <a:moveTo>
                    <a:pt x="350" y="357"/>
                  </a:moveTo>
                  <a:cubicBezTo>
                    <a:pt x="349" y="353"/>
                    <a:pt x="349" y="353"/>
                    <a:pt x="349" y="353"/>
                  </a:cubicBezTo>
                  <a:cubicBezTo>
                    <a:pt x="364" y="349"/>
                    <a:pt x="364" y="349"/>
                    <a:pt x="364" y="349"/>
                  </a:cubicBezTo>
                  <a:cubicBezTo>
                    <a:pt x="366" y="352"/>
                    <a:pt x="366" y="352"/>
                    <a:pt x="366" y="352"/>
                  </a:cubicBezTo>
                  <a:lnTo>
                    <a:pt x="350" y="357"/>
                  </a:lnTo>
                  <a:close/>
                  <a:moveTo>
                    <a:pt x="89" y="352"/>
                  </a:moveTo>
                  <a:cubicBezTo>
                    <a:pt x="84" y="349"/>
                    <a:pt x="80" y="345"/>
                    <a:pt x="76" y="342"/>
                  </a:cubicBezTo>
                  <a:cubicBezTo>
                    <a:pt x="78" y="339"/>
                    <a:pt x="78" y="339"/>
                    <a:pt x="78" y="339"/>
                  </a:cubicBezTo>
                  <a:cubicBezTo>
                    <a:pt x="82" y="342"/>
                    <a:pt x="87" y="345"/>
                    <a:pt x="91" y="348"/>
                  </a:cubicBezTo>
                  <a:lnTo>
                    <a:pt x="89" y="352"/>
                  </a:lnTo>
                  <a:close/>
                  <a:moveTo>
                    <a:pt x="736" y="351"/>
                  </a:moveTo>
                  <a:cubicBezTo>
                    <a:pt x="732" y="348"/>
                    <a:pt x="727" y="346"/>
                    <a:pt x="722" y="344"/>
                  </a:cubicBezTo>
                  <a:cubicBezTo>
                    <a:pt x="724" y="340"/>
                    <a:pt x="724" y="340"/>
                    <a:pt x="724" y="340"/>
                  </a:cubicBezTo>
                  <a:cubicBezTo>
                    <a:pt x="729" y="342"/>
                    <a:pt x="734" y="345"/>
                    <a:pt x="738" y="347"/>
                  </a:cubicBezTo>
                  <a:lnTo>
                    <a:pt x="736" y="351"/>
                  </a:lnTo>
                  <a:close/>
                  <a:moveTo>
                    <a:pt x="381" y="347"/>
                  </a:moveTo>
                  <a:cubicBezTo>
                    <a:pt x="380" y="344"/>
                    <a:pt x="380" y="344"/>
                    <a:pt x="380" y="344"/>
                  </a:cubicBezTo>
                  <a:cubicBezTo>
                    <a:pt x="385" y="342"/>
                    <a:pt x="390" y="340"/>
                    <a:pt x="395" y="339"/>
                  </a:cubicBezTo>
                  <a:cubicBezTo>
                    <a:pt x="396" y="343"/>
                    <a:pt x="396" y="343"/>
                    <a:pt x="396" y="343"/>
                  </a:cubicBezTo>
                  <a:cubicBezTo>
                    <a:pt x="391" y="344"/>
                    <a:pt x="386" y="346"/>
                    <a:pt x="381" y="347"/>
                  </a:cubicBezTo>
                  <a:close/>
                  <a:moveTo>
                    <a:pt x="411" y="338"/>
                  </a:moveTo>
                  <a:cubicBezTo>
                    <a:pt x="410" y="334"/>
                    <a:pt x="410" y="334"/>
                    <a:pt x="410" y="334"/>
                  </a:cubicBezTo>
                  <a:cubicBezTo>
                    <a:pt x="415" y="333"/>
                    <a:pt x="421" y="331"/>
                    <a:pt x="426" y="330"/>
                  </a:cubicBezTo>
                  <a:cubicBezTo>
                    <a:pt x="427" y="334"/>
                    <a:pt x="427" y="334"/>
                    <a:pt x="427" y="334"/>
                  </a:cubicBezTo>
                  <a:cubicBezTo>
                    <a:pt x="422" y="335"/>
                    <a:pt x="417" y="336"/>
                    <a:pt x="411" y="338"/>
                  </a:cubicBezTo>
                  <a:close/>
                  <a:moveTo>
                    <a:pt x="1383" y="338"/>
                  </a:moveTo>
                  <a:cubicBezTo>
                    <a:pt x="1379" y="336"/>
                    <a:pt x="1379" y="336"/>
                    <a:pt x="1379" y="336"/>
                  </a:cubicBezTo>
                  <a:cubicBezTo>
                    <a:pt x="1380" y="331"/>
                    <a:pt x="1382" y="326"/>
                    <a:pt x="1383" y="321"/>
                  </a:cubicBezTo>
                  <a:cubicBezTo>
                    <a:pt x="1387" y="322"/>
                    <a:pt x="1387" y="322"/>
                    <a:pt x="1387" y="322"/>
                  </a:cubicBezTo>
                  <a:cubicBezTo>
                    <a:pt x="1386" y="327"/>
                    <a:pt x="1384" y="332"/>
                    <a:pt x="1383" y="338"/>
                  </a:cubicBezTo>
                  <a:close/>
                  <a:moveTo>
                    <a:pt x="708" y="337"/>
                  </a:moveTo>
                  <a:cubicBezTo>
                    <a:pt x="703" y="335"/>
                    <a:pt x="699" y="334"/>
                    <a:pt x="694" y="332"/>
                  </a:cubicBezTo>
                  <a:cubicBezTo>
                    <a:pt x="693" y="332"/>
                    <a:pt x="693" y="332"/>
                    <a:pt x="693" y="332"/>
                  </a:cubicBezTo>
                  <a:cubicBezTo>
                    <a:pt x="694" y="328"/>
                    <a:pt x="694" y="328"/>
                    <a:pt x="694" y="328"/>
                  </a:cubicBezTo>
                  <a:cubicBezTo>
                    <a:pt x="695" y="328"/>
                    <a:pt x="695" y="328"/>
                    <a:pt x="695" y="328"/>
                  </a:cubicBezTo>
                  <a:cubicBezTo>
                    <a:pt x="700" y="330"/>
                    <a:pt x="705" y="332"/>
                    <a:pt x="709" y="333"/>
                  </a:cubicBezTo>
                  <a:lnTo>
                    <a:pt x="708" y="337"/>
                  </a:lnTo>
                  <a:close/>
                  <a:moveTo>
                    <a:pt x="64" y="331"/>
                  </a:moveTo>
                  <a:cubicBezTo>
                    <a:pt x="60" y="328"/>
                    <a:pt x="56" y="324"/>
                    <a:pt x="52" y="320"/>
                  </a:cubicBezTo>
                  <a:cubicBezTo>
                    <a:pt x="55" y="317"/>
                    <a:pt x="55" y="317"/>
                    <a:pt x="55" y="317"/>
                  </a:cubicBezTo>
                  <a:cubicBezTo>
                    <a:pt x="59" y="321"/>
                    <a:pt x="62" y="325"/>
                    <a:pt x="66" y="329"/>
                  </a:cubicBezTo>
                  <a:lnTo>
                    <a:pt x="64" y="331"/>
                  </a:lnTo>
                  <a:close/>
                  <a:moveTo>
                    <a:pt x="442" y="329"/>
                  </a:moveTo>
                  <a:cubicBezTo>
                    <a:pt x="441" y="325"/>
                    <a:pt x="441" y="325"/>
                    <a:pt x="441" y="325"/>
                  </a:cubicBezTo>
                  <a:cubicBezTo>
                    <a:pt x="446" y="324"/>
                    <a:pt x="452" y="323"/>
                    <a:pt x="457" y="321"/>
                  </a:cubicBezTo>
                  <a:cubicBezTo>
                    <a:pt x="458" y="325"/>
                    <a:pt x="458" y="325"/>
                    <a:pt x="458" y="325"/>
                  </a:cubicBezTo>
                  <a:cubicBezTo>
                    <a:pt x="453" y="327"/>
                    <a:pt x="447" y="328"/>
                    <a:pt x="442" y="329"/>
                  </a:cubicBezTo>
                  <a:close/>
                  <a:moveTo>
                    <a:pt x="678" y="327"/>
                  </a:moveTo>
                  <a:cubicBezTo>
                    <a:pt x="673" y="325"/>
                    <a:pt x="667" y="324"/>
                    <a:pt x="662" y="322"/>
                  </a:cubicBezTo>
                  <a:cubicBezTo>
                    <a:pt x="663" y="318"/>
                    <a:pt x="663" y="318"/>
                    <a:pt x="663" y="318"/>
                  </a:cubicBezTo>
                  <a:cubicBezTo>
                    <a:pt x="669" y="320"/>
                    <a:pt x="674" y="321"/>
                    <a:pt x="679" y="323"/>
                  </a:cubicBezTo>
                  <a:lnTo>
                    <a:pt x="678" y="327"/>
                  </a:lnTo>
                  <a:close/>
                  <a:moveTo>
                    <a:pt x="473" y="322"/>
                  </a:moveTo>
                  <a:cubicBezTo>
                    <a:pt x="472" y="318"/>
                    <a:pt x="472" y="318"/>
                    <a:pt x="472" y="318"/>
                  </a:cubicBezTo>
                  <a:cubicBezTo>
                    <a:pt x="478" y="317"/>
                    <a:pt x="483" y="316"/>
                    <a:pt x="488" y="315"/>
                  </a:cubicBezTo>
                  <a:cubicBezTo>
                    <a:pt x="489" y="319"/>
                    <a:pt x="489" y="319"/>
                    <a:pt x="489" y="319"/>
                  </a:cubicBezTo>
                  <a:cubicBezTo>
                    <a:pt x="484" y="320"/>
                    <a:pt x="478" y="321"/>
                    <a:pt x="473" y="322"/>
                  </a:cubicBezTo>
                  <a:close/>
                  <a:moveTo>
                    <a:pt x="647" y="319"/>
                  </a:moveTo>
                  <a:cubicBezTo>
                    <a:pt x="642" y="318"/>
                    <a:pt x="636" y="317"/>
                    <a:pt x="631" y="316"/>
                  </a:cubicBezTo>
                  <a:cubicBezTo>
                    <a:pt x="632" y="312"/>
                    <a:pt x="632" y="312"/>
                    <a:pt x="632" y="312"/>
                  </a:cubicBezTo>
                  <a:cubicBezTo>
                    <a:pt x="637" y="313"/>
                    <a:pt x="643" y="314"/>
                    <a:pt x="648" y="315"/>
                  </a:cubicBezTo>
                  <a:lnTo>
                    <a:pt x="647" y="319"/>
                  </a:lnTo>
                  <a:close/>
                  <a:moveTo>
                    <a:pt x="505" y="316"/>
                  </a:moveTo>
                  <a:cubicBezTo>
                    <a:pt x="504" y="312"/>
                    <a:pt x="504" y="312"/>
                    <a:pt x="504" y="312"/>
                  </a:cubicBezTo>
                  <a:cubicBezTo>
                    <a:pt x="509" y="311"/>
                    <a:pt x="515" y="310"/>
                    <a:pt x="520" y="310"/>
                  </a:cubicBezTo>
                  <a:cubicBezTo>
                    <a:pt x="520" y="314"/>
                    <a:pt x="520" y="314"/>
                    <a:pt x="520" y="314"/>
                  </a:cubicBezTo>
                  <a:cubicBezTo>
                    <a:pt x="515" y="314"/>
                    <a:pt x="510" y="315"/>
                    <a:pt x="505" y="316"/>
                  </a:cubicBezTo>
                  <a:close/>
                  <a:moveTo>
                    <a:pt x="616" y="313"/>
                  </a:moveTo>
                  <a:cubicBezTo>
                    <a:pt x="610" y="313"/>
                    <a:pt x="605" y="312"/>
                    <a:pt x="600" y="312"/>
                  </a:cubicBezTo>
                  <a:cubicBezTo>
                    <a:pt x="600" y="308"/>
                    <a:pt x="600" y="308"/>
                    <a:pt x="600" y="308"/>
                  </a:cubicBezTo>
                  <a:cubicBezTo>
                    <a:pt x="605" y="308"/>
                    <a:pt x="611" y="309"/>
                    <a:pt x="616" y="309"/>
                  </a:cubicBezTo>
                  <a:lnTo>
                    <a:pt x="616" y="313"/>
                  </a:lnTo>
                  <a:close/>
                  <a:moveTo>
                    <a:pt x="536" y="312"/>
                  </a:moveTo>
                  <a:cubicBezTo>
                    <a:pt x="536" y="308"/>
                    <a:pt x="536" y="308"/>
                    <a:pt x="536" y="308"/>
                  </a:cubicBezTo>
                  <a:cubicBezTo>
                    <a:pt x="541" y="308"/>
                    <a:pt x="547" y="307"/>
                    <a:pt x="552" y="307"/>
                  </a:cubicBezTo>
                  <a:cubicBezTo>
                    <a:pt x="552" y="311"/>
                    <a:pt x="552" y="311"/>
                    <a:pt x="552" y="311"/>
                  </a:cubicBezTo>
                  <a:cubicBezTo>
                    <a:pt x="547" y="311"/>
                    <a:pt x="541" y="312"/>
                    <a:pt x="536" y="312"/>
                  </a:cubicBezTo>
                  <a:close/>
                  <a:moveTo>
                    <a:pt x="584" y="311"/>
                  </a:moveTo>
                  <a:cubicBezTo>
                    <a:pt x="579" y="311"/>
                    <a:pt x="575" y="310"/>
                    <a:pt x="570" y="310"/>
                  </a:cubicBezTo>
                  <a:cubicBezTo>
                    <a:pt x="568" y="310"/>
                    <a:pt x="568" y="310"/>
                    <a:pt x="568" y="310"/>
                  </a:cubicBezTo>
                  <a:cubicBezTo>
                    <a:pt x="568" y="306"/>
                    <a:pt x="568" y="306"/>
                    <a:pt x="568" y="306"/>
                  </a:cubicBezTo>
                  <a:cubicBezTo>
                    <a:pt x="570" y="306"/>
                    <a:pt x="570" y="306"/>
                    <a:pt x="570" y="306"/>
                  </a:cubicBezTo>
                  <a:cubicBezTo>
                    <a:pt x="575" y="306"/>
                    <a:pt x="579" y="307"/>
                    <a:pt x="584" y="307"/>
                  </a:cubicBezTo>
                  <a:lnTo>
                    <a:pt x="584" y="311"/>
                  </a:lnTo>
                  <a:close/>
                  <a:moveTo>
                    <a:pt x="42" y="308"/>
                  </a:moveTo>
                  <a:cubicBezTo>
                    <a:pt x="38" y="303"/>
                    <a:pt x="35" y="299"/>
                    <a:pt x="32" y="294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9" y="297"/>
                    <a:pt x="42" y="301"/>
                    <a:pt x="45" y="305"/>
                  </a:cubicBezTo>
                  <a:lnTo>
                    <a:pt x="42" y="308"/>
                  </a:lnTo>
                  <a:close/>
                  <a:moveTo>
                    <a:pt x="1392" y="307"/>
                  </a:moveTo>
                  <a:cubicBezTo>
                    <a:pt x="1388" y="306"/>
                    <a:pt x="1388" y="306"/>
                    <a:pt x="1388" y="306"/>
                  </a:cubicBezTo>
                  <a:cubicBezTo>
                    <a:pt x="1390" y="301"/>
                    <a:pt x="1392" y="296"/>
                    <a:pt x="1394" y="291"/>
                  </a:cubicBezTo>
                  <a:cubicBezTo>
                    <a:pt x="1397" y="292"/>
                    <a:pt x="1397" y="292"/>
                    <a:pt x="1397" y="292"/>
                  </a:cubicBezTo>
                  <a:cubicBezTo>
                    <a:pt x="1396" y="297"/>
                    <a:pt x="1394" y="302"/>
                    <a:pt x="1392" y="307"/>
                  </a:cubicBezTo>
                  <a:close/>
                  <a:moveTo>
                    <a:pt x="24" y="281"/>
                  </a:moveTo>
                  <a:cubicBezTo>
                    <a:pt x="22" y="276"/>
                    <a:pt x="19" y="271"/>
                    <a:pt x="17" y="266"/>
                  </a:cubicBezTo>
                  <a:cubicBezTo>
                    <a:pt x="21" y="264"/>
                    <a:pt x="21" y="264"/>
                    <a:pt x="21" y="264"/>
                  </a:cubicBezTo>
                  <a:cubicBezTo>
                    <a:pt x="23" y="269"/>
                    <a:pt x="25" y="274"/>
                    <a:pt x="28" y="279"/>
                  </a:cubicBezTo>
                  <a:lnTo>
                    <a:pt x="24" y="281"/>
                  </a:lnTo>
                  <a:close/>
                  <a:moveTo>
                    <a:pt x="1403" y="277"/>
                  </a:moveTo>
                  <a:cubicBezTo>
                    <a:pt x="1399" y="276"/>
                    <a:pt x="1399" y="276"/>
                    <a:pt x="1399" y="276"/>
                  </a:cubicBezTo>
                  <a:cubicBezTo>
                    <a:pt x="1401" y="271"/>
                    <a:pt x="1403" y="266"/>
                    <a:pt x="1405" y="261"/>
                  </a:cubicBezTo>
                  <a:cubicBezTo>
                    <a:pt x="1409" y="262"/>
                    <a:pt x="1409" y="262"/>
                    <a:pt x="1409" y="262"/>
                  </a:cubicBezTo>
                  <a:cubicBezTo>
                    <a:pt x="1407" y="267"/>
                    <a:pt x="1405" y="272"/>
                    <a:pt x="1403" y="277"/>
                  </a:cubicBezTo>
                  <a:close/>
                  <a:moveTo>
                    <a:pt x="11" y="251"/>
                  </a:moveTo>
                  <a:cubicBezTo>
                    <a:pt x="10" y="246"/>
                    <a:pt x="8" y="241"/>
                    <a:pt x="7" y="235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12" y="240"/>
                    <a:pt x="13" y="245"/>
                    <a:pt x="15" y="250"/>
                  </a:cubicBezTo>
                  <a:lnTo>
                    <a:pt x="11" y="251"/>
                  </a:lnTo>
                  <a:close/>
                  <a:moveTo>
                    <a:pt x="1416" y="248"/>
                  </a:moveTo>
                  <a:cubicBezTo>
                    <a:pt x="1412" y="246"/>
                    <a:pt x="1412" y="246"/>
                    <a:pt x="1412" y="246"/>
                  </a:cubicBezTo>
                  <a:cubicBezTo>
                    <a:pt x="1414" y="241"/>
                    <a:pt x="1417" y="236"/>
                    <a:pt x="1419" y="232"/>
                  </a:cubicBezTo>
                  <a:cubicBezTo>
                    <a:pt x="1423" y="234"/>
                    <a:pt x="1423" y="234"/>
                    <a:pt x="1423" y="234"/>
                  </a:cubicBezTo>
                  <a:cubicBezTo>
                    <a:pt x="1420" y="238"/>
                    <a:pt x="1418" y="243"/>
                    <a:pt x="1416" y="248"/>
                  </a:cubicBezTo>
                  <a:close/>
                  <a:moveTo>
                    <a:pt x="1430" y="220"/>
                  </a:moveTo>
                  <a:cubicBezTo>
                    <a:pt x="1427" y="218"/>
                    <a:pt x="1427" y="218"/>
                    <a:pt x="1427" y="218"/>
                  </a:cubicBezTo>
                  <a:cubicBezTo>
                    <a:pt x="1430" y="213"/>
                    <a:pt x="1433" y="208"/>
                    <a:pt x="1435" y="204"/>
                  </a:cubicBezTo>
                  <a:cubicBezTo>
                    <a:pt x="1439" y="206"/>
                    <a:pt x="1439" y="206"/>
                    <a:pt x="1439" y="206"/>
                  </a:cubicBezTo>
                  <a:cubicBezTo>
                    <a:pt x="1436" y="211"/>
                    <a:pt x="1433" y="215"/>
                    <a:pt x="1430" y="220"/>
                  </a:cubicBezTo>
                  <a:close/>
                  <a:moveTo>
                    <a:pt x="3" y="220"/>
                  </a:moveTo>
                  <a:cubicBezTo>
                    <a:pt x="3" y="217"/>
                    <a:pt x="2" y="214"/>
                    <a:pt x="2" y="211"/>
                  </a:cubicBezTo>
                  <a:cubicBezTo>
                    <a:pt x="2" y="209"/>
                    <a:pt x="2" y="206"/>
                    <a:pt x="1" y="204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6" y="206"/>
                    <a:pt x="6" y="208"/>
                    <a:pt x="6" y="211"/>
                  </a:cubicBezTo>
                  <a:cubicBezTo>
                    <a:pt x="6" y="213"/>
                    <a:pt x="7" y="216"/>
                    <a:pt x="7" y="219"/>
                  </a:cubicBezTo>
                  <a:lnTo>
                    <a:pt x="3" y="220"/>
                  </a:lnTo>
                  <a:close/>
                  <a:moveTo>
                    <a:pt x="1448" y="193"/>
                  </a:moveTo>
                  <a:cubicBezTo>
                    <a:pt x="1445" y="191"/>
                    <a:pt x="1445" y="191"/>
                    <a:pt x="1445" y="191"/>
                  </a:cubicBezTo>
                  <a:cubicBezTo>
                    <a:pt x="1448" y="186"/>
                    <a:pt x="1451" y="182"/>
                    <a:pt x="1455" y="178"/>
                  </a:cubicBezTo>
                  <a:cubicBezTo>
                    <a:pt x="1458" y="181"/>
                    <a:pt x="1458" y="181"/>
                    <a:pt x="1458" y="181"/>
                  </a:cubicBezTo>
                  <a:cubicBezTo>
                    <a:pt x="1454" y="185"/>
                    <a:pt x="1451" y="189"/>
                    <a:pt x="1448" y="193"/>
                  </a:cubicBezTo>
                  <a:close/>
                  <a:moveTo>
                    <a:pt x="0" y="188"/>
                  </a:moveTo>
                  <a:cubicBezTo>
                    <a:pt x="0" y="183"/>
                    <a:pt x="0" y="179"/>
                    <a:pt x="0" y="174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4" y="172"/>
                    <a:pt x="4" y="172"/>
                    <a:pt x="4" y="172"/>
                  </a:cubicBezTo>
                  <a:cubicBezTo>
                    <a:pt x="4" y="174"/>
                    <a:pt x="4" y="174"/>
                    <a:pt x="4" y="174"/>
                  </a:cubicBezTo>
                  <a:cubicBezTo>
                    <a:pt x="4" y="179"/>
                    <a:pt x="4" y="183"/>
                    <a:pt x="4" y="187"/>
                  </a:cubicBezTo>
                  <a:lnTo>
                    <a:pt x="0" y="188"/>
                  </a:lnTo>
                  <a:close/>
                  <a:moveTo>
                    <a:pt x="1468" y="169"/>
                  </a:moveTo>
                  <a:cubicBezTo>
                    <a:pt x="1465" y="166"/>
                    <a:pt x="1465" y="166"/>
                    <a:pt x="1465" y="166"/>
                  </a:cubicBezTo>
                  <a:cubicBezTo>
                    <a:pt x="1469" y="162"/>
                    <a:pt x="1473" y="158"/>
                    <a:pt x="1477" y="155"/>
                  </a:cubicBezTo>
                  <a:cubicBezTo>
                    <a:pt x="1479" y="158"/>
                    <a:pt x="1479" y="158"/>
                    <a:pt x="1479" y="158"/>
                  </a:cubicBezTo>
                  <a:cubicBezTo>
                    <a:pt x="1476" y="161"/>
                    <a:pt x="1472" y="165"/>
                    <a:pt x="1468" y="169"/>
                  </a:cubicBezTo>
                  <a:close/>
                  <a:moveTo>
                    <a:pt x="4" y="156"/>
                  </a:moveTo>
                  <a:cubicBezTo>
                    <a:pt x="0" y="155"/>
                    <a:pt x="0" y="155"/>
                    <a:pt x="0" y="155"/>
                  </a:cubicBezTo>
                  <a:cubicBezTo>
                    <a:pt x="1" y="150"/>
                    <a:pt x="1" y="145"/>
                    <a:pt x="2" y="139"/>
                  </a:cubicBezTo>
                  <a:cubicBezTo>
                    <a:pt x="6" y="140"/>
                    <a:pt x="6" y="140"/>
                    <a:pt x="6" y="140"/>
                  </a:cubicBezTo>
                  <a:cubicBezTo>
                    <a:pt x="5" y="145"/>
                    <a:pt x="5" y="150"/>
                    <a:pt x="4" y="156"/>
                  </a:cubicBezTo>
                  <a:close/>
                  <a:moveTo>
                    <a:pt x="1491" y="147"/>
                  </a:moveTo>
                  <a:cubicBezTo>
                    <a:pt x="1489" y="144"/>
                    <a:pt x="1489" y="144"/>
                    <a:pt x="1489" y="144"/>
                  </a:cubicBezTo>
                  <a:cubicBezTo>
                    <a:pt x="1493" y="141"/>
                    <a:pt x="1497" y="138"/>
                    <a:pt x="1502" y="135"/>
                  </a:cubicBezTo>
                  <a:cubicBezTo>
                    <a:pt x="1504" y="138"/>
                    <a:pt x="1504" y="138"/>
                    <a:pt x="1504" y="138"/>
                  </a:cubicBezTo>
                  <a:cubicBezTo>
                    <a:pt x="1500" y="141"/>
                    <a:pt x="1496" y="144"/>
                    <a:pt x="1491" y="147"/>
                  </a:cubicBezTo>
                  <a:close/>
                  <a:moveTo>
                    <a:pt x="1517" y="129"/>
                  </a:moveTo>
                  <a:cubicBezTo>
                    <a:pt x="1515" y="126"/>
                    <a:pt x="1515" y="126"/>
                    <a:pt x="1515" y="126"/>
                  </a:cubicBezTo>
                  <a:cubicBezTo>
                    <a:pt x="1520" y="123"/>
                    <a:pt x="1525" y="121"/>
                    <a:pt x="1530" y="118"/>
                  </a:cubicBezTo>
                  <a:cubicBezTo>
                    <a:pt x="1531" y="122"/>
                    <a:pt x="1531" y="122"/>
                    <a:pt x="1531" y="122"/>
                  </a:cubicBezTo>
                  <a:cubicBezTo>
                    <a:pt x="1527" y="124"/>
                    <a:pt x="1522" y="127"/>
                    <a:pt x="1517" y="129"/>
                  </a:cubicBezTo>
                  <a:close/>
                  <a:moveTo>
                    <a:pt x="9" y="124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6" y="118"/>
                    <a:pt x="7" y="113"/>
                    <a:pt x="8" y="108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1" y="114"/>
                    <a:pt x="10" y="119"/>
                    <a:pt x="9" y="124"/>
                  </a:cubicBezTo>
                  <a:close/>
                  <a:moveTo>
                    <a:pt x="17" y="94"/>
                  </a:moveTo>
                  <a:cubicBezTo>
                    <a:pt x="13" y="92"/>
                    <a:pt x="13" y="92"/>
                    <a:pt x="13" y="92"/>
                  </a:cubicBezTo>
                  <a:cubicBezTo>
                    <a:pt x="15" y="87"/>
                    <a:pt x="17" y="82"/>
                    <a:pt x="19" y="77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1" y="84"/>
                    <a:pt x="19" y="89"/>
                    <a:pt x="17" y="94"/>
                  </a:cubicBezTo>
                  <a:close/>
                  <a:moveTo>
                    <a:pt x="30" y="65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9" y="58"/>
                    <a:pt x="31" y="53"/>
                    <a:pt x="34" y="49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5" y="55"/>
                    <a:pt x="32" y="60"/>
                    <a:pt x="30" y="65"/>
                  </a:cubicBezTo>
                  <a:close/>
                  <a:moveTo>
                    <a:pt x="47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6" y="31"/>
                    <a:pt x="50" y="27"/>
                    <a:pt x="53" y="23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3" y="29"/>
                    <a:pt x="50" y="34"/>
                    <a:pt x="47" y="38"/>
                  </a:cubicBezTo>
                  <a:close/>
                  <a:moveTo>
                    <a:pt x="67" y="14"/>
                  </a:moveTo>
                  <a:cubicBezTo>
                    <a:pt x="64" y="11"/>
                    <a:pt x="64" y="11"/>
                    <a:pt x="64" y="11"/>
                  </a:cubicBezTo>
                  <a:cubicBezTo>
                    <a:pt x="68" y="7"/>
                    <a:pt x="72" y="3"/>
                    <a:pt x="76" y="0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5" y="6"/>
                    <a:pt x="71" y="10"/>
                    <a:pt x="67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1" name="Freeform 112">
              <a:extLst>
                <a:ext uri="{FF2B5EF4-FFF2-40B4-BE49-F238E27FC236}">
                  <a16:creationId xmlns:a16="http://schemas.microsoft.com/office/drawing/2014/main" xmlns="" id="{17F93D91-DB05-4283-8234-8914DBBA4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" y="287"/>
              <a:ext cx="21" cy="15"/>
            </a:xfrm>
            <a:custGeom>
              <a:avLst/>
              <a:gdLst>
                <a:gd name="T0" fmla="*/ 1 w 9"/>
                <a:gd name="T1" fmla="*/ 6 h 6"/>
                <a:gd name="T2" fmla="*/ 0 w 9"/>
                <a:gd name="T3" fmla="*/ 3 h 6"/>
                <a:gd name="T4" fmla="*/ 7 w 9"/>
                <a:gd name="T5" fmla="*/ 0 h 6"/>
                <a:gd name="T6" fmla="*/ 9 w 9"/>
                <a:gd name="T7" fmla="*/ 4 h 6"/>
                <a:gd name="T8" fmla="*/ 1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1" y="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5" y="1"/>
                    <a:pt x="7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4" y="5"/>
                    <a:pt x="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2" name="Oval 113">
              <a:extLst>
                <a:ext uri="{FF2B5EF4-FFF2-40B4-BE49-F238E27FC236}">
                  <a16:creationId xmlns:a16="http://schemas.microsoft.com/office/drawing/2014/main" xmlns="" id="{B5B1C2A6-9312-4FF5-8F81-1DC97AFF6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3" y="-78"/>
              <a:ext cx="155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3" name="Oval 114">
              <a:extLst>
                <a:ext uri="{FF2B5EF4-FFF2-40B4-BE49-F238E27FC236}">
                  <a16:creationId xmlns:a16="http://schemas.microsoft.com/office/drawing/2014/main" xmlns="" id="{A90DF5F8-C1C8-458C-9F67-956EA7BF2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9" y="712"/>
              <a:ext cx="154" cy="1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4" name="Oval 115">
              <a:extLst>
                <a:ext uri="{FF2B5EF4-FFF2-40B4-BE49-F238E27FC236}">
                  <a16:creationId xmlns:a16="http://schemas.microsoft.com/office/drawing/2014/main" xmlns="" id="{DFDF2449-13DF-4AAC-A360-AEA8EEF42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5" y="214"/>
              <a:ext cx="154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5" name="Oval 116">
              <a:extLst>
                <a:ext uri="{FF2B5EF4-FFF2-40B4-BE49-F238E27FC236}">
                  <a16:creationId xmlns:a16="http://schemas.microsoft.com/office/drawing/2014/main" xmlns="" id="{08354E40-DBE8-43CE-A18E-F7CB6235C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7" y="1589"/>
              <a:ext cx="154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6" name="Freeform 117">
              <a:extLst>
                <a:ext uri="{FF2B5EF4-FFF2-40B4-BE49-F238E27FC236}">
                  <a16:creationId xmlns:a16="http://schemas.microsoft.com/office/drawing/2014/main" xmlns="" id="{5FE6415A-F652-4B77-8639-129851C65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3" y="2567"/>
              <a:ext cx="415" cy="586"/>
            </a:xfrm>
            <a:custGeom>
              <a:avLst/>
              <a:gdLst>
                <a:gd name="T0" fmla="*/ 171 w 175"/>
                <a:gd name="T1" fmla="*/ 106 h 247"/>
                <a:gd name="T2" fmla="*/ 168 w 175"/>
                <a:gd name="T3" fmla="*/ 176 h 247"/>
                <a:gd name="T4" fmla="*/ 157 w 175"/>
                <a:gd name="T5" fmla="*/ 207 h 247"/>
                <a:gd name="T6" fmla="*/ 147 w 175"/>
                <a:gd name="T7" fmla="*/ 246 h 247"/>
                <a:gd name="T8" fmla="*/ 144 w 175"/>
                <a:gd name="T9" fmla="*/ 246 h 247"/>
                <a:gd name="T10" fmla="*/ 29 w 175"/>
                <a:gd name="T11" fmla="*/ 186 h 247"/>
                <a:gd name="T12" fmla="*/ 5 w 175"/>
                <a:gd name="T13" fmla="*/ 127 h 247"/>
                <a:gd name="T14" fmla="*/ 6 w 175"/>
                <a:gd name="T15" fmla="*/ 56 h 247"/>
                <a:gd name="T16" fmla="*/ 40 w 175"/>
                <a:gd name="T17" fmla="*/ 9 h 247"/>
                <a:gd name="T18" fmla="*/ 103 w 175"/>
                <a:gd name="T19" fmla="*/ 7 h 247"/>
                <a:gd name="T20" fmla="*/ 171 w 175"/>
                <a:gd name="T21" fmla="*/ 10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" h="247">
                  <a:moveTo>
                    <a:pt x="171" y="106"/>
                  </a:moveTo>
                  <a:cubicBezTo>
                    <a:pt x="175" y="129"/>
                    <a:pt x="174" y="153"/>
                    <a:pt x="168" y="176"/>
                  </a:cubicBezTo>
                  <a:cubicBezTo>
                    <a:pt x="165" y="187"/>
                    <a:pt x="161" y="197"/>
                    <a:pt x="157" y="207"/>
                  </a:cubicBezTo>
                  <a:cubicBezTo>
                    <a:pt x="151" y="220"/>
                    <a:pt x="146" y="232"/>
                    <a:pt x="147" y="246"/>
                  </a:cubicBezTo>
                  <a:cubicBezTo>
                    <a:pt x="148" y="247"/>
                    <a:pt x="144" y="247"/>
                    <a:pt x="144" y="246"/>
                  </a:cubicBezTo>
                  <a:cubicBezTo>
                    <a:pt x="106" y="224"/>
                    <a:pt x="58" y="221"/>
                    <a:pt x="29" y="186"/>
                  </a:cubicBezTo>
                  <a:cubicBezTo>
                    <a:pt x="15" y="169"/>
                    <a:pt x="8" y="148"/>
                    <a:pt x="5" y="127"/>
                  </a:cubicBezTo>
                  <a:cubicBezTo>
                    <a:pt x="1" y="104"/>
                    <a:pt x="0" y="79"/>
                    <a:pt x="6" y="56"/>
                  </a:cubicBezTo>
                  <a:cubicBezTo>
                    <a:pt x="11" y="37"/>
                    <a:pt x="22" y="19"/>
                    <a:pt x="40" y="9"/>
                  </a:cubicBezTo>
                  <a:cubicBezTo>
                    <a:pt x="59" y="0"/>
                    <a:pt x="83" y="1"/>
                    <a:pt x="103" y="7"/>
                  </a:cubicBezTo>
                  <a:cubicBezTo>
                    <a:pt x="145" y="20"/>
                    <a:pt x="165" y="65"/>
                    <a:pt x="171" y="106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7" name="Freeform 118">
              <a:extLst>
                <a:ext uri="{FF2B5EF4-FFF2-40B4-BE49-F238E27FC236}">
                  <a16:creationId xmlns:a16="http://schemas.microsoft.com/office/drawing/2014/main" xmlns="" id="{55297D15-1D57-4409-B22E-2C9CE093B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" y="2669"/>
              <a:ext cx="409" cy="928"/>
            </a:xfrm>
            <a:custGeom>
              <a:avLst/>
              <a:gdLst>
                <a:gd name="T0" fmla="*/ 158 w 172"/>
                <a:gd name="T1" fmla="*/ 341 h 391"/>
                <a:gd name="T2" fmla="*/ 142 w 172"/>
                <a:gd name="T3" fmla="*/ 290 h 391"/>
                <a:gd name="T4" fmla="*/ 109 w 172"/>
                <a:gd name="T5" fmla="*/ 190 h 391"/>
                <a:gd name="T6" fmla="*/ 87 w 172"/>
                <a:gd name="T7" fmla="*/ 132 h 391"/>
                <a:gd name="T8" fmla="*/ 91 w 172"/>
                <a:gd name="T9" fmla="*/ 95 h 391"/>
                <a:gd name="T10" fmla="*/ 103 w 172"/>
                <a:gd name="T11" fmla="*/ 52 h 391"/>
                <a:gd name="T12" fmla="*/ 102 w 172"/>
                <a:gd name="T13" fmla="*/ 52 h 391"/>
                <a:gd name="T14" fmla="*/ 82 w 172"/>
                <a:gd name="T15" fmla="*/ 120 h 391"/>
                <a:gd name="T16" fmla="*/ 52 w 172"/>
                <a:gd name="T17" fmla="*/ 55 h 391"/>
                <a:gd name="T18" fmla="*/ 54 w 172"/>
                <a:gd name="T19" fmla="*/ 1 h 391"/>
                <a:gd name="T20" fmla="*/ 53 w 172"/>
                <a:gd name="T21" fmla="*/ 1 h 391"/>
                <a:gd name="T22" fmla="*/ 49 w 172"/>
                <a:gd name="T23" fmla="*/ 49 h 391"/>
                <a:gd name="T24" fmla="*/ 23 w 172"/>
                <a:gd name="T25" fmla="*/ 1 h 391"/>
                <a:gd name="T26" fmla="*/ 21 w 172"/>
                <a:gd name="T27" fmla="*/ 3 h 391"/>
                <a:gd name="T28" fmla="*/ 61 w 172"/>
                <a:gd name="T29" fmla="*/ 86 h 391"/>
                <a:gd name="T30" fmla="*/ 2 w 172"/>
                <a:gd name="T31" fmla="*/ 52 h 391"/>
                <a:gd name="T32" fmla="*/ 1 w 172"/>
                <a:gd name="T33" fmla="*/ 53 h 391"/>
                <a:gd name="T34" fmla="*/ 65 w 172"/>
                <a:gd name="T35" fmla="*/ 95 h 391"/>
                <a:gd name="T36" fmla="*/ 90 w 172"/>
                <a:gd name="T37" fmla="*/ 158 h 391"/>
                <a:gd name="T38" fmla="*/ 3 w 172"/>
                <a:gd name="T39" fmla="*/ 111 h 391"/>
                <a:gd name="T40" fmla="*/ 3 w 172"/>
                <a:gd name="T41" fmla="*/ 113 h 391"/>
                <a:gd name="T42" fmla="*/ 95 w 172"/>
                <a:gd name="T43" fmla="*/ 169 h 391"/>
                <a:gd name="T44" fmla="*/ 104 w 172"/>
                <a:gd name="T45" fmla="*/ 194 h 391"/>
                <a:gd name="T46" fmla="*/ 137 w 172"/>
                <a:gd name="T47" fmla="*/ 292 h 391"/>
                <a:gd name="T48" fmla="*/ 152 w 172"/>
                <a:gd name="T49" fmla="*/ 338 h 391"/>
                <a:gd name="T50" fmla="*/ 168 w 172"/>
                <a:gd name="T51" fmla="*/ 389 h 391"/>
                <a:gd name="T52" fmla="*/ 171 w 172"/>
                <a:gd name="T53" fmla="*/ 389 h 391"/>
                <a:gd name="T54" fmla="*/ 158 w 172"/>
                <a:gd name="T55" fmla="*/ 34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2" h="391">
                  <a:moveTo>
                    <a:pt x="158" y="341"/>
                  </a:moveTo>
                  <a:cubicBezTo>
                    <a:pt x="153" y="324"/>
                    <a:pt x="147" y="307"/>
                    <a:pt x="142" y="290"/>
                  </a:cubicBezTo>
                  <a:cubicBezTo>
                    <a:pt x="132" y="256"/>
                    <a:pt x="121" y="223"/>
                    <a:pt x="109" y="190"/>
                  </a:cubicBezTo>
                  <a:cubicBezTo>
                    <a:pt x="102" y="170"/>
                    <a:pt x="95" y="151"/>
                    <a:pt x="87" y="132"/>
                  </a:cubicBezTo>
                  <a:cubicBezTo>
                    <a:pt x="88" y="119"/>
                    <a:pt x="89" y="107"/>
                    <a:pt x="91" y="95"/>
                  </a:cubicBezTo>
                  <a:cubicBezTo>
                    <a:pt x="94" y="81"/>
                    <a:pt x="99" y="67"/>
                    <a:pt x="103" y="52"/>
                  </a:cubicBezTo>
                  <a:cubicBezTo>
                    <a:pt x="103" y="51"/>
                    <a:pt x="102" y="51"/>
                    <a:pt x="102" y="52"/>
                  </a:cubicBezTo>
                  <a:cubicBezTo>
                    <a:pt x="93" y="71"/>
                    <a:pt x="82" y="97"/>
                    <a:pt x="82" y="120"/>
                  </a:cubicBezTo>
                  <a:cubicBezTo>
                    <a:pt x="73" y="98"/>
                    <a:pt x="63" y="76"/>
                    <a:pt x="52" y="55"/>
                  </a:cubicBezTo>
                  <a:cubicBezTo>
                    <a:pt x="52" y="37"/>
                    <a:pt x="51" y="19"/>
                    <a:pt x="54" y="1"/>
                  </a:cubicBezTo>
                  <a:cubicBezTo>
                    <a:pt x="54" y="0"/>
                    <a:pt x="53" y="0"/>
                    <a:pt x="53" y="1"/>
                  </a:cubicBezTo>
                  <a:cubicBezTo>
                    <a:pt x="50" y="16"/>
                    <a:pt x="48" y="33"/>
                    <a:pt x="49" y="49"/>
                  </a:cubicBezTo>
                  <a:cubicBezTo>
                    <a:pt x="41" y="33"/>
                    <a:pt x="33" y="17"/>
                    <a:pt x="23" y="1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36" y="30"/>
                    <a:pt x="49" y="58"/>
                    <a:pt x="61" y="86"/>
                  </a:cubicBezTo>
                  <a:cubicBezTo>
                    <a:pt x="44" y="71"/>
                    <a:pt x="23" y="59"/>
                    <a:pt x="2" y="52"/>
                  </a:cubicBezTo>
                  <a:cubicBezTo>
                    <a:pt x="1" y="51"/>
                    <a:pt x="0" y="53"/>
                    <a:pt x="1" y="53"/>
                  </a:cubicBezTo>
                  <a:cubicBezTo>
                    <a:pt x="26" y="63"/>
                    <a:pt x="46" y="78"/>
                    <a:pt x="65" y="95"/>
                  </a:cubicBezTo>
                  <a:cubicBezTo>
                    <a:pt x="74" y="116"/>
                    <a:pt x="82" y="137"/>
                    <a:pt x="90" y="158"/>
                  </a:cubicBezTo>
                  <a:cubicBezTo>
                    <a:pt x="67" y="135"/>
                    <a:pt x="35" y="119"/>
                    <a:pt x="3" y="111"/>
                  </a:cubicBezTo>
                  <a:cubicBezTo>
                    <a:pt x="2" y="111"/>
                    <a:pt x="2" y="113"/>
                    <a:pt x="3" y="113"/>
                  </a:cubicBezTo>
                  <a:cubicBezTo>
                    <a:pt x="39" y="124"/>
                    <a:pt x="67" y="144"/>
                    <a:pt x="95" y="169"/>
                  </a:cubicBezTo>
                  <a:cubicBezTo>
                    <a:pt x="98" y="177"/>
                    <a:pt x="101" y="186"/>
                    <a:pt x="104" y="194"/>
                  </a:cubicBezTo>
                  <a:cubicBezTo>
                    <a:pt x="116" y="226"/>
                    <a:pt x="127" y="259"/>
                    <a:pt x="137" y="292"/>
                  </a:cubicBezTo>
                  <a:cubicBezTo>
                    <a:pt x="142" y="307"/>
                    <a:pt x="147" y="323"/>
                    <a:pt x="152" y="338"/>
                  </a:cubicBezTo>
                  <a:cubicBezTo>
                    <a:pt x="157" y="355"/>
                    <a:pt x="161" y="373"/>
                    <a:pt x="168" y="389"/>
                  </a:cubicBezTo>
                  <a:cubicBezTo>
                    <a:pt x="169" y="391"/>
                    <a:pt x="172" y="391"/>
                    <a:pt x="171" y="389"/>
                  </a:cubicBezTo>
                  <a:cubicBezTo>
                    <a:pt x="168" y="373"/>
                    <a:pt x="162" y="357"/>
                    <a:pt x="158" y="34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8" name="Freeform 119">
              <a:extLst>
                <a:ext uri="{FF2B5EF4-FFF2-40B4-BE49-F238E27FC236}">
                  <a16:creationId xmlns:a16="http://schemas.microsoft.com/office/drawing/2014/main" xmlns="" id="{9E7C15BC-2559-4C54-9490-1C2254230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2738"/>
              <a:ext cx="38" cy="83"/>
            </a:xfrm>
            <a:custGeom>
              <a:avLst/>
              <a:gdLst>
                <a:gd name="T0" fmla="*/ 13 w 16"/>
                <a:gd name="T1" fmla="*/ 1 h 35"/>
                <a:gd name="T2" fmla="*/ 0 w 16"/>
                <a:gd name="T3" fmla="*/ 34 h 35"/>
                <a:gd name="T4" fmla="*/ 0 w 16"/>
                <a:gd name="T5" fmla="*/ 35 h 35"/>
                <a:gd name="T6" fmla="*/ 15 w 16"/>
                <a:gd name="T7" fmla="*/ 2 h 35"/>
                <a:gd name="T8" fmla="*/ 13 w 16"/>
                <a:gd name="T9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5">
                  <a:moveTo>
                    <a:pt x="13" y="1"/>
                  </a:moveTo>
                  <a:cubicBezTo>
                    <a:pt x="7" y="11"/>
                    <a:pt x="2" y="22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" y="23"/>
                    <a:pt x="9" y="12"/>
                    <a:pt x="15" y="2"/>
                  </a:cubicBezTo>
                  <a:cubicBezTo>
                    <a:pt x="16" y="0"/>
                    <a:pt x="14" y="0"/>
                    <a:pt x="1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9" name="Freeform 120">
              <a:extLst>
                <a:ext uri="{FF2B5EF4-FFF2-40B4-BE49-F238E27FC236}">
                  <a16:creationId xmlns:a16="http://schemas.microsoft.com/office/drawing/2014/main" xmlns="" id="{D4FDA7FC-C57C-43A8-A1F1-8E181FCDA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2899"/>
              <a:ext cx="83" cy="31"/>
            </a:xfrm>
            <a:custGeom>
              <a:avLst/>
              <a:gdLst>
                <a:gd name="T0" fmla="*/ 34 w 35"/>
                <a:gd name="T1" fmla="*/ 11 h 13"/>
                <a:gd name="T2" fmla="*/ 1 w 35"/>
                <a:gd name="T3" fmla="*/ 0 h 13"/>
                <a:gd name="T4" fmla="*/ 0 w 35"/>
                <a:gd name="T5" fmla="*/ 0 h 13"/>
                <a:gd name="T6" fmla="*/ 17 w 35"/>
                <a:gd name="T7" fmla="*/ 6 h 13"/>
                <a:gd name="T8" fmla="*/ 33 w 35"/>
                <a:gd name="T9" fmla="*/ 13 h 13"/>
                <a:gd name="T10" fmla="*/ 34 w 35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3">
                  <a:moveTo>
                    <a:pt x="34" y="11"/>
                  </a:moveTo>
                  <a:cubicBezTo>
                    <a:pt x="25" y="6"/>
                    <a:pt x="12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1" y="4"/>
                    <a:pt x="17" y="6"/>
                  </a:cubicBezTo>
                  <a:cubicBezTo>
                    <a:pt x="22" y="8"/>
                    <a:pt x="28" y="11"/>
                    <a:pt x="33" y="13"/>
                  </a:cubicBezTo>
                  <a:cubicBezTo>
                    <a:pt x="35" y="13"/>
                    <a:pt x="35" y="12"/>
                    <a:pt x="34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0" name="Freeform 121">
              <a:extLst>
                <a:ext uri="{FF2B5EF4-FFF2-40B4-BE49-F238E27FC236}">
                  <a16:creationId xmlns:a16="http://schemas.microsoft.com/office/drawing/2014/main" xmlns="" id="{FC1D904C-3CD0-41DE-9DD5-F3AE08E78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4" y="2686"/>
              <a:ext cx="31" cy="19"/>
            </a:xfrm>
            <a:custGeom>
              <a:avLst/>
              <a:gdLst>
                <a:gd name="T0" fmla="*/ 12 w 13"/>
                <a:gd name="T1" fmla="*/ 7 h 8"/>
                <a:gd name="T2" fmla="*/ 1 w 13"/>
                <a:gd name="T3" fmla="*/ 0 h 8"/>
                <a:gd name="T4" fmla="*/ 1 w 13"/>
                <a:gd name="T5" fmla="*/ 1 h 8"/>
                <a:gd name="T6" fmla="*/ 12 w 13"/>
                <a:gd name="T7" fmla="*/ 8 h 8"/>
                <a:gd name="T8" fmla="*/ 12 w 13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7"/>
                  </a:moveTo>
                  <a:cubicBezTo>
                    <a:pt x="9" y="5"/>
                    <a:pt x="5" y="2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4" y="4"/>
                    <a:pt x="8" y="6"/>
                    <a:pt x="12" y="8"/>
                  </a:cubicBezTo>
                  <a:cubicBezTo>
                    <a:pt x="12" y="8"/>
                    <a:pt x="13" y="7"/>
                    <a:pt x="12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1" name="Freeform 122">
              <a:extLst>
                <a:ext uri="{FF2B5EF4-FFF2-40B4-BE49-F238E27FC236}">
                  <a16:creationId xmlns:a16="http://schemas.microsoft.com/office/drawing/2014/main" xmlns="" id="{1DFD1AEC-519B-4DC6-BC01-CC1AC291C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2626"/>
              <a:ext cx="515" cy="551"/>
            </a:xfrm>
            <a:custGeom>
              <a:avLst/>
              <a:gdLst>
                <a:gd name="T0" fmla="*/ 129 w 217"/>
                <a:gd name="T1" fmla="*/ 208 h 232"/>
                <a:gd name="T2" fmla="*/ 48 w 217"/>
                <a:gd name="T3" fmla="*/ 232 h 232"/>
                <a:gd name="T4" fmla="*/ 16 w 217"/>
                <a:gd name="T5" fmla="*/ 100 h 232"/>
                <a:gd name="T6" fmla="*/ 108 w 217"/>
                <a:gd name="T7" fmla="*/ 12 h 232"/>
                <a:gd name="T8" fmla="*/ 172 w 217"/>
                <a:gd name="T9" fmla="*/ 5 h 232"/>
                <a:gd name="T10" fmla="*/ 209 w 217"/>
                <a:gd name="T11" fmla="*/ 41 h 232"/>
                <a:gd name="T12" fmla="*/ 210 w 217"/>
                <a:gd name="T13" fmla="*/ 115 h 232"/>
                <a:gd name="T14" fmla="*/ 183 w 217"/>
                <a:gd name="T15" fmla="*/ 176 h 232"/>
                <a:gd name="T16" fmla="*/ 129 w 217"/>
                <a:gd name="T17" fmla="*/ 20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32">
                  <a:moveTo>
                    <a:pt x="129" y="208"/>
                  </a:moveTo>
                  <a:cubicBezTo>
                    <a:pt x="102" y="216"/>
                    <a:pt x="75" y="224"/>
                    <a:pt x="48" y="232"/>
                  </a:cubicBezTo>
                  <a:cubicBezTo>
                    <a:pt x="45" y="232"/>
                    <a:pt x="0" y="145"/>
                    <a:pt x="16" y="100"/>
                  </a:cubicBezTo>
                  <a:cubicBezTo>
                    <a:pt x="31" y="58"/>
                    <a:pt x="66" y="26"/>
                    <a:pt x="108" y="12"/>
                  </a:cubicBezTo>
                  <a:cubicBezTo>
                    <a:pt x="128" y="6"/>
                    <a:pt x="151" y="0"/>
                    <a:pt x="172" y="5"/>
                  </a:cubicBezTo>
                  <a:cubicBezTo>
                    <a:pt x="190" y="9"/>
                    <a:pt x="203" y="24"/>
                    <a:pt x="209" y="41"/>
                  </a:cubicBezTo>
                  <a:cubicBezTo>
                    <a:pt x="217" y="64"/>
                    <a:pt x="214" y="91"/>
                    <a:pt x="210" y="115"/>
                  </a:cubicBezTo>
                  <a:cubicBezTo>
                    <a:pt x="206" y="137"/>
                    <a:pt x="198" y="159"/>
                    <a:pt x="183" y="176"/>
                  </a:cubicBezTo>
                  <a:cubicBezTo>
                    <a:pt x="169" y="193"/>
                    <a:pt x="150" y="202"/>
                    <a:pt x="129" y="208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2" name="Freeform 123">
              <a:extLst>
                <a:ext uri="{FF2B5EF4-FFF2-40B4-BE49-F238E27FC236}">
                  <a16:creationId xmlns:a16="http://schemas.microsoft.com/office/drawing/2014/main" xmlns="" id="{CD61C44F-C5DF-4E67-9B88-A357E820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2759"/>
              <a:ext cx="385" cy="864"/>
            </a:xfrm>
            <a:custGeom>
              <a:avLst/>
              <a:gdLst>
                <a:gd name="T0" fmla="*/ 160 w 162"/>
                <a:gd name="T1" fmla="*/ 69 h 364"/>
                <a:gd name="T2" fmla="*/ 107 w 162"/>
                <a:gd name="T3" fmla="*/ 90 h 364"/>
                <a:gd name="T4" fmla="*/ 72 w 162"/>
                <a:gd name="T5" fmla="*/ 103 h 364"/>
                <a:gd name="T6" fmla="*/ 109 w 162"/>
                <a:gd name="T7" fmla="*/ 28 h 364"/>
                <a:gd name="T8" fmla="*/ 158 w 162"/>
                <a:gd name="T9" fmla="*/ 2 h 364"/>
                <a:gd name="T10" fmla="*/ 157 w 162"/>
                <a:gd name="T11" fmla="*/ 1 h 364"/>
                <a:gd name="T12" fmla="*/ 111 w 162"/>
                <a:gd name="T13" fmla="*/ 24 h 364"/>
                <a:gd name="T14" fmla="*/ 122 w 162"/>
                <a:gd name="T15" fmla="*/ 4 h 364"/>
                <a:gd name="T16" fmla="*/ 119 w 162"/>
                <a:gd name="T17" fmla="*/ 2 h 364"/>
                <a:gd name="T18" fmla="*/ 81 w 162"/>
                <a:gd name="T19" fmla="*/ 67 h 364"/>
                <a:gd name="T20" fmla="*/ 78 w 162"/>
                <a:gd name="T21" fmla="*/ 8 h 364"/>
                <a:gd name="T22" fmla="*/ 77 w 162"/>
                <a:gd name="T23" fmla="*/ 8 h 364"/>
                <a:gd name="T24" fmla="*/ 78 w 162"/>
                <a:gd name="T25" fmla="*/ 73 h 364"/>
                <a:gd name="T26" fmla="*/ 52 w 162"/>
                <a:gd name="T27" fmla="*/ 131 h 364"/>
                <a:gd name="T28" fmla="*/ 42 w 162"/>
                <a:gd name="T29" fmla="*/ 96 h 364"/>
                <a:gd name="T30" fmla="*/ 38 w 162"/>
                <a:gd name="T31" fmla="*/ 43 h 364"/>
                <a:gd name="T32" fmla="*/ 37 w 162"/>
                <a:gd name="T33" fmla="*/ 43 h 364"/>
                <a:gd name="T34" fmla="*/ 49 w 162"/>
                <a:gd name="T35" fmla="*/ 139 h 364"/>
                <a:gd name="T36" fmla="*/ 36 w 162"/>
                <a:gd name="T37" fmla="*/ 175 h 364"/>
                <a:gd name="T38" fmla="*/ 0 w 162"/>
                <a:gd name="T39" fmla="*/ 363 h 364"/>
                <a:gd name="T40" fmla="*/ 2 w 162"/>
                <a:gd name="T41" fmla="*/ 363 h 364"/>
                <a:gd name="T42" fmla="*/ 43 w 162"/>
                <a:gd name="T43" fmla="*/ 177 h 364"/>
                <a:gd name="T44" fmla="*/ 69 w 162"/>
                <a:gd name="T45" fmla="*/ 108 h 364"/>
                <a:gd name="T46" fmla="*/ 117 w 162"/>
                <a:gd name="T47" fmla="*/ 91 h 364"/>
                <a:gd name="T48" fmla="*/ 161 w 162"/>
                <a:gd name="T49" fmla="*/ 70 h 364"/>
                <a:gd name="T50" fmla="*/ 160 w 162"/>
                <a:gd name="T51" fmla="*/ 6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2" h="364">
                  <a:moveTo>
                    <a:pt x="160" y="69"/>
                  </a:moveTo>
                  <a:cubicBezTo>
                    <a:pt x="143" y="78"/>
                    <a:pt x="126" y="84"/>
                    <a:pt x="107" y="90"/>
                  </a:cubicBezTo>
                  <a:cubicBezTo>
                    <a:pt x="96" y="94"/>
                    <a:pt x="83" y="97"/>
                    <a:pt x="72" y="103"/>
                  </a:cubicBezTo>
                  <a:cubicBezTo>
                    <a:pt x="83" y="77"/>
                    <a:pt x="96" y="52"/>
                    <a:pt x="109" y="28"/>
                  </a:cubicBezTo>
                  <a:cubicBezTo>
                    <a:pt x="127" y="22"/>
                    <a:pt x="145" y="15"/>
                    <a:pt x="158" y="2"/>
                  </a:cubicBezTo>
                  <a:cubicBezTo>
                    <a:pt x="159" y="1"/>
                    <a:pt x="158" y="0"/>
                    <a:pt x="157" y="1"/>
                  </a:cubicBezTo>
                  <a:cubicBezTo>
                    <a:pt x="143" y="11"/>
                    <a:pt x="127" y="17"/>
                    <a:pt x="111" y="24"/>
                  </a:cubicBezTo>
                  <a:cubicBezTo>
                    <a:pt x="115" y="18"/>
                    <a:pt x="118" y="11"/>
                    <a:pt x="122" y="4"/>
                  </a:cubicBezTo>
                  <a:cubicBezTo>
                    <a:pt x="123" y="2"/>
                    <a:pt x="120" y="1"/>
                    <a:pt x="119" y="2"/>
                  </a:cubicBezTo>
                  <a:cubicBezTo>
                    <a:pt x="105" y="23"/>
                    <a:pt x="92" y="45"/>
                    <a:pt x="81" y="67"/>
                  </a:cubicBezTo>
                  <a:cubicBezTo>
                    <a:pt x="78" y="47"/>
                    <a:pt x="77" y="28"/>
                    <a:pt x="78" y="8"/>
                  </a:cubicBezTo>
                  <a:cubicBezTo>
                    <a:pt x="78" y="7"/>
                    <a:pt x="77" y="7"/>
                    <a:pt x="77" y="8"/>
                  </a:cubicBezTo>
                  <a:cubicBezTo>
                    <a:pt x="74" y="29"/>
                    <a:pt x="74" y="52"/>
                    <a:pt x="78" y="73"/>
                  </a:cubicBezTo>
                  <a:cubicBezTo>
                    <a:pt x="68" y="92"/>
                    <a:pt x="60" y="111"/>
                    <a:pt x="52" y="131"/>
                  </a:cubicBezTo>
                  <a:cubicBezTo>
                    <a:pt x="49" y="119"/>
                    <a:pt x="45" y="107"/>
                    <a:pt x="42" y="96"/>
                  </a:cubicBezTo>
                  <a:cubicBezTo>
                    <a:pt x="38" y="78"/>
                    <a:pt x="36" y="61"/>
                    <a:pt x="38" y="43"/>
                  </a:cubicBezTo>
                  <a:cubicBezTo>
                    <a:pt x="38" y="43"/>
                    <a:pt x="37" y="43"/>
                    <a:pt x="37" y="43"/>
                  </a:cubicBezTo>
                  <a:cubicBezTo>
                    <a:pt x="32" y="74"/>
                    <a:pt x="37" y="109"/>
                    <a:pt x="49" y="139"/>
                  </a:cubicBezTo>
                  <a:cubicBezTo>
                    <a:pt x="44" y="151"/>
                    <a:pt x="40" y="163"/>
                    <a:pt x="36" y="175"/>
                  </a:cubicBezTo>
                  <a:cubicBezTo>
                    <a:pt x="16" y="236"/>
                    <a:pt x="3" y="298"/>
                    <a:pt x="0" y="363"/>
                  </a:cubicBezTo>
                  <a:cubicBezTo>
                    <a:pt x="0" y="364"/>
                    <a:pt x="2" y="364"/>
                    <a:pt x="2" y="363"/>
                  </a:cubicBezTo>
                  <a:cubicBezTo>
                    <a:pt x="10" y="300"/>
                    <a:pt x="23" y="237"/>
                    <a:pt x="43" y="177"/>
                  </a:cubicBezTo>
                  <a:cubicBezTo>
                    <a:pt x="51" y="153"/>
                    <a:pt x="60" y="130"/>
                    <a:pt x="69" y="108"/>
                  </a:cubicBezTo>
                  <a:cubicBezTo>
                    <a:pt x="85" y="103"/>
                    <a:pt x="101" y="97"/>
                    <a:pt x="117" y="91"/>
                  </a:cubicBezTo>
                  <a:cubicBezTo>
                    <a:pt x="132" y="86"/>
                    <a:pt x="148" y="80"/>
                    <a:pt x="161" y="70"/>
                  </a:cubicBezTo>
                  <a:cubicBezTo>
                    <a:pt x="162" y="69"/>
                    <a:pt x="161" y="69"/>
                    <a:pt x="160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3" name="Freeform 124">
              <a:extLst>
                <a:ext uri="{FF2B5EF4-FFF2-40B4-BE49-F238E27FC236}">
                  <a16:creationId xmlns:a16="http://schemas.microsoft.com/office/drawing/2014/main" xmlns="" id="{90CD9AD1-77DB-438A-ABBF-351472CC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" y="2861"/>
              <a:ext cx="121" cy="52"/>
            </a:xfrm>
            <a:custGeom>
              <a:avLst/>
              <a:gdLst>
                <a:gd name="T0" fmla="*/ 50 w 51"/>
                <a:gd name="T1" fmla="*/ 0 h 22"/>
                <a:gd name="T2" fmla="*/ 1 w 51"/>
                <a:gd name="T3" fmla="*/ 21 h 22"/>
                <a:gd name="T4" fmla="*/ 1 w 51"/>
                <a:gd name="T5" fmla="*/ 22 h 22"/>
                <a:gd name="T6" fmla="*/ 50 w 51"/>
                <a:gd name="T7" fmla="*/ 1 h 22"/>
                <a:gd name="T8" fmla="*/ 50 w 5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0" y="0"/>
                  </a:moveTo>
                  <a:cubicBezTo>
                    <a:pt x="33" y="6"/>
                    <a:pt x="17" y="15"/>
                    <a:pt x="1" y="21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19" y="18"/>
                    <a:pt x="36" y="13"/>
                    <a:pt x="50" y="1"/>
                  </a:cubicBezTo>
                  <a:cubicBezTo>
                    <a:pt x="51" y="1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4" name="Freeform 125">
              <a:extLst>
                <a:ext uri="{FF2B5EF4-FFF2-40B4-BE49-F238E27FC236}">
                  <a16:creationId xmlns:a16="http://schemas.microsoft.com/office/drawing/2014/main" xmlns="" id="{9AA384EB-2512-4073-A8CA-1E4127215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" y="2773"/>
              <a:ext cx="24" cy="117"/>
            </a:xfrm>
            <a:custGeom>
              <a:avLst/>
              <a:gdLst>
                <a:gd name="T0" fmla="*/ 9 w 10"/>
                <a:gd name="T1" fmla="*/ 2 h 49"/>
                <a:gd name="T2" fmla="*/ 8 w 10"/>
                <a:gd name="T3" fmla="*/ 1 h 49"/>
                <a:gd name="T4" fmla="*/ 5 w 10"/>
                <a:gd name="T5" fmla="*/ 48 h 49"/>
                <a:gd name="T6" fmla="*/ 6 w 10"/>
                <a:gd name="T7" fmla="*/ 48 h 49"/>
                <a:gd name="T8" fmla="*/ 9 w 10"/>
                <a:gd name="T9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9">
                  <a:moveTo>
                    <a:pt x="9" y="2"/>
                  </a:moveTo>
                  <a:cubicBezTo>
                    <a:pt x="10" y="1"/>
                    <a:pt x="8" y="0"/>
                    <a:pt x="8" y="1"/>
                  </a:cubicBezTo>
                  <a:cubicBezTo>
                    <a:pt x="4" y="17"/>
                    <a:pt x="0" y="33"/>
                    <a:pt x="5" y="48"/>
                  </a:cubicBezTo>
                  <a:cubicBezTo>
                    <a:pt x="5" y="49"/>
                    <a:pt x="6" y="49"/>
                    <a:pt x="6" y="48"/>
                  </a:cubicBezTo>
                  <a:cubicBezTo>
                    <a:pt x="7" y="33"/>
                    <a:pt x="6" y="17"/>
                    <a:pt x="9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5" name="Freeform 126">
              <a:extLst>
                <a:ext uri="{FF2B5EF4-FFF2-40B4-BE49-F238E27FC236}">
                  <a16:creationId xmlns:a16="http://schemas.microsoft.com/office/drawing/2014/main" xmlns="" id="{0E56CD10-A6C7-43DB-AB99-00E25E182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2690"/>
              <a:ext cx="23" cy="67"/>
            </a:xfrm>
            <a:custGeom>
              <a:avLst/>
              <a:gdLst>
                <a:gd name="T0" fmla="*/ 8 w 10"/>
                <a:gd name="T1" fmla="*/ 1 h 28"/>
                <a:gd name="T2" fmla="*/ 1 w 10"/>
                <a:gd name="T3" fmla="*/ 27 h 28"/>
                <a:gd name="T4" fmla="*/ 2 w 10"/>
                <a:gd name="T5" fmla="*/ 28 h 28"/>
                <a:gd name="T6" fmla="*/ 10 w 10"/>
                <a:gd name="T7" fmla="*/ 2 h 28"/>
                <a:gd name="T8" fmla="*/ 8 w 10"/>
                <a:gd name="T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8">
                  <a:moveTo>
                    <a:pt x="8" y="1"/>
                  </a:moveTo>
                  <a:cubicBezTo>
                    <a:pt x="2" y="9"/>
                    <a:pt x="0" y="19"/>
                    <a:pt x="1" y="27"/>
                  </a:cubicBezTo>
                  <a:cubicBezTo>
                    <a:pt x="1" y="28"/>
                    <a:pt x="2" y="28"/>
                    <a:pt x="2" y="28"/>
                  </a:cubicBezTo>
                  <a:cubicBezTo>
                    <a:pt x="4" y="19"/>
                    <a:pt x="7" y="11"/>
                    <a:pt x="10" y="2"/>
                  </a:cubicBezTo>
                  <a:cubicBezTo>
                    <a:pt x="10" y="1"/>
                    <a:pt x="9" y="0"/>
                    <a:pt x="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6" name="Freeform 127">
              <a:extLst>
                <a:ext uri="{FF2B5EF4-FFF2-40B4-BE49-F238E27FC236}">
                  <a16:creationId xmlns:a16="http://schemas.microsoft.com/office/drawing/2014/main" xmlns="" id="{E7F6ED53-77C6-4CE1-96FA-D76C7A276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" y="3082"/>
              <a:ext cx="442" cy="276"/>
            </a:xfrm>
            <a:custGeom>
              <a:avLst/>
              <a:gdLst>
                <a:gd name="T0" fmla="*/ 7 w 186"/>
                <a:gd name="T1" fmla="*/ 55 h 116"/>
                <a:gd name="T2" fmla="*/ 64 w 186"/>
                <a:gd name="T3" fmla="*/ 115 h 116"/>
                <a:gd name="T4" fmla="*/ 122 w 186"/>
                <a:gd name="T5" fmla="*/ 113 h 116"/>
                <a:gd name="T6" fmla="*/ 184 w 186"/>
                <a:gd name="T7" fmla="*/ 114 h 116"/>
                <a:gd name="T8" fmla="*/ 132 w 186"/>
                <a:gd name="T9" fmla="*/ 21 h 116"/>
                <a:gd name="T10" fmla="*/ 85 w 186"/>
                <a:gd name="T11" fmla="*/ 7 h 116"/>
                <a:gd name="T12" fmla="*/ 29 w 186"/>
                <a:gd name="T13" fmla="*/ 1 h 116"/>
                <a:gd name="T14" fmla="*/ 4 w 186"/>
                <a:gd name="T15" fmla="*/ 16 h 116"/>
                <a:gd name="T16" fmla="*/ 7 w 186"/>
                <a:gd name="T17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16">
                  <a:moveTo>
                    <a:pt x="7" y="55"/>
                  </a:moveTo>
                  <a:cubicBezTo>
                    <a:pt x="15" y="80"/>
                    <a:pt x="34" y="115"/>
                    <a:pt x="64" y="115"/>
                  </a:cubicBezTo>
                  <a:cubicBezTo>
                    <a:pt x="83" y="116"/>
                    <a:pt x="103" y="113"/>
                    <a:pt x="122" y="113"/>
                  </a:cubicBezTo>
                  <a:cubicBezTo>
                    <a:pt x="143" y="113"/>
                    <a:pt x="164" y="113"/>
                    <a:pt x="184" y="114"/>
                  </a:cubicBezTo>
                  <a:cubicBezTo>
                    <a:pt x="186" y="114"/>
                    <a:pt x="182" y="52"/>
                    <a:pt x="132" y="21"/>
                  </a:cubicBezTo>
                  <a:cubicBezTo>
                    <a:pt x="118" y="13"/>
                    <a:pt x="101" y="10"/>
                    <a:pt x="85" y="7"/>
                  </a:cubicBezTo>
                  <a:cubicBezTo>
                    <a:pt x="67" y="3"/>
                    <a:pt x="48" y="0"/>
                    <a:pt x="29" y="1"/>
                  </a:cubicBezTo>
                  <a:cubicBezTo>
                    <a:pt x="18" y="1"/>
                    <a:pt x="8" y="4"/>
                    <a:pt x="4" y="16"/>
                  </a:cubicBezTo>
                  <a:cubicBezTo>
                    <a:pt x="0" y="28"/>
                    <a:pt x="3" y="43"/>
                    <a:pt x="7" y="55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7" name="Freeform 128">
              <a:extLst>
                <a:ext uri="{FF2B5EF4-FFF2-40B4-BE49-F238E27FC236}">
                  <a16:creationId xmlns:a16="http://schemas.microsoft.com/office/drawing/2014/main" xmlns="" id="{73D37F14-A199-44D2-A6BA-3D4E63EF1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3108"/>
              <a:ext cx="494" cy="534"/>
            </a:xfrm>
            <a:custGeom>
              <a:avLst/>
              <a:gdLst>
                <a:gd name="T0" fmla="*/ 3 w 208"/>
                <a:gd name="T1" fmla="*/ 12 h 225"/>
                <a:gd name="T2" fmla="*/ 39 w 208"/>
                <a:gd name="T3" fmla="*/ 23 h 225"/>
                <a:gd name="T4" fmla="*/ 29 w 208"/>
                <a:gd name="T5" fmla="*/ 13 h 225"/>
                <a:gd name="T6" fmla="*/ 12 w 208"/>
                <a:gd name="T7" fmla="*/ 2 h 225"/>
                <a:gd name="T8" fmla="*/ 13 w 208"/>
                <a:gd name="T9" fmla="*/ 1 h 225"/>
                <a:gd name="T10" fmla="*/ 42 w 208"/>
                <a:gd name="T11" fmla="*/ 24 h 225"/>
                <a:gd name="T12" fmla="*/ 87 w 208"/>
                <a:gd name="T13" fmla="*/ 40 h 225"/>
                <a:gd name="T14" fmla="*/ 116 w 208"/>
                <a:gd name="T15" fmla="*/ 55 h 225"/>
                <a:gd name="T16" fmla="*/ 105 w 208"/>
                <a:gd name="T17" fmla="*/ 37 h 225"/>
                <a:gd name="T18" fmla="*/ 81 w 208"/>
                <a:gd name="T19" fmla="*/ 18 h 225"/>
                <a:gd name="T20" fmla="*/ 82 w 208"/>
                <a:gd name="T21" fmla="*/ 17 h 225"/>
                <a:gd name="T22" fmla="*/ 121 w 208"/>
                <a:gd name="T23" fmla="*/ 59 h 225"/>
                <a:gd name="T24" fmla="*/ 149 w 208"/>
                <a:gd name="T25" fmla="*/ 85 h 225"/>
                <a:gd name="T26" fmla="*/ 208 w 208"/>
                <a:gd name="T27" fmla="*/ 223 h 225"/>
                <a:gd name="T28" fmla="*/ 206 w 208"/>
                <a:gd name="T29" fmla="*/ 223 h 225"/>
                <a:gd name="T30" fmla="*/ 143 w 208"/>
                <a:gd name="T31" fmla="*/ 88 h 225"/>
                <a:gd name="T32" fmla="*/ 136 w 208"/>
                <a:gd name="T33" fmla="*/ 80 h 225"/>
                <a:gd name="T34" fmla="*/ 108 w 208"/>
                <a:gd name="T35" fmla="*/ 78 h 225"/>
                <a:gd name="T36" fmla="*/ 77 w 208"/>
                <a:gd name="T37" fmla="*/ 80 h 225"/>
                <a:gd name="T38" fmla="*/ 24 w 208"/>
                <a:gd name="T39" fmla="*/ 73 h 225"/>
                <a:gd name="T40" fmla="*/ 25 w 208"/>
                <a:gd name="T41" fmla="*/ 72 h 225"/>
                <a:gd name="T42" fmla="*/ 132 w 208"/>
                <a:gd name="T43" fmla="*/ 76 h 225"/>
                <a:gd name="T44" fmla="*/ 80 w 208"/>
                <a:gd name="T45" fmla="*/ 43 h 225"/>
                <a:gd name="T46" fmla="*/ 77 w 208"/>
                <a:gd name="T47" fmla="*/ 41 h 225"/>
                <a:gd name="T48" fmla="*/ 9 w 208"/>
                <a:gd name="T49" fmla="*/ 43 h 225"/>
                <a:gd name="T50" fmla="*/ 9 w 208"/>
                <a:gd name="T51" fmla="*/ 42 h 225"/>
                <a:gd name="T52" fmla="*/ 71 w 208"/>
                <a:gd name="T53" fmla="*/ 39 h 225"/>
                <a:gd name="T54" fmla="*/ 2 w 208"/>
                <a:gd name="T55" fmla="*/ 14 h 225"/>
                <a:gd name="T56" fmla="*/ 3 w 208"/>
                <a:gd name="T57" fmla="*/ 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8" h="225">
                  <a:moveTo>
                    <a:pt x="3" y="12"/>
                  </a:moveTo>
                  <a:cubicBezTo>
                    <a:pt x="15" y="16"/>
                    <a:pt x="27" y="19"/>
                    <a:pt x="39" y="23"/>
                  </a:cubicBezTo>
                  <a:cubicBezTo>
                    <a:pt x="36" y="20"/>
                    <a:pt x="33" y="16"/>
                    <a:pt x="29" y="13"/>
                  </a:cubicBezTo>
                  <a:cubicBezTo>
                    <a:pt x="24" y="9"/>
                    <a:pt x="18" y="5"/>
                    <a:pt x="12" y="2"/>
                  </a:cubicBezTo>
                  <a:cubicBezTo>
                    <a:pt x="12" y="1"/>
                    <a:pt x="12" y="0"/>
                    <a:pt x="13" y="1"/>
                  </a:cubicBezTo>
                  <a:cubicBezTo>
                    <a:pt x="24" y="5"/>
                    <a:pt x="35" y="14"/>
                    <a:pt x="42" y="24"/>
                  </a:cubicBezTo>
                  <a:cubicBezTo>
                    <a:pt x="58" y="29"/>
                    <a:pt x="73" y="34"/>
                    <a:pt x="87" y="40"/>
                  </a:cubicBezTo>
                  <a:cubicBezTo>
                    <a:pt x="97" y="45"/>
                    <a:pt x="107" y="50"/>
                    <a:pt x="116" y="55"/>
                  </a:cubicBezTo>
                  <a:cubicBezTo>
                    <a:pt x="112" y="49"/>
                    <a:pt x="110" y="43"/>
                    <a:pt x="105" y="37"/>
                  </a:cubicBezTo>
                  <a:cubicBezTo>
                    <a:pt x="99" y="29"/>
                    <a:pt x="90" y="24"/>
                    <a:pt x="81" y="18"/>
                  </a:cubicBezTo>
                  <a:cubicBezTo>
                    <a:pt x="80" y="17"/>
                    <a:pt x="81" y="16"/>
                    <a:pt x="82" y="17"/>
                  </a:cubicBezTo>
                  <a:cubicBezTo>
                    <a:pt x="101" y="25"/>
                    <a:pt x="113" y="39"/>
                    <a:pt x="121" y="59"/>
                  </a:cubicBezTo>
                  <a:cubicBezTo>
                    <a:pt x="131" y="66"/>
                    <a:pt x="140" y="75"/>
                    <a:pt x="149" y="85"/>
                  </a:cubicBezTo>
                  <a:cubicBezTo>
                    <a:pt x="182" y="122"/>
                    <a:pt x="208" y="172"/>
                    <a:pt x="208" y="223"/>
                  </a:cubicBezTo>
                  <a:cubicBezTo>
                    <a:pt x="208" y="224"/>
                    <a:pt x="206" y="225"/>
                    <a:pt x="206" y="223"/>
                  </a:cubicBezTo>
                  <a:cubicBezTo>
                    <a:pt x="197" y="173"/>
                    <a:pt x="177" y="127"/>
                    <a:pt x="143" y="88"/>
                  </a:cubicBezTo>
                  <a:cubicBezTo>
                    <a:pt x="141" y="85"/>
                    <a:pt x="138" y="83"/>
                    <a:pt x="136" y="80"/>
                  </a:cubicBezTo>
                  <a:cubicBezTo>
                    <a:pt x="127" y="79"/>
                    <a:pt x="118" y="78"/>
                    <a:pt x="108" y="78"/>
                  </a:cubicBezTo>
                  <a:cubicBezTo>
                    <a:pt x="98" y="78"/>
                    <a:pt x="87" y="80"/>
                    <a:pt x="77" y="80"/>
                  </a:cubicBezTo>
                  <a:cubicBezTo>
                    <a:pt x="59" y="82"/>
                    <a:pt x="40" y="82"/>
                    <a:pt x="24" y="73"/>
                  </a:cubicBezTo>
                  <a:cubicBezTo>
                    <a:pt x="24" y="73"/>
                    <a:pt x="24" y="72"/>
                    <a:pt x="25" y="72"/>
                  </a:cubicBezTo>
                  <a:cubicBezTo>
                    <a:pt x="60" y="85"/>
                    <a:pt x="97" y="68"/>
                    <a:pt x="132" y="76"/>
                  </a:cubicBezTo>
                  <a:cubicBezTo>
                    <a:pt x="117" y="62"/>
                    <a:pt x="100" y="51"/>
                    <a:pt x="80" y="43"/>
                  </a:cubicBezTo>
                  <a:cubicBezTo>
                    <a:pt x="79" y="42"/>
                    <a:pt x="78" y="42"/>
                    <a:pt x="77" y="41"/>
                  </a:cubicBezTo>
                  <a:cubicBezTo>
                    <a:pt x="54" y="44"/>
                    <a:pt x="30" y="50"/>
                    <a:pt x="9" y="43"/>
                  </a:cubicBezTo>
                  <a:cubicBezTo>
                    <a:pt x="8" y="42"/>
                    <a:pt x="8" y="41"/>
                    <a:pt x="9" y="42"/>
                  </a:cubicBezTo>
                  <a:cubicBezTo>
                    <a:pt x="30" y="47"/>
                    <a:pt x="50" y="40"/>
                    <a:pt x="71" y="39"/>
                  </a:cubicBezTo>
                  <a:cubicBezTo>
                    <a:pt x="48" y="30"/>
                    <a:pt x="25" y="23"/>
                    <a:pt x="2" y="14"/>
                  </a:cubicBezTo>
                  <a:cubicBezTo>
                    <a:pt x="1" y="14"/>
                    <a:pt x="0" y="12"/>
                    <a:pt x="3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8" name="Freeform 129">
              <a:extLst>
                <a:ext uri="{FF2B5EF4-FFF2-40B4-BE49-F238E27FC236}">
                  <a16:creationId xmlns:a16="http://schemas.microsoft.com/office/drawing/2014/main" xmlns="" id="{DC80925C-99E8-4C31-80C9-A093E7AF1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3191"/>
              <a:ext cx="78" cy="12"/>
            </a:xfrm>
            <a:custGeom>
              <a:avLst/>
              <a:gdLst>
                <a:gd name="T0" fmla="*/ 1 w 33"/>
                <a:gd name="T1" fmla="*/ 0 h 5"/>
                <a:gd name="T2" fmla="*/ 33 w 33"/>
                <a:gd name="T3" fmla="*/ 2 h 5"/>
                <a:gd name="T4" fmla="*/ 33 w 33"/>
                <a:gd name="T5" fmla="*/ 3 h 5"/>
                <a:gd name="T6" fmla="*/ 0 w 33"/>
                <a:gd name="T7" fmla="*/ 0 h 5"/>
                <a:gd name="T8" fmla="*/ 1 w 3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">
                  <a:moveTo>
                    <a:pt x="1" y="0"/>
                  </a:moveTo>
                  <a:cubicBezTo>
                    <a:pt x="12" y="1"/>
                    <a:pt x="22" y="2"/>
                    <a:pt x="33" y="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3" y="5"/>
                    <a:pt x="11" y="4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19" name="Freeform 130">
              <a:extLst>
                <a:ext uri="{FF2B5EF4-FFF2-40B4-BE49-F238E27FC236}">
                  <a16:creationId xmlns:a16="http://schemas.microsoft.com/office/drawing/2014/main" xmlns="" id="{BD34B84C-3068-47B5-8157-2A618E504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3139"/>
              <a:ext cx="43" cy="31"/>
            </a:xfrm>
            <a:custGeom>
              <a:avLst/>
              <a:gdLst>
                <a:gd name="T0" fmla="*/ 2 w 18"/>
                <a:gd name="T1" fmla="*/ 0 h 13"/>
                <a:gd name="T2" fmla="*/ 18 w 18"/>
                <a:gd name="T3" fmla="*/ 11 h 13"/>
                <a:gd name="T4" fmla="*/ 17 w 18"/>
                <a:gd name="T5" fmla="*/ 12 h 13"/>
                <a:gd name="T6" fmla="*/ 9 w 18"/>
                <a:gd name="T7" fmla="*/ 7 h 13"/>
                <a:gd name="T8" fmla="*/ 1 w 18"/>
                <a:gd name="T9" fmla="*/ 2 h 13"/>
                <a:gd name="T10" fmla="*/ 2 w 1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2" y="0"/>
                  </a:moveTo>
                  <a:cubicBezTo>
                    <a:pt x="8" y="2"/>
                    <a:pt x="13" y="7"/>
                    <a:pt x="18" y="11"/>
                  </a:cubicBezTo>
                  <a:cubicBezTo>
                    <a:pt x="18" y="12"/>
                    <a:pt x="18" y="13"/>
                    <a:pt x="17" y="12"/>
                  </a:cubicBezTo>
                  <a:cubicBezTo>
                    <a:pt x="14" y="10"/>
                    <a:pt x="11" y="9"/>
                    <a:pt x="9" y="7"/>
                  </a:cubicBezTo>
                  <a:cubicBezTo>
                    <a:pt x="6" y="5"/>
                    <a:pt x="3" y="4"/>
                    <a:pt x="1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0" name="Freeform 131">
              <a:extLst>
                <a:ext uri="{FF2B5EF4-FFF2-40B4-BE49-F238E27FC236}">
                  <a16:creationId xmlns:a16="http://schemas.microsoft.com/office/drawing/2014/main" xmlns="" id="{8A7769BE-8121-4C24-A084-4CD4C2445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" y="3115"/>
              <a:ext cx="347" cy="250"/>
            </a:xfrm>
            <a:custGeom>
              <a:avLst/>
              <a:gdLst>
                <a:gd name="T0" fmla="*/ 0 w 146"/>
                <a:gd name="T1" fmla="*/ 91 h 105"/>
                <a:gd name="T2" fmla="*/ 1 w 146"/>
                <a:gd name="T3" fmla="*/ 92 h 105"/>
                <a:gd name="T4" fmla="*/ 1 w 146"/>
                <a:gd name="T5" fmla="*/ 92 h 105"/>
                <a:gd name="T6" fmla="*/ 2 w 146"/>
                <a:gd name="T7" fmla="*/ 92 h 105"/>
                <a:gd name="T8" fmla="*/ 63 w 146"/>
                <a:gd name="T9" fmla="*/ 103 h 105"/>
                <a:gd name="T10" fmla="*/ 113 w 146"/>
                <a:gd name="T11" fmla="*/ 96 h 105"/>
                <a:gd name="T12" fmla="*/ 135 w 146"/>
                <a:gd name="T13" fmla="*/ 26 h 105"/>
                <a:gd name="T14" fmla="*/ 66 w 146"/>
                <a:gd name="T15" fmla="*/ 23 h 105"/>
                <a:gd name="T16" fmla="*/ 0 w 146"/>
                <a:gd name="T17" fmla="*/ 9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05">
                  <a:moveTo>
                    <a:pt x="0" y="91"/>
                  </a:moveTo>
                  <a:cubicBezTo>
                    <a:pt x="0" y="92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22" y="97"/>
                    <a:pt x="43" y="101"/>
                    <a:pt x="63" y="103"/>
                  </a:cubicBezTo>
                  <a:cubicBezTo>
                    <a:pt x="80" y="104"/>
                    <a:pt x="99" y="105"/>
                    <a:pt x="113" y="96"/>
                  </a:cubicBezTo>
                  <a:cubicBezTo>
                    <a:pt x="133" y="83"/>
                    <a:pt x="146" y="48"/>
                    <a:pt x="135" y="26"/>
                  </a:cubicBezTo>
                  <a:cubicBezTo>
                    <a:pt x="123" y="0"/>
                    <a:pt x="85" y="14"/>
                    <a:pt x="66" y="23"/>
                  </a:cubicBezTo>
                  <a:cubicBezTo>
                    <a:pt x="37" y="38"/>
                    <a:pt x="13" y="62"/>
                    <a:pt x="0" y="91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1" name="Freeform 132">
              <a:extLst>
                <a:ext uri="{FF2B5EF4-FFF2-40B4-BE49-F238E27FC236}">
                  <a16:creationId xmlns:a16="http://schemas.microsoft.com/office/drawing/2014/main" xmlns="" id="{E764422E-2BFF-4D2D-87FD-BAD957B9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3177"/>
              <a:ext cx="455" cy="480"/>
            </a:xfrm>
            <a:custGeom>
              <a:avLst/>
              <a:gdLst>
                <a:gd name="T0" fmla="*/ 61 w 192"/>
                <a:gd name="T1" fmla="*/ 77 h 202"/>
                <a:gd name="T2" fmla="*/ 98 w 192"/>
                <a:gd name="T3" fmla="*/ 50 h 202"/>
                <a:gd name="T4" fmla="*/ 135 w 192"/>
                <a:gd name="T5" fmla="*/ 12 h 202"/>
                <a:gd name="T6" fmla="*/ 135 w 192"/>
                <a:gd name="T7" fmla="*/ 13 h 202"/>
                <a:gd name="T8" fmla="*/ 104 w 192"/>
                <a:gd name="T9" fmla="*/ 46 h 202"/>
                <a:gd name="T10" fmla="*/ 150 w 192"/>
                <a:gd name="T11" fmla="*/ 25 h 202"/>
                <a:gd name="T12" fmla="*/ 175 w 192"/>
                <a:gd name="T13" fmla="*/ 0 h 202"/>
                <a:gd name="T14" fmla="*/ 175 w 192"/>
                <a:gd name="T15" fmla="*/ 1 h 202"/>
                <a:gd name="T16" fmla="*/ 153 w 192"/>
                <a:gd name="T17" fmla="*/ 24 h 202"/>
                <a:gd name="T18" fmla="*/ 181 w 192"/>
                <a:gd name="T19" fmla="*/ 14 h 202"/>
                <a:gd name="T20" fmla="*/ 181 w 192"/>
                <a:gd name="T21" fmla="*/ 15 h 202"/>
                <a:gd name="T22" fmla="*/ 131 w 192"/>
                <a:gd name="T23" fmla="*/ 37 h 202"/>
                <a:gd name="T24" fmla="*/ 192 w 192"/>
                <a:gd name="T25" fmla="*/ 37 h 202"/>
                <a:gd name="T26" fmla="*/ 192 w 192"/>
                <a:gd name="T27" fmla="*/ 38 h 202"/>
                <a:gd name="T28" fmla="*/ 127 w 192"/>
                <a:gd name="T29" fmla="*/ 38 h 202"/>
                <a:gd name="T30" fmla="*/ 97 w 192"/>
                <a:gd name="T31" fmla="*/ 56 h 202"/>
                <a:gd name="T32" fmla="*/ 121 w 192"/>
                <a:gd name="T33" fmla="*/ 58 h 202"/>
                <a:gd name="T34" fmla="*/ 165 w 192"/>
                <a:gd name="T35" fmla="*/ 63 h 202"/>
                <a:gd name="T36" fmla="*/ 165 w 192"/>
                <a:gd name="T37" fmla="*/ 64 h 202"/>
                <a:gd name="T38" fmla="*/ 91 w 192"/>
                <a:gd name="T39" fmla="*/ 59 h 202"/>
                <a:gd name="T40" fmla="*/ 65 w 192"/>
                <a:gd name="T41" fmla="*/ 81 h 202"/>
                <a:gd name="T42" fmla="*/ 27 w 192"/>
                <a:gd name="T43" fmla="*/ 134 h 202"/>
                <a:gd name="T44" fmla="*/ 2 w 192"/>
                <a:gd name="T45" fmla="*/ 201 h 202"/>
                <a:gd name="T46" fmla="*/ 0 w 192"/>
                <a:gd name="T47" fmla="*/ 200 h 202"/>
                <a:gd name="T48" fmla="*/ 61 w 192"/>
                <a:gd name="T49" fmla="*/ 7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02">
                  <a:moveTo>
                    <a:pt x="61" y="77"/>
                  </a:moveTo>
                  <a:cubicBezTo>
                    <a:pt x="72" y="66"/>
                    <a:pt x="85" y="57"/>
                    <a:pt x="98" y="50"/>
                  </a:cubicBezTo>
                  <a:cubicBezTo>
                    <a:pt x="107" y="34"/>
                    <a:pt x="120" y="22"/>
                    <a:pt x="135" y="12"/>
                  </a:cubicBezTo>
                  <a:cubicBezTo>
                    <a:pt x="135" y="11"/>
                    <a:pt x="136" y="13"/>
                    <a:pt x="135" y="13"/>
                  </a:cubicBezTo>
                  <a:cubicBezTo>
                    <a:pt x="123" y="23"/>
                    <a:pt x="113" y="34"/>
                    <a:pt x="104" y="46"/>
                  </a:cubicBezTo>
                  <a:cubicBezTo>
                    <a:pt x="119" y="38"/>
                    <a:pt x="134" y="31"/>
                    <a:pt x="150" y="25"/>
                  </a:cubicBezTo>
                  <a:cubicBezTo>
                    <a:pt x="156" y="15"/>
                    <a:pt x="164" y="6"/>
                    <a:pt x="175" y="0"/>
                  </a:cubicBezTo>
                  <a:cubicBezTo>
                    <a:pt x="175" y="1"/>
                    <a:pt x="175" y="1"/>
                    <a:pt x="175" y="1"/>
                  </a:cubicBezTo>
                  <a:cubicBezTo>
                    <a:pt x="166" y="8"/>
                    <a:pt x="159" y="15"/>
                    <a:pt x="153" y="24"/>
                  </a:cubicBezTo>
                  <a:cubicBezTo>
                    <a:pt x="162" y="21"/>
                    <a:pt x="171" y="17"/>
                    <a:pt x="181" y="14"/>
                  </a:cubicBezTo>
                  <a:cubicBezTo>
                    <a:pt x="182" y="14"/>
                    <a:pt x="182" y="15"/>
                    <a:pt x="181" y="15"/>
                  </a:cubicBezTo>
                  <a:cubicBezTo>
                    <a:pt x="164" y="22"/>
                    <a:pt x="147" y="29"/>
                    <a:pt x="131" y="37"/>
                  </a:cubicBezTo>
                  <a:cubicBezTo>
                    <a:pt x="152" y="40"/>
                    <a:pt x="170" y="40"/>
                    <a:pt x="192" y="37"/>
                  </a:cubicBezTo>
                  <a:cubicBezTo>
                    <a:pt x="192" y="37"/>
                    <a:pt x="192" y="37"/>
                    <a:pt x="192" y="38"/>
                  </a:cubicBezTo>
                  <a:cubicBezTo>
                    <a:pt x="171" y="43"/>
                    <a:pt x="148" y="44"/>
                    <a:pt x="127" y="38"/>
                  </a:cubicBezTo>
                  <a:cubicBezTo>
                    <a:pt x="117" y="44"/>
                    <a:pt x="106" y="49"/>
                    <a:pt x="97" y="56"/>
                  </a:cubicBezTo>
                  <a:cubicBezTo>
                    <a:pt x="105" y="55"/>
                    <a:pt x="113" y="56"/>
                    <a:pt x="121" y="58"/>
                  </a:cubicBezTo>
                  <a:cubicBezTo>
                    <a:pt x="136" y="61"/>
                    <a:pt x="150" y="63"/>
                    <a:pt x="165" y="63"/>
                  </a:cubicBezTo>
                  <a:cubicBezTo>
                    <a:pt x="166" y="63"/>
                    <a:pt x="166" y="64"/>
                    <a:pt x="165" y="64"/>
                  </a:cubicBezTo>
                  <a:cubicBezTo>
                    <a:pt x="140" y="68"/>
                    <a:pt x="116" y="56"/>
                    <a:pt x="91" y="59"/>
                  </a:cubicBezTo>
                  <a:cubicBezTo>
                    <a:pt x="82" y="66"/>
                    <a:pt x="73" y="73"/>
                    <a:pt x="65" y="81"/>
                  </a:cubicBezTo>
                  <a:cubicBezTo>
                    <a:pt x="49" y="96"/>
                    <a:pt x="37" y="115"/>
                    <a:pt x="27" y="134"/>
                  </a:cubicBezTo>
                  <a:cubicBezTo>
                    <a:pt x="16" y="156"/>
                    <a:pt x="11" y="179"/>
                    <a:pt x="2" y="201"/>
                  </a:cubicBezTo>
                  <a:cubicBezTo>
                    <a:pt x="2" y="202"/>
                    <a:pt x="0" y="201"/>
                    <a:pt x="0" y="200"/>
                  </a:cubicBezTo>
                  <a:cubicBezTo>
                    <a:pt x="8" y="157"/>
                    <a:pt x="30" y="108"/>
                    <a:pt x="61" y="7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2" name="Freeform 133">
              <a:extLst>
                <a:ext uri="{FF2B5EF4-FFF2-40B4-BE49-F238E27FC236}">
                  <a16:creationId xmlns:a16="http://schemas.microsoft.com/office/drawing/2014/main" xmlns="" id="{3784B09E-3121-4AC1-805F-C539D3931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" y="3187"/>
              <a:ext cx="35" cy="33"/>
            </a:xfrm>
            <a:custGeom>
              <a:avLst/>
              <a:gdLst>
                <a:gd name="T0" fmla="*/ 1 w 15"/>
                <a:gd name="T1" fmla="*/ 13 h 14"/>
                <a:gd name="T2" fmla="*/ 7 w 15"/>
                <a:gd name="T3" fmla="*/ 6 h 14"/>
                <a:gd name="T4" fmla="*/ 14 w 15"/>
                <a:gd name="T5" fmla="*/ 0 h 14"/>
                <a:gd name="T6" fmla="*/ 15 w 15"/>
                <a:gd name="T7" fmla="*/ 0 h 14"/>
                <a:gd name="T8" fmla="*/ 8 w 15"/>
                <a:gd name="T9" fmla="*/ 7 h 14"/>
                <a:gd name="T10" fmla="*/ 1 w 15"/>
                <a:gd name="T11" fmla="*/ 14 h 14"/>
                <a:gd name="T12" fmla="*/ 1 w 15"/>
                <a:gd name="T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4">
                  <a:moveTo>
                    <a:pt x="1" y="13"/>
                  </a:moveTo>
                  <a:cubicBezTo>
                    <a:pt x="2" y="10"/>
                    <a:pt x="5" y="8"/>
                    <a:pt x="7" y="6"/>
                  </a:cubicBezTo>
                  <a:cubicBezTo>
                    <a:pt x="9" y="4"/>
                    <a:pt x="12" y="1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3"/>
                    <a:pt x="10" y="4"/>
                    <a:pt x="8" y="7"/>
                  </a:cubicBezTo>
                  <a:cubicBezTo>
                    <a:pt x="5" y="9"/>
                    <a:pt x="3" y="12"/>
                    <a:pt x="1" y="14"/>
                  </a:cubicBezTo>
                  <a:cubicBezTo>
                    <a:pt x="1" y="14"/>
                    <a:pt x="0" y="14"/>
                    <a:pt x="1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3" name="Freeform 134">
              <a:extLst>
                <a:ext uri="{FF2B5EF4-FFF2-40B4-BE49-F238E27FC236}">
                  <a16:creationId xmlns:a16="http://schemas.microsoft.com/office/drawing/2014/main" xmlns="" id="{807150E6-00DE-4C3B-AD5C-464C833C3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" y="3239"/>
              <a:ext cx="56" cy="19"/>
            </a:xfrm>
            <a:custGeom>
              <a:avLst/>
              <a:gdLst>
                <a:gd name="T0" fmla="*/ 0 w 24"/>
                <a:gd name="T1" fmla="*/ 5 h 8"/>
                <a:gd name="T2" fmla="*/ 12 w 24"/>
                <a:gd name="T3" fmla="*/ 3 h 8"/>
                <a:gd name="T4" fmla="*/ 23 w 24"/>
                <a:gd name="T5" fmla="*/ 0 h 8"/>
                <a:gd name="T6" fmla="*/ 23 w 24"/>
                <a:gd name="T7" fmla="*/ 1 h 8"/>
                <a:gd name="T8" fmla="*/ 0 w 24"/>
                <a:gd name="T9" fmla="*/ 6 h 8"/>
                <a:gd name="T10" fmla="*/ 0 w 24"/>
                <a:gd name="T1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0" y="5"/>
                  </a:moveTo>
                  <a:cubicBezTo>
                    <a:pt x="4" y="4"/>
                    <a:pt x="8" y="4"/>
                    <a:pt x="12" y="3"/>
                  </a:cubicBezTo>
                  <a:cubicBezTo>
                    <a:pt x="16" y="2"/>
                    <a:pt x="19" y="1"/>
                    <a:pt x="23" y="0"/>
                  </a:cubicBezTo>
                  <a:cubicBezTo>
                    <a:pt x="23" y="0"/>
                    <a:pt x="24" y="0"/>
                    <a:pt x="23" y="1"/>
                  </a:cubicBezTo>
                  <a:cubicBezTo>
                    <a:pt x="17" y="4"/>
                    <a:pt x="7" y="8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4" name="Freeform 135">
              <a:extLst>
                <a:ext uri="{FF2B5EF4-FFF2-40B4-BE49-F238E27FC236}">
                  <a16:creationId xmlns:a16="http://schemas.microsoft.com/office/drawing/2014/main" xmlns="" id="{E688B7B4-7C43-4D67-ADFB-C666000A2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524"/>
              <a:ext cx="316" cy="392"/>
            </a:xfrm>
            <a:custGeom>
              <a:avLst/>
              <a:gdLst>
                <a:gd name="T0" fmla="*/ 0 w 316"/>
                <a:gd name="T1" fmla="*/ 0 h 392"/>
                <a:gd name="T2" fmla="*/ 10 w 316"/>
                <a:gd name="T3" fmla="*/ 90 h 392"/>
                <a:gd name="T4" fmla="*/ 36 w 316"/>
                <a:gd name="T5" fmla="*/ 392 h 392"/>
                <a:gd name="T6" fmla="*/ 271 w 316"/>
                <a:gd name="T7" fmla="*/ 392 h 392"/>
                <a:gd name="T8" fmla="*/ 304 w 316"/>
                <a:gd name="T9" fmla="*/ 90 h 392"/>
                <a:gd name="T10" fmla="*/ 316 w 316"/>
                <a:gd name="T11" fmla="*/ 0 h 392"/>
                <a:gd name="T12" fmla="*/ 0 w 316"/>
                <a:gd name="T13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392">
                  <a:moveTo>
                    <a:pt x="0" y="0"/>
                  </a:moveTo>
                  <a:lnTo>
                    <a:pt x="10" y="90"/>
                  </a:lnTo>
                  <a:lnTo>
                    <a:pt x="36" y="392"/>
                  </a:lnTo>
                  <a:lnTo>
                    <a:pt x="271" y="392"/>
                  </a:lnTo>
                  <a:lnTo>
                    <a:pt x="304" y="90"/>
                  </a:lnTo>
                  <a:lnTo>
                    <a:pt x="3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5" name="Freeform 136">
              <a:extLst>
                <a:ext uri="{FF2B5EF4-FFF2-40B4-BE49-F238E27FC236}">
                  <a16:creationId xmlns:a16="http://schemas.microsoft.com/office/drawing/2014/main" xmlns="" id="{1142B125-12E5-4013-9A26-C383A44C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524"/>
              <a:ext cx="316" cy="90"/>
            </a:xfrm>
            <a:custGeom>
              <a:avLst/>
              <a:gdLst>
                <a:gd name="T0" fmla="*/ 0 w 316"/>
                <a:gd name="T1" fmla="*/ 0 h 90"/>
                <a:gd name="T2" fmla="*/ 10 w 316"/>
                <a:gd name="T3" fmla="*/ 90 h 90"/>
                <a:gd name="T4" fmla="*/ 304 w 316"/>
                <a:gd name="T5" fmla="*/ 90 h 90"/>
                <a:gd name="T6" fmla="*/ 316 w 316"/>
                <a:gd name="T7" fmla="*/ 0 h 90"/>
                <a:gd name="T8" fmla="*/ 0 w 316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90">
                  <a:moveTo>
                    <a:pt x="0" y="0"/>
                  </a:moveTo>
                  <a:lnTo>
                    <a:pt x="10" y="90"/>
                  </a:lnTo>
                  <a:lnTo>
                    <a:pt x="304" y="90"/>
                  </a:lnTo>
                  <a:lnTo>
                    <a:pt x="3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6" name="Rectangle 137">
              <a:extLst>
                <a:ext uri="{FF2B5EF4-FFF2-40B4-BE49-F238E27FC236}">
                  <a16:creationId xmlns:a16="http://schemas.microsoft.com/office/drawing/2014/main" xmlns="" id="{2C42346B-382B-4443-AB66-30AE283E5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2" y="3500"/>
              <a:ext cx="361" cy="74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7" name="Freeform 138">
              <a:extLst>
                <a:ext uri="{FF2B5EF4-FFF2-40B4-BE49-F238E27FC236}">
                  <a16:creationId xmlns:a16="http://schemas.microsoft.com/office/drawing/2014/main" xmlns="" id="{F7533422-73A6-4FF7-836D-32501A30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362"/>
              <a:ext cx="618" cy="556"/>
            </a:xfrm>
            <a:custGeom>
              <a:avLst/>
              <a:gdLst>
                <a:gd name="T0" fmla="*/ 8 w 260"/>
                <a:gd name="T1" fmla="*/ 231 h 234"/>
                <a:gd name="T2" fmla="*/ 254 w 260"/>
                <a:gd name="T3" fmla="*/ 225 h 234"/>
                <a:gd name="T4" fmla="*/ 259 w 260"/>
                <a:gd name="T5" fmla="*/ 149 h 234"/>
                <a:gd name="T6" fmla="*/ 259 w 260"/>
                <a:gd name="T7" fmla="*/ 148 h 234"/>
                <a:gd name="T8" fmla="*/ 260 w 260"/>
                <a:gd name="T9" fmla="*/ 122 h 234"/>
                <a:gd name="T10" fmla="*/ 260 w 260"/>
                <a:gd name="T11" fmla="*/ 119 h 234"/>
                <a:gd name="T12" fmla="*/ 249 w 260"/>
                <a:gd name="T13" fmla="*/ 0 h 234"/>
                <a:gd name="T14" fmla="*/ 95 w 260"/>
                <a:gd name="T15" fmla="*/ 2 h 234"/>
                <a:gd name="T16" fmla="*/ 110 w 260"/>
                <a:gd name="T17" fmla="*/ 119 h 234"/>
                <a:gd name="T18" fmla="*/ 111 w 260"/>
                <a:gd name="T19" fmla="*/ 124 h 234"/>
                <a:gd name="T20" fmla="*/ 112 w 260"/>
                <a:gd name="T21" fmla="*/ 148 h 234"/>
                <a:gd name="T22" fmla="*/ 112 w 260"/>
                <a:gd name="T23" fmla="*/ 151 h 234"/>
                <a:gd name="T24" fmla="*/ 16 w 260"/>
                <a:gd name="T25" fmla="*/ 198 h 234"/>
                <a:gd name="T26" fmla="*/ 8 w 260"/>
                <a:gd name="T27" fmla="*/ 23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0" h="234">
                  <a:moveTo>
                    <a:pt x="8" y="231"/>
                  </a:moveTo>
                  <a:cubicBezTo>
                    <a:pt x="16" y="234"/>
                    <a:pt x="245" y="231"/>
                    <a:pt x="254" y="225"/>
                  </a:cubicBezTo>
                  <a:cubicBezTo>
                    <a:pt x="257" y="223"/>
                    <a:pt x="259" y="190"/>
                    <a:pt x="259" y="149"/>
                  </a:cubicBezTo>
                  <a:cubicBezTo>
                    <a:pt x="259" y="149"/>
                    <a:pt x="259" y="148"/>
                    <a:pt x="259" y="148"/>
                  </a:cubicBezTo>
                  <a:cubicBezTo>
                    <a:pt x="259" y="140"/>
                    <a:pt x="260" y="131"/>
                    <a:pt x="260" y="122"/>
                  </a:cubicBezTo>
                  <a:cubicBezTo>
                    <a:pt x="260" y="121"/>
                    <a:pt x="260" y="120"/>
                    <a:pt x="260" y="119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2" y="148"/>
                    <a:pt x="112" y="148"/>
                    <a:pt x="112" y="148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12" y="151"/>
                    <a:pt x="24" y="191"/>
                    <a:pt x="16" y="198"/>
                  </a:cubicBezTo>
                  <a:cubicBezTo>
                    <a:pt x="7" y="206"/>
                    <a:pt x="0" y="229"/>
                    <a:pt x="8" y="231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8" name="Freeform 139">
              <a:extLst>
                <a:ext uri="{FF2B5EF4-FFF2-40B4-BE49-F238E27FC236}">
                  <a16:creationId xmlns:a16="http://schemas.microsoft.com/office/drawing/2014/main" xmlns="" id="{FB270EA9-F953-49A3-8146-DDF9454CE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645"/>
              <a:ext cx="618" cy="273"/>
            </a:xfrm>
            <a:custGeom>
              <a:avLst/>
              <a:gdLst>
                <a:gd name="T0" fmla="*/ 8 w 260"/>
                <a:gd name="T1" fmla="*/ 112 h 115"/>
                <a:gd name="T2" fmla="*/ 254 w 260"/>
                <a:gd name="T3" fmla="*/ 106 h 115"/>
                <a:gd name="T4" fmla="*/ 259 w 260"/>
                <a:gd name="T5" fmla="*/ 30 h 115"/>
                <a:gd name="T6" fmla="*/ 259 w 260"/>
                <a:gd name="T7" fmla="*/ 29 h 115"/>
                <a:gd name="T8" fmla="*/ 260 w 260"/>
                <a:gd name="T9" fmla="*/ 3 h 115"/>
                <a:gd name="T10" fmla="*/ 260 w 260"/>
                <a:gd name="T11" fmla="*/ 0 h 115"/>
                <a:gd name="T12" fmla="*/ 110 w 260"/>
                <a:gd name="T13" fmla="*/ 0 h 115"/>
                <a:gd name="T14" fmla="*/ 111 w 260"/>
                <a:gd name="T15" fmla="*/ 5 h 115"/>
                <a:gd name="T16" fmla="*/ 112 w 260"/>
                <a:gd name="T17" fmla="*/ 29 h 115"/>
                <a:gd name="T18" fmla="*/ 112 w 260"/>
                <a:gd name="T19" fmla="*/ 32 h 115"/>
                <a:gd name="T20" fmla="*/ 16 w 260"/>
                <a:gd name="T21" fmla="*/ 79 h 115"/>
                <a:gd name="T22" fmla="*/ 8 w 260"/>
                <a:gd name="T23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0" h="115">
                  <a:moveTo>
                    <a:pt x="8" y="112"/>
                  </a:moveTo>
                  <a:cubicBezTo>
                    <a:pt x="16" y="115"/>
                    <a:pt x="245" y="112"/>
                    <a:pt x="254" y="106"/>
                  </a:cubicBezTo>
                  <a:cubicBezTo>
                    <a:pt x="257" y="104"/>
                    <a:pt x="259" y="71"/>
                    <a:pt x="259" y="30"/>
                  </a:cubicBezTo>
                  <a:cubicBezTo>
                    <a:pt x="259" y="30"/>
                    <a:pt x="259" y="29"/>
                    <a:pt x="259" y="29"/>
                  </a:cubicBezTo>
                  <a:cubicBezTo>
                    <a:pt x="259" y="21"/>
                    <a:pt x="260" y="12"/>
                    <a:pt x="260" y="3"/>
                  </a:cubicBezTo>
                  <a:cubicBezTo>
                    <a:pt x="260" y="2"/>
                    <a:pt x="260" y="1"/>
                    <a:pt x="2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24" y="72"/>
                    <a:pt x="16" y="79"/>
                  </a:cubicBezTo>
                  <a:cubicBezTo>
                    <a:pt x="7" y="87"/>
                    <a:pt x="0" y="110"/>
                    <a:pt x="8" y="112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29" name="Freeform 140">
              <a:extLst>
                <a:ext uri="{FF2B5EF4-FFF2-40B4-BE49-F238E27FC236}">
                  <a16:creationId xmlns:a16="http://schemas.microsoft.com/office/drawing/2014/main" xmlns="" id="{CE7FD553-0A61-4FCD-B270-FEBB25B9F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714"/>
              <a:ext cx="615" cy="202"/>
            </a:xfrm>
            <a:custGeom>
              <a:avLst/>
              <a:gdLst>
                <a:gd name="T0" fmla="*/ 8 w 259"/>
                <a:gd name="T1" fmla="*/ 83 h 85"/>
                <a:gd name="T2" fmla="*/ 135 w 259"/>
                <a:gd name="T3" fmla="*/ 83 h 85"/>
                <a:gd name="T4" fmla="*/ 171 w 259"/>
                <a:gd name="T5" fmla="*/ 82 h 85"/>
                <a:gd name="T6" fmla="*/ 254 w 259"/>
                <a:gd name="T7" fmla="*/ 77 h 85"/>
                <a:gd name="T8" fmla="*/ 259 w 259"/>
                <a:gd name="T9" fmla="*/ 3 h 85"/>
                <a:gd name="T10" fmla="*/ 259 w 259"/>
                <a:gd name="T11" fmla="*/ 1 h 85"/>
                <a:gd name="T12" fmla="*/ 259 w 259"/>
                <a:gd name="T13" fmla="*/ 0 h 85"/>
                <a:gd name="T14" fmla="*/ 259 w 259"/>
                <a:gd name="T15" fmla="*/ 0 h 85"/>
                <a:gd name="T16" fmla="*/ 112 w 259"/>
                <a:gd name="T17" fmla="*/ 0 h 85"/>
                <a:gd name="T18" fmla="*/ 112 w 259"/>
                <a:gd name="T19" fmla="*/ 3 h 85"/>
                <a:gd name="T20" fmla="*/ 16 w 259"/>
                <a:gd name="T21" fmla="*/ 50 h 85"/>
                <a:gd name="T22" fmla="*/ 8 w 259"/>
                <a:gd name="T23" fmla="*/ 8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85">
                  <a:moveTo>
                    <a:pt x="8" y="83"/>
                  </a:moveTo>
                  <a:cubicBezTo>
                    <a:pt x="12" y="85"/>
                    <a:pt x="74" y="84"/>
                    <a:pt x="135" y="83"/>
                  </a:cubicBezTo>
                  <a:cubicBezTo>
                    <a:pt x="147" y="83"/>
                    <a:pt x="160" y="83"/>
                    <a:pt x="171" y="82"/>
                  </a:cubicBezTo>
                  <a:cubicBezTo>
                    <a:pt x="215" y="81"/>
                    <a:pt x="250" y="79"/>
                    <a:pt x="254" y="77"/>
                  </a:cubicBezTo>
                  <a:cubicBezTo>
                    <a:pt x="257" y="75"/>
                    <a:pt x="259" y="43"/>
                    <a:pt x="259" y="3"/>
                  </a:cubicBezTo>
                  <a:cubicBezTo>
                    <a:pt x="259" y="2"/>
                    <a:pt x="259" y="2"/>
                    <a:pt x="259" y="1"/>
                  </a:cubicBezTo>
                  <a:cubicBezTo>
                    <a:pt x="259" y="1"/>
                    <a:pt x="259" y="0"/>
                    <a:pt x="259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3"/>
                    <a:pt x="24" y="43"/>
                    <a:pt x="16" y="50"/>
                  </a:cubicBezTo>
                  <a:cubicBezTo>
                    <a:pt x="7" y="58"/>
                    <a:pt x="0" y="81"/>
                    <a:pt x="8" y="83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0" name="Freeform 141">
              <a:extLst>
                <a:ext uri="{FF2B5EF4-FFF2-40B4-BE49-F238E27FC236}">
                  <a16:creationId xmlns:a16="http://schemas.microsoft.com/office/drawing/2014/main" xmlns="" id="{BC0EA1F7-3941-4B2D-88FE-7A4E8CF1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" y="3882"/>
              <a:ext cx="553" cy="12"/>
            </a:xfrm>
            <a:custGeom>
              <a:avLst/>
              <a:gdLst>
                <a:gd name="T0" fmla="*/ 1 w 233"/>
                <a:gd name="T1" fmla="*/ 3 h 5"/>
                <a:gd name="T2" fmla="*/ 233 w 233"/>
                <a:gd name="T3" fmla="*/ 1 h 5"/>
                <a:gd name="T4" fmla="*/ 233 w 233"/>
                <a:gd name="T5" fmla="*/ 1 h 5"/>
                <a:gd name="T6" fmla="*/ 1 w 233"/>
                <a:gd name="T7" fmla="*/ 4 h 5"/>
                <a:gd name="T8" fmla="*/ 1 w 23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">
                  <a:moveTo>
                    <a:pt x="1" y="3"/>
                  </a:moveTo>
                  <a:cubicBezTo>
                    <a:pt x="39" y="2"/>
                    <a:pt x="195" y="0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195" y="4"/>
                    <a:pt x="39" y="5"/>
                    <a:pt x="1" y="4"/>
                  </a:cubicBezTo>
                  <a:cubicBezTo>
                    <a:pt x="0" y="4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1" name="Freeform 142">
              <a:extLst>
                <a:ext uri="{FF2B5EF4-FFF2-40B4-BE49-F238E27FC236}">
                  <a16:creationId xmlns:a16="http://schemas.microsoft.com/office/drawing/2014/main" xmlns="" id="{E27A1807-825E-4474-9668-9AB953131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6" y="3709"/>
              <a:ext cx="112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6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2" name="Freeform 143">
              <a:extLst>
                <a:ext uri="{FF2B5EF4-FFF2-40B4-BE49-F238E27FC236}">
                  <a16:creationId xmlns:a16="http://schemas.microsoft.com/office/drawing/2014/main" xmlns="" id="{ABAC40CF-F23C-41C2-BA78-9AEE57721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" y="3726"/>
              <a:ext cx="112" cy="30"/>
            </a:xfrm>
            <a:custGeom>
              <a:avLst/>
              <a:gdLst>
                <a:gd name="T0" fmla="*/ 1 w 47"/>
                <a:gd name="T1" fmla="*/ 3 h 13"/>
                <a:gd name="T2" fmla="*/ 47 w 47"/>
                <a:gd name="T3" fmla="*/ 12 h 13"/>
                <a:gd name="T4" fmla="*/ 46 w 47"/>
                <a:gd name="T5" fmla="*/ 13 h 13"/>
                <a:gd name="T6" fmla="*/ 1 w 47"/>
                <a:gd name="T7" fmla="*/ 5 h 13"/>
                <a:gd name="T8" fmla="*/ 1 w 47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3">
                  <a:moveTo>
                    <a:pt x="1" y="3"/>
                  </a:moveTo>
                  <a:cubicBezTo>
                    <a:pt x="16" y="0"/>
                    <a:pt x="35" y="2"/>
                    <a:pt x="47" y="12"/>
                  </a:cubicBezTo>
                  <a:cubicBezTo>
                    <a:pt x="47" y="13"/>
                    <a:pt x="47" y="13"/>
                    <a:pt x="46" y="13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3" name="Freeform 144">
              <a:extLst>
                <a:ext uri="{FF2B5EF4-FFF2-40B4-BE49-F238E27FC236}">
                  <a16:creationId xmlns:a16="http://schemas.microsoft.com/office/drawing/2014/main" xmlns="" id="{1BDD6912-562F-49AB-B2F6-3FB0A7044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4" y="3740"/>
              <a:ext cx="112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3"/>
                    <a:pt x="47" y="13"/>
                  </a:cubicBezTo>
                  <a:cubicBezTo>
                    <a:pt x="47" y="14"/>
                    <a:pt x="47" y="14"/>
                    <a:pt x="46" y="14"/>
                  </a:cubicBezTo>
                  <a:cubicBezTo>
                    <a:pt x="31" y="10"/>
                    <a:pt x="17" y="7"/>
                    <a:pt x="1" y="5"/>
                  </a:cubicBezTo>
                  <a:cubicBezTo>
                    <a:pt x="0" y="5"/>
                    <a:pt x="0" y="4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4" name="Freeform 145">
              <a:extLst>
                <a:ext uri="{FF2B5EF4-FFF2-40B4-BE49-F238E27FC236}">
                  <a16:creationId xmlns:a16="http://schemas.microsoft.com/office/drawing/2014/main" xmlns="" id="{DF108D33-D4FC-4FBB-A1B0-AFF041487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" y="3714"/>
              <a:ext cx="294" cy="197"/>
            </a:xfrm>
            <a:custGeom>
              <a:avLst/>
              <a:gdLst>
                <a:gd name="T0" fmla="*/ 0 w 124"/>
                <a:gd name="T1" fmla="*/ 83 h 83"/>
                <a:gd name="T2" fmla="*/ 36 w 124"/>
                <a:gd name="T3" fmla="*/ 82 h 83"/>
                <a:gd name="T4" fmla="*/ 119 w 124"/>
                <a:gd name="T5" fmla="*/ 77 h 83"/>
                <a:gd name="T6" fmla="*/ 124 w 124"/>
                <a:gd name="T7" fmla="*/ 3 h 83"/>
                <a:gd name="T8" fmla="*/ 124 w 124"/>
                <a:gd name="T9" fmla="*/ 1 h 83"/>
                <a:gd name="T10" fmla="*/ 124 w 124"/>
                <a:gd name="T11" fmla="*/ 0 h 83"/>
                <a:gd name="T12" fmla="*/ 124 w 124"/>
                <a:gd name="T13" fmla="*/ 0 h 83"/>
                <a:gd name="T14" fmla="*/ 0 w 124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83">
                  <a:moveTo>
                    <a:pt x="0" y="83"/>
                  </a:moveTo>
                  <a:cubicBezTo>
                    <a:pt x="12" y="83"/>
                    <a:pt x="25" y="83"/>
                    <a:pt x="36" y="82"/>
                  </a:cubicBezTo>
                  <a:cubicBezTo>
                    <a:pt x="80" y="81"/>
                    <a:pt x="115" y="79"/>
                    <a:pt x="119" y="77"/>
                  </a:cubicBezTo>
                  <a:cubicBezTo>
                    <a:pt x="122" y="75"/>
                    <a:pt x="124" y="43"/>
                    <a:pt x="124" y="3"/>
                  </a:cubicBezTo>
                  <a:cubicBezTo>
                    <a:pt x="124" y="2"/>
                    <a:pt x="124" y="2"/>
                    <a:pt x="124" y="1"/>
                  </a:cubicBezTo>
                  <a:cubicBezTo>
                    <a:pt x="124" y="1"/>
                    <a:pt x="124" y="0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04" y="14"/>
                    <a:pt x="33" y="62"/>
                    <a:pt x="0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5" name="Freeform 146">
              <a:extLst>
                <a:ext uri="{FF2B5EF4-FFF2-40B4-BE49-F238E27FC236}">
                  <a16:creationId xmlns:a16="http://schemas.microsoft.com/office/drawing/2014/main" xmlns="" id="{E021CB3E-BE5E-4136-B215-960A437C9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" y="1795"/>
              <a:ext cx="632" cy="1921"/>
            </a:xfrm>
            <a:custGeom>
              <a:avLst/>
              <a:gdLst>
                <a:gd name="T0" fmla="*/ 26 w 266"/>
                <a:gd name="T1" fmla="*/ 809 h 809"/>
                <a:gd name="T2" fmla="*/ 191 w 266"/>
                <a:gd name="T3" fmla="*/ 809 h 809"/>
                <a:gd name="T4" fmla="*/ 160 w 266"/>
                <a:gd name="T5" fmla="*/ 417 h 809"/>
                <a:gd name="T6" fmla="*/ 184 w 266"/>
                <a:gd name="T7" fmla="*/ 318 h 809"/>
                <a:gd name="T8" fmla="*/ 197 w 266"/>
                <a:gd name="T9" fmla="*/ 268 h 809"/>
                <a:gd name="T10" fmla="*/ 235 w 266"/>
                <a:gd name="T11" fmla="*/ 122 h 809"/>
                <a:gd name="T12" fmla="*/ 266 w 266"/>
                <a:gd name="T13" fmla="*/ 0 h 809"/>
                <a:gd name="T14" fmla="*/ 126 w 266"/>
                <a:gd name="T15" fmla="*/ 0 h 809"/>
                <a:gd name="T16" fmla="*/ 89 w 266"/>
                <a:gd name="T17" fmla="*/ 119 h 809"/>
                <a:gd name="T18" fmla="*/ 7 w 266"/>
                <a:gd name="T19" fmla="*/ 415 h 809"/>
                <a:gd name="T20" fmla="*/ 26 w 266"/>
                <a:gd name="T21" fmla="*/ 809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6" h="809">
                  <a:moveTo>
                    <a:pt x="26" y="809"/>
                  </a:moveTo>
                  <a:cubicBezTo>
                    <a:pt x="191" y="809"/>
                    <a:pt x="191" y="809"/>
                    <a:pt x="191" y="809"/>
                  </a:cubicBezTo>
                  <a:cubicBezTo>
                    <a:pt x="191" y="809"/>
                    <a:pt x="158" y="424"/>
                    <a:pt x="160" y="417"/>
                  </a:cubicBezTo>
                  <a:cubicBezTo>
                    <a:pt x="161" y="408"/>
                    <a:pt x="171" y="369"/>
                    <a:pt x="184" y="318"/>
                  </a:cubicBezTo>
                  <a:cubicBezTo>
                    <a:pt x="188" y="302"/>
                    <a:pt x="192" y="285"/>
                    <a:pt x="197" y="268"/>
                  </a:cubicBezTo>
                  <a:cubicBezTo>
                    <a:pt x="209" y="220"/>
                    <a:pt x="223" y="167"/>
                    <a:pt x="235" y="122"/>
                  </a:cubicBezTo>
                  <a:cubicBezTo>
                    <a:pt x="252" y="53"/>
                    <a:pt x="266" y="0"/>
                    <a:pt x="26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10" y="52"/>
                    <a:pt x="89" y="119"/>
                  </a:cubicBezTo>
                  <a:cubicBezTo>
                    <a:pt x="56" y="228"/>
                    <a:pt x="11" y="379"/>
                    <a:pt x="7" y="415"/>
                  </a:cubicBezTo>
                  <a:cubicBezTo>
                    <a:pt x="0" y="474"/>
                    <a:pt x="26" y="809"/>
                    <a:pt x="26" y="809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6" name="Freeform 147">
              <a:extLst>
                <a:ext uri="{FF2B5EF4-FFF2-40B4-BE49-F238E27FC236}">
                  <a16:creationId xmlns:a16="http://schemas.microsoft.com/office/drawing/2014/main" xmlns="" id="{748A5D2B-9046-41D7-B03E-1E30DE16C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" y="3645"/>
              <a:ext cx="353" cy="9"/>
            </a:xfrm>
            <a:custGeom>
              <a:avLst/>
              <a:gdLst>
                <a:gd name="T0" fmla="*/ 1 w 149"/>
                <a:gd name="T1" fmla="*/ 2 h 4"/>
                <a:gd name="T2" fmla="*/ 44 w 149"/>
                <a:gd name="T3" fmla="*/ 1 h 4"/>
                <a:gd name="T4" fmla="*/ 149 w 149"/>
                <a:gd name="T5" fmla="*/ 2 h 4"/>
                <a:gd name="T6" fmla="*/ 149 w 149"/>
                <a:gd name="T7" fmla="*/ 2 h 4"/>
                <a:gd name="T8" fmla="*/ 44 w 149"/>
                <a:gd name="T9" fmla="*/ 3 h 4"/>
                <a:gd name="T10" fmla="*/ 1 w 149"/>
                <a:gd name="T11" fmla="*/ 2 h 4"/>
                <a:gd name="T12" fmla="*/ 1 w 14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">
                  <a:moveTo>
                    <a:pt x="1" y="2"/>
                  </a:moveTo>
                  <a:cubicBezTo>
                    <a:pt x="26" y="1"/>
                    <a:pt x="19" y="1"/>
                    <a:pt x="44" y="1"/>
                  </a:cubicBezTo>
                  <a:cubicBezTo>
                    <a:pt x="56" y="1"/>
                    <a:pt x="137" y="0"/>
                    <a:pt x="149" y="2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37" y="4"/>
                    <a:pt x="56" y="3"/>
                    <a:pt x="44" y="3"/>
                  </a:cubicBezTo>
                  <a:cubicBezTo>
                    <a:pt x="19" y="3"/>
                    <a:pt x="26" y="3"/>
                    <a:pt x="1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7" name="Freeform 148">
              <a:extLst>
                <a:ext uri="{FF2B5EF4-FFF2-40B4-BE49-F238E27FC236}">
                  <a16:creationId xmlns:a16="http://schemas.microsoft.com/office/drawing/2014/main" xmlns="" id="{709A2590-3598-4C09-8BED-824A534C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" y="1873"/>
              <a:ext cx="270" cy="1739"/>
            </a:xfrm>
            <a:custGeom>
              <a:avLst/>
              <a:gdLst>
                <a:gd name="T0" fmla="*/ 4 w 114"/>
                <a:gd name="T1" fmla="*/ 360 h 732"/>
                <a:gd name="T2" fmla="*/ 25 w 114"/>
                <a:gd name="T3" fmla="*/ 290 h 732"/>
                <a:gd name="T4" fmla="*/ 68 w 114"/>
                <a:gd name="T5" fmla="*/ 147 h 732"/>
                <a:gd name="T6" fmla="*/ 90 w 114"/>
                <a:gd name="T7" fmla="*/ 76 h 732"/>
                <a:gd name="T8" fmla="*/ 101 w 114"/>
                <a:gd name="T9" fmla="*/ 40 h 732"/>
                <a:gd name="T10" fmla="*/ 112 w 114"/>
                <a:gd name="T11" fmla="*/ 5 h 732"/>
                <a:gd name="T12" fmla="*/ 113 w 114"/>
                <a:gd name="T13" fmla="*/ 9 h 732"/>
                <a:gd name="T14" fmla="*/ 102 w 114"/>
                <a:gd name="T15" fmla="*/ 46 h 732"/>
                <a:gd name="T16" fmla="*/ 81 w 114"/>
                <a:gd name="T17" fmla="*/ 118 h 732"/>
                <a:gd name="T18" fmla="*/ 37 w 114"/>
                <a:gd name="T19" fmla="*/ 263 h 732"/>
                <a:gd name="T20" fmla="*/ 15 w 114"/>
                <a:gd name="T21" fmla="*/ 336 h 732"/>
                <a:gd name="T22" fmla="*/ 7 w 114"/>
                <a:gd name="T23" fmla="*/ 371 h 732"/>
                <a:gd name="T24" fmla="*/ 5 w 114"/>
                <a:gd name="T25" fmla="*/ 409 h 732"/>
                <a:gd name="T26" fmla="*/ 12 w 114"/>
                <a:gd name="T27" fmla="*/ 484 h 732"/>
                <a:gd name="T28" fmla="*/ 19 w 114"/>
                <a:gd name="T29" fmla="*/ 560 h 732"/>
                <a:gd name="T30" fmla="*/ 33 w 114"/>
                <a:gd name="T31" fmla="*/ 711 h 732"/>
                <a:gd name="T32" fmla="*/ 34 w 114"/>
                <a:gd name="T33" fmla="*/ 730 h 732"/>
                <a:gd name="T34" fmla="*/ 31 w 114"/>
                <a:gd name="T35" fmla="*/ 730 h 732"/>
                <a:gd name="T36" fmla="*/ 17 w 114"/>
                <a:gd name="T37" fmla="*/ 580 h 732"/>
                <a:gd name="T38" fmla="*/ 3 w 114"/>
                <a:gd name="T39" fmla="*/ 432 h 732"/>
                <a:gd name="T40" fmla="*/ 0 w 114"/>
                <a:gd name="T41" fmla="*/ 395 h 732"/>
                <a:gd name="T42" fmla="*/ 4 w 114"/>
                <a:gd name="T43" fmla="*/ 36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732">
                  <a:moveTo>
                    <a:pt x="4" y="360"/>
                  </a:moveTo>
                  <a:cubicBezTo>
                    <a:pt x="10" y="336"/>
                    <a:pt x="18" y="313"/>
                    <a:pt x="25" y="290"/>
                  </a:cubicBezTo>
                  <a:cubicBezTo>
                    <a:pt x="39" y="242"/>
                    <a:pt x="54" y="195"/>
                    <a:pt x="68" y="147"/>
                  </a:cubicBezTo>
                  <a:cubicBezTo>
                    <a:pt x="75" y="123"/>
                    <a:pt x="83" y="100"/>
                    <a:pt x="90" y="76"/>
                  </a:cubicBezTo>
                  <a:cubicBezTo>
                    <a:pt x="94" y="64"/>
                    <a:pt x="97" y="52"/>
                    <a:pt x="101" y="40"/>
                  </a:cubicBezTo>
                  <a:cubicBezTo>
                    <a:pt x="105" y="28"/>
                    <a:pt x="109" y="17"/>
                    <a:pt x="112" y="5"/>
                  </a:cubicBezTo>
                  <a:cubicBezTo>
                    <a:pt x="114" y="0"/>
                    <a:pt x="114" y="3"/>
                    <a:pt x="113" y="9"/>
                  </a:cubicBezTo>
                  <a:cubicBezTo>
                    <a:pt x="109" y="21"/>
                    <a:pt x="106" y="33"/>
                    <a:pt x="102" y="46"/>
                  </a:cubicBezTo>
                  <a:cubicBezTo>
                    <a:pt x="95" y="70"/>
                    <a:pt x="88" y="94"/>
                    <a:pt x="81" y="118"/>
                  </a:cubicBezTo>
                  <a:cubicBezTo>
                    <a:pt x="66" y="167"/>
                    <a:pt x="52" y="215"/>
                    <a:pt x="37" y="263"/>
                  </a:cubicBezTo>
                  <a:cubicBezTo>
                    <a:pt x="30" y="288"/>
                    <a:pt x="23" y="312"/>
                    <a:pt x="15" y="336"/>
                  </a:cubicBezTo>
                  <a:cubicBezTo>
                    <a:pt x="12" y="347"/>
                    <a:pt x="9" y="359"/>
                    <a:pt x="7" y="371"/>
                  </a:cubicBezTo>
                  <a:cubicBezTo>
                    <a:pt x="4" y="383"/>
                    <a:pt x="4" y="396"/>
                    <a:pt x="5" y="409"/>
                  </a:cubicBezTo>
                  <a:cubicBezTo>
                    <a:pt x="7" y="434"/>
                    <a:pt x="10" y="459"/>
                    <a:pt x="12" y="484"/>
                  </a:cubicBezTo>
                  <a:cubicBezTo>
                    <a:pt x="14" y="509"/>
                    <a:pt x="17" y="535"/>
                    <a:pt x="19" y="560"/>
                  </a:cubicBezTo>
                  <a:cubicBezTo>
                    <a:pt x="24" y="610"/>
                    <a:pt x="28" y="660"/>
                    <a:pt x="33" y="711"/>
                  </a:cubicBezTo>
                  <a:cubicBezTo>
                    <a:pt x="33" y="717"/>
                    <a:pt x="34" y="723"/>
                    <a:pt x="34" y="730"/>
                  </a:cubicBezTo>
                  <a:cubicBezTo>
                    <a:pt x="35" y="732"/>
                    <a:pt x="31" y="732"/>
                    <a:pt x="31" y="730"/>
                  </a:cubicBezTo>
                  <a:cubicBezTo>
                    <a:pt x="26" y="680"/>
                    <a:pt x="22" y="630"/>
                    <a:pt x="17" y="580"/>
                  </a:cubicBezTo>
                  <a:cubicBezTo>
                    <a:pt x="12" y="531"/>
                    <a:pt x="8" y="481"/>
                    <a:pt x="3" y="432"/>
                  </a:cubicBezTo>
                  <a:cubicBezTo>
                    <a:pt x="2" y="420"/>
                    <a:pt x="0" y="407"/>
                    <a:pt x="0" y="395"/>
                  </a:cubicBezTo>
                  <a:cubicBezTo>
                    <a:pt x="0" y="383"/>
                    <a:pt x="2" y="372"/>
                    <a:pt x="4" y="36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8" name="Freeform 149">
              <a:extLst>
                <a:ext uri="{FF2B5EF4-FFF2-40B4-BE49-F238E27FC236}">
                  <a16:creationId xmlns:a16="http://schemas.microsoft.com/office/drawing/2014/main" xmlns="" id="{83122B47-D397-4790-AA14-9E1675FA1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1795"/>
              <a:ext cx="295" cy="755"/>
            </a:xfrm>
            <a:custGeom>
              <a:avLst/>
              <a:gdLst>
                <a:gd name="T0" fmla="*/ 0 w 124"/>
                <a:gd name="T1" fmla="*/ 0 h 318"/>
                <a:gd name="T2" fmla="*/ 42 w 124"/>
                <a:gd name="T3" fmla="*/ 318 h 318"/>
                <a:gd name="T4" fmla="*/ 124 w 124"/>
                <a:gd name="T5" fmla="*/ 0 h 318"/>
                <a:gd name="T6" fmla="*/ 0 w 124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318">
                  <a:moveTo>
                    <a:pt x="0" y="0"/>
                  </a:moveTo>
                  <a:cubicBezTo>
                    <a:pt x="10" y="75"/>
                    <a:pt x="28" y="216"/>
                    <a:pt x="42" y="318"/>
                  </a:cubicBezTo>
                  <a:cubicBezTo>
                    <a:pt x="73" y="195"/>
                    <a:pt x="124" y="0"/>
                    <a:pt x="12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39" name="Freeform 150">
              <a:extLst>
                <a:ext uri="{FF2B5EF4-FFF2-40B4-BE49-F238E27FC236}">
                  <a16:creationId xmlns:a16="http://schemas.microsoft.com/office/drawing/2014/main" xmlns="" id="{B2445590-2D1C-4761-9612-7CA87AC0A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369"/>
              <a:ext cx="617" cy="554"/>
            </a:xfrm>
            <a:custGeom>
              <a:avLst/>
              <a:gdLst>
                <a:gd name="T0" fmla="*/ 8 w 260"/>
                <a:gd name="T1" fmla="*/ 230 h 233"/>
                <a:gd name="T2" fmla="*/ 254 w 260"/>
                <a:gd name="T3" fmla="*/ 225 h 233"/>
                <a:gd name="T4" fmla="*/ 259 w 260"/>
                <a:gd name="T5" fmla="*/ 149 h 233"/>
                <a:gd name="T6" fmla="*/ 259 w 260"/>
                <a:gd name="T7" fmla="*/ 148 h 233"/>
                <a:gd name="T8" fmla="*/ 260 w 260"/>
                <a:gd name="T9" fmla="*/ 123 h 233"/>
                <a:gd name="T10" fmla="*/ 260 w 260"/>
                <a:gd name="T11" fmla="*/ 119 h 233"/>
                <a:gd name="T12" fmla="*/ 256 w 260"/>
                <a:gd name="T13" fmla="*/ 0 h 233"/>
                <a:gd name="T14" fmla="*/ 106 w 260"/>
                <a:gd name="T15" fmla="*/ 1 h 233"/>
                <a:gd name="T16" fmla="*/ 111 w 260"/>
                <a:gd name="T17" fmla="*/ 119 h 233"/>
                <a:gd name="T18" fmla="*/ 111 w 260"/>
                <a:gd name="T19" fmla="*/ 124 h 233"/>
                <a:gd name="T20" fmla="*/ 112 w 260"/>
                <a:gd name="T21" fmla="*/ 148 h 233"/>
                <a:gd name="T22" fmla="*/ 112 w 260"/>
                <a:gd name="T23" fmla="*/ 150 h 233"/>
                <a:gd name="T24" fmla="*/ 15 w 260"/>
                <a:gd name="T25" fmla="*/ 198 h 233"/>
                <a:gd name="T26" fmla="*/ 8 w 260"/>
                <a:gd name="T27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0" h="233">
                  <a:moveTo>
                    <a:pt x="8" y="230"/>
                  </a:moveTo>
                  <a:cubicBezTo>
                    <a:pt x="16" y="233"/>
                    <a:pt x="245" y="231"/>
                    <a:pt x="254" y="225"/>
                  </a:cubicBezTo>
                  <a:cubicBezTo>
                    <a:pt x="257" y="223"/>
                    <a:pt x="259" y="190"/>
                    <a:pt x="259" y="149"/>
                  </a:cubicBezTo>
                  <a:cubicBezTo>
                    <a:pt x="259" y="149"/>
                    <a:pt x="259" y="149"/>
                    <a:pt x="259" y="148"/>
                  </a:cubicBezTo>
                  <a:cubicBezTo>
                    <a:pt x="260" y="140"/>
                    <a:pt x="260" y="131"/>
                    <a:pt x="260" y="123"/>
                  </a:cubicBezTo>
                  <a:cubicBezTo>
                    <a:pt x="260" y="121"/>
                    <a:pt x="260" y="120"/>
                    <a:pt x="260" y="119"/>
                  </a:cubicBezTo>
                  <a:cubicBezTo>
                    <a:pt x="260" y="61"/>
                    <a:pt x="256" y="0"/>
                    <a:pt x="256" y="0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2" y="148"/>
                    <a:pt x="112" y="148"/>
                    <a:pt x="112" y="148"/>
                  </a:cubicBezTo>
                  <a:cubicBezTo>
                    <a:pt x="112" y="150"/>
                    <a:pt x="112" y="150"/>
                    <a:pt x="112" y="150"/>
                  </a:cubicBezTo>
                  <a:cubicBezTo>
                    <a:pt x="112" y="150"/>
                    <a:pt x="24" y="190"/>
                    <a:pt x="15" y="198"/>
                  </a:cubicBezTo>
                  <a:cubicBezTo>
                    <a:pt x="7" y="205"/>
                    <a:pt x="0" y="228"/>
                    <a:pt x="8" y="230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0" name="Freeform 151">
              <a:extLst>
                <a:ext uri="{FF2B5EF4-FFF2-40B4-BE49-F238E27FC236}">
                  <a16:creationId xmlns:a16="http://schemas.microsoft.com/office/drawing/2014/main" xmlns="" id="{5C3F4E53-6849-455E-934F-77A4F5D11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652"/>
              <a:ext cx="617" cy="271"/>
            </a:xfrm>
            <a:custGeom>
              <a:avLst/>
              <a:gdLst>
                <a:gd name="T0" fmla="*/ 8 w 260"/>
                <a:gd name="T1" fmla="*/ 111 h 114"/>
                <a:gd name="T2" fmla="*/ 254 w 260"/>
                <a:gd name="T3" fmla="*/ 106 h 114"/>
                <a:gd name="T4" fmla="*/ 259 w 260"/>
                <a:gd name="T5" fmla="*/ 30 h 114"/>
                <a:gd name="T6" fmla="*/ 259 w 260"/>
                <a:gd name="T7" fmla="*/ 29 h 114"/>
                <a:gd name="T8" fmla="*/ 260 w 260"/>
                <a:gd name="T9" fmla="*/ 4 h 114"/>
                <a:gd name="T10" fmla="*/ 260 w 260"/>
                <a:gd name="T11" fmla="*/ 0 h 114"/>
                <a:gd name="T12" fmla="*/ 111 w 260"/>
                <a:gd name="T13" fmla="*/ 0 h 114"/>
                <a:gd name="T14" fmla="*/ 111 w 260"/>
                <a:gd name="T15" fmla="*/ 5 h 114"/>
                <a:gd name="T16" fmla="*/ 112 w 260"/>
                <a:gd name="T17" fmla="*/ 29 h 114"/>
                <a:gd name="T18" fmla="*/ 112 w 260"/>
                <a:gd name="T19" fmla="*/ 31 h 114"/>
                <a:gd name="T20" fmla="*/ 15 w 260"/>
                <a:gd name="T21" fmla="*/ 79 h 114"/>
                <a:gd name="T22" fmla="*/ 8 w 260"/>
                <a:gd name="T23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0" h="114">
                  <a:moveTo>
                    <a:pt x="8" y="111"/>
                  </a:moveTo>
                  <a:cubicBezTo>
                    <a:pt x="16" y="114"/>
                    <a:pt x="245" y="112"/>
                    <a:pt x="254" y="106"/>
                  </a:cubicBezTo>
                  <a:cubicBezTo>
                    <a:pt x="257" y="104"/>
                    <a:pt x="259" y="71"/>
                    <a:pt x="259" y="30"/>
                  </a:cubicBezTo>
                  <a:cubicBezTo>
                    <a:pt x="259" y="30"/>
                    <a:pt x="259" y="30"/>
                    <a:pt x="259" y="29"/>
                  </a:cubicBezTo>
                  <a:cubicBezTo>
                    <a:pt x="260" y="21"/>
                    <a:pt x="260" y="12"/>
                    <a:pt x="260" y="4"/>
                  </a:cubicBezTo>
                  <a:cubicBezTo>
                    <a:pt x="260" y="2"/>
                    <a:pt x="260" y="1"/>
                    <a:pt x="26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2" y="31"/>
                    <a:pt x="24" y="71"/>
                    <a:pt x="15" y="79"/>
                  </a:cubicBezTo>
                  <a:cubicBezTo>
                    <a:pt x="7" y="86"/>
                    <a:pt x="0" y="109"/>
                    <a:pt x="8" y="11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1" name="Freeform 152">
              <a:extLst>
                <a:ext uri="{FF2B5EF4-FFF2-40B4-BE49-F238E27FC236}">
                  <a16:creationId xmlns:a16="http://schemas.microsoft.com/office/drawing/2014/main" xmlns="" id="{0BC1C9CA-913F-453E-8A38-E0253C538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721"/>
              <a:ext cx="615" cy="202"/>
            </a:xfrm>
            <a:custGeom>
              <a:avLst/>
              <a:gdLst>
                <a:gd name="T0" fmla="*/ 8 w 259"/>
                <a:gd name="T1" fmla="*/ 82 h 85"/>
                <a:gd name="T2" fmla="*/ 254 w 259"/>
                <a:gd name="T3" fmla="*/ 77 h 85"/>
                <a:gd name="T4" fmla="*/ 259 w 259"/>
                <a:gd name="T5" fmla="*/ 1 h 85"/>
                <a:gd name="T6" fmla="*/ 259 w 259"/>
                <a:gd name="T7" fmla="*/ 0 h 85"/>
                <a:gd name="T8" fmla="*/ 112 w 259"/>
                <a:gd name="T9" fmla="*/ 0 h 85"/>
                <a:gd name="T10" fmla="*/ 112 w 259"/>
                <a:gd name="T11" fmla="*/ 2 h 85"/>
                <a:gd name="T12" fmla="*/ 15 w 259"/>
                <a:gd name="T13" fmla="*/ 50 h 85"/>
                <a:gd name="T14" fmla="*/ 8 w 259"/>
                <a:gd name="T15" fmla="*/ 8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9" h="85">
                  <a:moveTo>
                    <a:pt x="8" y="82"/>
                  </a:moveTo>
                  <a:cubicBezTo>
                    <a:pt x="16" y="85"/>
                    <a:pt x="245" y="83"/>
                    <a:pt x="254" y="77"/>
                  </a:cubicBezTo>
                  <a:cubicBezTo>
                    <a:pt x="257" y="75"/>
                    <a:pt x="259" y="42"/>
                    <a:pt x="259" y="1"/>
                  </a:cubicBezTo>
                  <a:cubicBezTo>
                    <a:pt x="259" y="1"/>
                    <a:pt x="259" y="1"/>
                    <a:pt x="25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24" y="42"/>
                    <a:pt x="15" y="50"/>
                  </a:cubicBezTo>
                  <a:cubicBezTo>
                    <a:pt x="7" y="57"/>
                    <a:pt x="0" y="80"/>
                    <a:pt x="8" y="82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2" name="Freeform 153">
              <a:extLst>
                <a:ext uri="{FF2B5EF4-FFF2-40B4-BE49-F238E27FC236}">
                  <a16:creationId xmlns:a16="http://schemas.microsoft.com/office/drawing/2014/main" xmlns="" id="{12D4AE3C-B4F4-4AAB-8CE9-3D38EE34B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2" y="3889"/>
              <a:ext cx="554" cy="10"/>
            </a:xfrm>
            <a:custGeom>
              <a:avLst/>
              <a:gdLst>
                <a:gd name="T0" fmla="*/ 0 w 233"/>
                <a:gd name="T1" fmla="*/ 3 h 4"/>
                <a:gd name="T2" fmla="*/ 233 w 233"/>
                <a:gd name="T3" fmla="*/ 1 h 4"/>
                <a:gd name="T4" fmla="*/ 233 w 233"/>
                <a:gd name="T5" fmla="*/ 1 h 4"/>
                <a:gd name="T6" fmla="*/ 0 w 233"/>
                <a:gd name="T7" fmla="*/ 3 h 4"/>
                <a:gd name="T8" fmla="*/ 0 w 23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4">
                  <a:moveTo>
                    <a:pt x="0" y="3"/>
                  </a:moveTo>
                  <a:cubicBezTo>
                    <a:pt x="39" y="1"/>
                    <a:pt x="195" y="0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195" y="4"/>
                    <a:pt x="39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3" name="Freeform 154">
              <a:extLst>
                <a:ext uri="{FF2B5EF4-FFF2-40B4-BE49-F238E27FC236}">
                  <a16:creationId xmlns:a16="http://schemas.microsoft.com/office/drawing/2014/main" xmlns="" id="{26591AE2-3C32-417B-ADF5-580906ED6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" y="3714"/>
              <a:ext cx="111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3"/>
                    <a:pt x="47" y="13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31" y="10"/>
                    <a:pt x="17" y="7"/>
                    <a:pt x="1" y="5"/>
                  </a:cubicBezTo>
                  <a:cubicBezTo>
                    <a:pt x="0" y="5"/>
                    <a:pt x="0" y="4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4" name="Freeform 155">
              <a:extLst>
                <a:ext uri="{FF2B5EF4-FFF2-40B4-BE49-F238E27FC236}">
                  <a16:creationId xmlns:a16="http://schemas.microsoft.com/office/drawing/2014/main" xmlns="" id="{B7706376-0077-44B8-8AFF-56525CE91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" y="3730"/>
              <a:ext cx="111" cy="34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7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5" name="Freeform 156">
              <a:extLst>
                <a:ext uri="{FF2B5EF4-FFF2-40B4-BE49-F238E27FC236}">
                  <a16:creationId xmlns:a16="http://schemas.microsoft.com/office/drawing/2014/main" xmlns="" id="{FDF708DE-E593-4332-8CF4-9FC1B1C97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" y="3747"/>
              <a:ext cx="111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7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6" name="Freeform 157">
              <a:extLst>
                <a:ext uri="{FF2B5EF4-FFF2-40B4-BE49-F238E27FC236}">
                  <a16:creationId xmlns:a16="http://schemas.microsoft.com/office/drawing/2014/main" xmlns="" id="{93E4EA40-0B69-401F-BD9D-531D2194A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" y="1795"/>
              <a:ext cx="572" cy="1928"/>
            </a:xfrm>
            <a:custGeom>
              <a:avLst/>
              <a:gdLst>
                <a:gd name="T0" fmla="*/ 0 w 241"/>
                <a:gd name="T1" fmla="*/ 0 h 812"/>
                <a:gd name="T2" fmla="*/ 18 w 241"/>
                <a:gd name="T3" fmla="*/ 120 h 812"/>
                <a:gd name="T4" fmla="*/ 22 w 241"/>
                <a:gd name="T5" fmla="*/ 133 h 812"/>
                <a:gd name="T6" fmla="*/ 63 w 241"/>
                <a:gd name="T7" fmla="*/ 154 h 812"/>
                <a:gd name="T8" fmla="*/ 66 w 241"/>
                <a:gd name="T9" fmla="*/ 268 h 812"/>
                <a:gd name="T10" fmla="*/ 69 w 241"/>
                <a:gd name="T11" fmla="*/ 425 h 812"/>
                <a:gd name="T12" fmla="*/ 77 w 241"/>
                <a:gd name="T13" fmla="*/ 811 h 812"/>
                <a:gd name="T14" fmla="*/ 241 w 241"/>
                <a:gd name="T15" fmla="*/ 812 h 812"/>
                <a:gd name="T16" fmla="*/ 212 w 241"/>
                <a:gd name="T17" fmla="*/ 425 h 812"/>
                <a:gd name="T18" fmla="*/ 197 w 241"/>
                <a:gd name="T19" fmla="*/ 123 h 812"/>
                <a:gd name="T20" fmla="*/ 190 w 241"/>
                <a:gd name="T21" fmla="*/ 0 h 812"/>
                <a:gd name="T22" fmla="*/ 0 w 241"/>
                <a:gd name="T2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1" h="812">
                  <a:moveTo>
                    <a:pt x="0" y="0"/>
                  </a:moveTo>
                  <a:cubicBezTo>
                    <a:pt x="0" y="0"/>
                    <a:pt x="3" y="67"/>
                    <a:pt x="18" y="120"/>
                  </a:cubicBezTo>
                  <a:cubicBezTo>
                    <a:pt x="20" y="125"/>
                    <a:pt x="21" y="129"/>
                    <a:pt x="22" y="133"/>
                  </a:cubicBezTo>
                  <a:cubicBezTo>
                    <a:pt x="22" y="133"/>
                    <a:pt x="38" y="139"/>
                    <a:pt x="63" y="154"/>
                  </a:cubicBezTo>
                  <a:cubicBezTo>
                    <a:pt x="63" y="154"/>
                    <a:pt x="64" y="207"/>
                    <a:pt x="66" y="268"/>
                  </a:cubicBezTo>
                  <a:cubicBezTo>
                    <a:pt x="68" y="335"/>
                    <a:pt x="69" y="409"/>
                    <a:pt x="69" y="425"/>
                  </a:cubicBezTo>
                  <a:cubicBezTo>
                    <a:pt x="68" y="485"/>
                    <a:pt x="77" y="811"/>
                    <a:pt x="77" y="811"/>
                  </a:cubicBezTo>
                  <a:cubicBezTo>
                    <a:pt x="241" y="812"/>
                    <a:pt x="241" y="812"/>
                    <a:pt x="241" y="812"/>
                  </a:cubicBezTo>
                  <a:cubicBezTo>
                    <a:pt x="241" y="812"/>
                    <a:pt x="212" y="447"/>
                    <a:pt x="212" y="425"/>
                  </a:cubicBezTo>
                  <a:cubicBezTo>
                    <a:pt x="212" y="391"/>
                    <a:pt x="204" y="236"/>
                    <a:pt x="197" y="123"/>
                  </a:cubicBezTo>
                  <a:cubicBezTo>
                    <a:pt x="194" y="54"/>
                    <a:pt x="190" y="0"/>
                    <a:pt x="1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7" name="Freeform 158">
              <a:extLst>
                <a:ext uri="{FF2B5EF4-FFF2-40B4-BE49-F238E27FC236}">
                  <a16:creationId xmlns:a16="http://schemas.microsoft.com/office/drawing/2014/main" xmlns="" id="{AE8D5716-3B1D-400A-9869-C7CDA1111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3650"/>
              <a:ext cx="351" cy="9"/>
            </a:xfrm>
            <a:custGeom>
              <a:avLst/>
              <a:gdLst>
                <a:gd name="T0" fmla="*/ 0 w 148"/>
                <a:gd name="T1" fmla="*/ 1 h 4"/>
                <a:gd name="T2" fmla="*/ 43 w 148"/>
                <a:gd name="T3" fmla="*/ 0 h 4"/>
                <a:gd name="T4" fmla="*/ 148 w 148"/>
                <a:gd name="T5" fmla="*/ 2 h 4"/>
                <a:gd name="T6" fmla="*/ 148 w 148"/>
                <a:gd name="T7" fmla="*/ 2 h 4"/>
                <a:gd name="T8" fmla="*/ 43 w 148"/>
                <a:gd name="T9" fmla="*/ 3 h 4"/>
                <a:gd name="T10" fmla="*/ 0 w 148"/>
                <a:gd name="T11" fmla="*/ 2 h 4"/>
                <a:gd name="T12" fmla="*/ 0 w 148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4">
                  <a:moveTo>
                    <a:pt x="0" y="1"/>
                  </a:moveTo>
                  <a:cubicBezTo>
                    <a:pt x="25" y="0"/>
                    <a:pt x="18" y="0"/>
                    <a:pt x="43" y="0"/>
                  </a:cubicBezTo>
                  <a:cubicBezTo>
                    <a:pt x="56" y="0"/>
                    <a:pt x="137" y="0"/>
                    <a:pt x="148" y="2"/>
                  </a:cubicBezTo>
                  <a:cubicBezTo>
                    <a:pt x="148" y="2"/>
                    <a:pt x="148" y="2"/>
                    <a:pt x="148" y="2"/>
                  </a:cubicBezTo>
                  <a:cubicBezTo>
                    <a:pt x="137" y="4"/>
                    <a:pt x="56" y="3"/>
                    <a:pt x="43" y="3"/>
                  </a:cubicBezTo>
                  <a:cubicBezTo>
                    <a:pt x="18" y="2"/>
                    <a:pt x="25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8" name="Freeform 159">
              <a:extLst>
                <a:ext uri="{FF2B5EF4-FFF2-40B4-BE49-F238E27FC236}">
                  <a16:creationId xmlns:a16="http://schemas.microsoft.com/office/drawing/2014/main" xmlns="" id="{49184CFF-6247-4F86-AE19-C316BB5BB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1850"/>
              <a:ext cx="102" cy="1731"/>
            </a:xfrm>
            <a:custGeom>
              <a:avLst/>
              <a:gdLst>
                <a:gd name="T0" fmla="*/ 1 w 43"/>
                <a:gd name="T1" fmla="*/ 1 h 729"/>
                <a:gd name="T2" fmla="*/ 12 w 43"/>
                <a:gd name="T3" fmla="*/ 277 h 729"/>
                <a:gd name="T4" fmla="*/ 29 w 43"/>
                <a:gd name="T5" fmla="*/ 554 h 729"/>
                <a:gd name="T6" fmla="*/ 43 w 43"/>
                <a:gd name="T7" fmla="*/ 729 h 729"/>
                <a:gd name="T8" fmla="*/ 43 w 43"/>
                <a:gd name="T9" fmla="*/ 729 h 729"/>
                <a:gd name="T10" fmla="*/ 18 w 43"/>
                <a:gd name="T11" fmla="*/ 433 h 729"/>
                <a:gd name="T12" fmla="*/ 5 w 43"/>
                <a:gd name="T13" fmla="*/ 157 h 729"/>
                <a:gd name="T14" fmla="*/ 0 w 43"/>
                <a:gd name="T15" fmla="*/ 1 h 729"/>
                <a:gd name="T16" fmla="*/ 1 w 43"/>
                <a:gd name="T17" fmla="*/ 1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729">
                  <a:moveTo>
                    <a:pt x="1" y="1"/>
                  </a:moveTo>
                  <a:cubicBezTo>
                    <a:pt x="4" y="93"/>
                    <a:pt x="8" y="185"/>
                    <a:pt x="12" y="277"/>
                  </a:cubicBezTo>
                  <a:cubicBezTo>
                    <a:pt x="16" y="369"/>
                    <a:pt x="22" y="462"/>
                    <a:pt x="29" y="554"/>
                  </a:cubicBezTo>
                  <a:cubicBezTo>
                    <a:pt x="34" y="605"/>
                    <a:pt x="38" y="678"/>
                    <a:pt x="43" y="729"/>
                  </a:cubicBezTo>
                  <a:cubicBezTo>
                    <a:pt x="43" y="729"/>
                    <a:pt x="43" y="729"/>
                    <a:pt x="43" y="729"/>
                  </a:cubicBezTo>
                  <a:cubicBezTo>
                    <a:pt x="31" y="638"/>
                    <a:pt x="24" y="525"/>
                    <a:pt x="18" y="433"/>
                  </a:cubicBezTo>
                  <a:cubicBezTo>
                    <a:pt x="12" y="341"/>
                    <a:pt x="8" y="249"/>
                    <a:pt x="5" y="157"/>
                  </a:cubicBezTo>
                  <a:cubicBezTo>
                    <a:pt x="3" y="105"/>
                    <a:pt x="2" y="53"/>
                    <a:pt x="0" y="1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9" name="Freeform 160">
              <a:extLst>
                <a:ext uri="{FF2B5EF4-FFF2-40B4-BE49-F238E27FC236}">
                  <a16:creationId xmlns:a16="http://schemas.microsoft.com/office/drawing/2014/main" xmlns="" id="{0CD9089A-F3A7-487A-8BAE-5933CFFF6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3" y="2099"/>
              <a:ext cx="119" cy="64"/>
            </a:xfrm>
            <a:custGeom>
              <a:avLst/>
              <a:gdLst>
                <a:gd name="T0" fmla="*/ 2 w 50"/>
                <a:gd name="T1" fmla="*/ 1 h 27"/>
                <a:gd name="T2" fmla="*/ 50 w 50"/>
                <a:gd name="T3" fmla="*/ 26 h 27"/>
                <a:gd name="T4" fmla="*/ 49 w 50"/>
                <a:gd name="T5" fmla="*/ 27 h 27"/>
                <a:gd name="T6" fmla="*/ 2 w 50"/>
                <a:gd name="T7" fmla="*/ 3 h 27"/>
                <a:gd name="T8" fmla="*/ 2 w 50"/>
                <a:gd name="T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7">
                  <a:moveTo>
                    <a:pt x="2" y="1"/>
                  </a:moveTo>
                  <a:cubicBezTo>
                    <a:pt x="19" y="8"/>
                    <a:pt x="35" y="16"/>
                    <a:pt x="50" y="26"/>
                  </a:cubicBezTo>
                  <a:cubicBezTo>
                    <a:pt x="50" y="26"/>
                    <a:pt x="50" y="27"/>
                    <a:pt x="49" y="27"/>
                  </a:cubicBezTo>
                  <a:cubicBezTo>
                    <a:pt x="33" y="19"/>
                    <a:pt x="17" y="11"/>
                    <a:pt x="2" y="3"/>
                  </a:cubicBezTo>
                  <a:cubicBezTo>
                    <a:pt x="0" y="2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0" name="Freeform 161">
              <a:extLst>
                <a:ext uri="{FF2B5EF4-FFF2-40B4-BE49-F238E27FC236}">
                  <a16:creationId xmlns:a16="http://schemas.microsoft.com/office/drawing/2014/main" xmlns="" id="{F8289CA4-1E07-47B2-ADF8-7EB2C840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1966"/>
              <a:ext cx="73" cy="171"/>
            </a:xfrm>
            <a:custGeom>
              <a:avLst/>
              <a:gdLst>
                <a:gd name="T0" fmla="*/ 1 w 31"/>
                <a:gd name="T1" fmla="*/ 0 h 72"/>
                <a:gd name="T2" fmla="*/ 4 w 31"/>
                <a:gd name="T3" fmla="*/ 18 h 72"/>
                <a:gd name="T4" fmla="*/ 8 w 31"/>
                <a:gd name="T5" fmla="*/ 34 h 72"/>
                <a:gd name="T6" fmla="*/ 15 w 31"/>
                <a:gd name="T7" fmla="*/ 48 h 72"/>
                <a:gd name="T8" fmla="*/ 22 w 31"/>
                <a:gd name="T9" fmla="*/ 54 h 72"/>
                <a:gd name="T10" fmla="*/ 26 w 31"/>
                <a:gd name="T11" fmla="*/ 56 h 72"/>
                <a:gd name="T12" fmla="*/ 26 w 31"/>
                <a:gd name="T13" fmla="*/ 54 h 72"/>
                <a:gd name="T14" fmla="*/ 25 w 31"/>
                <a:gd name="T15" fmla="*/ 47 h 72"/>
                <a:gd name="T16" fmla="*/ 22 w 31"/>
                <a:gd name="T17" fmla="*/ 33 h 72"/>
                <a:gd name="T18" fmla="*/ 17 w 31"/>
                <a:gd name="T19" fmla="*/ 3 h 72"/>
                <a:gd name="T20" fmla="*/ 18 w 31"/>
                <a:gd name="T21" fmla="*/ 3 h 72"/>
                <a:gd name="T22" fmla="*/ 25 w 31"/>
                <a:gd name="T23" fmla="*/ 32 h 72"/>
                <a:gd name="T24" fmla="*/ 30 w 31"/>
                <a:gd name="T25" fmla="*/ 62 h 72"/>
                <a:gd name="T26" fmla="*/ 30 w 31"/>
                <a:gd name="T27" fmla="*/ 67 h 72"/>
                <a:gd name="T28" fmla="*/ 30 w 31"/>
                <a:gd name="T29" fmla="*/ 72 h 72"/>
                <a:gd name="T30" fmla="*/ 30 w 31"/>
                <a:gd name="T31" fmla="*/ 72 h 72"/>
                <a:gd name="T32" fmla="*/ 30 w 31"/>
                <a:gd name="T33" fmla="*/ 72 h 72"/>
                <a:gd name="T34" fmla="*/ 28 w 31"/>
                <a:gd name="T35" fmla="*/ 67 h 72"/>
                <a:gd name="T36" fmla="*/ 27 w 31"/>
                <a:gd name="T37" fmla="*/ 62 h 72"/>
                <a:gd name="T38" fmla="*/ 27 w 31"/>
                <a:gd name="T39" fmla="*/ 60 h 72"/>
                <a:gd name="T40" fmla="*/ 20 w 31"/>
                <a:gd name="T41" fmla="*/ 55 h 72"/>
                <a:gd name="T42" fmla="*/ 13 w 31"/>
                <a:gd name="T43" fmla="*/ 50 h 72"/>
                <a:gd name="T44" fmla="*/ 5 w 31"/>
                <a:gd name="T45" fmla="*/ 37 h 72"/>
                <a:gd name="T46" fmla="*/ 2 w 31"/>
                <a:gd name="T47" fmla="*/ 20 h 72"/>
                <a:gd name="T48" fmla="*/ 0 w 31"/>
                <a:gd name="T49" fmla="*/ 0 h 72"/>
                <a:gd name="T50" fmla="*/ 1 w 31"/>
                <a:gd name="T5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72">
                  <a:moveTo>
                    <a:pt x="1" y="0"/>
                  </a:moveTo>
                  <a:cubicBezTo>
                    <a:pt x="2" y="6"/>
                    <a:pt x="3" y="12"/>
                    <a:pt x="4" y="18"/>
                  </a:cubicBezTo>
                  <a:cubicBezTo>
                    <a:pt x="6" y="23"/>
                    <a:pt x="6" y="29"/>
                    <a:pt x="8" y="34"/>
                  </a:cubicBezTo>
                  <a:cubicBezTo>
                    <a:pt x="9" y="39"/>
                    <a:pt x="11" y="44"/>
                    <a:pt x="15" y="48"/>
                  </a:cubicBezTo>
                  <a:cubicBezTo>
                    <a:pt x="18" y="50"/>
                    <a:pt x="20" y="52"/>
                    <a:pt x="22" y="54"/>
                  </a:cubicBezTo>
                  <a:cubicBezTo>
                    <a:pt x="24" y="55"/>
                    <a:pt x="25" y="55"/>
                    <a:pt x="26" y="56"/>
                  </a:cubicBezTo>
                  <a:cubicBezTo>
                    <a:pt x="26" y="56"/>
                    <a:pt x="26" y="55"/>
                    <a:pt x="26" y="54"/>
                  </a:cubicBezTo>
                  <a:cubicBezTo>
                    <a:pt x="25" y="52"/>
                    <a:pt x="25" y="50"/>
                    <a:pt x="25" y="47"/>
                  </a:cubicBezTo>
                  <a:cubicBezTo>
                    <a:pt x="24" y="43"/>
                    <a:pt x="23" y="38"/>
                    <a:pt x="22" y="33"/>
                  </a:cubicBezTo>
                  <a:cubicBezTo>
                    <a:pt x="21" y="23"/>
                    <a:pt x="19" y="13"/>
                    <a:pt x="17" y="3"/>
                  </a:cubicBezTo>
                  <a:cubicBezTo>
                    <a:pt x="17" y="3"/>
                    <a:pt x="18" y="3"/>
                    <a:pt x="18" y="3"/>
                  </a:cubicBezTo>
                  <a:cubicBezTo>
                    <a:pt x="20" y="13"/>
                    <a:pt x="23" y="22"/>
                    <a:pt x="25" y="32"/>
                  </a:cubicBezTo>
                  <a:cubicBezTo>
                    <a:pt x="26" y="37"/>
                    <a:pt x="30" y="60"/>
                    <a:pt x="30" y="62"/>
                  </a:cubicBezTo>
                  <a:cubicBezTo>
                    <a:pt x="30" y="63"/>
                    <a:pt x="30" y="65"/>
                    <a:pt x="30" y="67"/>
                  </a:cubicBezTo>
                  <a:cubicBezTo>
                    <a:pt x="30" y="68"/>
                    <a:pt x="31" y="70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9" y="71"/>
                    <a:pt x="29" y="69"/>
                    <a:pt x="28" y="67"/>
                  </a:cubicBezTo>
                  <a:cubicBezTo>
                    <a:pt x="28" y="65"/>
                    <a:pt x="27" y="64"/>
                    <a:pt x="27" y="62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4" y="59"/>
                    <a:pt x="22" y="57"/>
                    <a:pt x="20" y="55"/>
                  </a:cubicBezTo>
                  <a:cubicBezTo>
                    <a:pt x="18" y="54"/>
                    <a:pt x="15" y="52"/>
                    <a:pt x="13" y="50"/>
                  </a:cubicBezTo>
                  <a:cubicBezTo>
                    <a:pt x="9" y="47"/>
                    <a:pt x="6" y="42"/>
                    <a:pt x="5" y="37"/>
                  </a:cubicBezTo>
                  <a:cubicBezTo>
                    <a:pt x="3" y="32"/>
                    <a:pt x="3" y="26"/>
                    <a:pt x="2" y="20"/>
                  </a:cubicBezTo>
                  <a:cubicBezTo>
                    <a:pt x="1" y="14"/>
                    <a:pt x="1" y="7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1" name="Freeform 162">
              <a:extLst>
                <a:ext uri="{FF2B5EF4-FFF2-40B4-BE49-F238E27FC236}">
                  <a16:creationId xmlns:a16="http://schemas.microsoft.com/office/drawing/2014/main" xmlns="" id="{3B11C7CC-EF2B-485D-8316-8D1740E63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" y="1256"/>
              <a:ext cx="769" cy="423"/>
            </a:xfrm>
            <a:custGeom>
              <a:avLst/>
              <a:gdLst>
                <a:gd name="T0" fmla="*/ 311 w 324"/>
                <a:gd name="T1" fmla="*/ 55 h 178"/>
                <a:gd name="T2" fmla="*/ 156 w 324"/>
                <a:gd name="T3" fmla="*/ 176 h 178"/>
                <a:gd name="T4" fmla="*/ 23 w 324"/>
                <a:gd name="T5" fmla="*/ 86 h 178"/>
                <a:gd name="T6" fmla="*/ 95 w 324"/>
                <a:gd name="T7" fmla="*/ 13 h 178"/>
                <a:gd name="T8" fmla="*/ 168 w 324"/>
                <a:gd name="T9" fmla="*/ 84 h 178"/>
                <a:gd name="T10" fmla="*/ 280 w 324"/>
                <a:gd name="T11" fmla="*/ 29 h 178"/>
                <a:gd name="T12" fmla="*/ 311 w 324"/>
                <a:gd name="T13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178">
                  <a:moveTo>
                    <a:pt x="311" y="55"/>
                  </a:moveTo>
                  <a:cubicBezTo>
                    <a:pt x="288" y="93"/>
                    <a:pt x="191" y="175"/>
                    <a:pt x="156" y="176"/>
                  </a:cubicBezTo>
                  <a:cubicBezTo>
                    <a:pt x="132" y="178"/>
                    <a:pt x="46" y="110"/>
                    <a:pt x="23" y="86"/>
                  </a:cubicBezTo>
                  <a:cubicBezTo>
                    <a:pt x="0" y="63"/>
                    <a:pt x="81" y="0"/>
                    <a:pt x="95" y="13"/>
                  </a:cubicBezTo>
                  <a:cubicBezTo>
                    <a:pt x="115" y="31"/>
                    <a:pt x="158" y="82"/>
                    <a:pt x="168" y="84"/>
                  </a:cubicBezTo>
                  <a:cubicBezTo>
                    <a:pt x="174" y="85"/>
                    <a:pt x="216" y="66"/>
                    <a:pt x="280" y="29"/>
                  </a:cubicBezTo>
                  <a:cubicBezTo>
                    <a:pt x="315" y="9"/>
                    <a:pt x="324" y="32"/>
                    <a:pt x="311" y="55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2" name="Freeform 163">
              <a:extLst>
                <a:ext uri="{FF2B5EF4-FFF2-40B4-BE49-F238E27FC236}">
                  <a16:creationId xmlns:a16="http://schemas.microsoft.com/office/drawing/2014/main" xmlns="" id="{EE6DEC2B-65E2-4BBC-BDA8-8720DA5CF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" y="1147"/>
              <a:ext cx="209" cy="183"/>
            </a:xfrm>
            <a:custGeom>
              <a:avLst/>
              <a:gdLst>
                <a:gd name="T0" fmla="*/ 82 w 88"/>
                <a:gd name="T1" fmla="*/ 23 h 77"/>
                <a:gd name="T2" fmla="*/ 37 w 88"/>
                <a:gd name="T3" fmla="*/ 3 h 77"/>
                <a:gd name="T4" fmla="*/ 2 w 88"/>
                <a:gd name="T5" fmla="*/ 25 h 77"/>
                <a:gd name="T6" fmla="*/ 17 w 88"/>
                <a:gd name="T7" fmla="*/ 74 h 77"/>
                <a:gd name="T8" fmla="*/ 30 w 88"/>
                <a:gd name="T9" fmla="*/ 42 h 77"/>
                <a:gd name="T10" fmla="*/ 35 w 88"/>
                <a:gd name="T11" fmla="*/ 36 h 77"/>
                <a:gd name="T12" fmla="*/ 88 w 88"/>
                <a:gd name="T13" fmla="*/ 72 h 77"/>
                <a:gd name="T14" fmla="*/ 82 w 88"/>
                <a:gd name="T15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77">
                  <a:moveTo>
                    <a:pt x="82" y="23"/>
                  </a:moveTo>
                  <a:cubicBezTo>
                    <a:pt x="68" y="15"/>
                    <a:pt x="53" y="5"/>
                    <a:pt x="37" y="3"/>
                  </a:cubicBezTo>
                  <a:cubicBezTo>
                    <a:pt x="20" y="0"/>
                    <a:pt x="3" y="19"/>
                    <a:pt x="2" y="25"/>
                  </a:cubicBezTo>
                  <a:cubicBezTo>
                    <a:pt x="1" y="32"/>
                    <a:pt x="0" y="71"/>
                    <a:pt x="17" y="74"/>
                  </a:cubicBezTo>
                  <a:cubicBezTo>
                    <a:pt x="33" y="77"/>
                    <a:pt x="28" y="46"/>
                    <a:pt x="30" y="42"/>
                  </a:cubicBezTo>
                  <a:cubicBezTo>
                    <a:pt x="31" y="39"/>
                    <a:pt x="32" y="35"/>
                    <a:pt x="35" y="36"/>
                  </a:cubicBezTo>
                  <a:cubicBezTo>
                    <a:pt x="38" y="37"/>
                    <a:pt x="88" y="72"/>
                    <a:pt x="88" y="72"/>
                  </a:cubicBezTo>
                  <a:lnTo>
                    <a:pt x="82" y="23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3" name="Freeform 164">
              <a:extLst>
                <a:ext uri="{FF2B5EF4-FFF2-40B4-BE49-F238E27FC236}">
                  <a16:creationId xmlns:a16="http://schemas.microsoft.com/office/drawing/2014/main" xmlns="" id="{F9530B56-A22A-4515-92F6-BE48F7AAF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4" y="1135"/>
              <a:ext cx="226" cy="183"/>
            </a:xfrm>
            <a:custGeom>
              <a:avLst/>
              <a:gdLst>
                <a:gd name="T0" fmla="*/ 95 w 95"/>
                <a:gd name="T1" fmla="*/ 30 h 77"/>
                <a:gd name="T2" fmla="*/ 37 w 95"/>
                <a:gd name="T3" fmla="*/ 2 h 77"/>
                <a:gd name="T4" fmla="*/ 2 w 95"/>
                <a:gd name="T5" fmla="*/ 25 h 77"/>
                <a:gd name="T6" fmla="*/ 17 w 95"/>
                <a:gd name="T7" fmla="*/ 74 h 77"/>
                <a:gd name="T8" fmla="*/ 29 w 95"/>
                <a:gd name="T9" fmla="*/ 42 h 77"/>
                <a:gd name="T10" fmla="*/ 35 w 95"/>
                <a:gd name="T11" fmla="*/ 35 h 77"/>
                <a:gd name="T12" fmla="*/ 88 w 95"/>
                <a:gd name="T13" fmla="*/ 71 h 77"/>
                <a:gd name="T14" fmla="*/ 95 w 95"/>
                <a:gd name="T15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77">
                  <a:moveTo>
                    <a:pt x="95" y="30"/>
                  </a:moveTo>
                  <a:cubicBezTo>
                    <a:pt x="94" y="30"/>
                    <a:pt x="53" y="5"/>
                    <a:pt x="37" y="2"/>
                  </a:cubicBezTo>
                  <a:cubicBezTo>
                    <a:pt x="20" y="0"/>
                    <a:pt x="3" y="19"/>
                    <a:pt x="2" y="25"/>
                  </a:cubicBezTo>
                  <a:cubicBezTo>
                    <a:pt x="1" y="31"/>
                    <a:pt x="0" y="71"/>
                    <a:pt x="17" y="74"/>
                  </a:cubicBezTo>
                  <a:cubicBezTo>
                    <a:pt x="33" y="77"/>
                    <a:pt x="28" y="45"/>
                    <a:pt x="29" y="42"/>
                  </a:cubicBezTo>
                  <a:cubicBezTo>
                    <a:pt x="31" y="39"/>
                    <a:pt x="32" y="35"/>
                    <a:pt x="35" y="35"/>
                  </a:cubicBezTo>
                  <a:cubicBezTo>
                    <a:pt x="38" y="36"/>
                    <a:pt x="88" y="71"/>
                    <a:pt x="88" y="71"/>
                  </a:cubicBezTo>
                  <a:lnTo>
                    <a:pt x="95" y="30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4" name="Freeform 165">
              <a:extLst>
                <a:ext uri="{FF2B5EF4-FFF2-40B4-BE49-F238E27FC236}">
                  <a16:creationId xmlns:a16="http://schemas.microsoft.com/office/drawing/2014/main" xmlns="" id="{B2343CE2-C686-4730-9F42-935070784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" y="1213"/>
              <a:ext cx="95" cy="95"/>
            </a:xfrm>
            <a:custGeom>
              <a:avLst/>
              <a:gdLst>
                <a:gd name="T0" fmla="*/ 0 w 40"/>
                <a:gd name="T1" fmla="*/ 40 h 40"/>
                <a:gd name="T2" fmla="*/ 4 w 40"/>
                <a:gd name="T3" fmla="*/ 31 h 40"/>
                <a:gd name="T4" fmla="*/ 5 w 40"/>
                <a:gd name="T5" fmla="*/ 20 h 40"/>
                <a:gd name="T6" fmla="*/ 5 w 40"/>
                <a:gd name="T7" fmla="*/ 11 h 40"/>
                <a:gd name="T8" fmla="*/ 9 w 40"/>
                <a:gd name="T9" fmla="*/ 2 h 40"/>
                <a:gd name="T10" fmla="*/ 14 w 40"/>
                <a:gd name="T11" fmla="*/ 3 h 40"/>
                <a:gd name="T12" fmla="*/ 23 w 40"/>
                <a:gd name="T13" fmla="*/ 8 h 40"/>
                <a:gd name="T14" fmla="*/ 31 w 40"/>
                <a:gd name="T15" fmla="*/ 15 h 40"/>
                <a:gd name="T16" fmla="*/ 40 w 40"/>
                <a:gd name="T17" fmla="*/ 21 h 40"/>
                <a:gd name="T18" fmla="*/ 39 w 40"/>
                <a:gd name="T19" fmla="*/ 22 h 40"/>
                <a:gd name="T20" fmla="*/ 32 w 40"/>
                <a:gd name="T21" fmla="*/ 17 h 40"/>
                <a:gd name="T22" fmla="*/ 23 w 40"/>
                <a:gd name="T23" fmla="*/ 11 h 40"/>
                <a:gd name="T24" fmla="*/ 15 w 40"/>
                <a:gd name="T25" fmla="*/ 5 h 40"/>
                <a:gd name="T26" fmla="*/ 11 w 40"/>
                <a:gd name="T27" fmla="*/ 3 h 40"/>
                <a:gd name="T28" fmla="*/ 8 w 40"/>
                <a:gd name="T29" fmla="*/ 7 h 40"/>
                <a:gd name="T30" fmla="*/ 7 w 40"/>
                <a:gd name="T31" fmla="*/ 16 h 40"/>
                <a:gd name="T32" fmla="*/ 7 w 40"/>
                <a:gd name="T33" fmla="*/ 25 h 40"/>
                <a:gd name="T34" fmla="*/ 5 w 40"/>
                <a:gd name="T35" fmla="*/ 34 h 40"/>
                <a:gd name="T36" fmla="*/ 0 w 40"/>
                <a:gd name="T3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40">
                  <a:moveTo>
                    <a:pt x="0" y="40"/>
                  </a:moveTo>
                  <a:cubicBezTo>
                    <a:pt x="2" y="37"/>
                    <a:pt x="3" y="34"/>
                    <a:pt x="4" y="31"/>
                  </a:cubicBezTo>
                  <a:cubicBezTo>
                    <a:pt x="5" y="27"/>
                    <a:pt x="5" y="24"/>
                    <a:pt x="5" y="20"/>
                  </a:cubicBezTo>
                  <a:cubicBezTo>
                    <a:pt x="5" y="17"/>
                    <a:pt x="4" y="14"/>
                    <a:pt x="5" y="11"/>
                  </a:cubicBezTo>
                  <a:cubicBezTo>
                    <a:pt x="5" y="8"/>
                    <a:pt x="7" y="5"/>
                    <a:pt x="9" y="2"/>
                  </a:cubicBezTo>
                  <a:cubicBezTo>
                    <a:pt x="10" y="0"/>
                    <a:pt x="12" y="2"/>
                    <a:pt x="14" y="3"/>
                  </a:cubicBezTo>
                  <a:cubicBezTo>
                    <a:pt x="17" y="4"/>
                    <a:pt x="20" y="6"/>
                    <a:pt x="23" y="8"/>
                  </a:cubicBezTo>
                  <a:cubicBezTo>
                    <a:pt x="25" y="10"/>
                    <a:pt x="28" y="12"/>
                    <a:pt x="31" y="15"/>
                  </a:cubicBezTo>
                  <a:cubicBezTo>
                    <a:pt x="34" y="17"/>
                    <a:pt x="37" y="19"/>
                    <a:pt x="40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7" y="20"/>
                    <a:pt x="34" y="18"/>
                    <a:pt x="32" y="17"/>
                  </a:cubicBezTo>
                  <a:cubicBezTo>
                    <a:pt x="29" y="15"/>
                    <a:pt x="26" y="13"/>
                    <a:pt x="23" y="11"/>
                  </a:cubicBezTo>
                  <a:cubicBezTo>
                    <a:pt x="20" y="9"/>
                    <a:pt x="18" y="7"/>
                    <a:pt x="15" y="5"/>
                  </a:cubicBezTo>
                  <a:cubicBezTo>
                    <a:pt x="14" y="5"/>
                    <a:pt x="12" y="3"/>
                    <a:pt x="11" y="3"/>
                  </a:cubicBezTo>
                  <a:cubicBezTo>
                    <a:pt x="10" y="3"/>
                    <a:pt x="9" y="6"/>
                    <a:pt x="8" y="7"/>
                  </a:cubicBezTo>
                  <a:cubicBezTo>
                    <a:pt x="7" y="10"/>
                    <a:pt x="7" y="13"/>
                    <a:pt x="7" y="16"/>
                  </a:cubicBezTo>
                  <a:cubicBezTo>
                    <a:pt x="7" y="19"/>
                    <a:pt x="8" y="22"/>
                    <a:pt x="7" y="25"/>
                  </a:cubicBezTo>
                  <a:cubicBezTo>
                    <a:pt x="7" y="28"/>
                    <a:pt x="6" y="31"/>
                    <a:pt x="5" y="34"/>
                  </a:cubicBezTo>
                  <a:cubicBezTo>
                    <a:pt x="4" y="36"/>
                    <a:pt x="2" y="38"/>
                    <a:pt x="0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5" name="Freeform 166">
              <a:extLst>
                <a:ext uri="{FF2B5EF4-FFF2-40B4-BE49-F238E27FC236}">
                  <a16:creationId xmlns:a16="http://schemas.microsoft.com/office/drawing/2014/main" xmlns="" id="{20123001-FFB4-4255-9DD5-5C7F640D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" y="1019"/>
              <a:ext cx="394" cy="467"/>
            </a:xfrm>
            <a:custGeom>
              <a:avLst/>
              <a:gdLst>
                <a:gd name="T0" fmla="*/ 166 w 166"/>
                <a:gd name="T1" fmla="*/ 131 h 197"/>
                <a:gd name="T2" fmla="*/ 120 w 166"/>
                <a:gd name="T3" fmla="*/ 72 h 197"/>
                <a:gd name="T4" fmla="*/ 19 w 166"/>
                <a:gd name="T5" fmla="*/ 3 h 197"/>
                <a:gd name="T6" fmla="*/ 50 w 166"/>
                <a:gd name="T7" fmla="*/ 55 h 197"/>
                <a:gd name="T8" fmla="*/ 77 w 166"/>
                <a:gd name="T9" fmla="*/ 98 h 197"/>
                <a:gd name="T10" fmla="*/ 48 w 166"/>
                <a:gd name="T11" fmla="*/ 119 h 197"/>
                <a:gd name="T12" fmla="*/ 13 w 166"/>
                <a:gd name="T13" fmla="*/ 87 h 197"/>
                <a:gd name="T14" fmla="*/ 12 w 166"/>
                <a:gd name="T15" fmla="*/ 126 h 197"/>
                <a:gd name="T16" fmla="*/ 47 w 166"/>
                <a:gd name="T17" fmla="*/ 165 h 197"/>
                <a:gd name="T18" fmla="*/ 97 w 166"/>
                <a:gd name="T19" fmla="*/ 197 h 197"/>
                <a:gd name="T20" fmla="*/ 166 w 166"/>
                <a:gd name="T21" fmla="*/ 13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97">
                  <a:moveTo>
                    <a:pt x="166" y="131"/>
                  </a:moveTo>
                  <a:cubicBezTo>
                    <a:pt x="166" y="131"/>
                    <a:pt x="128" y="82"/>
                    <a:pt x="120" y="72"/>
                  </a:cubicBezTo>
                  <a:cubicBezTo>
                    <a:pt x="104" y="52"/>
                    <a:pt x="30" y="6"/>
                    <a:pt x="19" y="3"/>
                  </a:cubicBezTo>
                  <a:cubicBezTo>
                    <a:pt x="8" y="0"/>
                    <a:pt x="0" y="22"/>
                    <a:pt x="50" y="55"/>
                  </a:cubicBezTo>
                  <a:cubicBezTo>
                    <a:pt x="77" y="72"/>
                    <a:pt x="79" y="89"/>
                    <a:pt x="77" y="98"/>
                  </a:cubicBezTo>
                  <a:cubicBezTo>
                    <a:pt x="74" y="107"/>
                    <a:pt x="63" y="122"/>
                    <a:pt x="48" y="119"/>
                  </a:cubicBezTo>
                  <a:cubicBezTo>
                    <a:pt x="33" y="116"/>
                    <a:pt x="27" y="92"/>
                    <a:pt x="13" y="87"/>
                  </a:cubicBezTo>
                  <a:cubicBezTo>
                    <a:pt x="0" y="83"/>
                    <a:pt x="4" y="110"/>
                    <a:pt x="12" y="126"/>
                  </a:cubicBezTo>
                  <a:cubicBezTo>
                    <a:pt x="19" y="143"/>
                    <a:pt x="35" y="158"/>
                    <a:pt x="47" y="165"/>
                  </a:cubicBezTo>
                  <a:cubicBezTo>
                    <a:pt x="59" y="173"/>
                    <a:pt x="97" y="197"/>
                    <a:pt x="97" y="197"/>
                  </a:cubicBezTo>
                  <a:lnTo>
                    <a:pt x="166" y="131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6" name="Freeform 167">
              <a:extLst>
                <a:ext uri="{FF2B5EF4-FFF2-40B4-BE49-F238E27FC236}">
                  <a16:creationId xmlns:a16="http://schemas.microsoft.com/office/drawing/2014/main" xmlns="" id="{BB572903-A72B-43FB-B5DE-B89BD3E7E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" y="1147"/>
              <a:ext cx="114" cy="161"/>
            </a:xfrm>
            <a:custGeom>
              <a:avLst/>
              <a:gdLst>
                <a:gd name="T0" fmla="*/ 1 w 48"/>
                <a:gd name="T1" fmla="*/ 51 h 68"/>
                <a:gd name="T2" fmla="*/ 19 w 48"/>
                <a:gd name="T3" fmla="*/ 65 h 68"/>
                <a:gd name="T4" fmla="*/ 37 w 48"/>
                <a:gd name="T5" fmla="*/ 57 h 68"/>
                <a:gd name="T6" fmla="*/ 45 w 48"/>
                <a:gd name="T7" fmla="*/ 37 h 68"/>
                <a:gd name="T8" fmla="*/ 37 w 48"/>
                <a:gd name="T9" fmla="*/ 18 h 68"/>
                <a:gd name="T10" fmla="*/ 19 w 48"/>
                <a:gd name="T11" fmla="*/ 1 h 68"/>
                <a:gd name="T12" fmla="*/ 20 w 48"/>
                <a:gd name="T13" fmla="*/ 0 h 68"/>
                <a:gd name="T14" fmla="*/ 47 w 48"/>
                <a:gd name="T15" fmla="*/ 37 h 68"/>
                <a:gd name="T16" fmla="*/ 39 w 48"/>
                <a:gd name="T17" fmla="*/ 58 h 68"/>
                <a:gd name="T18" fmla="*/ 21 w 48"/>
                <a:gd name="T19" fmla="*/ 68 h 68"/>
                <a:gd name="T20" fmla="*/ 0 w 48"/>
                <a:gd name="T21" fmla="*/ 52 h 68"/>
                <a:gd name="T22" fmla="*/ 1 w 48"/>
                <a:gd name="T23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68">
                  <a:moveTo>
                    <a:pt x="1" y="51"/>
                  </a:moveTo>
                  <a:cubicBezTo>
                    <a:pt x="6" y="57"/>
                    <a:pt x="11" y="64"/>
                    <a:pt x="19" y="65"/>
                  </a:cubicBezTo>
                  <a:cubicBezTo>
                    <a:pt x="26" y="67"/>
                    <a:pt x="32" y="63"/>
                    <a:pt x="37" y="57"/>
                  </a:cubicBezTo>
                  <a:cubicBezTo>
                    <a:pt x="42" y="51"/>
                    <a:pt x="45" y="44"/>
                    <a:pt x="45" y="37"/>
                  </a:cubicBezTo>
                  <a:cubicBezTo>
                    <a:pt x="44" y="30"/>
                    <a:pt x="41" y="23"/>
                    <a:pt x="37" y="18"/>
                  </a:cubicBezTo>
                  <a:cubicBezTo>
                    <a:pt x="32" y="11"/>
                    <a:pt x="26" y="6"/>
                    <a:pt x="19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5"/>
                    <a:pt x="46" y="17"/>
                    <a:pt x="47" y="37"/>
                  </a:cubicBezTo>
                  <a:cubicBezTo>
                    <a:pt x="48" y="45"/>
                    <a:pt x="44" y="52"/>
                    <a:pt x="39" y="58"/>
                  </a:cubicBezTo>
                  <a:cubicBezTo>
                    <a:pt x="35" y="63"/>
                    <a:pt x="29" y="68"/>
                    <a:pt x="21" y="68"/>
                  </a:cubicBezTo>
                  <a:cubicBezTo>
                    <a:pt x="12" y="67"/>
                    <a:pt x="6" y="58"/>
                    <a:pt x="0" y="52"/>
                  </a:cubicBezTo>
                  <a:lnTo>
                    <a:pt x="1" y="5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7" name="Freeform 168">
              <a:extLst>
                <a:ext uri="{FF2B5EF4-FFF2-40B4-BE49-F238E27FC236}">
                  <a16:creationId xmlns:a16="http://schemas.microsoft.com/office/drawing/2014/main" xmlns="" id="{409CDBCD-A47D-4427-B700-184C87418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" y="1270"/>
              <a:ext cx="707" cy="421"/>
            </a:xfrm>
            <a:custGeom>
              <a:avLst/>
              <a:gdLst>
                <a:gd name="T0" fmla="*/ 63 w 298"/>
                <a:gd name="T1" fmla="*/ 8 h 177"/>
                <a:gd name="T2" fmla="*/ 0 w 298"/>
                <a:gd name="T3" fmla="*/ 121 h 177"/>
                <a:gd name="T4" fmla="*/ 124 w 298"/>
                <a:gd name="T5" fmla="*/ 174 h 177"/>
                <a:gd name="T6" fmla="*/ 277 w 298"/>
                <a:gd name="T7" fmla="*/ 52 h 177"/>
                <a:gd name="T8" fmla="*/ 242 w 298"/>
                <a:gd name="T9" fmla="*/ 21 h 177"/>
                <a:gd name="T10" fmla="*/ 137 w 298"/>
                <a:gd name="T11" fmla="*/ 74 h 177"/>
                <a:gd name="T12" fmla="*/ 63 w 298"/>
                <a:gd name="T13" fmla="*/ 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8" h="177">
                  <a:moveTo>
                    <a:pt x="63" y="8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94" y="177"/>
                    <a:pt x="124" y="174"/>
                  </a:cubicBezTo>
                  <a:cubicBezTo>
                    <a:pt x="154" y="171"/>
                    <a:pt x="242" y="99"/>
                    <a:pt x="277" y="52"/>
                  </a:cubicBezTo>
                  <a:cubicBezTo>
                    <a:pt x="298" y="24"/>
                    <a:pt x="283" y="0"/>
                    <a:pt x="242" y="21"/>
                  </a:cubicBezTo>
                  <a:cubicBezTo>
                    <a:pt x="200" y="43"/>
                    <a:pt x="141" y="73"/>
                    <a:pt x="137" y="74"/>
                  </a:cubicBezTo>
                  <a:cubicBezTo>
                    <a:pt x="133" y="75"/>
                    <a:pt x="63" y="8"/>
                    <a:pt x="63" y="8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8" name="Freeform 169">
              <a:extLst>
                <a:ext uri="{FF2B5EF4-FFF2-40B4-BE49-F238E27FC236}">
                  <a16:creationId xmlns:a16="http://schemas.microsoft.com/office/drawing/2014/main" xmlns="" id="{6AD0388E-9C5E-426E-A12D-BD2867902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" y="1486"/>
              <a:ext cx="17" cy="36"/>
            </a:xfrm>
            <a:custGeom>
              <a:avLst/>
              <a:gdLst>
                <a:gd name="T0" fmla="*/ 7 w 7"/>
                <a:gd name="T1" fmla="*/ 0 h 15"/>
                <a:gd name="T2" fmla="*/ 4 w 7"/>
                <a:gd name="T3" fmla="*/ 8 h 15"/>
                <a:gd name="T4" fmla="*/ 0 w 7"/>
                <a:gd name="T5" fmla="*/ 15 h 15"/>
                <a:gd name="T6" fmla="*/ 3 w 7"/>
                <a:gd name="T7" fmla="*/ 7 h 15"/>
                <a:gd name="T8" fmla="*/ 7 w 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7" y="0"/>
                  </a:moveTo>
                  <a:cubicBezTo>
                    <a:pt x="6" y="3"/>
                    <a:pt x="6" y="5"/>
                    <a:pt x="4" y="8"/>
                  </a:cubicBezTo>
                  <a:cubicBezTo>
                    <a:pt x="3" y="10"/>
                    <a:pt x="2" y="13"/>
                    <a:pt x="0" y="15"/>
                  </a:cubicBezTo>
                  <a:cubicBezTo>
                    <a:pt x="1" y="12"/>
                    <a:pt x="1" y="9"/>
                    <a:pt x="3" y="7"/>
                  </a:cubicBezTo>
                  <a:cubicBezTo>
                    <a:pt x="4" y="5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9" name="Freeform 170">
              <a:extLst>
                <a:ext uri="{FF2B5EF4-FFF2-40B4-BE49-F238E27FC236}">
                  <a16:creationId xmlns:a16="http://schemas.microsoft.com/office/drawing/2014/main" xmlns="" id="{BD273550-620E-4DE9-9C1C-5EB7522A7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4" y="1427"/>
              <a:ext cx="16" cy="33"/>
            </a:xfrm>
            <a:custGeom>
              <a:avLst/>
              <a:gdLst>
                <a:gd name="T0" fmla="*/ 7 w 7"/>
                <a:gd name="T1" fmla="*/ 0 h 14"/>
                <a:gd name="T2" fmla="*/ 4 w 7"/>
                <a:gd name="T3" fmla="*/ 8 h 14"/>
                <a:gd name="T4" fmla="*/ 0 w 7"/>
                <a:gd name="T5" fmla="*/ 14 h 14"/>
                <a:gd name="T6" fmla="*/ 2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6" y="3"/>
                    <a:pt x="5" y="5"/>
                    <a:pt x="4" y="8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0" name="Freeform 171">
              <a:extLst>
                <a:ext uri="{FF2B5EF4-FFF2-40B4-BE49-F238E27FC236}">
                  <a16:creationId xmlns:a16="http://schemas.microsoft.com/office/drawing/2014/main" xmlns="" id="{0E470E8B-803D-4778-8DA5-A11786A5A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" y="1384"/>
              <a:ext cx="14" cy="34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7 h 14"/>
                <a:gd name="T4" fmla="*/ 0 w 6"/>
                <a:gd name="T5" fmla="*/ 14 h 14"/>
                <a:gd name="T6" fmla="*/ 2 w 6"/>
                <a:gd name="T7" fmla="*/ 7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2"/>
                    <a:pt x="5" y="5"/>
                    <a:pt x="4" y="7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3" y="4"/>
                    <a:pt x="5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1" name="Freeform 172">
              <a:extLst>
                <a:ext uri="{FF2B5EF4-FFF2-40B4-BE49-F238E27FC236}">
                  <a16:creationId xmlns:a16="http://schemas.microsoft.com/office/drawing/2014/main" xmlns="" id="{CB101CEF-80EF-4270-B84A-58D9B22B4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0" y="1615"/>
              <a:ext cx="33" cy="16"/>
            </a:xfrm>
            <a:custGeom>
              <a:avLst/>
              <a:gdLst>
                <a:gd name="T0" fmla="*/ 14 w 14"/>
                <a:gd name="T1" fmla="*/ 7 h 7"/>
                <a:gd name="T2" fmla="*/ 7 w 14"/>
                <a:gd name="T3" fmla="*/ 5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2" y="7"/>
                    <a:pt x="9" y="6"/>
                    <a:pt x="7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3" y="1"/>
                    <a:pt x="5" y="2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2" name="Freeform 173">
              <a:extLst>
                <a:ext uri="{FF2B5EF4-FFF2-40B4-BE49-F238E27FC236}">
                  <a16:creationId xmlns:a16="http://schemas.microsoft.com/office/drawing/2014/main" xmlns="" id="{83093BFE-24FA-42FD-A59A-532CB08E2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" y="1539"/>
              <a:ext cx="36" cy="16"/>
            </a:xfrm>
            <a:custGeom>
              <a:avLst/>
              <a:gdLst>
                <a:gd name="T0" fmla="*/ 15 w 15"/>
                <a:gd name="T1" fmla="*/ 7 h 7"/>
                <a:gd name="T2" fmla="*/ 7 w 15"/>
                <a:gd name="T3" fmla="*/ 5 h 7"/>
                <a:gd name="T4" fmla="*/ 0 w 15"/>
                <a:gd name="T5" fmla="*/ 0 h 7"/>
                <a:gd name="T6" fmla="*/ 8 w 15"/>
                <a:gd name="T7" fmla="*/ 3 h 7"/>
                <a:gd name="T8" fmla="*/ 15 w 1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15" y="7"/>
                  </a:moveTo>
                  <a:cubicBezTo>
                    <a:pt x="12" y="7"/>
                    <a:pt x="10" y="6"/>
                    <a:pt x="7" y="5"/>
                  </a:cubicBezTo>
                  <a:cubicBezTo>
                    <a:pt x="5" y="3"/>
                    <a:pt x="2" y="2"/>
                    <a:pt x="0" y="0"/>
                  </a:cubicBezTo>
                  <a:cubicBezTo>
                    <a:pt x="3" y="1"/>
                    <a:pt x="6" y="2"/>
                    <a:pt x="8" y="3"/>
                  </a:cubicBezTo>
                  <a:cubicBezTo>
                    <a:pt x="10" y="4"/>
                    <a:pt x="13" y="5"/>
                    <a:pt x="1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3" name="Freeform 174">
              <a:extLst>
                <a:ext uri="{FF2B5EF4-FFF2-40B4-BE49-F238E27FC236}">
                  <a16:creationId xmlns:a16="http://schemas.microsoft.com/office/drawing/2014/main" xmlns="" id="{3D847A6D-7B23-4B0A-B381-76F825CFE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" y="1330"/>
              <a:ext cx="36" cy="14"/>
            </a:xfrm>
            <a:custGeom>
              <a:avLst/>
              <a:gdLst>
                <a:gd name="T0" fmla="*/ 15 w 15"/>
                <a:gd name="T1" fmla="*/ 6 h 6"/>
                <a:gd name="T2" fmla="*/ 7 w 15"/>
                <a:gd name="T3" fmla="*/ 4 h 6"/>
                <a:gd name="T4" fmla="*/ 0 w 15"/>
                <a:gd name="T5" fmla="*/ 0 h 6"/>
                <a:gd name="T6" fmla="*/ 8 w 15"/>
                <a:gd name="T7" fmla="*/ 2 h 6"/>
                <a:gd name="T8" fmla="*/ 15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5" y="6"/>
                  </a:moveTo>
                  <a:cubicBezTo>
                    <a:pt x="12" y="6"/>
                    <a:pt x="10" y="5"/>
                    <a:pt x="7" y="4"/>
                  </a:cubicBezTo>
                  <a:cubicBezTo>
                    <a:pt x="5" y="3"/>
                    <a:pt x="2" y="1"/>
                    <a:pt x="0" y="0"/>
                  </a:cubicBezTo>
                  <a:cubicBezTo>
                    <a:pt x="3" y="0"/>
                    <a:pt x="6" y="1"/>
                    <a:pt x="8" y="2"/>
                  </a:cubicBezTo>
                  <a:cubicBezTo>
                    <a:pt x="10" y="3"/>
                    <a:pt x="13" y="4"/>
                    <a:pt x="1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4" name="Freeform 175">
              <a:extLst>
                <a:ext uri="{FF2B5EF4-FFF2-40B4-BE49-F238E27FC236}">
                  <a16:creationId xmlns:a16="http://schemas.microsoft.com/office/drawing/2014/main" xmlns="" id="{303FA3B5-4DDF-4347-B008-F600F9EEF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1460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8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3"/>
                    <a:pt x="3" y="5"/>
                    <a:pt x="4" y="8"/>
                  </a:cubicBezTo>
                  <a:cubicBezTo>
                    <a:pt x="5" y="10"/>
                    <a:pt x="6" y="13"/>
                    <a:pt x="6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5" name="Freeform 176">
              <a:extLst>
                <a:ext uri="{FF2B5EF4-FFF2-40B4-BE49-F238E27FC236}">
                  <a16:creationId xmlns:a16="http://schemas.microsoft.com/office/drawing/2014/main" xmlns="" id="{D0BDA9F9-479A-4685-AE1B-5E88D40CB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" y="1503"/>
              <a:ext cx="12" cy="36"/>
            </a:xfrm>
            <a:custGeom>
              <a:avLst/>
              <a:gdLst>
                <a:gd name="T0" fmla="*/ 0 w 5"/>
                <a:gd name="T1" fmla="*/ 0 h 15"/>
                <a:gd name="T2" fmla="*/ 3 w 5"/>
                <a:gd name="T3" fmla="*/ 8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3"/>
                    <a:pt x="3" y="5"/>
                    <a:pt x="3" y="8"/>
                  </a:cubicBezTo>
                  <a:cubicBezTo>
                    <a:pt x="4" y="10"/>
                    <a:pt x="5" y="13"/>
                    <a:pt x="5" y="15"/>
                  </a:cubicBezTo>
                  <a:cubicBezTo>
                    <a:pt x="4" y="13"/>
                    <a:pt x="2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6" name="Freeform 177">
              <a:extLst>
                <a:ext uri="{FF2B5EF4-FFF2-40B4-BE49-F238E27FC236}">
                  <a16:creationId xmlns:a16="http://schemas.microsoft.com/office/drawing/2014/main" xmlns="" id="{C77F9CF2-D458-4592-9C82-2BCDAB3E5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1394"/>
              <a:ext cx="11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2" y="3"/>
                    <a:pt x="3" y="5"/>
                    <a:pt x="4" y="7"/>
                  </a:cubicBezTo>
                  <a:cubicBezTo>
                    <a:pt x="5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7" name="Freeform 178">
              <a:extLst>
                <a:ext uri="{FF2B5EF4-FFF2-40B4-BE49-F238E27FC236}">
                  <a16:creationId xmlns:a16="http://schemas.microsoft.com/office/drawing/2014/main" xmlns="" id="{A7CF0E3C-A95B-48FC-8329-1DC9A179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" y="1508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8" name="Freeform 179">
              <a:extLst>
                <a:ext uri="{FF2B5EF4-FFF2-40B4-BE49-F238E27FC236}">
                  <a16:creationId xmlns:a16="http://schemas.microsoft.com/office/drawing/2014/main" xmlns="" id="{93845A28-CBA5-4CEA-9196-0AAB96ADC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" y="1410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1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6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69" name="Freeform 180">
              <a:extLst>
                <a:ext uri="{FF2B5EF4-FFF2-40B4-BE49-F238E27FC236}">
                  <a16:creationId xmlns:a16="http://schemas.microsoft.com/office/drawing/2014/main" xmlns="" id="{53995749-54C0-4433-BD54-34ED1488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4" y="1562"/>
              <a:ext cx="36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1 h 5"/>
                <a:gd name="T4" fmla="*/ 15 w 15"/>
                <a:gd name="T5" fmla="*/ 0 h 5"/>
                <a:gd name="T6" fmla="*/ 8 w 15"/>
                <a:gd name="T7" fmla="*/ 3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2"/>
                    <a:pt x="7" y="1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1"/>
                    <a:pt x="10" y="2"/>
                    <a:pt x="8" y="3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0" name="Freeform 181">
              <a:extLst>
                <a:ext uri="{FF2B5EF4-FFF2-40B4-BE49-F238E27FC236}">
                  <a16:creationId xmlns:a16="http://schemas.microsoft.com/office/drawing/2014/main" xmlns="" id="{4E9BADC8-C1B1-48FC-9718-B58E30EF5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" y="1600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3" y="1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1" name="Freeform 182">
              <a:extLst>
                <a:ext uri="{FF2B5EF4-FFF2-40B4-BE49-F238E27FC236}">
                  <a16:creationId xmlns:a16="http://schemas.microsoft.com/office/drawing/2014/main" xmlns="" id="{909061D6-9FD4-4DE9-A95B-5EC030F0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" y="1339"/>
              <a:ext cx="116" cy="245"/>
            </a:xfrm>
            <a:custGeom>
              <a:avLst/>
              <a:gdLst>
                <a:gd name="T0" fmla="*/ 25 w 49"/>
                <a:gd name="T1" fmla="*/ 52 h 103"/>
                <a:gd name="T2" fmla="*/ 49 w 49"/>
                <a:gd name="T3" fmla="*/ 1 h 103"/>
                <a:gd name="T4" fmla="*/ 49 w 49"/>
                <a:gd name="T5" fmla="*/ 0 h 103"/>
                <a:gd name="T6" fmla="*/ 23 w 49"/>
                <a:gd name="T7" fmla="*/ 50 h 103"/>
                <a:gd name="T8" fmla="*/ 0 w 49"/>
                <a:gd name="T9" fmla="*/ 102 h 103"/>
                <a:gd name="T10" fmla="*/ 0 w 49"/>
                <a:gd name="T11" fmla="*/ 103 h 103"/>
                <a:gd name="T12" fmla="*/ 25 w 49"/>
                <a:gd name="T13" fmla="*/ 5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03">
                  <a:moveTo>
                    <a:pt x="25" y="52"/>
                  </a:moveTo>
                  <a:cubicBezTo>
                    <a:pt x="30" y="44"/>
                    <a:pt x="46" y="9"/>
                    <a:pt x="49" y="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4" y="8"/>
                    <a:pt x="27" y="42"/>
                    <a:pt x="23" y="50"/>
                  </a:cubicBezTo>
                  <a:cubicBezTo>
                    <a:pt x="15" y="67"/>
                    <a:pt x="6" y="84"/>
                    <a:pt x="0" y="10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0" y="87"/>
                    <a:pt x="17" y="69"/>
                    <a:pt x="25" y="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2" name="Freeform 183">
              <a:extLst>
                <a:ext uri="{FF2B5EF4-FFF2-40B4-BE49-F238E27FC236}">
                  <a16:creationId xmlns:a16="http://schemas.microsoft.com/office/drawing/2014/main" xmlns="" id="{0CEE0944-5363-4362-8359-7FF2B88EB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" y="1296"/>
              <a:ext cx="347" cy="366"/>
            </a:xfrm>
            <a:custGeom>
              <a:avLst/>
              <a:gdLst>
                <a:gd name="T0" fmla="*/ 130 w 146"/>
                <a:gd name="T1" fmla="*/ 41 h 154"/>
                <a:gd name="T2" fmla="*/ 0 w 146"/>
                <a:gd name="T3" fmla="*/ 154 h 154"/>
                <a:gd name="T4" fmla="*/ 119 w 146"/>
                <a:gd name="T5" fmla="*/ 2 h 154"/>
                <a:gd name="T6" fmla="*/ 120 w 146"/>
                <a:gd name="T7" fmla="*/ 2 h 154"/>
                <a:gd name="T8" fmla="*/ 130 w 146"/>
                <a:gd name="T9" fmla="*/ 4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54">
                  <a:moveTo>
                    <a:pt x="130" y="41"/>
                  </a:moveTo>
                  <a:cubicBezTo>
                    <a:pt x="102" y="79"/>
                    <a:pt x="39" y="133"/>
                    <a:pt x="0" y="154"/>
                  </a:cubicBezTo>
                  <a:cubicBezTo>
                    <a:pt x="119" y="2"/>
                    <a:pt x="119" y="2"/>
                    <a:pt x="119" y="2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41" y="0"/>
                    <a:pt x="146" y="19"/>
                    <a:pt x="130" y="4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3" name="Freeform 184">
              <a:extLst>
                <a:ext uri="{FF2B5EF4-FFF2-40B4-BE49-F238E27FC236}">
                  <a16:creationId xmlns:a16="http://schemas.microsoft.com/office/drawing/2014/main" xmlns="" id="{3CB333BD-2991-4B1D-93C4-A94CBD529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" y="1268"/>
              <a:ext cx="594" cy="765"/>
            </a:xfrm>
            <a:custGeom>
              <a:avLst/>
              <a:gdLst>
                <a:gd name="T0" fmla="*/ 247 w 250"/>
                <a:gd name="T1" fmla="*/ 322 h 322"/>
                <a:gd name="T2" fmla="*/ 3 w 250"/>
                <a:gd name="T3" fmla="*/ 303 h 322"/>
                <a:gd name="T4" fmla="*/ 96 w 250"/>
                <a:gd name="T5" fmla="*/ 18 h 322"/>
                <a:gd name="T6" fmla="*/ 159 w 250"/>
                <a:gd name="T7" fmla="*/ 15 h 322"/>
                <a:gd name="T8" fmla="*/ 230 w 250"/>
                <a:gd name="T9" fmla="*/ 204 h 322"/>
                <a:gd name="T10" fmla="*/ 247 w 250"/>
                <a:gd name="T11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322">
                  <a:moveTo>
                    <a:pt x="247" y="322"/>
                  </a:moveTo>
                  <a:cubicBezTo>
                    <a:pt x="247" y="322"/>
                    <a:pt x="5" y="306"/>
                    <a:pt x="3" y="303"/>
                  </a:cubicBezTo>
                  <a:cubicBezTo>
                    <a:pt x="0" y="299"/>
                    <a:pt x="77" y="54"/>
                    <a:pt x="96" y="18"/>
                  </a:cubicBezTo>
                  <a:cubicBezTo>
                    <a:pt x="104" y="2"/>
                    <a:pt x="143" y="0"/>
                    <a:pt x="159" y="15"/>
                  </a:cubicBezTo>
                  <a:cubicBezTo>
                    <a:pt x="197" y="51"/>
                    <a:pt x="224" y="169"/>
                    <a:pt x="230" y="204"/>
                  </a:cubicBezTo>
                  <a:cubicBezTo>
                    <a:pt x="239" y="262"/>
                    <a:pt x="250" y="320"/>
                    <a:pt x="247" y="322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4" name="Freeform 185">
              <a:extLst>
                <a:ext uri="{FF2B5EF4-FFF2-40B4-BE49-F238E27FC236}">
                  <a16:creationId xmlns:a16="http://schemas.microsoft.com/office/drawing/2014/main" xmlns="" id="{347C4F25-A8B2-4F43-BD49-F68259837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" y="1470"/>
              <a:ext cx="14" cy="33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8 h 14"/>
                <a:gd name="T4" fmla="*/ 0 w 6"/>
                <a:gd name="T5" fmla="*/ 14 h 14"/>
                <a:gd name="T6" fmla="*/ 2 w 6"/>
                <a:gd name="T7" fmla="*/ 7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3"/>
                    <a:pt x="5" y="5"/>
                    <a:pt x="4" y="8"/>
                  </a:cubicBezTo>
                  <a:cubicBezTo>
                    <a:pt x="3" y="10"/>
                    <a:pt x="1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3" y="4"/>
                    <a:pt x="4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5" name="Freeform 186">
              <a:extLst>
                <a:ext uri="{FF2B5EF4-FFF2-40B4-BE49-F238E27FC236}">
                  <a16:creationId xmlns:a16="http://schemas.microsoft.com/office/drawing/2014/main" xmlns="" id="{DE87C2D2-4669-4A5D-8E14-A0EF9CBD2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1707"/>
              <a:ext cx="17" cy="33"/>
            </a:xfrm>
            <a:custGeom>
              <a:avLst/>
              <a:gdLst>
                <a:gd name="T0" fmla="*/ 7 w 7"/>
                <a:gd name="T1" fmla="*/ 0 h 14"/>
                <a:gd name="T2" fmla="*/ 4 w 7"/>
                <a:gd name="T3" fmla="*/ 7 h 14"/>
                <a:gd name="T4" fmla="*/ 0 w 7"/>
                <a:gd name="T5" fmla="*/ 14 h 14"/>
                <a:gd name="T6" fmla="*/ 2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6" y="3"/>
                    <a:pt x="5" y="5"/>
                    <a:pt x="4" y="7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3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6" name="Freeform 187">
              <a:extLst>
                <a:ext uri="{FF2B5EF4-FFF2-40B4-BE49-F238E27FC236}">
                  <a16:creationId xmlns:a16="http://schemas.microsoft.com/office/drawing/2014/main" xmlns="" id="{81739B55-09A7-4019-B149-9A2AD2755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" y="1964"/>
              <a:ext cx="14" cy="35"/>
            </a:xfrm>
            <a:custGeom>
              <a:avLst/>
              <a:gdLst>
                <a:gd name="T0" fmla="*/ 6 w 6"/>
                <a:gd name="T1" fmla="*/ 0 h 15"/>
                <a:gd name="T2" fmla="*/ 4 w 6"/>
                <a:gd name="T3" fmla="*/ 8 h 15"/>
                <a:gd name="T4" fmla="*/ 0 w 6"/>
                <a:gd name="T5" fmla="*/ 15 h 15"/>
                <a:gd name="T6" fmla="*/ 2 w 6"/>
                <a:gd name="T7" fmla="*/ 7 h 15"/>
                <a:gd name="T8" fmla="*/ 6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6" y="0"/>
                  </a:moveTo>
                  <a:cubicBezTo>
                    <a:pt x="6" y="3"/>
                    <a:pt x="5" y="6"/>
                    <a:pt x="4" y="8"/>
                  </a:cubicBezTo>
                  <a:cubicBezTo>
                    <a:pt x="3" y="11"/>
                    <a:pt x="1" y="13"/>
                    <a:pt x="0" y="15"/>
                  </a:cubicBezTo>
                  <a:cubicBezTo>
                    <a:pt x="0" y="12"/>
                    <a:pt x="1" y="10"/>
                    <a:pt x="2" y="7"/>
                  </a:cubicBezTo>
                  <a:cubicBezTo>
                    <a:pt x="3" y="5"/>
                    <a:pt x="4" y="3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7" name="Freeform 188">
              <a:extLst>
                <a:ext uri="{FF2B5EF4-FFF2-40B4-BE49-F238E27FC236}">
                  <a16:creationId xmlns:a16="http://schemas.microsoft.com/office/drawing/2014/main" xmlns="" id="{32AEF7D8-3933-455C-957B-4C3136BEF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9" y="1650"/>
              <a:ext cx="17" cy="34"/>
            </a:xfrm>
            <a:custGeom>
              <a:avLst/>
              <a:gdLst>
                <a:gd name="T0" fmla="*/ 7 w 7"/>
                <a:gd name="T1" fmla="*/ 0 h 14"/>
                <a:gd name="T2" fmla="*/ 5 w 7"/>
                <a:gd name="T3" fmla="*/ 8 h 14"/>
                <a:gd name="T4" fmla="*/ 0 w 7"/>
                <a:gd name="T5" fmla="*/ 14 h 14"/>
                <a:gd name="T6" fmla="*/ 3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7" y="3"/>
                    <a:pt x="6" y="5"/>
                    <a:pt x="5" y="8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1" y="12"/>
                    <a:pt x="2" y="9"/>
                    <a:pt x="3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8" name="Freeform 189">
              <a:extLst>
                <a:ext uri="{FF2B5EF4-FFF2-40B4-BE49-F238E27FC236}">
                  <a16:creationId xmlns:a16="http://schemas.microsoft.com/office/drawing/2014/main" xmlns="" id="{F6CC9BA7-1341-41C2-99CF-2E27FA781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3" y="1819"/>
              <a:ext cx="16" cy="33"/>
            </a:xfrm>
            <a:custGeom>
              <a:avLst/>
              <a:gdLst>
                <a:gd name="T0" fmla="*/ 7 w 7"/>
                <a:gd name="T1" fmla="*/ 0 h 14"/>
                <a:gd name="T2" fmla="*/ 5 w 7"/>
                <a:gd name="T3" fmla="*/ 7 h 14"/>
                <a:gd name="T4" fmla="*/ 0 w 7"/>
                <a:gd name="T5" fmla="*/ 14 h 14"/>
                <a:gd name="T6" fmla="*/ 3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7" y="3"/>
                    <a:pt x="6" y="5"/>
                    <a:pt x="5" y="7"/>
                  </a:cubicBezTo>
                  <a:cubicBezTo>
                    <a:pt x="4" y="10"/>
                    <a:pt x="2" y="12"/>
                    <a:pt x="0" y="14"/>
                  </a:cubicBezTo>
                  <a:cubicBezTo>
                    <a:pt x="1" y="12"/>
                    <a:pt x="2" y="9"/>
                    <a:pt x="3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9" name="Freeform 190">
              <a:extLst>
                <a:ext uri="{FF2B5EF4-FFF2-40B4-BE49-F238E27FC236}">
                  <a16:creationId xmlns:a16="http://schemas.microsoft.com/office/drawing/2014/main" xmlns="" id="{149A23E8-6486-4A9B-AEC9-CFA0EC183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1911"/>
              <a:ext cx="17" cy="36"/>
            </a:xfrm>
            <a:custGeom>
              <a:avLst/>
              <a:gdLst>
                <a:gd name="T0" fmla="*/ 7 w 7"/>
                <a:gd name="T1" fmla="*/ 0 h 15"/>
                <a:gd name="T2" fmla="*/ 5 w 7"/>
                <a:gd name="T3" fmla="*/ 8 h 15"/>
                <a:gd name="T4" fmla="*/ 0 w 7"/>
                <a:gd name="T5" fmla="*/ 15 h 15"/>
                <a:gd name="T6" fmla="*/ 3 w 7"/>
                <a:gd name="T7" fmla="*/ 7 h 15"/>
                <a:gd name="T8" fmla="*/ 7 w 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7" y="0"/>
                  </a:moveTo>
                  <a:cubicBezTo>
                    <a:pt x="7" y="3"/>
                    <a:pt x="6" y="6"/>
                    <a:pt x="5" y="8"/>
                  </a:cubicBezTo>
                  <a:cubicBezTo>
                    <a:pt x="3" y="10"/>
                    <a:pt x="2" y="13"/>
                    <a:pt x="0" y="15"/>
                  </a:cubicBezTo>
                  <a:cubicBezTo>
                    <a:pt x="1" y="12"/>
                    <a:pt x="2" y="10"/>
                    <a:pt x="3" y="7"/>
                  </a:cubicBezTo>
                  <a:cubicBezTo>
                    <a:pt x="4" y="5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0" name="Freeform 191">
              <a:extLst>
                <a:ext uri="{FF2B5EF4-FFF2-40B4-BE49-F238E27FC236}">
                  <a16:creationId xmlns:a16="http://schemas.microsoft.com/office/drawing/2014/main" xmlns="" id="{017465B3-AEE3-454E-B396-ABCD6CFBE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1608"/>
              <a:ext cx="15" cy="33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7 h 14"/>
                <a:gd name="T4" fmla="*/ 0 w 6"/>
                <a:gd name="T5" fmla="*/ 14 h 14"/>
                <a:gd name="T6" fmla="*/ 2 w 6"/>
                <a:gd name="T7" fmla="*/ 6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2"/>
                    <a:pt x="5" y="5"/>
                    <a:pt x="4" y="7"/>
                  </a:cubicBezTo>
                  <a:cubicBezTo>
                    <a:pt x="3" y="10"/>
                    <a:pt x="1" y="12"/>
                    <a:pt x="0" y="14"/>
                  </a:cubicBezTo>
                  <a:cubicBezTo>
                    <a:pt x="0" y="11"/>
                    <a:pt x="1" y="9"/>
                    <a:pt x="2" y="6"/>
                  </a:cubicBezTo>
                  <a:cubicBezTo>
                    <a:pt x="3" y="4"/>
                    <a:pt x="4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1" name="Freeform 192">
              <a:extLst>
                <a:ext uri="{FF2B5EF4-FFF2-40B4-BE49-F238E27FC236}">
                  <a16:creationId xmlns:a16="http://schemas.microsoft.com/office/drawing/2014/main" xmlns="" id="{9C59F4D0-E385-4D83-959D-9BBE2EA89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" y="1560"/>
              <a:ext cx="34" cy="17"/>
            </a:xfrm>
            <a:custGeom>
              <a:avLst/>
              <a:gdLst>
                <a:gd name="T0" fmla="*/ 14 w 14"/>
                <a:gd name="T1" fmla="*/ 7 h 7"/>
                <a:gd name="T2" fmla="*/ 6 w 14"/>
                <a:gd name="T3" fmla="*/ 4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2" name="Freeform 193">
              <a:extLst>
                <a:ext uri="{FF2B5EF4-FFF2-40B4-BE49-F238E27FC236}">
                  <a16:creationId xmlns:a16="http://schemas.microsoft.com/office/drawing/2014/main" xmlns="" id="{57FE5B3E-FE99-4E96-B716-2A5798CA5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9" y="1769"/>
              <a:ext cx="33" cy="17"/>
            </a:xfrm>
            <a:custGeom>
              <a:avLst/>
              <a:gdLst>
                <a:gd name="T0" fmla="*/ 14 w 14"/>
                <a:gd name="T1" fmla="*/ 7 h 7"/>
                <a:gd name="T2" fmla="*/ 6 w 14"/>
                <a:gd name="T3" fmla="*/ 5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1" y="7"/>
                    <a:pt x="9" y="6"/>
                    <a:pt x="6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2" y="1"/>
                    <a:pt x="5" y="2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3" name="Freeform 194">
              <a:extLst>
                <a:ext uri="{FF2B5EF4-FFF2-40B4-BE49-F238E27FC236}">
                  <a16:creationId xmlns:a16="http://schemas.microsoft.com/office/drawing/2014/main" xmlns="" id="{A7A4B442-8C43-4B66-B34E-1A57E416B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5" y="2006"/>
              <a:ext cx="28" cy="15"/>
            </a:xfrm>
            <a:custGeom>
              <a:avLst/>
              <a:gdLst>
                <a:gd name="T0" fmla="*/ 12 w 12"/>
                <a:gd name="T1" fmla="*/ 6 h 6"/>
                <a:gd name="T2" fmla="*/ 8 w 12"/>
                <a:gd name="T3" fmla="*/ 5 h 6"/>
                <a:gd name="T4" fmla="*/ 7 w 12"/>
                <a:gd name="T5" fmla="*/ 5 h 6"/>
                <a:gd name="T6" fmla="*/ 0 w 12"/>
                <a:gd name="T7" fmla="*/ 0 h 6"/>
                <a:gd name="T8" fmla="*/ 7 w 12"/>
                <a:gd name="T9" fmla="*/ 3 h 6"/>
                <a:gd name="T10" fmla="*/ 12 w 12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cubicBezTo>
                    <a:pt x="11" y="6"/>
                    <a:pt x="10" y="6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2" y="1"/>
                    <a:pt x="5" y="2"/>
                    <a:pt x="7" y="3"/>
                  </a:cubicBezTo>
                  <a:cubicBezTo>
                    <a:pt x="9" y="4"/>
                    <a:pt x="11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4" name="Freeform 195">
              <a:extLst>
                <a:ext uri="{FF2B5EF4-FFF2-40B4-BE49-F238E27FC236}">
                  <a16:creationId xmlns:a16="http://schemas.microsoft.com/office/drawing/2014/main" xmlns="" id="{26BEE194-12B3-4AE8-A7A5-085EB3B9A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6" y="1807"/>
              <a:ext cx="34" cy="14"/>
            </a:xfrm>
            <a:custGeom>
              <a:avLst/>
              <a:gdLst>
                <a:gd name="T0" fmla="*/ 14 w 14"/>
                <a:gd name="T1" fmla="*/ 6 h 6"/>
                <a:gd name="T2" fmla="*/ 6 w 14"/>
                <a:gd name="T3" fmla="*/ 4 h 6"/>
                <a:gd name="T4" fmla="*/ 0 w 14"/>
                <a:gd name="T5" fmla="*/ 0 h 6"/>
                <a:gd name="T6" fmla="*/ 7 w 14"/>
                <a:gd name="T7" fmla="*/ 2 h 6"/>
                <a:gd name="T8" fmla="*/ 14 w 1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6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2"/>
                  </a:cubicBezTo>
                  <a:cubicBezTo>
                    <a:pt x="10" y="3"/>
                    <a:pt x="12" y="5"/>
                    <a:pt x="1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5" name="Freeform 196">
              <a:extLst>
                <a:ext uri="{FF2B5EF4-FFF2-40B4-BE49-F238E27FC236}">
                  <a16:creationId xmlns:a16="http://schemas.microsoft.com/office/drawing/2014/main" xmlns="" id="{4D6A5E7B-AC3A-4225-946B-35C6789D0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" y="1380"/>
              <a:ext cx="34" cy="14"/>
            </a:xfrm>
            <a:custGeom>
              <a:avLst/>
              <a:gdLst>
                <a:gd name="T0" fmla="*/ 14 w 14"/>
                <a:gd name="T1" fmla="*/ 6 h 6"/>
                <a:gd name="T2" fmla="*/ 6 w 14"/>
                <a:gd name="T3" fmla="*/ 4 h 6"/>
                <a:gd name="T4" fmla="*/ 0 w 14"/>
                <a:gd name="T5" fmla="*/ 0 h 6"/>
                <a:gd name="T6" fmla="*/ 7 w 14"/>
                <a:gd name="T7" fmla="*/ 2 h 6"/>
                <a:gd name="T8" fmla="*/ 14 w 1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6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2"/>
                  </a:cubicBezTo>
                  <a:cubicBezTo>
                    <a:pt x="10" y="3"/>
                    <a:pt x="12" y="5"/>
                    <a:pt x="1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6" name="Freeform 197">
              <a:extLst>
                <a:ext uri="{FF2B5EF4-FFF2-40B4-BE49-F238E27FC236}">
                  <a16:creationId xmlns:a16="http://schemas.microsoft.com/office/drawing/2014/main" xmlns="" id="{6FB6827B-893F-4407-A672-06C8A3263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" y="1425"/>
              <a:ext cx="12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3"/>
                    <a:pt x="3" y="5"/>
                    <a:pt x="4" y="7"/>
                  </a:cubicBezTo>
                  <a:cubicBezTo>
                    <a:pt x="4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7" name="Freeform 198">
              <a:extLst>
                <a:ext uri="{FF2B5EF4-FFF2-40B4-BE49-F238E27FC236}">
                  <a16:creationId xmlns:a16="http://schemas.microsoft.com/office/drawing/2014/main" xmlns="" id="{41C8CCCE-61D0-425C-A1B2-C7E85AD1C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1693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5"/>
                    <a:pt x="4" y="7"/>
                  </a:cubicBezTo>
                  <a:cubicBezTo>
                    <a:pt x="5" y="10"/>
                    <a:pt x="6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8" name="Freeform 199">
              <a:extLst>
                <a:ext uri="{FF2B5EF4-FFF2-40B4-BE49-F238E27FC236}">
                  <a16:creationId xmlns:a16="http://schemas.microsoft.com/office/drawing/2014/main" xmlns="" id="{703A5615-7721-46A8-BE4B-C790456E2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1" y="1935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4"/>
                    <a:pt x="4" y="7"/>
                  </a:cubicBezTo>
                  <a:cubicBezTo>
                    <a:pt x="5" y="9"/>
                    <a:pt x="6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9" name="Freeform 200">
              <a:extLst>
                <a:ext uri="{FF2B5EF4-FFF2-40B4-BE49-F238E27FC236}">
                  <a16:creationId xmlns:a16="http://schemas.microsoft.com/office/drawing/2014/main" xmlns="" id="{6362437B-6829-48A1-B65F-C0EFF5DCE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" y="1579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8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3"/>
                    <a:pt x="3" y="5"/>
                    <a:pt x="4" y="8"/>
                  </a:cubicBezTo>
                  <a:cubicBezTo>
                    <a:pt x="5" y="10"/>
                    <a:pt x="6" y="13"/>
                    <a:pt x="6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0" name="Freeform 201">
              <a:extLst>
                <a:ext uri="{FF2B5EF4-FFF2-40B4-BE49-F238E27FC236}">
                  <a16:creationId xmlns:a16="http://schemas.microsoft.com/office/drawing/2014/main" xmlns="" id="{8D420FD8-CC8F-489C-BA1F-1555B7B9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" y="1797"/>
              <a:ext cx="12" cy="36"/>
            </a:xfrm>
            <a:custGeom>
              <a:avLst/>
              <a:gdLst>
                <a:gd name="T0" fmla="*/ 0 w 5"/>
                <a:gd name="T1" fmla="*/ 0 h 15"/>
                <a:gd name="T2" fmla="*/ 3 w 5"/>
                <a:gd name="T3" fmla="*/ 7 h 15"/>
                <a:gd name="T4" fmla="*/ 5 w 5"/>
                <a:gd name="T5" fmla="*/ 15 h 15"/>
                <a:gd name="T6" fmla="*/ 1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2"/>
                    <a:pt x="2" y="4"/>
                    <a:pt x="3" y="7"/>
                  </a:cubicBezTo>
                  <a:cubicBezTo>
                    <a:pt x="4" y="9"/>
                    <a:pt x="5" y="12"/>
                    <a:pt x="5" y="15"/>
                  </a:cubicBezTo>
                  <a:cubicBezTo>
                    <a:pt x="4" y="13"/>
                    <a:pt x="2" y="10"/>
                    <a:pt x="1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1" name="Freeform 202">
              <a:extLst>
                <a:ext uri="{FF2B5EF4-FFF2-40B4-BE49-F238E27FC236}">
                  <a16:creationId xmlns:a16="http://schemas.microsoft.com/office/drawing/2014/main" xmlns="" id="{F35AF893-5F90-4B27-94A0-937FF1814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" y="1885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5"/>
                    <a:pt x="4" y="7"/>
                  </a:cubicBezTo>
                  <a:cubicBezTo>
                    <a:pt x="5" y="10"/>
                    <a:pt x="5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2" name="Freeform 203">
              <a:extLst>
                <a:ext uri="{FF2B5EF4-FFF2-40B4-BE49-F238E27FC236}">
                  <a16:creationId xmlns:a16="http://schemas.microsoft.com/office/drawing/2014/main" xmlns="" id="{3B34D108-01D9-4270-9F57-6812F321E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1394"/>
              <a:ext cx="11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2" y="3"/>
                    <a:pt x="3" y="5"/>
                    <a:pt x="4" y="7"/>
                  </a:cubicBezTo>
                  <a:cubicBezTo>
                    <a:pt x="5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3" name="Freeform 204">
              <a:extLst>
                <a:ext uri="{FF2B5EF4-FFF2-40B4-BE49-F238E27FC236}">
                  <a16:creationId xmlns:a16="http://schemas.microsoft.com/office/drawing/2014/main" xmlns="" id="{A569D602-6650-441E-847C-AF9B624EB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" y="1508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4" name="Freeform 205">
              <a:extLst>
                <a:ext uri="{FF2B5EF4-FFF2-40B4-BE49-F238E27FC236}">
                  <a16:creationId xmlns:a16="http://schemas.microsoft.com/office/drawing/2014/main" xmlns="" id="{0E30EAE6-123E-43E4-8B53-666339814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6" y="1885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5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5" name="Freeform 206">
              <a:extLst>
                <a:ext uri="{FF2B5EF4-FFF2-40B4-BE49-F238E27FC236}">
                  <a16:creationId xmlns:a16="http://schemas.microsoft.com/office/drawing/2014/main" xmlns="" id="{4B954AAA-5C47-4867-9E97-CDF1568A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" y="1724"/>
              <a:ext cx="36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3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2"/>
                    <a:pt x="7" y="2"/>
                  </a:cubicBezTo>
                  <a:cubicBezTo>
                    <a:pt x="10" y="1"/>
                    <a:pt x="13" y="0"/>
                    <a:pt x="15" y="0"/>
                  </a:cubicBezTo>
                  <a:cubicBezTo>
                    <a:pt x="13" y="1"/>
                    <a:pt x="11" y="3"/>
                    <a:pt x="8" y="3"/>
                  </a:cubicBezTo>
                  <a:cubicBezTo>
                    <a:pt x="6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6" name="Freeform 207">
              <a:extLst>
                <a:ext uri="{FF2B5EF4-FFF2-40B4-BE49-F238E27FC236}">
                  <a16:creationId xmlns:a16="http://schemas.microsoft.com/office/drawing/2014/main" xmlns="" id="{D95693DA-20DE-4E3A-B731-0D1D034EB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" y="1539"/>
              <a:ext cx="31" cy="14"/>
            </a:xfrm>
            <a:custGeom>
              <a:avLst/>
              <a:gdLst>
                <a:gd name="T0" fmla="*/ 13 w 13"/>
                <a:gd name="T1" fmla="*/ 1 h 6"/>
                <a:gd name="T2" fmla="*/ 7 w 13"/>
                <a:gd name="T3" fmla="*/ 4 h 6"/>
                <a:gd name="T4" fmla="*/ 0 w 13"/>
                <a:gd name="T5" fmla="*/ 6 h 6"/>
                <a:gd name="T6" fmla="*/ 7 w 13"/>
                <a:gd name="T7" fmla="*/ 2 h 6"/>
                <a:gd name="T8" fmla="*/ 13 w 13"/>
                <a:gd name="T9" fmla="*/ 0 h 6"/>
                <a:gd name="T10" fmla="*/ 13 w 13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6">
                  <a:moveTo>
                    <a:pt x="13" y="1"/>
                  </a:moveTo>
                  <a:cubicBezTo>
                    <a:pt x="12" y="2"/>
                    <a:pt x="9" y="3"/>
                    <a:pt x="7" y="4"/>
                  </a:cubicBezTo>
                  <a:cubicBezTo>
                    <a:pt x="5" y="5"/>
                    <a:pt x="2" y="6"/>
                    <a:pt x="0" y="6"/>
                  </a:cubicBez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1" y="1"/>
                    <a:pt x="13" y="0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7" name="Freeform 208">
              <a:extLst>
                <a:ext uri="{FF2B5EF4-FFF2-40B4-BE49-F238E27FC236}">
                  <a16:creationId xmlns:a16="http://schemas.microsoft.com/office/drawing/2014/main" xmlns="" id="{A9692A82-E29A-451F-A8B7-5CB7BED7F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" y="1885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5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8" name="Freeform 209">
              <a:extLst>
                <a:ext uri="{FF2B5EF4-FFF2-40B4-BE49-F238E27FC236}">
                  <a16:creationId xmlns:a16="http://schemas.microsoft.com/office/drawing/2014/main" xmlns="" id="{4E34DBD9-FC6F-45ED-B23E-E1EBCE24A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4" y="1650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5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9" name="Freeform 210">
              <a:extLst>
                <a:ext uri="{FF2B5EF4-FFF2-40B4-BE49-F238E27FC236}">
                  <a16:creationId xmlns:a16="http://schemas.microsoft.com/office/drawing/2014/main" xmlns="" id="{445563DF-1B46-4553-BD8A-264CF311D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" y="1311"/>
              <a:ext cx="159" cy="99"/>
            </a:xfrm>
            <a:custGeom>
              <a:avLst/>
              <a:gdLst>
                <a:gd name="T0" fmla="*/ 4 w 67"/>
                <a:gd name="T1" fmla="*/ 4 h 42"/>
                <a:gd name="T2" fmla="*/ 4 w 67"/>
                <a:gd name="T3" fmla="*/ 4 h 42"/>
                <a:gd name="T4" fmla="*/ 17 w 67"/>
                <a:gd name="T5" fmla="*/ 40 h 42"/>
                <a:gd name="T6" fmla="*/ 36 w 67"/>
                <a:gd name="T7" fmla="*/ 32 h 42"/>
                <a:gd name="T8" fmla="*/ 52 w 67"/>
                <a:gd name="T9" fmla="*/ 18 h 42"/>
                <a:gd name="T10" fmla="*/ 67 w 67"/>
                <a:gd name="T11" fmla="*/ 0 h 42"/>
                <a:gd name="T12" fmla="*/ 67 w 67"/>
                <a:gd name="T13" fmla="*/ 0 h 42"/>
                <a:gd name="T14" fmla="*/ 53 w 67"/>
                <a:gd name="T15" fmla="*/ 19 h 42"/>
                <a:gd name="T16" fmla="*/ 37 w 67"/>
                <a:gd name="T17" fmla="*/ 35 h 42"/>
                <a:gd name="T18" fmla="*/ 16 w 67"/>
                <a:gd name="T19" fmla="*/ 42 h 42"/>
                <a:gd name="T20" fmla="*/ 3 w 67"/>
                <a:gd name="T21" fmla="*/ 31 h 42"/>
                <a:gd name="T22" fmla="*/ 4 w 67"/>
                <a:gd name="T23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2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15"/>
                    <a:pt x="0" y="40"/>
                    <a:pt x="17" y="40"/>
                  </a:cubicBezTo>
                  <a:cubicBezTo>
                    <a:pt x="24" y="39"/>
                    <a:pt x="31" y="36"/>
                    <a:pt x="36" y="32"/>
                  </a:cubicBezTo>
                  <a:cubicBezTo>
                    <a:pt x="42" y="28"/>
                    <a:pt x="47" y="23"/>
                    <a:pt x="52" y="18"/>
                  </a:cubicBezTo>
                  <a:cubicBezTo>
                    <a:pt x="57" y="12"/>
                    <a:pt x="62" y="6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7"/>
                    <a:pt x="59" y="13"/>
                    <a:pt x="53" y="19"/>
                  </a:cubicBezTo>
                  <a:cubicBezTo>
                    <a:pt x="49" y="25"/>
                    <a:pt x="43" y="30"/>
                    <a:pt x="37" y="35"/>
                  </a:cubicBezTo>
                  <a:cubicBezTo>
                    <a:pt x="31" y="39"/>
                    <a:pt x="24" y="42"/>
                    <a:pt x="16" y="42"/>
                  </a:cubicBezTo>
                  <a:cubicBezTo>
                    <a:pt x="9" y="42"/>
                    <a:pt x="5" y="37"/>
                    <a:pt x="3" y="31"/>
                  </a:cubicBezTo>
                  <a:cubicBezTo>
                    <a:pt x="1" y="22"/>
                    <a:pt x="2" y="12"/>
                    <a:pt x="4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0" name="Freeform 211">
              <a:extLst>
                <a:ext uri="{FF2B5EF4-FFF2-40B4-BE49-F238E27FC236}">
                  <a16:creationId xmlns:a16="http://schemas.microsoft.com/office/drawing/2014/main" xmlns="" id="{C4CCAC07-FC00-452D-9ADD-AF3052C69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" y="1684"/>
              <a:ext cx="558" cy="467"/>
            </a:xfrm>
            <a:custGeom>
              <a:avLst/>
              <a:gdLst>
                <a:gd name="T0" fmla="*/ 209 w 558"/>
                <a:gd name="T1" fmla="*/ 467 h 467"/>
                <a:gd name="T2" fmla="*/ 558 w 558"/>
                <a:gd name="T3" fmla="*/ 432 h 467"/>
                <a:gd name="T4" fmla="*/ 351 w 558"/>
                <a:gd name="T5" fmla="*/ 0 h 467"/>
                <a:gd name="T6" fmla="*/ 0 w 558"/>
                <a:gd name="T7" fmla="*/ 33 h 467"/>
                <a:gd name="T8" fmla="*/ 209 w 558"/>
                <a:gd name="T9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467">
                  <a:moveTo>
                    <a:pt x="209" y="467"/>
                  </a:moveTo>
                  <a:lnTo>
                    <a:pt x="558" y="432"/>
                  </a:lnTo>
                  <a:lnTo>
                    <a:pt x="351" y="0"/>
                  </a:lnTo>
                  <a:lnTo>
                    <a:pt x="0" y="33"/>
                  </a:lnTo>
                  <a:lnTo>
                    <a:pt x="209" y="467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1" name="Freeform 212">
              <a:extLst>
                <a:ext uri="{FF2B5EF4-FFF2-40B4-BE49-F238E27FC236}">
                  <a16:creationId xmlns:a16="http://schemas.microsoft.com/office/drawing/2014/main" xmlns="" id="{5AFE93E8-3ED1-45D9-826C-A9472F6AF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2" y="1686"/>
              <a:ext cx="558" cy="468"/>
            </a:xfrm>
            <a:custGeom>
              <a:avLst/>
              <a:gdLst>
                <a:gd name="T0" fmla="*/ 209 w 558"/>
                <a:gd name="T1" fmla="*/ 468 h 468"/>
                <a:gd name="T2" fmla="*/ 558 w 558"/>
                <a:gd name="T3" fmla="*/ 432 h 468"/>
                <a:gd name="T4" fmla="*/ 349 w 558"/>
                <a:gd name="T5" fmla="*/ 0 h 468"/>
                <a:gd name="T6" fmla="*/ 0 w 558"/>
                <a:gd name="T7" fmla="*/ 33 h 468"/>
                <a:gd name="T8" fmla="*/ 209 w 558"/>
                <a:gd name="T9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468">
                  <a:moveTo>
                    <a:pt x="209" y="468"/>
                  </a:moveTo>
                  <a:lnTo>
                    <a:pt x="558" y="432"/>
                  </a:lnTo>
                  <a:lnTo>
                    <a:pt x="349" y="0"/>
                  </a:lnTo>
                  <a:lnTo>
                    <a:pt x="0" y="33"/>
                  </a:lnTo>
                  <a:lnTo>
                    <a:pt x="209" y="468"/>
                  </a:lnTo>
                  <a:close/>
                </a:path>
              </a:pathLst>
            </a:custGeom>
            <a:solidFill>
              <a:srgbClr val="C7C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2" name="Freeform 213">
              <a:extLst>
                <a:ext uri="{FF2B5EF4-FFF2-40B4-BE49-F238E27FC236}">
                  <a16:creationId xmlns:a16="http://schemas.microsoft.com/office/drawing/2014/main" xmlns="" id="{BD3C0707-1931-4BDD-815F-472408A17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" y="1672"/>
              <a:ext cx="26" cy="35"/>
            </a:xfrm>
            <a:custGeom>
              <a:avLst/>
              <a:gdLst>
                <a:gd name="T0" fmla="*/ 1 w 11"/>
                <a:gd name="T1" fmla="*/ 7 h 15"/>
                <a:gd name="T2" fmla="*/ 8 w 11"/>
                <a:gd name="T3" fmla="*/ 14 h 15"/>
                <a:gd name="T4" fmla="*/ 8 w 11"/>
                <a:gd name="T5" fmla="*/ 13 h 15"/>
                <a:gd name="T6" fmla="*/ 3 w 11"/>
                <a:gd name="T7" fmla="*/ 8 h 15"/>
                <a:gd name="T8" fmla="*/ 3 w 11"/>
                <a:gd name="T9" fmla="*/ 7 h 15"/>
                <a:gd name="T10" fmla="*/ 2 w 11"/>
                <a:gd name="T11" fmla="*/ 4 h 15"/>
                <a:gd name="T12" fmla="*/ 3 w 11"/>
                <a:gd name="T13" fmla="*/ 2 h 15"/>
                <a:gd name="T14" fmla="*/ 3 w 11"/>
                <a:gd name="T15" fmla="*/ 2 h 15"/>
                <a:gd name="T16" fmla="*/ 3 w 11"/>
                <a:gd name="T17" fmla="*/ 2 h 15"/>
                <a:gd name="T18" fmla="*/ 4 w 11"/>
                <a:gd name="T19" fmla="*/ 2 h 15"/>
                <a:gd name="T20" fmla="*/ 5 w 11"/>
                <a:gd name="T21" fmla="*/ 2 h 15"/>
                <a:gd name="T22" fmla="*/ 6 w 11"/>
                <a:gd name="T23" fmla="*/ 3 h 15"/>
                <a:gd name="T24" fmla="*/ 8 w 11"/>
                <a:gd name="T25" fmla="*/ 5 h 15"/>
                <a:gd name="T26" fmla="*/ 9 w 11"/>
                <a:gd name="T27" fmla="*/ 6 h 15"/>
                <a:gd name="T28" fmla="*/ 9 w 11"/>
                <a:gd name="T29" fmla="*/ 6 h 15"/>
                <a:gd name="T30" fmla="*/ 9 w 11"/>
                <a:gd name="T31" fmla="*/ 6 h 15"/>
                <a:gd name="T32" fmla="*/ 9 w 11"/>
                <a:gd name="T33" fmla="*/ 6 h 15"/>
                <a:gd name="T34" fmla="*/ 11 w 11"/>
                <a:gd name="T35" fmla="*/ 6 h 15"/>
                <a:gd name="T36" fmla="*/ 9 w 11"/>
                <a:gd name="T37" fmla="*/ 3 h 15"/>
                <a:gd name="T38" fmla="*/ 3 w 11"/>
                <a:gd name="T39" fmla="*/ 0 h 15"/>
                <a:gd name="T40" fmla="*/ 0 w 11"/>
                <a:gd name="T41" fmla="*/ 3 h 15"/>
                <a:gd name="T42" fmla="*/ 1 w 11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5">
                  <a:moveTo>
                    <a:pt x="1" y="7"/>
                  </a:moveTo>
                  <a:cubicBezTo>
                    <a:pt x="2" y="10"/>
                    <a:pt x="5" y="13"/>
                    <a:pt x="8" y="14"/>
                  </a:cubicBezTo>
                  <a:cubicBezTo>
                    <a:pt x="9" y="15"/>
                    <a:pt x="10" y="13"/>
                    <a:pt x="8" y="13"/>
                  </a:cubicBezTo>
                  <a:cubicBezTo>
                    <a:pt x="6" y="12"/>
                    <a:pt x="4" y="10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6" y="2"/>
                    <a:pt x="6" y="3"/>
                  </a:cubicBezTo>
                  <a:cubicBezTo>
                    <a:pt x="7" y="3"/>
                    <a:pt x="8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0" y="6"/>
                    <a:pt x="1" y="7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3" name="Freeform 214">
              <a:extLst>
                <a:ext uri="{FF2B5EF4-FFF2-40B4-BE49-F238E27FC236}">
                  <a16:creationId xmlns:a16="http://schemas.microsoft.com/office/drawing/2014/main" xmlns="" id="{C4B16E1F-68E0-4254-AE40-86C2673A4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" y="1674"/>
              <a:ext cx="29" cy="36"/>
            </a:xfrm>
            <a:custGeom>
              <a:avLst/>
              <a:gdLst>
                <a:gd name="T0" fmla="*/ 1 w 12"/>
                <a:gd name="T1" fmla="*/ 7 h 15"/>
                <a:gd name="T2" fmla="*/ 8 w 12"/>
                <a:gd name="T3" fmla="*/ 15 h 15"/>
                <a:gd name="T4" fmla="*/ 9 w 12"/>
                <a:gd name="T5" fmla="*/ 13 h 15"/>
                <a:gd name="T6" fmla="*/ 4 w 12"/>
                <a:gd name="T7" fmla="*/ 8 h 15"/>
                <a:gd name="T8" fmla="*/ 3 w 12"/>
                <a:gd name="T9" fmla="*/ 7 h 15"/>
                <a:gd name="T10" fmla="*/ 3 w 12"/>
                <a:gd name="T11" fmla="*/ 4 h 15"/>
                <a:gd name="T12" fmla="*/ 3 w 12"/>
                <a:gd name="T13" fmla="*/ 2 h 15"/>
                <a:gd name="T14" fmla="*/ 4 w 12"/>
                <a:gd name="T15" fmla="*/ 2 h 15"/>
                <a:gd name="T16" fmla="*/ 4 w 12"/>
                <a:gd name="T17" fmla="*/ 2 h 15"/>
                <a:gd name="T18" fmla="*/ 4 w 12"/>
                <a:gd name="T19" fmla="*/ 2 h 15"/>
                <a:gd name="T20" fmla="*/ 5 w 12"/>
                <a:gd name="T21" fmla="*/ 2 h 15"/>
                <a:gd name="T22" fmla="*/ 7 w 12"/>
                <a:gd name="T23" fmla="*/ 3 h 15"/>
                <a:gd name="T24" fmla="*/ 9 w 12"/>
                <a:gd name="T25" fmla="*/ 5 h 15"/>
                <a:gd name="T26" fmla="*/ 9 w 12"/>
                <a:gd name="T27" fmla="*/ 6 h 15"/>
                <a:gd name="T28" fmla="*/ 9 w 12"/>
                <a:gd name="T29" fmla="*/ 6 h 15"/>
                <a:gd name="T30" fmla="*/ 10 w 12"/>
                <a:gd name="T31" fmla="*/ 6 h 15"/>
                <a:gd name="T32" fmla="*/ 10 w 12"/>
                <a:gd name="T33" fmla="*/ 7 h 15"/>
                <a:gd name="T34" fmla="*/ 12 w 12"/>
                <a:gd name="T35" fmla="*/ 6 h 15"/>
                <a:gd name="T36" fmla="*/ 9 w 12"/>
                <a:gd name="T37" fmla="*/ 3 h 15"/>
                <a:gd name="T38" fmla="*/ 3 w 12"/>
                <a:gd name="T39" fmla="*/ 0 h 15"/>
                <a:gd name="T40" fmla="*/ 0 w 12"/>
                <a:gd name="T41" fmla="*/ 3 h 15"/>
                <a:gd name="T42" fmla="*/ 1 w 12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5">
                  <a:moveTo>
                    <a:pt x="1" y="7"/>
                  </a:moveTo>
                  <a:cubicBezTo>
                    <a:pt x="2" y="10"/>
                    <a:pt x="5" y="13"/>
                    <a:pt x="8" y="15"/>
                  </a:cubicBezTo>
                  <a:cubicBezTo>
                    <a:pt x="10" y="15"/>
                    <a:pt x="10" y="13"/>
                    <a:pt x="9" y="13"/>
                  </a:cubicBezTo>
                  <a:cubicBezTo>
                    <a:pt x="6" y="12"/>
                    <a:pt x="5" y="10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2"/>
                    <a:pt x="7" y="3"/>
                  </a:cubicBezTo>
                  <a:cubicBezTo>
                    <a:pt x="8" y="4"/>
                    <a:pt x="8" y="4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8" y="1"/>
                    <a:pt x="6" y="0"/>
                    <a:pt x="3" y="0"/>
                  </a:cubicBezTo>
                  <a:cubicBezTo>
                    <a:pt x="1" y="0"/>
                    <a:pt x="1" y="2"/>
                    <a:pt x="0" y="3"/>
                  </a:cubicBezTo>
                  <a:cubicBezTo>
                    <a:pt x="0" y="5"/>
                    <a:pt x="1" y="6"/>
                    <a:pt x="1" y="7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4" name="Freeform 215">
              <a:extLst>
                <a:ext uri="{FF2B5EF4-FFF2-40B4-BE49-F238E27FC236}">
                  <a16:creationId xmlns:a16="http://schemas.microsoft.com/office/drawing/2014/main" xmlns="" id="{F61A3FD9-04B7-4A61-A8EC-6846C3B58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" y="1676"/>
              <a:ext cx="26" cy="36"/>
            </a:xfrm>
            <a:custGeom>
              <a:avLst/>
              <a:gdLst>
                <a:gd name="T0" fmla="*/ 1 w 11"/>
                <a:gd name="T1" fmla="*/ 8 h 15"/>
                <a:gd name="T2" fmla="*/ 8 w 11"/>
                <a:gd name="T3" fmla="*/ 15 h 15"/>
                <a:gd name="T4" fmla="*/ 8 w 11"/>
                <a:gd name="T5" fmla="*/ 13 h 15"/>
                <a:gd name="T6" fmla="*/ 3 w 11"/>
                <a:gd name="T7" fmla="*/ 8 h 15"/>
                <a:gd name="T8" fmla="*/ 3 w 11"/>
                <a:gd name="T9" fmla="*/ 7 h 15"/>
                <a:gd name="T10" fmla="*/ 2 w 11"/>
                <a:gd name="T11" fmla="*/ 4 h 15"/>
                <a:gd name="T12" fmla="*/ 3 w 11"/>
                <a:gd name="T13" fmla="*/ 2 h 15"/>
                <a:gd name="T14" fmla="*/ 3 w 11"/>
                <a:gd name="T15" fmla="*/ 2 h 15"/>
                <a:gd name="T16" fmla="*/ 3 w 11"/>
                <a:gd name="T17" fmla="*/ 2 h 15"/>
                <a:gd name="T18" fmla="*/ 3 w 11"/>
                <a:gd name="T19" fmla="*/ 2 h 15"/>
                <a:gd name="T20" fmla="*/ 5 w 11"/>
                <a:gd name="T21" fmla="*/ 2 h 15"/>
                <a:gd name="T22" fmla="*/ 6 w 11"/>
                <a:gd name="T23" fmla="*/ 3 h 15"/>
                <a:gd name="T24" fmla="*/ 8 w 11"/>
                <a:gd name="T25" fmla="*/ 5 h 15"/>
                <a:gd name="T26" fmla="*/ 9 w 11"/>
                <a:gd name="T27" fmla="*/ 6 h 15"/>
                <a:gd name="T28" fmla="*/ 9 w 11"/>
                <a:gd name="T29" fmla="*/ 6 h 15"/>
                <a:gd name="T30" fmla="*/ 9 w 11"/>
                <a:gd name="T31" fmla="*/ 7 h 15"/>
                <a:gd name="T32" fmla="*/ 9 w 11"/>
                <a:gd name="T33" fmla="*/ 7 h 15"/>
                <a:gd name="T34" fmla="*/ 11 w 11"/>
                <a:gd name="T35" fmla="*/ 7 h 15"/>
                <a:gd name="T36" fmla="*/ 9 w 11"/>
                <a:gd name="T37" fmla="*/ 3 h 15"/>
                <a:gd name="T38" fmla="*/ 3 w 11"/>
                <a:gd name="T39" fmla="*/ 0 h 15"/>
                <a:gd name="T40" fmla="*/ 0 w 11"/>
                <a:gd name="T41" fmla="*/ 3 h 15"/>
                <a:gd name="T42" fmla="*/ 1 w 11"/>
                <a:gd name="T4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5">
                  <a:moveTo>
                    <a:pt x="1" y="8"/>
                  </a:moveTo>
                  <a:cubicBezTo>
                    <a:pt x="2" y="10"/>
                    <a:pt x="4" y="13"/>
                    <a:pt x="8" y="15"/>
                  </a:cubicBezTo>
                  <a:cubicBezTo>
                    <a:pt x="9" y="15"/>
                    <a:pt x="9" y="13"/>
                    <a:pt x="8" y="13"/>
                  </a:cubicBezTo>
                  <a:cubicBezTo>
                    <a:pt x="6" y="12"/>
                    <a:pt x="4" y="10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6" y="3"/>
                    <a:pt x="6" y="3"/>
                  </a:cubicBezTo>
                  <a:cubicBezTo>
                    <a:pt x="7" y="4"/>
                    <a:pt x="7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305" name="Freeform 216">
              <a:extLst>
                <a:ext uri="{FF2B5EF4-FFF2-40B4-BE49-F238E27FC236}">
                  <a16:creationId xmlns:a16="http://schemas.microsoft.com/office/drawing/2014/main" xmlns="" id="{3D7674A6-60B1-47BF-A245-C045C4AD6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0" y="1679"/>
              <a:ext cx="28" cy="35"/>
            </a:xfrm>
            <a:custGeom>
              <a:avLst/>
              <a:gdLst>
                <a:gd name="T0" fmla="*/ 1 w 12"/>
                <a:gd name="T1" fmla="*/ 8 h 15"/>
                <a:gd name="T2" fmla="*/ 8 w 12"/>
                <a:gd name="T3" fmla="*/ 15 h 15"/>
                <a:gd name="T4" fmla="*/ 9 w 12"/>
                <a:gd name="T5" fmla="*/ 13 h 15"/>
                <a:gd name="T6" fmla="*/ 4 w 12"/>
                <a:gd name="T7" fmla="*/ 9 h 15"/>
                <a:gd name="T8" fmla="*/ 3 w 12"/>
                <a:gd name="T9" fmla="*/ 8 h 15"/>
                <a:gd name="T10" fmla="*/ 3 w 12"/>
                <a:gd name="T11" fmla="*/ 4 h 15"/>
                <a:gd name="T12" fmla="*/ 3 w 12"/>
                <a:gd name="T13" fmla="*/ 3 h 15"/>
                <a:gd name="T14" fmla="*/ 4 w 12"/>
                <a:gd name="T15" fmla="*/ 2 h 15"/>
                <a:gd name="T16" fmla="*/ 4 w 12"/>
                <a:gd name="T17" fmla="*/ 2 h 15"/>
                <a:gd name="T18" fmla="*/ 4 w 12"/>
                <a:gd name="T19" fmla="*/ 2 h 15"/>
                <a:gd name="T20" fmla="*/ 5 w 12"/>
                <a:gd name="T21" fmla="*/ 2 h 15"/>
                <a:gd name="T22" fmla="*/ 7 w 12"/>
                <a:gd name="T23" fmla="*/ 3 h 15"/>
                <a:gd name="T24" fmla="*/ 8 w 12"/>
                <a:gd name="T25" fmla="*/ 5 h 15"/>
                <a:gd name="T26" fmla="*/ 9 w 12"/>
                <a:gd name="T27" fmla="*/ 6 h 15"/>
                <a:gd name="T28" fmla="*/ 9 w 12"/>
                <a:gd name="T29" fmla="*/ 6 h 15"/>
                <a:gd name="T30" fmla="*/ 10 w 12"/>
                <a:gd name="T31" fmla="*/ 7 h 15"/>
                <a:gd name="T32" fmla="*/ 10 w 12"/>
                <a:gd name="T33" fmla="*/ 7 h 15"/>
                <a:gd name="T34" fmla="*/ 12 w 12"/>
                <a:gd name="T35" fmla="*/ 7 h 15"/>
                <a:gd name="T36" fmla="*/ 9 w 12"/>
                <a:gd name="T37" fmla="*/ 3 h 15"/>
                <a:gd name="T38" fmla="*/ 3 w 12"/>
                <a:gd name="T39" fmla="*/ 0 h 15"/>
                <a:gd name="T40" fmla="*/ 0 w 12"/>
                <a:gd name="T41" fmla="*/ 4 h 15"/>
                <a:gd name="T42" fmla="*/ 1 w 12"/>
                <a:gd name="T4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5">
                  <a:moveTo>
                    <a:pt x="1" y="8"/>
                  </a:moveTo>
                  <a:cubicBezTo>
                    <a:pt x="2" y="11"/>
                    <a:pt x="5" y="13"/>
                    <a:pt x="8" y="15"/>
                  </a:cubicBezTo>
                  <a:cubicBezTo>
                    <a:pt x="10" y="15"/>
                    <a:pt x="10" y="14"/>
                    <a:pt x="9" y="13"/>
                  </a:cubicBezTo>
                  <a:cubicBezTo>
                    <a:pt x="6" y="12"/>
                    <a:pt x="5" y="10"/>
                    <a:pt x="4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3"/>
                    <a:pt x="7" y="3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6"/>
                    <a:pt x="10" y="4"/>
                    <a:pt x="9" y="3"/>
                  </a:cubicBezTo>
                  <a:cubicBezTo>
                    <a:pt x="8" y="1"/>
                    <a:pt x="6" y="0"/>
                    <a:pt x="3" y="0"/>
                  </a:cubicBezTo>
                  <a:cubicBezTo>
                    <a:pt x="1" y="0"/>
                    <a:pt x="1" y="2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53" name="Freeform 218">
            <a:extLst>
              <a:ext uri="{FF2B5EF4-FFF2-40B4-BE49-F238E27FC236}">
                <a16:creationId xmlns:a16="http://schemas.microsoft.com/office/drawing/2014/main" xmlns="" id="{9B7AF571-4E55-4987-AE43-1282C9B3585B}"/>
              </a:ext>
            </a:extLst>
          </p:cNvPr>
          <p:cNvSpPr>
            <a:spLocks/>
          </p:cNvSpPr>
          <p:nvPr/>
        </p:nvSpPr>
        <p:spPr bwMode="auto">
          <a:xfrm>
            <a:off x="9501294" y="3430549"/>
            <a:ext cx="32477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3 h 16"/>
              <a:gd name="T18" fmla="*/ 3 w 11"/>
              <a:gd name="T19" fmla="*/ 2 h 16"/>
              <a:gd name="T20" fmla="*/ 4 w 11"/>
              <a:gd name="T21" fmla="*/ 2 h 16"/>
              <a:gd name="T22" fmla="*/ 6 w 11"/>
              <a:gd name="T23" fmla="*/ 3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6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3 h 16"/>
              <a:gd name="T38" fmla="*/ 3 w 11"/>
              <a:gd name="T39" fmla="*/ 0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4" y="14"/>
                  <a:pt x="8" y="15"/>
                </a:cubicBezTo>
                <a:cubicBezTo>
                  <a:pt x="9" y="16"/>
                  <a:pt x="9" y="14"/>
                  <a:pt x="8" y="13"/>
                </a:cubicBezTo>
                <a:cubicBezTo>
                  <a:pt x="6" y="12"/>
                  <a:pt x="4" y="10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2" y="6"/>
                  <a:pt x="2" y="5"/>
                  <a:pt x="2" y="4"/>
                </a:cubicBezTo>
                <a:cubicBezTo>
                  <a:pt x="2" y="4"/>
                  <a:pt x="2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3"/>
                  <a:pt x="6" y="3"/>
                  <a:pt x="6" y="3"/>
                </a:cubicBezTo>
                <a:cubicBezTo>
                  <a:pt x="7" y="4"/>
                  <a:pt x="7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4"/>
                  <a:pt x="9" y="3"/>
                </a:cubicBezTo>
                <a:cubicBezTo>
                  <a:pt x="7" y="2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4" name="Freeform 219">
            <a:extLst>
              <a:ext uri="{FF2B5EF4-FFF2-40B4-BE49-F238E27FC236}">
                <a16:creationId xmlns:a16="http://schemas.microsoft.com/office/drawing/2014/main" xmlns="" id="{8AF6DF5F-9678-43A3-AC68-989D3BDAF7E9}"/>
              </a:ext>
            </a:extLst>
          </p:cNvPr>
          <p:cNvSpPr>
            <a:spLocks/>
          </p:cNvSpPr>
          <p:nvPr/>
        </p:nvSpPr>
        <p:spPr bwMode="auto">
          <a:xfrm>
            <a:off x="9465070" y="3434297"/>
            <a:ext cx="36224" cy="46217"/>
          </a:xfrm>
          <a:custGeom>
            <a:avLst/>
            <a:gdLst>
              <a:gd name="T0" fmla="*/ 1 w 12"/>
              <a:gd name="T1" fmla="*/ 8 h 16"/>
              <a:gd name="T2" fmla="*/ 8 w 12"/>
              <a:gd name="T3" fmla="*/ 15 h 16"/>
              <a:gd name="T4" fmla="*/ 8 w 12"/>
              <a:gd name="T5" fmla="*/ 13 h 16"/>
              <a:gd name="T6" fmla="*/ 4 w 12"/>
              <a:gd name="T7" fmla="*/ 9 h 16"/>
              <a:gd name="T8" fmla="*/ 3 w 12"/>
              <a:gd name="T9" fmla="*/ 8 h 16"/>
              <a:gd name="T10" fmla="*/ 3 w 12"/>
              <a:gd name="T11" fmla="*/ 4 h 16"/>
              <a:gd name="T12" fmla="*/ 3 w 12"/>
              <a:gd name="T13" fmla="*/ 3 h 16"/>
              <a:gd name="T14" fmla="*/ 3 w 12"/>
              <a:gd name="T15" fmla="*/ 3 h 16"/>
              <a:gd name="T16" fmla="*/ 4 w 12"/>
              <a:gd name="T17" fmla="*/ 3 h 16"/>
              <a:gd name="T18" fmla="*/ 4 w 12"/>
              <a:gd name="T19" fmla="*/ 3 h 16"/>
              <a:gd name="T20" fmla="*/ 5 w 12"/>
              <a:gd name="T21" fmla="*/ 3 h 16"/>
              <a:gd name="T22" fmla="*/ 7 w 12"/>
              <a:gd name="T23" fmla="*/ 3 h 16"/>
              <a:gd name="T24" fmla="*/ 8 w 12"/>
              <a:gd name="T25" fmla="*/ 5 h 16"/>
              <a:gd name="T26" fmla="*/ 9 w 12"/>
              <a:gd name="T27" fmla="*/ 6 h 16"/>
              <a:gd name="T28" fmla="*/ 9 w 12"/>
              <a:gd name="T29" fmla="*/ 7 h 16"/>
              <a:gd name="T30" fmla="*/ 9 w 12"/>
              <a:gd name="T31" fmla="*/ 7 h 16"/>
              <a:gd name="T32" fmla="*/ 10 w 12"/>
              <a:gd name="T33" fmla="*/ 7 h 16"/>
              <a:gd name="T34" fmla="*/ 12 w 12"/>
              <a:gd name="T35" fmla="*/ 7 h 16"/>
              <a:gd name="T36" fmla="*/ 9 w 12"/>
              <a:gd name="T37" fmla="*/ 4 h 16"/>
              <a:gd name="T38" fmla="*/ 3 w 12"/>
              <a:gd name="T39" fmla="*/ 0 h 16"/>
              <a:gd name="T40" fmla="*/ 0 w 12"/>
              <a:gd name="T41" fmla="*/ 4 h 16"/>
              <a:gd name="T42" fmla="*/ 1 w 12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6">
                <a:moveTo>
                  <a:pt x="1" y="8"/>
                </a:moveTo>
                <a:cubicBezTo>
                  <a:pt x="2" y="11"/>
                  <a:pt x="5" y="14"/>
                  <a:pt x="8" y="15"/>
                </a:cubicBezTo>
                <a:cubicBezTo>
                  <a:pt x="10" y="16"/>
                  <a:pt x="10" y="14"/>
                  <a:pt x="8" y="13"/>
                </a:cubicBezTo>
                <a:cubicBezTo>
                  <a:pt x="6" y="12"/>
                  <a:pt x="5" y="11"/>
                  <a:pt x="4" y="9"/>
                </a:cubicBezTo>
                <a:cubicBezTo>
                  <a:pt x="3" y="8"/>
                  <a:pt x="3" y="8"/>
                  <a:pt x="3" y="8"/>
                </a:cubicBezTo>
                <a:cubicBezTo>
                  <a:pt x="3" y="7"/>
                  <a:pt x="2" y="5"/>
                  <a:pt x="3" y="4"/>
                </a:cubicBezTo>
                <a:cubicBezTo>
                  <a:pt x="3" y="4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5" y="2"/>
                  <a:pt x="5" y="3"/>
                </a:cubicBezTo>
                <a:cubicBezTo>
                  <a:pt x="6" y="3"/>
                  <a:pt x="6" y="3"/>
                  <a:pt x="7" y="3"/>
                </a:cubicBezTo>
                <a:cubicBezTo>
                  <a:pt x="7" y="4"/>
                  <a:pt x="8" y="5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1" y="6"/>
                  <a:pt x="10" y="5"/>
                  <a:pt x="9" y="4"/>
                </a:cubicBezTo>
                <a:cubicBezTo>
                  <a:pt x="8" y="2"/>
                  <a:pt x="6" y="0"/>
                  <a:pt x="3" y="0"/>
                </a:cubicBezTo>
                <a:cubicBezTo>
                  <a:pt x="1" y="1"/>
                  <a:pt x="0" y="2"/>
                  <a:pt x="0" y="4"/>
                </a:cubicBezTo>
                <a:cubicBezTo>
                  <a:pt x="0" y="5"/>
                  <a:pt x="0" y="7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5" name="Freeform 220">
            <a:extLst>
              <a:ext uri="{FF2B5EF4-FFF2-40B4-BE49-F238E27FC236}">
                <a16:creationId xmlns:a16="http://schemas.microsoft.com/office/drawing/2014/main" xmlns="" id="{16CF980F-5FB5-4392-BD95-FAA5F4983119}"/>
              </a:ext>
            </a:extLst>
          </p:cNvPr>
          <p:cNvSpPr>
            <a:spLocks/>
          </p:cNvSpPr>
          <p:nvPr/>
        </p:nvSpPr>
        <p:spPr bwMode="auto">
          <a:xfrm>
            <a:off x="9432594" y="3436795"/>
            <a:ext cx="32477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3 h 16"/>
              <a:gd name="T18" fmla="*/ 3 w 11"/>
              <a:gd name="T19" fmla="*/ 3 h 16"/>
              <a:gd name="T20" fmla="*/ 4 w 11"/>
              <a:gd name="T21" fmla="*/ 3 h 16"/>
              <a:gd name="T22" fmla="*/ 6 w 11"/>
              <a:gd name="T23" fmla="*/ 4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7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4 h 16"/>
              <a:gd name="T38" fmla="*/ 3 w 11"/>
              <a:gd name="T39" fmla="*/ 1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4" y="14"/>
                  <a:pt x="8" y="15"/>
                </a:cubicBezTo>
                <a:cubicBezTo>
                  <a:pt x="9" y="16"/>
                  <a:pt x="9" y="14"/>
                  <a:pt x="8" y="13"/>
                </a:cubicBezTo>
                <a:cubicBezTo>
                  <a:pt x="6" y="12"/>
                  <a:pt x="4" y="11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2" y="7"/>
                  <a:pt x="2" y="5"/>
                  <a:pt x="2" y="4"/>
                </a:cubicBezTo>
                <a:cubicBezTo>
                  <a:pt x="2" y="4"/>
                  <a:pt x="2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4" y="3"/>
                  <a:pt x="4" y="3"/>
                  <a:pt x="4" y="3"/>
                </a:cubicBezTo>
                <a:cubicBezTo>
                  <a:pt x="5" y="3"/>
                  <a:pt x="6" y="3"/>
                  <a:pt x="6" y="4"/>
                </a:cubicBezTo>
                <a:cubicBezTo>
                  <a:pt x="7" y="4"/>
                  <a:pt x="7" y="5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5"/>
                  <a:pt x="9" y="4"/>
                </a:cubicBezTo>
                <a:cubicBezTo>
                  <a:pt x="7" y="2"/>
                  <a:pt x="5" y="0"/>
                  <a:pt x="3" y="1"/>
                </a:cubicBezTo>
                <a:cubicBezTo>
                  <a:pt x="1" y="1"/>
                  <a:pt x="0" y="2"/>
                  <a:pt x="0" y="4"/>
                </a:cubicBezTo>
                <a:cubicBezTo>
                  <a:pt x="0" y="5"/>
                  <a:pt x="0" y="7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6" name="Freeform 221">
            <a:extLst>
              <a:ext uri="{FF2B5EF4-FFF2-40B4-BE49-F238E27FC236}">
                <a16:creationId xmlns:a16="http://schemas.microsoft.com/office/drawing/2014/main" xmlns="" id="{57E3005F-7829-4349-8F4D-932968E6559E}"/>
              </a:ext>
            </a:extLst>
          </p:cNvPr>
          <p:cNvSpPr>
            <a:spLocks/>
          </p:cNvSpPr>
          <p:nvPr/>
        </p:nvSpPr>
        <p:spPr bwMode="auto">
          <a:xfrm>
            <a:off x="9397619" y="3443040"/>
            <a:ext cx="34975" cy="43719"/>
          </a:xfrm>
          <a:custGeom>
            <a:avLst/>
            <a:gdLst>
              <a:gd name="T0" fmla="*/ 1 w 12"/>
              <a:gd name="T1" fmla="*/ 7 h 15"/>
              <a:gd name="T2" fmla="*/ 8 w 12"/>
              <a:gd name="T3" fmla="*/ 14 h 15"/>
              <a:gd name="T4" fmla="*/ 8 w 12"/>
              <a:gd name="T5" fmla="*/ 13 h 15"/>
              <a:gd name="T6" fmla="*/ 4 w 12"/>
              <a:gd name="T7" fmla="*/ 8 h 15"/>
              <a:gd name="T8" fmla="*/ 3 w 12"/>
              <a:gd name="T9" fmla="*/ 7 h 15"/>
              <a:gd name="T10" fmla="*/ 3 w 12"/>
              <a:gd name="T11" fmla="*/ 3 h 15"/>
              <a:gd name="T12" fmla="*/ 3 w 12"/>
              <a:gd name="T13" fmla="*/ 2 h 15"/>
              <a:gd name="T14" fmla="*/ 3 w 12"/>
              <a:gd name="T15" fmla="*/ 2 h 15"/>
              <a:gd name="T16" fmla="*/ 4 w 12"/>
              <a:gd name="T17" fmla="*/ 2 h 15"/>
              <a:gd name="T18" fmla="*/ 4 w 12"/>
              <a:gd name="T19" fmla="*/ 2 h 15"/>
              <a:gd name="T20" fmla="*/ 5 w 12"/>
              <a:gd name="T21" fmla="*/ 2 h 15"/>
              <a:gd name="T22" fmla="*/ 7 w 12"/>
              <a:gd name="T23" fmla="*/ 3 h 15"/>
              <a:gd name="T24" fmla="*/ 8 w 12"/>
              <a:gd name="T25" fmla="*/ 5 h 15"/>
              <a:gd name="T26" fmla="*/ 9 w 12"/>
              <a:gd name="T27" fmla="*/ 6 h 15"/>
              <a:gd name="T28" fmla="*/ 9 w 12"/>
              <a:gd name="T29" fmla="*/ 6 h 15"/>
              <a:gd name="T30" fmla="*/ 9 w 12"/>
              <a:gd name="T31" fmla="*/ 6 h 15"/>
              <a:gd name="T32" fmla="*/ 10 w 12"/>
              <a:gd name="T33" fmla="*/ 6 h 15"/>
              <a:gd name="T34" fmla="*/ 12 w 12"/>
              <a:gd name="T35" fmla="*/ 6 h 15"/>
              <a:gd name="T36" fmla="*/ 9 w 12"/>
              <a:gd name="T37" fmla="*/ 3 h 15"/>
              <a:gd name="T38" fmla="*/ 3 w 12"/>
              <a:gd name="T39" fmla="*/ 0 h 15"/>
              <a:gd name="T40" fmla="*/ 0 w 12"/>
              <a:gd name="T41" fmla="*/ 3 h 15"/>
              <a:gd name="T42" fmla="*/ 1 w 12"/>
              <a:gd name="T43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5">
                <a:moveTo>
                  <a:pt x="1" y="7"/>
                </a:moveTo>
                <a:cubicBezTo>
                  <a:pt x="2" y="10"/>
                  <a:pt x="5" y="13"/>
                  <a:pt x="8" y="14"/>
                </a:cubicBezTo>
                <a:cubicBezTo>
                  <a:pt x="10" y="15"/>
                  <a:pt x="10" y="13"/>
                  <a:pt x="8" y="13"/>
                </a:cubicBezTo>
                <a:cubicBezTo>
                  <a:pt x="6" y="12"/>
                  <a:pt x="5" y="10"/>
                  <a:pt x="4" y="8"/>
                </a:cubicBezTo>
                <a:cubicBezTo>
                  <a:pt x="3" y="7"/>
                  <a:pt x="3" y="7"/>
                  <a:pt x="3" y="7"/>
                </a:cubicBezTo>
                <a:cubicBezTo>
                  <a:pt x="3" y="6"/>
                  <a:pt x="2" y="5"/>
                  <a:pt x="3" y="3"/>
                </a:cubicBezTo>
                <a:cubicBezTo>
                  <a:pt x="3" y="3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2"/>
                  <a:pt x="7" y="3"/>
                </a:cubicBezTo>
                <a:cubicBezTo>
                  <a:pt x="7" y="3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1" y="5"/>
                  <a:pt x="10" y="4"/>
                  <a:pt x="9" y="3"/>
                </a:cubicBezTo>
                <a:cubicBezTo>
                  <a:pt x="8" y="1"/>
                  <a:pt x="5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4"/>
                  <a:pt x="0" y="6"/>
                  <a:pt x="1" y="7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7" name="Freeform 222">
            <a:extLst>
              <a:ext uri="{FF2B5EF4-FFF2-40B4-BE49-F238E27FC236}">
                <a16:creationId xmlns:a16="http://schemas.microsoft.com/office/drawing/2014/main" xmlns="" id="{567E0D34-4C13-42C0-9A13-E4588D0F5F13}"/>
              </a:ext>
            </a:extLst>
          </p:cNvPr>
          <p:cNvSpPr>
            <a:spLocks/>
          </p:cNvSpPr>
          <p:nvPr/>
        </p:nvSpPr>
        <p:spPr bwMode="auto">
          <a:xfrm>
            <a:off x="9365142" y="3445538"/>
            <a:ext cx="32477" cy="44968"/>
          </a:xfrm>
          <a:custGeom>
            <a:avLst/>
            <a:gdLst>
              <a:gd name="T0" fmla="*/ 1 w 11"/>
              <a:gd name="T1" fmla="*/ 7 h 15"/>
              <a:gd name="T2" fmla="*/ 8 w 11"/>
              <a:gd name="T3" fmla="*/ 14 h 15"/>
              <a:gd name="T4" fmla="*/ 8 w 11"/>
              <a:gd name="T5" fmla="*/ 13 h 15"/>
              <a:gd name="T6" fmla="*/ 3 w 11"/>
              <a:gd name="T7" fmla="*/ 8 h 15"/>
              <a:gd name="T8" fmla="*/ 3 w 11"/>
              <a:gd name="T9" fmla="*/ 7 h 15"/>
              <a:gd name="T10" fmla="*/ 2 w 11"/>
              <a:gd name="T11" fmla="*/ 4 h 15"/>
              <a:gd name="T12" fmla="*/ 3 w 11"/>
              <a:gd name="T13" fmla="*/ 2 h 15"/>
              <a:gd name="T14" fmla="*/ 3 w 11"/>
              <a:gd name="T15" fmla="*/ 2 h 15"/>
              <a:gd name="T16" fmla="*/ 3 w 11"/>
              <a:gd name="T17" fmla="*/ 2 h 15"/>
              <a:gd name="T18" fmla="*/ 3 w 11"/>
              <a:gd name="T19" fmla="*/ 2 h 15"/>
              <a:gd name="T20" fmla="*/ 4 w 11"/>
              <a:gd name="T21" fmla="*/ 2 h 15"/>
              <a:gd name="T22" fmla="*/ 6 w 11"/>
              <a:gd name="T23" fmla="*/ 3 h 15"/>
              <a:gd name="T24" fmla="*/ 8 w 11"/>
              <a:gd name="T25" fmla="*/ 5 h 15"/>
              <a:gd name="T26" fmla="*/ 9 w 11"/>
              <a:gd name="T27" fmla="*/ 6 h 15"/>
              <a:gd name="T28" fmla="*/ 9 w 11"/>
              <a:gd name="T29" fmla="*/ 6 h 15"/>
              <a:gd name="T30" fmla="*/ 9 w 11"/>
              <a:gd name="T31" fmla="*/ 6 h 15"/>
              <a:gd name="T32" fmla="*/ 9 w 11"/>
              <a:gd name="T33" fmla="*/ 7 h 15"/>
              <a:gd name="T34" fmla="*/ 11 w 11"/>
              <a:gd name="T35" fmla="*/ 6 h 15"/>
              <a:gd name="T36" fmla="*/ 9 w 11"/>
              <a:gd name="T37" fmla="*/ 3 h 15"/>
              <a:gd name="T38" fmla="*/ 3 w 11"/>
              <a:gd name="T39" fmla="*/ 0 h 15"/>
              <a:gd name="T40" fmla="*/ 0 w 11"/>
              <a:gd name="T41" fmla="*/ 3 h 15"/>
              <a:gd name="T42" fmla="*/ 1 w 11"/>
              <a:gd name="T43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5">
                <a:moveTo>
                  <a:pt x="1" y="7"/>
                </a:moveTo>
                <a:cubicBezTo>
                  <a:pt x="2" y="10"/>
                  <a:pt x="4" y="13"/>
                  <a:pt x="8" y="14"/>
                </a:cubicBezTo>
                <a:cubicBezTo>
                  <a:pt x="9" y="15"/>
                  <a:pt x="9" y="13"/>
                  <a:pt x="8" y="13"/>
                </a:cubicBezTo>
                <a:cubicBezTo>
                  <a:pt x="6" y="12"/>
                  <a:pt x="4" y="10"/>
                  <a:pt x="3" y="8"/>
                </a:cubicBezTo>
                <a:cubicBezTo>
                  <a:pt x="3" y="7"/>
                  <a:pt x="3" y="7"/>
                  <a:pt x="3" y="7"/>
                </a:cubicBezTo>
                <a:cubicBezTo>
                  <a:pt x="2" y="6"/>
                  <a:pt x="2" y="5"/>
                  <a:pt x="2" y="4"/>
                </a:cubicBezTo>
                <a:cubicBezTo>
                  <a:pt x="2" y="3"/>
                  <a:pt x="2" y="3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2"/>
                  <a:pt x="6" y="2"/>
                  <a:pt x="6" y="3"/>
                </a:cubicBezTo>
                <a:cubicBezTo>
                  <a:pt x="7" y="3"/>
                  <a:pt x="7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5"/>
                  <a:pt x="10" y="4"/>
                  <a:pt x="9" y="3"/>
                </a:cubicBezTo>
                <a:cubicBezTo>
                  <a:pt x="7" y="1"/>
                  <a:pt x="5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0" y="6"/>
                  <a:pt x="1" y="7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8" name="Freeform 223">
            <a:extLst>
              <a:ext uri="{FF2B5EF4-FFF2-40B4-BE49-F238E27FC236}">
                <a16:creationId xmlns:a16="http://schemas.microsoft.com/office/drawing/2014/main" xmlns="" id="{B6A23CB4-381E-4FCA-B5FE-68D799877133}"/>
              </a:ext>
            </a:extLst>
          </p:cNvPr>
          <p:cNvSpPr>
            <a:spLocks/>
          </p:cNvSpPr>
          <p:nvPr/>
        </p:nvSpPr>
        <p:spPr bwMode="auto">
          <a:xfrm>
            <a:off x="9328918" y="3448037"/>
            <a:ext cx="36224" cy="44968"/>
          </a:xfrm>
          <a:custGeom>
            <a:avLst/>
            <a:gdLst>
              <a:gd name="T0" fmla="*/ 1 w 12"/>
              <a:gd name="T1" fmla="*/ 8 h 15"/>
              <a:gd name="T2" fmla="*/ 8 w 12"/>
              <a:gd name="T3" fmla="*/ 15 h 15"/>
              <a:gd name="T4" fmla="*/ 8 w 12"/>
              <a:gd name="T5" fmla="*/ 13 h 15"/>
              <a:gd name="T6" fmla="*/ 4 w 12"/>
              <a:gd name="T7" fmla="*/ 8 h 15"/>
              <a:gd name="T8" fmla="*/ 3 w 12"/>
              <a:gd name="T9" fmla="*/ 7 h 15"/>
              <a:gd name="T10" fmla="*/ 2 w 12"/>
              <a:gd name="T11" fmla="*/ 4 h 15"/>
              <a:gd name="T12" fmla="*/ 3 w 12"/>
              <a:gd name="T13" fmla="*/ 2 h 15"/>
              <a:gd name="T14" fmla="*/ 3 w 12"/>
              <a:gd name="T15" fmla="*/ 2 h 15"/>
              <a:gd name="T16" fmla="*/ 3 w 12"/>
              <a:gd name="T17" fmla="*/ 2 h 15"/>
              <a:gd name="T18" fmla="*/ 4 w 12"/>
              <a:gd name="T19" fmla="*/ 2 h 15"/>
              <a:gd name="T20" fmla="*/ 5 w 12"/>
              <a:gd name="T21" fmla="*/ 2 h 15"/>
              <a:gd name="T22" fmla="*/ 7 w 12"/>
              <a:gd name="T23" fmla="*/ 3 h 15"/>
              <a:gd name="T24" fmla="*/ 8 w 12"/>
              <a:gd name="T25" fmla="*/ 5 h 15"/>
              <a:gd name="T26" fmla="*/ 9 w 12"/>
              <a:gd name="T27" fmla="*/ 6 h 15"/>
              <a:gd name="T28" fmla="*/ 9 w 12"/>
              <a:gd name="T29" fmla="*/ 6 h 15"/>
              <a:gd name="T30" fmla="*/ 9 w 12"/>
              <a:gd name="T31" fmla="*/ 6 h 15"/>
              <a:gd name="T32" fmla="*/ 9 w 12"/>
              <a:gd name="T33" fmla="*/ 7 h 15"/>
              <a:gd name="T34" fmla="*/ 12 w 12"/>
              <a:gd name="T35" fmla="*/ 7 h 15"/>
              <a:gd name="T36" fmla="*/ 9 w 12"/>
              <a:gd name="T37" fmla="*/ 3 h 15"/>
              <a:gd name="T38" fmla="*/ 3 w 12"/>
              <a:gd name="T39" fmla="*/ 0 h 15"/>
              <a:gd name="T40" fmla="*/ 0 w 12"/>
              <a:gd name="T41" fmla="*/ 3 h 15"/>
              <a:gd name="T42" fmla="*/ 1 w 12"/>
              <a:gd name="T43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5">
                <a:moveTo>
                  <a:pt x="1" y="8"/>
                </a:moveTo>
                <a:cubicBezTo>
                  <a:pt x="2" y="10"/>
                  <a:pt x="5" y="13"/>
                  <a:pt x="8" y="15"/>
                </a:cubicBezTo>
                <a:cubicBezTo>
                  <a:pt x="10" y="15"/>
                  <a:pt x="10" y="13"/>
                  <a:pt x="8" y="13"/>
                </a:cubicBezTo>
                <a:cubicBezTo>
                  <a:pt x="6" y="12"/>
                  <a:pt x="4" y="10"/>
                  <a:pt x="4" y="8"/>
                </a:cubicBezTo>
                <a:cubicBezTo>
                  <a:pt x="3" y="7"/>
                  <a:pt x="3" y="7"/>
                  <a:pt x="3" y="7"/>
                </a:cubicBezTo>
                <a:cubicBezTo>
                  <a:pt x="3" y="6"/>
                  <a:pt x="2" y="5"/>
                  <a:pt x="2" y="4"/>
                </a:cubicBezTo>
                <a:cubicBezTo>
                  <a:pt x="3" y="3"/>
                  <a:pt x="3" y="3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3"/>
                  <a:pt x="7" y="3"/>
                </a:cubicBezTo>
                <a:cubicBezTo>
                  <a:pt x="7" y="4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1" y="5"/>
                  <a:pt x="10" y="4"/>
                  <a:pt x="9" y="3"/>
                </a:cubicBezTo>
                <a:cubicBezTo>
                  <a:pt x="8" y="1"/>
                  <a:pt x="5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59" name="Freeform 224">
            <a:extLst>
              <a:ext uri="{FF2B5EF4-FFF2-40B4-BE49-F238E27FC236}">
                <a16:creationId xmlns:a16="http://schemas.microsoft.com/office/drawing/2014/main" xmlns="" id="{843AA5E2-8415-40E3-BC29-17FE921594A8}"/>
              </a:ext>
            </a:extLst>
          </p:cNvPr>
          <p:cNvSpPr>
            <a:spLocks/>
          </p:cNvSpPr>
          <p:nvPr/>
        </p:nvSpPr>
        <p:spPr bwMode="auto">
          <a:xfrm>
            <a:off x="9296442" y="3451784"/>
            <a:ext cx="32477" cy="43719"/>
          </a:xfrm>
          <a:custGeom>
            <a:avLst/>
            <a:gdLst>
              <a:gd name="T0" fmla="*/ 0 w 11"/>
              <a:gd name="T1" fmla="*/ 8 h 15"/>
              <a:gd name="T2" fmla="*/ 8 w 11"/>
              <a:gd name="T3" fmla="*/ 15 h 15"/>
              <a:gd name="T4" fmla="*/ 8 w 11"/>
              <a:gd name="T5" fmla="*/ 13 h 15"/>
              <a:gd name="T6" fmla="*/ 3 w 11"/>
              <a:gd name="T7" fmla="*/ 8 h 15"/>
              <a:gd name="T8" fmla="*/ 3 w 11"/>
              <a:gd name="T9" fmla="*/ 7 h 15"/>
              <a:gd name="T10" fmla="*/ 2 w 11"/>
              <a:gd name="T11" fmla="*/ 4 h 15"/>
              <a:gd name="T12" fmla="*/ 3 w 11"/>
              <a:gd name="T13" fmla="*/ 3 h 15"/>
              <a:gd name="T14" fmla="*/ 3 w 11"/>
              <a:gd name="T15" fmla="*/ 2 h 15"/>
              <a:gd name="T16" fmla="*/ 3 w 11"/>
              <a:gd name="T17" fmla="*/ 2 h 15"/>
              <a:gd name="T18" fmla="*/ 3 w 11"/>
              <a:gd name="T19" fmla="*/ 2 h 15"/>
              <a:gd name="T20" fmla="*/ 4 w 11"/>
              <a:gd name="T21" fmla="*/ 2 h 15"/>
              <a:gd name="T22" fmla="*/ 6 w 11"/>
              <a:gd name="T23" fmla="*/ 3 h 15"/>
              <a:gd name="T24" fmla="*/ 8 w 11"/>
              <a:gd name="T25" fmla="*/ 5 h 15"/>
              <a:gd name="T26" fmla="*/ 8 w 11"/>
              <a:gd name="T27" fmla="*/ 6 h 15"/>
              <a:gd name="T28" fmla="*/ 9 w 11"/>
              <a:gd name="T29" fmla="*/ 6 h 15"/>
              <a:gd name="T30" fmla="*/ 9 w 11"/>
              <a:gd name="T31" fmla="*/ 7 h 15"/>
              <a:gd name="T32" fmla="*/ 9 w 11"/>
              <a:gd name="T33" fmla="*/ 7 h 15"/>
              <a:gd name="T34" fmla="*/ 11 w 11"/>
              <a:gd name="T35" fmla="*/ 7 h 15"/>
              <a:gd name="T36" fmla="*/ 9 w 11"/>
              <a:gd name="T37" fmla="*/ 3 h 15"/>
              <a:gd name="T38" fmla="*/ 3 w 11"/>
              <a:gd name="T39" fmla="*/ 0 h 15"/>
              <a:gd name="T40" fmla="*/ 0 w 11"/>
              <a:gd name="T41" fmla="*/ 4 h 15"/>
              <a:gd name="T42" fmla="*/ 0 w 11"/>
              <a:gd name="T43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5">
                <a:moveTo>
                  <a:pt x="0" y="8"/>
                </a:moveTo>
                <a:cubicBezTo>
                  <a:pt x="2" y="11"/>
                  <a:pt x="4" y="13"/>
                  <a:pt x="8" y="15"/>
                </a:cubicBezTo>
                <a:cubicBezTo>
                  <a:pt x="9" y="15"/>
                  <a:pt x="9" y="14"/>
                  <a:pt x="8" y="13"/>
                </a:cubicBezTo>
                <a:cubicBezTo>
                  <a:pt x="6" y="12"/>
                  <a:pt x="4" y="10"/>
                  <a:pt x="3" y="8"/>
                </a:cubicBezTo>
                <a:cubicBezTo>
                  <a:pt x="3" y="7"/>
                  <a:pt x="3" y="7"/>
                  <a:pt x="3" y="7"/>
                </a:cubicBezTo>
                <a:cubicBezTo>
                  <a:pt x="2" y="6"/>
                  <a:pt x="2" y="5"/>
                  <a:pt x="2" y="4"/>
                </a:cubicBezTo>
                <a:cubicBezTo>
                  <a:pt x="2" y="3"/>
                  <a:pt x="2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2"/>
                  <a:pt x="5" y="3"/>
                  <a:pt x="6" y="3"/>
                </a:cubicBezTo>
                <a:cubicBezTo>
                  <a:pt x="7" y="4"/>
                  <a:pt x="7" y="4"/>
                  <a:pt x="8" y="5"/>
                </a:cubicBezTo>
                <a:cubicBezTo>
                  <a:pt x="8" y="6"/>
                  <a:pt x="8" y="6"/>
                  <a:pt x="8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5"/>
                  <a:pt x="10" y="4"/>
                  <a:pt x="9" y="3"/>
                </a:cubicBezTo>
                <a:cubicBezTo>
                  <a:pt x="7" y="1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0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0" name="Freeform 225">
            <a:extLst>
              <a:ext uri="{FF2B5EF4-FFF2-40B4-BE49-F238E27FC236}">
                <a16:creationId xmlns:a16="http://schemas.microsoft.com/office/drawing/2014/main" xmlns="" id="{93CE4840-7CDA-422F-8106-72AEA7BE3BFB}"/>
              </a:ext>
            </a:extLst>
          </p:cNvPr>
          <p:cNvSpPr>
            <a:spLocks/>
          </p:cNvSpPr>
          <p:nvPr/>
        </p:nvSpPr>
        <p:spPr bwMode="auto">
          <a:xfrm>
            <a:off x="9260218" y="3454282"/>
            <a:ext cx="33726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2 h 16"/>
              <a:gd name="T18" fmla="*/ 4 w 11"/>
              <a:gd name="T19" fmla="*/ 2 h 16"/>
              <a:gd name="T20" fmla="*/ 5 w 11"/>
              <a:gd name="T21" fmla="*/ 2 h 16"/>
              <a:gd name="T22" fmla="*/ 6 w 11"/>
              <a:gd name="T23" fmla="*/ 3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6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3 h 16"/>
              <a:gd name="T38" fmla="*/ 3 w 11"/>
              <a:gd name="T39" fmla="*/ 0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5" y="14"/>
                  <a:pt x="8" y="15"/>
                </a:cubicBezTo>
                <a:cubicBezTo>
                  <a:pt x="9" y="16"/>
                  <a:pt x="10" y="14"/>
                  <a:pt x="8" y="13"/>
                </a:cubicBezTo>
                <a:cubicBezTo>
                  <a:pt x="6" y="12"/>
                  <a:pt x="4" y="10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3" y="6"/>
                  <a:pt x="2" y="5"/>
                  <a:pt x="2" y="4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3"/>
                  <a:pt x="6" y="3"/>
                </a:cubicBezTo>
                <a:cubicBezTo>
                  <a:pt x="7" y="4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4"/>
                  <a:pt x="9" y="3"/>
                </a:cubicBezTo>
                <a:cubicBezTo>
                  <a:pt x="7" y="2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1" name="Freeform 226">
            <a:extLst>
              <a:ext uri="{FF2B5EF4-FFF2-40B4-BE49-F238E27FC236}">
                <a16:creationId xmlns:a16="http://schemas.microsoft.com/office/drawing/2014/main" xmlns="" id="{023BDEDF-196D-4ABB-91E0-E7598210BCDF}"/>
              </a:ext>
            </a:extLst>
          </p:cNvPr>
          <p:cNvSpPr>
            <a:spLocks/>
          </p:cNvSpPr>
          <p:nvPr/>
        </p:nvSpPr>
        <p:spPr bwMode="auto">
          <a:xfrm>
            <a:off x="9918495" y="2932157"/>
            <a:ext cx="774444" cy="1044250"/>
          </a:xfrm>
          <a:custGeom>
            <a:avLst/>
            <a:gdLst>
              <a:gd name="T0" fmla="*/ 137 w 261"/>
              <a:gd name="T1" fmla="*/ 40 h 352"/>
              <a:gd name="T2" fmla="*/ 236 w 261"/>
              <a:gd name="T3" fmla="*/ 249 h 352"/>
              <a:gd name="T4" fmla="*/ 63 w 261"/>
              <a:gd name="T5" fmla="*/ 348 h 352"/>
              <a:gd name="T6" fmla="*/ 13 w 261"/>
              <a:gd name="T7" fmla="*/ 245 h 352"/>
              <a:gd name="T8" fmla="*/ 128 w 261"/>
              <a:gd name="T9" fmla="*/ 192 h 352"/>
              <a:gd name="T10" fmla="*/ 104 w 261"/>
              <a:gd name="T11" fmla="*/ 66 h 352"/>
              <a:gd name="T12" fmla="*/ 137 w 261"/>
              <a:gd name="T13" fmla="*/ 4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1" h="352">
                <a:moveTo>
                  <a:pt x="137" y="40"/>
                </a:moveTo>
                <a:cubicBezTo>
                  <a:pt x="176" y="95"/>
                  <a:pt x="261" y="220"/>
                  <a:pt x="236" y="249"/>
                </a:cubicBezTo>
                <a:cubicBezTo>
                  <a:pt x="195" y="297"/>
                  <a:pt x="94" y="339"/>
                  <a:pt x="63" y="348"/>
                </a:cubicBezTo>
                <a:cubicBezTo>
                  <a:pt x="49" y="352"/>
                  <a:pt x="0" y="253"/>
                  <a:pt x="13" y="245"/>
                </a:cubicBezTo>
                <a:cubicBezTo>
                  <a:pt x="29" y="236"/>
                  <a:pt x="127" y="197"/>
                  <a:pt x="128" y="192"/>
                </a:cubicBezTo>
                <a:cubicBezTo>
                  <a:pt x="128" y="187"/>
                  <a:pt x="110" y="119"/>
                  <a:pt x="104" y="66"/>
                </a:cubicBezTo>
                <a:cubicBezTo>
                  <a:pt x="96" y="0"/>
                  <a:pt x="120" y="17"/>
                  <a:pt x="137" y="40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2" name="Freeform 227">
            <a:extLst>
              <a:ext uri="{FF2B5EF4-FFF2-40B4-BE49-F238E27FC236}">
                <a16:creationId xmlns:a16="http://schemas.microsoft.com/office/drawing/2014/main" xmlns="" id="{D1173F33-D7C0-4507-B48E-99CEFD30346C}"/>
              </a:ext>
            </a:extLst>
          </p:cNvPr>
          <p:cNvSpPr>
            <a:spLocks/>
          </p:cNvSpPr>
          <p:nvPr/>
        </p:nvSpPr>
        <p:spPr bwMode="auto">
          <a:xfrm>
            <a:off x="9458825" y="3561705"/>
            <a:ext cx="662024" cy="412204"/>
          </a:xfrm>
          <a:custGeom>
            <a:avLst/>
            <a:gdLst>
              <a:gd name="T0" fmla="*/ 218 w 223"/>
              <a:gd name="T1" fmla="*/ 26 h 139"/>
              <a:gd name="T2" fmla="*/ 149 w 223"/>
              <a:gd name="T3" fmla="*/ 8 h 139"/>
              <a:gd name="T4" fmla="*/ 94 w 223"/>
              <a:gd name="T5" fmla="*/ 2 h 139"/>
              <a:gd name="T6" fmla="*/ 6 w 223"/>
              <a:gd name="T7" fmla="*/ 51 h 139"/>
              <a:gd name="T8" fmla="*/ 74 w 223"/>
              <a:gd name="T9" fmla="*/ 37 h 139"/>
              <a:gd name="T10" fmla="*/ 19 w 223"/>
              <a:gd name="T11" fmla="*/ 82 h 139"/>
              <a:gd name="T12" fmla="*/ 95 w 223"/>
              <a:gd name="T13" fmla="*/ 56 h 139"/>
              <a:gd name="T14" fmla="*/ 42 w 223"/>
              <a:gd name="T15" fmla="*/ 102 h 139"/>
              <a:gd name="T16" fmla="*/ 114 w 223"/>
              <a:gd name="T17" fmla="*/ 78 h 139"/>
              <a:gd name="T18" fmla="*/ 67 w 223"/>
              <a:gd name="T19" fmla="*/ 118 h 139"/>
              <a:gd name="T20" fmla="*/ 137 w 223"/>
              <a:gd name="T21" fmla="*/ 103 h 139"/>
              <a:gd name="T22" fmla="*/ 218 w 223"/>
              <a:gd name="T23" fmla="*/ 136 h 139"/>
              <a:gd name="T24" fmla="*/ 218 w 223"/>
              <a:gd name="T25" fmla="*/ 26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3" h="139">
                <a:moveTo>
                  <a:pt x="218" y="26"/>
                </a:moveTo>
                <a:cubicBezTo>
                  <a:pt x="218" y="26"/>
                  <a:pt x="176" y="14"/>
                  <a:pt x="149" y="8"/>
                </a:cubicBezTo>
                <a:cubicBezTo>
                  <a:pt x="134" y="4"/>
                  <a:pt x="107" y="0"/>
                  <a:pt x="94" y="2"/>
                </a:cubicBezTo>
                <a:cubicBezTo>
                  <a:pt x="76" y="6"/>
                  <a:pt x="0" y="33"/>
                  <a:pt x="6" y="51"/>
                </a:cubicBezTo>
                <a:cubicBezTo>
                  <a:pt x="11" y="68"/>
                  <a:pt x="74" y="37"/>
                  <a:pt x="74" y="37"/>
                </a:cubicBezTo>
                <a:cubicBezTo>
                  <a:pt x="74" y="37"/>
                  <a:pt x="8" y="63"/>
                  <a:pt x="19" y="82"/>
                </a:cubicBezTo>
                <a:cubicBezTo>
                  <a:pt x="29" y="101"/>
                  <a:pt x="95" y="56"/>
                  <a:pt x="95" y="56"/>
                </a:cubicBezTo>
                <a:cubicBezTo>
                  <a:pt x="95" y="56"/>
                  <a:pt x="28" y="84"/>
                  <a:pt x="42" y="102"/>
                </a:cubicBezTo>
                <a:cubicBezTo>
                  <a:pt x="52" y="116"/>
                  <a:pt x="114" y="78"/>
                  <a:pt x="114" y="78"/>
                </a:cubicBezTo>
                <a:cubicBezTo>
                  <a:pt x="114" y="78"/>
                  <a:pt x="56" y="103"/>
                  <a:pt x="67" y="118"/>
                </a:cubicBezTo>
                <a:cubicBezTo>
                  <a:pt x="78" y="134"/>
                  <a:pt x="137" y="103"/>
                  <a:pt x="137" y="103"/>
                </a:cubicBezTo>
                <a:cubicBezTo>
                  <a:pt x="169" y="135"/>
                  <a:pt x="197" y="139"/>
                  <a:pt x="218" y="136"/>
                </a:cubicBezTo>
                <a:cubicBezTo>
                  <a:pt x="223" y="135"/>
                  <a:pt x="218" y="26"/>
                  <a:pt x="218" y="26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3" name="Freeform 228">
            <a:extLst>
              <a:ext uri="{FF2B5EF4-FFF2-40B4-BE49-F238E27FC236}">
                <a16:creationId xmlns:a16="http://schemas.microsoft.com/office/drawing/2014/main" xmlns="" id="{CFC5280D-821A-47B3-A14C-627883217927}"/>
              </a:ext>
            </a:extLst>
          </p:cNvPr>
          <p:cNvSpPr>
            <a:spLocks/>
          </p:cNvSpPr>
          <p:nvPr/>
        </p:nvSpPr>
        <p:spPr bwMode="auto">
          <a:xfrm>
            <a:off x="9527526" y="3644146"/>
            <a:ext cx="207351" cy="112419"/>
          </a:xfrm>
          <a:custGeom>
            <a:avLst/>
            <a:gdLst>
              <a:gd name="T0" fmla="*/ 70 w 70"/>
              <a:gd name="T1" fmla="*/ 0 h 38"/>
              <a:gd name="T2" fmla="*/ 1 w 70"/>
              <a:gd name="T3" fmla="*/ 38 h 38"/>
              <a:gd name="T4" fmla="*/ 51 w 70"/>
              <a:gd name="T5" fmla="*/ 9 h 38"/>
              <a:gd name="T6" fmla="*/ 70 w 70"/>
              <a:gd name="T7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0" h="38">
                <a:moveTo>
                  <a:pt x="70" y="0"/>
                </a:moveTo>
                <a:cubicBezTo>
                  <a:pt x="20" y="15"/>
                  <a:pt x="0" y="38"/>
                  <a:pt x="1" y="38"/>
                </a:cubicBezTo>
                <a:cubicBezTo>
                  <a:pt x="16" y="26"/>
                  <a:pt x="43" y="13"/>
                  <a:pt x="51" y="9"/>
                </a:cubicBezTo>
                <a:cubicBezTo>
                  <a:pt x="58" y="6"/>
                  <a:pt x="62" y="3"/>
                  <a:pt x="70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4" name="Freeform 229">
            <a:extLst>
              <a:ext uri="{FF2B5EF4-FFF2-40B4-BE49-F238E27FC236}">
                <a16:creationId xmlns:a16="http://schemas.microsoft.com/office/drawing/2014/main" xmlns="" id="{86290030-119C-4A6F-969B-3305ADB5C009}"/>
              </a:ext>
            </a:extLst>
          </p:cNvPr>
          <p:cNvSpPr>
            <a:spLocks/>
          </p:cNvSpPr>
          <p:nvPr/>
        </p:nvSpPr>
        <p:spPr bwMode="auto">
          <a:xfrm>
            <a:off x="9611215" y="3717843"/>
            <a:ext cx="171127" cy="83690"/>
          </a:xfrm>
          <a:custGeom>
            <a:avLst/>
            <a:gdLst>
              <a:gd name="T0" fmla="*/ 58 w 58"/>
              <a:gd name="T1" fmla="*/ 0 h 28"/>
              <a:gd name="T2" fmla="*/ 1 w 58"/>
              <a:gd name="T3" fmla="*/ 27 h 28"/>
              <a:gd name="T4" fmla="*/ 1 w 58"/>
              <a:gd name="T5" fmla="*/ 27 h 28"/>
              <a:gd name="T6" fmla="*/ 58 w 58"/>
              <a:gd name="T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8" h="28">
                <a:moveTo>
                  <a:pt x="58" y="0"/>
                </a:moveTo>
                <a:cubicBezTo>
                  <a:pt x="34" y="6"/>
                  <a:pt x="9" y="21"/>
                  <a:pt x="1" y="27"/>
                </a:cubicBezTo>
                <a:cubicBezTo>
                  <a:pt x="0" y="27"/>
                  <a:pt x="1" y="28"/>
                  <a:pt x="1" y="27"/>
                </a:cubicBezTo>
                <a:cubicBezTo>
                  <a:pt x="11" y="22"/>
                  <a:pt x="48" y="5"/>
                  <a:pt x="58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5" name="Freeform 230">
            <a:extLst>
              <a:ext uri="{FF2B5EF4-FFF2-40B4-BE49-F238E27FC236}">
                <a16:creationId xmlns:a16="http://schemas.microsoft.com/office/drawing/2014/main" xmlns="" id="{0F9E6166-73B1-40E5-9C17-495D30773F80}"/>
              </a:ext>
            </a:extLst>
          </p:cNvPr>
          <p:cNvSpPr>
            <a:spLocks/>
          </p:cNvSpPr>
          <p:nvPr/>
        </p:nvSpPr>
        <p:spPr bwMode="auto">
          <a:xfrm>
            <a:off x="9696154" y="3780298"/>
            <a:ext cx="133654" cy="68701"/>
          </a:xfrm>
          <a:custGeom>
            <a:avLst/>
            <a:gdLst>
              <a:gd name="T0" fmla="*/ 44 w 45"/>
              <a:gd name="T1" fmla="*/ 0 h 23"/>
              <a:gd name="T2" fmla="*/ 1 w 45"/>
              <a:gd name="T3" fmla="*/ 22 h 23"/>
              <a:gd name="T4" fmla="*/ 1 w 45"/>
              <a:gd name="T5" fmla="*/ 23 h 23"/>
              <a:gd name="T6" fmla="*/ 45 w 45"/>
              <a:gd name="T7" fmla="*/ 1 h 23"/>
              <a:gd name="T8" fmla="*/ 44 w 45"/>
              <a:gd name="T9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23">
                <a:moveTo>
                  <a:pt x="44" y="0"/>
                </a:moveTo>
                <a:cubicBezTo>
                  <a:pt x="23" y="7"/>
                  <a:pt x="14" y="12"/>
                  <a:pt x="1" y="22"/>
                </a:cubicBezTo>
                <a:cubicBezTo>
                  <a:pt x="0" y="23"/>
                  <a:pt x="1" y="23"/>
                  <a:pt x="1" y="23"/>
                </a:cubicBezTo>
                <a:cubicBezTo>
                  <a:pt x="16" y="15"/>
                  <a:pt x="27" y="9"/>
                  <a:pt x="45" y="1"/>
                </a:cubicBezTo>
                <a:lnTo>
                  <a:pt x="44" y="0"/>
                </a:ln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6" name="Freeform 231">
            <a:extLst>
              <a:ext uri="{FF2B5EF4-FFF2-40B4-BE49-F238E27FC236}">
                <a16:creationId xmlns:a16="http://schemas.microsoft.com/office/drawing/2014/main" xmlns="" id="{02D243A9-82DD-49EB-9E17-22A1A316F0C2}"/>
              </a:ext>
            </a:extLst>
          </p:cNvPr>
          <p:cNvSpPr>
            <a:spLocks/>
          </p:cNvSpPr>
          <p:nvPr/>
        </p:nvSpPr>
        <p:spPr bwMode="auto">
          <a:xfrm>
            <a:off x="10049650" y="2940901"/>
            <a:ext cx="613309" cy="1024264"/>
          </a:xfrm>
          <a:custGeom>
            <a:avLst/>
            <a:gdLst>
              <a:gd name="T0" fmla="*/ 0 w 207"/>
              <a:gd name="T1" fmla="*/ 227 h 345"/>
              <a:gd name="T2" fmla="*/ 55 w 207"/>
              <a:gd name="T3" fmla="*/ 345 h 345"/>
              <a:gd name="T4" fmla="*/ 197 w 207"/>
              <a:gd name="T5" fmla="*/ 241 h 345"/>
              <a:gd name="T6" fmla="*/ 90 w 207"/>
              <a:gd name="T7" fmla="*/ 30 h 345"/>
              <a:gd name="T8" fmla="*/ 55 w 207"/>
              <a:gd name="T9" fmla="*/ 47 h 345"/>
              <a:gd name="T10" fmla="*/ 82 w 207"/>
              <a:gd name="T11" fmla="*/ 189 h 345"/>
              <a:gd name="T12" fmla="*/ 0 w 207"/>
              <a:gd name="T13" fmla="*/ 227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7" h="345">
                <a:moveTo>
                  <a:pt x="0" y="227"/>
                </a:moveTo>
                <a:cubicBezTo>
                  <a:pt x="55" y="345"/>
                  <a:pt x="55" y="345"/>
                  <a:pt x="55" y="345"/>
                </a:cubicBezTo>
                <a:cubicBezTo>
                  <a:pt x="55" y="345"/>
                  <a:pt x="187" y="274"/>
                  <a:pt x="197" y="241"/>
                </a:cubicBezTo>
                <a:cubicBezTo>
                  <a:pt x="207" y="207"/>
                  <a:pt x="117" y="60"/>
                  <a:pt x="90" y="30"/>
                </a:cubicBezTo>
                <a:cubicBezTo>
                  <a:pt x="63" y="0"/>
                  <a:pt x="54" y="12"/>
                  <a:pt x="55" y="47"/>
                </a:cubicBezTo>
                <a:cubicBezTo>
                  <a:pt x="55" y="81"/>
                  <a:pt x="82" y="188"/>
                  <a:pt x="82" y="189"/>
                </a:cubicBezTo>
                <a:cubicBezTo>
                  <a:pt x="81" y="191"/>
                  <a:pt x="0" y="227"/>
                  <a:pt x="0" y="227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7" name="Freeform 232">
            <a:extLst>
              <a:ext uri="{FF2B5EF4-FFF2-40B4-BE49-F238E27FC236}">
                <a16:creationId xmlns:a16="http://schemas.microsoft.com/office/drawing/2014/main" xmlns="" id="{1E6A3035-9F17-4AC4-AB2B-5B584BCC7C4F}"/>
              </a:ext>
            </a:extLst>
          </p:cNvPr>
          <p:cNvSpPr>
            <a:spLocks/>
          </p:cNvSpPr>
          <p:nvPr/>
        </p:nvSpPr>
        <p:spPr bwMode="auto">
          <a:xfrm>
            <a:off x="10306966" y="3391827"/>
            <a:ext cx="21235" cy="42469"/>
          </a:xfrm>
          <a:custGeom>
            <a:avLst/>
            <a:gdLst>
              <a:gd name="T0" fmla="*/ 7 w 7"/>
              <a:gd name="T1" fmla="*/ 0 h 14"/>
              <a:gd name="T2" fmla="*/ 5 w 7"/>
              <a:gd name="T3" fmla="*/ 8 h 14"/>
              <a:gd name="T4" fmla="*/ 0 w 7"/>
              <a:gd name="T5" fmla="*/ 14 h 14"/>
              <a:gd name="T6" fmla="*/ 3 w 7"/>
              <a:gd name="T7" fmla="*/ 7 h 14"/>
              <a:gd name="T8" fmla="*/ 7 w 7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4">
                <a:moveTo>
                  <a:pt x="7" y="0"/>
                </a:moveTo>
                <a:cubicBezTo>
                  <a:pt x="7" y="3"/>
                  <a:pt x="6" y="5"/>
                  <a:pt x="5" y="8"/>
                </a:cubicBezTo>
                <a:cubicBezTo>
                  <a:pt x="3" y="10"/>
                  <a:pt x="2" y="12"/>
                  <a:pt x="0" y="14"/>
                </a:cubicBezTo>
                <a:cubicBezTo>
                  <a:pt x="1" y="12"/>
                  <a:pt x="2" y="9"/>
                  <a:pt x="3" y="7"/>
                </a:cubicBezTo>
                <a:cubicBezTo>
                  <a:pt x="4" y="4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8" name="Freeform 233">
            <a:extLst>
              <a:ext uri="{FF2B5EF4-FFF2-40B4-BE49-F238E27FC236}">
                <a16:creationId xmlns:a16="http://schemas.microsoft.com/office/drawing/2014/main" xmlns="" id="{4B498C4E-8CB9-43E3-9D89-CDB7EB4EE8C7}"/>
              </a:ext>
            </a:extLst>
          </p:cNvPr>
          <p:cNvSpPr>
            <a:spLocks/>
          </p:cNvSpPr>
          <p:nvPr/>
        </p:nvSpPr>
        <p:spPr bwMode="auto">
          <a:xfrm>
            <a:off x="10411890" y="3602925"/>
            <a:ext cx="19986" cy="41220"/>
          </a:xfrm>
          <a:custGeom>
            <a:avLst/>
            <a:gdLst>
              <a:gd name="T0" fmla="*/ 7 w 7"/>
              <a:gd name="T1" fmla="*/ 0 h 14"/>
              <a:gd name="T2" fmla="*/ 5 w 7"/>
              <a:gd name="T3" fmla="*/ 7 h 14"/>
              <a:gd name="T4" fmla="*/ 0 w 7"/>
              <a:gd name="T5" fmla="*/ 14 h 14"/>
              <a:gd name="T6" fmla="*/ 3 w 7"/>
              <a:gd name="T7" fmla="*/ 7 h 14"/>
              <a:gd name="T8" fmla="*/ 7 w 7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4">
                <a:moveTo>
                  <a:pt x="7" y="0"/>
                </a:moveTo>
                <a:cubicBezTo>
                  <a:pt x="7" y="3"/>
                  <a:pt x="6" y="5"/>
                  <a:pt x="5" y="7"/>
                </a:cubicBezTo>
                <a:cubicBezTo>
                  <a:pt x="4" y="10"/>
                  <a:pt x="2" y="12"/>
                  <a:pt x="0" y="14"/>
                </a:cubicBezTo>
                <a:cubicBezTo>
                  <a:pt x="1" y="12"/>
                  <a:pt x="2" y="9"/>
                  <a:pt x="3" y="7"/>
                </a:cubicBezTo>
                <a:cubicBezTo>
                  <a:pt x="4" y="4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69" name="Freeform 234">
            <a:extLst>
              <a:ext uri="{FF2B5EF4-FFF2-40B4-BE49-F238E27FC236}">
                <a16:creationId xmlns:a16="http://schemas.microsoft.com/office/drawing/2014/main" xmlns="" id="{3A01F7F2-D66D-45C6-800B-1955FFF748F9}"/>
              </a:ext>
            </a:extLst>
          </p:cNvPr>
          <p:cNvSpPr>
            <a:spLocks/>
          </p:cNvSpPr>
          <p:nvPr/>
        </p:nvSpPr>
        <p:spPr bwMode="auto">
          <a:xfrm>
            <a:off x="10129593" y="3717843"/>
            <a:ext cx="21235" cy="44968"/>
          </a:xfrm>
          <a:custGeom>
            <a:avLst/>
            <a:gdLst>
              <a:gd name="T0" fmla="*/ 7 w 7"/>
              <a:gd name="T1" fmla="*/ 0 h 15"/>
              <a:gd name="T2" fmla="*/ 5 w 7"/>
              <a:gd name="T3" fmla="*/ 8 h 15"/>
              <a:gd name="T4" fmla="*/ 0 w 7"/>
              <a:gd name="T5" fmla="*/ 15 h 15"/>
              <a:gd name="T6" fmla="*/ 3 w 7"/>
              <a:gd name="T7" fmla="*/ 7 h 15"/>
              <a:gd name="T8" fmla="*/ 7 w 7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5">
                <a:moveTo>
                  <a:pt x="7" y="0"/>
                </a:moveTo>
                <a:cubicBezTo>
                  <a:pt x="7" y="3"/>
                  <a:pt x="6" y="6"/>
                  <a:pt x="5" y="8"/>
                </a:cubicBezTo>
                <a:cubicBezTo>
                  <a:pt x="3" y="10"/>
                  <a:pt x="2" y="13"/>
                  <a:pt x="0" y="15"/>
                </a:cubicBezTo>
                <a:cubicBezTo>
                  <a:pt x="1" y="12"/>
                  <a:pt x="2" y="10"/>
                  <a:pt x="3" y="7"/>
                </a:cubicBezTo>
                <a:cubicBezTo>
                  <a:pt x="4" y="5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0" name="Freeform 235">
            <a:extLst>
              <a:ext uri="{FF2B5EF4-FFF2-40B4-BE49-F238E27FC236}">
                <a16:creationId xmlns:a16="http://schemas.microsoft.com/office/drawing/2014/main" xmlns="" id="{A67B6E3C-6B74-46FA-AB32-9AFC85282E70}"/>
              </a:ext>
            </a:extLst>
          </p:cNvPr>
          <p:cNvSpPr>
            <a:spLocks/>
          </p:cNvSpPr>
          <p:nvPr/>
        </p:nvSpPr>
        <p:spPr bwMode="auto">
          <a:xfrm>
            <a:off x="10269493" y="3540470"/>
            <a:ext cx="41220" cy="21235"/>
          </a:xfrm>
          <a:custGeom>
            <a:avLst/>
            <a:gdLst>
              <a:gd name="T0" fmla="*/ 14 w 14"/>
              <a:gd name="T1" fmla="*/ 7 h 7"/>
              <a:gd name="T2" fmla="*/ 6 w 14"/>
              <a:gd name="T3" fmla="*/ 5 h 7"/>
              <a:gd name="T4" fmla="*/ 0 w 14"/>
              <a:gd name="T5" fmla="*/ 0 h 7"/>
              <a:gd name="T6" fmla="*/ 7 w 14"/>
              <a:gd name="T7" fmla="*/ 3 h 7"/>
              <a:gd name="T8" fmla="*/ 14 w 14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4" y="7"/>
                </a:moveTo>
                <a:cubicBezTo>
                  <a:pt x="11" y="7"/>
                  <a:pt x="9" y="6"/>
                  <a:pt x="6" y="5"/>
                </a:cubicBezTo>
                <a:cubicBezTo>
                  <a:pt x="4" y="4"/>
                  <a:pt x="2" y="2"/>
                  <a:pt x="0" y="0"/>
                </a:cubicBezTo>
                <a:cubicBezTo>
                  <a:pt x="2" y="1"/>
                  <a:pt x="5" y="2"/>
                  <a:pt x="7" y="3"/>
                </a:cubicBezTo>
                <a:cubicBezTo>
                  <a:pt x="10" y="4"/>
                  <a:pt x="12" y="5"/>
                  <a:pt x="14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1" name="Freeform 236">
            <a:extLst>
              <a:ext uri="{FF2B5EF4-FFF2-40B4-BE49-F238E27FC236}">
                <a16:creationId xmlns:a16="http://schemas.microsoft.com/office/drawing/2014/main" xmlns="" id="{DD25D990-2F2D-4E60-843D-2A5298D2A5D7}"/>
              </a:ext>
            </a:extLst>
          </p:cNvPr>
          <p:cNvSpPr>
            <a:spLocks/>
          </p:cNvSpPr>
          <p:nvPr/>
        </p:nvSpPr>
        <p:spPr bwMode="auto">
          <a:xfrm>
            <a:off x="10239514" y="3836508"/>
            <a:ext cx="41220" cy="21235"/>
          </a:xfrm>
          <a:custGeom>
            <a:avLst/>
            <a:gdLst>
              <a:gd name="T0" fmla="*/ 14 w 14"/>
              <a:gd name="T1" fmla="*/ 7 h 7"/>
              <a:gd name="T2" fmla="*/ 7 w 14"/>
              <a:gd name="T3" fmla="*/ 5 h 7"/>
              <a:gd name="T4" fmla="*/ 0 w 14"/>
              <a:gd name="T5" fmla="*/ 0 h 7"/>
              <a:gd name="T6" fmla="*/ 7 w 14"/>
              <a:gd name="T7" fmla="*/ 3 h 7"/>
              <a:gd name="T8" fmla="*/ 14 w 14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4" y="7"/>
                </a:moveTo>
                <a:cubicBezTo>
                  <a:pt x="11" y="7"/>
                  <a:pt x="9" y="6"/>
                  <a:pt x="7" y="5"/>
                </a:cubicBezTo>
                <a:cubicBezTo>
                  <a:pt x="4" y="4"/>
                  <a:pt x="2" y="2"/>
                  <a:pt x="0" y="0"/>
                </a:cubicBezTo>
                <a:cubicBezTo>
                  <a:pt x="2" y="1"/>
                  <a:pt x="5" y="2"/>
                  <a:pt x="7" y="3"/>
                </a:cubicBezTo>
                <a:cubicBezTo>
                  <a:pt x="10" y="4"/>
                  <a:pt x="12" y="5"/>
                  <a:pt x="14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2" name="Freeform 237">
            <a:extLst>
              <a:ext uri="{FF2B5EF4-FFF2-40B4-BE49-F238E27FC236}">
                <a16:creationId xmlns:a16="http://schemas.microsoft.com/office/drawing/2014/main" xmlns="" id="{FFE4BF8D-8C77-40B8-B6DA-D70A25A678AE}"/>
              </a:ext>
            </a:extLst>
          </p:cNvPr>
          <p:cNvSpPr>
            <a:spLocks/>
          </p:cNvSpPr>
          <p:nvPr/>
        </p:nvSpPr>
        <p:spPr bwMode="auto">
          <a:xfrm>
            <a:off x="10541797" y="3644146"/>
            <a:ext cx="41220" cy="17487"/>
          </a:xfrm>
          <a:custGeom>
            <a:avLst/>
            <a:gdLst>
              <a:gd name="T0" fmla="*/ 14 w 14"/>
              <a:gd name="T1" fmla="*/ 6 h 6"/>
              <a:gd name="T2" fmla="*/ 7 w 14"/>
              <a:gd name="T3" fmla="*/ 4 h 6"/>
              <a:gd name="T4" fmla="*/ 0 w 14"/>
              <a:gd name="T5" fmla="*/ 0 h 6"/>
              <a:gd name="T6" fmla="*/ 7 w 14"/>
              <a:gd name="T7" fmla="*/ 2 h 6"/>
              <a:gd name="T8" fmla="*/ 14 w 14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">
                <a:moveTo>
                  <a:pt x="14" y="6"/>
                </a:moveTo>
                <a:cubicBezTo>
                  <a:pt x="12" y="6"/>
                  <a:pt x="9" y="5"/>
                  <a:pt x="7" y="4"/>
                </a:cubicBezTo>
                <a:cubicBezTo>
                  <a:pt x="4" y="3"/>
                  <a:pt x="2" y="1"/>
                  <a:pt x="0" y="0"/>
                </a:cubicBezTo>
                <a:cubicBezTo>
                  <a:pt x="3" y="0"/>
                  <a:pt x="5" y="1"/>
                  <a:pt x="7" y="2"/>
                </a:cubicBezTo>
                <a:cubicBezTo>
                  <a:pt x="10" y="3"/>
                  <a:pt x="12" y="4"/>
                  <a:pt x="14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3" name="Freeform 238">
            <a:extLst>
              <a:ext uri="{FF2B5EF4-FFF2-40B4-BE49-F238E27FC236}">
                <a16:creationId xmlns:a16="http://schemas.microsoft.com/office/drawing/2014/main" xmlns="" id="{603D18A8-B1FA-4F25-8422-66827E0EE924}"/>
              </a:ext>
            </a:extLst>
          </p:cNvPr>
          <p:cNvSpPr>
            <a:spLocks/>
          </p:cNvSpPr>
          <p:nvPr/>
        </p:nvSpPr>
        <p:spPr bwMode="auto">
          <a:xfrm>
            <a:off x="10453111" y="3309386"/>
            <a:ext cx="43719" cy="19986"/>
          </a:xfrm>
          <a:custGeom>
            <a:avLst/>
            <a:gdLst>
              <a:gd name="T0" fmla="*/ 15 w 15"/>
              <a:gd name="T1" fmla="*/ 7 h 7"/>
              <a:gd name="T2" fmla="*/ 7 w 15"/>
              <a:gd name="T3" fmla="*/ 4 h 7"/>
              <a:gd name="T4" fmla="*/ 0 w 15"/>
              <a:gd name="T5" fmla="*/ 0 h 7"/>
              <a:gd name="T6" fmla="*/ 8 w 15"/>
              <a:gd name="T7" fmla="*/ 2 h 7"/>
              <a:gd name="T8" fmla="*/ 15 w 15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7">
                <a:moveTo>
                  <a:pt x="15" y="7"/>
                </a:moveTo>
                <a:cubicBezTo>
                  <a:pt x="12" y="6"/>
                  <a:pt x="9" y="5"/>
                  <a:pt x="7" y="4"/>
                </a:cubicBezTo>
                <a:cubicBezTo>
                  <a:pt x="4" y="3"/>
                  <a:pt x="2" y="2"/>
                  <a:pt x="0" y="0"/>
                </a:cubicBezTo>
                <a:cubicBezTo>
                  <a:pt x="3" y="0"/>
                  <a:pt x="5" y="1"/>
                  <a:pt x="8" y="2"/>
                </a:cubicBezTo>
                <a:cubicBezTo>
                  <a:pt x="10" y="4"/>
                  <a:pt x="12" y="5"/>
                  <a:pt x="15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4" name="Freeform 239">
            <a:extLst>
              <a:ext uri="{FF2B5EF4-FFF2-40B4-BE49-F238E27FC236}">
                <a16:creationId xmlns:a16="http://schemas.microsoft.com/office/drawing/2014/main" xmlns="" id="{2BE5E56F-3689-4D54-8D36-A86814EBD9BB}"/>
              </a:ext>
            </a:extLst>
          </p:cNvPr>
          <p:cNvSpPr>
            <a:spLocks/>
          </p:cNvSpPr>
          <p:nvPr/>
        </p:nvSpPr>
        <p:spPr bwMode="auto">
          <a:xfrm>
            <a:off x="10212034" y="3054569"/>
            <a:ext cx="33726" cy="17487"/>
          </a:xfrm>
          <a:custGeom>
            <a:avLst/>
            <a:gdLst>
              <a:gd name="T0" fmla="*/ 11 w 11"/>
              <a:gd name="T1" fmla="*/ 6 h 6"/>
              <a:gd name="T2" fmla="*/ 3 w 11"/>
              <a:gd name="T3" fmla="*/ 4 h 6"/>
              <a:gd name="T4" fmla="*/ 0 w 11"/>
              <a:gd name="T5" fmla="*/ 2 h 6"/>
              <a:gd name="T6" fmla="*/ 0 w 11"/>
              <a:gd name="T7" fmla="*/ 0 h 6"/>
              <a:gd name="T8" fmla="*/ 4 w 11"/>
              <a:gd name="T9" fmla="*/ 2 h 6"/>
              <a:gd name="T10" fmla="*/ 11 w 11"/>
              <a:gd name="T1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6">
                <a:moveTo>
                  <a:pt x="11" y="6"/>
                </a:moveTo>
                <a:cubicBezTo>
                  <a:pt x="8" y="6"/>
                  <a:pt x="6" y="5"/>
                  <a:pt x="3" y="4"/>
                </a:cubicBezTo>
                <a:cubicBezTo>
                  <a:pt x="2" y="3"/>
                  <a:pt x="1" y="3"/>
                  <a:pt x="0" y="2"/>
                </a:cubicBezTo>
                <a:cubicBezTo>
                  <a:pt x="0" y="1"/>
                  <a:pt x="0" y="1"/>
                  <a:pt x="0" y="0"/>
                </a:cubicBezTo>
                <a:cubicBezTo>
                  <a:pt x="1" y="1"/>
                  <a:pt x="3" y="1"/>
                  <a:pt x="4" y="2"/>
                </a:cubicBezTo>
                <a:cubicBezTo>
                  <a:pt x="7" y="3"/>
                  <a:pt x="9" y="5"/>
                  <a:pt x="11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5" name="Freeform 240">
            <a:extLst>
              <a:ext uri="{FF2B5EF4-FFF2-40B4-BE49-F238E27FC236}">
                <a16:creationId xmlns:a16="http://schemas.microsoft.com/office/drawing/2014/main" xmlns="" id="{F314BDF0-C1F2-4134-961A-503F0B723F5C}"/>
              </a:ext>
            </a:extLst>
          </p:cNvPr>
          <p:cNvSpPr>
            <a:spLocks/>
          </p:cNvSpPr>
          <p:nvPr/>
        </p:nvSpPr>
        <p:spPr bwMode="auto">
          <a:xfrm>
            <a:off x="10310713" y="3110779"/>
            <a:ext cx="14989" cy="43719"/>
          </a:xfrm>
          <a:custGeom>
            <a:avLst/>
            <a:gdLst>
              <a:gd name="T0" fmla="*/ 0 w 5"/>
              <a:gd name="T1" fmla="*/ 0 h 15"/>
              <a:gd name="T2" fmla="*/ 4 w 5"/>
              <a:gd name="T3" fmla="*/ 7 h 15"/>
              <a:gd name="T4" fmla="*/ 5 w 5"/>
              <a:gd name="T5" fmla="*/ 15 h 15"/>
              <a:gd name="T6" fmla="*/ 2 w 5"/>
              <a:gd name="T7" fmla="*/ 8 h 15"/>
              <a:gd name="T8" fmla="*/ 0 w 5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5">
                <a:moveTo>
                  <a:pt x="0" y="0"/>
                </a:moveTo>
                <a:cubicBezTo>
                  <a:pt x="1" y="3"/>
                  <a:pt x="3" y="5"/>
                  <a:pt x="4" y="7"/>
                </a:cubicBezTo>
                <a:cubicBezTo>
                  <a:pt x="4" y="10"/>
                  <a:pt x="5" y="13"/>
                  <a:pt x="5" y="15"/>
                </a:cubicBezTo>
                <a:cubicBezTo>
                  <a:pt x="4" y="13"/>
                  <a:pt x="3" y="11"/>
                  <a:pt x="2" y="8"/>
                </a:cubicBezTo>
                <a:cubicBezTo>
                  <a:pt x="1" y="6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6" name="Freeform 241">
            <a:extLst>
              <a:ext uri="{FF2B5EF4-FFF2-40B4-BE49-F238E27FC236}">
                <a16:creationId xmlns:a16="http://schemas.microsoft.com/office/drawing/2014/main" xmlns="" id="{0ED94C92-E085-4041-B670-EEBF2953469E}"/>
              </a:ext>
            </a:extLst>
          </p:cNvPr>
          <p:cNvSpPr>
            <a:spLocks/>
          </p:cNvSpPr>
          <p:nvPr/>
        </p:nvSpPr>
        <p:spPr bwMode="auto">
          <a:xfrm>
            <a:off x="10405645" y="3445538"/>
            <a:ext cx="17487" cy="44968"/>
          </a:xfrm>
          <a:custGeom>
            <a:avLst/>
            <a:gdLst>
              <a:gd name="T0" fmla="*/ 0 w 6"/>
              <a:gd name="T1" fmla="*/ 0 h 15"/>
              <a:gd name="T2" fmla="*/ 4 w 6"/>
              <a:gd name="T3" fmla="*/ 7 h 15"/>
              <a:gd name="T4" fmla="*/ 6 w 6"/>
              <a:gd name="T5" fmla="*/ 15 h 15"/>
              <a:gd name="T6" fmla="*/ 2 w 6"/>
              <a:gd name="T7" fmla="*/ 8 h 15"/>
              <a:gd name="T8" fmla="*/ 0 w 6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5">
                <a:moveTo>
                  <a:pt x="0" y="0"/>
                </a:moveTo>
                <a:cubicBezTo>
                  <a:pt x="2" y="2"/>
                  <a:pt x="3" y="5"/>
                  <a:pt x="4" y="7"/>
                </a:cubicBezTo>
                <a:cubicBezTo>
                  <a:pt x="5" y="10"/>
                  <a:pt x="6" y="12"/>
                  <a:pt x="6" y="15"/>
                </a:cubicBezTo>
                <a:cubicBezTo>
                  <a:pt x="4" y="13"/>
                  <a:pt x="3" y="10"/>
                  <a:pt x="2" y="8"/>
                </a:cubicBezTo>
                <a:cubicBezTo>
                  <a:pt x="1" y="5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7" name="Freeform 242">
            <a:extLst>
              <a:ext uri="{FF2B5EF4-FFF2-40B4-BE49-F238E27FC236}">
                <a16:creationId xmlns:a16="http://schemas.microsoft.com/office/drawing/2014/main" xmlns="" id="{11ED9BAC-1C32-4A0A-85B8-F1F70C3B6C75}"/>
              </a:ext>
            </a:extLst>
          </p:cNvPr>
          <p:cNvSpPr>
            <a:spLocks/>
          </p:cNvSpPr>
          <p:nvPr/>
        </p:nvSpPr>
        <p:spPr bwMode="auto">
          <a:xfrm>
            <a:off x="10396901" y="3747821"/>
            <a:ext cx="17487" cy="44968"/>
          </a:xfrm>
          <a:custGeom>
            <a:avLst/>
            <a:gdLst>
              <a:gd name="T0" fmla="*/ 0 w 6"/>
              <a:gd name="T1" fmla="*/ 0 h 15"/>
              <a:gd name="T2" fmla="*/ 4 w 6"/>
              <a:gd name="T3" fmla="*/ 7 h 15"/>
              <a:gd name="T4" fmla="*/ 6 w 6"/>
              <a:gd name="T5" fmla="*/ 15 h 15"/>
              <a:gd name="T6" fmla="*/ 2 w 6"/>
              <a:gd name="T7" fmla="*/ 8 h 15"/>
              <a:gd name="T8" fmla="*/ 0 w 6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5">
                <a:moveTo>
                  <a:pt x="0" y="0"/>
                </a:moveTo>
                <a:cubicBezTo>
                  <a:pt x="2" y="2"/>
                  <a:pt x="3" y="4"/>
                  <a:pt x="4" y="7"/>
                </a:cubicBezTo>
                <a:cubicBezTo>
                  <a:pt x="5" y="9"/>
                  <a:pt x="6" y="12"/>
                  <a:pt x="6" y="15"/>
                </a:cubicBezTo>
                <a:cubicBezTo>
                  <a:pt x="4" y="13"/>
                  <a:pt x="3" y="10"/>
                  <a:pt x="2" y="8"/>
                </a:cubicBezTo>
                <a:cubicBezTo>
                  <a:pt x="1" y="5"/>
                  <a:pt x="1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8" name="Freeform 243">
            <a:extLst>
              <a:ext uri="{FF2B5EF4-FFF2-40B4-BE49-F238E27FC236}">
                <a16:creationId xmlns:a16="http://schemas.microsoft.com/office/drawing/2014/main" xmlns="" id="{0067BA13-7B0E-45EA-B614-1BC4E5884739}"/>
              </a:ext>
            </a:extLst>
          </p:cNvPr>
          <p:cNvSpPr>
            <a:spLocks/>
          </p:cNvSpPr>
          <p:nvPr/>
        </p:nvSpPr>
        <p:spPr bwMode="auto">
          <a:xfrm>
            <a:off x="10162070" y="3575445"/>
            <a:ext cx="14989" cy="44968"/>
          </a:xfrm>
          <a:custGeom>
            <a:avLst/>
            <a:gdLst>
              <a:gd name="T0" fmla="*/ 0 w 5"/>
              <a:gd name="T1" fmla="*/ 0 h 15"/>
              <a:gd name="T2" fmla="*/ 3 w 5"/>
              <a:gd name="T3" fmla="*/ 7 h 15"/>
              <a:gd name="T4" fmla="*/ 5 w 5"/>
              <a:gd name="T5" fmla="*/ 15 h 15"/>
              <a:gd name="T6" fmla="*/ 1 w 5"/>
              <a:gd name="T7" fmla="*/ 8 h 15"/>
              <a:gd name="T8" fmla="*/ 0 w 5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5">
                <a:moveTo>
                  <a:pt x="0" y="0"/>
                </a:moveTo>
                <a:cubicBezTo>
                  <a:pt x="1" y="2"/>
                  <a:pt x="2" y="4"/>
                  <a:pt x="3" y="7"/>
                </a:cubicBezTo>
                <a:cubicBezTo>
                  <a:pt x="4" y="9"/>
                  <a:pt x="5" y="12"/>
                  <a:pt x="5" y="15"/>
                </a:cubicBezTo>
                <a:cubicBezTo>
                  <a:pt x="4" y="13"/>
                  <a:pt x="2" y="10"/>
                  <a:pt x="1" y="8"/>
                </a:cubicBezTo>
                <a:cubicBezTo>
                  <a:pt x="1" y="5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79" name="Freeform 244">
            <a:extLst>
              <a:ext uri="{FF2B5EF4-FFF2-40B4-BE49-F238E27FC236}">
                <a16:creationId xmlns:a16="http://schemas.microsoft.com/office/drawing/2014/main" xmlns="" id="{8871E17E-CC7B-4B11-BFAE-249F14C37EDE}"/>
              </a:ext>
            </a:extLst>
          </p:cNvPr>
          <p:cNvSpPr>
            <a:spLocks/>
          </p:cNvSpPr>
          <p:nvPr/>
        </p:nvSpPr>
        <p:spPr bwMode="auto">
          <a:xfrm>
            <a:off x="10265745" y="3685366"/>
            <a:ext cx="44968" cy="18737"/>
          </a:xfrm>
          <a:custGeom>
            <a:avLst/>
            <a:gdLst>
              <a:gd name="T0" fmla="*/ 0 w 15"/>
              <a:gd name="T1" fmla="*/ 6 h 6"/>
              <a:gd name="T2" fmla="*/ 7 w 15"/>
              <a:gd name="T3" fmla="*/ 2 h 6"/>
              <a:gd name="T4" fmla="*/ 15 w 15"/>
              <a:gd name="T5" fmla="*/ 0 h 6"/>
              <a:gd name="T6" fmla="*/ 7 w 15"/>
              <a:gd name="T7" fmla="*/ 4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cubicBezTo>
                  <a:pt x="2" y="4"/>
                  <a:pt x="4" y="3"/>
                  <a:pt x="7" y="2"/>
                </a:cubicBezTo>
                <a:cubicBezTo>
                  <a:pt x="9" y="1"/>
                  <a:pt x="12" y="0"/>
                  <a:pt x="15" y="0"/>
                </a:cubicBezTo>
                <a:cubicBezTo>
                  <a:pt x="12" y="2"/>
                  <a:pt x="10" y="3"/>
                  <a:pt x="7" y="4"/>
                </a:cubicBezTo>
                <a:cubicBezTo>
                  <a:pt x="5" y="5"/>
                  <a:pt x="2" y="5"/>
                  <a:pt x="0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0" name="Freeform 245">
            <a:extLst>
              <a:ext uri="{FF2B5EF4-FFF2-40B4-BE49-F238E27FC236}">
                <a16:creationId xmlns:a16="http://schemas.microsoft.com/office/drawing/2014/main" xmlns="" id="{0F2AC814-7FCE-4766-8BC6-45484261266C}"/>
              </a:ext>
            </a:extLst>
          </p:cNvPr>
          <p:cNvSpPr>
            <a:spLocks/>
          </p:cNvSpPr>
          <p:nvPr/>
        </p:nvSpPr>
        <p:spPr bwMode="auto">
          <a:xfrm>
            <a:off x="10345688" y="3253177"/>
            <a:ext cx="44968" cy="17487"/>
          </a:xfrm>
          <a:custGeom>
            <a:avLst/>
            <a:gdLst>
              <a:gd name="T0" fmla="*/ 0 w 15"/>
              <a:gd name="T1" fmla="*/ 6 h 6"/>
              <a:gd name="T2" fmla="*/ 7 w 15"/>
              <a:gd name="T3" fmla="*/ 2 h 6"/>
              <a:gd name="T4" fmla="*/ 15 w 15"/>
              <a:gd name="T5" fmla="*/ 0 h 6"/>
              <a:gd name="T6" fmla="*/ 7 w 15"/>
              <a:gd name="T7" fmla="*/ 4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cubicBezTo>
                  <a:pt x="2" y="4"/>
                  <a:pt x="4" y="3"/>
                  <a:pt x="7" y="2"/>
                </a:cubicBezTo>
                <a:cubicBezTo>
                  <a:pt x="9" y="1"/>
                  <a:pt x="12" y="0"/>
                  <a:pt x="15" y="0"/>
                </a:cubicBezTo>
                <a:cubicBezTo>
                  <a:pt x="12" y="2"/>
                  <a:pt x="10" y="3"/>
                  <a:pt x="7" y="4"/>
                </a:cubicBezTo>
                <a:cubicBezTo>
                  <a:pt x="5" y="5"/>
                  <a:pt x="2" y="6"/>
                  <a:pt x="0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1" name="Freeform 246">
            <a:extLst>
              <a:ext uri="{FF2B5EF4-FFF2-40B4-BE49-F238E27FC236}">
                <a16:creationId xmlns:a16="http://schemas.microsoft.com/office/drawing/2014/main" xmlns="" id="{8BB8C059-7441-4D0E-B24B-9FA41DDD7EC9}"/>
              </a:ext>
            </a:extLst>
          </p:cNvPr>
          <p:cNvSpPr>
            <a:spLocks/>
          </p:cNvSpPr>
          <p:nvPr/>
        </p:nvSpPr>
        <p:spPr bwMode="auto">
          <a:xfrm>
            <a:off x="10533053" y="3499250"/>
            <a:ext cx="43719" cy="14989"/>
          </a:xfrm>
          <a:custGeom>
            <a:avLst/>
            <a:gdLst>
              <a:gd name="T0" fmla="*/ 0 w 15"/>
              <a:gd name="T1" fmla="*/ 5 h 5"/>
              <a:gd name="T2" fmla="*/ 7 w 15"/>
              <a:gd name="T3" fmla="*/ 1 h 5"/>
              <a:gd name="T4" fmla="*/ 15 w 15"/>
              <a:gd name="T5" fmla="*/ 0 h 5"/>
              <a:gd name="T6" fmla="*/ 8 w 15"/>
              <a:gd name="T7" fmla="*/ 3 h 5"/>
              <a:gd name="T8" fmla="*/ 0 w 15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5">
                <a:moveTo>
                  <a:pt x="0" y="5"/>
                </a:moveTo>
                <a:cubicBezTo>
                  <a:pt x="2" y="3"/>
                  <a:pt x="5" y="2"/>
                  <a:pt x="7" y="1"/>
                </a:cubicBezTo>
                <a:cubicBezTo>
                  <a:pt x="10" y="0"/>
                  <a:pt x="12" y="0"/>
                  <a:pt x="15" y="0"/>
                </a:cubicBezTo>
                <a:cubicBezTo>
                  <a:pt x="13" y="1"/>
                  <a:pt x="11" y="2"/>
                  <a:pt x="8" y="3"/>
                </a:cubicBezTo>
                <a:cubicBezTo>
                  <a:pt x="6" y="4"/>
                  <a:pt x="3" y="5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2" name="Freeform 247">
            <a:extLst>
              <a:ext uri="{FF2B5EF4-FFF2-40B4-BE49-F238E27FC236}">
                <a16:creationId xmlns:a16="http://schemas.microsoft.com/office/drawing/2014/main" xmlns="" id="{76DD69B2-D381-4A54-82F1-53B37832D2E2}"/>
              </a:ext>
            </a:extLst>
          </p:cNvPr>
          <p:cNvSpPr>
            <a:spLocks/>
          </p:cNvSpPr>
          <p:nvPr/>
        </p:nvSpPr>
        <p:spPr bwMode="auto">
          <a:xfrm>
            <a:off x="10082127" y="3685366"/>
            <a:ext cx="6246" cy="3747"/>
          </a:xfrm>
          <a:custGeom>
            <a:avLst/>
            <a:gdLst>
              <a:gd name="T0" fmla="*/ 2 w 2"/>
              <a:gd name="T1" fmla="*/ 0 h 1"/>
              <a:gd name="T2" fmla="*/ 0 w 2"/>
              <a:gd name="T3" fmla="*/ 1 h 1"/>
              <a:gd name="T4" fmla="*/ 0 w 2"/>
              <a:gd name="T5" fmla="*/ 0 h 1"/>
              <a:gd name="T6" fmla="*/ 2 w 2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0"/>
                  <a:pt x="1" y="1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0"/>
                  <a:pt x="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3" name="Freeform 248">
            <a:extLst>
              <a:ext uri="{FF2B5EF4-FFF2-40B4-BE49-F238E27FC236}">
                <a16:creationId xmlns:a16="http://schemas.microsoft.com/office/drawing/2014/main" xmlns="" id="{B48AE4AD-F1AF-4CE3-84EC-38AC050E0720}"/>
              </a:ext>
            </a:extLst>
          </p:cNvPr>
          <p:cNvSpPr>
            <a:spLocks/>
          </p:cNvSpPr>
          <p:nvPr/>
        </p:nvSpPr>
        <p:spPr bwMode="auto">
          <a:xfrm>
            <a:off x="10043405" y="3208209"/>
            <a:ext cx="252319" cy="409706"/>
          </a:xfrm>
          <a:custGeom>
            <a:avLst/>
            <a:gdLst>
              <a:gd name="T0" fmla="*/ 74 w 85"/>
              <a:gd name="T1" fmla="*/ 49 h 138"/>
              <a:gd name="T2" fmla="*/ 69 w 85"/>
              <a:gd name="T3" fmla="*/ 25 h 138"/>
              <a:gd name="T4" fmla="*/ 66 w 85"/>
              <a:gd name="T5" fmla="*/ 13 h 138"/>
              <a:gd name="T6" fmla="*/ 65 w 85"/>
              <a:gd name="T7" fmla="*/ 7 h 138"/>
              <a:gd name="T8" fmla="*/ 64 w 85"/>
              <a:gd name="T9" fmla="*/ 4 h 138"/>
              <a:gd name="T10" fmla="*/ 63 w 85"/>
              <a:gd name="T11" fmla="*/ 0 h 138"/>
              <a:gd name="T12" fmla="*/ 63 w 85"/>
              <a:gd name="T13" fmla="*/ 0 h 138"/>
              <a:gd name="T14" fmla="*/ 63 w 85"/>
              <a:gd name="T15" fmla="*/ 3 h 138"/>
              <a:gd name="T16" fmla="*/ 63 w 85"/>
              <a:gd name="T17" fmla="*/ 7 h 138"/>
              <a:gd name="T18" fmla="*/ 64 w 85"/>
              <a:gd name="T19" fmla="*/ 13 h 138"/>
              <a:gd name="T20" fmla="*/ 66 w 85"/>
              <a:gd name="T21" fmla="*/ 25 h 138"/>
              <a:gd name="T22" fmla="*/ 67 w 85"/>
              <a:gd name="T23" fmla="*/ 26 h 138"/>
              <a:gd name="T24" fmla="*/ 67 w 85"/>
              <a:gd name="T25" fmla="*/ 26 h 138"/>
              <a:gd name="T26" fmla="*/ 62 w 85"/>
              <a:gd name="T27" fmla="*/ 13 h 138"/>
              <a:gd name="T28" fmla="*/ 62 w 85"/>
              <a:gd name="T29" fmla="*/ 13 h 138"/>
              <a:gd name="T30" fmla="*/ 65 w 85"/>
              <a:gd name="T31" fmla="*/ 26 h 138"/>
              <a:gd name="T32" fmla="*/ 68 w 85"/>
              <a:gd name="T33" fmla="*/ 33 h 138"/>
              <a:gd name="T34" fmla="*/ 71 w 85"/>
              <a:gd name="T35" fmla="*/ 49 h 138"/>
              <a:gd name="T36" fmla="*/ 83 w 85"/>
              <a:gd name="T37" fmla="*/ 98 h 138"/>
              <a:gd name="T38" fmla="*/ 62 w 85"/>
              <a:gd name="T39" fmla="*/ 107 h 138"/>
              <a:gd name="T40" fmla="*/ 41 w 85"/>
              <a:gd name="T41" fmla="*/ 117 h 138"/>
              <a:gd name="T42" fmla="*/ 21 w 85"/>
              <a:gd name="T43" fmla="*/ 127 h 138"/>
              <a:gd name="T44" fmla="*/ 11 w 85"/>
              <a:gd name="T45" fmla="*/ 132 h 138"/>
              <a:gd name="T46" fmla="*/ 1 w 85"/>
              <a:gd name="T47" fmla="*/ 137 h 138"/>
              <a:gd name="T48" fmla="*/ 1 w 85"/>
              <a:gd name="T49" fmla="*/ 138 h 138"/>
              <a:gd name="T50" fmla="*/ 12 w 85"/>
              <a:gd name="T51" fmla="*/ 133 h 138"/>
              <a:gd name="T52" fmla="*/ 22 w 85"/>
              <a:gd name="T53" fmla="*/ 129 h 138"/>
              <a:gd name="T54" fmla="*/ 43 w 85"/>
              <a:gd name="T55" fmla="*/ 120 h 138"/>
              <a:gd name="T56" fmla="*/ 64 w 85"/>
              <a:gd name="T57" fmla="*/ 110 h 138"/>
              <a:gd name="T58" fmla="*/ 84 w 85"/>
              <a:gd name="T59" fmla="*/ 99 h 138"/>
              <a:gd name="T60" fmla="*/ 85 w 85"/>
              <a:gd name="T61" fmla="*/ 99 h 138"/>
              <a:gd name="T62" fmla="*/ 85 w 85"/>
              <a:gd name="T63" fmla="*/ 98 h 138"/>
              <a:gd name="T64" fmla="*/ 74 w 85"/>
              <a:gd name="T65" fmla="*/ 49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5" h="138">
                <a:moveTo>
                  <a:pt x="74" y="49"/>
                </a:moveTo>
                <a:cubicBezTo>
                  <a:pt x="72" y="41"/>
                  <a:pt x="70" y="33"/>
                  <a:pt x="69" y="25"/>
                </a:cubicBezTo>
                <a:cubicBezTo>
                  <a:pt x="68" y="21"/>
                  <a:pt x="67" y="17"/>
                  <a:pt x="66" y="13"/>
                </a:cubicBezTo>
                <a:cubicBezTo>
                  <a:pt x="65" y="11"/>
                  <a:pt x="65" y="9"/>
                  <a:pt x="65" y="7"/>
                </a:cubicBezTo>
                <a:cubicBezTo>
                  <a:pt x="64" y="6"/>
                  <a:pt x="64" y="5"/>
                  <a:pt x="64" y="4"/>
                </a:cubicBezTo>
                <a:cubicBezTo>
                  <a:pt x="63" y="0"/>
                  <a:pt x="64" y="4"/>
                  <a:pt x="63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3" y="2"/>
                  <a:pt x="62" y="2"/>
                  <a:pt x="63" y="3"/>
                </a:cubicBezTo>
                <a:cubicBezTo>
                  <a:pt x="63" y="4"/>
                  <a:pt x="63" y="6"/>
                  <a:pt x="63" y="7"/>
                </a:cubicBezTo>
                <a:cubicBezTo>
                  <a:pt x="64" y="9"/>
                  <a:pt x="64" y="11"/>
                  <a:pt x="64" y="13"/>
                </a:cubicBezTo>
                <a:cubicBezTo>
                  <a:pt x="65" y="17"/>
                  <a:pt x="66" y="21"/>
                  <a:pt x="66" y="25"/>
                </a:cubicBezTo>
                <a:cubicBezTo>
                  <a:pt x="66" y="25"/>
                  <a:pt x="67" y="26"/>
                  <a:pt x="67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65" y="21"/>
                  <a:pt x="64" y="17"/>
                  <a:pt x="62" y="13"/>
                </a:cubicBezTo>
                <a:cubicBezTo>
                  <a:pt x="62" y="13"/>
                  <a:pt x="62" y="13"/>
                  <a:pt x="62" y="13"/>
                </a:cubicBezTo>
                <a:cubicBezTo>
                  <a:pt x="63" y="17"/>
                  <a:pt x="64" y="22"/>
                  <a:pt x="65" y="26"/>
                </a:cubicBezTo>
                <a:cubicBezTo>
                  <a:pt x="66" y="29"/>
                  <a:pt x="67" y="31"/>
                  <a:pt x="68" y="33"/>
                </a:cubicBezTo>
                <a:cubicBezTo>
                  <a:pt x="69" y="39"/>
                  <a:pt x="70" y="44"/>
                  <a:pt x="71" y="49"/>
                </a:cubicBezTo>
                <a:cubicBezTo>
                  <a:pt x="75" y="66"/>
                  <a:pt x="78" y="82"/>
                  <a:pt x="83" y="98"/>
                </a:cubicBezTo>
                <a:cubicBezTo>
                  <a:pt x="76" y="101"/>
                  <a:pt x="69" y="104"/>
                  <a:pt x="62" y="107"/>
                </a:cubicBezTo>
                <a:cubicBezTo>
                  <a:pt x="55" y="110"/>
                  <a:pt x="48" y="114"/>
                  <a:pt x="41" y="117"/>
                </a:cubicBezTo>
                <a:cubicBezTo>
                  <a:pt x="35" y="120"/>
                  <a:pt x="28" y="123"/>
                  <a:pt x="21" y="127"/>
                </a:cubicBezTo>
                <a:cubicBezTo>
                  <a:pt x="18" y="128"/>
                  <a:pt x="14" y="130"/>
                  <a:pt x="11" y="132"/>
                </a:cubicBezTo>
                <a:cubicBezTo>
                  <a:pt x="8" y="134"/>
                  <a:pt x="4" y="136"/>
                  <a:pt x="1" y="137"/>
                </a:cubicBezTo>
                <a:cubicBezTo>
                  <a:pt x="0" y="138"/>
                  <a:pt x="1" y="138"/>
                  <a:pt x="1" y="138"/>
                </a:cubicBezTo>
                <a:cubicBezTo>
                  <a:pt x="5" y="136"/>
                  <a:pt x="9" y="135"/>
                  <a:pt x="12" y="133"/>
                </a:cubicBezTo>
                <a:cubicBezTo>
                  <a:pt x="16" y="132"/>
                  <a:pt x="19" y="131"/>
                  <a:pt x="22" y="129"/>
                </a:cubicBezTo>
                <a:cubicBezTo>
                  <a:pt x="29" y="126"/>
                  <a:pt x="36" y="123"/>
                  <a:pt x="43" y="120"/>
                </a:cubicBezTo>
                <a:cubicBezTo>
                  <a:pt x="50" y="116"/>
                  <a:pt x="57" y="113"/>
                  <a:pt x="64" y="110"/>
                </a:cubicBezTo>
                <a:cubicBezTo>
                  <a:pt x="71" y="106"/>
                  <a:pt x="77" y="103"/>
                  <a:pt x="84" y="99"/>
                </a:cubicBezTo>
                <a:cubicBezTo>
                  <a:pt x="85" y="99"/>
                  <a:pt x="85" y="99"/>
                  <a:pt x="85" y="99"/>
                </a:cubicBezTo>
                <a:cubicBezTo>
                  <a:pt x="85" y="99"/>
                  <a:pt x="85" y="98"/>
                  <a:pt x="85" y="98"/>
                </a:cubicBezTo>
                <a:cubicBezTo>
                  <a:pt x="82" y="82"/>
                  <a:pt x="77" y="65"/>
                  <a:pt x="74" y="49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4" name="Freeform 249">
            <a:extLst>
              <a:ext uri="{FF2B5EF4-FFF2-40B4-BE49-F238E27FC236}">
                <a16:creationId xmlns:a16="http://schemas.microsoft.com/office/drawing/2014/main" xmlns="" id="{1D16DE36-ABB8-4B11-AFA0-AECCF759A5D2}"/>
              </a:ext>
            </a:extLst>
          </p:cNvPr>
          <p:cNvSpPr>
            <a:spLocks/>
          </p:cNvSpPr>
          <p:nvPr/>
        </p:nvSpPr>
        <p:spPr bwMode="auto">
          <a:xfrm>
            <a:off x="10135839" y="3602925"/>
            <a:ext cx="144896" cy="302283"/>
          </a:xfrm>
          <a:custGeom>
            <a:avLst/>
            <a:gdLst>
              <a:gd name="T0" fmla="*/ 26 w 49"/>
              <a:gd name="T1" fmla="*/ 51 h 102"/>
              <a:gd name="T2" fmla="*/ 0 w 49"/>
              <a:gd name="T3" fmla="*/ 0 h 102"/>
              <a:gd name="T4" fmla="*/ 0 w 49"/>
              <a:gd name="T5" fmla="*/ 0 h 102"/>
              <a:gd name="T6" fmla="*/ 22 w 49"/>
              <a:gd name="T7" fmla="*/ 51 h 102"/>
              <a:gd name="T8" fmla="*/ 49 w 49"/>
              <a:gd name="T9" fmla="*/ 102 h 102"/>
              <a:gd name="T10" fmla="*/ 49 w 49"/>
              <a:gd name="T11" fmla="*/ 102 h 102"/>
              <a:gd name="T12" fmla="*/ 26 w 49"/>
              <a:gd name="T13" fmla="*/ 5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102">
                <a:moveTo>
                  <a:pt x="26" y="51"/>
                </a:moveTo>
                <a:cubicBezTo>
                  <a:pt x="22" y="42"/>
                  <a:pt x="5" y="8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3" y="9"/>
                  <a:pt x="18" y="43"/>
                  <a:pt x="22" y="51"/>
                </a:cubicBezTo>
                <a:cubicBezTo>
                  <a:pt x="31" y="69"/>
                  <a:pt x="39" y="86"/>
                  <a:pt x="49" y="102"/>
                </a:cubicBezTo>
                <a:cubicBezTo>
                  <a:pt x="49" y="102"/>
                  <a:pt x="49" y="102"/>
                  <a:pt x="49" y="102"/>
                </a:cubicBezTo>
                <a:cubicBezTo>
                  <a:pt x="43" y="84"/>
                  <a:pt x="34" y="68"/>
                  <a:pt x="26" y="51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5" name="Freeform 250">
            <a:extLst>
              <a:ext uri="{FF2B5EF4-FFF2-40B4-BE49-F238E27FC236}">
                <a16:creationId xmlns:a16="http://schemas.microsoft.com/office/drawing/2014/main" xmlns="" id="{2B6C3B49-2C4A-46A5-A4DD-4FC6DEC27BD3}"/>
              </a:ext>
            </a:extLst>
          </p:cNvPr>
          <p:cNvSpPr>
            <a:spLocks/>
          </p:cNvSpPr>
          <p:nvPr/>
        </p:nvSpPr>
        <p:spPr bwMode="auto">
          <a:xfrm>
            <a:off x="10388157" y="3792789"/>
            <a:ext cx="106174" cy="71199"/>
          </a:xfrm>
          <a:custGeom>
            <a:avLst/>
            <a:gdLst>
              <a:gd name="T0" fmla="*/ 36 w 36"/>
              <a:gd name="T1" fmla="*/ 0 h 24"/>
              <a:gd name="T2" fmla="*/ 27 w 36"/>
              <a:gd name="T3" fmla="*/ 6 h 24"/>
              <a:gd name="T4" fmla="*/ 18 w 36"/>
              <a:gd name="T5" fmla="*/ 12 h 24"/>
              <a:gd name="T6" fmla="*/ 0 w 36"/>
              <a:gd name="T7" fmla="*/ 24 h 24"/>
              <a:gd name="T8" fmla="*/ 1 w 36"/>
              <a:gd name="T9" fmla="*/ 24 h 24"/>
              <a:gd name="T10" fmla="*/ 20 w 36"/>
              <a:gd name="T11" fmla="*/ 13 h 24"/>
              <a:gd name="T12" fmla="*/ 36 w 36"/>
              <a:gd name="T1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24">
                <a:moveTo>
                  <a:pt x="36" y="0"/>
                </a:moveTo>
                <a:cubicBezTo>
                  <a:pt x="33" y="2"/>
                  <a:pt x="30" y="4"/>
                  <a:pt x="27" y="6"/>
                </a:cubicBezTo>
                <a:cubicBezTo>
                  <a:pt x="24" y="8"/>
                  <a:pt x="21" y="10"/>
                  <a:pt x="18" y="12"/>
                </a:cubicBezTo>
                <a:cubicBezTo>
                  <a:pt x="13" y="16"/>
                  <a:pt x="7" y="20"/>
                  <a:pt x="0" y="24"/>
                </a:cubicBezTo>
                <a:cubicBezTo>
                  <a:pt x="1" y="24"/>
                  <a:pt x="1" y="24"/>
                  <a:pt x="1" y="24"/>
                </a:cubicBezTo>
                <a:cubicBezTo>
                  <a:pt x="7" y="21"/>
                  <a:pt x="14" y="17"/>
                  <a:pt x="20" y="13"/>
                </a:cubicBezTo>
                <a:cubicBezTo>
                  <a:pt x="25" y="9"/>
                  <a:pt x="32" y="5"/>
                  <a:pt x="36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6" name="Freeform 251">
            <a:extLst>
              <a:ext uri="{FF2B5EF4-FFF2-40B4-BE49-F238E27FC236}">
                <a16:creationId xmlns:a16="http://schemas.microsoft.com/office/drawing/2014/main" xmlns="" id="{BF369EE5-25A1-4BAD-8C51-B12518A6935E}"/>
              </a:ext>
            </a:extLst>
          </p:cNvPr>
          <p:cNvSpPr>
            <a:spLocks/>
          </p:cNvSpPr>
          <p:nvPr/>
        </p:nvSpPr>
        <p:spPr bwMode="auto">
          <a:xfrm>
            <a:off x="10040907" y="2793507"/>
            <a:ext cx="171127" cy="263561"/>
          </a:xfrm>
          <a:custGeom>
            <a:avLst/>
            <a:gdLst>
              <a:gd name="T0" fmla="*/ 16 w 58"/>
              <a:gd name="T1" fmla="*/ 87 h 89"/>
              <a:gd name="T2" fmla="*/ 58 w 58"/>
              <a:gd name="T3" fmla="*/ 52 h 89"/>
              <a:gd name="T4" fmla="*/ 54 w 58"/>
              <a:gd name="T5" fmla="*/ 27 h 89"/>
              <a:gd name="T6" fmla="*/ 50 w 58"/>
              <a:gd name="T7" fmla="*/ 2 h 89"/>
              <a:gd name="T8" fmla="*/ 45 w 58"/>
              <a:gd name="T9" fmla="*/ 4 h 89"/>
              <a:gd name="T10" fmla="*/ 34 w 58"/>
              <a:gd name="T11" fmla="*/ 7 h 89"/>
              <a:gd name="T12" fmla="*/ 0 w 58"/>
              <a:gd name="T13" fmla="*/ 18 h 89"/>
              <a:gd name="T14" fmla="*/ 7 w 58"/>
              <a:gd name="T15" fmla="*/ 49 h 89"/>
              <a:gd name="T16" fmla="*/ 7 w 58"/>
              <a:gd name="T17" fmla="*/ 52 h 89"/>
              <a:gd name="T18" fmla="*/ 7 w 58"/>
              <a:gd name="T19" fmla="*/ 53 h 89"/>
              <a:gd name="T20" fmla="*/ 16 w 58"/>
              <a:gd name="T21" fmla="*/ 87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" h="89">
                <a:moveTo>
                  <a:pt x="16" y="87"/>
                </a:moveTo>
                <a:cubicBezTo>
                  <a:pt x="28" y="89"/>
                  <a:pt x="50" y="67"/>
                  <a:pt x="58" y="52"/>
                </a:cubicBezTo>
                <a:cubicBezTo>
                  <a:pt x="58" y="51"/>
                  <a:pt x="56" y="40"/>
                  <a:pt x="54" y="27"/>
                </a:cubicBezTo>
                <a:cubicBezTo>
                  <a:pt x="52" y="19"/>
                  <a:pt x="51" y="10"/>
                  <a:pt x="50" y="2"/>
                </a:cubicBezTo>
                <a:cubicBezTo>
                  <a:pt x="50" y="0"/>
                  <a:pt x="45" y="4"/>
                  <a:pt x="45" y="4"/>
                </a:cubicBezTo>
                <a:cubicBezTo>
                  <a:pt x="34" y="7"/>
                  <a:pt x="34" y="7"/>
                  <a:pt x="34" y="7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8"/>
                  <a:pt x="6" y="35"/>
                  <a:pt x="7" y="49"/>
                </a:cubicBezTo>
                <a:cubicBezTo>
                  <a:pt x="7" y="50"/>
                  <a:pt x="7" y="51"/>
                  <a:pt x="7" y="52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9"/>
                  <a:pt x="4" y="85"/>
                  <a:pt x="16" y="87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7" name="Freeform 252">
            <a:extLst>
              <a:ext uri="{FF2B5EF4-FFF2-40B4-BE49-F238E27FC236}">
                <a16:creationId xmlns:a16="http://schemas.microsoft.com/office/drawing/2014/main" xmlns="" id="{F9D9B64D-48DD-421B-92DC-99A2B8971D08}"/>
              </a:ext>
            </a:extLst>
          </p:cNvPr>
          <p:cNvSpPr>
            <a:spLocks/>
          </p:cNvSpPr>
          <p:nvPr/>
        </p:nvSpPr>
        <p:spPr bwMode="auto">
          <a:xfrm>
            <a:off x="10040907" y="2807247"/>
            <a:ext cx="142398" cy="142398"/>
          </a:xfrm>
          <a:custGeom>
            <a:avLst/>
            <a:gdLst>
              <a:gd name="T0" fmla="*/ 7 w 48"/>
              <a:gd name="T1" fmla="*/ 47 h 48"/>
              <a:gd name="T2" fmla="*/ 7 w 48"/>
              <a:gd name="T3" fmla="*/ 48 h 48"/>
              <a:gd name="T4" fmla="*/ 12 w 48"/>
              <a:gd name="T5" fmla="*/ 48 h 48"/>
              <a:gd name="T6" fmla="*/ 48 w 48"/>
              <a:gd name="T7" fmla="*/ 0 h 48"/>
              <a:gd name="T8" fmla="*/ 34 w 48"/>
              <a:gd name="T9" fmla="*/ 2 h 48"/>
              <a:gd name="T10" fmla="*/ 0 w 48"/>
              <a:gd name="T11" fmla="*/ 13 h 48"/>
              <a:gd name="T12" fmla="*/ 7 w 48"/>
              <a:gd name="T13" fmla="*/ 44 h 48"/>
              <a:gd name="T14" fmla="*/ 7 w 48"/>
              <a:gd name="T15" fmla="*/ 47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" h="48">
                <a:moveTo>
                  <a:pt x="7" y="47"/>
                </a:moveTo>
                <a:cubicBezTo>
                  <a:pt x="7" y="48"/>
                  <a:pt x="7" y="48"/>
                  <a:pt x="7" y="48"/>
                </a:cubicBezTo>
                <a:cubicBezTo>
                  <a:pt x="8" y="48"/>
                  <a:pt x="10" y="48"/>
                  <a:pt x="12" y="48"/>
                </a:cubicBezTo>
                <a:cubicBezTo>
                  <a:pt x="47" y="45"/>
                  <a:pt x="48" y="0"/>
                  <a:pt x="48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6" y="30"/>
                  <a:pt x="7" y="44"/>
                </a:cubicBezTo>
                <a:cubicBezTo>
                  <a:pt x="7" y="45"/>
                  <a:pt x="7" y="46"/>
                  <a:pt x="7" y="47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8" name="Freeform 253">
            <a:extLst>
              <a:ext uri="{FF2B5EF4-FFF2-40B4-BE49-F238E27FC236}">
                <a16:creationId xmlns:a16="http://schemas.microsoft.com/office/drawing/2014/main" xmlns="" id="{7658C38F-1920-4775-A906-904C43E2F770}"/>
              </a:ext>
            </a:extLst>
          </p:cNvPr>
          <p:cNvSpPr>
            <a:spLocks/>
          </p:cNvSpPr>
          <p:nvPr/>
        </p:nvSpPr>
        <p:spPr bwMode="auto">
          <a:xfrm>
            <a:off x="9924740" y="2523701"/>
            <a:ext cx="297286" cy="414702"/>
          </a:xfrm>
          <a:custGeom>
            <a:avLst/>
            <a:gdLst>
              <a:gd name="T0" fmla="*/ 95 w 100"/>
              <a:gd name="T1" fmla="*/ 37 h 140"/>
              <a:gd name="T2" fmla="*/ 79 w 100"/>
              <a:gd name="T3" fmla="*/ 121 h 140"/>
              <a:gd name="T4" fmla="*/ 14 w 100"/>
              <a:gd name="T5" fmla="*/ 118 h 140"/>
              <a:gd name="T6" fmla="*/ 27 w 100"/>
              <a:gd name="T7" fmla="*/ 16 h 140"/>
              <a:gd name="T8" fmla="*/ 95 w 100"/>
              <a:gd name="T9" fmla="*/ 37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140">
                <a:moveTo>
                  <a:pt x="95" y="37"/>
                </a:moveTo>
                <a:cubicBezTo>
                  <a:pt x="100" y="56"/>
                  <a:pt x="91" y="109"/>
                  <a:pt x="79" y="121"/>
                </a:cubicBezTo>
                <a:cubicBezTo>
                  <a:pt x="60" y="138"/>
                  <a:pt x="29" y="140"/>
                  <a:pt x="14" y="118"/>
                </a:cubicBezTo>
                <a:cubicBezTo>
                  <a:pt x="0" y="96"/>
                  <a:pt x="13" y="27"/>
                  <a:pt x="27" y="16"/>
                </a:cubicBezTo>
                <a:cubicBezTo>
                  <a:pt x="48" y="0"/>
                  <a:pt x="86" y="10"/>
                  <a:pt x="95" y="37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89" name="Freeform 254">
            <a:extLst>
              <a:ext uri="{FF2B5EF4-FFF2-40B4-BE49-F238E27FC236}">
                <a16:creationId xmlns:a16="http://schemas.microsoft.com/office/drawing/2014/main" xmlns="" id="{85A3789B-34D6-4492-A54A-3D503EBAB28C}"/>
              </a:ext>
            </a:extLst>
          </p:cNvPr>
          <p:cNvSpPr>
            <a:spLocks/>
          </p:cNvSpPr>
          <p:nvPr/>
        </p:nvSpPr>
        <p:spPr bwMode="auto">
          <a:xfrm>
            <a:off x="10162070" y="2878446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6A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0" name="Freeform 255">
            <a:extLst>
              <a:ext uri="{FF2B5EF4-FFF2-40B4-BE49-F238E27FC236}">
                <a16:creationId xmlns:a16="http://schemas.microsoft.com/office/drawing/2014/main" xmlns="" id="{CA94C771-8A42-464A-AF07-1121FC05FEA7}"/>
              </a:ext>
            </a:extLst>
          </p:cNvPr>
          <p:cNvSpPr>
            <a:spLocks/>
          </p:cNvSpPr>
          <p:nvPr/>
        </p:nvSpPr>
        <p:spPr bwMode="auto">
          <a:xfrm>
            <a:off x="10162070" y="2878446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1" name="Freeform 256">
            <a:extLst>
              <a:ext uri="{FF2B5EF4-FFF2-40B4-BE49-F238E27FC236}">
                <a16:creationId xmlns:a16="http://schemas.microsoft.com/office/drawing/2014/main" xmlns="" id="{E4BCB08F-B9B0-4F4C-9BCD-2232BCABCDA3}"/>
              </a:ext>
            </a:extLst>
          </p:cNvPr>
          <p:cNvSpPr>
            <a:spLocks/>
          </p:cNvSpPr>
          <p:nvPr/>
        </p:nvSpPr>
        <p:spPr bwMode="auto">
          <a:xfrm>
            <a:off x="10047152" y="2737297"/>
            <a:ext cx="11242" cy="28729"/>
          </a:xfrm>
          <a:custGeom>
            <a:avLst/>
            <a:gdLst>
              <a:gd name="T0" fmla="*/ 2 w 4"/>
              <a:gd name="T1" fmla="*/ 0 h 10"/>
              <a:gd name="T2" fmla="*/ 2 w 4"/>
              <a:gd name="T3" fmla="*/ 1 h 10"/>
              <a:gd name="T4" fmla="*/ 4 w 4"/>
              <a:gd name="T5" fmla="*/ 10 h 10"/>
              <a:gd name="T6" fmla="*/ 4 w 4"/>
              <a:gd name="T7" fmla="*/ 10 h 10"/>
              <a:gd name="T8" fmla="*/ 2 w 4"/>
              <a:gd name="T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0">
                <a:moveTo>
                  <a:pt x="2" y="0"/>
                </a:moveTo>
                <a:cubicBezTo>
                  <a:pt x="2" y="1"/>
                  <a:pt x="2" y="1"/>
                  <a:pt x="2" y="1"/>
                </a:cubicBezTo>
                <a:cubicBezTo>
                  <a:pt x="1" y="4"/>
                  <a:pt x="1" y="9"/>
                  <a:pt x="4" y="10"/>
                </a:cubicBezTo>
                <a:cubicBezTo>
                  <a:pt x="4" y="10"/>
                  <a:pt x="4" y="10"/>
                  <a:pt x="4" y="10"/>
                </a:cubicBezTo>
                <a:cubicBezTo>
                  <a:pt x="0" y="9"/>
                  <a:pt x="1" y="4"/>
                  <a:pt x="2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2" name="Freeform 257">
            <a:extLst>
              <a:ext uri="{FF2B5EF4-FFF2-40B4-BE49-F238E27FC236}">
                <a16:creationId xmlns:a16="http://schemas.microsoft.com/office/drawing/2014/main" xmlns="" id="{0710C0D0-0928-4401-BE61-630D35BC5EF8}"/>
              </a:ext>
            </a:extLst>
          </p:cNvPr>
          <p:cNvSpPr>
            <a:spLocks/>
          </p:cNvSpPr>
          <p:nvPr/>
        </p:nvSpPr>
        <p:spPr bwMode="auto">
          <a:xfrm>
            <a:off x="10043405" y="2727304"/>
            <a:ext cx="36224" cy="36224"/>
          </a:xfrm>
          <a:custGeom>
            <a:avLst/>
            <a:gdLst>
              <a:gd name="T0" fmla="*/ 7 w 12"/>
              <a:gd name="T1" fmla="*/ 0 h 12"/>
              <a:gd name="T2" fmla="*/ 6 w 12"/>
              <a:gd name="T3" fmla="*/ 12 h 12"/>
              <a:gd name="T4" fmla="*/ 7 w 12"/>
              <a:gd name="T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12">
                <a:moveTo>
                  <a:pt x="7" y="0"/>
                </a:moveTo>
                <a:cubicBezTo>
                  <a:pt x="12" y="1"/>
                  <a:pt x="11" y="12"/>
                  <a:pt x="6" y="12"/>
                </a:cubicBezTo>
                <a:cubicBezTo>
                  <a:pt x="0" y="11"/>
                  <a:pt x="2" y="0"/>
                  <a:pt x="7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3" name="Freeform 258">
            <a:extLst>
              <a:ext uri="{FF2B5EF4-FFF2-40B4-BE49-F238E27FC236}">
                <a16:creationId xmlns:a16="http://schemas.microsoft.com/office/drawing/2014/main" xmlns="" id="{9BFFE8FA-F1A8-43DD-A378-EE3E9733F853}"/>
              </a:ext>
            </a:extLst>
          </p:cNvPr>
          <p:cNvSpPr>
            <a:spLocks/>
          </p:cNvSpPr>
          <p:nvPr/>
        </p:nvSpPr>
        <p:spPr bwMode="auto">
          <a:xfrm>
            <a:off x="9975953" y="2727304"/>
            <a:ext cx="17487" cy="27480"/>
          </a:xfrm>
          <a:custGeom>
            <a:avLst/>
            <a:gdLst>
              <a:gd name="T0" fmla="*/ 5 w 6"/>
              <a:gd name="T1" fmla="*/ 0 h 9"/>
              <a:gd name="T2" fmla="*/ 5 w 6"/>
              <a:gd name="T3" fmla="*/ 0 h 9"/>
              <a:gd name="T4" fmla="*/ 0 w 6"/>
              <a:gd name="T5" fmla="*/ 9 h 9"/>
              <a:gd name="T6" fmla="*/ 0 w 6"/>
              <a:gd name="T7" fmla="*/ 9 h 9"/>
              <a:gd name="T8" fmla="*/ 5 w 6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9">
                <a:moveTo>
                  <a:pt x="5" y="0"/>
                </a:moveTo>
                <a:cubicBezTo>
                  <a:pt x="5" y="0"/>
                  <a:pt x="5" y="0"/>
                  <a:pt x="5" y="0"/>
                </a:cubicBezTo>
                <a:cubicBezTo>
                  <a:pt x="5" y="4"/>
                  <a:pt x="4" y="8"/>
                  <a:pt x="0" y="9"/>
                </a:cubicBezTo>
                <a:cubicBezTo>
                  <a:pt x="0" y="9"/>
                  <a:pt x="0" y="9"/>
                  <a:pt x="0" y="9"/>
                </a:cubicBezTo>
                <a:cubicBezTo>
                  <a:pt x="4" y="9"/>
                  <a:pt x="6" y="4"/>
                  <a:pt x="5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4" name="Freeform 259">
            <a:extLst>
              <a:ext uri="{FF2B5EF4-FFF2-40B4-BE49-F238E27FC236}">
                <a16:creationId xmlns:a16="http://schemas.microsoft.com/office/drawing/2014/main" xmlns="" id="{BDFF2794-A81A-4D2A-9F9C-C9BDA60173D0}"/>
              </a:ext>
            </a:extLst>
          </p:cNvPr>
          <p:cNvSpPr>
            <a:spLocks/>
          </p:cNvSpPr>
          <p:nvPr/>
        </p:nvSpPr>
        <p:spPr bwMode="auto">
          <a:xfrm>
            <a:off x="9960964" y="2713564"/>
            <a:ext cx="38722" cy="41220"/>
          </a:xfrm>
          <a:custGeom>
            <a:avLst/>
            <a:gdLst>
              <a:gd name="T0" fmla="*/ 8 w 13"/>
              <a:gd name="T1" fmla="*/ 1 h 14"/>
              <a:gd name="T2" fmla="*/ 5 w 13"/>
              <a:gd name="T3" fmla="*/ 13 h 14"/>
              <a:gd name="T4" fmla="*/ 8 w 13"/>
              <a:gd name="T5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4">
                <a:moveTo>
                  <a:pt x="8" y="1"/>
                </a:moveTo>
                <a:cubicBezTo>
                  <a:pt x="2" y="0"/>
                  <a:pt x="0" y="11"/>
                  <a:pt x="5" y="13"/>
                </a:cubicBezTo>
                <a:cubicBezTo>
                  <a:pt x="11" y="14"/>
                  <a:pt x="13" y="2"/>
                  <a:pt x="8" y="1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5" name="Freeform 260">
            <a:extLst>
              <a:ext uri="{FF2B5EF4-FFF2-40B4-BE49-F238E27FC236}">
                <a16:creationId xmlns:a16="http://schemas.microsoft.com/office/drawing/2014/main" xmlns="" id="{5260DFB8-793A-4AF5-A496-DD2562A2F6A7}"/>
              </a:ext>
            </a:extLst>
          </p:cNvPr>
          <p:cNvSpPr>
            <a:spLocks/>
          </p:cNvSpPr>
          <p:nvPr/>
        </p:nvSpPr>
        <p:spPr bwMode="auto">
          <a:xfrm>
            <a:off x="10052149" y="2686084"/>
            <a:ext cx="38722" cy="29978"/>
          </a:xfrm>
          <a:custGeom>
            <a:avLst/>
            <a:gdLst>
              <a:gd name="T0" fmla="*/ 9 w 13"/>
              <a:gd name="T1" fmla="*/ 9 h 10"/>
              <a:gd name="T2" fmla="*/ 5 w 13"/>
              <a:gd name="T3" fmla="*/ 7 h 10"/>
              <a:gd name="T4" fmla="*/ 1 w 13"/>
              <a:gd name="T5" fmla="*/ 4 h 10"/>
              <a:gd name="T6" fmla="*/ 1 w 13"/>
              <a:gd name="T7" fmla="*/ 1 h 10"/>
              <a:gd name="T8" fmla="*/ 8 w 13"/>
              <a:gd name="T9" fmla="*/ 1 h 10"/>
              <a:gd name="T10" fmla="*/ 12 w 13"/>
              <a:gd name="T11" fmla="*/ 6 h 10"/>
              <a:gd name="T12" fmla="*/ 9 w 13"/>
              <a:gd name="T13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0">
                <a:moveTo>
                  <a:pt x="9" y="9"/>
                </a:moveTo>
                <a:cubicBezTo>
                  <a:pt x="7" y="9"/>
                  <a:pt x="6" y="8"/>
                  <a:pt x="5" y="7"/>
                </a:cubicBezTo>
                <a:cubicBezTo>
                  <a:pt x="3" y="6"/>
                  <a:pt x="2" y="6"/>
                  <a:pt x="1" y="4"/>
                </a:cubicBezTo>
                <a:cubicBezTo>
                  <a:pt x="0" y="3"/>
                  <a:pt x="1" y="2"/>
                  <a:pt x="1" y="1"/>
                </a:cubicBezTo>
                <a:cubicBezTo>
                  <a:pt x="3" y="0"/>
                  <a:pt x="6" y="1"/>
                  <a:pt x="8" y="1"/>
                </a:cubicBezTo>
                <a:cubicBezTo>
                  <a:pt x="10" y="3"/>
                  <a:pt x="11" y="4"/>
                  <a:pt x="12" y="6"/>
                </a:cubicBezTo>
                <a:cubicBezTo>
                  <a:pt x="13" y="8"/>
                  <a:pt x="11" y="10"/>
                  <a:pt x="9" y="9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6" name="Freeform 261">
            <a:extLst>
              <a:ext uri="{FF2B5EF4-FFF2-40B4-BE49-F238E27FC236}">
                <a16:creationId xmlns:a16="http://schemas.microsoft.com/office/drawing/2014/main" xmlns="" id="{032B29AC-3A4D-4396-8081-18DE39C5CC5E}"/>
              </a:ext>
            </a:extLst>
          </p:cNvPr>
          <p:cNvSpPr>
            <a:spLocks/>
          </p:cNvSpPr>
          <p:nvPr/>
        </p:nvSpPr>
        <p:spPr bwMode="auto">
          <a:xfrm>
            <a:off x="9960964" y="2674842"/>
            <a:ext cx="41220" cy="23733"/>
          </a:xfrm>
          <a:custGeom>
            <a:avLst/>
            <a:gdLst>
              <a:gd name="T0" fmla="*/ 4 w 14"/>
              <a:gd name="T1" fmla="*/ 8 h 8"/>
              <a:gd name="T2" fmla="*/ 9 w 14"/>
              <a:gd name="T3" fmla="*/ 7 h 8"/>
              <a:gd name="T4" fmla="*/ 13 w 14"/>
              <a:gd name="T5" fmla="*/ 5 h 8"/>
              <a:gd name="T6" fmla="*/ 14 w 14"/>
              <a:gd name="T7" fmla="*/ 2 h 8"/>
              <a:gd name="T8" fmla="*/ 8 w 14"/>
              <a:gd name="T9" fmla="*/ 1 h 8"/>
              <a:gd name="T10" fmla="*/ 2 w 14"/>
              <a:gd name="T11" fmla="*/ 3 h 8"/>
              <a:gd name="T12" fmla="*/ 4 w 14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8">
                <a:moveTo>
                  <a:pt x="4" y="8"/>
                </a:moveTo>
                <a:cubicBezTo>
                  <a:pt x="6" y="8"/>
                  <a:pt x="7" y="7"/>
                  <a:pt x="9" y="7"/>
                </a:cubicBezTo>
                <a:cubicBezTo>
                  <a:pt x="11" y="7"/>
                  <a:pt x="12" y="7"/>
                  <a:pt x="13" y="5"/>
                </a:cubicBezTo>
                <a:cubicBezTo>
                  <a:pt x="14" y="5"/>
                  <a:pt x="14" y="3"/>
                  <a:pt x="14" y="2"/>
                </a:cubicBezTo>
                <a:cubicBezTo>
                  <a:pt x="12" y="1"/>
                  <a:pt x="10" y="0"/>
                  <a:pt x="8" y="1"/>
                </a:cubicBezTo>
                <a:cubicBezTo>
                  <a:pt x="5" y="1"/>
                  <a:pt x="4" y="2"/>
                  <a:pt x="2" y="3"/>
                </a:cubicBezTo>
                <a:cubicBezTo>
                  <a:pt x="0" y="5"/>
                  <a:pt x="2" y="8"/>
                  <a:pt x="4" y="8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7" name="Freeform 262">
            <a:extLst>
              <a:ext uri="{FF2B5EF4-FFF2-40B4-BE49-F238E27FC236}">
                <a16:creationId xmlns:a16="http://schemas.microsoft.com/office/drawing/2014/main" xmlns="" id="{9120FD93-90AB-4E9C-ADC0-424C3C01269F}"/>
              </a:ext>
            </a:extLst>
          </p:cNvPr>
          <p:cNvSpPr>
            <a:spLocks/>
          </p:cNvSpPr>
          <p:nvPr/>
        </p:nvSpPr>
        <p:spPr bwMode="auto">
          <a:xfrm>
            <a:off x="10032163" y="2834727"/>
            <a:ext cx="23733" cy="8744"/>
          </a:xfrm>
          <a:custGeom>
            <a:avLst/>
            <a:gdLst>
              <a:gd name="T0" fmla="*/ 8 w 8"/>
              <a:gd name="T1" fmla="*/ 0 h 3"/>
              <a:gd name="T2" fmla="*/ 4 w 8"/>
              <a:gd name="T3" fmla="*/ 2 h 3"/>
              <a:gd name="T4" fmla="*/ 0 w 8"/>
              <a:gd name="T5" fmla="*/ 0 h 3"/>
              <a:gd name="T6" fmla="*/ 0 w 8"/>
              <a:gd name="T7" fmla="*/ 1 h 3"/>
              <a:gd name="T8" fmla="*/ 5 w 8"/>
              <a:gd name="T9" fmla="*/ 3 h 3"/>
              <a:gd name="T10" fmla="*/ 8 w 8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3">
                <a:moveTo>
                  <a:pt x="8" y="0"/>
                </a:moveTo>
                <a:cubicBezTo>
                  <a:pt x="7" y="1"/>
                  <a:pt x="6" y="2"/>
                  <a:pt x="4" y="2"/>
                </a:cubicBezTo>
                <a:cubicBezTo>
                  <a:pt x="3" y="2"/>
                  <a:pt x="2" y="1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1" y="2"/>
                  <a:pt x="3" y="3"/>
                  <a:pt x="5" y="3"/>
                </a:cubicBezTo>
                <a:cubicBezTo>
                  <a:pt x="6" y="3"/>
                  <a:pt x="7" y="2"/>
                  <a:pt x="8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8" name="Freeform 263">
            <a:extLst>
              <a:ext uri="{FF2B5EF4-FFF2-40B4-BE49-F238E27FC236}">
                <a16:creationId xmlns:a16="http://schemas.microsoft.com/office/drawing/2014/main" xmlns="" id="{6DB0B8BC-430B-49BA-B659-D02038A4E01D}"/>
              </a:ext>
            </a:extLst>
          </p:cNvPr>
          <p:cNvSpPr>
            <a:spLocks/>
          </p:cNvSpPr>
          <p:nvPr/>
        </p:nvSpPr>
        <p:spPr bwMode="auto">
          <a:xfrm>
            <a:off x="9984697" y="2679839"/>
            <a:ext cx="62455" cy="133654"/>
          </a:xfrm>
          <a:custGeom>
            <a:avLst/>
            <a:gdLst>
              <a:gd name="T0" fmla="*/ 21 w 21"/>
              <a:gd name="T1" fmla="*/ 41 h 45"/>
              <a:gd name="T2" fmla="*/ 12 w 21"/>
              <a:gd name="T3" fmla="*/ 45 h 45"/>
              <a:gd name="T4" fmla="*/ 8 w 21"/>
              <a:gd name="T5" fmla="*/ 45 h 45"/>
              <a:gd name="T6" fmla="*/ 7 w 21"/>
              <a:gd name="T7" fmla="*/ 45 h 45"/>
              <a:gd name="T8" fmla="*/ 6 w 21"/>
              <a:gd name="T9" fmla="*/ 44 h 45"/>
              <a:gd name="T10" fmla="*/ 6 w 21"/>
              <a:gd name="T11" fmla="*/ 44 h 45"/>
              <a:gd name="T12" fmla="*/ 6 w 21"/>
              <a:gd name="T13" fmla="*/ 44 h 45"/>
              <a:gd name="T14" fmla="*/ 6 w 21"/>
              <a:gd name="T15" fmla="*/ 43 h 45"/>
              <a:gd name="T16" fmla="*/ 6 w 21"/>
              <a:gd name="T17" fmla="*/ 43 h 45"/>
              <a:gd name="T18" fmla="*/ 6 w 21"/>
              <a:gd name="T19" fmla="*/ 43 h 45"/>
              <a:gd name="T20" fmla="*/ 7 w 21"/>
              <a:gd name="T21" fmla="*/ 36 h 45"/>
              <a:gd name="T22" fmla="*/ 0 w 21"/>
              <a:gd name="T23" fmla="*/ 37 h 45"/>
              <a:gd name="T24" fmla="*/ 10 w 21"/>
              <a:gd name="T25" fmla="*/ 0 h 45"/>
              <a:gd name="T26" fmla="*/ 11 w 21"/>
              <a:gd name="T27" fmla="*/ 0 h 45"/>
              <a:gd name="T28" fmla="*/ 3 w 21"/>
              <a:gd name="T29" fmla="*/ 34 h 45"/>
              <a:gd name="T30" fmla="*/ 9 w 21"/>
              <a:gd name="T31" fmla="*/ 33 h 45"/>
              <a:gd name="T32" fmla="*/ 8 w 21"/>
              <a:gd name="T33" fmla="*/ 43 h 45"/>
              <a:gd name="T34" fmla="*/ 8 w 21"/>
              <a:gd name="T35" fmla="*/ 43 h 45"/>
              <a:gd name="T36" fmla="*/ 21 w 21"/>
              <a:gd name="T37" fmla="*/ 40 h 45"/>
              <a:gd name="T38" fmla="*/ 21 w 21"/>
              <a:gd name="T3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" h="45">
                <a:moveTo>
                  <a:pt x="21" y="41"/>
                </a:moveTo>
                <a:cubicBezTo>
                  <a:pt x="19" y="44"/>
                  <a:pt x="16" y="45"/>
                  <a:pt x="12" y="45"/>
                </a:cubicBezTo>
                <a:cubicBezTo>
                  <a:pt x="11" y="45"/>
                  <a:pt x="9" y="45"/>
                  <a:pt x="8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0"/>
                  <a:pt x="7" y="36"/>
                  <a:pt x="7" y="36"/>
                </a:cubicBezTo>
                <a:cubicBezTo>
                  <a:pt x="6" y="36"/>
                  <a:pt x="0" y="38"/>
                  <a:pt x="0" y="37"/>
                </a:cubicBezTo>
                <a:cubicBezTo>
                  <a:pt x="3" y="25"/>
                  <a:pt x="5" y="11"/>
                  <a:pt x="10" y="0"/>
                </a:cubicBezTo>
                <a:cubicBezTo>
                  <a:pt x="10" y="0"/>
                  <a:pt x="11" y="0"/>
                  <a:pt x="11" y="0"/>
                </a:cubicBezTo>
                <a:cubicBezTo>
                  <a:pt x="9" y="12"/>
                  <a:pt x="5" y="23"/>
                  <a:pt x="3" y="34"/>
                </a:cubicBezTo>
                <a:cubicBezTo>
                  <a:pt x="5" y="34"/>
                  <a:pt x="8" y="33"/>
                  <a:pt x="9" y="33"/>
                </a:cubicBezTo>
                <a:cubicBezTo>
                  <a:pt x="10" y="34"/>
                  <a:pt x="8" y="41"/>
                  <a:pt x="8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12" y="44"/>
                  <a:pt x="16" y="43"/>
                  <a:pt x="21" y="40"/>
                </a:cubicBezTo>
                <a:lnTo>
                  <a:pt x="21" y="41"/>
                </a:ln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99" name="Freeform 264">
            <a:extLst>
              <a:ext uri="{FF2B5EF4-FFF2-40B4-BE49-F238E27FC236}">
                <a16:creationId xmlns:a16="http://schemas.microsoft.com/office/drawing/2014/main" xmlns="" id="{76913DE0-3020-400D-A226-5EADB38CA092}"/>
              </a:ext>
            </a:extLst>
          </p:cNvPr>
          <p:cNvSpPr>
            <a:spLocks/>
          </p:cNvSpPr>
          <p:nvPr/>
        </p:nvSpPr>
        <p:spPr bwMode="auto">
          <a:xfrm>
            <a:off x="10013427" y="2802251"/>
            <a:ext cx="36224" cy="26231"/>
          </a:xfrm>
          <a:custGeom>
            <a:avLst/>
            <a:gdLst>
              <a:gd name="T0" fmla="*/ 0 w 12"/>
              <a:gd name="T1" fmla="*/ 3 h 9"/>
              <a:gd name="T2" fmla="*/ 5 w 12"/>
              <a:gd name="T3" fmla="*/ 8 h 9"/>
              <a:gd name="T4" fmla="*/ 9 w 12"/>
              <a:gd name="T5" fmla="*/ 9 h 9"/>
              <a:gd name="T6" fmla="*/ 12 w 12"/>
              <a:gd name="T7" fmla="*/ 3 h 9"/>
              <a:gd name="T8" fmla="*/ 11 w 12"/>
              <a:gd name="T9" fmla="*/ 0 h 9"/>
              <a:gd name="T10" fmla="*/ 0 w 12"/>
              <a:gd name="T11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9">
                <a:moveTo>
                  <a:pt x="0" y="3"/>
                </a:moveTo>
                <a:cubicBezTo>
                  <a:pt x="0" y="3"/>
                  <a:pt x="2" y="6"/>
                  <a:pt x="5" y="8"/>
                </a:cubicBezTo>
                <a:cubicBezTo>
                  <a:pt x="6" y="9"/>
                  <a:pt x="7" y="9"/>
                  <a:pt x="9" y="9"/>
                </a:cubicBezTo>
                <a:cubicBezTo>
                  <a:pt x="12" y="8"/>
                  <a:pt x="12" y="6"/>
                  <a:pt x="12" y="3"/>
                </a:cubicBezTo>
                <a:cubicBezTo>
                  <a:pt x="12" y="1"/>
                  <a:pt x="11" y="0"/>
                  <a:pt x="11" y="0"/>
                </a:cubicBezTo>
                <a:cubicBezTo>
                  <a:pt x="11" y="0"/>
                  <a:pt x="6" y="3"/>
                  <a:pt x="0" y="3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0" name="Freeform 265">
            <a:extLst>
              <a:ext uri="{FF2B5EF4-FFF2-40B4-BE49-F238E27FC236}">
                <a16:creationId xmlns:a16="http://schemas.microsoft.com/office/drawing/2014/main" xmlns="" id="{5E25DE91-C7D8-4143-9206-47C6DDC1FEEA}"/>
              </a:ext>
            </a:extLst>
          </p:cNvPr>
          <p:cNvSpPr>
            <a:spLocks/>
          </p:cNvSpPr>
          <p:nvPr/>
        </p:nvSpPr>
        <p:spPr bwMode="auto">
          <a:xfrm>
            <a:off x="10028416" y="2810994"/>
            <a:ext cx="21235" cy="17487"/>
          </a:xfrm>
          <a:custGeom>
            <a:avLst/>
            <a:gdLst>
              <a:gd name="T0" fmla="*/ 0 w 7"/>
              <a:gd name="T1" fmla="*/ 5 h 6"/>
              <a:gd name="T2" fmla="*/ 4 w 7"/>
              <a:gd name="T3" fmla="*/ 6 h 6"/>
              <a:gd name="T4" fmla="*/ 7 w 7"/>
              <a:gd name="T5" fmla="*/ 0 h 6"/>
              <a:gd name="T6" fmla="*/ 0 w 7"/>
              <a:gd name="T7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">
                <a:moveTo>
                  <a:pt x="0" y="5"/>
                </a:moveTo>
                <a:cubicBezTo>
                  <a:pt x="1" y="6"/>
                  <a:pt x="2" y="6"/>
                  <a:pt x="4" y="6"/>
                </a:cubicBezTo>
                <a:cubicBezTo>
                  <a:pt x="7" y="5"/>
                  <a:pt x="7" y="3"/>
                  <a:pt x="7" y="0"/>
                </a:cubicBezTo>
                <a:cubicBezTo>
                  <a:pt x="4" y="0"/>
                  <a:pt x="1" y="2"/>
                  <a:pt x="0" y="5"/>
                </a:cubicBezTo>
                <a:close/>
              </a:path>
            </a:pathLst>
          </a:custGeom>
          <a:solidFill>
            <a:srgbClr val="FF9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1" name="Freeform 266">
            <a:extLst>
              <a:ext uri="{FF2B5EF4-FFF2-40B4-BE49-F238E27FC236}">
                <a16:creationId xmlns:a16="http://schemas.microsoft.com/office/drawing/2014/main" xmlns="" id="{B9FD897E-D85B-4361-B0A5-26C9C6E27F75}"/>
              </a:ext>
            </a:extLst>
          </p:cNvPr>
          <p:cNvSpPr>
            <a:spLocks/>
          </p:cNvSpPr>
          <p:nvPr/>
        </p:nvSpPr>
        <p:spPr bwMode="auto">
          <a:xfrm>
            <a:off x="9930986" y="2496220"/>
            <a:ext cx="302283" cy="261062"/>
          </a:xfrm>
          <a:custGeom>
            <a:avLst/>
            <a:gdLst>
              <a:gd name="T0" fmla="*/ 14 w 102"/>
              <a:gd name="T1" fmla="*/ 48 h 88"/>
              <a:gd name="T2" fmla="*/ 56 w 102"/>
              <a:gd name="T3" fmla="*/ 44 h 88"/>
              <a:gd name="T4" fmla="*/ 75 w 102"/>
              <a:gd name="T5" fmla="*/ 57 h 88"/>
              <a:gd name="T6" fmla="*/ 85 w 102"/>
              <a:gd name="T7" fmla="*/ 87 h 88"/>
              <a:gd name="T8" fmla="*/ 99 w 102"/>
              <a:gd name="T9" fmla="*/ 39 h 88"/>
              <a:gd name="T10" fmla="*/ 86 w 102"/>
              <a:gd name="T11" fmla="*/ 29 h 88"/>
              <a:gd name="T12" fmla="*/ 78 w 102"/>
              <a:gd name="T13" fmla="*/ 16 h 88"/>
              <a:gd name="T14" fmla="*/ 42 w 102"/>
              <a:gd name="T15" fmla="*/ 17 h 88"/>
              <a:gd name="T16" fmla="*/ 35 w 102"/>
              <a:gd name="T17" fmla="*/ 7 h 88"/>
              <a:gd name="T18" fmla="*/ 24 w 102"/>
              <a:gd name="T19" fmla="*/ 7 h 88"/>
              <a:gd name="T20" fmla="*/ 27 w 102"/>
              <a:gd name="T21" fmla="*/ 15 h 88"/>
              <a:gd name="T22" fmla="*/ 21 w 102"/>
              <a:gd name="T23" fmla="*/ 15 h 88"/>
              <a:gd name="T24" fmla="*/ 24 w 102"/>
              <a:gd name="T25" fmla="*/ 7 h 88"/>
              <a:gd name="T26" fmla="*/ 12 w 102"/>
              <a:gd name="T27" fmla="*/ 2 h 88"/>
              <a:gd name="T28" fmla="*/ 14 w 102"/>
              <a:gd name="T29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2" h="88">
                <a:moveTo>
                  <a:pt x="14" y="48"/>
                </a:moveTo>
                <a:cubicBezTo>
                  <a:pt x="31" y="61"/>
                  <a:pt x="56" y="44"/>
                  <a:pt x="56" y="44"/>
                </a:cubicBezTo>
                <a:cubicBezTo>
                  <a:pt x="61" y="58"/>
                  <a:pt x="75" y="57"/>
                  <a:pt x="75" y="57"/>
                </a:cubicBezTo>
                <a:cubicBezTo>
                  <a:pt x="75" y="57"/>
                  <a:pt x="77" y="87"/>
                  <a:pt x="85" y="87"/>
                </a:cubicBezTo>
                <a:cubicBezTo>
                  <a:pt x="97" y="88"/>
                  <a:pt x="102" y="48"/>
                  <a:pt x="99" y="39"/>
                </a:cubicBezTo>
                <a:cubicBezTo>
                  <a:pt x="96" y="31"/>
                  <a:pt x="86" y="29"/>
                  <a:pt x="86" y="29"/>
                </a:cubicBezTo>
                <a:cubicBezTo>
                  <a:pt x="86" y="29"/>
                  <a:pt x="85" y="22"/>
                  <a:pt x="78" y="16"/>
                </a:cubicBezTo>
                <a:cubicBezTo>
                  <a:pt x="70" y="10"/>
                  <a:pt x="42" y="17"/>
                  <a:pt x="42" y="17"/>
                </a:cubicBezTo>
                <a:cubicBezTo>
                  <a:pt x="42" y="17"/>
                  <a:pt x="40" y="11"/>
                  <a:pt x="35" y="7"/>
                </a:cubicBezTo>
                <a:cubicBezTo>
                  <a:pt x="32" y="4"/>
                  <a:pt x="27" y="4"/>
                  <a:pt x="24" y="7"/>
                </a:cubicBezTo>
                <a:cubicBezTo>
                  <a:pt x="26" y="9"/>
                  <a:pt x="27" y="12"/>
                  <a:pt x="27" y="15"/>
                </a:cubicBezTo>
                <a:cubicBezTo>
                  <a:pt x="28" y="23"/>
                  <a:pt x="21" y="23"/>
                  <a:pt x="21" y="15"/>
                </a:cubicBezTo>
                <a:cubicBezTo>
                  <a:pt x="21" y="12"/>
                  <a:pt x="23" y="9"/>
                  <a:pt x="24" y="7"/>
                </a:cubicBezTo>
                <a:cubicBezTo>
                  <a:pt x="21" y="2"/>
                  <a:pt x="16" y="0"/>
                  <a:pt x="12" y="2"/>
                </a:cubicBezTo>
                <a:cubicBezTo>
                  <a:pt x="5" y="7"/>
                  <a:pt x="0" y="37"/>
                  <a:pt x="14" y="48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2" name="Freeform 267">
            <a:extLst>
              <a:ext uri="{FF2B5EF4-FFF2-40B4-BE49-F238E27FC236}">
                <a16:creationId xmlns:a16="http://schemas.microsoft.com/office/drawing/2014/main" xmlns="" id="{322105CE-D00F-49B8-8537-2513A0FA3D96}"/>
              </a:ext>
            </a:extLst>
          </p:cNvPr>
          <p:cNvSpPr>
            <a:spLocks/>
          </p:cNvSpPr>
          <p:nvPr/>
        </p:nvSpPr>
        <p:spPr bwMode="auto">
          <a:xfrm>
            <a:off x="10165817" y="2713564"/>
            <a:ext cx="88686" cy="117416"/>
          </a:xfrm>
          <a:custGeom>
            <a:avLst/>
            <a:gdLst>
              <a:gd name="T0" fmla="*/ 3 w 30"/>
              <a:gd name="T1" fmla="*/ 17 h 40"/>
              <a:gd name="T2" fmla="*/ 23 w 30"/>
              <a:gd name="T3" fmla="*/ 4 h 40"/>
              <a:gd name="T4" fmla="*/ 12 w 30"/>
              <a:gd name="T5" fmla="*/ 36 h 40"/>
              <a:gd name="T6" fmla="*/ 0 w 30"/>
              <a:gd name="T7" fmla="*/ 31 h 40"/>
              <a:gd name="T8" fmla="*/ 3 w 30"/>
              <a:gd name="T9" fmla="*/ 17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40">
                <a:moveTo>
                  <a:pt x="3" y="17"/>
                </a:moveTo>
                <a:cubicBezTo>
                  <a:pt x="3" y="17"/>
                  <a:pt x="15" y="0"/>
                  <a:pt x="23" y="4"/>
                </a:cubicBezTo>
                <a:cubicBezTo>
                  <a:pt x="30" y="8"/>
                  <a:pt x="21" y="33"/>
                  <a:pt x="12" y="36"/>
                </a:cubicBezTo>
                <a:cubicBezTo>
                  <a:pt x="3" y="40"/>
                  <a:pt x="0" y="31"/>
                  <a:pt x="0" y="31"/>
                </a:cubicBezTo>
                <a:lnTo>
                  <a:pt x="3" y="17"/>
                </a:ln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3" name="Freeform 268">
            <a:extLst>
              <a:ext uri="{FF2B5EF4-FFF2-40B4-BE49-F238E27FC236}">
                <a16:creationId xmlns:a16="http://schemas.microsoft.com/office/drawing/2014/main" xmlns="" id="{A7B56A00-A90D-49D1-AB41-A49EEED3CE7A}"/>
              </a:ext>
            </a:extLst>
          </p:cNvPr>
          <p:cNvSpPr>
            <a:spLocks/>
          </p:cNvSpPr>
          <p:nvPr/>
        </p:nvSpPr>
        <p:spPr bwMode="auto">
          <a:xfrm>
            <a:off x="10177059" y="2746041"/>
            <a:ext cx="47466" cy="61206"/>
          </a:xfrm>
          <a:custGeom>
            <a:avLst/>
            <a:gdLst>
              <a:gd name="T0" fmla="*/ 16 w 16"/>
              <a:gd name="T1" fmla="*/ 0 h 21"/>
              <a:gd name="T2" fmla="*/ 16 w 16"/>
              <a:gd name="T3" fmla="*/ 0 h 21"/>
              <a:gd name="T4" fmla="*/ 4 w 16"/>
              <a:gd name="T5" fmla="*/ 15 h 21"/>
              <a:gd name="T6" fmla="*/ 11 w 16"/>
              <a:gd name="T7" fmla="*/ 13 h 21"/>
              <a:gd name="T8" fmla="*/ 11 w 16"/>
              <a:gd name="T9" fmla="*/ 14 h 21"/>
              <a:gd name="T10" fmla="*/ 5 w 16"/>
              <a:gd name="T11" fmla="*/ 16 h 21"/>
              <a:gd name="T12" fmla="*/ 2 w 16"/>
              <a:gd name="T13" fmla="*/ 21 h 21"/>
              <a:gd name="T14" fmla="*/ 1 w 16"/>
              <a:gd name="T15" fmla="*/ 20 h 21"/>
              <a:gd name="T16" fmla="*/ 1 w 16"/>
              <a:gd name="T17" fmla="*/ 20 h 21"/>
              <a:gd name="T18" fmla="*/ 16 w 16"/>
              <a:gd name="T1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21">
                <a:moveTo>
                  <a:pt x="16" y="0"/>
                </a:moveTo>
                <a:cubicBezTo>
                  <a:pt x="16" y="0"/>
                  <a:pt x="16" y="0"/>
                  <a:pt x="16" y="0"/>
                </a:cubicBezTo>
                <a:cubicBezTo>
                  <a:pt x="9" y="3"/>
                  <a:pt x="6" y="9"/>
                  <a:pt x="4" y="15"/>
                </a:cubicBezTo>
                <a:cubicBezTo>
                  <a:pt x="6" y="12"/>
                  <a:pt x="8" y="11"/>
                  <a:pt x="11" y="13"/>
                </a:cubicBezTo>
                <a:cubicBezTo>
                  <a:pt x="11" y="14"/>
                  <a:pt x="11" y="14"/>
                  <a:pt x="11" y="14"/>
                </a:cubicBezTo>
                <a:cubicBezTo>
                  <a:pt x="9" y="13"/>
                  <a:pt x="7" y="14"/>
                  <a:pt x="5" y="16"/>
                </a:cubicBezTo>
                <a:cubicBezTo>
                  <a:pt x="4" y="17"/>
                  <a:pt x="3" y="19"/>
                  <a:pt x="2" y="21"/>
                </a:cubicBezTo>
                <a:cubicBezTo>
                  <a:pt x="1" y="21"/>
                  <a:pt x="0" y="21"/>
                  <a:pt x="1" y="20"/>
                </a:cubicBezTo>
                <a:cubicBezTo>
                  <a:pt x="1" y="20"/>
                  <a:pt x="1" y="20"/>
                  <a:pt x="1" y="20"/>
                </a:cubicBezTo>
                <a:cubicBezTo>
                  <a:pt x="1" y="12"/>
                  <a:pt x="7" y="1"/>
                  <a:pt x="16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4" name="Freeform 269">
            <a:extLst>
              <a:ext uri="{FF2B5EF4-FFF2-40B4-BE49-F238E27FC236}">
                <a16:creationId xmlns:a16="http://schemas.microsoft.com/office/drawing/2014/main" xmlns="" id="{7DFFDFA6-9EE6-44A6-B7FB-2AA0B0754FF2}"/>
              </a:ext>
            </a:extLst>
          </p:cNvPr>
          <p:cNvSpPr>
            <a:spLocks/>
          </p:cNvSpPr>
          <p:nvPr/>
        </p:nvSpPr>
        <p:spPr bwMode="auto">
          <a:xfrm>
            <a:off x="10040907" y="2920915"/>
            <a:ext cx="198607" cy="218593"/>
          </a:xfrm>
          <a:custGeom>
            <a:avLst/>
            <a:gdLst>
              <a:gd name="T0" fmla="*/ 6 w 67"/>
              <a:gd name="T1" fmla="*/ 9 h 74"/>
              <a:gd name="T2" fmla="*/ 19 w 67"/>
              <a:gd name="T3" fmla="*/ 39 h 74"/>
              <a:gd name="T4" fmla="*/ 56 w 67"/>
              <a:gd name="T5" fmla="*/ 0 h 74"/>
              <a:gd name="T6" fmla="*/ 67 w 67"/>
              <a:gd name="T7" fmla="*/ 13 h 74"/>
              <a:gd name="T8" fmla="*/ 31 w 67"/>
              <a:gd name="T9" fmla="*/ 72 h 74"/>
              <a:gd name="T10" fmla="*/ 18 w 67"/>
              <a:gd name="T11" fmla="*/ 45 h 74"/>
              <a:gd name="T12" fmla="*/ 0 w 67"/>
              <a:gd name="T13" fmla="*/ 64 h 74"/>
              <a:gd name="T14" fmla="*/ 1 w 67"/>
              <a:gd name="T15" fmla="*/ 18 h 74"/>
              <a:gd name="T16" fmla="*/ 6 w 67"/>
              <a:gd name="T17" fmla="*/ 9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" h="74">
                <a:moveTo>
                  <a:pt x="6" y="9"/>
                </a:moveTo>
                <a:cubicBezTo>
                  <a:pt x="19" y="39"/>
                  <a:pt x="19" y="39"/>
                  <a:pt x="19" y="39"/>
                </a:cubicBezTo>
                <a:cubicBezTo>
                  <a:pt x="56" y="0"/>
                  <a:pt x="56" y="0"/>
                  <a:pt x="56" y="0"/>
                </a:cubicBezTo>
                <a:cubicBezTo>
                  <a:pt x="67" y="13"/>
                  <a:pt x="67" y="13"/>
                  <a:pt x="67" y="13"/>
                </a:cubicBezTo>
                <a:cubicBezTo>
                  <a:pt x="67" y="13"/>
                  <a:pt x="31" y="74"/>
                  <a:pt x="31" y="72"/>
                </a:cubicBezTo>
                <a:cubicBezTo>
                  <a:pt x="18" y="45"/>
                  <a:pt x="18" y="45"/>
                  <a:pt x="18" y="45"/>
                </a:cubicBezTo>
                <a:cubicBezTo>
                  <a:pt x="0" y="64"/>
                  <a:pt x="0" y="64"/>
                  <a:pt x="0" y="64"/>
                </a:cubicBezTo>
                <a:cubicBezTo>
                  <a:pt x="1" y="18"/>
                  <a:pt x="1" y="18"/>
                  <a:pt x="1" y="18"/>
                </a:cubicBezTo>
                <a:lnTo>
                  <a:pt x="6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5" name="Freeform 270">
            <a:extLst>
              <a:ext uri="{FF2B5EF4-FFF2-40B4-BE49-F238E27FC236}">
                <a16:creationId xmlns:a16="http://schemas.microsoft.com/office/drawing/2014/main" xmlns="" id="{1E5E5096-07DE-4F5C-84EA-7691D4DFEAEE}"/>
              </a:ext>
            </a:extLst>
          </p:cNvPr>
          <p:cNvSpPr>
            <a:spLocks/>
          </p:cNvSpPr>
          <p:nvPr/>
        </p:nvSpPr>
        <p:spPr bwMode="auto">
          <a:xfrm>
            <a:off x="10034661" y="2968381"/>
            <a:ext cx="201106" cy="171127"/>
          </a:xfrm>
          <a:custGeom>
            <a:avLst/>
            <a:gdLst>
              <a:gd name="T0" fmla="*/ 1 w 68"/>
              <a:gd name="T1" fmla="*/ 25 h 58"/>
              <a:gd name="T2" fmla="*/ 2 w 68"/>
              <a:gd name="T3" fmla="*/ 2 h 58"/>
              <a:gd name="T4" fmla="*/ 3 w 68"/>
              <a:gd name="T5" fmla="*/ 2 h 58"/>
              <a:gd name="T6" fmla="*/ 3 w 68"/>
              <a:gd name="T7" fmla="*/ 46 h 58"/>
              <a:gd name="T8" fmla="*/ 3 w 68"/>
              <a:gd name="T9" fmla="*/ 45 h 58"/>
              <a:gd name="T10" fmla="*/ 20 w 68"/>
              <a:gd name="T11" fmla="*/ 29 h 58"/>
              <a:gd name="T12" fmla="*/ 33 w 68"/>
              <a:gd name="T13" fmla="*/ 54 h 58"/>
              <a:gd name="T14" fmla="*/ 67 w 68"/>
              <a:gd name="T15" fmla="*/ 0 h 58"/>
              <a:gd name="T16" fmla="*/ 68 w 68"/>
              <a:gd name="T17" fmla="*/ 0 h 58"/>
              <a:gd name="T18" fmla="*/ 33 w 68"/>
              <a:gd name="T19" fmla="*/ 58 h 58"/>
              <a:gd name="T20" fmla="*/ 20 w 68"/>
              <a:gd name="T21" fmla="*/ 30 h 58"/>
              <a:gd name="T22" fmla="*/ 1 w 68"/>
              <a:gd name="T23" fmla="*/ 50 h 58"/>
              <a:gd name="T24" fmla="*/ 1 w 68"/>
              <a:gd name="T25" fmla="*/ 25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8" h="58">
                <a:moveTo>
                  <a:pt x="1" y="25"/>
                </a:moveTo>
                <a:cubicBezTo>
                  <a:pt x="1" y="18"/>
                  <a:pt x="2" y="10"/>
                  <a:pt x="2" y="2"/>
                </a:cubicBezTo>
                <a:cubicBezTo>
                  <a:pt x="3" y="2"/>
                  <a:pt x="3" y="2"/>
                  <a:pt x="3" y="2"/>
                </a:cubicBezTo>
                <a:cubicBezTo>
                  <a:pt x="5" y="10"/>
                  <a:pt x="3" y="39"/>
                  <a:pt x="3" y="46"/>
                </a:cubicBezTo>
                <a:cubicBezTo>
                  <a:pt x="3" y="45"/>
                  <a:pt x="3" y="45"/>
                  <a:pt x="3" y="45"/>
                </a:cubicBezTo>
                <a:cubicBezTo>
                  <a:pt x="4" y="45"/>
                  <a:pt x="20" y="29"/>
                  <a:pt x="20" y="29"/>
                </a:cubicBezTo>
                <a:cubicBezTo>
                  <a:pt x="23" y="34"/>
                  <a:pt x="32" y="53"/>
                  <a:pt x="33" y="54"/>
                </a:cubicBezTo>
                <a:cubicBezTo>
                  <a:pt x="38" y="45"/>
                  <a:pt x="61" y="9"/>
                  <a:pt x="67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3" y="10"/>
                  <a:pt x="34" y="58"/>
                  <a:pt x="33" y="58"/>
                </a:cubicBezTo>
                <a:cubicBezTo>
                  <a:pt x="33" y="58"/>
                  <a:pt x="21" y="35"/>
                  <a:pt x="20" y="30"/>
                </a:cubicBezTo>
                <a:cubicBezTo>
                  <a:pt x="17" y="34"/>
                  <a:pt x="1" y="51"/>
                  <a:pt x="1" y="50"/>
                </a:cubicBezTo>
                <a:cubicBezTo>
                  <a:pt x="0" y="43"/>
                  <a:pt x="1" y="33"/>
                  <a:pt x="1" y="25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xmlns="" id="{A52F1A8E-D096-422E-A017-2F4E0AFDFAFE}"/>
              </a:ext>
            </a:extLst>
          </p:cNvPr>
          <p:cNvCxnSpPr>
            <a:cxnSpLocks/>
          </p:cNvCxnSpPr>
          <p:nvPr/>
        </p:nvCxnSpPr>
        <p:spPr>
          <a:xfrm>
            <a:off x="1128576" y="5922662"/>
            <a:ext cx="5087092" cy="0"/>
          </a:xfrm>
          <a:prstGeom prst="line">
            <a:avLst/>
          </a:prstGeom>
          <a:ln>
            <a:solidFill>
              <a:srgbClr val="605E87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xmlns="" id="{9FA35ED9-DD80-45F9-B298-99E6589FD097}"/>
              </a:ext>
            </a:extLst>
          </p:cNvPr>
          <p:cNvCxnSpPr>
            <a:cxnSpLocks/>
          </p:cNvCxnSpPr>
          <p:nvPr/>
        </p:nvCxnSpPr>
        <p:spPr>
          <a:xfrm>
            <a:off x="6673932" y="5832975"/>
            <a:ext cx="5087092" cy="0"/>
          </a:xfrm>
          <a:prstGeom prst="line">
            <a:avLst/>
          </a:prstGeom>
          <a:ln>
            <a:solidFill>
              <a:srgbClr val="44436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183231" y="5973722"/>
            <a:ext cx="4420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 err="1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이은지</a:t>
            </a:r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, 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김유리</a:t>
            </a:r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, 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김다빈</a:t>
            </a:r>
            <a:endParaRPr lang="en-US" altLang="ko-KR" sz="2400" b="1" dirty="0">
              <a:latin typeface="08서울남산체 B" panose="02020603020101020101" pitchFamily="18" charset="-127"/>
              <a:ea typeface="08서울남산체 B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83231" y="5416553"/>
            <a:ext cx="25434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The Outliers</a:t>
            </a:r>
            <a:endParaRPr lang="ko-KR" altLang="en-US" sz="2800" b="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3448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B4EA07FC-CED0-4AF3-A319-75B9D85BEA54}"/>
              </a:ext>
            </a:extLst>
          </p:cNvPr>
          <p:cNvSpPr/>
          <p:nvPr/>
        </p:nvSpPr>
        <p:spPr>
          <a:xfrm>
            <a:off x="3634038" y="696327"/>
            <a:ext cx="4917600" cy="126959"/>
          </a:xfrm>
          <a:prstGeom prst="rect">
            <a:avLst/>
          </a:prstGeom>
          <a:solidFill>
            <a:srgbClr val="92D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" name="Snip Single Corner Rectangle 1">
            <a:extLst>
              <a:ext uri="{FF2B5EF4-FFF2-40B4-BE49-F238E27FC236}">
                <a16:creationId xmlns:a16="http://schemas.microsoft.com/office/drawing/2014/main" xmlns="" id="{81137DEF-22DF-4E4F-94D8-F6E61DC597D4}"/>
              </a:ext>
            </a:extLst>
          </p:cNvPr>
          <p:cNvSpPr/>
          <p:nvPr/>
        </p:nvSpPr>
        <p:spPr>
          <a:xfrm>
            <a:off x="943582" y="1648614"/>
            <a:ext cx="4752000" cy="2160000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635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6" name="Snip Single Corner Rectangle 2">
            <a:extLst>
              <a:ext uri="{FF2B5EF4-FFF2-40B4-BE49-F238E27FC236}">
                <a16:creationId xmlns:a16="http://schemas.microsoft.com/office/drawing/2014/main" xmlns="" id="{6E1E9BF7-603F-4889-85C9-C9DE8BA3A5B2}"/>
              </a:ext>
            </a:extLst>
          </p:cNvPr>
          <p:cNvSpPr/>
          <p:nvPr/>
        </p:nvSpPr>
        <p:spPr>
          <a:xfrm flipH="1">
            <a:off x="6471942" y="1616471"/>
            <a:ext cx="4752000" cy="2160000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635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Snip Single Corner Rectangle 3">
            <a:extLst>
              <a:ext uri="{FF2B5EF4-FFF2-40B4-BE49-F238E27FC236}">
                <a16:creationId xmlns:a16="http://schemas.microsoft.com/office/drawing/2014/main" xmlns="" id="{07C06604-9826-43DA-BDAB-3C6D1D9A4F66}"/>
              </a:ext>
            </a:extLst>
          </p:cNvPr>
          <p:cNvSpPr/>
          <p:nvPr/>
        </p:nvSpPr>
        <p:spPr>
          <a:xfrm flipV="1">
            <a:off x="943582" y="4045879"/>
            <a:ext cx="4752000" cy="2160000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635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8" name="Snip Single Corner Rectangle 4">
            <a:extLst>
              <a:ext uri="{FF2B5EF4-FFF2-40B4-BE49-F238E27FC236}">
                <a16:creationId xmlns:a16="http://schemas.microsoft.com/office/drawing/2014/main" xmlns="" id="{F7C13A5F-C26B-451E-A141-61BB4B9653BE}"/>
              </a:ext>
            </a:extLst>
          </p:cNvPr>
          <p:cNvSpPr/>
          <p:nvPr/>
        </p:nvSpPr>
        <p:spPr>
          <a:xfrm flipH="1" flipV="1">
            <a:off x="6471942" y="4045879"/>
            <a:ext cx="4752000" cy="2160000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17" name="Group 51">
            <a:extLst>
              <a:ext uri="{FF2B5EF4-FFF2-40B4-BE49-F238E27FC236}">
                <a16:creationId xmlns:a16="http://schemas.microsoft.com/office/drawing/2014/main" xmlns="" id="{3925DF22-7BCB-415E-8C5F-FC249E561F2B}"/>
              </a:ext>
            </a:extLst>
          </p:cNvPr>
          <p:cNvGrpSpPr/>
          <p:nvPr/>
        </p:nvGrpSpPr>
        <p:grpSpPr>
          <a:xfrm>
            <a:off x="1007410" y="1661130"/>
            <a:ext cx="4454582" cy="1946310"/>
            <a:chOff x="-35953" y="1288681"/>
            <a:chExt cx="3951775" cy="196576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4A43D61E-61BA-463A-A292-D539EA245A5C}"/>
                </a:ext>
              </a:extLst>
            </p:cNvPr>
            <p:cNvSpPr txBox="1"/>
            <p:nvPr/>
          </p:nvSpPr>
          <p:spPr>
            <a:xfrm>
              <a:off x="-35953" y="1669096"/>
              <a:ext cx="3951775" cy="15853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빅데이터를 이용한 맞춤형 고객 마케팅 및 가맹점 네트워킹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: ‘</a:t>
              </a:r>
              <a:r>
                <a:rPr kumimoji="0" lang="ko-KR" alt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챗봇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샘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’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을 도입하여 고객에 맞는 상품을 추천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LINK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로 맞춤 혜택을 추천하는 등 빅데이터를 이용한 마케팅에 선두주자로서 활약하고 있음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 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또한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BMP(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Big data Marketing Partnership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)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를 이용한 가맹점 네트워크</a:t>
              </a:r>
              <a:r>
                <a:rPr kumimoji="0" lang="ko-KR" altLang="en-US" sz="1600" b="0" i="0" u="none" strike="noStrike" kern="1200" cap="none" spc="0" normalizeH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시행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  <a:endPara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45D02C78-B123-4621-9CB5-B3DEA00D7754}"/>
                </a:ext>
              </a:extLst>
            </p:cNvPr>
            <p:cNvSpPr txBox="1"/>
            <p:nvPr/>
          </p:nvSpPr>
          <p:spPr>
            <a:xfrm>
              <a:off x="50772" y="1288681"/>
              <a:ext cx="2605241" cy="4041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강점 </a:t>
              </a:r>
              <a:r>
                <a:rPr lang="en-US" altLang="ko-KR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Strength)</a:t>
              </a:r>
              <a:endPara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20" name="Group 59">
            <a:extLst>
              <a:ext uri="{FF2B5EF4-FFF2-40B4-BE49-F238E27FC236}">
                <a16:creationId xmlns:a16="http://schemas.microsoft.com/office/drawing/2014/main" xmlns="" id="{A4DFC738-8031-452B-8701-668FCCC4263C}"/>
              </a:ext>
            </a:extLst>
          </p:cNvPr>
          <p:cNvGrpSpPr/>
          <p:nvPr/>
        </p:nvGrpSpPr>
        <p:grpSpPr>
          <a:xfrm>
            <a:off x="1129575" y="4174089"/>
            <a:ext cx="4124215" cy="1522375"/>
            <a:chOff x="42320" y="1561751"/>
            <a:chExt cx="3658698" cy="153760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B5158FB6-25BC-496A-9C11-D2F095F5E6BC}"/>
                </a:ext>
              </a:extLst>
            </p:cNvPr>
            <p:cNvSpPr txBox="1"/>
            <p:nvPr/>
          </p:nvSpPr>
          <p:spPr>
            <a:xfrm>
              <a:off x="42320" y="2011360"/>
              <a:ext cx="3658698" cy="1087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최근 코로나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19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로 인해 온라인에서의 결제 비중이 크게 증가하였으므로 온라인 시장을 타겟으로 하여 적절한 전략을 세운다면 큰 이득을 얻을 수 있을 것으로 판단됨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 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10397B98-F3A5-4764-BC6D-325F72FFCE37}"/>
                </a:ext>
              </a:extLst>
            </p:cNvPr>
            <p:cNvSpPr txBox="1"/>
            <p:nvPr/>
          </p:nvSpPr>
          <p:spPr>
            <a:xfrm>
              <a:off x="42321" y="1561751"/>
              <a:ext cx="2605241" cy="40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기회 </a:t>
              </a:r>
              <a:r>
                <a:rPr lang="en-US" altLang="ko-KR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Opportunity)</a:t>
              </a:r>
              <a:endPara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23" name="Group 62">
            <a:extLst>
              <a:ext uri="{FF2B5EF4-FFF2-40B4-BE49-F238E27FC236}">
                <a16:creationId xmlns:a16="http://schemas.microsoft.com/office/drawing/2014/main" xmlns="" id="{91B02555-40DE-484D-A7AC-05018CFDBA36}"/>
              </a:ext>
            </a:extLst>
          </p:cNvPr>
          <p:cNvGrpSpPr/>
          <p:nvPr/>
        </p:nvGrpSpPr>
        <p:grpSpPr>
          <a:xfrm>
            <a:off x="7607601" y="1791425"/>
            <a:ext cx="3454823" cy="1103882"/>
            <a:chOff x="51326" y="1284467"/>
            <a:chExt cx="3064863" cy="111492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4DCE5233-0D12-4A30-B22B-D6C4B35AD2C8}"/>
                </a:ext>
              </a:extLst>
            </p:cNvPr>
            <p:cNvSpPr txBox="1"/>
            <p:nvPr/>
          </p:nvSpPr>
          <p:spPr>
            <a:xfrm>
              <a:off x="51326" y="2026362"/>
              <a:ext cx="3064863" cy="373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F3AF67D6-8A8B-45A7-8281-79F99B6A8FE7}"/>
                </a:ext>
              </a:extLst>
            </p:cNvPr>
            <p:cNvSpPr txBox="1"/>
            <p:nvPr/>
          </p:nvSpPr>
          <p:spPr>
            <a:xfrm>
              <a:off x="510947" y="1284467"/>
              <a:ext cx="2605241" cy="4041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약점 </a:t>
              </a:r>
              <a:r>
                <a:rPr lang="en-US" altLang="ko-KR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Weakness)</a:t>
              </a:r>
              <a:endPara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26" name="Group 74">
            <a:extLst>
              <a:ext uri="{FF2B5EF4-FFF2-40B4-BE49-F238E27FC236}">
                <a16:creationId xmlns:a16="http://schemas.microsoft.com/office/drawing/2014/main" xmlns="" id="{E0ECEA75-50FF-4EE5-8BC7-C845DA6C5C2C}"/>
              </a:ext>
            </a:extLst>
          </p:cNvPr>
          <p:cNvGrpSpPr/>
          <p:nvPr/>
        </p:nvGrpSpPr>
        <p:grpSpPr>
          <a:xfrm>
            <a:off x="7142515" y="4085176"/>
            <a:ext cx="4004506" cy="1892582"/>
            <a:chOff x="-364841" y="1477620"/>
            <a:chExt cx="3552499" cy="181652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F984D6AD-D573-467D-983D-14087380E79B}"/>
                </a:ext>
              </a:extLst>
            </p:cNvPr>
            <p:cNvSpPr txBox="1"/>
            <p:nvPr/>
          </p:nvSpPr>
          <p:spPr>
            <a:xfrm>
              <a:off x="-364841" y="1787565"/>
              <a:ext cx="3552499" cy="1506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코로나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19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로 인한 오프라인 결제 비중 감소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: 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온라인 결제는 증가한 반면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오프라인에서의 결제 비중은 크게 </a:t>
              </a:r>
              <a:r>
                <a:rPr lang="ko-KR" altLang="en-US" sz="16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감소했기에</a:t>
              </a:r>
              <a:r>
                <a:rPr lang="en-US" altLang="ko-KR" sz="16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오프라인 시장에 대한 전략을 세우는 데에 어려움이 있음</a:t>
              </a:r>
              <a:r>
                <a:rPr lang="en-US" altLang="ko-KR" sz="16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 </a:t>
              </a:r>
              <a:r>
                <a:rPr lang="ko-KR" altLang="en-US" sz="16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최근  </a:t>
              </a:r>
              <a:endPara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카드 점유율 순위가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2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위에서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3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위로 하락한 것도 위협이 될 수 있음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  <a:endPara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D4CB6202-BDB1-469A-9AB6-92FF7F7E85B7}"/>
                </a:ext>
              </a:extLst>
            </p:cNvPr>
            <p:cNvSpPr txBox="1"/>
            <p:nvPr/>
          </p:nvSpPr>
          <p:spPr>
            <a:xfrm>
              <a:off x="582417" y="1477620"/>
              <a:ext cx="2605241" cy="3840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위협 </a:t>
              </a:r>
              <a:r>
                <a:rPr kumimoji="0" lang="en-US" altLang="ko-KR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Threat)</a:t>
              </a:r>
              <a:endPara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4283EF0C-62E3-4F5F-B296-7DAB67424FDD}"/>
              </a:ext>
            </a:extLst>
          </p:cNvPr>
          <p:cNvSpPr txBox="1"/>
          <p:nvPr/>
        </p:nvSpPr>
        <p:spPr>
          <a:xfrm>
            <a:off x="6992305" y="2181077"/>
            <a:ext cx="40701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체크카드 시장에서의 약세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: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은행권 카드사의 체크카드 누적 이용금액이 조단위를 웃돌고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발급실적 또한 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1000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만 장을 넘기는 반면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삼성카드의 체크카드 누적 이용금액은 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556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억 원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발급실적은 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93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만 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4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천 장에 불과함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(2020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7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월 기준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).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52243D6D-8CD4-42CF-97E1-9F40B0866225}"/>
              </a:ext>
            </a:extLst>
          </p:cNvPr>
          <p:cNvSpPr txBox="1"/>
          <p:nvPr/>
        </p:nvSpPr>
        <p:spPr>
          <a:xfrm>
            <a:off x="6077246" y="5305481"/>
            <a:ext cx="98834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0" b="1" i="0" u="none" strike="noStrike" kern="1200" cap="none" spc="0" normalizeH="0" baseline="0" noProof="0" dirty="0">
                <a:ln>
                  <a:noFill/>
                </a:ln>
                <a:solidFill>
                  <a:srgbClr val="4CD6B0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Arial" pitchFamily="34" charset="0"/>
              </a:rPr>
              <a:t>T</a:t>
            </a:r>
            <a:endParaRPr kumimoji="0" lang="ko-KR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4CD6B0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DEC7932-71FD-421E-BE09-9FD587F09C78}"/>
              </a:ext>
            </a:extLst>
          </p:cNvPr>
          <p:cNvSpPr txBox="1"/>
          <p:nvPr/>
        </p:nvSpPr>
        <p:spPr>
          <a:xfrm>
            <a:off x="5103018" y="5295956"/>
            <a:ext cx="98834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0" b="1" i="0" u="none" strike="noStrike" kern="1200" cap="none" spc="0" normalizeH="0" baseline="0" noProof="0" dirty="0">
                <a:ln>
                  <a:noFill/>
                </a:ln>
                <a:solidFill>
                  <a:srgbClr val="98DC56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Arial" pitchFamily="34" charset="0"/>
              </a:rPr>
              <a:t>O</a:t>
            </a:r>
            <a:endParaRPr kumimoji="0" lang="ko-KR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98DC56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C8D7D6E-A24C-4D8D-BBD5-A8FA22A47B7D}"/>
              </a:ext>
            </a:extLst>
          </p:cNvPr>
          <p:cNvSpPr txBox="1"/>
          <p:nvPr/>
        </p:nvSpPr>
        <p:spPr>
          <a:xfrm>
            <a:off x="5112445" y="1512221"/>
            <a:ext cx="98834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0" b="1" i="0" u="none" strike="noStrike" kern="1200" cap="none" spc="0" normalizeH="0" baseline="0" noProof="0" dirty="0">
                <a:ln>
                  <a:noFill/>
                </a:ln>
                <a:solidFill>
                  <a:srgbClr val="5EBEE4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Arial" pitchFamily="34" charset="0"/>
              </a:rPr>
              <a:t>S</a:t>
            </a:r>
            <a:endParaRPr kumimoji="0" lang="ko-KR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5EBEE4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16B95452-92D1-47CC-BC13-83F3608BDB4C}"/>
              </a:ext>
            </a:extLst>
          </p:cNvPr>
          <p:cNvSpPr txBox="1"/>
          <p:nvPr/>
        </p:nvSpPr>
        <p:spPr>
          <a:xfrm>
            <a:off x="6086673" y="1502638"/>
            <a:ext cx="98834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0" b="1" i="0" u="none" strike="noStrike" kern="1200" cap="none" spc="0" normalizeH="0" baseline="0" noProof="0" dirty="0">
                <a:ln>
                  <a:noFill/>
                </a:ln>
                <a:solidFill>
                  <a:srgbClr val="98DC56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Arial" pitchFamily="34" charset="0"/>
              </a:rPr>
              <a:t>W</a:t>
            </a:r>
            <a:endParaRPr kumimoji="0" lang="ko-KR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98DC56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xmlns="" id="{CFB1FEB7-D8B4-4637-95AB-F4393EB47F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4194" y="177315"/>
            <a:ext cx="11573197" cy="724247"/>
          </a:xfrm>
        </p:spPr>
        <p:txBody>
          <a:bodyPr>
            <a:normAutofit/>
          </a:bodyPr>
          <a:lstStyle/>
          <a:p>
            <a:r>
              <a:rPr lang="ko-KR" altLang="en-US" sz="4400" dirty="0">
                <a:latin typeface="08서울남산체 B" panose="02020603020101020101" pitchFamily="18" charset="-127"/>
              </a:rPr>
              <a:t>삼성카드 </a:t>
            </a:r>
            <a:r>
              <a:rPr lang="en-US" sz="4400" dirty="0">
                <a:latin typeface="08서울남산체 B" panose="02020603020101020101" pitchFamily="18" charset="-127"/>
              </a:rPr>
              <a:t>SWOT </a:t>
            </a:r>
            <a:r>
              <a:rPr lang="ko-KR" altLang="en-US" sz="4400" dirty="0">
                <a:latin typeface="08서울남산체 B" panose="02020603020101020101" pitchFamily="18" charset="-127"/>
              </a:rPr>
              <a:t>분석</a:t>
            </a:r>
            <a:endParaRPr lang="en-US" sz="4400" dirty="0">
              <a:latin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5348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E16FAC40-0D5A-4471-BB34-B0A0F79BD29E}"/>
              </a:ext>
            </a:extLst>
          </p:cNvPr>
          <p:cNvSpPr/>
          <p:nvPr/>
        </p:nvSpPr>
        <p:spPr>
          <a:xfrm>
            <a:off x="3724275" y="752475"/>
            <a:ext cx="4703908" cy="114300"/>
          </a:xfrm>
          <a:prstGeom prst="rect">
            <a:avLst/>
          </a:prstGeom>
          <a:solidFill>
            <a:srgbClr val="98DC5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15" name="그룹 14">
            <a:extLst>
              <a:ext uri="{FF2B5EF4-FFF2-40B4-BE49-F238E27FC236}">
                <a16:creationId xmlns:a16="http://schemas.microsoft.com/office/drawing/2014/main" xmlns="" id="{CF427323-FEA6-4438-A3E0-B3FF3CFEFD5A}"/>
              </a:ext>
            </a:extLst>
          </p:cNvPr>
          <p:cNvGrpSpPr/>
          <p:nvPr/>
        </p:nvGrpSpPr>
        <p:grpSpPr>
          <a:xfrm>
            <a:off x="7361079" y="5091450"/>
            <a:ext cx="3352735" cy="1440652"/>
            <a:chOff x="7555128" y="2249511"/>
            <a:chExt cx="3352735" cy="144065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83F6A87B-B16C-4647-8FC1-9B85E4B98D98}"/>
                </a:ext>
              </a:extLst>
            </p:cNvPr>
            <p:cNvSpPr txBox="1"/>
            <p:nvPr/>
          </p:nvSpPr>
          <p:spPr>
            <a:xfrm>
              <a:off x="8221813" y="2249511"/>
              <a:ext cx="2304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ECHARTS</a:t>
              </a:r>
              <a:endParaRPr kumimoji="0" lang="ko-KR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xmlns="" id="{D7E0EFCD-37F1-43FC-A939-4E57070B483F}"/>
                </a:ext>
              </a:extLst>
            </p:cNvPr>
            <p:cNvGrpSpPr/>
            <p:nvPr/>
          </p:nvGrpSpPr>
          <p:grpSpPr>
            <a:xfrm>
              <a:off x="7555128" y="2364372"/>
              <a:ext cx="3352735" cy="1325791"/>
              <a:chOff x="7555128" y="2364372"/>
              <a:chExt cx="3352735" cy="132579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xmlns="" id="{56511F9B-F8C1-49B6-9479-6288B8BDC315}"/>
                  </a:ext>
                </a:extLst>
              </p:cNvPr>
              <p:cNvSpPr txBox="1"/>
              <p:nvPr/>
            </p:nvSpPr>
            <p:spPr>
              <a:xfrm>
                <a:off x="8164663" y="2612945"/>
                <a:ext cx="2743200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defTabSz="914400">
                  <a:defRPr/>
                </a:pPr>
                <a:r>
                  <a:rPr lang="en-US" altLang="ko-KR" sz="1600" dirty="0"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 HTML</a:t>
                </a:r>
                <a:r>
                  <a:rPr lang="ko-KR" altLang="en-US" sz="1600" dirty="0"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 코드로 데이터를 직접 입력하여 구현</a:t>
                </a:r>
                <a:endParaRPr lang="en-US" altLang="ko-KR" sz="1600" dirty="0"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 lvl="0" defTabSz="914400">
                  <a:defRPr/>
                </a:pPr>
                <a:endParaRPr lang="en-US" altLang="ko-KR" sz="1600" dirty="0"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 lvl="0" defTabSz="914400">
                  <a:defRPr/>
                </a:pPr>
                <a:r>
                  <a:rPr lang="en-US" altLang="ko-KR" sz="16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e</a:t>
                </a:r>
                <a:r>
                  <a:rPr kumimoji="0" lang="en-US" altLang="ko-KR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x) </a:t>
                </a:r>
                <a:r>
                  <a:rPr kumimoji="0" lang="ko-KR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코로나 </a:t>
                </a:r>
                <a:r>
                  <a:rPr kumimoji="0" lang="ko-KR" alt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확진자</a:t>
                </a:r>
                <a:r>
                  <a:rPr kumimoji="0" lang="ko-KR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그래프</a:t>
                </a:r>
              </a:p>
            </p:txBody>
          </p:sp>
          <p:grpSp>
            <p:nvGrpSpPr>
              <p:cNvPr id="11" name="그룹 10">
                <a:extLst>
                  <a:ext uri="{FF2B5EF4-FFF2-40B4-BE49-F238E27FC236}">
                    <a16:creationId xmlns:a16="http://schemas.microsoft.com/office/drawing/2014/main" xmlns="" id="{12548245-8F5E-4E53-A38A-F281C02B7326}"/>
                  </a:ext>
                </a:extLst>
              </p:cNvPr>
              <p:cNvGrpSpPr/>
              <p:nvPr/>
            </p:nvGrpSpPr>
            <p:grpSpPr>
              <a:xfrm>
                <a:off x="7555128" y="2364372"/>
                <a:ext cx="566802" cy="566802"/>
                <a:chOff x="7555128" y="2564397"/>
                <a:chExt cx="566802" cy="566802"/>
              </a:xfrm>
            </p:grpSpPr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xmlns="" id="{B938B64B-2631-4E89-B46B-888C8FFAAF72}"/>
                    </a:ext>
                  </a:extLst>
                </p:cNvPr>
                <p:cNvSpPr/>
                <p:nvPr/>
              </p:nvSpPr>
              <p:spPr>
                <a:xfrm>
                  <a:off x="7555128" y="2564397"/>
                  <a:ext cx="566802" cy="566802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2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xmlns="" id="{329524B9-733F-4231-A052-DBD60BC2EC56}"/>
                    </a:ext>
                  </a:extLst>
                </p:cNvPr>
                <p:cNvSpPr txBox="1"/>
                <p:nvPr/>
              </p:nvSpPr>
              <p:spPr>
                <a:xfrm>
                  <a:off x="7555128" y="2698412"/>
                  <a:ext cx="56680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08서울남산체 B" panose="02020603020101020101" pitchFamily="18" charset="-127"/>
                      <a:ea typeface="08서울남산체 B" panose="02020603020101020101" pitchFamily="18" charset="-127"/>
                      <a:cs typeface="Arial" pitchFamily="34" charset="0"/>
                    </a:rPr>
                    <a:t>01</a:t>
                  </a:r>
                  <a:endParaRPr kumimoji="0" lang="ko-KR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endParaRPr>
                </a:p>
              </p:txBody>
            </p:sp>
          </p:grpSp>
        </p:grp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xmlns="" id="{90542952-A8A1-4CA0-BF62-570F2F4EB869}"/>
              </a:ext>
            </a:extLst>
          </p:cNvPr>
          <p:cNvGrpSpPr/>
          <p:nvPr/>
        </p:nvGrpSpPr>
        <p:grpSpPr>
          <a:xfrm>
            <a:off x="309401" y="2410235"/>
            <a:ext cx="11573197" cy="4112575"/>
            <a:chOff x="337977" y="1799960"/>
            <a:chExt cx="11573197" cy="4112575"/>
          </a:xfrm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xmlns="" id="{52A1D504-9439-4C18-BB3F-402AA7DE6C68}"/>
                </a:ext>
              </a:extLst>
            </p:cNvPr>
            <p:cNvGrpSpPr/>
            <p:nvPr/>
          </p:nvGrpSpPr>
          <p:grpSpPr>
            <a:xfrm>
              <a:off x="788278" y="4509983"/>
              <a:ext cx="3766951" cy="1402552"/>
              <a:chOff x="788278" y="4509983"/>
              <a:chExt cx="3766951" cy="140255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xmlns="" id="{ED6A0682-B7FF-4F6B-BD81-306283DC53BB}"/>
                  </a:ext>
                </a:extLst>
              </p:cNvPr>
              <p:cNvSpPr txBox="1"/>
              <p:nvPr/>
            </p:nvSpPr>
            <p:spPr>
              <a:xfrm flipH="1">
                <a:off x="788278" y="4835317"/>
                <a:ext cx="3119316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 defTabSz="914400"/>
                <a:r>
                  <a:rPr kumimoji="0" lang="ko-KR" alt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파이썬을</a:t>
                </a:r>
                <a:r>
                  <a:rPr kumimoji="0" lang="ko-KR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통해 파이차트를 </a:t>
                </a:r>
                <a:endPara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lvl="0" algn="r" defTabSz="914400"/>
                <a:r>
                  <a:rPr kumimoji="0" lang="ko-KR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이용하여 구현</a:t>
                </a:r>
                <a:endPara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lvl="0" algn="r" defTabSz="914400"/>
                <a:endPara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lvl="0" algn="r" defTabSz="914400"/>
                <a:r>
                  <a:rPr lang="en-US" altLang="ko-KR" sz="16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ex) </a:t>
                </a:r>
                <a:r>
                  <a:rPr lang="ko-KR" altLang="en-US" sz="16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그룹별 스코어 </a:t>
                </a:r>
                <a:r>
                  <a:rPr lang="ko-KR" altLang="en-US" sz="1600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묶은막대그래프</a:t>
                </a:r>
                <a:r>
                  <a:rPr lang="en-US" altLang="ko-KR" sz="16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</a:t>
                </a:r>
                <a:endPara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</p:txBody>
          </p:sp>
          <p:grpSp>
            <p:nvGrpSpPr>
              <p:cNvPr id="16" name="그룹 15">
                <a:extLst>
                  <a:ext uri="{FF2B5EF4-FFF2-40B4-BE49-F238E27FC236}">
                    <a16:creationId xmlns:a16="http://schemas.microsoft.com/office/drawing/2014/main" xmlns="" id="{A02D87B7-AD91-4E08-8007-6D1D57D77E97}"/>
                  </a:ext>
                </a:extLst>
              </p:cNvPr>
              <p:cNvGrpSpPr/>
              <p:nvPr/>
            </p:nvGrpSpPr>
            <p:grpSpPr>
              <a:xfrm>
                <a:off x="1603338" y="4509983"/>
                <a:ext cx="2951891" cy="605463"/>
                <a:chOff x="1603338" y="4509983"/>
                <a:chExt cx="2951891" cy="605463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xmlns="" id="{706A28FD-0E42-4FED-957E-54C0BF794D72}"/>
                    </a:ext>
                  </a:extLst>
                </p:cNvPr>
                <p:cNvSpPr txBox="1"/>
                <p:nvPr/>
              </p:nvSpPr>
              <p:spPr>
                <a:xfrm flipH="1">
                  <a:off x="1603338" y="4509983"/>
                  <a:ext cx="2304256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08서울남산체 B" panose="02020603020101020101" pitchFamily="18" charset="-127"/>
                      <a:ea typeface="08서울남산체 B" panose="02020603020101020101" pitchFamily="18" charset="-127"/>
                      <a:cs typeface="Arial" pitchFamily="34" charset="0"/>
                    </a:rPr>
                    <a:t>PYECHARTS</a:t>
                  </a:r>
                  <a:endParaRPr kumimoji="0" lang="ko-KR" alt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endParaRPr>
                </a:p>
              </p:txBody>
            </p:sp>
            <p:grpSp>
              <p:nvGrpSpPr>
                <p:cNvPr id="10" name="그룹 9">
                  <a:extLst>
                    <a:ext uri="{FF2B5EF4-FFF2-40B4-BE49-F238E27FC236}">
                      <a16:creationId xmlns:a16="http://schemas.microsoft.com/office/drawing/2014/main" xmlns="" id="{4BB79521-100C-4FAE-964D-660B1C182E60}"/>
                    </a:ext>
                  </a:extLst>
                </p:cNvPr>
                <p:cNvGrpSpPr/>
                <p:nvPr/>
              </p:nvGrpSpPr>
              <p:grpSpPr>
                <a:xfrm>
                  <a:off x="3988427" y="4548644"/>
                  <a:ext cx="566802" cy="566802"/>
                  <a:chOff x="3988427" y="4548644"/>
                  <a:chExt cx="566802" cy="566802"/>
                </a:xfrm>
              </p:grpSpPr>
              <p:sp>
                <p:nvSpPr>
                  <p:cNvPr id="32" name="Oval 31">
                    <a:extLst>
                      <a:ext uri="{FF2B5EF4-FFF2-40B4-BE49-F238E27FC236}">
                        <a16:creationId xmlns:a16="http://schemas.microsoft.com/office/drawing/2014/main" xmlns="" id="{E5589174-EFED-4393-A0E4-49EA984C92F2}"/>
                      </a:ext>
                    </a:extLst>
                  </p:cNvPr>
                  <p:cNvSpPr/>
                  <p:nvPr/>
                </p:nvSpPr>
                <p:spPr>
                  <a:xfrm flipH="1">
                    <a:off x="3988427" y="4548644"/>
                    <a:ext cx="566802" cy="566802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2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08서울남산체 B" panose="02020603020101020101" pitchFamily="18" charset="-127"/>
                      <a:ea typeface="08서울남산체 B" panose="02020603020101020101" pitchFamily="18" charset="-127"/>
                    </a:endParaRPr>
                  </a:p>
                </p:txBody>
              </p:sp>
              <p:sp>
                <p:nvSpPr>
                  <p:cNvPr id="35" name="TextBox 34">
                    <a:extLst>
                      <a:ext uri="{FF2B5EF4-FFF2-40B4-BE49-F238E27FC236}">
                        <a16:creationId xmlns:a16="http://schemas.microsoft.com/office/drawing/2014/main" xmlns="" id="{9691179A-883D-4D5E-B48D-99282AFC593A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3988427" y="4682659"/>
                    <a:ext cx="56680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2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08서울남산체 B" panose="02020603020101020101" pitchFamily="18" charset="-127"/>
                        <a:ea typeface="08서울남산체 B" panose="02020603020101020101" pitchFamily="18" charset="-127"/>
                        <a:cs typeface="Arial" pitchFamily="34" charset="0"/>
                      </a:rPr>
                      <a:t>02</a:t>
                    </a:r>
                    <a:endParaRPr kumimoji="0" lang="ko-KR" alt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08서울남산체 B" panose="02020603020101020101" pitchFamily="18" charset="-127"/>
                      <a:ea typeface="08서울남산체 B" panose="02020603020101020101" pitchFamily="18" charset="-127"/>
                      <a:cs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xmlns="" id="{0D68280A-6386-4714-B44A-631B37C74804}"/>
                </a:ext>
              </a:extLst>
            </p:cNvPr>
            <p:cNvGrpSpPr/>
            <p:nvPr/>
          </p:nvGrpSpPr>
          <p:grpSpPr>
            <a:xfrm>
              <a:off x="337977" y="1799960"/>
              <a:ext cx="11573197" cy="4093740"/>
              <a:chOff x="337977" y="361685"/>
              <a:chExt cx="11573197" cy="4093740"/>
            </a:xfrm>
          </p:grpSpPr>
          <p:grpSp>
            <p:nvGrpSpPr>
              <p:cNvPr id="31" name="그룹 30">
                <a:extLst>
                  <a:ext uri="{FF2B5EF4-FFF2-40B4-BE49-F238E27FC236}">
                    <a16:creationId xmlns:a16="http://schemas.microsoft.com/office/drawing/2014/main" xmlns="" id="{F76DC7CC-A936-42D3-BFCD-0DBFCA49B061}"/>
                  </a:ext>
                </a:extLst>
              </p:cNvPr>
              <p:cNvGrpSpPr/>
              <p:nvPr/>
            </p:nvGrpSpPr>
            <p:grpSpPr>
              <a:xfrm>
                <a:off x="337977" y="361685"/>
                <a:ext cx="11573197" cy="4093740"/>
                <a:chOff x="337977" y="1847585"/>
                <a:chExt cx="11573197" cy="4093740"/>
              </a:xfrm>
            </p:grpSpPr>
            <p:grpSp>
              <p:nvGrpSpPr>
                <p:cNvPr id="25" name="그룹 24">
                  <a:extLst>
                    <a:ext uri="{FF2B5EF4-FFF2-40B4-BE49-F238E27FC236}">
                      <a16:creationId xmlns:a16="http://schemas.microsoft.com/office/drawing/2014/main" xmlns="" id="{F8828DA1-32DA-4A65-A114-460D4B3F5023}"/>
                    </a:ext>
                  </a:extLst>
                </p:cNvPr>
                <p:cNvGrpSpPr/>
                <p:nvPr/>
              </p:nvGrpSpPr>
              <p:grpSpPr>
                <a:xfrm>
                  <a:off x="337977" y="1847585"/>
                  <a:ext cx="11573197" cy="4093740"/>
                  <a:chOff x="337977" y="1847585"/>
                  <a:chExt cx="11573197" cy="4093740"/>
                </a:xfrm>
              </p:grpSpPr>
              <p:grpSp>
                <p:nvGrpSpPr>
                  <p:cNvPr id="9" name="Group 8">
                    <a:extLst>
                      <a:ext uri="{FF2B5EF4-FFF2-40B4-BE49-F238E27FC236}">
                        <a16:creationId xmlns:a16="http://schemas.microsoft.com/office/drawing/2014/main" xmlns="" id="{0FC63360-A668-4968-A7F8-DAB3E17A073A}"/>
                      </a:ext>
                    </a:extLst>
                  </p:cNvPr>
                  <p:cNvGrpSpPr/>
                  <p:nvPr/>
                </p:nvGrpSpPr>
                <p:grpSpPr>
                  <a:xfrm>
                    <a:off x="337977" y="1847585"/>
                    <a:ext cx="11573197" cy="4093740"/>
                    <a:chOff x="323529" y="1933310"/>
                    <a:chExt cx="11573197" cy="4093740"/>
                  </a:xfrm>
                </p:grpSpPr>
                <p:grpSp>
                  <p:nvGrpSpPr>
                    <p:cNvPr id="3" name="Group 2">
                      <a:extLst>
                        <a:ext uri="{FF2B5EF4-FFF2-40B4-BE49-F238E27FC236}">
                          <a16:creationId xmlns:a16="http://schemas.microsoft.com/office/drawing/2014/main" xmlns="" id="{D75DCDDB-BF9C-4F57-8F5E-BD859DBE4A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48226" y="3596780"/>
                      <a:ext cx="5748500" cy="2430270"/>
                      <a:chOff x="668190" y="3596782"/>
                      <a:chExt cx="5748500" cy="2430270"/>
                    </a:xfrm>
                  </p:grpSpPr>
                  <p:sp>
                    <p:nvSpPr>
                      <p:cNvPr id="4" name="직사각형 36">
                        <a:extLst>
                          <a:ext uri="{FF2B5EF4-FFF2-40B4-BE49-F238E27FC236}">
                            <a16:creationId xmlns:a16="http://schemas.microsoft.com/office/drawing/2014/main" xmlns="" id="{3376001D-22FC-45F1-AEBF-FA9E0CE5CB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68190" y="3596782"/>
                        <a:ext cx="4627709" cy="766800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4">
                              <a:lumMod val="50000"/>
                            </a:schemeClr>
                          </a:gs>
                          <a:gs pos="26000">
                            <a:schemeClr val="accent4"/>
                          </a:gs>
                          <a:gs pos="100000">
                            <a:schemeClr val="accent4"/>
                          </a:gs>
                        </a:gsLst>
                        <a:lin ang="10800000" scaled="0"/>
                        <a:tileRect/>
                      </a:gra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ko-KR" altLang="en-US" sz="2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endParaRPr>
                      </a:p>
                    </p:txBody>
                  </p:sp>
                  <p:sp>
                    <p:nvSpPr>
                      <p:cNvPr id="5" name="Down Arrow 3">
                        <a:extLst>
                          <a:ext uri="{FF2B5EF4-FFF2-40B4-BE49-F238E27FC236}">
                            <a16:creationId xmlns:a16="http://schemas.microsoft.com/office/drawing/2014/main" xmlns="" id="{8B3D1F26-A74C-4948-83C0-5DD0DE302383}"/>
                          </a:ext>
                        </a:extLst>
                      </p:cNvPr>
                      <p:cNvSpPr/>
                      <p:nvPr/>
                    </p:nvSpPr>
                    <p:spPr>
                      <a:xfrm rot="10800000" flipH="1" flipV="1">
                        <a:off x="4904522" y="3596782"/>
                        <a:ext cx="1512168" cy="24302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12168" h="2430270">
                            <a:moveTo>
                              <a:pt x="756084" y="2430270"/>
                            </a:moveTo>
                            <a:lnTo>
                              <a:pt x="0" y="1674186"/>
                            </a:lnTo>
                            <a:lnTo>
                              <a:pt x="378042" y="1674186"/>
                            </a:lnTo>
                            <a:lnTo>
                              <a:pt x="378042" y="0"/>
                            </a:lnTo>
                            <a:lnTo>
                              <a:pt x="1134126" y="756084"/>
                            </a:lnTo>
                            <a:lnTo>
                              <a:pt x="1134126" y="1674186"/>
                            </a:lnTo>
                            <a:lnTo>
                              <a:pt x="1512168" y="1674186"/>
                            </a:lnTo>
                            <a:close/>
                          </a:path>
                        </a:pathLst>
                      </a:custGeom>
                      <a:solidFill>
                        <a:schemeClr val="accent4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ko-KR" altLang="en-US" sz="2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endParaRPr>
                      </a:p>
                    </p:txBody>
                  </p:sp>
                </p:grpSp>
                <p:grpSp>
                  <p:nvGrpSpPr>
                    <p:cNvPr id="6" name="Group 5">
                      <a:extLst>
                        <a:ext uri="{FF2B5EF4-FFF2-40B4-BE49-F238E27FC236}">
                          <a16:creationId xmlns:a16="http://schemas.microsoft.com/office/drawing/2014/main" xmlns="" id="{CAB317FE-DCDA-40BC-A736-DA7F2AD5CC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23529" y="1933310"/>
                      <a:ext cx="5824698" cy="2430270"/>
                      <a:chOff x="5775310" y="1820550"/>
                      <a:chExt cx="5824698" cy="2430270"/>
                    </a:xfrm>
                  </p:grpSpPr>
                  <p:sp>
                    <p:nvSpPr>
                      <p:cNvPr id="7" name="직사각형 5">
                        <a:extLst>
                          <a:ext uri="{FF2B5EF4-FFF2-40B4-BE49-F238E27FC236}">
                            <a16:creationId xmlns:a16="http://schemas.microsoft.com/office/drawing/2014/main" xmlns="" id="{67DD93F3-925B-4767-926E-8A28C303F4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96100" y="3484019"/>
                        <a:ext cx="4703908" cy="766800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3">
                              <a:lumMod val="50000"/>
                            </a:schemeClr>
                          </a:gs>
                          <a:gs pos="26000">
                            <a:schemeClr val="accent3"/>
                          </a:gs>
                          <a:gs pos="100000">
                            <a:schemeClr val="accent3"/>
                          </a:gs>
                        </a:gsLst>
                        <a:lin ang="0" scaled="1"/>
                        <a:tileRect/>
                      </a:gra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ko-KR" altLang="en-US" sz="2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endParaRPr>
                      </a:p>
                    </p:txBody>
                  </p:sp>
                  <p:sp>
                    <p:nvSpPr>
                      <p:cNvPr id="8" name="Down Arrow 3">
                        <a:extLst>
                          <a:ext uri="{FF2B5EF4-FFF2-40B4-BE49-F238E27FC236}">
                            <a16:creationId xmlns:a16="http://schemas.microsoft.com/office/drawing/2014/main" xmlns="" id="{271DBC04-6EC9-46C9-9107-C639C36117F9}"/>
                          </a:ext>
                        </a:extLst>
                      </p:cNvPr>
                      <p:cNvSpPr/>
                      <p:nvPr/>
                    </p:nvSpPr>
                    <p:spPr>
                      <a:xfrm rot="10800000">
                        <a:off x="5775310" y="1820550"/>
                        <a:ext cx="1512168" cy="24302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12168" h="2430270">
                            <a:moveTo>
                              <a:pt x="756084" y="2430270"/>
                            </a:moveTo>
                            <a:lnTo>
                              <a:pt x="0" y="1674186"/>
                            </a:lnTo>
                            <a:lnTo>
                              <a:pt x="378042" y="1674186"/>
                            </a:lnTo>
                            <a:lnTo>
                              <a:pt x="378042" y="0"/>
                            </a:lnTo>
                            <a:lnTo>
                              <a:pt x="1134126" y="756084"/>
                            </a:lnTo>
                            <a:lnTo>
                              <a:pt x="1134126" y="1674186"/>
                            </a:lnTo>
                            <a:lnTo>
                              <a:pt x="1512168" y="167418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ko-KR" altLang="en-US" sz="2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endParaRPr>
                      </a:p>
                    </p:txBody>
                  </p:sp>
                </p:grpSp>
              </p:grpSp>
              <p:sp>
                <p:nvSpPr>
                  <p:cNvPr id="14" name="Rectangle 13">
                    <a:extLst>
                      <a:ext uri="{FF2B5EF4-FFF2-40B4-BE49-F238E27FC236}">
                        <a16:creationId xmlns:a16="http://schemas.microsoft.com/office/drawing/2014/main" xmlns="" id="{E9DF338E-08FB-4044-B265-FD18634BE8E4}"/>
                      </a:ext>
                    </a:extLst>
                  </p:cNvPr>
                  <p:cNvSpPr/>
                  <p:nvPr/>
                </p:nvSpPr>
                <p:spPr>
                  <a:xfrm>
                    <a:off x="2171650" y="3663904"/>
                    <a:ext cx="2123658" cy="523220"/>
                  </a:xfrm>
                  <a:prstGeom prst="rect">
                    <a:avLst/>
                  </a:prstGeom>
                </p:spPr>
                <p:txBody>
                  <a:bodyPr wrap="none" anchor="ctr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rPr>
                      <a:t>PYECHARTS</a:t>
                    </a:r>
                    <a:endParaRPr kumimoji="0" lang="en-US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08서울남산체 B" panose="02020603020101020101" pitchFamily="18" charset="-127"/>
                      <a:ea typeface="08서울남산체 B" panose="02020603020101020101" pitchFamily="18" charset="-127"/>
                    </a:endParaRPr>
                  </a:p>
                </p:txBody>
              </p:sp>
            </p:grpSp>
            <p:grpSp>
              <p:nvGrpSpPr>
                <p:cNvPr id="21" name="그룹 20">
                  <a:extLst>
                    <a:ext uri="{FF2B5EF4-FFF2-40B4-BE49-F238E27FC236}">
                      <a16:creationId xmlns:a16="http://schemas.microsoft.com/office/drawing/2014/main" xmlns="" id="{DF149378-D06F-499D-A233-9C50BFC6634A}"/>
                    </a:ext>
                  </a:extLst>
                </p:cNvPr>
                <p:cNvGrpSpPr/>
                <p:nvPr/>
              </p:nvGrpSpPr>
              <p:grpSpPr>
                <a:xfrm>
                  <a:off x="4676773" y="2412488"/>
                  <a:ext cx="2827182" cy="2809830"/>
                  <a:chOff x="4676773" y="2412488"/>
                  <a:chExt cx="2827182" cy="2809830"/>
                </a:xfrm>
              </p:grpSpPr>
              <p:grpSp>
                <p:nvGrpSpPr>
                  <p:cNvPr id="49" name="Group 24">
                    <a:extLst>
                      <a:ext uri="{FF2B5EF4-FFF2-40B4-BE49-F238E27FC236}">
                        <a16:creationId xmlns:a16="http://schemas.microsoft.com/office/drawing/2014/main" xmlns="" id="{B41683E4-2041-43E6-B17E-9538CD6007CB}"/>
                      </a:ext>
                    </a:extLst>
                  </p:cNvPr>
                  <p:cNvGrpSpPr/>
                  <p:nvPr/>
                </p:nvGrpSpPr>
                <p:grpSpPr>
                  <a:xfrm>
                    <a:off x="4676773" y="2412488"/>
                    <a:ext cx="2827182" cy="2809830"/>
                    <a:chOff x="4716619" y="2506936"/>
                    <a:chExt cx="2827182" cy="2809830"/>
                  </a:xfrm>
                </p:grpSpPr>
                <p:sp>
                  <p:nvSpPr>
                    <p:cNvPr id="50" name="Circle: Hollow 14">
                      <a:extLst>
                        <a:ext uri="{FF2B5EF4-FFF2-40B4-BE49-F238E27FC236}">
                          <a16:creationId xmlns:a16="http://schemas.microsoft.com/office/drawing/2014/main" xmlns="" id="{CE6E30DE-AE82-493F-A54C-098AEDF278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62500" y="2533650"/>
                      <a:ext cx="2743200" cy="2743200"/>
                    </a:xfrm>
                    <a:prstGeom prst="donut">
                      <a:avLst>
                        <a:gd name="adj" fmla="val 1358"/>
                      </a:avLst>
                    </a:prstGeom>
                    <a:solidFill>
                      <a:schemeClr val="accent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1" name="Oval 15">
                      <a:extLst>
                        <a:ext uri="{FF2B5EF4-FFF2-40B4-BE49-F238E27FC236}">
                          <a16:creationId xmlns:a16="http://schemas.microsoft.com/office/drawing/2014/main" xmlns="" id="{FA25A9BF-A478-459B-B5CD-761CA581BE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76825" y="2930843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2" name="Oval 16">
                      <a:extLst>
                        <a:ext uri="{FF2B5EF4-FFF2-40B4-BE49-F238E27FC236}">
                          <a16:creationId xmlns:a16="http://schemas.microsoft.com/office/drawing/2014/main" xmlns="" id="{59EE6B8D-0A3A-4978-AAE8-8A4B0FCE61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0641" y="2921318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3" name="Oval 17">
                      <a:extLst>
                        <a:ext uri="{FF2B5EF4-FFF2-40B4-BE49-F238E27FC236}">
                          <a16:creationId xmlns:a16="http://schemas.microsoft.com/office/drawing/2014/main" xmlns="" id="{07CA1077-48C7-4294-A525-AC0249D245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00166" y="4727953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4" name="Oval 18">
                      <a:extLst>
                        <a:ext uri="{FF2B5EF4-FFF2-40B4-BE49-F238E27FC236}">
                          <a16:creationId xmlns:a16="http://schemas.microsoft.com/office/drawing/2014/main" xmlns="" id="{81C1B4F5-05D6-4E04-85E5-19053BF8AE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67300" y="4737478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5" name="Oval 20">
                      <a:extLst>
                        <a:ext uri="{FF2B5EF4-FFF2-40B4-BE49-F238E27FC236}">
                          <a16:creationId xmlns:a16="http://schemas.microsoft.com/office/drawing/2014/main" xmlns="" id="{8F1E4D65-B863-4B50-B0FC-712B1F8776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6950" y="5202466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6" name="Oval 21">
                      <a:extLst>
                        <a:ext uri="{FF2B5EF4-FFF2-40B4-BE49-F238E27FC236}">
                          <a16:creationId xmlns:a16="http://schemas.microsoft.com/office/drawing/2014/main" xmlns="" id="{69CA9319-E5CB-4CB8-8D9A-16DA7D01F5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6950" y="2506936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7" name="Oval 22">
                      <a:extLst>
                        <a:ext uri="{FF2B5EF4-FFF2-40B4-BE49-F238E27FC236}">
                          <a16:creationId xmlns:a16="http://schemas.microsoft.com/office/drawing/2014/main" xmlns="" id="{57FFD845-7250-4DCA-9305-8AB03C203C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16619" y="3848100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58" name="Oval 23">
                      <a:extLst>
                        <a:ext uri="{FF2B5EF4-FFF2-40B4-BE49-F238E27FC236}">
                          <a16:creationId xmlns:a16="http://schemas.microsoft.com/office/drawing/2014/main" xmlns="" id="{DC233057-741E-46BC-87A3-58400E3F85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29501" y="3848100"/>
                      <a:ext cx="114300" cy="114300"/>
                    </a:xfrm>
                    <a:prstGeom prst="ellipse">
                      <a:avLst/>
                    </a:prstGeom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</p:grpSp>
              <p:grpSp>
                <p:nvGrpSpPr>
                  <p:cNvPr id="19" name="그룹 18">
                    <a:extLst>
                      <a:ext uri="{FF2B5EF4-FFF2-40B4-BE49-F238E27FC236}">
                        <a16:creationId xmlns:a16="http://schemas.microsoft.com/office/drawing/2014/main" xmlns="" id="{B4174FEB-7FF5-4D5F-9B62-7943037A6065}"/>
                      </a:ext>
                    </a:extLst>
                  </p:cNvPr>
                  <p:cNvGrpSpPr/>
                  <p:nvPr/>
                </p:nvGrpSpPr>
                <p:grpSpPr>
                  <a:xfrm>
                    <a:off x="5005547" y="2722095"/>
                    <a:ext cx="2177414" cy="2177414"/>
                    <a:chOff x="5005547" y="2722095"/>
                    <a:chExt cx="2177414" cy="2177414"/>
                  </a:xfrm>
                </p:grpSpPr>
                <p:sp>
                  <p:nvSpPr>
                    <p:cNvPr id="60" name="Freeform: Shape 10">
                      <a:extLst>
                        <a:ext uri="{FF2B5EF4-FFF2-40B4-BE49-F238E27FC236}">
                          <a16:creationId xmlns:a16="http://schemas.microsoft.com/office/drawing/2014/main" xmlns="" id="{4761118F-E841-4A45-81D8-3A3BFFF4FC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05547" y="2722095"/>
                      <a:ext cx="2177414" cy="2177414"/>
                    </a:xfrm>
                    <a:custGeom>
                      <a:avLst/>
                      <a:gdLst>
                        <a:gd name="connsiteX0" fmla="*/ 3057049 w 3057525"/>
                        <a:gd name="connsiteY0" fmla="*/ 1532096 h 3057525"/>
                        <a:gd name="connsiteX1" fmla="*/ 1532096 w 3057525"/>
                        <a:gd name="connsiteY1" fmla="*/ 3057049 h 3057525"/>
                        <a:gd name="connsiteX2" fmla="*/ 7144 w 3057525"/>
                        <a:gd name="connsiteY2" fmla="*/ 1532096 h 3057525"/>
                        <a:gd name="connsiteX3" fmla="*/ 1532096 w 3057525"/>
                        <a:gd name="connsiteY3" fmla="*/ 7144 h 3057525"/>
                        <a:gd name="connsiteX4" fmla="*/ 3057049 w 3057525"/>
                        <a:gd name="connsiteY4" fmla="*/ 1532096 h 3057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057525" h="3057525">
                          <a:moveTo>
                            <a:pt x="3057049" y="1532096"/>
                          </a:moveTo>
                          <a:cubicBezTo>
                            <a:pt x="3057049" y="2374304"/>
                            <a:pt x="2374304" y="3057049"/>
                            <a:pt x="1532096" y="3057049"/>
                          </a:cubicBezTo>
                          <a:cubicBezTo>
                            <a:pt x="689888" y="3057049"/>
                            <a:pt x="7144" y="2374304"/>
                            <a:pt x="7144" y="1532096"/>
                          </a:cubicBezTo>
                          <a:cubicBezTo>
                            <a:pt x="7144" y="689888"/>
                            <a:pt x="689888" y="7144"/>
                            <a:pt x="1532096" y="7144"/>
                          </a:cubicBezTo>
                          <a:cubicBezTo>
                            <a:pt x="2374304" y="7144"/>
                            <a:pt x="3057049" y="689888"/>
                            <a:pt x="3057049" y="1532096"/>
                          </a:cubicBezTo>
                          <a:close/>
                        </a:path>
                      </a:pathLst>
                    </a:custGeom>
                    <a:solidFill>
                      <a:srgbClr val="BFE5F4"/>
                    </a:solidFill>
                    <a:ln w="9525" cap="flat">
                      <a:noFill/>
                      <a:prstDash val="solid"/>
                      <a:miter/>
                    </a:ln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rtlCol="0" anchor="ctr"/>
                    <a:lstStyle/>
                    <a:p>
                      <a:endParaRPr 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pic>
                  <p:nvPicPr>
                    <p:cNvPr id="20" name="그림 19">
                      <a:extLst>
                        <a:ext uri="{FF2B5EF4-FFF2-40B4-BE49-F238E27FC236}">
                          <a16:creationId xmlns:a16="http://schemas.microsoft.com/office/drawing/2014/main" xmlns="" id="{F47D723E-023D-4EF7-ACD3-D47A04FF7A0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24998" y="2784399"/>
                      <a:ext cx="1800000" cy="1800000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xmlns="" id="{3BE4E8EF-2012-4563-BC5D-8D6D6930EC0B}"/>
                  </a:ext>
                </a:extLst>
              </p:cNvPr>
              <p:cNvSpPr/>
              <p:nvPr/>
            </p:nvSpPr>
            <p:spPr>
              <a:xfrm>
                <a:off x="8286865" y="2178004"/>
                <a:ext cx="17010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ECHARTS</a:t>
                </a: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</p:txBody>
          </p:sp>
        </p:grp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9079" y="159001"/>
            <a:ext cx="11573197" cy="724247"/>
          </a:xfrm>
        </p:spPr>
        <p:txBody>
          <a:bodyPr/>
          <a:lstStyle/>
          <a:p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 시각화 툴</a:t>
            </a:r>
            <a:endParaRPr 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xmlns="" id="{749CDC25-261A-4AB6-9B94-2BC706391472}"/>
              </a:ext>
            </a:extLst>
          </p:cNvPr>
          <p:cNvGrpSpPr/>
          <p:nvPr/>
        </p:nvGrpSpPr>
        <p:grpSpPr>
          <a:xfrm>
            <a:off x="7810500" y="1885950"/>
            <a:ext cx="3162300" cy="1940197"/>
            <a:chOff x="6924087" y="4187303"/>
            <a:chExt cx="3474918" cy="2240478"/>
          </a:xfrm>
        </p:grpSpPr>
        <p:pic>
          <p:nvPicPr>
            <p:cNvPr id="44" name="그림 43">
              <a:extLst>
                <a:ext uri="{FF2B5EF4-FFF2-40B4-BE49-F238E27FC236}">
                  <a16:creationId xmlns:a16="http://schemas.microsoft.com/office/drawing/2014/main" xmlns="" id="{A014194D-F191-4A6D-AA7E-C920699B66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24088" y="4479418"/>
              <a:ext cx="3474917" cy="194836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xmlns="" id="{8FCE201C-AA3C-4A57-8386-1441AEA9A0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24087" y="4187303"/>
              <a:ext cx="771565" cy="292115"/>
            </a:xfrm>
            <a:prstGeom prst="rect">
              <a:avLst/>
            </a:prstGeom>
          </p:spPr>
        </p:pic>
      </p:grpSp>
      <p:pic>
        <p:nvPicPr>
          <p:cNvPr id="59" name="그림 58">
            <a:extLst>
              <a:ext uri="{FF2B5EF4-FFF2-40B4-BE49-F238E27FC236}">
                <a16:creationId xmlns:a16="http://schemas.microsoft.com/office/drawing/2014/main" xmlns="" id="{AA19204D-90DA-4210-828E-2854747A487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533"/>
          <a:stretch/>
        </p:blipFill>
        <p:spPr>
          <a:xfrm>
            <a:off x="2210945" y="1895475"/>
            <a:ext cx="2010119" cy="19401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48491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그림 개체 틀 6">
            <a:extLst>
              <a:ext uri="{FF2B5EF4-FFF2-40B4-BE49-F238E27FC236}">
                <a16:creationId xmlns:a16="http://schemas.microsoft.com/office/drawing/2014/main" xmlns="" id="{4E7943EB-44F1-4040-A86E-6B4129EAA6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grpSp>
        <p:nvGrpSpPr>
          <p:cNvPr id="4" name="Group 3"/>
          <p:cNvGrpSpPr/>
          <p:nvPr/>
        </p:nvGrpSpPr>
        <p:grpSpPr>
          <a:xfrm rot="5400000">
            <a:off x="5286374" y="-1180641"/>
            <a:ext cx="1619253" cy="3980536"/>
            <a:chOff x="1" y="1321321"/>
            <a:chExt cx="2051719" cy="2469467"/>
          </a:xfrm>
        </p:grpSpPr>
        <p:sp>
          <p:nvSpPr>
            <p:cNvPr id="5" name="Rectangle 4"/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xmlns="" id="{E48F6E19-C4D8-4C45-90B2-A26B5EF11674}"/>
              </a:ext>
            </a:extLst>
          </p:cNvPr>
          <p:cNvGrpSpPr/>
          <p:nvPr/>
        </p:nvGrpSpPr>
        <p:grpSpPr>
          <a:xfrm>
            <a:off x="1066800" y="2266950"/>
            <a:ext cx="6305018" cy="2385847"/>
            <a:chOff x="1066800" y="2266950"/>
            <a:chExt cx="6305018" cy="2385847"/>
          </a:xfrm>
        </p:grpSpPr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xmlns="" id="{B0C86825-8F54-4EDF-AA1F-3D37A6EBEF27}"/>
                </a:ext>
              </a:extLst>
            </p:cNvPr>
            <p:cNvSpPr/>
            <p:nvPr/>
          </p:nvSpPr>
          <p:spPr>
            <a:xfrm>
              <a:off x="4576534" y="2795422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xmlns="" id="{732B47D0-E0A8-42D7-9D7A-234039344DAE}"/>
                </a:ext>
              </a:extLst>
            </p:cNvPr>
            <p:cNvSpPr/>
            <p:nvPr/>
          </p:nvSpPr>
          <p:spPr>
            <a:xfrm>
              <a:off x="1066800" y="2266950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22" name="Picture 2" descr="EDA(Exploratory data analysis) : 탐색적 데이터 분석">
            <a:extLst>
              <a:ext uri="{FF2B5EF4-FFF2-40B4-BE49-F238E27FC236}">
                <a16:creationId xmlns:a16="http://schemas.microsoft.com/office/drawing/2014/main" xmlns="" id="{2445196C-DB32-44D3-9DC5-3071488A5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296" b="98724" l="4847" r="94898">
                        <a14:foregroundMark x1="23980" y1="10714" x2="23980" y2="10714"/>
                        <a14:foregroundMark x1="43878" y1="13520" x2="43878" y2="13520"/>
                        <a14:foregroundMark x1="53061" y1="16837" x2="53061" y2="16837"/>
                        <a14:foregroundMark x1="49490" y1="10459" x2="49490" y2="10459"/>
                        <a14:foregroundMark x1="57398" y1="6888" x2="57398" y2="6888"/>
                        <a14:foregroundMark x1="57398" y1="4592" x2="57398" y2="4592"/>
                        <a14:foregroundMark x1="53061" y1="2296" x2="53061" y2="2296"/>
                        <a14:foregroundMark x1="8929" y1="16582" x2="8929" y2="16582"/>
                        <a14:foregroundMark x1="5612" y1="24745" x2="5612" y2="24745"/>
                        <a14:foregroundMark x1="17602" y1="79337" x2="17602" y2="79337"/>
                        <a14:foregroundMark x1="38776" y1="80357" x2="38776" y2="80357"/>
                        <a14:foregroundMark x1="38776" y1="80357" x2="38776" y2="80357"/>
                        <a14:foregroundMark x1="38776" y1="80357" x2="38776" y2="80357"/>
                        <a14:foregroundMark x1="38776" y1="80357" x2="38776" y2="80357"/>
                        <a14:foregroundMark x1="14286" y1="82908" x2="14286" y2="82908"/>
                        <a14:foregroundMark x1="14541" y1="82908" x2="14541" y2="82908"/>
                        <a14:foregroundMark x1="9949" y1="75000" x2="9949" y2="75000"/>
                        <a14:foregroundMark x1="9694" y1="73980" x2="9694" y2="73980"/>
                        <a14:foregroundMark x1="3827" y1="65306" x2="6122" y2="78571"/>
                        <a14:foregroundMark x1="6122" y1="78571" x2="16837" y2="88010"/>
                        <a14:foregroundMark x1="16837" y1="88010" x2="51531" y2="92347"/>
                        <a14:foregroundMark x1="46173" y1="82143" x2="46173" y2="82143"/>
                        <a14:foregroundMark x1="46173" y1="82143" x2="46173" y2="82143"/>
                        <a14:foregroundMark x1="92347" y1="94898" x2="92347" y2="94898"/>
                        <a14:foregroundMark x1="94898" y1="98724" x2="94898" y2="987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97" y="4346763"/>
            <a:ext cx="2066468" cy="206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15">
            <a:extLst>
              <a:ext uri="{FF2B5EF4-FFF2-40B4-BE49-F238E27FC236}">
                <a16:creationId xmlns:a16="http://schemas.microsoft.com/office/drawing/2014/main" xmlns="" id="{8292B6E5-7A55-4669-82D9-24F1A7E7A9B7}"/>
              </a:ext>
            </a:extLst>
          </p:cNvPr>
          <p:cNvSpPr/>
          <p:nvPr/>
        </p:nvSpPr>
        <p:spPr>
          <a:xfrm rot="5400000">
            <a:off x="7037772" y="1861616"/>
            <a:ext cx="472195" cy="471568"/>
          </a:xfrm>
          <a:custGeom>
            <a:avLst/>
            <a:gdLst/>
            <a:ahLst/>
            <a:cxnLst/>
            <a:rect l="l" t="t" r="r" b="b"/>
            <a:pathLst>
              <a:path w="3244313" h="3240000">
                <a:moveTo>
                  <a:pt x="2055482" y="677891"/>
                </a:moveTo>
                <a:lnTo>
                  <a:pt x="2055482" y="209891"/>
                </a:lnTo>
                <a:lnTo>
                  <a:pt x="2919482" y="209891"/>
                </a:lnTo>
                <a:lnTo>
                  <a:pt x="2919482" y="677891"/>
                </a:lnTo>
                <a:close/>
                <a:moveTo>
                  <a:pt x="1695482" y="1397971"/>
                </a:moveTo>
                <a:lnTo>
                  <a:pt x="1695482" y="929971"/>
                </a:lnTo>
                <a:lnTo>
                  <a:pt x="2919482" y="929971"/>
                </a:lnTo>
                <a:lnTo>
                  <a:pt x="2919482" y="1397971"/>
                </a:lnTo>
                <a:close/>
                <a:moveTo>
                  <a:pt x="1335482" y="2118051"/>
                </a:moveTo>
                <a:lnTo>
                  <a:pt x="1335482" y="1650051"/>
                </a:lnTo>
                <a:lnTo>
                  <a:pt x="2919482" y="1650051"/>
                </a:lnTo>
                <a:lnTo>
                  <a:pt x="2919482" y="2118051"/>
                </a:lnTo>
                <a:close/>
                <a:moveTo>
                  <a:pt x="975482" y="2838131"/>
                </a:moveTo>
                <a:lnTo>
                  <a:pt x="975482" y="2370131"/>
                </a:lnTo>
                <a:lnTo>
                  <a:pt x="2919482" y="2370131"/>
                </a:lnTo>
                <a:lnTo>
                  <a:pt x="2919482" y="2838131"/>
                </a:lnTo>
                <a:close/>
                <a:moveTo>
                  <a:pt x="10788" y="2651034"/>
                </a:moveTo>
                <a:lnTo>
                  <a:pt x="1168116" y="646484"/>
                </a:lnTo>
                <a:lnTo>
                  <a:pt x="1038664" y="571745"/>
                </a:lnTo>
                <a:lnTo>
                  <a:pt x="1533856" y="311959"/>
                </a:lnTo>
                <a:lnTo>
                  <a:pt x="1556471" y="870701"/>
                </a:lnTo>
                <a:lnTo>
                  <a:pt x="1427019" y="795962"/>
                </a:lnTo>
                <a:lnTo>
                  <a:pt x="269691" y="2800512"/>
                </a:lnTo>
                <a:close/>
                <a:moveTo>
                  <a:pt x="0" y="3240000"/>
                </a:moveTo>
                <a:lnTo>
                  <a:pt x="0" y="3060000"/>
                </a:lnTo>
                <a:lnTo>
                  <a:pt x="3064313" y="3060000"/>
                </a:lnTo>
                <a:lnTo>
                  <a:pt x="3064313" y="0"/>
                </a:lnTo>
                <a:lnTo>
                  <a:pt x="3244313" y="0"/>
                </a:lnTo>
                <a:lnTo>
                  <a:pt x="3244313" y="3240000"/>
                </a:lnTo>
                <a:lnTo>
                  <a:pt x="3240000" y="3240000"/>
                </a:lnTo>
                <a:lnTo>
                  <a:pt x="3064313" y="324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ea typeface="08서울남산체 B" panose="02020603020101020101" pitchFamily="18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6FC27D8-A522-4C76-A8FC-9D8E9E5B0B0F}"/>
              </a:ext>
            </a:extLst>
          </p:cNvPr>
          <p:cNvSpPr txBox="1"/>
          <p:nvPr/>
        </p:nvSpPr>
        <p:spPr>
          <a:xfrm>
            <a:off x="2254663" y="1747990"/>
            <a:ext cx="7439025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. EDA</a:t>
            </a:r>
          </a:p>
          <a:p>
            <a:pPr marL="914400" indent="-914400" algn="ctr">
              <a:buAutoNum type="arabicPeriod"/>
            </a:pPr>
            <a:endParaRPr lang="en-US" altLang="ko-KR" sz="48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본격적인 모델링에 들어가기에 앞서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를 수집했을 때 이를 다양한 각도에서 관찰하고 이해하는 과정</a:t>
            </a:r>
            <a:endParaRPr lang="en-US" altLang="ko-KR" sz="22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를 분석하기 전에 그래프나 통계적인 방법으로 자료를 보다 직관적으로 바라보는 과정</a:t>
            </a:r>
            <a:endParaRPr lang="en-US" altLang="ko-KR" sz="22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en-US" altLang="ko-KR" sz="22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en-US" altLang="ko-KR" sz="22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어진 데이터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</a:p>
          <a:p>
            <a:pPr algn="ctr"/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Track2_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] trend_w_demo.csv</a:t>
            </a:r>
          </a:p>
          <a:p>
            <a:pPr algn="ctr"/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Track2_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] 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업종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_</a:t>
            </a:r>
            <a:r>
              <a:rPr lang="ko-KR" altLang="en-US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예시</a:t>
            </a:r>
            <a:r>
              <a:rPr lang="en-US" altLang="ko-KR" sz="2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csv</a:t>
            </a:r>
            <a:endParaRPr lang="ko-KR" altLang="en-US" sz="22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54977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그림 개체 틀 6">
            <a:extLst>
              <a:ext uri="{FF2B5EF4-FFF2-40B4-BE49-F238E27FC236}">
                <a16:creationId xmlns:a16="http://schemas.microsoft.com/office/drawing/2014/main" xmlns="" id="{181C112B-094D-4876-B6BC-526057E94A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grpSp>
        <p:nvGrpSpPr>
          <p:cNvPr id="4" name="Group 3"/>
          <p:cNvGrpSpPr/>
          <p:nvPr/>
        </p:nvGrpSpPr>
        <p:grpSpPr>
          <a:xfrm rot="5400000">
            <a:off x="5286374" y="-1180641"/>
            <a:ext cx="1619253" cy="3980536"/>
            <a:chOff x="1" y="1321321"/>
            <a:chExt cx="2051719" cy="2469467"/>
          </a:xfrm>
        </p:grpSpPr>
        <p:sp>
          <p:nvSpPr>
            <p:cNvPr id="5" name="Rectangle 4"/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5" name="그림 개체 틀 3">
            <a:extLst>
              <a:ext uri="{FF2B5EF4-FFF2-40B4-BE49-F238E27FC236}">
                <a16:creationId xmlns:a16="http://schemas.microsoft.com/office/drawing/2014/main" xmlns="" id="{6FBCF86E-4A41-47A3-85A1-7950AFBEF2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93"/>
          <a:stretch/>
        </p:blipFill>
        <p:spPr>
          <a:xfrm>
            <a:off x="1076325" y="2419351"/>
            <a:ext cx="10223177" cy="410243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309401" y="714675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EDA</a:t>
            </a:r>
          </a:p>
          <a:p>
            <a:pPr marL="0" indent="0">
              <a:buNone/>
            </a:pP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기본 구조 살펴보기</a:t>
            </a:r>
            <a:endParaRPr lang="en-US" altLang="ko-KR" sz="2000" dirty="0">
              <a:latin typeface="08서울남산체 B" panose="02020603020101020101" pitchFamily="18" charset="-127"/>
              <a:ea typeface="08서울남산체 B" panose="02020603020101020101" pitchFamily="18" charset="-127"/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Track2_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</a:t>
            </a: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] trend_w_demo.csv</a:t>
            </a:r>
          </a:p>
        </p:txBody>
      </p:sp>
      <p:grpSp>
        <p:nvGrpSpPr>
          <p:cNvPr id="30" name="그룹 29">
            <a:extLst>
              <a:ext uri="{FF2B5EF4-FFF2-40B4-BE49-F238E27FC236}">
                <a16:creationId xmlns:a16="http://schemas.microsoft.com/office/drawing/2014/main" xmlns="" id="{E4E77EDB-B115-4D4C-BA4B-BD0FB14C5851}"/>
              </a:ext>
            </a:extLst>
          </p:cNvPr>
          <p:cNvGrpSpPr/>
          <p:nvPr/>
        </p:nvGrpSpPr>
        <p:grpSpPr>
          <a:xfrm>
            <a:off x="1943100" y="2387384"/>
            <a:ext cx="1504950" cy="546316"/>
            <a:chOff x="1943100" y="1739684"/>
            <a:chExt cx="1504950" cy="546316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xmlns="" id="{C0C1C3D0-47A0-4CF2-98E1-1C8B16544715}"/>
                </a:ext>
              </a:extLst>
            </p:cNvPr>
            <p:cNvSpPr/>
            <p:nvPr/>
          </p:nvSpPr>
          <p:spPr>
            <a:xfrm>
              <a:off x="2057400" y="2057400"/>
              <a:ext cx="1390650" cy="2286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F02E1E2B-647E-4720-883E-5C3812A8521E}"/>
                </a:ext>
              </a:extLst>
            </p:cNvPr>
            <p:cNvSpPr txBox="1"/>
            <p:nvPr/>
          </p:nvSpPr>
          <p:spPr>
            <a:xfrm>
              <a:off x="1943100" y="1739684"/>
              <a:ext cx="5429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rgbClr val="FF0000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①</a:t>
              </a: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xmlns="" id="{81ECD953-6AF9-46E8-9C60-A3163896A49D}"/>
              </a:ext>
            </a:extLst>
          </p:cNvPr>
          <p:cNvGrpSpPr/>
          <p:nvPr/>
        </p:nvGrpSpPr>
        <p:grpSpPr>
          <a:xfrm>
            <a:off x="3324225" y="2371725"/>
            <a:ext cx="838275" cy="561975"/>
            <a:chOff x="3324225" y="1762125"/>
            <a:chExt cx="838275" cy="561975"/>
          </a:xfrm>
        </p:grpSpPr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xmlns="" id="{2A90C861-F192-4A88-80CD-6DA6E3B4C235}"/>
                </a:ext>
              </a:extLst>
            </p:cNvPr>
            <p:cNvSpPr/>
            <p:nvPr/>
          </p:nvSpPr>
          <p:spPr>
            <a:xfrm>
              <a:off x="3448050" y="2095500"/>
              <a:ext cx="714450" cy="228600"/>
            </a:xfrm>
            <a:prstGeom prst="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AA69EA99-3957-4735-9DA1-945F717ED29A}"/>
                </a:ext>
              </a:extLst>
            </p:cNvPr>
            <p:cNvSpPr txBox="1"/>
            <p:nvPr/>
          </p:nvSpPr>
          <p:spPr>
            <a:xfrm>
              <a:off x="3324225" y="1762125"/>
              <a:ext cx="2952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rgbClr val="075C86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②</a:t>
              </a:r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xmlns="" id="{DAAC260F-3F65-452A-8E81-7039F4674460}"/>
              </a:ext>
            </a:extLst>
          </p:cNvPr>
          <p:cNvGrpSpPr/>
          <p:nvPr/>
        </p:nvGrpSpPr>
        <p:grpSpPr>
          <a:xfrm>
            <a:off x="4048200" y="2376325"/>
            <a:ext cx="7260827" cy="557375"/>
            <a:chOff x="4048200" y="1804825"/>
            <a:chExt cx="7260827" cy="557375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xmlns="" id="{2741E88C-97DE-4A39-9C33-2E04980F19C4}"/>
                </a:ext>
              </a:extLst>
            </p:cNvPr>
            <p:cNvSpPr/>
            <p:nvPr/>
          </p:nvSpPr>
          <p:spPr>
            <a:xfrm>
              <a:off x="4162500" y="2133600"/>
              <a:ext cx="7146527" cy="228600"/>
            </a:xfrm>
            <a:prstGeom prst="rect">
              <a:avLst/>
            </a:prstGeom>
            <a:noFill/>
            <a:ln w="285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D10C3A31-7926-4000-A38A-564473654E9D}"/>
                </a:ext>
              </a:extLst>
            </p:cNvPr>
            <p:cNvSpPr txBox="1"/>
            <p:nvPr/>
          </p:nvSpPr>
          <p:spPr>
            <a:xfrm>
              <a:off x="4048200" y="1804825"/>
              <a:ext cx="5476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rgbClr val="FFC000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③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7698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그림 개체 틀 6">
            <a:extLst>
              <a:ext uri="{FF2B5EF4-FFF2-40B4-BE49-F238E27FC236}">
                <a16:creationId xmlns:a16="http://schemas.microsoft.com/office/drawing/2014/main" xmlns="" id="{8DC0844B-6215-49CF-A068-343D36CEE2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성별별</a:t>
            </a: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카테고리 소비 변화</a:t>
            </a:r>
            <a:endParaRPr lang="en-US" altLang="ko-KR" sz="35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indent="0">
              <a:buNone/>
            </a:pPr>
            <a:r>
              <a:rPr 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19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과 </a:t>
            </a: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을 중심으로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1" name="Group 3">
            <a:extLst>
              <a:ext uri="{FF2B5EF4-FFF2-40B4-BE49-F238E27FC236}">
                <a16:creationId xmlns:a16="http://schemas.microsoft.com/office/drawing/2014/main" xmlns="" id="{E3BA60AC-CD96-419D-B2D5-3761E385DF28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xmlns="" id="{31616B9C-DE84-4316-BCAD-CB38BD828B96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xmlns="" id="{3F62BF22-F98B-4EC4-A2FA-98EF9B21372D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xmlns="" id="{8B10AC77-C317-45A3-A972-D00D09915BD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xmlns="" id="{FF057A02-10EC-4C97-86AF-25FA5B1725B5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37" name="그림 개체 틀 3">
            <a:extLst>
              <a:ext uri="{FF2B5EF4-FFF2-40B4-BE49-F238E27FC236}">
                <a16:creationId xmlns:a16="http://schemas.microsoft.com/office/drawing/2014/main" xmlns="" id="{F1A35130-D1AB-4613-B950-CE554F6974A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" b="202"/>
          <a:stretch/>
        </p:blipFill>
        <p:spPr>
          <a:xfrm>
            <a:off x="885825" y="1904607"/>
            <a:ext cx="7172325" cy="443943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1" name="Pentagon 13">
            <a:extLst>
              <a:ext uri="{FF2B5EF4-FFF2-40B4-BE49-F238E27FC236}">
                <a16:creationId xmlns:a16="http://schemas.microsoft.com/office/drawing/2014/main" xmlns="" id="{8D835323-FEE3-46B3-A6E8-8802AF3F50FC}"/>
              </a:ext>
            </a:extLst>
          </p:cNvPr>
          <p:cNvSpPr/>
          <p:nvPr/>
        </p:nvSpPr>
        <p:spPr>
          <a:xfrm rot="10800000" flipV="1">
            <a:off x="8562971" y="2795422"/>
            <a:ext cx="3629025" cy="2319503"/>
          </a:xfrm>
          <a:prstGeom prst="homePlate">
            <a:avLst>
              <a:gd name="adj" fmla="val 19705"/>
            </a:avLst>
          </a:prstGeom>
          <a:solidFill>
            <a:srgbClr val="99FF9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∙ 왼쪽은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20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의 카테고리별 소비량이다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총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35000 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중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</a:t>
            </a:r>
          </a:p>
          <a:p>
            <a:pPr algn="ctr"/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∙ 오른쪽 파이차트에서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과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 사이에 카테고리별 소비에 많은 변화가 있었음을 알 수 있다</a:t>
            </a:r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89234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그림 개체 틀 6">
            <a:extLst>
              <a:ext uri="{FF2B5EF4-FFF2-40B4-BE49-F238E27FC236}">
                <a16:creationId xmlns:a16="http://schemas.microsoft.com/office/drawing/2014/main" xmlns="" id="{F5EEE683-855C-4E79-BFDC-24D55A36A7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성별별</a:t>
            </a: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카테고리 소비 변화</a:t>
            </a:r>
            <a:endParaRPr lang="en-US" altLang="ko-KR" sz="35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indent="0">
              <a:buNone/>
            </a:pPr>
            <a:r>
              <a:rPr 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19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과 </a:t>
            </a: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을 중심으로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1" name="Group 3">
            <a:extLst>
              <a:ext uri="{FF2B5EF4-FFF2-40B4-BE49-F238E27FC236}">
                <a16:creationId xmlns:a16="http://schemas.microsoft.com/office/drawing/2014/main" xmlns="" id="{E3BA60AC-CD96-419D-B2D5-3761E385DF28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xmlns="" id="{31616B9C-DE84-4316-BCAD-CB38BD828B96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xmlns="" id="{3F62BF22-F98B-4EC4-A2FA-98EF9B21372D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xmlns="" id="{8B10AC77-C317-45A3-A972-D00D09915BD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xmlns="" id="{FF057A02-10EC-4C97-86AF-25FA5B1725B5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17" name="Pentagon 13">
            <a:extLst>
              <a:ext uri="{FF2B5EF4-FFF2-40B4-BE49-F238E27FC236}">
                <a16:creationId xmlns:a16="http://schemas.microsoft.com/office/drawing/2014/main" xmlns="" id="{864BACCA-515E-4533-9823-588CD0A96AD4}"/>
              </a:ext>
            </a:extLst>
          </p:cNvPr>
          <p:cNvSpPr/>
          <p:nvPr/>
        </p:nvSpPr>
        <p:spPr>
          <a:xfrm rot="10800000" flipV="1">
            <a:off x="8229600" y="2802013"/>
            <a:ext cx="3962400" cy="2322438"/>
          </a:xfrm>
          <a:prstGeom prst="homePlate">
            <a:avLst>
              <a:gd name="adj" fmla="val 19705"/>
            </a:avLst>
          </a:prstGeom>
          <a:solidFill>
            <a:srgbClr val="99FF9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∙ 전반적인 소비량이 남성보다 많다</a:t>
            </a:r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∙ 하지만 파이차트를 확인하면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에서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의 소비 변화 추세는 비슷하다는 것을 확인할 수 있다</a:t>
            </a:r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성은 전체 소비자 중 </a:t>
            </a:r>
            <a:r>
              <a:rPr lang="en-US" altLang="ko-KR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53%</a:t>
            </a:r>
            <a:r>
              <a:rPr lang="ko-KR" alt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 차지한다</a:t>
            </a:r>
            <a:endParaRPr lang="en-US" altLang="ko-KR" sz="17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xmlns="" id="{86EE5AF1-C57E-435F-B3DB-8B6F194C56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420" b="93923" l="7273" r="95325">
                        <a14:foregroundMark x1="50390" y1="4420" x2="44675" y2="11878"/>
                        <a14:foregroundMark x1="89085" y1="50841" x2="88831" y2="51381"/>
                        <a14:foregroundMark x1="14545" y1="47238" x2="11169" y2="49724"/>
                        <a14:foregroundMark x1="7273" y1="48066" x2="12727" y2="52486"/>
                        <a14:foregroundMark x1="46234" y1="89503" x2="49610" y2="89503"/>
                        <a14:foregroundMark x1="49351" y1="93923" x2="52208" y2="92818"/>
                        <a14:backgroundMark x1="93247" y1="45028" x2="95584" y2="48343"/>
                        <a14:backgroundMark x1="96364" y1="49724" x2="96364" y2="49724"/>
                        <a14:backgroundMark x1="95844" y1="49724" x2="95065" y2="49724"/>
                        <a14:backgroundMark x1="96364" y1="48895" x2="95844" y2="497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396" y="5441268"/>
            <a:ext cx="860169" cy="808782"/>
          </a:xfrm>
          <a:prstGeom prst="rect">
            <a:avLst/>
          </a:prstGeom>
        </p:spPr>
      </p:pic>
      <p:pic>
        <p:nvPicPr>
          <p:cNvPr id="18" name="그림 개체 틀 7">
            <a:extLst>
              <a:ext uri="{FF2B5EF4-FFF2-40B4-BE49-F238E27FC236}">
                <a16:creationId xmlns:a16="http://schemas.microsoft.com/office/drawing/2014/main" xmlns="" id="{19822273-9945-4921-9D8A-A0A2D238FF2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"/>
          <a:stretch/>
        </p:blipFill>
        <p:spPr>
          <a:xfrm>
            <a:off x="866775" y="1914767"/>
            <a:ext cx="7060683" cy="4438800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75000"/>
            </a:schemeClr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9267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그림 개체 틀 6">
            <a:extLst>
              <a:ext uri="{FF2B5EF4-FFF2-40B4-BE49-F238E27FC236}">
                <a16:creationId xmlns:a16="http://schemas.microsoft.com/office/drawing/2014/main" xmlns="" id="{C6CC9D35-FC6E-4829-88EE-7504A542CA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테고리별 소비량 및 성비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1" name="Group 3">
            <a:extLst>
              <a:ext uri="{FF2B5EF4-FFF2-40B4-BE49-F238E27FC236}">
                <a16:creationId xmlns:a16="http://schemas.microsoft.com/office/drawing/2014/main" xmlns="" id="{E3BA60AC-CD96-419D-B2D5-3761E385DF28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xmlns="" id="{31616B9C-DE84-4316-BCAD-CB38BD828B96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xmlns="" id="{3F62BF22-F98B-4EC4-A2FA-98EF9B21372D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xmlns="" id="{8B10AC77-C317-45A3-A972-D00D09915BD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xmlns="" id="{FF057A02-10EC-4C97-86AF-25FA5B1725B5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13" name="그림 개체 틀 11">
            <a:extLst>
              <a:ext uri="{FF2B5EF4-FFF2-40B4-BE49-F238E27FC236}">
                <a16:creationId xmlns:a16="http://schemas.microsoft.com/office/drawing/2014/main" xmlns="" id="{5F4E3577-BF0A-476B-B2FF-7AA186951D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" t="-1" r="87" b="639"/>
          <a:stretch/>
        </p:blipFill>
        <p:spPr>
          <a:xfrm>
            <a:off x="678275" y="1535221"/>
            <a:ext cx="10915651" cy="48387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B5084F56-B477-4E1A-9410-F227CA178AAC}"/>
              </a:ext>
            </a:extLst>
          </p:cNvPr>
          <p:cNvSpPr/>
          <p:nvPr/>
        </p:nvSpPr>
        <p:spPr>
          <a:xfrm>
            <a:off x="5276850" y="6099391"/>
            <a:ext cx="2094968" cy="234734"/>
          </a:xfrm>
          <a:prstGeom prst="rect">
            <a:avLst/>
          </a:prstGeom>
          <a:noFill/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D3305BA2-0DF6-4510-BB81-1F3F5625038A}"/>
              </a:ext>
            </a:extLst>
          </p:cNvPr>
          <p:cNvGrpSpPr/>
          <p:nvPr/>
        </p:nvGrpSpPr>
        <p:grpSpPr>
          <a:xfrm>
            <a:off x="1151753" y="5958091"/>
            <a:ext cx="4010025" cy="759418"/>
            <a:chOff x="1238250" y="5944039"/>
            <a:chExt cx="4010025" cy="759418"/>
          </a:xfrm>
        </p:grpSpPr>
        <p:sp>
          <p:nvSpPr>
            <p:cNvPr id="25" name="Chevron 27">
              <a:extLst>
                <a:ext uri="{FF2B5EF4-FFF2-40B4-BE49-F238E27FC236}">
                  <a16:creationId xmlns:a16="http://schemas.microsoft.com/office/drawing/2014/main" xmlns="" id="{DC69A51A-0245-4349-9298-4ADACB90CE5E}"/>
                </a:ext>
              </a:extLst>
            </p:cNvPr>
            <p:cNvSpPr/>
            <p:nvPr/>
          </p:nvSpPr>
          <p:spPr>
            <a:xfrm>
              <a:off x="1238250" y="5944039"/>
              <a:ext cx="4010025" cy="721318"/>
            </a:xfrm>
            <a:prstGeom prst="chevron">
              <a:avLst>
                <a:gd name="adj" fmla="val 39922"/>
              </a:avLst>
            </a:prstGeom>
            <a:solidFill>
              <a:srgbClr val="E3EEAD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27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25EDA1A3-F1E2-4E97-BCB4-13F889A7E996}"/>
                </a:ext>
              </a:extLst>
            </p:cNvPr>
            <p:cNvSpPr txBox="1"/>
            <p:nvPr/>
          </p:nvSpPr>
          <p:spPr>
            <a:xfrm>
              <a:off x="1238250" y="5964793"/>
              <a:ext cx="367988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해당 카테고리의 </a:t>
              </a:r>
              <a:r>
                <a:rPr lang="ko-KR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성비</a:t>
              </a: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를 나타낸다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분홍색에 가까울수록 여성 비율이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, </a:t>
              </a: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하늘색에 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가까울수록 남성 비율이 높음을 의미한다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</p:txBody>
        </p:sp>
      </p:grpSp>
      <p:sp>
        <p:nvSpPr>
          <p:cNvPr id="36" name="사각형: 잘린 한쪽 모서리 35">
            <a:extLst>
              <a:ext uri="{FF2B5EF4-FFF2-40B4-BE49-F238E27FC236}">
                <a16:creationId xmlns:a16="http://schemas.microsoft.com/office/drawing/2014/main" xmlns="" id="{88E3C910-A354-478C-BCE4-03EC3DFB621F}"/>
              </a:ext>
            </a:extLst>
          </p:cNvPr>
          <p:cNvSpPr/>
          <p:nvPr/>
        </p:nvSpPr>
        <p:spPr>
          <a:xfrm>
            <a:off x="8086270" y="1781174"/>
            <a:ext cx="2999986" cy="781957"/>
          </a:xfrm>
          <a:prstGeom prst="snip1Rect">
            <a:avLst/>
          </a:prstGeom>
          <a:solidFill>
            <a:srgbClr val="668CFF">
              <a:alpha val="8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xmlns="" id="{FC178888-BAA7-4CE3-A830-00CEDBEBDEA9}"/>
              </a:ext>
            </a:extLst>
          </p:cNvPr>
          <p:cNvGrpSpPr/>
          <p:nvPr/>
        </p:nvGrpSpPr>
        <p:grpSpPr>
          <a:xfrm>
            <a:off x="7555795" y="1919310"/>
            <a:ext cx="3983127" cy="4104166"/>
            <a:chOff x="7555795" y="1919310"/>
            <a:chExt cx="3983127" cy="4104166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xmlns="" id="{017E275E-69F7-4CB8-AF8C-34D767F0F903}"/>
                </a:ext>
              </a:extLst>
            </p:cNvPr>
            <p:cNvGrpSpPr/>
            <p:nvPr/>
          </p:nvGrpSpPr>
          <p:grpSpPr>
            <a:xfrm>
              <a:off x="9722966" y="2568359"/>
              <a:ext cx="1815956" cy="3455117"/>
              <a:chOff x="9722966" y="2568359"/>
              <a:chExt cx="1815956" cy="3455117"/>
            </a:xfrm>
          </p:grpSpPr>
          <p:sp>
            <p:nvSpPr>
              <p:cNvPr id="31" name="원형: 비어 있음 30">
                <a:extLst>
                  <a:ext uri="{FF2B5EF4-FFF2-40B4-BE49-F238E27FC236}">
                    <a16:creationId xmlns:a16="http://schemas.microsoft.com/office/drawing/2014/main" xmlns="" id="{932818BE-4C01-4EA9-AD10-2572C3288C9E}"/>
                  </a:ext>
                </a:extLst>
              </p:cNvPr>
              <p:cNvSpPr/>
              <p:nvPr/>
            </p:nvSpPr>
            <p:spPr>
              <a:xfrm>
                <a:off x="10566922" y="5051476"/>
                <a:ext cx="972000" cy="972000"/>
              </a:xfrm>
              <a:prstGeom prst="donut">
                <a:avLst>
                  <a:gd name="adj" fmla="val 2907"/>
                </a:avLst>
              </a:prstGeom>
              <a:solidFill>
                <a:srgbClr val="668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solidFill>
                    <a:schemeClr val="tx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</p:txBody>
          </p:sp>
          <p:cxnSp>
            <p:nvCxnSpPr>
              <p:cNvPr id="35" name="연결선: 꺾임 34">
                <a:extLst>
                  <a:ext uri="{FF2B5EF4-FFF2-40B4-BE49-F238E27FC236}">
                    <a16:creationId xmlns:a16="http://schemas.microsoft.com/office/drawing/2014/main" xmlns="" id="{7E02C75E-F02D-4971-B28F-BFC1AC5F2201}"/>
                  </a:ext>
                </a:extLst>
              </p:cNvPr>
              <p:cNvCxnSpPr>
                <a:cxnSpLocks/>
                <a:stCxn id="31" idx="0"/>
              </p:cNvCxnSpPr>
              <p:nvPr/>
            </p:nvCxnSpPr>
            <p:spPr>
              <a:xfrm rot="16200000" flipV="1">
                <a:off x="9146386" y="3144939"/>
                <a:ext cx="2483117" cy="1329957"/>
              </a:xfrm>
              <a:prstGeom prst="bentConnector3">
                <a:avLst>
                  <a:gd name="adj1" fmla="val 73399"/>
                </a:avLst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xmlns="" id="{1B5B30FC-F114-49A7-98D0-05BBD6375294}"/>
                </a:ext>
              </a:extLst>
            </p:cNvPr>
            <p:cNvGrpSpPr/>
            <p:nvPr/>
          </p:nvGrpSpPr>
          <p:grpSpPr>
            <a:xfrm>
              <a:off x="7555795" y="1919310"/>
              <a:ext cx="3453361" cy="3987930"/>
              <a:chOff x="7555795" y="1919310"/>
              <a:chExt cx="3453361" cy="3987930"/>
            </a:xfrm>
          </p:grpSpPr>
          <p:grpSp>
            <p:nvGrpSpPr>
              <p:cNvPr id="11" name="그룹 10">
                <a:extLst>
                  <a:ext uri="{FF2B5EF4-FFF2-40B4-BE49-F238E27FC236}">
                    <a16:creationId xmlns:a16="http://schemas.microsoft.com/office/drawing/2014/main" xmlns="" id="{EDEC4E41-3C45-4F87-883B-2769D68F875C}"/>
                  </a:ext>
                </a:extLst>
              </p:cNvPr>
              <p:cNvGrpSpPr/>
              <p:nvPr/>
            </p:nvGrpSpPr>
            <p:grpSpPr>
              <a:xfrm>
                <a:off x="7555795" y="2568360"/>
                <a:ext cx="1815959" cy="3338880"/>
                <a:chOff x="7555795" y="2568360"/>
                <a:chExt cx="1815959" cy="3338880"/>
              </a:xfrm>
            </p:grpSpPr>
            <p:sp>
              <p:nvSpPr>
                <p:cNvPr id="9" name="원형: 비어 있음 8">
                  <a:extLst>
                    <a:ext uri="{FF2B5EF4-FFF2-40B4-BE49-F238E27FC236}">
                      <a16:creationId xmlns:a16="http://schemas.microsoft.com/office/drawing/2014/main" xmlns="" id="{D9E4A1FD-51FF-4597-B52D-E0B3D14B6853}"/>
                    </a:ext>
                  </a:extLst>
                </p:cNvPr>
                <p:cNvSpPr/>
                <p:nvPr/>
              </p:nvSpPr>
              <p:spPr>
                <a:xfrm>
                  <a:off x="7555795" y="4935240"/>
                  <a:ext cx="972000" cy="972000"/>
                </a:xfrm>
                <a:prstGeom prst="donut">
                  <a:avLst>
                    <a:gd name="adj" fmla="val 2907"/>
                  </a:avLst>
                </a:prstGeom>
                <a:solidFill>
                  <a:srgbClr val="668C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>
                    <a:solidFill>
                      <a:schemeClr val="tx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endParaRPr>
                </a:p>
              </p:txBody>
            </p:sp>
            <p:cxnSp>
              <p:nvCxnSpPr>
                <p:cNvPr id="17" name="연결선: 꺾임 16">
                  <a:extLst>
                    <a:ext uri="{FF2B5EF4-FFF2-40B4-BE49-F238E27FC236}">
                      <a16:creationId xmlns:a16="http://schemas.microsoft.com/office/drawing/2014/main" xmlns="" id="{04DFD444-91DB-4232-999E-841842482835}"/>
                    </a:ext>
                  </a:extLst>
                </p:cNvPr>
                <p:cNvCxnSpPr>
                  <a:cxnSpLocks/>
                  <a:stCxn id="9" idx="0"/>
                </p:cNvCxnSpPr>
                <p:nvPr/>
              </p:nvCxnSpPr>
              <p:spPr>
                <a:xfrm rot="5400000" flipH="1" flipV="1">
                  <a:off x="7523334" y="3086821"/>
                  <a:ext cx="2366881" cy="1329959"/>
                </a:xfrm>
                <a:prstGeom prst="bentConnector3">
                  <a:avLst>
                    <a:gd name="adj1" fmla="val 70926"/>
                  </a:avLst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xmlns="" id="{11BBB302-58A6-40DE-87E3-0D32C199726D}"/>
                  </a:ext>
                </a:extLst>
              </p:cNvPr>
              <p:cNvSpPr txBox="1"/>
              <p:nvPr/>
            </p:nvSpPr>
            <p:spPr>
              <a:xfrm>
                <a:off x="8157585" y="1919310"/>
                <a:ext cx="2851571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남성 비율이 가장 높은 카테고리</a:t>
                </a:r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:</a:t>
                </a:r>
              </a:p>
              <a:p>
                <a:r>
                  <a:rPr lang="ko-KR" altLang="en-US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취미 </a:t>
                </a:r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&amp; </a:t>
                </a:r>
                <a:r>
                  <a:rPr lang="ko-KR" altLang="en-US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호텔</a:t>
                </a:r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/</a:t>
                </a:r>
                <a:r>
                  <a:rPr lang="ko-KR" altLang="en-US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숙박</a:t>
                </a:r>
              </a:p>
            </p:txBody>
          </p:sp>
        </p:grpSp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xmlns="" id="{468C5D16-7BF2-409B-BC1B-116E7BD56C33}"/>
              </a:ext>
            </a:extLst>
          </p:cNvPr>
          <p:cNvGrpSpPr/>
          <p:nvPr/>
        </p:nvGrpSpPr>
        <p:grpSpPr>
          <a:xfrm>
            <a:off x="2493696" y="1926850"/>
            <a:ext cx="5017460" cy="4008966"/>
            <a:chOff x="2493696" y="1926850"/>
            <a:chExt cx="5017460" cy="4008966"/>
          </a:xfrm>
        </p:grpSpPr>
        <p:sp>
          <p:nvSpPr>
            <p:cNvPr id="33" name="원형: 비어 있음 32">
              <a:extLst>
                <a:ext uri="{FF2B5EF4-FFF2-40B4-BE49-F238E27FC236}">
                  <a16:creationId xmlns:a16="http://schemas.microsoft.com/office/drawing/2014/main" xmlns="" id="{B51ED7B9-9AA9-415B-88B7-80E50BC8FCD5}"/>
                </a:ext>
              </a:extLst>
            </p:cNvPr>
            <p:cNvSpPr/>
            <p:nvPr/>
          </p:nvSpPr>
          <p:spPr>
            <a:xfrm>
              <a:off x="6539156" y="4963816"/>
              <a:ext cx="972000" cy="972000"/>
            </a:xfrm>
            <a:prstGeom prst="donut">
              <a:avLst>
                <a:gd name="adj" fmla="val 2907"/>
              </a:avLst>
            </a:prstGeom>
            <a:solidFill>
              <a:srgbClr val="FF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xmlns="" id="{B1F844E1-5F82-4DC5-AB34-8412B78CD9D7}"/>
                </a:ext>
              </a:extLst>
            </p:cNvPr>
            <p:cNvGrpSpPr/>
            <p:nvPr/>
          </p:nvGrpSpPr>
          <p:grpSpPr>
            <a:xfrm>
              <a:off x="2493696" y="1926850"/>
              <a:ext cx="4531461" cy="3986929"/>
              <a:chOff x="2493696" y="1926850"/>
              <a:chExt cx="4531461" cy="3986929"/>
            </a:xfrm>
          </p:grpSpPr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xmlns="" id="{0922A43B-E0A3-47CA-84C7-F6E6545ACF57}"/>
                  </a:ext>
                </a:extLst>
              </p:cNvPr>
              <p:cNvGrpSpPr/>
              <p:nvPr/>
            </p:nvGrpSpPr>
            <p:grpSpPr>
              <a:xfrm>
                <a:off x="2493696" y="1926850"/>
                <a:ext cx="2879405" cy="3986929"/>
                <a:chOff x="2493696" y="1926850"/>
                <a:chExt cx="2879405" cy="3986929"/>
              </a:xfrm>
            </p:grpSpPr>
            <p:sp>
              <p:nvSpPr>
                <p:cNvPr id="32" name="원형: 비어 있음 31">
                  <a:extLst>
                    <a:ext uri="{FF2B5EF4-FFF2-40B4-BE49-F238E27FC236}">
                      <a16:creationId xmlns:a16="http://schemas.microsoft.com/office/drawing/2014/main" xmlns="" id="{0389D652-2DF1-4EB4-BC2B-DA2020EF76D7}"/>
                    </a:ext>
                  </a:extLst>
                </p:cNvPr>
                <p:cNvSpPr/>
                <p:nvPr/>
              </p:nvSpPr>
              <p:spPr>
                <a:xfrm>
                  <a:off x="3556604" y="4941779"/>
                  <a:ext cx="972000" cy="972000"/>
                </a:xfrm>
                <a:prstGeom prst="donut">
                  <a:avLst>
                    <a:gd name="adj" fmla="val 2907"/>
                  </a:avLst>
                </a:prstGeom>
                <a:solidFill>
                  <a:srgbClr val="FF66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>
                    <a:solidFill>
                      <a:schemeClr val="tx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endParaRPr>
                </a:p>
              </p:txBody>
            </p:sp>
            <p:grpSp>
              <p:nvGrpSpPr>
                <p:cNvPr id="4" name="그룹 3">
                  <a:extLst>
                    <a:ext uri="{FF2B5EF4-FFF2-40B4-BE49-F238E27FC236}">
                      <a16:creationId xmlns:a16="http://schemas.microsoft.com/office/drawing/2014/main" xmlns="" id="{AD2F604C-C112-4419-AE66-4A7F8CF38212}"/>
                    </a:ext>
                  </a:extLst>
                </p:cNvPr>
                <p:cNvGrpSpPr/>
                <p:nvPr/>
              </p:nvGrpSpPr>
              <p:grpSpPr>
                <a:xfrm>
                  <a:off x="2493696" y="1926850"/>
                  <a:ext cx="2879405" cy="2968039"/>
                  <a:chOff x="2493696" y="1926850"/>
                  <a:chExt cx="2879405" cy="2968039"/>
                </a:xfrm>
              </p:grpSpPr>
              <p:grpSp>
                <p:nvGrpSpPr>
                  <p:cNvPr id="45" name="그룹 44">
                    <a:extLst>
                      <a:ext uri="{FF2B5EF4-FFF2-40B4-BE49-F238E27FC236}">
                        <a16:creationId xmlns:a16="http://schemas.microsoft.com/office/drawing/2014/main" xmlns="" id="{78D918CB-0623-4B33-B107-794562218375}"/>
                      </a:ext>
                    </a:extLst>
                  </p:cNvPr>
                  <p:cNvGrpSpPr/>
                  <p:nvPr/>
                </p:nvGrpSpPr>
                <p:grpSpPr>
                  <a:xfrm>
                    <a:off x="2493696" y="1926850"/>
                    <a:ext cx="2879405" cy="721318"/>
                    <a:chOff x="2619373" y="2118039"/>
                    <a:chExt cx="2879405" cy="721318"/>
                  </a:xfrm>
                </p:grpSpPr>
                <p:sp>
                  <p:nvSpPr>
                    <p:cNvPr id="43" name="사각형: 위쪽 모서리의 한쪽은 둥글고 다른 한쪽은 잘림 42">
                      <a:extLst>
                        <a:ext uri="{FF2B5EF4-FFF2-40B4-BE49-F238E27FC236}">
                          <a16:creationId xmlns:a16="http://schemas.microsoft.com/office/drawing/2014/main" xmlns="" id="{E5C75AB9-5E6F-4520-B685-0B95B8544605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2619373" y="2118039"/>
                      <a:ext cx="2879405" cy="721318"/>
                    </a:xfrm>
                    <a:prstGeom prst="snipRoundRect">
                      <a:avLst>
                        <a:gd name="adj1" fmla="val 0"/>
                        <a:gd name="adj2" fmla="val 16667"/>
                      </a:avLst>
                    </a:prstGeom>
                    <a:solidFill>
                      <a:srgbClr val="FF6666">
                        <a:alpha val="69804"/>
                      </a:srgb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  <p:sp>
                  <p:nvSpPr>
                    <p:cNvPr id="44" name="TextBox 43">
                      <a:extLst>
                        <a:ext uri="{FF2B5EF4-FFF2-40B4-BE49-F238E27FC236}">
                          <a16:creationId xmlns:a16="http://schemas.microsoft.com/office/drawing/2014/main" xmlns="" id="{25A115B6-4C66-4665-AD46-110A5993996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645023" y="2211697"/>
                      <a:ext cx="2795284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ko-KR" altLang="en-US" sz="1600" dirty="0"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rPr>
                        <a:t>여성 비율이 가장 높은 카테고리</a:t>
                      </a:r>
                      <a:r>
                        <a:rPr lang="en-US" altLang="ko-KR" sz="1600" dirty="0"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rPr>
                        <a:t>:</a:t>
                      </a:r>
                    </a:p>
                    <a:p>
                      <a:r>
                        <a:rPr lang="ko-KR" altLang="en-US" sz="1600" dirty="0"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rPr>
                        <a:t>뷰티 </a:t>
                      </a:r>
                      <a:r>
                        <a:rPr lang="en-US" altLang="ko-KR" sz="1600" dirty="0"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rPr>
                        <a:t>&amp; </a:t>
                      </a:r>
                      <a:r>
                        <a:rPr lang="ko-KR" altLang="en-US" sz="1600" dirty="0" err="1">
                          <a:latin typeface="08서울남산체 B" panose="02020603020101020101" pitchFamily="18" charset="-127"/>
                          <a:ea typeface="08서울남산체 B" panose="02020603020101020101" pitchFamily="18" charset="-127"/>
                        </a:rPr>
                        <a:t>종합몰</a:t>
                      </a:r>
                      <a:endParaRPr lang="ko-KR" altLang="en-US" sz="1600" dirty="0">
                        <a:latin typeface="08서울남산체 B" panose="02020603020101020101" pitchFamily="18" charset="-127"/>
                        <a:ea typeface="08서울남산체 B" panose="02020603020101020101" pitchFamily="18" charset="-127"/>
                      </a:endParaRPr>
                    </a:p>
                  </p:txBody>
                </p:sp>
              </p:grpSp>
              <p:cxnSp>
                <p:nvCxnSpPr>
                  <p:cNvPr id="47" name="직선 화살표 연결선 46">
                    <a:extLst>
                      <a:ext uri="{FF2B5EF4-FFF2-40B4-BE49-F238E27FC236}">
                        <a16:creationId xmlns:a16="http://schemas.microsoft.com/office/drawing/2014/main" xmlns="" id="{D89F35B2-8B67-41B4-9E5B-D26E6E215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4035531" y="2648168"/>
                    <a:ext cx="0" cy="2246721"/>
                  </a:xfrm>
                  <a:prstGeom prst="straightConnector1">
                    <a:avLst/>
                  </a:prstGeom>
                  <a:ln>
                    <a:solidFill>
                      <a:srgbClr val="FF6666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4" name="연결선: 꺾임 53">
                <a:extLst>
                  <a:ext uri="{FF2B5EF4-FFF2-40B4-BE49-F238E27FC236}">
                    <a16:creationId xmlns:a16="http://schemas.microsoft.com/office/drawing/2014/main" xmlns="" id="{43087ACD-75CE-4213-A54F-F6673BC5E830}"/>
                  </a:ext>
                </a:extLst>
              </p:cNvPr>
              <p:cNvCxnSpPr>
                <a:stCxn id="33" idx="0"/>
                <a:endCxn id="43" idx="2"/>
              </p:cNvCxnSpPr>
              <p:nvPr/>
            </p:nvCxnSpPr>
            <p:spPr>
              <a:xfrm rot="16200000" flipV="1">
                <a:off x="4860976" y="2799635"/>
                <a:ext cx="2676307" cy="1652055"/>
              </a:xfrm>
              <a:prstGeom prst="bentConnector2">
                <a:avLst/>
              </a:prstGeom>
              <a:ln>
                <a:solidFill>
                  <a:srgbClr val="FF666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183044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그림 개체 틀 6">
            <a:extLst>
              <a:ext uri="{FF2B5EF4-FFF2-40B4-BE49-F238E27FC236}">
                <a16:creationId xmlns:a16="http://schemas.microsoft.com/office/drawing/2014/main" xmlns="" id="{288974EC-C7D6-4DC0-BA5B-B682D3EB9E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대 확인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1" name="Group 3">
            <a:extLst>
              <a:ext uri="{FF2B5EF4-FFF2-40B4-BE49-F238E27FC236}">
                <a16:creationId xmlns:a16="http://schemas.microsoft.com/office/drawing/2014/main" xmlns="" id="{E3BA60AC-CD96-419D-B2D5-3761E385DF28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xmlns="" id="{31616B9C-DE84-4316-BCAD-CB38BD828B96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xmlns="" id="{3F62BF22-F98B-4EC4-A2FA-98EF9B21372D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xmlns="" id="{8B10AC77-C317-45A3-A972-D00D09915BD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xmlns="" id="{FF057A02-10EC-4C97-86AF-25FA5B1725B5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xmlns="" id="{A0402E9E-15A2-48A9-84B6-AE8CA90E764E}"/>
              </a:ext>
            </a:extLst>
          </p:cNvPr>
          <p:cNvGrpSpPr/>
          <p:nvPr/>
        </p:nvGrpSpPr>
        <p:grpSpPr>
          <a:xfrm>
            <a:off x="1066800" y="2266950"/>
            <a:ext cx="6305018" cy="2385847"/>
            <a:chOff x="1066800" y="2266950"/>
            <a:chExt cx="6305018" cy="2385847"/>
          </a:xfrm>
        </p:grpSpPr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xmlns="" id="{86AC8825-A058-4B70-A957-EF4FF57A44F8}"/>
                </a:ext>
              </a:extLst>
            </p:cNvPr>
            <p:cNvSpPr/>
            <p:nvPr/>
          </p:nvSpPr>
          <p:spPr>
            <a:xfrm>
              <a:off x="4576534" y="2795422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xmlns="" id="{F5850E2E-35D4-492A-B567-FF1BD462A892}"/>
                </a:ext>
              </a:extLst>
            </p:cNvPr>
            <p:cNvSpPr/>
            <p:nvPr/>
          </p:nvSpPr>
          <p:spPr>
            <a:xfrm>
              <a:off x="1066800" y="2266950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19" name="그림 18">
            <a:extLst>
              <a:ext uri="{FF2B5EF4-FFF2-40B4-BE49-F238E27FC236}">
                <a16:creationId xmlns:a16="http://schemas.microsoft.com/office/drawing/2014/main" xmlns="" id="{46457D8B-D6BB-4B43-8A96-CE2B10DF41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323" y="1319224"/>
            <a:ext cx="7855354" cy="5359675"/>
          </a:xfrm>
          <a:prstGeom prst="rect">
            <a:avLst/>
          </a:prstGeom>
        </p:spPr>
      </p:pic>
      <p:grpSp>
        <p:nvGrpSpPr>
          <p:cNvPr id="20" name="그룹 19">
            <a:extLst>
              <a:ext uri="{FF2B5EF4-FFF2-40B4-BE49-F238E27FC236}">
                <a16:creationId xmlns:a16="http://schemas.microsoft.com/office/drawing/2014/main" xmlns="" id="{6AFE4C60-BF8D-49B5-B9E2-5EE54B3E1EA1}"/>
              </a:ext>
            </a:extLst>
          </p:cNvPr>
          <p:cNvGrpSpPr/>
          <p:nvPr/>
        </p:nvGrpSpPr>
        <p:grpSpPr>
          <a:xfrm>
            <a:off x="8934684" y="483921"/>
            <a:ext cx="2999986" cy="1433024"/>
            <a:chOff x="8382234" y="1593554"/>
            <a:chExt cx="2999986" cy="1433024"/>
          </a:xfrm>
        </p:grpSpPr>
        <p:sp>
          <p:nvSpPr>
            <p:cNvPr id="28" name="사각형: 잘린 한쪽 모서리 27">
              <a:extLst>
                <a:ext uri="{FF2B5EF4-FFF2-40B4-BE49-F238E27FC236}">
                  <a16:creationId xmlns:a16="http://schemas.microsoft.com/office/drawing/2014/main" xmlns="" id="{C563702E-57AB-4042-8078-9714B89501CB}"/>
                </a:ext>
              </a:extLst>
            </p:cNvPr>
            <p:cNvSpPr/>
            <p:nvPr/>
          </p:nvSpPr>
          <p:spPr>
            <a:xfrm>
              <a:off x="8382234" y="1593554"/>
              <a:ext cx="2999986" cy="1433024"/>
            </a:xfrm>
            <a:prstGeom prst="snip1Rect">
              <a:avLst/>
            </a:prstGeom>
            <a:solidFill>
              <a:srgbClr val="FF8000">
                <a:alpha val="69804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99FBA0AD-9070-4C96-A03B-637FADDF8FE9}"/>
                </a:ext>
              </a:extLst>
            </p:cNvPr>
            <p:cNvSpPr txBox="1"/>
            <p:nvPr/>
          </p:nvSpPr>
          <p:spPr>
            <a:xfrm>
              <a:off x="8382234" y="1703139"/>
              <a:ext cx="2851571" cy="132343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전체 데이터 중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, 8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개의 연령대의 수치를 시각화해 보았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  <a:p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D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가 가장 많은 소비 패턴을 보였으며 반면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B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는 가장 적은 수치를 기록했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</p:txBody>
        </p:sp>
      </p:grpSp>
      <p:cxnSp>
        <p:nvCxnSpPr>
          <p:cNvPr id="4" name="연결선: 구부러짐 3">
            <a:extLst>
              <a:ext uri="{FF2B5EF4-FFF2-40B4-BE49-F238E27FC236}">
                <a16:creationId xmlns:a16="http://schemas.microsoft.com/office/drawing/2014/main" xmlns="" id="{3FE0138A-2259-4E49-A961-917803D023D2}"/>
              </a:ext>
            </a:extLst>
          </p:cNvPr>
          <p:cNvCxnSpPr/>
          <p:nvPr/>
        </p:nvCxnSpPr>
        <p:spPr>
          <a:xfrm flipV="1">
            <a:off x="6505575" y="1076325"/>
            <a:ext cx="2286000" cy="1828800"/>
          </a:xfrm>
          <a:prstGeom prst="curvedConnector3">
            <a:avLst>
              <a:gd name="adj1" fmla="val 30833"/>
            </a:avLst>
          </a:prstGeom>
          <a:ln>
            <a:solidFill>
              <a:srgbClr val="E67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6457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그림 개체 틀 6">
            <a:extLst>
              <a:ext uri="{FF2B5EF4-FFF2-40B4-BE49-F238E27FC236}">
                <a16:creationId xmlns:a16="http://schemas.microsoft.com/office/drawing/2014/main" xmlns="" id="{F3695FF9-F777-4056-ACFE-988510853C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B0C86825-8F54-4EDF-AA1F-3D37A6EBEF27}"/>
              </a:ext>
            </a:extLst>
          </p:cNvPr>
          <p:cNvSpPr/>
          <p:nvPr/>
        </p:nvSpPr>
        <p:spPr>
          <a:xfrm>
            <a:off x="4576534" y="2795422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2B47D0-E0A8-42D7-9D7A-234039344DAE}"/>
              </a:ext>
            </a:extLst>
          </p:cNvPr>
          <p:cNvSpPr/>
          <p:nvPr/>
        </p:nvSpPr>
        <p:spPr>
          <a:xfrm>
            <a:off x="1066800" y="2266950"/>
            <a:ext cx="2795284" cy="185737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BFBFBF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xmlns="" id="{4D72882B-E485-4785-9CC9-CFAD3DB1ED07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스코어별 소비 및 성비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1" name="Group 3">
            <a:extLst>
              <a:ext uri="{FF2B5EF4-FFF2-40B4-BE49-F238E27FC236}">
                <a16:creationId xmlns:a16="http://schemas.microsoft.com/office/drawing/2014/main" xmlns="" id="{E3BA60AC-CD96-419D-B2D5-3761E385DF28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xmlns="" id="{31616B9C-DE84-4316-BCAD-CB38BD828B96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xmlns="" id="{3F62BF22-F98B-4EC4-A2FA-98EF9B21372D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xmlns="" id="{8B10AC77-C317-45A3-A972-D00D09915BD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xmlns="" id="{FF057A02-10EC-4C97-86AF-25FA5B1725B5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xmlns="" id="{2EB87E2D-C050-4A97-86D5-296C8E4E0A10}"/>
              </a:ext>
            </a:extLst>
          </p:cNvPr>
          <p:cNvGrpSpPr/>
          <p:nvPr/>
        </p:nvGrpSpPr>
        <p:grpSpPr>
          <a:xfrm>
            <a:off x="1066800" y="2266950"/>
            <a:ext cx="6305018" cy="2385847"/>
            <a:chOff x="1066800" y="2266950"/>
            <a:chExt cx="6305018" cy="2385847"/>
          </a:xfrm>
        </p:grpSpPr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xmlns="" id="{E02475CA-4404-48B0-BEB9-65AA4FDA4BEE}"/>
                </a:ext>
              </a:extLst>
            </p:cNvPr>
            <p:cNvSpPr/>
            <p:nvPr/>
          </p:nvSpPr>
          <p:spPr>
            <a:xfrm>
              <a:off x="4576534" y="2795422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xmlns="" id="{2B3BEE3A-30B8-480C-ABF1-1843C108D2AB}"/>
                </a:ext>
              </a:extLst>
            </p:cNvPr>
            <p:cNvSpPr/>
            <p:nvPr/>
          </p:nvSpPr>
          <p:spPr>
            <a:xfrm>
              <a:off x="1066800" y="2266950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29" name="그림 28">
            <a:extLst>
              <a:ext uri="{FF2B5EF4-FFF2-40B4-BE49-F238E27FC236}">
                <a16:creationId xmlns:a16="http://schemas.microsoft.com/office/drawing/2014/main" xmlns="" id="{A412097D-BB67-4917-9DA7-CC25DAF3BF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818" y="1370051"/>
            <a:ext cx="9051672" cy="5089661"/>
          </a:xfrm>
          <a:prstGeom prst="rect">
            <a:avLst/>
          </a:prstGeom>
        </p:spPr>
      </p:pic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D3305BA2-0DF6-4510-BB81-1F3F5625038A}"/>
              </a:ext>
            </a:extLst>
          </p:cNvPr>
          <p:cNvGrpSpPr/>
          <p:nvPr/>
        </p:nvGrpSpPr>
        <p:grpSpPr>
          <a:xfrm>
            <a:off x="1066479" y="6022250"/>
            <a:ext cx="4010025" cy="759418"/>
            <a:chOff x="1238250" y="5944039"/>
            <a:chExt cx="4010025" cy="759418"/>
          </a:xfrm>
        </p:grpSpPr>
        <p:sp>
          <p:nvSpPr>
            <p:cNvPr id="25" name="Chevron 27">
              <a:extLst>
                <a:ext uri="{FF2B5EF4-FFF2-40B4-BE49-F238E27FC236}">
                  <a16:creationId xmlns:a16="http://schemas.microsoft.com/office/drawing/2014/main" xmlns="" id="{DC69A51A-0245-4349-9298-4ADACB90CE5E}"/>
                </a:ext>
              </a:extLst>
            </p:cNvPr>
            <p:cNvSpPr/>
            <p:nvPr/>
          </p:nvSpPr>
          <p:spPr>
            <a:xfrm>
              <a:off x="1238250" y="5944039"/>
              <a:ext cx="4010025" cy="721318"/>
            </a:xfrm>
            <a:prstGeom prst="chevron">
              <a:avLst>
                <a:gd name="adj" fmla="val 39922"/>
              </a:avLst>
            </a:prstGeom>
            <a:solidFill>
              <a:srgbClr val="E3EEAD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27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25EDA1A3-F1E2-4E97-BCB4-13F889A7E996}"/>
                </a:ext>
              </a:extLst>
            </p:cNvPr>
            <p:cNvSpPr txBox="1"/>
            <p:nvPr/>
          </p:nvSpPr>
          <p:spPr>
            <a:xfrm>
              <a:off x="1238250" y="5964793"/>
              <a:ext cx="367988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해당 카테고리의 </a:t>
              </a:r>
              <a:r>
                <a:rPr lang="ko-KR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성비</a:t>
              </a: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를 나타낸다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노랑색에 가까울수록 여성 비율이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, </a:t>
              </a: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파랑색에 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algn="r"/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가까울수록 남성 비율이 높음을 의미한다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.</a:t>
              </a:r>
            </a:p>
          </p:txBody>
        </p:sp>
      </p:grpSp>
      <p:sp>
        <p:nvSpPr>
          <p:cNvPr id="30" name="원형: 비어 있음 29">
            <a:extLst>
              <a:ext uri="{FF2B5EF4-FFF2-40B4-BE49-F238E27FC236}">
                <a16:creationId xmlns:a16="http://schemas.microsoft.com/office/drawing/2014/main" xmlns="" id="{5C5AE982-FB9C-4AD5-B959-42CBD3218B85}"/>
              </a:ext>
            </a:extLst>
          </p:cNvPr>
          <p:cNvSpPr/>
          <p:nvPr/>
        </p:nvSpPr>
        <p:spPr>
          <a:xfrm>
            <a:off x="9508757" y="5289601"/>
            <a:ext cx="972000" cy="972000"/>
          </a:xfrm>
          <a:prstGeom prst="donut">
            <a:avLst>
              <a:gd name="adj" fmla="val 2907"/>
            </a:avLst>
          </a:prstGeom>
          <a:solidFill>
            <a:srgbClr val="00CC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xmlns="" id="{4638B81F-2BC5-4C66-92B8-25275ED51C13}"/>
              </a:ext>
            </a:extLst>
          </p:cNvPr>
          <p:cNvCxnSpPr/>
          <p:nvPr/>
        </p:nvCxnSpPr>
        <p:spPr>
          <a:xfrm flipV="1">
            <a:off x="10010775" y="2495550"/>
            <a:ext cx="0" cy="2771775"/>
          </a:xfrm>
          <a:prstGeom prst="straightConnector1">
            <a:avLst/>
          </a:prstGeom>
          <a:ln>
            <a:solidFill>
              <a:srgbClr val="00CC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그룹 5">
            <a:extLst>
              <a:ext uri="{FF2B5EF4-FFF2-40B4-BE49-F238E27FC236}">
                <a16:creationId xmlns:a16="http://schemas.microsoft.com/office/drawing/2014/main" xmlns="" id="{936492DF-65AE-40C4-AFFE-C3E28537677C}"/>
              </a:ext>
            </a:extLst>
          </p:cNvPr>
          <p:cNvGrpSpPr/>
          <p:nvPr/>
        </p:nvGrpSpPr>
        <p:grpSpPr>
          <a:xfrm>
            <a:off x="8382234" y="1593554"/>
            <a:ext cx="2999986" cy="781957"/>
            <a:chOff x="8382234" y="1593554"/>
            <a:chExt cx="2999986" cy="781957"/>
          </a:xfrm>
        </p:grpSpPr>
        <p:sp>
          <p:nvSpPr>
            <p:cNvPr id="34" name="사각형: 잘린 한쪽 모서리 33">
              <a:extLst>
                <a:ext uri="{FF2B5EF4-FFF2-40B4-BE49-F238E27FC236}">
                  <a16:creationId xmlns:a16="http://schemas.microsoft.com/office/drawing/2014/main" xmlns="" id="{D6C018AB-5FEC-466D-80A1-C54E6A9D0130}"/>
                </a:ext>
              </a:extLst>
            </p:cNvPr>
            <p:cNvSpPr/>
            <p:nvPr/>
          </p:nvSpPr>
          <p:spPr>
            <a:xfrm>
              <a:off x="8382234" y="1593554"/>
              <a:ext cx="2999986" cy="781957"/>
            </a:xfrm>
            <a:prstGeom prst="snip1Rect">
              <a:avLst/>
            </a:prstGeom>
            <a:solidFill>
              <a:srgbClr val="00E68A">
                <a:alpha val="8000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2F11C9C8-510B-4EFD-9919-8CE6DA049341}"/>
                </a:ext>
              </a:extLst>
            </p:cNvPr>
            <p:cNvSpPr txBox="1"/>
            <p:nvPr/>
          </p:nvSpPr>
          <p:spPr>
            <a:xfrm>
              <a:off x="8382234" y="1703139"/>
              <a:ext cx="2851571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전업주부스코어에서 유독 여성의 비율이 높음을 발견할 수 있다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2080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그림 개체 틀 6">
            <a:extLst>
              <a:ext uri="{FF2B5EF4-FFF2-40B4-BE49-F238E27FC236}">
                <a16:creationId xmlns:a16="http://schemas.microsoft.com/office/drawing/2014/main" xmlns="" id="{2EE025B0-5D7A-4C0F-B8A4-CAFAABAF3E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1517475D-0718-49E4-BF10-BF1A697B6D29}"/>
              </a:ext>
            </a:extLst>
          </p:cNvPr>
          <p:cNvSpPr/>
          <p:nvPr/>
        </p:nvSpPr>
        <p:spPr>
          <a:xfrm>
            <a:off x="371475" y="2790825"/>
            <a:ext cx="8410575" cy="21621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384FF0E2-5884-4668-8DD8-CA3A0A10450F}"/>
              </a:ext>
            </a:extLst>
          </p:cNvPr>
          <p:cNvGrpSpPr/>
          <p:nvPr/>
        </p:nvGrpSpPr>
        <p:grpSpPr>
          <a:xfrm rot="5400000">
            <a:off x="5829300" y="-1723565"/>
            <a:ext cx="533402" cy="3980536"/>
            <a:chOff x="1" y="1321321"/>
            <a:chExt cx="2051719" cy="246946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53587E15-8AC0-41C3-8392-6270AA37DC4D}"/>
                </a:ext>
              </a:extLst>
            </p:cNvPr>
            <p:cNvSpPr/>
            <p:nvPr/>
          </p:nvSpPr>
          <p:spPr>
            <a:xfrm>
              <a:off x="1" y="1321321"/>
              <a:ext cx="2051719" cy="50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D448354F-4F7D-44E4-B083-50AECC8A63C3}"/>
                </a:ext>
              </a:extLst>
            </p:cNvPr>
            <p:cNvSpPr/>
            <p:nvPr/>
          </p:nvSpPr>
          <p:spPr>
            <a:xfrm>
              <a:off x="1" y="1976477"/>
              <a:ext cx="2051719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A0C458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xmlns="" id="{4A098440-92B9-4A60-BB6D-EDB126C4772D}"/>
                </a:ext>
              </a:extLst>
            </p:cNvPr>
            <p:cNvSpPr/>
            <p:nvPr/>
          </p:nvSpPr>
          <p:spPr>
            <a:xfrm>
              <a:off x="1" y="2631633"/>
              <a:ext cx="2051719" cy="50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xmlns="" id="{AD9C8290-07A5-4EB6-A7E8-715B81674FD9}"/>
                </a:ext>
              </a:extLst>
            </p:cNvPr>
            <p:cNvSpPr/>
            <p:nvPr/>
          </p:nvSpPr>
          <p:spPr>
            <a:xfrm>
              <a:off x="1" y="3286788"/>
              <a:ext cx="2051719" cy="50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9" name="Text Placeholder 1">
            <a:extLst>
              <a:ext uri="{FF2B5EF4-FFF2-40B4-BE49-F238E27FC236}">
                <a16:creationId xmlns:a16="http://schemas.microsoft.com/office/drawing/2014/main" xmlns="" id="{4BCE3BA1-69A9-4AAA-8610-03175F5953E4}"/>
              </a:ext>
            </a:extLst>
          </p:cNvPr>
          <p:cNvSpPr txBox="1">
            <a:spLocks/>
          </p:cNvSpPr>
          <p:nvPr/>
        </p:nvSpPr>
        <p:spPr>
          <a:xfrm>
            <a:off x="1066479" y="710984"/>
            <a:ext cx="11573197" cy="18573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시각화 및 데이터 </a:t>
            </a:r>
            <a:r>
              <a:rPr lang="ko-KR" altLang="en-US" sz="35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처리</a:t>
            </a:r>
            <a:r>
              <a:rPr lang="ko-KR" altLang="en-US" sz="35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과정</a:t>
            </a:r>
            <a:endParaRPr 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xmlns="" id="{CBBE10DC-D1E2-47BE-8D33-CD5D258562EA}"/>
              </a:ext>
            </a:extLst>
          </p:cNvPr>
          <p:cNvGrpSpPr/>
          <p:nvPr/>
        </p:nvGrpSpPr>
        <p:grpSpPr>
          <a:xfrm>
            <a:off x="336365" y="2769476"/>
            <a:ext cx="6305018" cy="2385847"/>
            <a:chOff x="1066800" y="2266950"/>
            <a:chExt cx="6305018" cy="2385847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xmlns="" id="{A4CFBAD4-A97E-48AA-8BB2-79543C789C34}"/>
                </a:ext>
              </a:extLst>
            </p:cNvPr>
            <p:cNvSpPr/>
            <p:nvPr/>
          </p:nvSpPr>
          <p:spPr>
            <a:xfrm>
              <a:off x="4576534" y="2795422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xmlns="" id="{0FD932DA-A37A-4696-90FF-504CC2322883}"/>
                </a:ext>
              </a:extLst>
            </p:cNvPr>
            <p:cNvSpPr/>
            <p:nvPr/>
          </p:nvSpPr>
          <p:spPr>
            <a:xfrm>
              <a:off x="1066800" y="2266950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xmlns="" id="{63E1360A-76B2-40D8-B413-654464105A7D}"/>
              </a:ext>
            </a:extLst>
          </p:cNvPr>
          <p:cNvGrpSpPr/>
          <p:nvPr/>
        </p:nvGrpSpPr>
        <p:grpSpPr>
          <a:xfrm>
            <a:off x="378234" y="1314450"/>
            <a:ext cx="11499441" cy="5295900"/>
            <a:chOff x="387759" y="1314450"/>
            <a:chExt cx="11499441" cy="5295900"/>
          </a:xfrm>
        </p:grpSpPr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xmlns="" id="{53725569-D494-4F4A-A941-E2379E92669F}"/>
                </a:ext>
              </a:extLst>
            </p:cNvPr>
            <p:cNvSpPr/>
            <p:nvPr/>
          </p:nvSpPr>
          <p:spPr>
            <a:xfrm>
              <a:off x="387759" y="1314450"/>
              <a:ext cx="11499441" cy="52959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08서울남산체 B" panose="02020603020101020101" pitchFamily="18" charset="-127"/>
              </a:endParaRPr>
            </a:p>
          </p:txBody>
        </p:sp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xmlns="" id="{740DAC8F-6042-4F0C-80D0-9774F3A17960}"/>
                </a:ext>
              </a:extLst>
            </p:cNvPr>
            <p:cNvGrpSpPr/>
            <p:nvPr/>
          </p:nvGrpSpPr>
          <p:grpSpPr>
            <a:xfrm>
              <a:off x="623656" y="1467929"/>
              <a:ext cx="11044469" cy="4847146"/>
              <a:chOff x="623656" y="1467929"/>
              <a:chExt cx="11044469" cy="4847146"/>
            </a:xfrm>
          </p:grpSpPr>
          <p:pic>
            <p:nvPicPr>
              <p:cNvPr id="25" name="그림 24">
                <a:extLst>
                  <a:ext uri="{FF2B5EF4-FFF2-40B4-BE49-F238E27FC236}">
                    <a16:creationId xmlns:a16="http://schemas.microsoft.com/office/drawing/2014/main" xmlns="" id="{2BEDBBEE-FD40-4577-8131-7376B9BB97B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535" b="682"/>
              <a:stretch/>
            </p:blipFill>
            <p:spPr>
              <a:xfrm>
                <a:off x="623656" y="1943104"/>
                <a:ext cx="11044469" cy="4371971"/>
              </a:xfrm>
              <a:prstGeom prst="rect">
                <a:avLst/>
              </a:prstGeom>
            </p:spPr>
          </p:pic>
          <p:sp>
            <p:nvSpPr>
              <p:cNvPr id="26" name="Rounded Rectangle 4">
                <a:extLst>
                  <a:ext uri="{FF2B5EF4-FFF2-40B4-BE49-F238E27FC236}">
                    <a16:creationId xmlns:a16="http://schemas.microsoft.com/office/drawing/2014/main" xmlns="" id="{B0575379-FF80-4AD3-AC20-83302E2D011A}"/>
                  </a:ext>
                </a:extLst>
              </p:cNvPr>
              <p:cNvSpPr/>
              <p:nvPr/>
            </p:nvSpPr>
            <p:spPr>
              <a:xfrm>
                <a:off x="6449654" y="1467929"/>
                <a:ext cx="4784704" cy="99867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R</a:t>
                </a:r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로 초기 </a:t>
                </a:r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data.csv</a:t>
                </a:r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에서 각 </a:t>
                </a:r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High, Mid, Low</a:t>
                </a:r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로</a:t>
                </a:r>
                <a:endParaRPr lang="en-US" altLang="ko-KR" sz="17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 algn="ctr"/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분류되어 있는 스코어들을 각각 </a:t>
                </a:r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3,2,1</a:t>
                </a:r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로 바꿔준 다음</a:t>
                </a:r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, 19/20</a:t>
                </a:r>
                <a:r>
                  <a:rPr lang="ko-KR" altLang="en-US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년도로 나눠준다</a:t>
                </a:r>
                <a:r>
                  <a:rPr lang="en-US" altLang="ko-KR" sz="1700" b="1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1145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0" y="-7776"/>
            <a:ext cx="12192000" cy="36662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xmlns="" id="{FF158BB4-8C5D-48D7-83B8-495A2E585B8A}"/>
              </a:ext>
            </a:extLst>
          </p:cNvPr>
          <p:cNvSpPr/>
          <p:nvPr/>
        </p:nvSpPr>
        <p:spPr>
          <a:xfrm>
            <a:off x="348959" y="4873343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xmlns="" id="{58D31832-AE4C-466C-B94B-8E769E2DB91A}"/>
              </a:ext>
            </a:extLst>
          </p:cNvPr>
          <p:cNvSpPr/>
          <p:nvPr/>
        </p:nvSpPr>
        <p:spPr>
          <a:xfrm>
            <a:off x="2253959" y="4873343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xmlns="" id="{E7A419D7-C0E1-4913-9D8E-B6F114BC8688}"/>
              </a:ext>
            </a:extLst>
          </p:cNvPr>
          <p:cNvSpPr/>
          <p:nvPr/>
        </p:nvSpPr>
        <p:spPr>
          <a:xfrm>
            <a:off x="4158959" y="4873343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xmlns="" id="{D119E949-FCFD-4ABF-AA72-6A3F2B2887D1}"/>
              </a:ext>
            </a:extLst>
          </p:cNvPr>
          <p:cNvSpPr/>
          <p:nvPr/>
        </p:nvSpPr>
        <p:spPr>
          <a:xfrm>
            <a:off x="6063959" y="4873343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247B0006-E271-4B50-A1FA-36708BBE3133}"/>
              </a:ext>
            </a:extLst>
          </p:cNvPr>
          <p:cNvSpPr/>
          <p:nvPr/>
        </p:nvSpPr>
        <p:spPr>
          <a:xfrm>
            <a:off x="2303638" y="4910782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ea typeface="08서울남산체 B" panose="02020603020101020101" pitchFamily="18" charset="-127"/>
              </a:rPr>
              <a:t>2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191E6561-360C-4426-8650-FFB22F45A764}"/>
              </a:ext>
            </a:extLst>
          </p:cNvPr>
          <p:cNvSpPr/>
          <p:nvPr/>
        </p:nvSpPr>
        <p:spPr>
          <a:xfrm>
            <a:off x="4211353" y="4910782"/>
            <a:ext cx="344222" cy="34422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ea typeface="08서울남산체 B" panose="02020603020101020101" pitchFamily="18" charset="-127"/>
              </a:rPr>
              <a:t>3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xmlns="" id="{B3FDB47F-08E5-47C3-80CA-7E520ED3BF23}"/>
              </a:ext>
            </a:extLst>
          </p:cNvPr>
          <p:cNvSpPr/>
          <p:nvPr/>
        </p:nvSpPr>
        <p:spPr>
          <a:xfrm>
            <a:off x="6119068" y="4910782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ea typeface="08서울남산체 B" panose="02020603020101020101" pitchFamily="18" charset="-127"/>
              </a:rPr>
              <a:t>4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xmlns="" id="{6B602337-0131-4BBC-B1AE-B5B4A746128F}"/>
              </a:ext>
            </a:extLst>
          </p:cNvPr>
          <p:cNvSpPr/>
          <p:nvPr/>
        </p:nvSpPr>
        <p:spPr>
          <a:xfrm>
            <a:off x="395923" y="4910782"/>
            <a:ext cx="344222" cy="34422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ea typeface="08서울남산체 B" panose="02020603020101020101" pitchFamily="18" charset="-127"/>
              </a:rPr>
              <a:t>1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xmlns="" id="{F9D0D96C-E388-4AC3-A680-DC2A71C33CFA}"/>
              </a:ext>
            </a:extLst>
          </p:cNvPr>
          <p:cNvSpPr/>
          <p:nvPr/>
        </p:nvSpPr>
        <p:spPr>
          <a:xfrm>
            <a:off x="348959" y="3022533"/>
            <a:ext cx="1702872" cy="2856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a typeface="08서울남산체 B" panose="02020603020101020101" pitchFamily="18" charset="-12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C179B2BD-640C-4C34-BD98-8D5AA9D968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58" y="476935"/>
            <a:ext cx="1300573" cy="2650987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2DF54C55-F3E7-4914-9AB1-DFDAC46A4768}"/>
              </a:ext>
            </a:extLst>
          </p:cNvPr>
          <p:cNvSpPr txBox="1"/>
          <p:nvPr/>
        </p:nvSpPr>
        <p:spPr>
          <a:xfrm>
            <a:off x="395923" y="5420982"/>
            <a:ext cx="218726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1. 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공모전의 배경 및 삼성카드의 </a:t>
            </a:r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4P, SWOT 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분석</a:t>
            </a:r>
            <a:endParaRPr lang="en-US" altLang="ko-KR" sz="1600" dirty="0">
              <a:ea typeface="08서울남산체 B" panose="02020603020101020101" pitchFamily="18" charset="-127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C0208556-DA6C-48C1-BAB9-478CA10A14ED}"/>
              </a:ext>
            </a:extLst>
          </p:cNvPr>
          <p:cNvSpPr txBox="1"/>
          <p:nvPr/>
        </p:nvSpPr>
        <p:spPr>
          <a:xfrm>
            <a:off x="2475749" y="3895136"/>
            <a:ext cx="1997415" cy="9848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altLang="ko-KR" sz="1600" dirty="0">
                <a:ea typeface="08서울남산체 B" panose="02020603020101020101" pitchFamily="18" charset="-127"/>
              </a:rPr>
              <a:t> </a:t>
            </a:r>
          </a:p>
          <a:p>
            <a:pPr algn="ctr"/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2. EDA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를 통해 살펴본 데이터 분포 및 전반적인 전략 수립</a:t>
            </a:r>
            <a:endParaRPr lang="en-US" altLang="ko-KR" sz="1600" dirty="0">
              <a:solidFill>
                <a:srgbClr val="404040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Segoe UI Light" panose="020B0502040204020203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3DFC1441-9312-4665-90E6-EB917760A2A9}"/>
              </a:ext>
            </a:extLst>
          </p:cNvPr>
          <p:cNvSpPr txBox="1"/>
          <p:nvPr/>
        </p:nvSpPr>
        <p:spPr>
          <a:xfrm>
            <a:off x="4211353" y="5430078"/>
            <a:ext cx="190771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600" dirty="0">
                <a:ea typeface="08서울남산체 B" panose="02020603020101020101" pitchFamily="18" charset="-127"/>
              </a:rPr>
              <a:t> </a:t>
            </a:r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3.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 </a:t>
            </a:r>
            <a:r>
              <a:rPr lang="ko-KR" altLang="en-US" sz="1600" dirty="0" err="1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클러스터링을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 통한 연령대 그룹화 및 연령대 추정</a:t>
            </a:r>
            <a:endParaRPr lang="en-US" altLang="ko-KR" sz="1600" dirty="0">
              <a:solidFill>
                <a:srgbClr val="404040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Segoe UI Light" panose="020B0502040204020203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01042871-6D94-4098-ADA2-7C544F561031}"/>
              </a:ext>
            </a:extLst>
          </p:cNvPr>
          <p:cNvSpPr txBox="1"/>
          <p:nvPr/>
        </p:nvSpPr>
        <p:spPr>
          <a:xfrm>
            <a:off x="6063959" y="4095637"/>
            <a:ext cx="2202402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altLang="ko-KR" sz="1600" dirty="0">
                <a:ea typeface="08서울남산체 B" panose="02020603020101020101" pitchFamily="18" charset="-127"/>
              </a:rPr>
              <a:t> </a:t>
            </a:r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4. </a:t>
            </a:r>
            <a:r>
              <a:rPr lang="ko-KR" altLang="en-US" sz="1600" dirty="0" err="1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워드클라우드를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 바탕으로 </a:t>
            </a:r>
            <a:r>
              <a:rPr lang="ko-KR" altLang="en-US" sz="1600" dirty="0" err="1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종합몰</a:t>
            </a:r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/</a:t>
            </a:r>
            <a:r>
              <a:rPr lang="ko-KR" altLang="en-US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할인점에 대한 세부 항목 전략 제시</a:t>
            </a:r>
            <a:r>
              <a:rPr lang="en-US" altLang="ko-KR" sz="1600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Segoe UI Light" panose="020B0502040204020203" pitchFamily="34" charset="0"/>
              </a:rPr>
              <a:t>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0C39541C-F017-41D2-AE83-7BD40C341F37}"/>
              </a:ext>
            </a:extLst>
          </p:cNvPr>
          <p:cNvSpPr txBox="1"/>
          <p:nvPr/>
        </p:nvSpPr>
        <p:spPr>
          <a:xfrm>
            <a:off x="7941644" y="5404483"/>
            <a:ext cx="17288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5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략 프로모션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V-log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작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06" name="Freeform 13">
            <a:extLst>
              <a:ext uri="{FF2B5EF4-FFF2-40B4-BE49-F238E27FC236}">
                <a16:creationId xmlns:a16="http://schemas.microsoft.com/office/drawing/2014/main" xmlns="" id="{54725707-0B23-4B12-B953-A78527C152E1}"/>
              </a:ext>
            </a:extLst>
          </p:cNvPr>
          <p:cNvSpPr>
            <a:spLocks/>
          </p:cNvSpPr>
          <p:nvPr/>
        </p:nvSpPr>
        <p:spPr bwMode="auto">
          <a:xfrm>
            <a:off x="4289382" y="6180592"/>
            <a:ext cx="349864" cy="360653"/>
          </a:xfrm>
          <a:custGeom>
            <a:avLst/>
            <a:gdLst>
              <a:gd name="T0" fmla="*/ 88 w 96"/>
              <a:gd name="T1" fmla="*/ 50 h 96"/>
              <a:gd name="T2" fmla="*/ 81 w 96"/>
              <a:gd name="T3" fmla="*/ 54 h 96"/>
              <a:gd name="T4" fmla="*/ 71 w 96"/>
              <a:gd name="T5" fmla="*/ 49 h 96"/>
              <a:gd name="T6" fmla="*/ 72 w 96"/>
              <a:gd name="T7" fmla="*/ 42 h 96"/>
              <a:gd name="T8" fmla="*/ 68 w 96"/>
              <a:gd name="T9" fmla="*/ 31 h 96"/>
              <a:gd name="T10" fmla="*/ 84 w 96"/>
              <a:gd name="T11" fmla="*/ 15 h 96"/>
              <a:gd name="T12" fmla="*/ 88 w 96"/>
              <a:gd name="T13" fmla="*/ 16 h 96"/>
              <a:gd name="T14" fmla="*/ 96 w 96"/>
              <a:gd name="T15" fmla="*/ 8 h 96"/>
              <a:gd name="T16" fmla="*/ 88 w 96"/>
              <a:gd name="T17" fmla="*/ 0 h 96"/>
              <a:gd name="T18" fmla="*/ 80 w 96"/>
              <a:gd name="T19" fmla="*/ 8 h 96"/>
              <a:gd name="T20" fmla="*/ 81 w 96"/>
              <a:gd name="T21" fmla="*/ 12 h 96"/>
              <a:gd name="T22" fmla="*/ 65 w 96"/>
              <a:gd name="T23" fmla="*/ 28 h 96"/>
              <a:gd name="T24" fmla="*/ 54 w 96"/>
              <a:gd name="T25" fmla="*/ 24 h 96"/>
              <a:gd name="T26" fmla="*/ 38 w 96"/>
              <a:gd name="T27" fmla="*/ 33 h 96"/>
              <a:gd name="T28" fmla="*/ 16 w 96"/>
              <a:gd name="T29" fmla="*/ 23 h 96"/>
              <a:gd name="T30" fmla="*/ 16 w 96"/>
              <a:gd name="T31" fmla="*/ 22 h 96"/>
              <a:gd name="T32" fmla="*/ 8 w 96"/>
              <a:gd name="T33" fmla="*/ 14 h 96"/>
              <a:gd name="T34" fmla="*/ 0 w 96"/>
              <a:gd name="T35" fmla="*/ 22 h 96"/>
              <a:gd name="T36" fmla="*/ 8 w 96"/>
              <a:gd name="T37" fmla="*/ 30 h 96"/>
              <a:gd name="T38" fmla="*/ 14 w 96"/>
              <a:gd name="T39" fmla="*/ 27 h 96"/>
              <a:gd name="T40" fmla="*/ 37 w 96"/>
              <a:gd name="T41" fmla="*/ 37 h 96"/>
              <a:gd name="T42" fmla="*/ 36 w 96"/>
              <a:gd name="T43" fmla="*/ 42 h 96"/>
              <a:gd name="T44" fmla="*/ 40 w 96"/>
              <a:gd name="T45" fmla="*/ 53 h 96"/>
              <a:gd name="T46" fmla="*/ 12 w 96"/>
              <a:gd name="T47" fmla="*/ 81 h 96"/>
              <a:gd name="T48" fmla="*/ 8 w 96"/>
              <a:gd name="T49" fmla="*/ 80 h 96"/>
              <a:gd name="T50" fmla="*/ 0 w 96"/>
              <a:gd name="T51" fmla="*/ 88 h 96"/>
              <a:gd name="T52" fmla="*/ 8 w 96"/>
              <a:gd name="T53" fmla="*/ 96 h 96"/>
              <a:gd name="T54" fmla="*/ 16 w 96"/>
              <a:gd name="T55" fmla="*/ 88 h 96"/>
              <a:gd name="T56" fmla="*/ 15 w 96"/>
              <a:gd name="T57" fmla="*/ 84 h 96"/>
              <a:gd name="T58" fmla="*/ 43 w 96"/>
              <a:gd name="T59" fmla="*/ 56 h 96"/>
              <a:gd name="T60" fmla="*/ 52 w 96"/>
              <a:gd name="T61" fmla="*/ 60 h 96"/>
              <a:gd name="T62" fmla="*/ 52 w 96"/>
              <a:gd name="T63" fmla="*/ 80 h 96"/>
              <a:gd name="T64" fmla="*/ 46 w 96"/>
              <a:gd name="T65" fmla="*/ 88 h 96"/>
              <a:gd name="T66" fmla="*/ 54 w 96"/>
              <a:gd name="T67" fmla="*/ 96 h 96"/>
              <a:gd name="T68" fmla="*/ 62 w 96"/>
              <a:gd name="T69" fmla="*/ 88 h 96"/>
              <a:gd name="T70" fmla="*/ 56 w 96"/>
              <a:gd name="T71" fmla="*/ 80 h 96"/>
              <a:gd name="T72" fmla="*/ 56 w 96"/>
              <a:gd name="T73" fmla="*/ 60 h 96"/>
              <a:gd name="T74" fmla="*/ 69 w 96"/>
              <a:gd name="T75" fmla="*/ 53 h 96"/>
              <a:gd name="T76" fmla="*/ 80 w 96"/>
              <a:gd name="T77" fmla="*/ 57 h 96"/>
              <a:gd name="T78" fmla="*/ 80 w 96"/>
              <a:gd name="T79" fmla="*/ 58 h 96"/>
              <a:gd name="T80" fmla="*/ 88 w 96"/>
              <a:gd name="T81" fmla="*/ 66 h 96"/>
              <a:gd name="T82" fmla="*/ 96 w 96"/>
              <a:gd name="T83" fmla="*/ 58 h 96"/>
              <a:gd name="T84" fmla="*/ 88 w 96"/>
              <a:gd name="T85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6" h="96">
                <a:moveTo>
                  <a:pt x="88" y="50"/>
                </a:moveTo>
                <a:cubicBezTo>
                  <a:pt x="85" y="50"/>
                  <a:pt x="83" y="51"/>
                  <a:pt x="81" y="54"/>
                </a:cubicBezTo>
                <a:cubicBezTo>
                  <a:pt x="71" y="49"/>
                  <a:pt x="71" y="49"/>
                  <a:pt x="71" y="49"/>
                </a:cubicBezTo>
                <a:cubicBezTo>
                  <a:pt x="71" y="47"/>
                  <a:pt x="72" y="45"/>
                  <a:pt x="72" y="42"/>
                </a:cubicBezTo>
                <a:cubicBezTo>
                  <a:pt x="72" y="38"/>
                  <a:pt x="71" y="34"/>
                  <a:pt x="68" y="31"/>
                </a:cubicBezTo>
                <a:cubicBezTo>
                  <a:pt x="84" y="15"/>
                  <a:pt x="84" y="15"/>
                  <a:pt x="84" y="15"/>
                </a:cubicBezTo>
                <a:cubicBezTo>
                  <a:pt x="85" y="16"/>
                  <a:pt x="87" y="16"/>
                  <a:pt x="88" y="16"/>
                </a:cubicBezTo>
                <a:cubicBezTo>
                  <a:pt x="92" y="16"/>
                  <a:pt x="96" y="12"/>
                  <a:pt x="96" y="8"/>
                </a:cubicBezTo>
                <a:cubicBezTo>
                  <a:pt x="96" y="4"/>
                  <a:pt x="92" y="0"/>
                  <a:pt x="88" y="0"/>
                </a:cubicBezTo>
                <a:cubicBezTo>
                  <a:pt x="84" y="0"/>
                  <a:pt x="80" y="4"/>
                  <a:pt x="80" y="8"/>
                </a:cubicBezTo>
                <a:cubicBezTo>
                  <a:pt x="80" y="9"/>
                  <a:pt x="80" y="11"/>
                  <a:pt x="81" y="12"/>
                </a:cubicBezTo>
                <a:cubicBezTo>
                  <a:pt x="65" y="28"/>
                  <a:pt x="65" y="28"/>
                  <a:pt x="65" y="28"/>
                </a:cubicBezTo>
                <a:cubicBezTo>
                  <a:pt x="62" y="25"/>
                  <a:pt x="58" y="24"/>
                  <a:pt x="54" y="24"/>
                </a:cubicBezTo>
                <a:cubicBezTo>
                  <a:pt x="47" y="24"/>
                  <a:pt x="41" y="28"/>
                  <a:pt x="38" y="33"/>
                </a:cubicBezTo>
                <a:cubicBezTo>
                  <a:pt x="16" y="23"/>
                  <a:pt x="16" y="23"/>
                  <a:pt x="16" y="23"/>
                </a:cubicBezTo>
                <a:cubicBezTo>
                  <a:pt x="16" y="23"/>
                  <a:pt x="16" y="23"/>
                  <a:pt x="16" y="22"/>
                </a:cubicBezTo>
                <a:cubicBezTo>
                  <a:pt x="16" y="18"/>
                  <a:pt x="12" y="14"/>
                  <a:pt x="8" y="14"/>
                </a:cubicBezTo>
                <a:cubicBezTo>
                  <a:pt x="4" y="14"/>
                  <a:pt x="0" y="18"/>
                  <a:pt x="0" y="22"/>
                </a:cubicBezTo>
                <a:cubicBezTo>
                  <a:pt x="0" y="26"/>
                  <a:pt x="4" y="30"/>
                  <a:pt x="8" y="30"/>
                </a:cubicBezTo>
                <a:cubicBezTo>
                  <a:pt x="10" y="30"/>
                  <a:pt x="13" y="29"/>
                  <a:pt x="14" y="27"/>
                </a:cubicBezTo>
                <a:cubicBezTo>
                  <a:pt x="37" y="37"/>
                  <a:pt x="37" y="37"/>
                  <a:pt x="37" y="37"/>
                </a:cubicBezTo>
                <a:cubicBezTo>
                  <a:pt x="36" y="38"/>
                  <a:pt x="36" y="40"/>
                  <a:pt x="36" y="42"/>
                </a:cubicBezTo>
                <a:cubicBezTo>
                  <a:pt x="36" y="46"/>
                  <a:pt x="37" y="50"/>
                  <a:pt x="40" y="53"/>
                </a:cubicBezTo>
                <a:cubicBezTo>
                  <a:pt x="12" y="81"/>
                  <a:pt x="12" y="81"/>
                  <a:pt x="12" y="81"/>
                </a:cubicBezTo>
                <a:cubicBezTo>
                  <a:pt x="11" y="80"/>
                  <a:pt x="9" y="80"/>
                  <a:pt x="8" y="80"/>
                </a:cubicBezTo>
                <a:cubicBezTo>
                  <a:pt x="4" y="80"/>
                  <a:pt x="0" y="84"/>
                  <a:pt x="0" y="88"/>
                </a:cubicBezTo>
                <a:cubicBezTo>
                  <a:pt x="0" y="92"/>
                  <a:pt x="4" y="96"/>
                  <a:pt x="8" y="96"/>
                </a:cubicBezTo>
                <a:cubicBezTo>
                  <a:pt x="12" y="96"/>
                  <a:pt x="16" y="92"/>
                  <a:pt x="16" y="88"/>
                </a:cubicBezTo>
                <a:cubicBezTo>
                  <a:pt x="16" y="87"/>
                  <a:pt x="16" y="85"/>
                  <a:pt x="15" y="84"/>
                </a:cubicBezTo>
                <a:cubicBezTo>
                  <a:pt x="43" y="56"/>
                  <a:pt x="43" y="56"/>
                  <a:pt x="43" y="56"/>
                </a:cubicBezTo>
                <a:cubicBezTo>
                  <a:pt x="45" y="58"/>
                  <a:pt x="49" y="59"/>
                  <a:pt x="52" y="60"/>
                </a:cubicBezTo>
                <a:cubicBezTo>
                  <a:pt x="52" y="80"/>
                  <a:pt x="52" y="80"/>
                  <a:pt x="52" y="80"/>
                </a:cubicBezTo>
                <a:cubicBezTo>
                  <a:pt x="49" y="81"/>
                  <a:pt x="46" y="84"/>
                  <a:pt x="46" y="88"/>
                </a:cubicBezTo>
                <a:cubicBezTo>
                  <a:pt x="46" y="92"/>
                  <a:pt x="50" y="96"/>
                  <a:pt x="54" y="96"/>
                </a:cubicBezTo>
                <a:cubicBezTo>
                  <a:pt x="58" y="96"/>
                  <a:pt x="62" y="92"/>
                  <a:pt x="62" y="88"/>
                </a:cubicBezTo>
                <a:cubicBezTo>
                  <a:pt x="62" y="84"/>
                  <a:pt x="59" y="81"/>
                  <a:pt x="56" y="80"/>
                </a:cubicBezTo>
                <a:cubicBezTo>
                  <a:pt x="56" y="60"/>
                  <a:pt x="56" y="60"/>
                  <a:pt x="56" y="60"/>
                </a:cubicBezTo>
                <a:cubicBezTo>
                  <a:pt x="61" y="59"/>
                  <a:pt x="66" y="57"/>
                  <a:pt x="69" y="53"/>
                </a:cubicBezTo>
                <a:cubicBezTo>
                  <a:pt x="80" y="57"/>
                  <a:pt x="80" y="57"/>
                  <a:pt x="80" y="57"/>
                </a:cubicBezTo>
                <a:cubicBezTo>
                  <a:pt x="80" y="58"/>
                  <a:pt x="80" y="58"/>
                  <a:pt x="80" y="58"/>
                </a:cubicBezTo>
                <a:cubicBezTo>
                  <a:pt x="80" y="62"/>
                  <a:pt x="84" y="66"/>
                  <a:pt x="88" y="66"/>
                </a:cubicBezTo>
                <a:cubicBezTo>
                  <a:pt x="92" y="66"/>
                  <a:pt x="96" y="62"/>
                  <a:pt x="96" y="58"/>
                </a:cubicBezTo>
                <a:cubicBezTo>
                  <a:pt x="96" y="54"/>
                  <a:pt x="92" y="50"/>
                  <a:pt x="88" y="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2000" dirty="0">
              <a:ea typeface="08서울남산체 B" panose="02020603020101020101" pitchFamily="18" charset="-127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xmlns="" id="{AC13A7D2-5B19-49E9-9281-E801B33EB3EE}"/>
              </a:ext>
            </a:extLst>
          </p:cNvPr>
          <p:cNvGrpSpPr/>
          <p:nvPr/>
        </p:nvGrpSpPr>
        <p:grpSpPr>
          <a:xfrm>
            <a:off x="8091429" y="6061146"/>
            <a:ext cx="349864" cy="351403"/>
            <a:chOff x="2670175" y="2886076"/>
            <a:chExt cx="360363" cy="361950"/>
          </a:xfrm>
          <a:solidFill>
            <a:schemeClr val="accent1"/>
          </a:solidFill>
          <a:effectLst/>
        </p:grpSpPr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xmlns="" id="{2C0A309A-257D-4BFB-9695-F6EB2E094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2932113"/>
              <a:ext cx="44450" cy="115888"/>
            </a:xfrm>
            <a:custGeom>
              <a:avLst/>
              <a:gdLst>
                <a:gd name="T0" fmla="*/ 12 w 12"/>
                <a:gd name="T1" fmla="*/ 2 h 31"/>
                <a:gd name="T2" fmla="*/ 10 w 12"/>
                <a:gd name="T3" fmla="*/ 0 h 31"/>
                <a:gd name="T4" fmla="*/ 0 w 12"/>
                <a:gd name="T5" fmla="*/ 0 h 31"/>
                <a:gd name="T6" fmla="*/ 0 w 12"/>
                <a:gd name="T7" fmla="*/ 31 h 31"/>
                <a:gd name="T8" fmla="*/ 12 w 12"/>
                <a:gd name="T9" fmla="*/ 28 h 31"/>
                <a:gd name="T10" fmla="*/ 12 w 12"/>
                <a:gd name="T1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1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0"/>
                    <a:pt x="8" y="28"/>
                    <a:pt x="12" y="28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xmlns="" id="{B4AFAF89-D306-4679-A09B-263FDC5E5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2932113"/>
              <a:ext cx="173038" cy="285750"/>
            </a:xfrm>
            <a:custGeom>
              <a:avLst/>
              <a:gdLst>
                <a:gd name="T0" fmla="*/ 12 w 46"/>
                <a:gd name="T1" fmla="*/ 64 h 76"/>
                <a:gd name="T2" fmla="*/ 12 w 46"/>
                <a:gd name="T3" fmla="*/ 0 h 76"/>
                <a:gd name="T4" fmla="*/ 2 w 46"/>
                <a:gd name="T5" fmla="*/ 0 h 76"/>
                <a:gd name="T6" fmla="*/ 0 w 46"/>
                <a:gd name="T7" fmla="*/ 2 h 76"/>
                <a:gd name="T8" fmla="*/ 0 w 46"/>
                <a:gd name="T9" fmla="*/ 66 h 76"/>
                <a:gd name="T10" fmla="*/ 10 w 46"/>
                <a:gd name="T11" fmla="*/ 76 h 76"/>
                <a:gd name="T12" fmla="*/ 46 w 46"/>
                <a:gd name="T13" fmla="*/ 76 h 76"/>
                <a:gd name="T14" fmla="*/ 41 w 46"/>
                <a:gd name="T15" fmla="*/ 64 h 76"/>
                <a:gd name="T16" fmla="*/ 12 w 46"/>
                <a:gd name="T17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76">
                  <a:moveTo>
                    <a:pt x="12" y="64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3" y="73"/>
                    <a:pt x="42" y="68"/>
                    <a:pt x="41" y="64"/>
                  </a:cubicBezTo>
                  <a:lnTo>
                    <a:pt x="1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xmlns="" id="{85012AA0-B8F7-4D48-A766-9D45FF7F4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022601"/>
              <a:ext cx="90488" cy="14288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xmlns="" id="{837E998E-9F73-4241-AF09-0CF215C89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052763"/>
              <a:ext cx="90488" cy="14288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xmlns="" id="{EDE350EA-1B24-49F5-B4B7-ADCA5B1EA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082926"/>
              <a:ext cx="90488" cy="14288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xmlns="" id="{F8E00270-A44E-41C9-A2C6-8BE1FD2F3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113088"/>
              <a:ext cx="60325" cy="14288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xmlns="" id="{4FF8C0FA-834A-4B0E-B8EB-E89DFA523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2886076"/>
              <a:ext cx="134938" cy="106363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xmlns="" id="{0E17F090-3E65-493F-96FF-5EC5D70E1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3052763"/>
              <a:ext cx="195263" cy="195263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41 w 52"/>
                <a:gd name="T11" fmla="*/ 21 h 52"/>
                <a:gd name="T12" fmla="*/ 24 w 52"/>
                <a:gd name="T13" fmla="*/ 39 h 52"/>
                <a:gd name="T14" fmla="*/ 11 w 52"/>
                <a:gd name="T15" fmla="*/ 27 h 52"/>
                <a:gd name="T16" fmla="*/ 11 w 52"/>
                <a:gd name="T17" fmla="*/ 24 h 52"/>
                <a:gd name="T18" fmla="*/ 14 w 52"/>
                <a:gd name="T19" fmla="*/ 24 h 52"/>
                <a:gd name="T20" fmla="*/ 24 w 52"/>
                <a:gd name="T21" fmla="*/ 33 h 52"/>
                <a:gd name="T22" fmla="*/ 38 w 52"/>
                <a:gd name="T23" fmla="*/ 18 h 52"/>
                <a:gd name="T24" fmla="*/ 40 w 52"/>
                <a:gd name="T25" fmla="*/ 18 h 52"/>
                <a:gd name="T26" fmla="*/ 41 w 52"/>
                <a:gd name="T27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41" y="21"/>
                  </a:moveTo>
                  <a:cubicBezTo>
                    <a:pt x="24" y="39"/>
                    <a:pt x="24" y="39"/>
                    <a:pt x="24" y="3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6"/>
                    <a:pt x="11" y="25"/>
                    <a:pt x="11" y="24"/>
                  </a:cubicBezTo>
                  <a:cubicBezTo>
                    <a:pt x="12" y="23"/>
                    <a:pt x="14" y="23"/>
                    <a:pt x="14" y="24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7"/>
                    <a:pt x="40" y="17"/>
                    <a:pt x="40" y="18"/>
                  </a:cubicBezTo>
                  <a:cubicBezTo>
                    <a:pt x="41" y="19"/>
                    <a:pt x="41" y="20"/>
                    <a:pt x="4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2000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xmlns="" id="{DB6AFC6A-A284-4603-AA45-E1DF74F4DC8B}"/>
              </a:ext>
            </a:extLst>
          </p:cNvPr>
          <p:cNvGrpSpPr/>
          <p:nvPr/>
        </p:nvGrpSpPr>
        <p:grpSpPr>
          <a:xfrm>
            <a:off x="2536227" y="3814389"/>
            <a:ext cx="349864" cy="351403"/>
            <a:chOff x="4113213" y="2163763"/>
            <a:chExt cx="360363" cy="361950"/>
          </a:xfrm>
          <a:solidFill>
            <a:schemeClr val="accent3">
              <a:lumMod val="60000"/>
              <a:lumOff val="40000"/>
            </a:schemeClr>
          </a:solidFill>
          <a:effectLst/>
        </p:grpSpPr>
        <p:sp>
          <p:nvSpPr>
            <p:cNvPr id="117" name="Freeform 185">
              <a:extLst>
                <a:ext uri="{FF2B5EF4-FFF2-40B4-BE49-F238E27FC236}">
                  <a16:creationId xmlns:a16="http://schemas.microsoft.com/office/drawing/2014/main" xmlns="" id="{37547323-9078-4B8B-8F30-F7EBC96DE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5" y="2382838"/>
              <a:ext cx="120650" cy="120650"/>
            </a:xfrm>
            <a:custGeom>
              <a:avLst/>
              <a:gdLst>
                <a:gd name="T0" fmla="*/ 45 w 76"/>
                <a:gd name="T1" fmla="*/ 0 h 76"/>
                <a:gd name="T2" fmla="*/ 0 w 76"/>
                <a:gd name="T3" fmla="*/ 45 h 76"/>
                <a:gd name="T4" fmla="*/ 31 w 76"/>
                <a:gd name="T5" fmla="*/ 76 h 76"/>
                <a:gd name="T6" fmla="*/ 76 w 76"/>
                <a:gd name="T7" fmla="*/ 30 h 76"/>
                <a:gd name="T8" fmla="*/ 45 w 7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45" y="0"/>
                  </a:moveTo>
                  <a:lnTo>
                    <a:pt x="0" y="45"/>
                  </a:lnTo>
                  <a:lnTo>
                    <a:pt x="31" y="76"/>
                  </a:lnTo>
                  <a:lnTo>
                    <a:pt x="76" y="3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8" name="Freeform 186">
              <a:extLst>
                <a:ext uri="{FF2B5EF4-FFF2-40B4-BE49-F238E27FC236}">
                  <a16:creationId xmlns:a16="http://schemas.microsoft.com/office/drawing/2014/main" xmlns="" id="{4148B6B7-4C3F-4E57-9D19-EF7645B81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00" y="2468563"/>
              <a:ext cx="57150" cy="57150"/>
            </a:xfrm>
            <a:custGeom>
              <a:avLst/>
              <a:gdLst>
                <a:gd name="T0" fmla="*/ 4 w 15"/>
                <a:gd name="T1" fmla="*/ 0 h 15"/>
                <a:gd name="T2" fmla="*/ 0 w 15"/>
                <a:gd name="T3" fmla="*/ 12 h 15"/>
                <a:gd name="T4" fmla="*/ 1 w 15"/>
                <a:gd name="T5" fmla="*/ 14 h 15"/>
                <a:gd name="T6" fmla="*/ 2 w 15"/>
                <a:gd name="T7" fmla="*/ 15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4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ea typeface="08서울남산체 B" panose="02020603020101020101" pitchFamily="18" charset="-127"/>
              </a:endParaRPr>
            </a:p>
          </p:txBody>
        </p:sp>
        <p:sp>
          <p:nvSpPr>
            <p:cNvPr id="119" name="Freeform 187">
              <a:extLst>
                <a:ext uri="{FF2B5EF4-FFF2-40B4-BE49-F238E27FC236}">
                  <a16:creationId xmlns:a16="http://schemas.microsoft.com/office/drawing/2014/main" xmlns="" id="{20E7607E-A499-449B-97CA-E71246D59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96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19 w 20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ea typeface="08서울남산체 B" panose="02020603020101020101" pitchFamily="18" charset="-127"/>
              </a:endParaRPr>
            </a:p>
          </p:txBody>
        </p:sp>
        <p:sp>
          <p:nvSpPr>
            <p:cNvPr id="120" name="Freeform 188">
              <a:extLst>
                <a:ext uri="{FF2B5EF4-FFF2-40B4-BE49-F238E27FC236}">
                  <a16:creationId xmlns:a16="http://schemas.microsoft.com/office/drawing/2014/main" xmlns="" id="{8CF42DA8-3853-4058-BE13-CA67BAE2E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163763"/>
              <a:ext cx="255588" cy="331788"/>
            </a:xfrm>
            <a:custGeom>
              <a:avLst/>
              <a:gdLst>
                <a:gd name="T0" fmla="*/ 48 w 68"/>
                <a:gd name="T1" fmla="*/ 78 h 88"/>
                <a:gd name="T2" fmla="*/ 50 w 68"/>
                <a:gd name="T3" fmla="*/ 76 h 88"/>
                <a:gd name="T4" fmla="*/ 68 w 68"/>
                <a:gd name="T5" fmla="*/ 58 h 88"/>
                <a:gd name="T6" fmla="*/ 68 w 68"/>
                <a:gd name="T7" fmla="*/ 22 h 88"/>
                <a:gd name="T8" fmla="*/ 67 w 68"/>
                <a:gd name="T9" fmla="*/ 21 h 88"/>
                <a:gd name="T10" fmla="*/ 47 w 68"/>
                <a:gd name="T11" fmla="*/ 1 h 88"/>
                <a:gd name="T12" fmla="*/ 46 w 68"/>
                <a:gd name="T13" fmla="*/ 0 h 88"/>
                <a:gd name="T14" fmla="*/ 2 w 68"/>
                <a:gd name="T15" fmla="*/ 0 h 88"/>
                <a:gd name="T16" fmla="*/ 0 w 68"/>
                <a:gd name="T17" fmla="*/ 2 h 88"/>
                <a:gd name="T18" fmla="*/ 0 w 68"/>
                <a:gd name="T19" fmla="*/ 86 h 88"/>
                <a:gd name="T20" fmla="*/ 2 w 68"/>
                <a:gd name="T21" fmla="*/ 88 h 88"/>
                <a:gd name="T22" fmla="*/ 45 w 68"/>
                <a:gd name="T23" fmla="*/ 88 h 88"/>
                <a:gd name="T24" fmla="*/ 48 w 68"/>
                <a:gd name="T25" fmla="*/ 78 h 88"/>
                <a:gd name="T26" fmla="*/ 46 w 68"/>
                <a:gd name="T27" fmla="*/ 2 h 88"/>
                <a:gd name="T28" fmla="*/ 66 w 68"/>
                <a:gd name="T29" fmla="*/ 22 h 88"/>
                <a:gd name="T30" fmla="*/ 46 w 68"/>
                <a:gd name="T31" fmla="*/ 22 h 88"/>
                <a:gd name="T32" fmla="*/ 46 w 68"/>
                <a:gd name="T33" fmla="*/ 2 h 88"/>
                <a:gd name="T34" fmla="*/ 36 w 68"/>
                <a:gd name="T35" fmla="*/ 40 h 88"/>
                <a:gd name="T36" fmla="*/ 52 w 68"/>
                <a:gd name="T37" fmla="*/ 40 h 88"/>
                <a:gd name="T38" fmla="*/ 54 w 68"/>
                <a:gd name="T39" fmla="*/ 42 h 88"/>
                <a:gd name="T40" fmla="*/ 52 w 68"/>
                <a:gd name="T41" fmla="*/ 44 h 88"/>
                <a:gd name="T42" fmla="*/ 36 w 68"/>
                <a:gd name="T43" fmla="*/ 44 h 88"/>
                <a:gd name="T44" fmla="*/ 34 w 68"/>
                <a:gd name="T45" fmla="*/ 42 h 88"/>
                <a:gd name="T46" fmla="*/ 36 w 68"/>
                <a:gd name="T47" fmla="*/ 40 h 88"/>
                <a:gd name="T48" fmla="*/ 31 w 68"/>
                <a:gd name="T49" fmla="*/ 51 h 88"/>
                <a:gd name="T50" fmla="*/ 21 w 68"/>
                <a:gd name="T51" fmla="*/ 61 h 88"/>
                <a:gd name="T52" fmla="*/ 20 w 68"/>
                <a:gd name="T53" fmla="*/ 62 h 88"/>
                <a:gd name="T54" fmla="*/ 19 w 68"/>
                <a:gd name="T55" fmla="*/ 61 h 88"/>
                <a:gd name="T56" fmla="*/ 13 w 68"/>
                <a:gd name="T57" fmla="*/ 55 h 88"/>
                <a:gd name="T58" fmla="*/ 13 w 68"/>
                <a:gd name="T59" fmla="*/ 53 h 88"/>
                <a:gd name="T60" fmla="*/ 15 w 68"/>
                <a:gd name="T61" fmla="*/ 53 h 88"/>
                <a:gd name="T62" fmla="*/ 20 w 68"/>
                <a:gd name="T63" fmla="*/ 57 h 88"/>
                <a:gd name="T64" fmla="*/ 29 w 68"/>
                <a:gd name="T65" fmla="*/ 49 h 88"/>
                <a:gd name="T66" fmla="*/ 31 w 68"/>
                <a:gd name="T67" fmla="*/ 49 h 88"/>
                <a:gd name="T68" fmla="*/ 31 w 68"/>
                <a:gd name="T69" fmla="*/ 51 h 88"/>
                <a:gd name="T70" fmla="*/ 31 w 68"/>
                <a:gd name="T71" fmla="*/ 35 h 88"/>
                <a:gd name="T72" fmla="*/ 21 w 68"/>
                <a:gd name="T73" fmla="*/ 45 h 88"/>
                <a:gd name="T74" fmla="*/ 20 w 68"/>
                <a:gd name="T75" fmla="*/ 46 h 88"/>
                <a:gd name="T76" fmla="*/ 19 w 68"/>
                <a:gd name="T77" fmla="*/ 45 h 88"/>
                <a:gd name="T78" fmla="*/ 13 w 68"/>
                <a:gd name="T79" fmla="*/ 39 h 88"/>
                <a:gd name="T80" fmla="*/ 13 w 68"/>
                <a:gd name="T81" fmla="*/ 37 h 88"/>
                <a:gd name="T82" fmla="*/ 15 w 68"/>
                <a:gd name="T83" fmla="*/ 37 h 88"/>
                <a:gd name="T84" fmla="*/ 20 w 68"/>
                <a:gd name="T85" fmla="*/ 41 h 88"/>
                <a:gd name="T86" fmla="*/ 29 w 68"/>
                <a:gd name="T87" fmla="*/ 33 h 88"/>
                <a:gd name="T88" fmla="*/ 31 w 68"/>
                <a:gd name="T89" fmla="*/ 33 h 88"/>
                <a:gd name="T90" fmla="*/ 31 w 68"/>
                <a:gd name="T91" fmla="*/ 35 h 88"/>
                <a:gd name="T92" fmla="*/ 34 w 68"/>
                <a:gd name="T93" fmla="*/ 58 h 88"/>
                <a:gd name="T94" fmla="*/ 36 w 68"/>
                <a:gd name="T95" fmla="*/ 56 h 88"/>
                <a:gd name="T96" fmla="*/ 52 w 68"/>
                <a:gd name="T97" fmla="*/ 56 h 88"/>
                <a:gd name="T98" fmla="*/ 54 w 68"/>
                <a:gd name="T99" fmla="*/ 58 h 88"/>
                <a:gd name="T100" fmla="*/ 52 w 68"/>
                <a:gd name="T101" fmla="*/ 60 h 88"/>
                <a:gd name="T102" fmla="*/ 36 w 68"/>
                <a:gd name="T103" fmla="*/ 60 h 88"/>
                <a:gd name="T104" fmla="*/ 34 w 68"/>
                <a:gd name="T105" fmla="*/ 5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" h="88">
                  <a:moveTo>
                    <a:pt x="48" y="78"/>
                  </a:moveTo>
                  <a:cubicBezTo>
                    <a:pt x="49" y="77"/>
                    <a:pt x="49" y="76"/>
                    <a:pt x="50" y="76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5" y="88"/>
                    <a:pt x="45" y="88"/>
                    <a:pt x="45" y="88"/>
                  </a:cubicBezTo>
                  <a:lnTo>
                    <a:pt x="48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36" y="40"/>
                  </a:moveTo>
                  <a:cubicBezTo>
                    <a:pt x="52" y="40"/>
                    <a:pt x="52" y="40"/>
                    <a:pt x="52" y="40"/>
                  </a:cubicBezTo>
                  <a:cubicBezTo>
                    <a:pt x="53" y="40"/>
                    <a:pt x="54" y="41"/>
                    <a:pt x="54" y="42"/>
                  </a:cubicBezTo>
                  <a:cubicBezTo>
                    <a:pt x="54" y="43"/>
                    <a:pt x="53" y="44"/>
                    <a:pt x="52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5" y="44"/>
                    <a:pt x="34" y="43"/>
                    <a:pt x="34" y="42"/>
                  </a:cubicBezTo>
                  <a:cubicBezTo>
                    <a:pt x="34" y="41"/>
                    <a:pt x="35" y="40"/>
                    <a:pt x="36" y="40"/>
                  </a:cubicBezTo>
                  <a:close/>
                  <a:moveTo>
                    <a:pt x="31" y="51"/>
                  </a:moveTo>
                  <a:cubicBezTo>
                    <a:pt x="21" y="61"/>
                    <a:pt x="21" y="61"/>
                    <a:pt x="21" y="61"/>
                  </a:cubicBezTo>
                  <a:cubicBezTo>
                    <a:pt x="21" y="62"/>
                    <a:pt x="21" y="62"/>
                    <a:pt x="20" y="62"/>
                  </a:cubicBezTo>
                  <a:cubicBezTo>
                    <a:pt x="19" y="62"/>
                    <a:pt x="19" y="62"/>
                    <a:pt x="19" y="61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2" y="55"/>
                    <a:pt x="12" y="53"/>
                    <a:pt x="13" y="53"/>
                  </a:cubicBezTo>
                  <a:cubicBezTo>
                    <a:pt x="13" y="52"/>
                    <a:pt x="15" y="52"/>
                    <a:pt x="15" y="53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8"/>
                    <a:pt x="31" y="48"/>
                    <a:pt x="31" y="49"/>
                  </a:cubicBezTo>
                  <a:cubicBezTo>
                    <a:pt x="32" y="49"/>
                    <a:pt x="32" y="51"/>
                    <a:pt x="31" y="51"/>
                  </a:cubicBezTo>
                  <a:close/>
                  <a:moveTo>
                    <a:pt x="31" y="35"/>
                  </a:moveTo>
                  <a:cubicBezTo>
                    <a:pt x="21" y="45"/>
                    <a:pt x="21" y="45"/>
                    <a:pt x="21" y="45"/>
                  </a:cubicBezTo>
                  <a:cubicBezTo>
                    <a:pt x="21" y="46"/>
                    <a:pt x="21" y="46"/>
                    <a:pt x="20" y="46"/>
                  </a:cubicBezTo>
                  <a:cubicBezTo>
                    <a:pt x="19" y="46"/>
                    <a:pt x="19" y="46"/>
                    <a:pt x="19" y="45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9"/>
                    <a:pt x="12" y="37"/>
                    <a:pt x="13" y="37"/>
                  </a:cubicBezTo>
                  <a:cubicBezTo>
                    <a:pt x="13" y="36"/>
                    <a:pt x="15" y="36"/>
                    <a:pt x="15" y="37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2"/>
                    <a:pt x="31" y="32"/>
                    <a:pt x="31" y="33"/>
                  </a:cubicBezTo>
                  <a:cubicBezTo>
                    <a:pt x="32" y="33"/>
                    <a:pt x="32" y="35"/>
                    <a:pt x="31" y="35"/>
                  </a:cubicBezTo>
                  <a:close/>
                  <a:moveTo>
                    <a:pt x="34" y="58"/>
                  </a:moveTo>
                  <a:cubicBezTo>
                    <a:pt x="34" y="57"/>
                    <a:pt x="35" y="56"/>
                    <a:pt x="36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3" y="56"/>
                    <a:pt x="54" y="57"/>
                    <a:pt x="54" y="58"/>
                  </a:cubicBezTo>
                  <a:cubicBezTo>
                    <a:pt x="54" y="59"/>
                    <a:pt x="53" y="60"/>
                    <a:pt x="52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0"/>
                    <a:pt x="34" y="59"/>
                    <a:pt x="34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52" name="Rectangle: Rounded Corners 91">
            <a:extLst>
              <a:ext uri="{FF2B5EF4-FFF2-40B4-BE49-F238E27FC236}">
                <a16:creationId xmlns:a16="http://schemas.microsoft.com/office/drawing/2014/main" xmlns="" id="{E7A419D7-C0E1-4913-9D8E-B6F114BC8688}"/>
              </a:ext>
            </a:extLst>
          </p:cNvPr>
          <p:cNvSpPr/>
          <p:nvPr/>
        </p:nvSpPr>
        <p:spPr>
          <a:xfrm>
            <a:off x="7938768" y="4875071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xmlns="" id="{CB61AE44-179F-4132-B819-155EDD41A3DA}"/>
              </a:ext>
            </a:extLst>
          </p:cNvPr>
          <p:cNvSpPr/>
          <p:nvPr/>
        </p:nvSpPr>
        <p:spPr>
          <a:xfrm>
            <a:off x="7968959" y="4910782"/>
            <a:ext cx="344222" cy="34422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dirty="0">
                <a:ea typeface="08서울남산체 B" panose="02020603020101020101" pitchFamily="18" charset="-127"/>
              </a:rPr>
              <a:t>5</a:t>
            </a:r>
          </a:p>
        </p:txBody>
      </p:sp>
      <p:sp>
        <p:nvSpPr>
          <p:cNvPr id="48" name="Rectangle: Rounded Corners 92">
            <a:extLst>
              <a:ext uri="{FF2B5EF4-FFF2-40B4-BE49-F238E27FC236}">
                <a16:creationId xmlns:a16="http://schemas.microsoft.com/office/drawing/2014/main" xmlns="" id="{D119E949-FCFD-4ABF-AA72-6A3F2B2887D1}"/>
              </a:ext>
            </a:extLst>
          </p:cNvPr>
          <p:cNvSpPr/>
          <p:nvPr/>
        </p:nvSpPr>
        <p:spPr>
          <a:xfrm>
            <a:off x="9580661" y="4873343"/>
            <a:ext cx="2362200" cy="419100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ea typeface="08서울남산체 B" panose="02020603020101020101" pitchFamily="18" charset="-127"/>
            </a:endParaRPr>
          </a:p>
        </p:txBody>
      </p:sp>
      <p:sp>
        <p:nvSpPr>
          <p:cNvPr id="49" name="Oval 94">
            <a:extLst>
              <a:ext uri="{FF2B5EF4-FFF2-40B4-BE49-F238E27FC236}">
                <a16:creationId xmlns:a16="http://schemas.microsoft.com/office/drawing/2014/main" xmlns="" id="{B3FDB47F-08E5-47C3-80CA-7E520ED3BF23}"/>
              </a:ext>
            </a:extLst>
          </p:cNvPr>
          <p:cNvSpPr/>
          <p:nvPr/>
        </p:nvSpPr>
        <p:spPr>
          <a:xfrm>
            <a:off x="9635770" y="4910782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ea typeface="08서울남산체 B" panose="02020603020101020101" pitchFamily="18" charset="-127"/>
              </a:rPr>
              <a:t>6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9580661" y="4151404"/>
            <a:ext cx="22418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6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략의 기대효과 및 한계점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53" name="Group 123">
            <a:extLst>
              <a:ext uri="{FF2B5EF4-FFF2-40B4-BE49-F238E27FC236}">
                <a16:creationId xmlns:a16="http://schemas.microsoft.com/office/drawing/2014/main" xmlns="" id="{A69F0DA6-7FDD-438C-9D97-4B34F1B9D9EB}"/>
              </a:ext>
            </a:extLst>
          </p:cNvPr>
          <p:cNvGrpSpPr/>
          <p:nvPr/>
        </p:nvGrpSpPr>
        <p:grpSpPr>
          <a:xfrm>
            <a:off x="6216988" y="3790066"/>
            <a:ext cx="287338" cy="287338"/>
            <a:chOff x="4319588" y="4213225"/>
            <a:chExt cx="287338" cy="287338"/>
          </a:xfrm>
          <a:solidFill>
            <a:schemeClr val="accent3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4" name="Freeform 421">
              <a:extLst>
                <a:ext uri="{FF2B5EF4-FFF2-40B4-BE49-F238E27FC236}">
                  <a16:creationId xmlns:a16="http://schemas.microsoft.com/office/drawing/2014/main" xmlns="" id="{ED8BFC4A-AD7A-450C-9436-61A3550C9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988" y="4213225"/>
              <a:ext cx="134938" cy="133350"/>
            </a:xfrm>
            <a:custGeom>
              <a:avLst/>
              <a:gdLst>
                <a:gd name="T0" fmla="*/ 15 w 422"/>
                <a:gd name="T1" fmla="*/ 422 h 422"/>
                <a:gd name="T2" fmla="*/ 407 w 422"/>
                <a:gd name="T3" fmla="*/ 422 h 422"/>
                <a:gd name="T4" fmla="*/ 409 w 422"/>
                <a:gd name="T5" fmla="*/ 421 h 422"/>
                <a:gd name="T6" fmla="*/ 412 w 422"/>
                <a:gd name="T7" fmla="*/ 421 h 422"/>
                <a:gd name="T8" fmla="*/ 414 w 422"/>
                <a:gd name="T9" fmla="*/ 419 h 422"/>
                <a:gd name="T10" fmla="*/ 416 w 422"/>
                <a:gd name="T11" fmla="*/ 417 h 422"/>
                <a:gd name="T12" fmla="*/ 419 w 422"/>
                <a:gd name="T13" fmla="*/ 414 h 422"/>
                <a:gd name="T14" fmla="*/ 420 w 422"/>
                <a:gd name="T15" fmla="*/ 412 h 422"/>
                <a:gd name="T16" fmla="*/ 421 w 422"/>
                <a:gd name="T17" fmla="*/ 409 h 422"/>
                <a:gd name="T18" fmla="*/ 422 w 422"/>
                <a:gd name="T19" fmla="*/ 407 h 422"/>
                <a:gd name="T20" fmla="*/ 421 w 422"/>
                <a:gd name="T21" fmla="*/ 386 h 422"/>
                <a:gd name="T22" fmla="*/ 420 w 422"/>
                <a:gd name="T23" fmla="*/ 365 h 422"/>
                <a:gd name="T24" fmla="*/ 416 w 422"/>
                <a:gd name="T25" fmla="*/ 345 h 422"/>
                <a:gd name="T26" fmla="*/ 413 w 422"/>
                <a:gd name="T27" fmla="*/ 324 h 422"/>
                <a:gd name="T28" fmla="*/ 409 w 422"/>
                <a:gd name="T29" fmla="*/ 305 h 422"/>
                <a:gd name="T30" fmla="*/ 403 w 422"/>
                <a:gd name="T31" fmla="*/ 286 h 422"/>
                <a:gd name="T32" fmla="*/ 397 w 422"/>
                <a:gd name="T33" fmla="*/ 266 h 422"/>
                <a:gd name="T34" fmla="*/ 390 w 422"/>
                <a:gd name="T35" fmla="*/ 248 h 422"/>
                <a:gd name="T36" fmla="*/ 381 w 422"/>
                <a:gd name="T37" fmla="*/ 230 h 422"/>
                <a:gd name="T38" fmla="*/ 372 w 422"/>
                <a:gd name="T39" fmla="*/ 213 h 422"/>
                <a:gd name="T40" fmla="*/ 363 w 422"/>
                <a:gd name="T41" fmla="*/ 196 h 422"/>
                <a:gd name="T42" fmla="*/ 352 w 422"/>
                <a:gd name="T43" fmla="*/ 180 h 422"/>
                <a:gd name="T44" fmla="*/ 340 w 422"/>
                <a:gd name="T45" fmla="*/ 163 h 422"/>
                <a:gd name="T46" fmla="*/ 329 w 422"/>
                <a:gd name="T47" fmla="*/ 148 h 422"/>
                <a:gd name="T48" fmla="*/ 316 w 422"/>
                <a:gd name="T49" fmla="*/ 133 h 422"/>
                <a:gd name="T50" fmla="*/ 302 w 422"/>
                <a:gd name="T51" fmla="*/ 119 h 422"/>
                <a:gd name="T52" fmla="*/ 288 w 422"/>
                <a:gd name="T53" fmla="*/ 106 h 422"/>
                <a:gd name="T54" fmla="*/ 274 w 422"/>
                <a:gd name="T55" fmla="*/ 93 h 422"/>
                <a:gd name="T56" fmla="*/ 258 w 422"/>
                <a:gd name="T57" fmla="*/ 81 h 422"/>
                <a:gd name="T58" fmla="*/ 242 w 422"/>
                <a:gd name="T59" fmla="*/ 69 h 422"/>
                <a:gd name="T60" fmla="*/ 226 w 422"/>
                <a:gd name="T61" fmla="*/ 59 h 422"/>
                <a:gd name="T62" fmla="*/ 208 w 422"/>
                <a:gd name="T63" fmla="*/ 49 h 422"/>
                <a:gd name="T64" fmla="*/ 191 w 422"/>
                <a:gd name="T65" fmla="*/ 40 h 422"/>
                <a:gd name="T66" fmla="*/ 173 w 422"/>
                <a:gd name="T67" fmla="*/ 32 h 422"/>
                <a:gd name="T68" fmla="*/ 155 w 422"/>
                <a:gd name="T69" fmla="*/ 25 h 422"/>
                <a:gd name="T70" fmla="*/ 135 w 422"/>
                <a:gd name="T71" fmla="*/ 19 h 422"/>
                <a:gd name="T72" fmla="*/ 116 w 422"/>
                <a:gd name="T73" fmla="*/ 13 h 422"/>
                <a:gd name="T74" fmla="*/ 97 w 422"/>
                <a:gd name="T75" fmla="*/ 8 h 422"/>
                <a:gd name="T76" fmla="*/ 76 w 422"/>
                <a:gd name="T77" fmla="*/ 5 h 422"/>
                <a:gd name="T78" fmla="*/ 56 w 422"/>
                <a:gd name="T79" fmla="*/ 3 h 422"/>
                <a:gd name="T80" fmla="*/ 36 w 422"/>
                <a:gd name="T81" fmla="*/ 0 h 422"/>
                <a:gd name="T82" fmla="*/ 15 w 422"/>
                <a:gd name="T83" fmla="*/ 0 h 422"/>
                <a:gd name="T84" fmla="*/ 12 w 422"/>
                <a:gd name="T85" fmla="*/ 0 h 422"/>
                <a:gd name="T86" fmla="*/ 9 w 422"/>
                <a:gd name="T87" fmla="*/ 2 h 422"/>
                <a:gd name="T88" fmla="*/ 7 w 422"/>
                <a:gd name="T89" fmla="*/ 3 h 422"/>
                <a:gd name="T90" fmla="*/ 5 w 422"/>
                <a:gd name="T91" fmla="*/ 5 h 422"/>
                <a:gd name="T92" fmla="*/ 2 w 422"/>
                <a:gd name="T93" fmla="*/ 7 h 422"/>
                <a:gd name="T94" fmla="*/ 1 w 422"/>
                <a:gd name="T95" fmla="*/ 9 h 422"/>
                <a:gd name="T96" fmla="*/ 0 w 422"/>
                <a:gd name="T97" fmla="*/ 12 h 422"/>
                <a:gd name="T98" fmla="*/ 0 w 422"/>
                <a:gd name="T99" fmla="*/ 15 h 422"/>
                <a:gd name="T100" fmla="*/ 0 w 422"/>
                <a:gd name="T101" fmla="*/ 406 h 422"/>
                <a:gd name="T102" fmla="*/ 0 w 422"/>
                <a:gd name="T103" fmla="*/ 409 h 422"/>
                <a:gd name="T104" fmla="*/ 1 w 422"/>
                <a:gd name="T105" fmla="*/ 412 h 422"/>
                <a:gd name="T106" fmla="*/ 2 w 422"/>
                <a:gd name="T107" fmla="*/ 414 h 422"/>
                <a:gd name="T108" fmla="*/ 5 w 422"/>
                <a:gd name="T109" fmla="*/ 417 h 422"/>
                <a:gd name="T110" fmla="*/ 7 w 422"/>
                <a:gd name="T111" fmla="*/ 419 h 422"/>
                <a:gd name="T112" fmla="*/ 9 w 422"/>
                <a:gd name="T113" fmla="*/ 421 h 422"/>
                <a:gd name="T114" fmla="*/ 12 w 422"/>
                <a:gd name="T115" fmla="*/ 421 h 422"/>
                <a:gd name="T116" fmla="*/ 15 w 422"/>
                <a:gd name="T117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2" h="422">
                  <a:moveTo>
                    <a:pt x="15" y="422"/>
                  </a:moveTo>
                  <a:lnTo>
                    <a:pt x="407" y="422"/>
                  </a:lnTo>
                  <a:lnTo>
                    <a:pt x="409" y="421"/>
                  </a:lnTo>
                  <a:lnTo>
                    <a:pt x="412" y="421"/>
                  </a:lnTo>
                  <a:lnTo>
                    <a:pt x="414" y="419"/>
                  </a:lnTo>
                  <a:lnTo>
                    <a:pt x="416" y="417"/>
                  </a:lnTo>
                  <a:lnTo>
                    <a:pt x="419" y="414"/>
                  </a:lnTo>
                  <a:lnTo>
                    <a:pt x="420" y="412"/>
                  </a:lnTo>
                  <a:lnTo>
                    <a:pt x="421" y="409"/>
                  </a:lnTo>
                  <a:lnTo>
                    <a:pt x="422" y="407"/>
                  </a:lnTo>
                  <a:lnTo>
                    <a:pt x="421" y="386"/>
                  </a:lnTo>
                  <a:lnTo>
                    <a:pt x="420" y="365"/>
                  </a:lnTo>
                  <a:lnTo>
                    <a:pt x="416" y="345"/>
                  </a:lnTo>
                  <a:lnTo>
                    <a:pt x="413" y="324"/>
                  </a:lnTo>
                  <a:lnTo>
                    <a:pt x="409" y="305"/>
                  </a:lnTo>
                  <a:lnTo>
                    <a:pt x="403" y="286"/>
                  </a:lnTo>
                  <a:lnTo>
                    <a:pt x="397" y="266"/>
                  </a:lnTo>
                  <a:lnTo>
                    <a:pt x="390" y="248"/>
                  </a:lnTo>
                  <a:lnTo>
                    <a:pt x="381" y="230"/>
                  </a:lnTo>
                  <a:lnTo>
                    <a:pt x="372" y="213"/>
                  </a:lnTo>
                  <a:lnTo>
                    <a:pt x="363" y="196"/>
                  </a:lnTo>
                  <a:lnTo>
                    <a:pt x="352" y="180"/>
                  </a:lnTo>
                  <a:lnTo>
                    <a:pt x="340" y="163"/>
                  </a:lnTo>
                  <a:lnTo>
                    <a:pt x="329" y="148"/>
                  </a:lnTo>
                  <a:lnTo>
                    <a:pt x="316" y="133"/>
                  </a:lnTo>
                  <a:lnTo>
                    <a:pt x="302" y="119"/>
                  </a:lnTo>
                  <a:lnTo>
                    <a:pt x="288" y="106"/>
                  </a:lnTo>
                  <a:lnTo>
                    <a:pt x="274" y="93"/>
                  </a:lnTo>
                  <a:lnTo>
                    <a:pt x="258" y="81"/>
                  </a:lnTo>
                  <a:lnTo>
                    <a:pt x="242" y="69"/>
                  </a:lnTo>
                  <a:lnTo>
                    <a:pt x="226" y="59"/>
                  </a:lnTo>
                  <a:lnTo>
                    <a:pt x="208" y="49"/>
                  </a:lnTo>
                  <a:lnTo>
                    <a:pt x="191" y="40"/>
                  </a:lnTo>
                  <a:lnTo>
                    <a:pt x="173" y="32"/>
                  </a:lnTo>
                  <a:lnTo>
                    <a:pt x="155" y="25"/>
                  </a:lnTo>
                  <a:lnTo>
                    <a:pt x="135" y="19"/>
                  </a:lnTo>
                  <a:lnTo>
                    <a:pt x="116" y="13"/>
                  </a:lnTo>
                  <a:lnTo>
                    <a:pt x="97" y="8"/>
                  </a:lnTo>
                  <a:lnTo>
                    <a:pt x="76" y="5"/>
                  </a:lnTo>
                  <a:lnTo>
                    <a:pt x="56" y="3"/>
                  </a:lnTo>
                  <a:lnTo>
                    <a:pt x="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2"/>
                  </a:lnTo>
                  <a:lnTo>
                    <a:pt x="2" y="414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2" y="421"/>
                  </a:lnTo>
                  <a:lnTo>
                    <a:pt x="15" y="4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55" name="Freeform 422">
              <a:extLst>
                <a:ext uri="{FF2B5EF4-FFF2-40B4-BE49-F238E27FC236}">
                  <a16:creationId xmlns:a16="http://schemas.microsoft.com/office/drawing/2014/main" xmlns="" id="{514E4520-CDE0-4A68-84FA-8F1880A84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4241800"/>
              <a:ext cx="220663" cy="258763"/>
            </a:xfrm>
            <a:custGeom>
              <a:avLst/>
              <a:gdLst>
                <a:gd name="T0" fmla="*/ 421 w 698"/>
                <a:gd name="T1" fmla="*/ 15 h 813"/>
                <a:gd name="T2" fmla="*/ 420 w 698"/>
                <a:gd name="T3" fmla="*/ 8 h 813"/>
                <a:gd name="T4" fmla="*/ 417 w 698"/>
                <a:gd name="T5" fmla="*/ 4 h 813"/>
                <a:gd name="T6" fmla="*/ 413 w 698"/>
                <a:gd name="T7" fmla="*/ 1 h 813"/>
                <a:gd name="T8" fmla="*/ 406 w 698"/>
                <a:gd name="T9" fmla="*/ 0 h 813"/>
                <a:gd name="T10" fmla="*/ 365 w 698"/>
                <a:gd name="T11" fmla="*/ 2 h 813"/>
                <a:gd name="T12" fmla="*/ 325 w 698"/>
                <a:gd name="T13" fmla="*/ 8 h 813"/>
                <a:gd name="T14" fmla="*/ 286 w 698"/>
                <a:gd name="T15" fmla="*/ 18 h 813"/>
                <a:gd name="T16" fmla="*/ 249 w 698"/>
                <a:gd name="T17" fmla="*/ 32 h 813"/>
                <a:gd name="T18" fmla="*/ 213 w 698"/>
                <a:gd name="T19" fmla="*/ 49 h 813"/>
                <a:gd name="T20" fmla="*/ 180 w 698"/>
                <a:gd name="T21" fmla="*/ 69 h 813"/>
                <a:gd name="T22" fmla="*/ 148 w 698"/>
                <a:gd name="T23" fmla="*/ 92 h 813"/>
                <a:gd name="T24" fmla="*/ 120 w 698"/>
                <a:gd name="T25" fmla="*/ 119 h 813"/>
                <a:gd name="T26" fmla="*/ 93 w 698"/>
                <a:gd name="T27" fmla="*/ 148 h 813"/>
                <a:gd name="T28" fmla="*/ 69 w 698"/>
                <a:gd name="T29" fmla="*/ 179 h 813"/>
                <a:gd name="T30" fmla="*/ 49 w 698"/>
                <a:gd name="T31" fmla="*/ 212 h 813"/>
                <a:gd name="T32" fmla="*/ 32 w 698"/>
                <a:gd name="T33" fmla="*/ 247 h 813"/>
                <a:gd name="T34" fmla="*/ 19 w 698"/>
                <a:gd name="T35" fmla="*/ 285 h 813"/>
                <a:gd name="T36" fmla="*/ 8 w 698"/>
                <a:gd name="T37" fmla="*/ 325 h 813"/>
                <a:gd name="T38" fmla="*/ 2 w 698"/>
                <a:gd name="T39" fmla="*/ 364 h 813"/>
                <a:gd name="T40" fmla="*/ 0 w 698"/>
                <a:gd name="T41" fmla="*/ 406 h 813"/>
                <a:gd name="T42" fmla="*/ 2 w 698"/>
                <a:gd name="T43" fmla="*/ 447 h 813"/>
                <a:gd name="T44" fmla="*/ 8 w 698"/>
                <a:gd name="T45" fmla="*/ 488 h 813"/>
                <a:gd name="T46" fmla="*/ 19 w 698"/>
                <a:gd name="T47" fmla="*/ 526 h 813"/>
                <a:gd name="T48" fmla="*/ 32 w 698"/>
                <a:gd name="T49" fmla="*/ 564 h 813"/>
                <a:gd name="T50" fmla="*/ 49 w 698"/>
                <a:gd name="T51" fmla="*/ 599 h 813"/>
                <a:gd name="T52" fmla="*/ 69 w 698"/>
                <a:gd name="T53" fmla="*/ 633 h 813"/>
                <a:gd name="T54" fmla="*/ 93 w 698"/>
                <a:gd name="T55" fmla="*/ 665 h 813"/>
                <a:gd name="T56" fmla="*/ 120 w 698"/>
                <a:gd name="T57" fmla="*/ 694 h 813"/>
                <a:gd name="T58" fmla="*/ 148 w 698"/>
                <a:gd name="T59" fmla="*/ 719 h 813"/>
                <a:gd name="T60" fmla="*/ 180 w 698"/>
                <a:gd name="T61" fmla="*/ 743 h 813"/>
                <a:gd name="T62" fmla="*/ 213 w 698"/>
                <a:gd name="T63" fmla="*/ 763 h 813"/>
                <a:gd name="T64" fmla="*/ 249 w 698"/>
                <a:gd name="T65" fmla="*/ 780 h 813"/>
                <a:gd name="T66" fmla="*/ 286 w 698"/>
                <a:gd name="T67" fmla="*/ 794 h 813"/>
                <a:gd name="T68" fmla="*/ 325 w 698"/>
                <a:gd name="T69" fmla="*/ 804 h 813"/>
                <a:gd name="T70" fmla="*/ 365 w 698"/>
                <a:gd name="T71" fmla="*/ 810 h 813"/>
                <a:gd name="T72" fmla="*/ 406 w 698"/>
                <a:gd name="T73" fmla="*/ 813 h 813"/>
                <a:gd name="T74" fmla="*/ 447 w 698"/>
                <a:gd name="T75" fmla="*/ 810 h 813"/>
                <a:gd name="T76" fmla="*/ 487 w 698"/>
                <a:gd name="T77" fmla="*/ 804 h 813"/>
                <a:gd name="T78" fmla="*/ 525 w 698"/>
                <a:gd name="T79" fmla="*/ 794 h 813"/>
                <a:gd name="T80" fmla="*/ 562 w 698"/>
                <a:gd name="T81" fmla="*/ 782 h 813"/>
                <a:gd name="T82" fmla="*/ 598 w 698"/>
                <a:gd name="T83" fmla="*/ 764 h 813"/>
                <a:gd name="T84" fmla="*/ 632 w 698"/>
                <a:gd name="T85" fmla="*/ 744 h 813"/>
                <a:gd name="T86" fmla="*/ 664 w 698"/>
                <a:gd name="T87" fmla="*/ 720 h 813"/>
                <a:gd name="T88" fmla="*/ 694 w 698"/>
                <a:gd name="T89" fmla="*/ 694 h 813"/>
                <a:gd name="T90" fmla="*/ 697 w 698"/>
                <a:gd name="T91" fmla="*/ 688 h 813"/>
                <a:gd name="T92" fmla="*/ 698 w 698"/>
                <a:gd name="T93" fmla="*/ 683 h 813"/>
                <a:gd name="T94" fmla="*/ 697 w 698"/>
                <a:gd name="T95" fmla="*/ 676 h 813"/>
                <a:gd name="T96" fmla="*/ 694 w 698"/>
                <a:gd name="T97" fmla="*/ 672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98" h="813">
                  <a:moveTo>
                    <a:pt x="421" y="400"/>
                  </a:moveTo>
                  <a:lnTo>
                    <a:pt x="421" y="15"/>
                  </a:lnTo>
                  <a:lnTo>
                    <a:pt x="421" y="11"/>
                  </a:lnTo>
                  <a:lnTo>
                    <a:pt x="420" y="8"/>
                  </a:lnTo>
                  <a:lnTo>
                    <a:pt x="419" y="6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386" y="0"/>
                  </a:lnTo>
                  <a:lnTo>
                    <a:pt x="365" y="2"/>
                  </a:lnTo>
                  <a:lnTo>
                    <a:pt x="345" y="4"/>
                  </a:lnTo>
                  <a:lnTo>
                    <a:pt x="325" y="8"/>
                  </a:lnTo>
                  <a:lnTo>
                    <a:pt x="305" y="12"/>
                  </a:lnTo>
                  <a:lnTo>
                    <a:pt x="286" y="18"/>
                  </a:lnTo>
                  <a:lnTo>
                    <a:pt x="267" y="24"/>
                  </a:lnTo>
                  <a:lnTo>
                    <a:pt x="249" y="32"/>
                  </a:lnTo>
                  <a:lnTo>
                    <a:pt x="230" y="39"/>
                  </a:lnTo>
                  <a:lnTo>
                    <a:pt x="213" y="49"/>
                  </a:lnTo>
                  <a:lnTo>
                    <a:pt x="196" y="59"/>
                  </a:lnTo>
                  <a:lnTo>
                    <a:pt x="180" y="69"/>
                  </a:lnTo>
                  <a:lnTo>
                    <a:pt x="164" y="80"/>
                  </a:lnTo>
                  <a:lnTo>
                    <a:pt x="148" y="92"/>
                  </a:lnTo>
                  <a:lnTo>
                    <a:pt x="134" y="105"/>
                  </a:lnTo>
                  <a:lnTo>
                    <a:pt x="120" y="119"/>
                  </a:lnTo>
                  <a:lnTo>
                    <a:pt x="106" y="133"/>
                  </a:lnTo>
                  <a:lnTo>
                    <a:pt x="93" y="148"/>
                  </a:lnTo>
                  <a:lnTo>
                    <a:pt x="81" y="163"/>
                  </a:lnTo>
                  <a:lnTo>
                    <a:pt x="69" y="179"/>
                  </a:lnTo>
                  <a:lnTo>
                    <a:pt x="59" y="195"/>
                  </a:lnTo>
                  <a:lnTo>
                    <a:pt x="49" y="212"/>
                  </a:lnTo>
                  <a:lnTo>
                    <a:pt x="40" y="230"/>
                  </a:lnTo>
                  <a:lnTo>
                    <a:pt x="32" y="247"/>
                  </a:lnTo>
                  <a:lnTo>
                    <a:pt x="24" y="267"/>
                  </a:lnTo>
                  <a:lnTo>
                    <a:pt x="19" y="285"/>
                  </a:lnTo>
                  <a:lnTo>
                    <a:pt x="13" y="304"/>
                  </a:lnTo>
                  <a:lnTo>
                    <a:pt x="8" y="325"/>
                  </a:lnTo>
                  <a:lnTo>
                    <a:pt x="5" y="344"/>
                  </a:lnTo>
                  <a:lnTo>
                    <a:pt x="2" y="364"/>
                  </a:lnTo>
                  <a:lnTo>
                    <a:pt x="1" y="385"/>
                  </a:lnTo>
                  <a:lnTo>
                    <a:pt x="0" y="406"/>
                  </a:lnTo>
                  <a:lnTo>
                    <a:pt x="1" y="426"/>
                  </a:lnTo>
                  <a:lnTo>
                    <a:pt x="2" y="447"/>
                  </a:lnTo>
                  <a:lnTo>
                    <a:pt x="5" y="467"/>
                  </a:lnTo>
                  <a:lnTo>
                    <a:pt x="8" y="488"/>
                  </a:lnTo>
                  <a:lnTo>
                    <a:pt x="13" y="507"/>
                  </a:lnTo>
                  <a:lnTo>
                    <a:pt x="19" y="526"/>
                  </a:lnTo>
                  <a:lnTo>
                    <a:pt x="24" y="546"/>
                  </a:lnTo>
                  <a:lnTo>
                    <a:pt x="32" y="564"/>
                  </a:lnTo>
                  <a:lnTo>
                    <a:pt x="40" y="582"/>
                  </a:lnTo>
                  <a:lnTo>
                    <a:pt x="49" y="599"/>
                  </a:lnTo>
                  <a:lnTo>
                    <a:pt x="59" y="616"/>
                  </a:lnTo>
                  <a:lnTo>
                    <a:pt x="69" y="633"/>
                  </a:lnTo>
                  <a:lnTo>
                    <a:pt x="81" y="649"/>
                  </a:lnTo>
                  <a:lnTo>
                    <a:pt x="93" y="665"/>
                  </a:lnTo>
                  <a:lnTo>
                    <a:pt x="106" y="679"/>
                  </a:lnTo>
                  <a:lnTo>
                    <a:pt x="120" y="694"/>
                  </a:lnTo>
                  <a:lnTo>
                    <a:pt x="134" y="706"/>
                  </a:lnTo>
                  <a:lnTo>
                    <a:pt x="148" y="719"/>
                  </a:lnTo>
                  <a:lnTo>
                    <a:pt x="164" y="731"/>
                  </a:lnTo>
                  <a:lnTo>
                    <a:pt x="180" y="743"/>
                  </a:lnTo>
                  <a:lnTo>
                    <a:pt x="196" y="754"/>
                  </a:lnTo>
                  <a:lnTo>
                    <a:pt x="213" y="763"/>
                  </a:lnTo>
                  <a:lnTo>
                    <a:pt x="230" y="772"/>
                  </a:lnTo>
                  <a:lnTo>
                    <a:pt x="249" y="780"/>
                  </a:lnTo>
                  <a:lnTo>
                    <a:pt x="267" y="788"/>
                  </a:lnTo>
                  <a:lnTo>
                    <a:pt x="286" y="794"/>
                  </a:lnTo>
                  <a:lnTo>
                    <a:pt x="305" y="800"/>
                  </a:lnTo>
                  <a:lnTo>
                    <a:pt x="325" y="804"/>
                  </a:lnTo>
                  <a:lnTo>
                    <a:pt x="345" y="807"/>
                  </a:lnTo>
                  <a:lnTo>
                    <a:pt x="365" y="810"/>
                  </a:lnTo>
                  <a:lnTo>
                    <a:pt x="386" y="812"/>
                  </a:lnTo>
                  <a:lnTo>
                    <a:pt x="406" y="813"/>
                  </a:lnTo>
                  <a:lnTo>
                    <a:pt x="427" y="812"/>
                  </a:lnTo>
                  <a:lnTo>
                    <a:pt x="447" y="810"/>
                  </a:lnTo>
                  <a:lnTo>
                    <a:pt x="467" y="808"/>
                  </a:lnTo>
                  <a:lnTo>
                    <a:pt x="487" y="804"/>
                  </a:lnTo>
                  <a:lnTo>
                    <a:pt x="506" y="800"/>
                  </a:lnTo>
                  <a:lnTo>
                    <a:pt x="525" y="794"/>
                  </a:lnTo>
                  <a:lnTo>
                    <a:pt x="543" y="789"/>
                  </a:lnTo>
                  <a:lnTo>
                    <a:pt x="562" y="782"/>
                  </a:lnTo>
                  <a:lnTo>
                    <a:pt x="580" y="774"/>
                  </a:lnTo>
                  <a:lnTo>
                    <a:pt x="598" y="764"/>
                  </a:lnTo>
                  <a:lnTo>
                    <a:pt x="615" y="755"/>
                  </a:lnTo>
                  <a:lnTo>
                    <a:pt x="632" y="744"/>
                  </a:lnTo>
                  <a:lnTo>
                    <a:pt x="649" y="733"/>
                  </a:lnTo>
                  <a:lnTo>
                    <a:pt x="664" y="720"/>
                  </a:lnTo>
                  <a:lnTo>
                    <a:pt x="680" y="707"/>
                  </a:lnTo>
                  <a:lnTo>
                    <a:pt x="694" y="694"/>
                  </a:lnTo>
                  <a:lnTo>
                    <a:pt x="696" y="691"/>
                  </a:lnTo>
                  <a:lnTo>
                    <a:pt x="697" y="688"/>
                  </a:lnTo>
                  <a:lnTo>
                    <a:pt x="698" y="686"/>
                  </a:lnTo>
                  <a:lnTo>
                    <a:pt x="698" y="683"/>
                  </a:lnTo>
                  <a:lnTo>
                    <a:pt x="698" y="680"/>
                  </a:lnTo>
                  <a:lnTo>
                    <a:pt x="697" y="676"/>
                  </a:lnTo>
                  <a:lnTo>
                    <a:pt x="696" y="674"/>
                  </a:lnTo>
                  <a:lnTo>
                    <a:pt x="694" y="672"/>
                  </a:lnTo>
                  <a:lnTo>
                    <a:pt x="421" y="4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56" name="Freeform 423">
              <a:extLst>
                <a:ext uri="{FF2B5EF4-FFF2-40B4-BE49-F238E27FC236}">
                  <a16:creationId xmlns:a16="http://schemas.microsoft.com/office/drawing/2014/main" xmlns="" id="{A3B90E14-F378-48A9-929F-250A85CD4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988" y="4356100"/>
              <a:ext cx="134938" cy="98425"/>
            </a:xfrm>
            <a:custGeom>
              <a:avLst/>
              <a:gdLst>
                <a:gd name="T0" fmla="*/ 407 w 422"/>
                <a:gd name="T1" fmla="*/ 0 h 307"/>
                <a:gd name="T2" fmla="*/ 15 w 422"/>
                <a:gd name="T3" fmla="*/ 0 h 307"/>
                <a:gd name="T4" fmla="*/ 11 w 422"/>
                <a:gd name="T5" fmla="*/ 0 h 307"/>
                <a:gd name="T6" fmla="*/ 7 w 422"/>
                <a:gd name="T7" fmla="*/ 2 h 307"/>
                <a:gd name="T8" fmla="*/ 4 w 422"/>
                <a:gd name="T9" fmla="*/ 5 h 307"/>
                <a:gd name="T10" fmla="*/ 1 w 422"/>
                <a:gd name="T11" fmla="*/ 9 h 307"/>
                <a:gd name="T12" fmla="*/ 0 w 422"/>
                <a:gd name="T13" fmla="*/ 13 h 307"/>
                <a:gd name="T14" fmla="*/ 0 w 422"/>
                <a:gd name="T15" fmla="*/ 17 h 307"/>
                <a:gd name="T16" fmla="*/ 1 w 422"/>
                <a:gd name="T17" fmla="*/ 21 h 307"/>
                <a:gd name="T18" fmla="*/ 5 w 422"/>
                <a:gd name="T19" fmla="*/ 26 h 307"/>
                <a:gd name="T20" fmla="*/ 281 w 422"/>
                <a:gd name="T21" fmla="*/ 303 h 307"/>
                <a:gd name="T22" fmla="*/ 283 w 422"/>
                <a:gd name="T23" fmla="*/ 304 h 307"/>
                <a:gd name="T24" fmla="*/ 286 w 422"/>
                <a:gd name="T25" fmla="*/ 306 h 307"/>
                <a:gd name="T26" fmla="*/ 289 w 422"/>
                <a:gd name="T27" fmla="*/ 306 h 307"/>
                <a:gd name="T28" fmla="*/ 292 w 422"/>
                <a:gd name="T29" fmla="*/ 307 h 307"/>
                <a:gd name="T30" fmla="*/ 294 w 422"/>
                <a:gd name="T31" fmla="*/ 306 h 307"/>
                <a:gd name="T32" fmla="*/ 297 w 422"/>
                <a:gd name="T33" fmla="*/ 306 h 307"/>
                <a:gd name="T34" fmla="*/ 300 w 422"/>
                <a:gd name="T35" fmla="*/ 304 h 307"/>
                <a:gd name="T36" fmla="*/ 303 w 422"/>
                <a:gd name="T37" fmla="*/ 303 h 307"/>
                <a:gd name="T38" fmla="*/ 317 w 422"/>
                <a:gd name="T39" fmla="*/ 288 h 307"/>
                <a:gd name="T40" fmla="*/ 330 w 422"/>
                <a:gd name="T41" fmla="*/ 272 h 307"/>
                <a:gd name="T42" fmla="*/ 341 w 422"/>
                <a:gd name="T43" fmla="*/ 256 h 307"/>
                <a:gd name="T44" fmla="*/ 353 w 422"/>
                <a:gd name="T45" fmla="*/ 240 h 307"/>
                <a:gd name="T46" fmla="*/ 364 w 422"/>
                <a:gd name="T47" fmla="*/ 223 h 307"/>
                <a:gd name="T48" fmla="*/ 374 w 422"/>
                <a:gd name="T49" fmla="*/ 206 h 307"/>
                <a:gd name="T50" fmla="*/ 382 w 422"/>
                <a:gd name="T51" fmla="*/ 189 h 307"/>
                <a:gd name="T52" fmla="*/ 391 w 422"/>
                <a:gd name="T53" fmla="*/ 171 h 307"/>
                <a:gd name="T54" fmla="*/ 398 w 422"/>
                <a:gd name="T55" fmla="*/ 152 h 307"/>
                <a:gd name="T56" fmla="*/ 404 w 422"/>
                <a:gd name="T57" fmla="*/ 133 h 307"/>
                <a:gd name="T58" fmla="*/ 409 w 422"/>
                <a:gd name="T59" fmla="*/ 114 h 307"/>
                <a:gd name="T60" fmla="*/ 413 w 422"/>
                <a:gd name="T61" fmla="*/ 94 h 307"/>
                <a:gd name="T62" fmla="*/ 416 w 422"/>
                <a:gd name="T63" fmla="*/ 75 h 307"/>
                <a:gd name="T64" fmla="*/ 420 w 422"/>
                <a:gd name="T65" fmla="*/ 55 h 307"/>
                <a:gd name="T66" fmla="*/ 421 w 422"/>
                <a:gd name="T67" fmla="*/ 35 h 307"/>
                <a:gd name="T68" fmla="*/ 422 w 422"/>
                <a:gd name="T69" fmla="*/ 15 h 307"/>
                <a:gd name="T70" fmla="*/ 421 w 422"/>
                <a:gd name="T71" fmla="*/ 12 h 307"/>
                <a:gd name="T72" fmla="*/ 420 w 422"/>
                <a:gd name="T73" fmla="*/ 9 h 307"/>
                <a:gd name="T74" fmla="*/ 419 w 422"/>
                <a:gd name="T75" fmla="*/ 6 h 307"/>
                <a:gd name="T76" fmla="*/ 416 w 422"/>
                <a:gd name="T77" fmla="*/ 4 h 307"/>
                <a:gd name="T78" fmla="*/ 414 w 422"/>
                <a:gd name="T79" fmla="*/ 2 h 307"/>
                <a:gd name="T80" fmla="*/ 412 w 422"/>
                <a:gd name="T81" fmla="*/ 1 h 307"/>
                <a:gd name="T82" fmla="*/ 409 w 422"/>
                <a:gd name="T83" fmla="*/ 0 h 307"/>
                <a:gd name="T84" fmla="*/ 407 w 422"/>
                <a:gd name="T8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2" h="307">
                  <a:moveTo>
                    <a:pt x="407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281" y="303"/>
                  </a:lnTo>
                  <a:lnTo>
                    <a:pt x="283" y="304"/>
                  </a:lnTo>
                  <a:lnTo>
                    <a:pt x="286" y="306"/>
                  </a:lnTo>
                  <a:lnTo>
                    <a:pt x="289" y="306"/>
                  </a:lnTo>
                  <a:lnTo>
                    <a:pt x="292" y="307"/>
                  </a:lnTo>
                  <a:lnTo>
                    <a:pt x="294" y="306"/>
                  </a:lnTo>
                  <a:lnTo>
                    <a:pt x="297" y="306"/>
                  </a:lnTo>
                  <a:lnTo>
                    <a:pt x="300" y="304"/>
                  </a:lnTo>
                  <a:lnTo>
                    <a:pt x="303" y="303"/>
                  </a:lnTo>
                  <a:lnTo>
                    <a:pt x="317" y="288"/>
                  </a:lnTo>
                  <a:lnTo>
                    <a:pt x="330" y="272"/>
                  </a:lnTo>
                  <a:lnTo>
                    <a:pt x="341" y="256"/>
                  </a:lnTo>
                  <a:lnTo>
                    <a:pt x="353" y="240"/>
                  </a:lnTo>
                  <a:lnTo>
                    <a:pt x="364" y="223"/>
                  </a:lnTo>
                  <a:lnTo>
                    <a:pt x="374" y="206"/>
                  </a:lnTo>
                  <a:lnTo>
                    <a:pt x="382" y="189"/>
                  </a:lnTo>
                  <a:lnTo>
                    <a:pt x="391" y="171"/>
                  </a:lnTo>
                  <a:lnTo>
                    <a:pt x="398" y="152"/>
                  </a:lnTo>
                  <a:lnTo>
                    <a:pt x="404" y="133"/>
                  </a:lnTo>
                  <a:lnTo>
                    <a:pt x="409" y="114"/>
                  </a:lnTo>
                  <a:lnTo>
                    <a:pt x="413" y="94"/>
                  </a:lnTo>
                  <a:lnTo>
                    <a:pt x="416" y="75"/>
                  </a:lnTo>
                  <a:lnTo>
                    <a:pt x="420" y="55"/>
                  </a:lnTo>
                  <a:lnTo>
                    <a:pt x="421" y="35"/>
                  </a:lnTo>
                  <a:lnTo>
                    <a:pt x="422" y="15"/>
                  </a:lnTo>
                  <a:lnTo>
                    <a:pt x="421" y="12"/>
                  </a:lnTo>
                  <a:lnTo>
                    <a:pt x="420" y="9"/>
                  </a:lnTo>
                  <a:lnTo>
                    <a:pt x="419" y="6"/>
                  </a:lnTo>
                  <a:lnTo>
                    <a:pt x="416" y="4"/>
                  </a:lnTo>
                  <a:lnTo>
                    <a:pt x="414" y="2"/>
                  </a:lnTo>
                  <a:lnTo>
                    <a:pt x="412" y="1"/>
                  </a:lnTo>
                  <a:lnTo>
                    <a:pt x="409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58" name="Group 132">
            <a:extLst>
              <a:ext uri="{FF2B5EF4-FFF2-40B4-BE49-F238E27FC236}">
                <a16:creationId xmlns:a16="http://schemas.microsoft.com/office/drawing/2014/main" xmlns="" id="{149271C6-B79D-4F4A-BF3C-94861B13B7CA}"/>
              </a:ext>
            </a:extLst>
          </p:cNvPr>
          <p:cNvGrpSpPr/>
          <p:nvPr/>
        </p:nvGrpSpPr>
        <p:grpSpPr>
          <a:xfrm>
            <a:off x="9835272" y="3819712"/>
            <a:ext cx="287337" cy="273050"/>
            <a:chOff x="5465763" y="1358900"/>
            <a:chExt cx="287337" cy="273050"/>
          </a:xfrm>
          <a:solidFill>
            <a:schemeClr val="accent3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9" name="Freeform 567">
              <a:extLst>
                <a:ext uri="{FF2B5EF4-FFF2-40B4-BE49-F238E27FC236}">
                  <a16:creationId xmlns:a16="http://schemas.microsoft.com/office/drawing/2014/main" xmlns="" id="{AB2CC4EA-4F9C-4F59-9942-52E16240E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6413" y="1446213"/>
              <a:ext cx="76200" cy="76200"/>
            </a:xfrm>
            <a:custGeom>
              <a:avLst/>
              <a:gdLst>
                <a:gd name="T0" fmla="*/ 106 w 241"/>
                <a:gd name="T1" fmla="*/ 72 h 241"/>
                <a:gd name="T2" fmla="*/ 108 w 241"/>
                <a:gd name="T3" fmla="*/ 66 h 241"/>
                <a:gd name="T4" fmla="*/ 112 w 241"/>
                <a:gd name="T5" fmla="*/ 63 h 241"/>
                <a:gd name="T6" fmla="*/ 117 w 241"/>
                <a:gd name="T7" fmla="*/ 61 h 241"/>
                <a:gd name="T8" fmla="*/ 124 w 241"/>
                <a:gd name="T9" fmla="*/ 60 h 241"/>
                <a:gd name="T10" fmla="*/ 129 w 241"/>
                <a:gd name="T11" fmla="*/ 63 h 241"/>
                <a:gd name="T12" fmla="*/ 133 w 241"/>
                <a:gd name="T13" fmla="*/ 66 h 241"/>
                <a:gd name="T14" fmla="*/ 136 w 241"/>
                <a:gd name="T15" fmla="*/ 72 h 241"/>
                <a:gd name="T16" fmla="*/ 136 w 241"/>
                <a:gd name="T17" fmla="*/ 165 h 241"/>
                <a:gd name="T18" fmla="*/ 134 w 241"/>
                <a:gd name="T19" fmla="*/ 171 h 241"/>
                <a:gd name="T20" fmla="*/ 131 w 241"/>
                <a:gd name="T21" fmla="*/ 176 h 241"/>
                <a:gd name="T22" fmla="*/ 126 w 241"/>
                <a:gd name="T23" fmla="*/ 179 h 241"/>
                <a:gd name="T24" fmla="*/ 121 w 241"/>
                <a:gd name="T25" fmla="*/ 180 h 241"/>
                <a:gd name="T26" fmla="*/ 115 w 241"/>
                <a:gd name="T27" fmla="*/ 179 h 241"/>
                <a:gd name="T28" fmla="*/ 110 w 241"/>
                <a:gd name="T29" fmla="*/ 176 h 241"/>
                <a:gd name="T30" fmla="*/ 107 w 241"/>
                <a:gd name="T31" fmla="*/ 171 h 241"/>
                <a:gd name="T32" fmla="*/ 106 w 241"/>
                <a:gd name="T33" fmla="*/ 165 h 241"/>
                <a:gd name="T34" fmla="*/ 121 w 241"/>
                <a:gd name="T35" fmla="*/ 241 h 241"/>
                <a:gd name="T36" fmla="*/ 145 w 241"/>
                <a:gd name="T37" fmla="*/ 238 h 241"/>
                <a:gd name="T38" fmla="*/ 168 w 241"/>
                <a:gd name="T39" fmla="*/ 232 h 241"/>
                <a:gd name="T40" fmla="*/ 188 w 241"/>
                <a:gd name="T41" fmla="*/ 220 h 241"/>
                <a:gd name="T42" fmla="*/ 205 w 241"/>
                <a:gd name="T43" fmla="*/ 206 h 241"/>
                <a:gd name="T44" fmla="*/ 220 w 241"/>
                <a:gd name="T45" fmla="*/ 188 h 241"/>
                <a:gd name="T46" fmla="*/ 231 w 241"/>
                <a:gd name="T47" fmla="*/ 167 h 241"/>
                <a:gd name="T48" fmla="*/ 238 w 241"/>
                <a:gd name="T49" fmla="*/ 145 h 241"/>
                <a:gd name="T50" fmla="*/ 241 w 241"/>
                <a:gd name="T51" fmla="*/ 120 h 241"/>
                <a:gd name="T52" fmla="*/ 238 w 241"/>
                <a:gd name="T53" fmla="*/ 96 h 241"/>
                <a:gd name="T54" fmla="*/ 231 w 241"/>
                <a:gd name="T55" fmla="*/ 74 h 241"/>
                <a:gd name="T56" fmla="*/ 220 w 241"/>
                <a:gd name="T57" fmla="*/ 53 h 241"/>
                <a:gd name="T58" fmla="*/ 205 w 241"/>
                <a:gd name="T59" fmla="*/ 35 h 241"/>
                <a:gd name="T60" fmla="*/ 188 w 241"/>
                <a:gd name="T61" fmla="*/ 20 h 241"/>
                <a:gd name="T62" fmla="*/ 168 w 241"/>
                <a:gd name="T63" fmla="*/ 9 h 241"/>
                <a:gd name="T64" fmla="*/ 145 w 241"/>
                <a:gd name="T65" fmla="*/ 2 h 241"/>
                <a:gd name="T66" fmla="*/ 121 w 241"/>
                <a:gd name="T67" fmla="*/ 0 h 241"/>
                <a:gd name="T68" fmla="*/ 96 w 241"/>
                <a:gd name="T69" fmla="*/ 2 h 241"/>
                <a:gd name="T70" fmla="*/ 73 w 241"/>
                <a:gd name="T71" fmla="*/ 9 h 241"/>
                <a:gd name="T72" fmla="*/ 53 w 241"/>
                <a:gd name="T73" fmla="*/ 20 h 241"/>
                <a:gd name="T74" fmla="*/ 36 w 241"/>
                <a:gd name="T75" fmla="*/ 35 h 241"/>
                <a:gd name="T76" fmla="*/ 21 w 241"/>
                <a:gd name="T77" fmla="*/ 53 h 241"/>
                <a:gd name="T78" fmla="*/ 10 w 241"/>
                <a:gd name="T79" fmla="*/ 74 h 241"/>
                <a:gd name="T80" fmla="*/ 3 w 241"/>
                <a:gd name="T81" fmla="*/ 96 h 241"/>
                <a:gd name="T82" fmla="*/ 0 w 241"/>
                <a:gd name="T83" fmla="*/ 120 h 241"/>
                <a:gd name="T84" fmla="*/ 3 w 241"/>
                <a:gd name="T85" fmla="*/ 145 h 241"/>
                <a:gd name="T86" fmla="*/ 10 w 241"/>
                <a:gd name="T87" fmla="*/ 167 h 241"/>
                <a:gd name="T88" fmla="*/ 21 w 241"/>
                <a:gd name="T89" fmla="*/ 188 h 241"/>
                <a:gd name="T90" fmla="*/ 36 w 241"/>
                <a:gd name="T91" fmla="*/ 206 h 241"/>
                <a:gd name="T92" fmla="*/ 53 w 241"/>
                <a:gd name="T93" fmla="*/ 220 h 241"/>
                <a:gd name="T94" fmla="*/ 73 w 241"/>
                <a:gd name="T95" fmla="*/ 232 h 241"/>
                <a:gd name="T96" fmla="*/ 96 w 241"/>
                <a:gd name="T97" fmla="*/ 238 h 241"/>
                <a:gd name="T98" fmla="*/ 121 w 241"/>
                <a:gd name="T9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1">
                  <a:moveTo>
                    <a:pt x="106" y="75"/>
                  </a:moveTo>
                  <a:lnTo>
                    <a:pt x="106" y="72"/>
                  </a:lnTo>
                  <a:lnTo>
                    <a:pt x="107" y="70"/>
                  </a:lnTo>
                  <a:lnTo>
                    <a:pt x="108" y="66"/>
                  </a:lnTo>
                  <a:lnTo>
                    <a:pt x="110" y="64"/>
                  </a:lnTo>
                  <a:lnTo>
                    <a:pt x="112" y="63"/>
                  </a:lnTo>
                  <a:lnTo>
                    <a:pt x="115" y="61"/>
                  </a:lnTo>
                  <a:lnTo>
                    <a:pt x="117" y="61"/>
                  </a:lnTo>
                  <a:lnTo>
                    <a:pt x="121" y="60"/>
                  </a:lnTo>
                  <a:lnTo>
                    <a:pt x="124" y="60"/>
                  </a:lnTo>
                  <a:lnTo>
                    <a:pt x="126" y="61"/>
                  </a:lnTo>
                  <a:lnTo>
                    <a:pt x="129" y="63"/>
                  </a:lnTo>
                  <a:lnTo>
                    <a:pt x="131" y="64"/>
                  </a:lnTo>
                  <a:lnTo>
                    <a:pt x="133" y="66"/>
                  </a:lnTo>
                  <a:lnTo>
                    <a:pt x="134" y="70"/>
                  </a:lnTo>
                  <a:lnTo>
                    <a:pt x="136" y="72"/>
                  </a:lnTo>
                  <a:lnTo>
                    <a:pt x="136" y="75"/>
                  </a:lnTo>
                  <a:lnTo>
                    <a:pt x="136" y="165"/>
                  </a:lnTo>
                  <a:lnTo>
                    <a:pt x="136" y="168"/>
                  </a:lnTo>
                  <a:lnTo>
                    <a:pt x="134" y="171"/>
                  </a:lnTo>
                  <a:lnTo>
                    <a:pt x="133" y="174"/>
                  </a:lnTo>
                  <a:lnTo>
                    <a:pt x="131" y="176"/>
                  </a:lnTo>
                  <a:lnTo>
                    <a:pt x="129" y="178"/>
                  </a:lnTo>
                  <a:lnTo>
                    <a:pt x="126" y="179"/>
                  </a:lnTo>
                  <a:lnTo>
                    <a:pt x="124" y="180"/>
                  </a:lnTo>
                  <a:lnTo>
                    <a:pt x="121" y="180"/>
                  </a:lnTo>
                  <a:lnTo>
                    <a:pt x="117" y="180"/>
                  </a:lnTo>
                  <a:lnTo>
                    <a:pt x="115" y="179"/>
                  </a:lnTo>
                  <a:lnTo>
                    <a:pt x="112" y="178"/>
                  </a:lnTo>
                  <a:lnTo>
                    <a:pt x="110" y="176"/>
                  </a:lnTo>
                  <a:lnTo>
                    <a:pt x="108" y="174"/>
                  </a:lnTo>
                  <a:lnTo>
                    <a:pt x="107" y="171"/>
                  </a:lnTo>
                  <a:lnTo>
                    <a:pt x="106" y="168"/>
                  </a:lnTo>
                  <a:lnTo>
                    <a:pt x="106" y="165"/>
                  </a:lnTo>
                  <a:lnTo>
                    <a:pt x="106" y="75"/>
                  </a:lnTo>
                  <a:close/>
                  <a:moveTo>
                    <a:pt x="121" y="241"/>
                  </a:moveTo>
                  <a:lnTo>
                    <a:pt x="132" y="240"/>
                  </a:lnTo>
                  <a:lnTo>
                    <a:pt x="145" y="238"/>
                  </a:lnTo>
                  <a:lnTo>
                    <a:pt x="156" y="236"/>
                  </a:lnTo>
                  <a:lnTo>
                    <a:pt x="168" y="232"/>
                  </a:lnTo>
                  <a:lnTo>
                    <a:pt x="177" y="226"/>
                  </a:lnTo>
                  <a:lnTo>
                    <a:pt x="188" y="220"/>
                  </a:lnTo>
                  <a:lnTo>
                    <a:pt x="197" y="213"/>
                  </a:lnTo>
                  <a:lnTo>
                    <a:pt x="205" y="206"/>
                  </a:lnTo>
                  <a:lnTo>
                    <a:pt x="214" y="197"/>
                  </a:lnTo>
                  <a:lnTo>
                    <a:pt x="220" y="188"/>
                  </a:lnTo>
                  <a:lnTo>
                    <a:pt x="227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5"/>
                  </a:lnTo>
                  <a:lnTo>
                    <a:pt x="241" y="133"/>
                  </a:lnTo>
                  <a:lnTo>
                    <a:pt x="241" y="120"/>
                  </a:lnTo>
                  <a:lnTo>
                    <a:pt x="241" y="108"/>
                  </a:lnTo>
                  <a:lnTo>
                    <a:pt x="238" y="96"/>
                  </a:lnTo>
                  <a:lnTo>
                    <a:pt x="235" y="85"/>
                  </a:lnTo>
                  <a:lnTo>
                    <a:pt x="231" y="74"/>
                  </a:lnTo>
                  <a:lnTo>
                    <a:pt x="227" y="63"/>
                  </a:lnTo>
                  <a:lnTo>
                    <a:pt x="220" y="53"/>
                  </a:lnTo>
                  <a:lnTo>
                    <a:pt x="214" y="44"/>
                  </a:lnTo>
                  <a:lnTo>
                    <a:pt x="205" y="35"/>
                  </a:lnTo>
                  <a:lnTo>
                    <a:pt x="197" y="28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8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4" y="15"/>
                  </a:lnTo>
                  <a:lnTo>
                    <a:pt x="53" y="20"/>
                  </a:lnTo>
                  <a:lnTo>
                    <a:pt x="44" y="28"/>
                  </a:lnTo>
                  <a:lnTo>
                    <a:pt x="36" y="35"/>
                  </a:lnTo>
                  <a:lnTo>
                    <a:pt x="27" y="44"/>
                  </a:lnTo>
                  <a:lnTo>
                    <a:pt x="21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6" y="85"/>
                  </a:lnTo>
                  <a:lnTo>
                    <a:pt x="3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3" y="145"/>
                  </a:lnTo>
                  <a:lnTo>
                    <a:pt x="6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1" y="188"/>
                  </a:lnTo>
                  <a:lnTo>
                    <a:pt x="27" y="197"/>
                  </a:lnTo>
                  <a:lnTo>
                    <a:pt x="36" y="206"/>
                  </a:lnTo>
                  <a:lnTo>
                    <a:pt x="44" y="213"/>
                  </a:lnTo>
                  <a:lnTo>
                    <a:pt x="53" y="220"/>
                  </a:lnTo>
                  <a:lnTo>
                    <a:pt x="64" y="226"/>
                  </a:lnTo>
                  <a:lnTo>
                    <a:pt x="73" y="232"/>
                  </a:lnTo>
                  <a:lnTo>
                    <a:pt x="85" y="236"/>
                  </a:lnTo>
                  <a:lnTo>
                    <a:pt x="96" y="238"/>
                  </a:lnTo>
                  <a:lnTo>
                    <a:pt x="109" y="240"/>
                  </a:lnTo>
                  <a:lnTo>
                    <a:pt x="12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60" name="Freeform 568">
              <a:extLst>
                <a:ext uri="{FF2B5EF4-FFF2-40B4-BE49-F238E27FC236}">
                  <a16:creationId xmlns:a16="http://schemas.microsoft.com/office/drawing/2014/main" xmlns="" id="{356FBCE6-6C3A-43EE-A209-A86CCA097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3563" y="1358900"/>
              <a:ext cx="76200" cy="77788"/>
            </a:xfrm>
            <a:custGeom>
              <a:avLst/>
              <a:gdLst>
                <a:gd name="T0" fmla="*/ 106 w 241"/>
                <a:gd name="T1" fmla="*/ 73 h 242"/>
                <a:gd name="T2" fmla="*/ 108 w 241"/>
                <a:gd name="T3" fmla="*/ 68 h 242"/>
                <a:gd name="T4" fmla="*/ 112 w 241"/>
                <a:gd name="T5" fmla="*/ 64 h 242"/>
                <a:gd name="T6" fmla="*/ 118 w 241"/>
                <a:gd name="T7" fmla="*/ 62 h 242"/>
                <a:gd name="T8" fmla="*/ 123 w 241"/>
                <a:gd name="T9" fmla="*/ 62 h 242"/>
                <a:gd name="T10" fmla="*/ 128 w 241"/>
                <a:gd name="T11" fmla="*/ 64 h 242"/>
                <a:gd name="T12" fmla="*/ 133 w 241"/>
                <a:gd name="T13" fmla="*/ 68 h 242"/>
                <a:gd name="T14" fmla="*/ 135 w 241"/>
                <a:gd name="T15" fmla="*/ 73 h 242"/>
                <a:gd name="T16" fmla="*/ 135 w 241"/>
                <a:gd name="T17" fmla="*/ 167 h 242"/>
                <a:gd name="T18" fmla="*/ 134 w 241"/>
                <a:gd name="T19" fmla="*/ 172 h 242"/>
                <a:gd name="T20" fmla="*/ 130 w 241"/>
                <a:gd name="T21" fmla="*/ 177 h 242"/>
                <a:gd name="T22" fmla="*/ 126 w 241"/>
                <a:gd name="T23" fmla="*/ 181 h 242"/>
                <a:gd name="T24" fmla="*/ 120 w 241"/>
                <a:gd name="T25" fmla="*/ 182 h 242"/>
                <a:gd name="T26" fmla="*/ 114 w 241"/>
                <a:gd name="T27" fmla="*/ 181 h 242"/>
                <a:gd name="T28" fmla="*/ 110 w 241"/>
                <a:gd name="T29" fmla="*/ 177 h 242"/>
                <a:gd name="T30" fmla="*/ 107 w 241"/>
                <a:gd name="T31" fmla="*/ 172 h 242"/>
                <a:gd name="T32" fmla="*/ 105 w 241"/>
                <a:gd name="T33" fmla="*/ 167 h 242"/>
                <a:gd name="T34" fmla="*/ 120 w 241"/>
                <a:gd name="T35" fmla="*/ 242 h 242"/>
                <a:gd name="T36" fmla="*/ 144 w 241"/>
                <a:gd name="T37" fmla="*/ 240 h 242"/>
                <a:gd name="T38" fmla="*/ 167 w 241"/>
                <a:gd name="T39" fmla="*/ 232 h 242"/>
                <a:gd name="T40" fmla="*/ 187 w 241"/>
                <a:gd name="T41" fmla="*/ 221 h 242"/>
                <a:gd name="T42" fmla="*/ 206 w 241"/>
                <a:gd name="T43" fmla="*/ 206 h 242"/>
                <a:gd name="T44" fmla="*/ 221 w 241"/>
                <a:gd name="T45" fmla="*/ 188 h 242"/>
                <a:gd name="T46" fmla="*/ 231 w 241"/>
                <a:gd name="T47" fmla="*/ 168 h 242"/>
                <a:gd name="T48" fmla="*/ 238 w 241"/>
                <a:gd name="T49" fmla="*/ 145 h 242"/>
                <a:gd name="T50" fmla="*/ 241 w 241"/>
                <a:gd name="T51" fmla="*/ 122 h 242"/>
                <a:gd name="T52" fmla="*/ 238 w 241"/>
                <a:gd name="T53" fmla="*/ 97 h 242"/>
                <a:gd name="T54" fmla="*/ 231 w 241"/>
                <a:gd name="T55" fmla="*/ 74 h 242"/>
                <a:gd name="T56" fmla="*/ 221 w 241"/>
                <a:gd name="T57" fmla="*/ 54 h 242"/>
                <a:gd name="T58" fmla="*/ 206 w 241"/>
                <a:gd name="T59" fmla="*/ 36 h 242"/>
                <a:gd name="T60" fmla="*/ 187 w 241"/>
                <a:gd name="T61" fmla="*/ 22 h 242"/>
                <a:gd name="T62" fmla="*/ 167 w 241"/>
                <a:gd name="T63" fmla="*/ 10 h 242"/>
                <a:gd name="T64" fmla="*/ 144 w 241"/>
                <a:gd name="T65" fmla="*/ 4 h 242"/>
                <a:gd name="T66" fmla="*/ 120 w 241"/>
                <a:gd name="T67" fmla="*/ 0 h 242"/>
                <a:gd name="T68" fmla="*/ 96 w 241"/>
                <a:gd name="T69" fmla="*/ 4 h 242"/>
                <a:gd name="T70" fmla="*/ 74 w 241"/>
                <a:gd name="T71" fmla="*/ 10 h 242"/>
                <a:gd name="T72" fmla="*/ 53 w 241"/>
                <a:gd name="T73" fmla="*/ 22 h 242"/>
                <a:gd name="T74" fmla="*/ 35 w 241"/>
                <a:gd name="T75" fmla="*/ 36 h 242"/>
                <a:gd name="T76" fmla="*/ 20 w 241"/>
                <a:gd name="T77" fmla="*/ 54 h 242"/>
                <a:gd name="T78" fmla="*/ 9 w 241"/>
                <a:gd name="T79" fmla="*/ 74 h 242"/>
                <a:gd name="T80" fmla="*/ 2 w 241"/>
                <a:gd name="T81" fmla="*/ 97 h 242"/>
                <a:gd name="T82" fmla="*/ 0 w 241"/>
                <a:gd name="T83" fmla="*/ 122 h 242"/>
                <a:gd name="T84" fmla="*/ 2 w 241"/>
                <a:gd name="T85" fmla="*/ 145 h 242"/>
                <a:gd name="T86" fmla="*/ 9 w 241"/>
                <a:gd name="T87" fmla="*/ 168 h 242"/>
                <a:gd name="T88" fmla="*/ 20 w 241"/>
                <a:gd name="T89" fmla="*/ 188 h 242"/>
                <a:gd name="T90" fmla="*/ 35 w 241"/>
                <a:gd name="T91" fmla="*/ 206 h 242"/>
                <a:gd name="T92" fmla="*/ 53 w 241"/>
                <a:gd name="T93" fmla="*/ 221 h 242"/>
                <a:gd name="T94" fmla="*/ 74 w 241"/>
                <a:gd name="T95" fmla="*/ 232 h 242"/>
                <a:gd name="T96" fmla="*/ 96 w 241"/>
                <a:gd name="T97" fmla="*/ 240 h 242"/>
                <a:gd name="T98" fmla="*/ 120 w 241"/>
                <a:gd name="T99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2">
                  <a:moveTo>
                    <a:pt x="105" y="77"/>
                  </a:moveTo>
                  <a:lnTo>
                    <a:pt x="106" y="73"/>
                  </a:lnTo>
                  <a:lnTo>
                    <a:pt x="107" y="70"/>
                  </a:lnTo>
                  <a:lnTo>
                    <a:pt x="108" y="68"/>
                  </a:lnTo>
                  <a:lnTo>
                    <a:pt x="110" y="66"/>
                  </a:lnTo>
                  <a:lnTo>
                    <a:pt x="112" y="64"/>
                  </a:lnTo>
                  <a:lnTo>
                    <a:pt x="114" y="63"/>
                  </a:lnTo>
                  <a:lnTo>
                    <a:pt x="118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6" y="63"/>
                  </a:lnTo>
                  <a:lnTo>
                    <a:pt x="128" y="64"/>
                  </a:lnTo>
                  <a:lnTo>
                    <a:pt x="130" y="66"/>
                  </a:lnTo>
                  <a:lnTo>
                    <a:pt x="133" y="68"/>
                  </a:lnTo>
                  <a:lnTo>
                    <a:pt x="134" y="70"/>
                  </a:lnTo>
                  <a:lnTo>
                    <a:pt x="135" y="73"/>
                  </a:lnTo>
                  <a:lnTo>
                    <a:pt x="135" y="77"/>
                  </a:lnTo>
                  <a:lnTo>
                    <a:pt x="135" y="167"/>
                  </a:lnTo>
                  <a:lnTo>
                    <a:pt x="135" y="170"/>
                  </a:lnTo>
                  <a:lnTo>
                    <a:pt x="134" y="172"/>
                  </a:lnTo>
                  <a:lnTo>
                    <a:pt x="133" y="175"/>
                  </a:lnTo>
                  <a:lnTo>
                    <a:pt x="130" y="177"/>
                  </a:lnTo>
                  <a:lnTo>
                    <a:pt x="128" y="178"/>
                  </a:lnTo>
                  <a:lnTo>
                    <a:pt x="126" y="181"/>
                  </a:lnTo>
                  <a:lnTo>
                    <a:pt x="123" y="182"/>
                  </a:lnTo>
                  <a:lnTo>
                    <a:pt x="120" y="182"/>
                  </a:lnTo>
                  <a:lnTo>
                    <a:pt x="118" y="182"/>
                  </a:lnTo>
                  <a:lnTo>
                    <a:pt x="114" y="181"/>
                  </a:lnTo>
                  <a:lnTo>
                    <a:pt x="112" y="178"/>
                  </a:lnTo>
                  <a:lnTo>
                    <a:pt x="110" y="177"/>
                  </a:lnTo>
                  <a:lnTo>
                    <a:pt x="108" y="175"/>
                  </a:lnTo>
                  <a:lnTo>
                    <a:pt x="107" y="172"/>
                  </a:lnTo>
                  <a:lnTo>
                    <a:pt x="106" y="170"/>
                  </a:lnTo>
                  <a:lnTo>
                    <a:pt x="105" y="167"/>
                  </a:lnTo>
                  <a:lnTo>
                    <a:pt x="105" y="77"/>
                  </a:lnTo>
                  <a:close/>
                  <a:moveTo>
                    <a:pt x="120" y="242"/>
                  </a:moveTo>
                  <a:lnTo>
                    <a:pt x="133" y="241"/>
                  </a:lnTo>
                  <a:lnTo>
                    <a:pt x="144" y="240"/>
                  </a:lnTo>
                  <a:lnTo>
                    <a:pt x="156" y="236"/>
                  </a:lnTo>
                  <a:lnTo>
                    <a:pt x="167" y="232"/>
                  </a:lnTo>
                  <a:lnTo>
                    <a:pt x="178" y="227"/>
                  </a:lnTo>
                  <a:lnTo>
                    <a:pt x="187" y="221"/>
                  </a:lnTo>
                  <a:lnTo>
                    <a:pt x="197" y="214"/>
                  </a:lnTo>
                  <a:lnTo>
                    <a:pt x="206" y="206"/>
                  </a:lnTo>
                  <a:lnTo>
                    <a:pt x="213" y="198"/>
                  </a:lnTo>
                  <a:lnTo>
                    <a:pt x="221" y="188"/>
                  </a:lnTo>
                  <a:lnTo>
                    <a:pt x="226" y="178"/>
                  </a:lnTo>
                  <a:lnTo>
                    <a:pt x="231" y="168"/>
                  </a:lnTo>
                  <a:lnTo>
                    <a:pt x="236" y="157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2"/>
                  </a:lnTo>
                  <a:lnTo>
                    <a:pt x="240" y="109"/>
                  </a:lnTo>
                  <a:lnTo>
                    <a:pt x="238" y="97"/>
                  </a:lnTo>
                  <a:lnTo>
                    <a:pt x="236" y="85"/>
                  </a:lnTo>
                  <a:lnTo>
                    <a:pt x="231" y="74"/>
                  </a:lnTo>
                  <a:lnTo>
                    <a:pt x="226" y="64"/>
                  </a:lnTo>
                  <a:lnTo>
                    <a:pt x="221" y="54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8"/>
                  </a:lnTo>
                  <a:lnTo>
                    <a:pt x="187" y="22"/>
                  </a:lnTo>
                  <a:lnTo>
                    <a:pt x="178" y="15"/>
                  </a:lnTo>
                  <a:lnTo>
                    <a:pt x="167" y="10"/>
                  </a:lnTo>
                  <a:lnTo>
                    <a:pt x="156" y="7"/>
                  </a:lnTo>
                  <a:lnTo>
                    <a:pt x="144" y="4"/>
                  </a:lnTo>
                  <a:lnTo>
                    <a:pt x="133" y="2"/>
                  </a:lnTo>
                  <a:lnTo>
                    <a:pt x="120" y="0"/>
                  </a:lnTo>
                  <a:lnTo>
                    <a:pt x="108" y="2"/>
                  </a:lnTo>
                  <a:lnTo>
                    <a:pt x="96" y="4"/>
                  </a:lnTo>
                  <a:lnTo>
                    <a:pt x="84" y="6"/>
                  </a:lnTo>
                  <a:lnTo>
                    <a:pt x="74" y="10"/>
                  </a:lnTo>
                  <a:lnTo>
                    <a:pt x="63" y="15"/>
                  </a:lnTo>
                  <a:lnTo>
                    <a:pt x="53" y="22"/>
                  </a:lnTo>
                  <a:lnTo>
                    <a:pt x="44" y="28"/>
                  </a:lnTo>
                  <a:lnTo>
                    <a:pt x="35" y="36"/>
                  </a:lnTo>
                  <a:lnTo>
                    <a:pt x="27" y="44"/>
                  </a:lnTo>
                  <a:lnTo>
                    <a:pt x="20" y="54"/>
                  </a:lnTo>
                  <a:lnTo>
                    <a:pt x="15" y="64"/>
                  </a:lnTo>
                  <a:lnTo>
                    <a:pt x="9" y="74"/>
                  </a:lnTo>
                  <a:lnTo>
                    <a:pt x="5" y="85"/>
                  </a:lnTo>
                  <a:lnTo>
                    <a:pt x="2" y="97"/>
                  </a:lnTo>
                  <a:lnTo>
                    <a:pt x="1" y="109"/>
                  </a:lnTo>
                  <a:lnTo>
                    <a:pt x="0" y="122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9" y="168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7" y="198"/>
                  </a:lnTo>
                  <a:lnTo>
                    <a:pt x="35" y="206"/>
                  </a:lnTo>
                  <a:lnTo>
                    <a:pt x="44" y="214"/>
                  </a:lnTo>
                  <a:lnTo>
                    <a:pt x="53" y="221"/>
                  </a:lnTo>
                  <a:lnTo>
                    <a:pt x="63" y="227"/>
                  </a:lnTo>
                  <a:lnTo>
                    <a:pt x="74" y="232"/>
                  </a:lnTo>
                  <a:lnTo>
                    <a:pt x="84" y="236"/>
                  </a:lnTo>
                  <a:lnTo>
                    <a:pt x="96" y="240"/>
                  </a:lnTo>
                  <a:lnTo>
                    <a:pt x="108" y="241"/>
                  </a:lnTo>
                  <a:lnTo>
                    <a:pt x="120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61" name="Freeform 569">
              <a:extLst>
                <a:ext uri="{FF2B5EF4-FFF2-40B4-BE49-F238E27FC236}">
                  <a16:creationId xmlns:a16="http://schemas.microsoft.com/office/drawing/2014/main" xmlns="" id="{38CFF823-1C3A-49BD-B9D0-0ECA1B1E6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1517650"/>
              <a:ext cx="57150" cy="95250"/>
            </a:xfrm>
            <a:custGeom>
              <a:avLst/>
              <a:gdLst>
                <a:gd name="T0" fmla="*/ 165 w 180"/>
                <a:gd name="T1" fmla="*/ 0 h 302"/>
                <a:gd name="T2" fmla="*/ 15 w 180"/>
                <a:gd name="T3" fmla="*/ 0 h 302"/>
                <a:gd name="T4" fmla="*/ 12 w 180"/>
                <a:gd name="T5" fmla="*/ 0 h 302"/>
                <a:gd name="T6" fmla="*/ 9 w 180"/>
                <a:gd name="T7" fmla="*/ 1 h 302"/>
                <a:gd name="T8" fmla="*/ 6 w 180"/>
                <a:gd name="T9" fmla="*/ 2 h 302"/>
                <a:gd name="T10" fmla="*/ 4 w 180"/>
                <a:gd name="T11" fmla="*/ 4 h 302"/>
                <a:gd name="T12" fmla="*/ 2 w 180"/>
                <a:gd name="T13" fmla="*/ 7 h 302"/>
                <a:gd name="T14" fmla="*/ 1 w 180"/>
                <a:gd name="T15" fmla="*/ 9 h 302"/>
                <a:gd name="T16" fmla="*/ 0 w 180"/>
                <a:gd name="T17" fmla="*/ 12 h 302"/>
                <a:gd name="T18" fmla="*/ 0 w 180"/>
                <a:gd name="T19" fmla="*/ 15 h 302"/>
                <a:gd name="T20" fmla="*/ 0 w 180"/>
                <a:gd name="T21" fmla="*/ 287 h 302"/>
                <a:gd name="T22" fmla="*/ 0 w 180"/>
                <a:gd name="T23" fmla="*/ 289 h 302"/>
                <a:gd name="T24" fmla="*/ 1 w 180"/>
                <a:gd name="T25" fmla="*/ 292 h 302"/>
                <a:gd name="T26" fmla="*/ 2 w 180"/>
                <a:gd name="T27" fmla="*/ 294 h 302"/>
                <a:gd name="T28" fmla="*/ 4 w 180"/>
                <a:gd name="T29" fmla="*/ 296 h 302"/>
                <a:gd name="T30" fmla="*/ 6 w 180"/>
                <a:gd name="T31" fmla="*/ 298 h 302"/>
                <a:gd name="T32" fmla="*/ 9 w 180"/>
                <a:gd name="T33" fmla="*/ 299 h 302"/>
                <a:gd name="T34" fmla="*/ 12 w 180"/>
                <a:gd name="T35" fmla="*/ 301 h 302"/>
                <a:gd name="T36" fmla="*/ 15 w 180"/>
                <a:gd name="T37" fmla="*/ 302 h 302"/>
                <a:gd name="T38" fmla="*/ 165 w 180"/>
                <a:gd name="T39" fmla="*/ 302 h 302"/>
                <a:gd name="T40" fmla="*/ 168 w 180"/>
                <a:gd name="T41" fmla="*/ 301 h 302"/>
                <a:gd name="T42" fmla="*/ 172 w 180"/>
                <a:gd name="T43" fmla="*/ 299 h 302"/>
                <a:gd name="T44" fmla="*/ 174 w 180"/>
                <a:gd name="T45" fmla="*/ 298 h 302"/>
                <a:gd name="T46" fmla="*/ 176 w 180"/>
                <a:gd name="T47" fmla="*/ 296 h 302"/>
                <a:gd name="T48" fmla="*/ 178 w 180"/>
                <a:gd name="T49" fmla="*/ 294 h 302"/>
                <a:gd name="T50" fmla="*/ 179 w 180"/>
                <a:gd name="T51" fmla="*/ 292 h 302"/>
                <a:gd name="T52" fmla="*/ 180 w 180"/>
                <a:gd name="T53" fmla="*/ 289 h 302"/>
                <a:gd name="T54" fmla="*/ 180 w 180"/>
                <a:gd name="T55" fmla="*/ 287 h 302"/>
                <a:gd name="T56" fmla="*/ 180 w 180"/>
                <a:gd name="T57" fmla="*/ 15 h 302"/>
                <a:gd name="T58" fmla="*/ 180 w 180"/>
                <a:gd name="T59" fmla="*/ 12 h 302"/>
                <a:gd name="T60" fmla="*/ 179 w 180"/>
                <a:gd name="T61" fmla="*/ 9 h 302"/>
                <a:gd name="T62" fmla="*/ 178 w 180"/>
                <a:gd name="T63" fmla="*/ 7 h 302"/>
                <a:gd name="T64" fmla="*/ 176 w 180"/>
                <a:gd name="T65" fmla="*/ 4 h 302"/>
                <a:gd name="T66" fmla="*/ 174 w 180"/>
                <a:gd name="T67" fmla="*/ 2 h 302"/>
                <a:gd name="T68" fmla="*/ 172 w 180"/>
                <a:gd name="T69" fmla="*/ 1 h 302"/>
                <a:gd name="T70" fmla="*/ 168 w 180"/>
                <a:gd name="T71" fmla="*/ 0 h 302"/>
                <a:gd name="T72" fmla="*/ 165 w 180"/>
                <a:gd name="T7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0" h="302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87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9" y="299"/>
                  </a:lnTo>
                  <a:lnTo>
                    <a:pt x="12" y="301"/>
                  </a:lnTo>
                  <a:lnTo>
                    <a:pt x="15" y="302"/>
                  </a:lnTo>
                  <a:lnTo>
                    <a:pt x="165" y="302"/>
                  </a:lnTo>
                  <a:lnTo>
                    <a:pt x="168" y="301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6" y="296"/>
                  </a:lnTo>
                  <a:lnTo>
                    <a:pt x="178" y="294"/>
                  </a:lnTo>
                  <a:lnTo>
                    <a:pt x="179" y="292"/>
                  </a:lnTo>
                  <a:lnTo>
                    <a:pt x="180" y="289"/>
                  </a:lnTo>
                  <a:lnTo>
                    <a:pt x="180" y="287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62" name="Freeform 570">
              <a:extLst>
                <a:ext uri="{FF2B5EF4-FFF2-40B4-BE49-F238E27FC236}">
                  <a16:creationId xmlns:a16="http://schemas.microsoft.com/office/drawing/2014/main" xmlns="" id="{66C9B6EA-7C2B-44E5-95C2-11C8B1F09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675" y="1527175"/>
              <a:ext cx="225425" cy="104775"/>
            </a:xfrm>
            <a:custGeom>
              <a:avLst/>
              <a:gdLst>
                <a:gd name="T0" fmla="*/ 688 w 708"/>
                <a:gd name="T1" fmla="*/ 110 h 331"/>
                <a:gd name="T2" fmla="*/ 665 w 708"/>
                <a:gd name="T3" fmla="*/ 95 h 331"/>
                <a:gd name="T4" fmla="*/ 644 w 708"/>
                <a:gd name="T5" fmla="*/ 87 h 331"/>
                <a:gd name="T6" fmla="*/ 622 w 708"/>
                <a:gd name="T7" fmla="*/ 85 h 331"/>
                <a:gd name="T8" fmla="*/ 583 w 708"/>
                <a:gd name="T9" fmla="*/ 91 h 331"/>
                <a:gd name="T10" fmla="*/ 502 w 708"/>
                <a:gd name="T11" fmla="*/ 137 h 331"/>
                <a:gd name="T12" fmla="*/ 486 w 708"/>
                <a:gd name="T13" fmla="*/ 162 h 331"/>
                <a:gd name="T14" fmla="*/ 468 w 708"/>
                <a:gd name="T15" fmla="*/ 175 h 331"/>
                <a:gd name="T16" fmla="*/ 445 w 708"/>
                <a:gd name="T17" fmla="*/ 180 h 331"/>
                <a:gd name="T18" fmla="*/ 226 w 708"/>
                <a:gd name="T19" fmla="*/ 180 h 331"/>
                <a:gd name="T20" fmla="*/ 218 w 708"/>
                <a:gd name="T21" fmla="*/ 178 h 331"/>
                <a:gd name="T22" fmla="*/ 213 w 708"/>
                <a:gd name="T23" fmla="*/ 172 h 331"/>
                <a:gd name="T24" fmla="*/ 211 w 708"/>
                <a:gd name="T25" fmla="*/ 162 h 331"/>
                <a:gd name="T26" fmla="*/ 216 w 708"/>
                <a:gd name="T27" fmla="*/ 155 h 331"/>
                <a:gd name="T28" fmla="*/ 223 w 708"/>
                <a:gd name="T29" fmla="*/ 151 h 331"/>
                <a:gd name="T30" fmla="*/ 437 w 708"/>
                <a:gd name="T31" fmla="*/ 150 h 331"/>
                <a:gd name="T32" fmla="*/ 461 w 708"/>
                <a:gd name="T33" fmla="*/ 143 h 331"/>
                <a:gd name="T34" fmla="*/ 475 w 708"/>
                <a:gd name="T35" fmla="*/ 122 h 331"/>
                <a:gd name="T36" fmla="*/ 478 w 708"/>
                <a:gd name="T37" fmla="*/ 102 h 331"/>
                <a:gd name="T38" fmla="*/ 470 w 708"/>
                <a:gd name="T39" fmla="*/ 84 h 331"/>
                <a:gd name="T40" fmla="*/ 451 w 708"/>
                <a:gd name="T41" fmla="*/ 67 h 331"/>
                <a:gd name="T42" fmla="*/ 422 w 708"/>
                <a:gd name="T43" fmla="*/ 60 h 331"/>
                <a:gd name="T44" fmla="*/ 389 w 708"/>
                <a:gd name="T45" fmla="*/ 60 h 331"/>
                <a:gd name="T46" fmla="*/ 365 w 708"/>
                <a:gd name="T47" fmla="*/ 60 h 331"/>
                <a:gd name="T48" fmla="*/ 339 w 708"/>
                <a:gd name="T49" fmla="*/ 60 h 331"/>
                <a:gd name="T50" fmla="*/ 307 w 708"/>
                <a:gd name="T51" fmla="*/ 60 h 331"/>
                <a:gd name="T52" fmla="*/ 246 w 708"/>
                <a:gd name="T53" fmla="*/ 24 h 331"/>
                <a:gd name="T54" fmla="*/ 181 w 708"/>
                <a:gd name="T55" fmla="*/ 3 h 331"/>
                <a:gd name="T56" fmla="*/ 15 w 708"/>
                <a:gd name="T57" fmla="*/ 0 h 331"/>
                <a:gd name="T58" fmla="*/ 8 w 708"/>
                <a:gd name="T59" fmla="*/ 2 h 331"/>
                <a:gd name="T60" fmla="*/ 1 w 708"/>
                <a:gd name="T61" fmla="*/ 10 h 331"/>
                <a:gd name="T62" fmla="*/ 0 w 708"/>
                <a:gd name="T63" fmla="*/ 223 h 331"/>
                <a:gd name="T64" fmla="*/ 7 w 708"/>
                <a:gd name="T65" fmla="*/ 236 h 331"/>
                <a:gd name="T66" fmla="*/ 90 w 708"/>
                <a:gd name="T67" fmla="*/ 265 h 331"/>
                <a:gd name="T68" fmla="*/ 205 w 708"/>
                <a:gd name="T69" fmla="*/ 306 h 331"/>
                <a:gd name="T70" fmla="*/ 281 w 708"/>
                <a:gd name="T71" fmla="*/ 328 h 331"/>
                <a:gd name="T72" fmla="*/ 321 w 708"/>
                <a:gd name="T73" fmla="*/ 331 h 331"/>
                <a:gd name="T74" fmla="*/ 348 w 708"/>
                <a:gd name="T75" fmla="*/ 326 h 331"/>
                <a:gd name="T76" fmla="*/ 408 w 708"/>
                <a:gd name="T77" fmla="*/ 303 h 331"/>
                <a:gd name="T78" fmla="*/ 494 w 708"/>
                <a:gd name="T79" fmla="*/ 258 h 331"/>
                <a:gd name="T80" fmla="*/ 557 w 708"/>
                <a:gd name="T81" fmla="*/ 223 h 331"/>
                <a:gd name="T82" fmla="*/ 636 w 708"/>
                <a:gd name="T83" fmla="*/ 181 h 331"/>
                <a:gd name="T84" fmla="*/ 703 w 708"/>
                <a:gd name="T85" fmla="*/ 147 h 331"/>
                <a:gd name="T86" fmla="*/ 708 w 708"/>
                <a:gd name="T87" fmla="*/ 139 h 331"/>
                <a:gd name="T88" fmla="*/ 706 w 708"/>
                <a:gd name="T89" fmla="*/ 12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08" h="331">
                  <a:moveTo>
                    <a:pt x="704" y="125"/>
                  </a:moveTo>
                  <a:lnTo>
                    <a:pt x="695" y="117"/>
                  </a:lnTo>
                  <a:lnTo>
                    <a:pt x="688" y="110"/>
                  </a:lnTo>
                  <a:lnTo>
                    <a:pt x="680" y="104"/>
                  </a:lnTo>
                  <a:lnTo>
                    <a:pt x="673" y="99"/>
                  </a:lnTo>
                  <a:lnTo>
                    <a:pt x="665" y="95"/>
                  </a:lnTo>
                  <a:lnTo>
                    <a:pt x="658" y="91"/>
                  </a:lnTo>
                  <a:lnTo>
                    <a:pt x="650" y="89"/>
                  </a:lnTo>
                  <a:lnTo>
                    <a:pt x="644" y="87"/>
                  </a:lnTo>
                  <a:lnTo>
                    <a:pt x="636" y="85"/>
                  </a:lnTo>
                  <a:lnTo>
                    <a:pt x="629" y="85"/>
                  </a:lnTo>
                  <a:lnTo>
                    <a:pt x="622" y="85"/>
                  </a:lnTo>
                  <a:lnTo>
                    <a:pt x="615" y="85"/>
                  </a:lnTo>
                  <a:lnTo>
                    <a:pt x="599" y="88"/>
                  </a:lnTo>
                  <a:lnTo>
                    <a:pt x="583" y="91"/>
                  </a:lnTo>
                  <a:lnTo>
                    <a:pt x="507" y="115"/>
                  </a:lnTo>
                  <a:lnTo>
                    <a:pt x="505" y="127"/>
                  </a:lnTo>
                  <a:lnTo>
                    <a:pt x="502" y="137"/>
                  </a:lnTo>
                  <a:lnTo>
                    <a:pt x="497" y="147"/>
                  </a:lnTo>
                  <a:lnTo>
                    <a:pt x="491" y="157"/>
                  </a:lnTo>
                  <a:lnTo>
                    <a:pt x="486" y="162"/>
                  </a:lnTo>
                  <a:lnTo>
                    <a:pt x="480" y="166"/>
                  </a:lnTo>
                  <a:lnTo>
                    <a:pt x="474" y="171"/>
                  </a:lnTo>
                  <a:lnTo>
                    <a:pt x="468" y="175"/>
                  </a:lnTo>
                  <a:lnTo>
                    <a:pt x="460" y="177"/>
                  </a:lnTo>
                  <a:lnTo>
                    <a:pt x="453" y="179"/>
                  </a:lnTo>
                  <a:lnTo>
                    <a:pt x="445" y="180"/>
                  </a:lnTo>
                  <a:lnTo>
                    <a:pt x="437" y="180"/>
                  </a:lnTo>
                  <a:lnTo>
                    <a:pt x="422" y="180"/>
                  </a:lnTo>
                  <a:lnTo>
                    <a:pt x="226" y="180"/>
                  </a:lnTo>
                  <a:lnTo>
                    <a:pt x="223" y="180"/>
                  </a:lnTo>
                  <a:lnTo>
                    <a:pt x="220" y="179"/>
                  </a:lnTo>
                  <a:lnTo>
                    <a:pt x="218" y="178"/>
                  </a:lnTo>
                  <a:lnTo>
                    <a:pt x="216" y="176"/>
                  </a:lnTo>
                  <a:lnTo>
                    <a:pt x="214" y="174"/>
                  </a:lnTo>
                  <a:lnTo>
                    <a:pt x="213" y="172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11" y="162"/>
                  </a:lnTo>
                  <a:lnTo>
                    <a:pt x="213" y="160"/>
                  </a:lnTo>
                  <a:lnTo>
                    <a:pt x="214" y="157"/>
                  </a:lnTo>
                  <a:lnTo>
                    <a:pt x="216" y="155"/>
                  </a:lnTo>
                  <a:lnTo>
                    <a:pt x="218" y="154"/>
                  </a:lnTo>
                  <a:lnTo>
                    <a:pt x="220" y="151"/>
                  </a:lnTo>
                  <a:lnTo>
                    <a:pt x="223" y="151"/>
                  </a:lnTo>
                  <a:lnTo>
                    <a:pt x="226" y="150"/>
                  </a:lnTo>
                  <a:lnTo>
                    <a:pt x="422" y="150"/>
                  </a:lnTo>
                  <a:lnTo>
                    <a:pt x="437" y="150"/>
                  </a:lnTo>
                  <a:lnTo>
                    <a:pt x="446" y="149"/>
                  </a:lnTo>
                  <a:lnTo>
                    <a:pt x="455" y="147"/>
                  </a:lnTo>
                  <a:lnTo>
                    <a:pt x="461" y="143"/>
                  </a:lnTo>
                  <a:lnTo>
                    <a:pt x="468" y="137"/>
                  </a:lnTo>
                  <a:lnTo>
                    <a:pt x="472" y="130"/>
                  </a:lnTo>
                  <a:lnTo>
                    <a:pt x="475" y="122"/>
                  </a:lnTo>
                  <a:lnTo>
                    <a:pt x="477" y="114"/>
                  </a:lnTo>
                  <a:lnTo>
                    <a:pt x="478" y="105"/>
                  </a:lnTo>
                  <a:lnTo>
                    <a:pt x="478" y="102"/>
                  </a:lnTo>
                  <a:lnTo>
                    <a:pt x="478" y="98"/>
                  </a:lnTo>
                  <a:lnTo>
                    <a:pt x="474" y="90"/>
                  </a:lnTo>
                  <a:lnTo>
                    <a:pt x="470" y="84"/>
                  </a:lnTo>
                  <a:lnTo>
                    <a:pt x="465" y="76"/>
                  </a:lnTo>
                  <a:lnTo>
                    <a:pt x="458" y="71"/>
                  </a:lnTo>
                  <a:lnTo>
                    <a:pt x="451" y="67"/>
                  </a:lnTo>
                  <a:lnTo>
                    <a:pt x="442" y="63"/>
                  </a:lnTo>
                  <a:lnTo>
                    <a:pt x="432" y="61"/>
                  </a:lnTo>
                  <a:lnTo>
                    <a:pt x="422" y="60"/>
                  </a:lnTo>
                  <a:lnTo>
                    <a:pt x="410" y="60"/>
                  </a:lnTo>
                  <a:lnTo>
                    <a:pt x="399" y="60"/>
                  </a:lnTo>
                  <a:lnTo>
                    <a:pt x="389" y="60"/>
                  </a:lnTo>
                  <a:lnTo>
                    <a:pt x="381" y="60"/>
                  </a:lnTo>
                  <a:lnTo>
                    <a:pt x="373" y="60"/>
                  </a:lnTo>
                  <a:lnTo>
                    <a:pt x="365" y="60"/>
                  </a:lnTo>
                  <a:lnTo>
                    <a:pt x="356" y="60"/>
                  </a:lnTo>
                  <a:lnTo>
                    <a:pt x="349" y="60"/>
                  </a:lnTo>
                  <a:lnTo>
                    <a:pt x="339" y="60"/>
                  </a:lnTo>
                  <a:lnTo>
                    <a:pt x="330" y="60"/>
                  </a:lnTo>
                  <a:lnTo>
                    <a:pt x="320" y="60"/>
                  </a:lnTo>
                  <a:lnTo>
                    <a:pt x="307" y="60"/>
                  </a:lnTo>
                  <a:lnTo>
                    <a:pt x="288" y="46"/>
                  </a:lnTo>
                  <a:lnTo>
                    <a:pt x="267" y="33"/>
                  </a:lnTo>
                  <a:lnTo>
                    <a:pt x="246" y="24"/>
                  </a:lnTo>
                  <a:lnTo>
                    <a:pt x="225" y="15"/>
                  </a:lnTo>
                  <a:lnTo>
                    <a:pt x="204" y="9"/>
                  </a:lnTo>
                  <a:lnTo>
                    <a:pt x="181" y="3"/>
                  </a:lnTo>
                  <a:lnTo>
                    <a:pt x="159" y="1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23"/>
                  </a:lnTo>
                  <a:lnTo>
                    <a:pt x="1" y="229"/>
                  </a:lnTo>
                  <a:lnTo>
                    <a:pt x="3" y="232"/>
                  </a:lnTo>
                  <a:lnTo>
                    <a:pt x="7" y="236"/>
                  </a:lnTo>
                  <a:lnTo>
                    <a:pt x="11" y="238"/>
                  </a:lnTo>
                  <a:lnTo>
                    <a:pt x="53" y="252"/>
                  </a:lnTo>
                  <a:lnTo>
                    <a:pt x="90" y="265"/>
                  </a:lnTo>
                  <a:lnTo>
                    <a:pt x="123" y="277"/>
                  </a:lnTo>
                  <a:lnTo>
                    <a:pt x="154" y="288"/>
                  </a:lnTo>
                  <a:lnTo>
                    <a:pt x="205" y="306"/>
                  </a:lnTo>
                  <a:lnTo>
                    <a:pt x="247" y="320"/>
                  </a:lnTo>
                  <a:lnTo>
                    <a:pt x="264" y="325"/>
                  </a:lnTo>
                  <a:lnTo>
                    <a:pt x="281" y="328"/>
                  </a:lnTo>
                  <a:lnTo>
                    <a:pt x="296" y="331"/>
                  </a:lnTo>
                  <a:lnTo>
                    <a:pt x="311" y="331"/>
                  </a:lnTo>
                  <a:lnTo>
                    <a:pt x="321" y="331"/>
                  </a:lnTo>
                  <a:lnTo>
                    <a:pt x="329" y="329"/>
                  </a:lnTo>
                  <a:lnTo>
                    <a:pt x="338" y="328"/>
                  </a:lnTo>
                  <a:lnTo>
                    <a:pt x="348" y="326"/>
                  </a:lnTo>
                  <a:lnTo>
                    <a:pt x="366" y="321"/>
                  </a:lnTo>
                  <a:lnTo>
                    <a:pt x="386" y="313"/>
                  </a:lnTo>
                  <a:lnTo>
                    <a:pt x="408" y="303"/>
                  </a:lnTo>
                  <a:lnTo>
                    <a:pt x="433" y="291"/>
                  </a:lnTo>
                  <a:lnTo>
                    <a:pt x="461" y="276"/>
                  </a:lnTo>
                  <a:lnTo>
                    <a:pt x="494" y="258"/>
                  </a:lnTo>
                  <a:lnTo>
                    <a:pt x="513" y="247"/>
                  </a:lnTo>
                  <a:lnTo>
                    <a:pt x="533" y="236"/>
                  </a:lnTo>
                  <a:lnTo>
                    <a:pt x="557" y="223"/>
                  </a:lnTo>
                  <a:lnTo>
                    <a:pt x="581" y="210"/>
                  </a:lnTo>
                  <a:lnTo>
                    <a:pt x="607" y="196"/>
                  </a:lnTo>
                  <a:lnTo>
                    <a:pt x="636" y="181"/>
                  </a:lnTo>
                  <a:lnTo>
                    <a:pt x="667" y="165"/>
                  </a:lnTo>
                  <a:lnTo>
                    <a:pt x="699" y="149"/>
                  </a:lnTo>
                  <a:lnTo>
                    <a:pt x="703" y="147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08" y="139"/>
                  </a:lnTo>
                  <a:lnTo>
                    <a:pt x="708" y="134"/>
                  </a:lnTo>
                  <a:lnTo>
                    <a:pt x="707" y="131"/>
                  </a:lnTo>
                  <a:lnTo>
                    <a:pt x="706" y="128"/>
                  </a:lnTo>
                  <a:lnTo>
                    <a:pt x="704" y="125"/>
                  </a:lnTo>
                  <a:lnTo>
                    <a:pt x="70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63" name="Group 120">
            <a:extLst>
              <a:ext uri="{FF2B5EF4-FFF2-40B4-BE49-F238E27FC236}">
                <a16:creationId xmlns:a16="http://schemas.microsoft.com/office/drawing/2014/main" xmlns="" id="{44133705-3A44-4DD6-87E4-AADD554AD628}"/>
              </a:ext>
            </a:extLst>
          </p:cNvPr>
          <p:cNvGrpSpPr/>
          <p:nvPr/>
        </p:nvGrpSpPr>
        <p:grpSpPr>
          <a:xfrm>
            <a:off x="452807" y="6125211"/>
            <a:ext cx="287338" cy="287338"/>
            <a:chOff x="4319588" y="2492375"/>
            <a:chExt cx="287338" cy="287338"/>
          </a:xfrm>
          <a:solidFill>
            <a:schemeClr val="accent1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64" name="Freeform 372">
              <a:extLst>
                <a:ext uri="{FF2B5EF4-FFF2-40B4-BE49-F238E27FC236}">
                  <a16:creationId xmlns:a16="http://schemas.microsoft.com/office/drawing/2014/main" xmlns="" id="{3267A44F-158E-446B-A733-1AEA3705B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65" name="Freeform 373">
              <a:extLst>
                <a:ext uri="{FF2B5EF4-FFF2-40B4-BE49-F238E27FC236}">
                  <a16:creationId xmlns:a16="http://schemas.microsoft.com/office/drawing/2014/main" xmlns="" id="{0A16245D-66EA-437C-B7AE-5CA3A78A1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729C2AA2-B852-4127-BDCE-E81B96919883}"/>
              </a:ext>
            </a:extLst>
          </p:cNvPr>
          <p:cNvSpPr txBox="1"/>
          <p:nvPr/>
        </p:nvSpPr>
        <p:spPr>
          <a:xfrm>
            <a:off x="2080467" y="1317505"/>
            <a:ext cx="8077201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ko-KR" sz="66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Segoe UI" panose="020B0502040204020203" pitchFamily="34" charset="0"/>
              </a:rPr>
              <a:t>Table of contents</a:t>
            </a:r>
            <a:endParaRPr lang="en-US" sz="6600" b="1" dirty="0">
              <a:latin typeface="08서울남산체 B" panose="02020603020101020101" pitchFamily="18" charset="-127"/>
              <a:ea typeface="08서울남산체 B" panose="0202060302010102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745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EFD6B8FB-6027-46FA-9453-C696928935F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C992E65D-345F-44D6-B2C6-F5F3ACF296DF}"/>
              </a:ext>
            </a:extLst>
          </p:cNvPr>
          <p:cNvSpPr/>
          <p:nvPr/>
        </p:nvSpPr>
        <p:spPr>
          <a:xfrm>
            <a:off x="381000" y="1628775"/>
            <a:ext cx="7467600" cy="3241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xmlns="" id="{DE38D1EE-C8AF-43CB-9C99-C136F1FD7677}"/>
              </a:ext>
            </a:extLst>
          </p:cNvPr>
          <p:cNvGrpSpPr/>
          <p:nvPr/>
        </p:nvGrpSpPr>
        <p:grpSpPr>
          <a:xfrm>
            <a:off x="544476" y="1899658"/>
            <a:ext cx="8784914" cy="3105961"/>
            <a:chOff x="1066800" y="2266950"/>
            <a:chExt cx="6305018" cy="2385847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xmlns="" id="{1D33218D-EC19-46A1-9CEB-02EE6D8498BA}"/>
                </a:ext>
              </a:extLst>
            </p:cNvPr>
            <p:cNvSpPr/>
            <p:nvPr/>
          </p:nvSpPr>
          <p:spPr>
            <a:xfrm>
              <a:off x="4576534" y="2795422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xmlns="" id="{10E89BF1-7F4D-40D4-B115-4C68AA8916A7}"/>
                </a:ext>
              </a:extLst>
            </p:cNvPr>
            <p:cNvSpPr/>
            <p:nvPr/>
          </p:nvSpPr>
          <p:spPr>
            <a:xfrm>
              <a:off x="1066800" y="2266950"/>
              <a:ext cx="2795284" cy="1857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BFBFBF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59" name="직사각형 58">
            <a:extLst>
              <a:ext uri="{FF2B5EF4-FFF2-40B4-BE49-F238E27FC236}">
                <a16:creationId xmlns:a16="http://schemas.microsoft.com/office/drawing/2014/main" xmlns="" id="{4EB3460F-CC81-4C35-ABC1-49097970ED01}"/>
              </a:ext>
            </a:extLst>
          </p:cNvPr>
          <p:cNvSpPr/>
          <p:nvPr/>
        </p:nvSpPr>
        <p:spPr>
          <a:xfrm>
            <a:off x="626780" y="1957346"/>
            <a:ext cx="6726520" cy="23336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5" name="Group 57">
            <a:extLst>
              <a:ext uri="{FF2B5EF4-FFF2-40B4-BE49-F238E27FC236}">
                <a16:creationId xmlns:a16="http://schemas.microsoft.com/office/drawing/2014/main" xmlns="" id="{2666FFF4-90D5-4074-A05A-0A43DA976D89}"/>
              </a:ext>
            </a:extLst>
          </p:cNvPr>
          <p:cNvGrpSpPr/>
          <p:nvPr/>
        </p:nvGrpSpPr>
        <p:grpSpPr>
          <a:xfrm>
            <a:off x="2543779" y="3398108"/>
            <a:ext cx="7082599" cy="523345"/>
            <a:chOff x="1907834" y="1659618"/>
            <a:chExt cx="5311949" cy="392503"/>
          </a:xfrm>
        </p:grpSpPr>
        <p:sp>
          <p:nvSpPr>
            <p:cNvPr id="26" name="Freeform 54">
              <a:extLst>
                <a:ext uri="{FF2B5EF4-FFF2-40B4-BE49-F238E27FC236}">
                  <a16:creationId xmlns:a16="http://schemas.microsoft.com/office/drawing/2014/main" xmlns="" id="{8B503E7F-438C-43A9-80C2-0DB67E41C961}"/>
                </a:ext>
              </a:extLst>
            </p:cNvPr>
            <p:cNvSpPr/>
            <p:nvPr/>
          </p:nvSpPr>
          <p:spPr>
            <a:xfrm>
              <a:off x="1907834" y="1911414"/>
              <a:ext cx="5311949" cy="140707"/>
            </a:xfrm>
            <a:custGeom>
              <a:avLst/>
              <a:gdLst>
                <a:gd name="connsiteX0" fmla="*/ 7951 w 5311471"/>
                <a:gd name="connsiteY0" fmla="*/ 159026 h 159026"/>
                <a:gd name="connsiteX1" fmla="*/ 0 w 5311471"/>
                <a:gd name="connsiteY1" fmla="*/ 0 h 159026"/>
                <a:gd name="connsiteX2" fmla="*/ 5311471 w 5311471"/>
                <a:gd name="connsiteY2" fmla="*/ 15903 h 159026"/>
                <a:gd name="connsiteX3" fmla="*/ 5303520 w 5311471"/>
                <a:gd name="connsiteY3" fmla="*/ 151075 h 159026"/>
                <a:gd name="connsiteX0" fmla="*/ 0 w 5327374"/>
                <a:gd name="connsiteY0" fmla="*/ 159026 h 159026"/>
                <a:gd name="connsiteX1" fmla="*/ 15903 w 5327374"/>
                <a:gd name="connsiteY1" fmla="*/ 0 h 159026"/>
                <a:gd name="connsiteX2" fmla="*/ 5327374 w 5327374"/>
                <a:gd name="connsiteY2" fmla="*/ 15903 h 159026"/>
                <a:gd name="connsiteX3" fmla="*/ 5319423 w 5327374"/>
                <a:gd name="connsiteY3" fmla="*/ 151075 h 159026"/>
                <a:gd name="connsiteX0" fmla="*/ 15902 w 5311471"/>
                <a:gd name="connsiteY0" fmla="*/ 159026 h 159026"/>
                <a:gd name="connsiteX1" fmla="*/ 0 w 5311471"/>
                <a:gd name="connsiteY1" fmla="*/ 0 h 159026"/>
                <a:gd name="connsiteX2" fmla="*/ 5311471 w 5311471"/>
                <a:gd name="connsiteY2" fmla="*/ 15903 h 159026"/>
                <a:gd name="connsiteX3" fmla="*/ 5303520 w 5311471"/>
                <a:gd name="connsiteY3" fmla="*/ 151075 h 159026"/>
                <a:gd name="connsiteX0" fmla="*/ 18604 w 5314173"/>
                <a:gd name="connsiteY0" fmla="*/ 159026 h 159026"/>
                <a:gd name="connsiteX1" fmla="*/ 0 w 5314173"/>
                <a:gd name="connsiteY1" fmla="*/ 140999 h 159026"/>
                <a:gd name="connsiteX2" fmla="*/ 2702 w 5314173"/>
                <a:gd name="connsiteY2" fmla="*/ 0 h 159026"/>
                <a:gd name="connsiteX3" fmla="*/ 5314173 w 5314173"/>
                <a:gd name="connsiteY3" fmla="*/ 15903 h 159026"/>
                <a:gd name="connsiteX4" fmla="*/ 5306222 w 5314173"/>
                <a:gd name="connsiteY4" fmla="*/ 151075 h 159026"/>
                <a:gd name="connsiteX0" fmla="*/ 0 w 5314173"/>
                <a:gd name="connsiteY0" fmla="*/ 140999 h 151075"/>
                <a:gd name="connsiteX1" fmla="*/ 2702 w 5314173"/>
                <a:gd name="connsiteY1" fmla="*/ 0 h 151075"/>
                <a:gd name="connsiteX2" fmla="*/ 5314173 w 5314173"/>
                <a:gd name="connsiteY2" fmla="*/ 15903 h 151075"/>
                <a:gd name="connsiteX3" fmla="*/ 5306222 w 5314173"/>
                <a:gd name="connsiteY3" fmla="*/ 151075 h 151075"/>
                <a:gd name="connsiteX0" fmla="*/ 8328 w 5311529"/>
                <a:gd name="connsiteY0" fmla="*/ 140999 h 151075"/>
                <a:gd name="connsiteX1" fmla="*/ 58 w 5311529"/>
                <a:gd name="connsiteY1" fmla="*/ 0 h 151075"/>
                <a:gd name="connsiteX2" fmla="*/ 5311529 w 5311529"/>
                <a:gd name="connsiteY2" fmla="*/ 15903 h 151075"/>
                <a:gd name="connsiteX3" fmla="*/ 5303578 w 5311529"/>
                <a:gd name="connsiteY3" fmla="*/ 151075 h 151075"/>
                <a:gd name="connsiteX0" fmla="*/ 0 w 5314174"/>
                <a:gd name="connsiteY0" fmla="*/ 140999 h 151075"/>
                <a:gd name="connsiteX1" fmla="*/ 2703 w 5314174"/>
                <a:gd name="connsiteY1" fmla="*/ 0 h 151075"/>
                <a:gd name="connsiteX2" fmla="*/ 5314174 w 5314174"/>
                <a:gd name="connsiteY2" fmla="*/ 15903 h 151075"/>
                <a:gd name="connsiteX3" fmla="*/ 5306223 w 5314174"/>
                <a:gd name="connsiteY3" fmla="*/ 151075 h 151075"/>
                <a:gd name="connsiteX0" fmla="*/ 874 w 5315048"/>
                <a:gd name="connsiteY0" fmla="*/ 140999 h 151075"/>
                <a:gd name="connsiteX1" fmla="*/ 3577 w 5315048"/>
                <a:gd name="connsiteY1" fmla="*/ 0 h 151075"/>
                <a:gd name="connsiteX2" fmla="*/ 5315048 w 5315048"/>
                <a:gd name="connsiteY2" fmla="*/ 15903 h 151075"/>
                <a:gd name="connsiteX3" fmla="*/ 5307097 w 5315048"/>
                <a:gd name="connsiteY3" fmla="*/ 151075 h 151075"/>
                <a:gd name="connsiteX0" fmla="*/ 8356 w 5311557"/>
                <a:gd name="connsiteY0" fmla="*/ 144656 h 151075"/>
                <a:gd name="connsiteX1" fmla="*/ 86 w 5311557"/>
                <a:gd name="connsiteY1" fmla="*/ 0 h 151075"/>
                <a:gd name="connsiteX2" fmla="*/ 5311557 w 5311557"/>
                <a:gd name="connsiteY2" fmla="*/ 15903 h 151075"/>
                <a:gd name="connsiteX3" fmla="*/ 5303606 w 5311557"/>
                <a:gd name="connsiteY3" fmla="*/ 151075 h 151075"/>
                <a:gd name="connsiteX0" fmla="*/ 8436 w 5311637"/>
                <a:gd name="connsiteY0" fmla="*/ 144656 h 151075"/>
                <a:gd name="connsiteX1" fmla="*/ 166 w 5311637"/>
                <a:gd name="connsiteY1" fmla="*/ 0 h 151075"/>
                <a:gd name="connsiteX2" fmla="*/ 5311637 w 5311637"/>
                <a:gd name="connsiteY2" fmla="*/ 15903 h 151075"/>
                <a:gd name="connsiteX3" fmla="*/ 5303686 w 5311637"/>
                <a:gd name="connsiteY3" fmla="*/ 151075 h 151075"/>
                <a:gd name="connsiteX0" fmla="*/ 3427 w 5313772"/>
                <a:gd name="connsiteY0" fmla="*/ 149419 h 151075"/>
                <a:gd name="connsiteX1" fmla="*/ 2301 w 5313772"/>
                <a:gd name="connsiteY1" fmla="*/ 0 h 151075"/>
                <a:gd name="connsiteX2" fmla="*/ 5313772 w 5313772"/>
                <a:gd name="connsiteY2" fmla="*/ 15903 h 151075"/>
                <a:gd name="connsiteX3" fmla="*/ 5305821 w 5313772"/>
                <a:gd name="connsiteY3" fmla="*/ 151075 h 151075"/>
                <a:gd name="connsiteX0" fmla="*/ 1604 w 5311949"/>
                <a:gd name="connsiteY0" fmla="*/ 149419 h 151075"/>
                <a:gd name="connsiteX1" fmla="*/ 478 w 5311949"/>
                <a:gd name="connsiteY1" fmla="*/ 0 h 151075"/>
                <a:gd name="connsiteX2" fmla="*/ 5311949 w 5311949"/>
                <a:gd name="connsiteY2" fmla="*/ 15903 h 151075"/>
                <a:gd name="connsiteX3" fmla="*/ 5303998 w 5311949"/>
                <a:gd name="connsiteY3" fmla="*/ 151075 h 151075"/>
                <a:gd name="connsiteX0" fmla="*/ 1604 w 5311949"/>
                <a:gd name="connsiteY0" fmla="*/ 149419 h 155838"/>
                <a:gd name="connsiteX1" fmla="*/ 478 w 5311949"/>
                <a:gd name="connsiteY1" fmla="*/ 0 h 155838"/>
                <a:gd name="connsiteX2" fmla="*/ 5311949 w 5311949"/>
                <a:gd name="connsiteY2" fmla="*/ 15903 h 155838"/>
                <a:gd name="connsiteX3" fmla="*/ 5311142 w 5311949"/>
                <a:gd name="connsiteY3" fmla="*/ 155838 h 155838"/>
                <a:gd name="connsiteX0" fmla="*/ 1604 w 5311949"/>
                <a:gd name="connsiteY0" fmla="*/ 149419 h 155838"/>
                <a:gd name="connsiteX1" fmla="*/ 478 w 5311949"/>
                <a:gd name="connsiteY1" fmla="*/ 0 h 155838"/>
                <a:gd name="connsiteX2" fmla="*/ 5311949 w 5311949"/>
                <a:gd name="connsiteY2" fmla="*/ 15903 h 155838"/>
                <a:gd name="connsiteX3" fmla="*/ 5311142 w 5311949"/>
                <a:gd name="connsiteY3" fmla="*/ 155838 h 15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1949" h="155838">
                  <a:moveTo>
                    <a:pt x="1604" y="149419"/>
                  </a:moveTo>
                  <a:cubicBezTo>
                    <a:pt x="-49" y="-4985"/>
                    <a:pt x="-423" y="47000"/>
                    <a:pt x="478" y="0"/>
                  </a:cubicBezTo>
                  <a:lnTo>
                    <a:pt x="5311949" y="15903"/>
                  </a:lnTo>
                  <a:cubicBezTo>
                    <a:pt x="5311680" y="62548"/>
                    <a:pt x="5309030" y="68712"/>
                    <a:pt x="5311142" y="155838"/>
                  </a:cubicBezTo>
                </a:path>
              </a:pathLst>
            </a:cu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7" name="Freeform 55">
              <a:extLst>
                <a:ext uri="{FF2B5EF4-FFF2-40B4-BE49-F238E27FC236}">
                  <a16:creationId xmlns:a16="http://schemas.microsoft.com/office/drawing/2014/main" xmlns="" id="{2EC00FD8-E742-42B0-AE5C-108A6824F129}"/>
                </a:ext>
              </a:extLst>
            </p:cNvPr>
            <p:cNvSpPr/>
            <p:nvPr/>
          </p:nvSpPr>
          <p:spPr>
            <a:xfrm>
              <a:off x="4564049" y="1659618"/>
              <a:ext cx="0" cy="254442"/>
            </a:xfrm>
            <a:custGeom>
              <a:avLst/>
              <a:gdLst>
                <a:gd name="connsiteX0" fmla="*/ 0 w 0"/>
                <a:gd name="connsiteY0" fmla="*/ 0 h 254442"/>
                <a:gd name="connsiteX1" fmla="*/ 0 w 0"/>
                <a:gd name="connsiteY1" fmla="*/ 254442 h 25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54442">
                  <a:moveTo>
                    <a:pt x="0" y="0"/>
                  </a:moveTo>
                  <a:lnTo>
                    <a:pt x="0" y="254442"/>
                  </a:lnTo>
                </a:path>
              </a:pathLst>
            </a:cu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65" name="그룹 64">
            <a:extLst>
              <a:ext uri="{FF2B5EF4-FFF2-40B4-BE49-F238E27FC236}">
                <a16:creationId xmlns:a16="http://schemas.microsoft.com/office/drawing/2014/main" xmlns="" id="{F1FC7B74-A7D2-4233-9913-184CAAAC2706}"/>
              </a:ext>
            </a:extLst>
          </p:cNvPr>
          <p:cNvGrpSpPr/>
          <p:nvPr/>
        </p:nvGrpSpPr>
        <p:grpSpPr>
          <a:xfrm>
            <a:off x="923932" y="3919717"/>
            <a:ext cx="10496542" cy="2938283"/>
            <a:chOff x="1181099" y="3919717"/>
            <a:chExt cx="9948486" cy="2938283"/>
          </a:xfrm>
        </p:grpSpPr>
        <p:sp>
          <p:nvSpPr>
            <p:cNvPr id="49" name="Rectangle 42">
              <a:extLst>
                <a:ext uri="{FF2B5EF4-FFF2-40B4-BE49-F238E27FC236}">
                  <a16:creationId xmlns:a16="http://schemas.microsoft.com/office/drawing/2014/main" xmlns="" id="{FF062D59-CA60-4D06-B0DD-50DC85F3B933}"/>
                </a:ext>
              </a:extLst>
            </p:cNvPr>
            <p:cNvSpPr/>
            <p:nvPr/>
          </p:nvSpPr>
          <p:spPr>
            <a:xfrm>
              <a:off x="1181099" y="3919717"/>
              <a:ext cx="4914901" cy="293828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50" name="Rectangle 43">
              <a:extLst>
                <a:ext uri="{FF2B5EF4-FFF2-40B4-BE49-F238E27FC236}">
                  <a16:creationId xmlns:a16="http://schemas.microsoft.com/office/drawing/2014/main" xmlns="" id="{CF277201-2742-4D74-AF41-6A7B274C830B}"/>
                </a:ext>
              </a:extLst>
            </p:cNvPr>
            <p:cNvSpPr/>
            <p:nvPr/>
          </p:nvSpPr>
          <p:spPr>
            <a:xfrm>
              <a:off x="6096001" y="3919717"/>
              <a:ext cx="5033584" cy="293828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56" name="그림 55">
            <a:extLst>
              <a:ext uri="{FF2B5EF4-FFF2-40B4-BE49-F238E27FC236}">
                <a16:creationId xmlns:a16="http://schemas.microsoft.com/office/drawing/2014/main" xmlns="" id="{D92099AF-C1C9-4DEF-B362-859A3F5F27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085" y="864285"/>
            <a:ext cx="6277186" cy="2577870"/>
          </a:xfrm>
          <a:prstGeom prst="rect">
            <a:avLst/>
          </a:prstGeom>
        </p:spPr>
      </p:pic>
      <p:pic>
        <p:nvPicPr>
          <p:cNvPr id="57" name="그림 56">
            <a:extLst>
              <a:ext uri="{FF2B5EF4-FFF2-40B4-BE49-F238E27FC236}">
                <a16:creationId xmlns:a16="http://schemas.microsoft.com/office/drawing/2014/main" xmlns="" id="{528485B5-61CC-4D25-A171-1F4B866F0F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47" b="5843"/>
          <a:stretch/>
        </p:blipFill>
        <p:spPr>
          <a:xfrm>
            <a:off x="923924" y="4050874"/>
            <a:ext cx="3641034" cy="2725187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xmlns="" id="{78C57545-8538-4E54-931E-52DF0A237E0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59"/>
          <a:stretch/>
        </p:blipFill>
        <p:spPr>
          <a:xfrm>
            <a:off x="8026163" y="4033225"/>
            <a:ext cx="3398697" cy="2690633"/>
          </a:xfrm>
          <a:prstGeom prst="rect">
            <a:avLst/>
          </a:prstGeom>
        </p:spPr>
      </p:pic>
      <p:sp>
        <p:nvSpPr>
          <p:cNvPr id="61" name="Title 15">
            <a:extLst>
              <a:ext uri="{FF2B5EF4-FFF2-40B4-BE49-F238E27FC236}">
                <a16:creationId xmlns:a16="http://schemas.microsoft.com/office/drawing/2014/main" xmlns="" id="{828949DA-4A26-4287-899C-F99C90317C89}"/>
              </a:ext>
            </a:extLst>
          </p:cNvPr>
          <p:cNvSpPr txBox="1">
            <a:spLocks/>
          </p:cNvSpPr>
          <p:nvPr/>
        </p:nvSpPr>
        <p:spPr>
          <a:xfrm>
            <a:off x="0" y="81939"/>
            <a:ext cx="12192000" cy="103537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o-KR" altLang="en-US" sz="4800" b="1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테고리</a:t>
            </a:r>
            <a:r>
              <a:rPr lang="en-US" altLang="ko-KR" sz="4800" b="1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en-US" sz="4800" b="1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성별</a:t>
            </a:r>
            <a:r>
              <a:rPr lang="en-US" altLang="ko-KR" sz="4800" b="1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E</a:t>
            </a:r>
            <a:r>
              <a:rPr lang="en-US" altLang="ko-KR" sz="48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DA </a:t>
            </a:r>
            <a:r>
              <a:rPr lang="ko-KR" altLang="en-US" sz="4800" b="1" dirty="0">
                <a:solidFill>
                  <a:srgbClr val="98DC56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드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3C2EAF39-A20C-4F14-9AD2-0F5120121409}"/>
              </a:ext>
            </a:extLst>
          </p:cNvPr>
          <p:cNvSpPr txBox="1"/>
          <p:nvPr/>
        </p:nvSpPr>
        <p:spPr>
          <a:xfrm>
            <a:off x="4554543" y="4951802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와 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 각각 카테고리별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&amp;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성별 빈도를 구한다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xmlns="" id="{FD6EB82D-E15E-48F9-871A-E39BBB5BFAD3}"/>
              </a:ext>
            </a:extLst>
          </p:cNvPr>
          <p:cNvSpPr/>
          <p:nvPr/>
        </p:nvSpPr>
        <p:spPr>
          <a:xfrm>
            <a:off x="3409950" y="2314575"/>
            <a:ext cx="1076313" cy="112758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cxnSp>
        <p:nvCxnSpPr>
          <p:cNvPr id="72" name="Straight Arrow Connector 5">
            <a:extLst>
              <a:ext uri="{FF2B5EF4-FFF2-40B4-BE49-F238E27FC236}">
                <a16:creationId xmlns:a16="http://schemas.microsoft.com/office/drawing/2014/main" xmlns="" id="{34500C77-5FB1-401B-818A-3F3778271CD3}"/>
              </a:ext>
            </a:extLst>
          </p:cNvPr>
          <p:cNvCxnSpPr>
            <a:cxnSpLocks/>
          </p:cNvCxnSpPr>
          <p:nvPr/>
        </p:nvCxnSpPr>
        <p:spPr>
          <a:xfrm>
            <a:off x="4558917" y="2890942"/>
            <a:ext cx="756033" cy="0"/>
          </a:xfrm>
          <a:prstGeom prst="straightConnector1">
            <a:avLst/>
          </a:prstGeom>
          <a:ln w="19050">
            <a:solidFill>
              <a:srgbClr val="C00000"/>
            </a:solidFill>
            <a:prstDash val="soli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4">
            <a:extLst>
              <a:ext uri="{FF2B5EF4-FFF2-40B4-BE49-F238E27FC236}">
                <a16:creationId xmlns:a16="http://schemas.microsoft.com/office/drawing/2014/main" xmlns="" id="{AB2691D3-A612-4138-9FAA-6E9C0763F9AC}"/>
              </a:ext>
            </a:extLst>
          </p:cNvPr>
          <p:cNvSpPr/>
          <p:nvPr/>
        </p:nvSpPr>
        <p:spPr>
          <a:xfrm>
            <a:off x="5432812" y="2715130"/>
            <a:ext cx="3291712" cy="3359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ko-KR" altLang="en-US" sz="1700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각 카테고리별 성비를 구한다</a:t>
            </a:r>
          </a:p>
        </p:txBody>
      </p:sp>
    </p:spTree>
    <p:extLst>
      <p:ext uri="{BB962C8B-B14F-4D97-AF65-F5344CB8AC3E}">
        <p14:creationId xmlns:p14="http://schemas.microsoft.com/office/powerpoint/2010/main" val="28804791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AFF87472-9EAB-4CF0-8D16-E085507E7D3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대</a:t>
            </a:r>
            <a:r>
              <a:rPr lang="en-US" altLang="ko-KR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EDA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srgbClr val="98DC56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드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708801" y="2967095"/>
            <a:ext cx="2575237" cy="627868"/>
            <a:chOff x="3233964" y="1954418"/>
            <a:chExt cx="1400521" cy="470901"/>
          </a:xfrm>
        </p:grpSpPr>
        <p:sp>
          <p:nvSpPr>
            <p:cNvPr id="42" name="TextBox 41"/>
            <p:cNvSpPr txBox="1"/>
            <p:nvPr/>
          </p:nvSpPr>
          <p:spPr>
            <a:xfrm>
              <a:off x="3233966" y="1954418"/>
              <a:ext cx="1400519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867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dd Text</a:t>
              </a:r>
              <a:endParaRPr lang="ko-KR" altLang="en-US" sz="1867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233964" y="2171403"/>
              <a:ext cx="14005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Simple PowerPoint</a:t>
              </a:r>
              <a:endPara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174141" y="5469254"/>
            <a:ext cx="2575235" cy="627866"/>
            <a:chOff x="3233964" y="1954419"/>
            <a:chExt cx="1400520" cy="470900"/>
          </a:xfrm>
        </p:grpSpPr>
        <p:sp>
          <p:nvSpPr>
            <p:cNvPr id="60" name="TextBox 59"/>
            <p:cNvSpPr txBox="1"/>
            <p:nvPr/>
          </p:nvSpPr>
          <p:spPr>
            <a:xfrm>
              <a:off x="3233965" y="1954419"/>
              <a:ext cx="1400519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867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dd Text</a:t>
              </a:r>
              <a:endParaRPr lang="ko-KR" altLang="en-US" sz="1867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233964" y="2171403"/>
              <a:ext cx="14005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Simple PowerPoint</a:t>
              </a:r>
              <a:endPara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pic>
        <p:nvPicPr>
          <p:cNvPr id="14" name="그림 개체 틀 13">
            <a:extLst>
              <a:ext uri="{FF2B5EF4-FFF2-40B4-BE49-F238E27FC236}">
                <a16:creationId xmlns:a16="http://schemas.microsoft.com/office/drawing/2014/main" xmlns="" id="{529EE488-87A2-4E5B-8DF9-3BF106E2DAF2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05" b="25805"/>
          <a:stretch>
            <a:fillRect/>
          </a:stretch>
        </p:blipFill>
        <p:spPr>
          <a:xfrm>
            <a:off x="708025" y="1568450"/>
            <a:ext cx="10755313" cy="1687513"/>
          </a:xfrm>
        </p:spPr>
      </p:pic>
      <p:sp>
        <p:nvSpPr>
          <p:cNvPr id="13" name="그림 개체 틀 12">
            <a:extLst>
              <a:ext uri="{FF2B5EF4-FFF2-40B4-BE49-F238E27FC236}">
                <a16:creationId xmlns:a16="http://schemas.microsoft.com/office/drawing/2014/main" xmlns="" id="{F6676B25-46FA-42D9-ACDB-A448B8234D7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8056" y="3979648"/>
            <a:ext cx="10735888" cy="2135543"/>
          </a:xfrm>
        </p:spPr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421ECE42-0C32-452B-B873-9566C8127128}"/>
              </a:ext>
            </a:extLst>
          </p:cNvPr>
          <p:cNvSpPr/>
          <p:nvPr/>
        </p:nvSpPr>
        <p:spPr>
          <a:xfrm>
            <a:off x="708025" y="971550"/>
            <a:ext cx="10755313" cy="526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xmlns="" id="{6DD19C73-9E58-4A20-97C7-9B270216EAC6}"/>
              </a:ext>
            </a:extLst>
          </p:cNvPr>
          <p:cNvSpPr/>
          <p:nvPr/>
        </p:nvSpPr>
        <p:spPr>
          <a:xfrm>
            <a:off x="707418" y="6239016"/>
            <a:ext cx="10756526" cy="338555"/>
          </a:xfrm>
          <a:prstGeom prst="rect">
            <a:avLst/>
          </a:prstGeom>
          <a:solidFill>
            <a:srgbClr val="4CD6B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대별 성비 계산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부분 남성이 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0~50%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성이 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50~60%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 차지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61CE9F2A-F958-48F5-A7E2-CC09124DB191}"/>
              </a:ext>
            </a:extLst>
          </p:cNvPr>
          <p:cNvGrpSpPr/>
          <p:nvPr/>
        </p:nvGrpSpPr>
        <p:grpSpPr>
          <a:xfrm>
            <a:off x="707419" y="1246219"/>
            <a:ext cx="10756526" cy="2003433"/>
            <a:chOff x="707419" y="1484344"/>
            <a:chExt cx="10756526" cy="2003433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xmlns="" id="{F5004B41-8B8E-4707-9B2C-98FBEBF51C88}"/>
                </a:ext>
              </a:extLst>
            </p:cNvPr>
            <p:cNvSpPr/>
            <p:nvPr/>
          </p:nvSpPr>
          <p:spPr>
            <a:xfrm>
              <a:off x="707419" y="3180209"/>
              <a:ext cx="10756526" cy="307568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총 데이터 中 연령대 인원 계산</a:t>
              </a:r>
            </a:p>
          </p:txBody>
        </p:sp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xmlns="" id="{E90F41C6-C933-46A4-AB5B-D9905244B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17008" y="1484344"/>
              <a:ext cx="4737343" cy="1689187"/>
            </a:xfrm>
            <a:prstGeom prst="rect">
              <a:avLst/>
            </a:prstGeom>
          </p:spPr>
        </p:pic>
      </p:grpSp>
      <p:pic>
        <p:nvPicPr>
          <p:cNvPr id="26" name="그림 25">
            <a:extLst>
              <a:ext uri="{FF2B5EF4-FFF2-40B4-BE49-F238E27FC236}">
                <a16:creationId xmlns:a16="http://schemas.microsoft.com/office/drawing/2014/main" xmlns="" id="{4CDBDD40-18A2-4206-87EF-2505A7EFDC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427" y="3660996"/>
            <a:ext cx="7912507" cy="256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4289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xmlns="" id="{7F1D3170-59A9-4B17-8911-141FB99BF7C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0404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스코어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EDA </a:t>
            </a:r>
            <a:r>
              <a:rPr lang="ko-KR" altLang="en-US" dirty="0">
                <a:solidFill>
                  <a:srgbClr val="98DC56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드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708801" y="2967095"/>
            <a:ext cx="2575237" cy="627868"/>
            <a:chOff x="3233964" y="1954418"/>
            <a:chExt cx="1400521" cy="470901"/>
          </a:xfrm>
        </p:grpSpPr>
        <p:sp>
          <p:nvSpPr>
            <p:cNvPr id="42" name="TextBox 41"/>
            <p:cNvSpPr txBox="1"/>
            <p:nvPr/>
          </p:nvSpPr>
          <p:spPr>
            <a:xfrm>
              <a:off x="3233966" y="1954418"/>
              <a:ext cx="1400519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867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dd Text</a:t>
              </a:r>
              <a:endParaRPr lang="ko-KR" altLang="en-US" sz="1867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233964" y="2171403"/>
              <a:ext cx="14005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Simple PowerPoint</a:t>
              </a:r>
              <a:endPara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174141" y="5469254"/>
            <a:ext cx="2575235" cy="627866"/>
            <a:chOff x="3233964" y="1954419"/>
            <a:chExt cx="1400520" cy="470900"/>
          </a:xfrm>
        </p:grpSpPr>
        <p:sp>
          <p:nvSpPr>
            <p:cNvPr id="60" name="TextBox 59"/>
            <p:cNvSpPr txBox="1"/>
            <p:nvPr/>
          </p:nvSpPr>
          <p:spPr>
            <a:xfrm>
              <a:off x="3233965" y="1954419"/>
              <a:ext cx="1400519" cy="28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867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dd Text</a:t>
              </a:r>
              <a:endParaRPr lang="ko-KR" altLang="en-US" sz="1867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233964" y="2171403"/>
              <a:ext cx="14005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Simple PowerPoint</a:t>
              </a:r>
              <a:endPara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4395636B-B3E3-4DA2-B9E2-729F5712FA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08802" y="1569098"/>
            <a:ext cx="10755142" cy="1687310"/>
          </a:xfrm>
        </p:spPr>
      </p:sp>
      <p:sp>
        <p:nvSpPr>
          <p:cNvPr id="13" name="그림 개체 틀 12">
            <a:extLst>
              <a:ext uri="{FF2B5EF4-FFF2-40B4-BE49-F238E27FC236}">
                <a16:creationId xmlns:a16="http://schemas.microsoft.com/office/drawing/2014/main" xmlns="" id="{F6676B25-46FA-42D9-ACDB-A448B8234D73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8056" y="3979648"/>
            <a:ext cx="10735888" cy="2135543"/>
          </a:xfrm>
        </p:spPr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421ECE42-0C32-452B-B873-9566C8127128}"/>
              </a:ext>
            </a:extLst>
          </p:cNvPr>
          <p:cNvSpPr/>
          <p:nvPr/>
        </p:nvSpPr>
        <p:spPr>
          <a:xfrm>
            <a:off x="708801" y="973886"/>
            <a:ext cx="10857219" cy="5255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F5004B41-8B8E-4707-9B2C-98FBEBF51C88}"/>
              </a:ext>
            </a:extLst>
          </p:cNvPr>
          <p:cNvSpPr/>
          <p:nvPr/>
        </p:nvSpPr>
        <p:spPr>
          <a:xfrm>
            <a:off x="689542" y="3171383"/>
            <a:ext cx="10876697" cy="309604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스코어 총 합계 계산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xmlns="" id="{6DD19C73-9E58-4A20-97C7-9B270216EAC6}"/>
              </a:ext>
            </a:extLst>
          </p:cNvPr>
          <p:cNvSpPr/>
          <p:nvPr/>
        </p:nvSpPr>
        <p:spPr>
          <a:xfrm>
            <a:off x="685595" y="6230284"/>
            <a:ext cx="10880687" cy="351491"/>
          </a:xfrm>
          <a:prstGeom prst="rect">
            <a:avLst/>
          </a:prstGeom>
          <a:solidFill>
            <a:srgbClr val="4CD6B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스코어가 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igh(3)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인 층의 성비를 골라서 계산</a:t>
            </a: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18CF433F-BB63-4258-B40F-BD28DCB637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53"/>
          <a:stretch/>
        </p:blipFill>
        <p:spPr>
          <a:xfrm>
            <a:off x="2126943" y="1104663"/>
            <a:ext cx="7734698" cy="2044758"/>
          </a:xfrm>
          <a:prstGeom prst="rect">
            <a:avLst/>
          </a:prstGeom>
        </p:spPr>
      </p:pic>
      <p:pic>
        <p:nvPicPr>
          <p:cNvPr id="65" name="그림 64">
            <a:extLst>
              <a:ext uri="{FF2B5EF4-FFF2-40B4-BE49-F238E27FC236}">
                <a16:creationId xmlns:a16="http://schemas.microsoft.com/office/drawing/2014/main" xmlns="" id="{1458E164-C271-4B5C-B2BA-33828FEB2F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629" y="3638558"/>
            <a:ext cx="7531487" cy="259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2796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1222DAAB-B804-4742-8A5A-3E3792DF2C7E}"/>
              </a:ext>
            </a:extLst>
          </p:cNvPr>
          <p:cNvGraphicFramePr/>
          <p:nvPr>
            <p:extLst/>
          </p:nvPr>
        </p:nvGraphicFramePr>
        <p:xfrm>
          <a:off x="2652032" y="1514912"/>
          <a:ext cx="6887939" cy="2104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ound Same Side Corner Rectangle 8">
            <a:extLst>
              <a:ext uri="{FF2B5EF4-FFF2-40B4-BE49-F238E27FC236}">
                <a16:creationId xmlns:a16="http://schemas.microsoft.com/office/drawing/2014/main" xmlns="" id="{D955E885-D670-4FC1-8DCE-3AADECEC59CA}"/>
              </a:ext>
            </a:extLst>
          </p:cNvPr>
          <p:cNvSpPr/>
          <p:nvPr/>
        </p:nvSpPr>
        <p:spPr>
          <a:xfrm>
            <a:off x="5103840" y="1809108"/>
            <a:ext cx="575459" cy="1515617"/>
          </a:xfrm>
          <a:custGeom>
            <a:avLst/>
            <a:gdLst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8887 w 1489775"/>
              <a:gd name="connsiteY10" fmla="*/ 2305078 h 3923699"/>
              <a:gd name="connsiteX11" fmla="*/ 1151853 w 1489775"/>
              <a:gd name="connsiteY11" fmla="*/ 3743699 h 3923699"/>
              <a:gd name="connsiteX12" fmla="*/ 971853 w 1489775"/>
              <a:gd name="connsiteY12" fmla="*/ 3923699 h 3923699"/>
              <a:gd name="connsiteX13" fmla="*/ 791853 w 1489775"/>
              <a:gd name="connsiteY13" fmla="*/ 3743699 h 3923699"/>
              <a:gd name="connsiteX14" fmla="*/ 791853 w 1489775"/>
              <a:gd name="connsiteY14" fmla="*/ 2305078 h 3923699"/>
              <a:gd name="connsiteX15" fmla="*/ 683854 w 1489775"/>
              <a:gd name="connsiteY15" fmla="*/ 2305078 h 3923699"/>
              <a:gd name="connsiteX16" fmla="*/ 683854 w 1489775"/>
              <a:gd name="connsiteY16" fmla="*/ 3743698 h 3923699"/>
              <a:gd name="connsiteX17" fmla="*/ 503854 w 1489775"/>
              <a:gd name="connsiteY17" fmla="*/ 3923698 h 3923699"/>
              <a:gd name="connsiteX18" fmla="*/ 323854 w 1489775"/>
              <a:gd name="connsiteY18" fmla="*/ 3743698 h 3923699"/>
              <a:gd name="connsiteX19" fmla="*/ 323854 w 1489775"/>
              <a:gd name="connsiteY19" fmla="*/ 2238914 h 3923699"/>
              <a:gd name="connsiteX20" fmla="*/ 330887 w 1489775"/>
              <a:gd name="connsiteY20" fmla="*/ 2238914 h 3923699"/>
              <a:gd name="connsiteX21" fmla="*/ 330887 w 1489775"/>
              <a:gd name="connsiteY21" fmla="*/ 1390678 h 3923699"/>
              <a:gd name="connsiteX22" fmla="*/ 288033 w 1489775"/>
              <a:gd name="connsiteY22" fmla="*/ 1390678 h 3923699"/>
              <a:gd name="connsiteX23" fmla="*/ 288033 w 1489775"/>
              <a:gd name="connsiteY23" fmla="*/ 2063902 h 3923699"/>
              <a:gd name="connsiteX24" fmla="*/ 144017 w 1489775"/>
              <a:gd name="connsiteY24" fmla="*/ 2207918 h 3923699"/>
              <a:gd name="connsiteX25" fmla="*/ 1 w 1489775"/>
              <a:gd name="connsiteY25" fmla="*/ 2063902 h 3923699"/>
              <a:gd name="connsiteX26" fmla="*/ 1 w 1489775"/>
              <a:gd name="connsiteY26" fmla="*/ 1390678 h 3923699"/>
              <a:gd name="connsiteX27" fmla="*/ 0 w 1489775"/>
              <a:gd name="connsiteY27" fmla="*/ 1390678 h 3923699"/>
              <a:gd name="connsiteX28" fmla="*/ 0 w 1489775"/>
              <a:gd name="connsiteY28" fmla="*/ 1030958 h 3923699"/>
              <a:gd name="connsiteX29" fmla="*/ 280204 w 1489775"/>
              <a:gd name="connsiteY29" fmla="*/ 750754 h 3923699"/>
              <a:gd name="connsiteX30" fmla="*/ 744888 w 1489775"/>
              <a:gd name="connsiteY30" fmla="*/ 0 h 3923699"/>
              <a:gd name="connsiteX31" fmla="*/ 1082199 w 1489775"/>
              <a:gd name="connsiteY31" fmla="*/ 337311 h 3923699"/>
              <a:gd name="connsiteX32" fmla="*/ 744888 w 1489775"/>
              <a:gd name="connsiteY32" fmla="*/ 674622 h 3923699"/>
              <a:gd name="connsiteX33" fmla="*/ 407577 w 1489775"/>
              <a:gd name="connsiteY33" fmla="*/ 337311 h 3923699"/>
              <a:gd name="connsiteX34" fmla="*/ 744888 w 1489775"/>
              <a:gd name="connsiteY34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23854 w 1489775"/>
              <a:gd name="connsiteY18" fmla="*/ 2238914 h 3923699"/>
              <a:gd name="connsiteX19" fmla="*/ 330887 w 1489775"/>
              <a:gd name="connsiteY19" fmla="*/ 2238914 h 3923699"/>
              <a:gd name="connsiteX20" fmla="*/ 330887 w 1489775"/>
              <a:gd name="connsiteY20" fmla="*/ 1390678 h 3923699"/>
              <a:gd name="connsiteX21" fmla="*/ 288033 w 1489775"/>
              <a:gd name="connsiteY21" fmla="*/ 1390678 h 3923699"/>
              <a:gd name="connsiteX22" fmla="*/ 288033 w 1489775"/>
              <a:gd name="connsiteY22" fmla="*/ 2063902 h 3923699"/>
              <a:gd name="connsiteX23" fmla="*/ 144017 w 1489775"/>
              <a:gd name="connsiteY23" fmla="*/ 2207918 h 3923699"/>
              <a:gd name="connsiteX24" fmla="*/ 1 w 1489775"/>
              <a:gd name="connsiteY24" fmla="*/ 2063902 h 3923699"/>
              <a:gd name="connsiteX25" fmla="*/ 1 w 1489775"/>
              <a:gd name="connsiteY25" fmla="*/ 1390678 h 3923699"/>
              <a:gd name="connsiteX26" fmla="*/ 0 w 1489775"/>
              <a:gd name="connsiteY26" fmla="*/ 1390678 h 3923699"/>
              <a:gd name="connsiteX27" fmla="*/ 0 w 1489775"/>
              <a:gd name="connsiteY27" fmla="*/ 1030958 h 3923699"/>
              <a:gd name="connsiteX28" fmla="*/ 280204 w 1489775"/>
              <a:gd name="connsiteY28" fmla="*/ 750754 h 3923699"/>
              <a:gd name="connsiteX29" fmla="*/ 744888 w 1489775"/>
              <a:gd name="connsiteY29" fmla="*/ 0 h 3923699"/>
              <a:gd name="connsiteX30" fmla="*/ 1082199 w 1489775"/>
              <a:gd name="connsiteY30" fmla="*/ 337311 h 3923699"/>
              <a:gd name="connsiteX31" fmla="*/ 744888 w 1489775"/>
              <a:gd name="connsiteY31" fmla="*/ 674622 h 3923699"/>
              <a:gd name="connsiteX32" fmla="*/ 407577 w 1489775"/>
              <a:gd name="connsiteY32" fmla="*/ 337311 h 3923699"/>
              <a:gd name="connsiteX33" fmla="*/ 744888 w 1489775"/>
              <a:gd name="connsiteY33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23854 w 1489775"/>
              <a:gd name="connsiteY18" fmla="*/ 2238914 h 3923699"/>
              <a:gd name="connsiteX19" fmla="*/ 330887 w 1489775"/>
              <a:gd name="connsiteY19" fmla="*/ 1390678 h 3923699"/>
              <a:gd name="connsiteX20" fmla="*/ 288033 w 1489775"/>
              <a:gd name="connsiteY20" fmla="*/ 1390678 h 3923699"/>
              <a:gd name="connsiteX21" fmla="*/ 288033 w 1489775"/>
              <a:gd name="connsiteY21" fmla="*/ 2063902 h 3923699"/>
              <a:gd name="connsiteX22" fmla="*/ 144017 w 1489775"/>
              <a:gd name="connsiteY22" fmla="*/ 2207918 h 3923699"/>
              <a:gd name="connsiteX23" fmla="*/ 1 w 1489775"/>
              <a:gd name="connsiteY23" fmla="*/ 2063902 h 3923699"/>
              <a:gd name="connsiteX24" fmla="*/ 1 w 1489775"/>
              <a:gd name="connsiteY24" fmla="*/ 1390678 h 3923699"/>
              <a:gd name="connsiteX25" fmla="*/ 0 w 1489775"/>
              <a:gd name="connsiteY25" fmla="*/ 1390678 h 3923699"/>
              <a:gd name="connsiteX26" fmla="*/ 0 w 1489775"/>
              <a:gd name="connsiteY26" fmla="*/ 1030958 h 3923699"/>
              <a:gd name="connsiteX27" fmla="*/ 280204 w 1489775"/>
              <a:gd name="connsiteY27" fmla="*/ 750754 h 3923699"/>
              <a:gd name="connsiteX28" fmla="*/ 744888 w 1489775"/>
              <a:gd name="connsiteY28" fmla="*/ 0 h 3923699"/>
              <a:gd name="connsiteX29" fmla="*/ 1082199 w 1489775"/>
              <a:gd name="connsiteY29" fmla="*/ 337311 h 3923699"/>
              <a:gd name="connsiteX30" fmla="*/ 744888 w 1489775"/>
              <a:gd name="connsiteY30" fmla="*/ 674622 h 3923699"/>
              <a:gd name="connsiteX31" fmla="*/ 407577 w 1489775"/>
              <a:gd name="connsiteY31" fmla="*/ 337311 h 3923699"/>
              <a:gd name="connsiteX32" fmla="*/ 744888 w 1489775"/>
              <a:gd name="connsiteY32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30887 w 1489775"/>
              <a:gd name="connsiteY18" fmla="*/ 1390678 h 3923699"/>
              <a:gd name="connsiteX19" fmla="*/ 288033 w 1489775"/>
              <a:gd name="connsiteY19" fmla="*/ 1390678 h 3923699"/>
              <a:gd name="connsiteX20" fmla="*/ 288033 w 1489775"/>
              <a:gd name="connsiteY20" fmla="*/ 2063902 h 3923699"/>
              <a:gd name="connsiteX21" fmla="*/ 144017 w 1489775"/>
              <a:gd name="connsiteY21" fmla="*/ 2207918 h 3923699"/>
              <a:gd name="connsiteX22" fmla="*/ 1 w 1489775"/>
              <a:gd name="connsiteY22" fmla="*/ 2063902 h 3923699"/>
              <a:gd name="connsiteX23" fmla="*/ 1 w 1489775"/>
              <a:gd name="connsiteY23" fmla="*/ 1390678 h 3923699"/>
              <a:gd name="connsiteX24" fmla="*/ 0 w 1489775"/>
              <a:gd name="connsiteY24" fmla="*/ 1390678 h 3923699"/>
              <a:gd name="connsiteX25" fmla="*/ 0 w 1489775"/>
              <a:gd name="connsiteY25" fmla="*/ 1030958 h 3923699"/>
              <a:gd name="connsiteX26" fmla="*/ 280204 w 1489775"/>
              <a:gd name="connsiteY26" fmla="*/ 750754 h 3923699"/>
              <a:gd name="connsiteX27" fmla="*/ 744888 w 1489775"/>
              <a:gd name="connsiteY27" fmla="*/ 0 h 3923699"/>
              <a:gd name="connsiteX28" fmla="*/ 1082199 w 1489775"/>
              <a:gd name="connsiteY28" fmla="*/ 337311 h 3923699"/>
              <a:gd name="connsiteX29" fmla="*/ 744888 w 1489775"/>
              <a:gd name="connsiteY29" fmla="*/ 674622 h 3923699"/>
              <a:gd name="connsiteX30" fmla="*/ 407577 w 1489775"/>
              <a:gd name="connsiteY30" fmla="*/ 337311 h 3923699"/>
              <a:gd name="connsiteX31" fmla="*/ 744888 w 1489775"/>
              <a:gd name="connsiteY31" fmla="*/ 0 h 3923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489775" h="3923699">
                <a:moveTo>
                  <a:pt x="280204" y="750754"/>
                </a:moveTo>
                <a:lnTo>
                  <a:pt x="1209570" y="750754"/>
                </a:lnTo>
                <a:cubicBezTo>
                  <a:pt x="1364322" y="750754"/>
                  <a:pt x="1489774" y="876206"/>
                  <a:pt x="1489774" y="1030958"/>
                </a:cubicBezTo>
                <a:lnTo>
                  <a:pt x="1489774" y="1293518"/>
                </a:lnTo>
                <a:lnTo>
                  <a:pt x="1489775" y="1293518"/>
                </a:lnTo>
                <a:lnTo>
                  <a:pt x="1489775" y="2063902"/>
                </a:lnTo>
                <a:cubicBezTo>
                  <a:pt x="1489775" y="2143440"/>
                  <a:pt x="1425297" y="2207918"/>
                  <a:pt x="1345759" y="2207918"/>
                </a:cubicBezTo>
                <a:cubicBezTo>
                  <a:pt x="1266221" y="2207918"/>
                  <a:pt x="1201743" y="2143440"/>
                  <a:pt x="1201743" y="2063902"/>
                </a:cubicBezTo>
                <a:lnTo>
                  <a:pt x="1201743" y="1390678"/>
                </a:lnTo>
                <a:lnTo>
                  <a:pt x="1158887" y="1390678"/>
                </a:lnTo>
                <a:cubicBezTo>
                  <a:pt x="1156542" y="2175018"/>
                  <a:pt x="1154198" y="2959359"/>
                  <a:pt x="1151853" y="3743699"/>
                </a:cubicBezTo>
                <a:cubicBezTo>
                  <a:pt x="1151853" y="3843110"/>
                  <a:pt x="1071264" y="3923699"/>
                  <a:pt x="971853" y="3923699"/>
                </a:cubicBezTo>
                <a:cubicBezTo>
                  <a:pt x="872442" y="3923699"/>
                  <a:pt x="791853" y="3843110"/>
                  <a:pt x="791853" y="3743699"/>
                </a:cubicBezTo>
                <a:lnTo>
                  <a:pt x="791853" y="2305078"/>
                </a:lnTo>
                <a:lnTo>
                  <a:pt x="683854" y="2305078"/>
                </a:lnTo>
                <a:lnTo>
                  <a:pt x="683854" y="3743698"/>
                </a:lnTo>
                <a:cubicBezTo>
                  <a:pt x="683854" y="3843109"/>
                  <a:pt x="603265" y="3923698"/>
                  <a:pt x="503854" y="3923698"/>
                </a:cubicBezTo>
                <a:cubicBezTo>
                  <a:pt x="404443" y="3923698"/>
                  <a:pt x="323854" y="3843109"/>
                  <a:pt x="323854" y="3743698"/>
                </a:cubicBezTo>
                <a:cubicBezTo>
                  <a:pt x="326198" y="2959358"/>
                  <a:pt x="328543" y="2175018"/>
                  <a:pt x="330887" y="1390678"/>
                </a:cubicBezTo>
                <a:lnTo>
                  <a:pt x="288033" y="1390678"/>
                </a:lnTo>
                <a:lnTo>
                  <a:pt x="288033" y="2063902"/>
                </a:lnTo>
                <a:cubicBezTo>
                  <a:pt x="288033" y="2143440"/>
                  <a:pt x="223555" y="2207918"/>
                  <a:pt x="144017" y="2207918"/>
                </a:cubicBezTo>
                <a:cubicBezTo>
                  <a:pt x="64479" y="2207918"/>
                  <a:pt x="1" y="2143440"/>
                  <a:pt x="1" y="2063902"/>
                </a:cubicBezTo>
                <a:lnTo>
                  <a:pt x="1" y="1390678"/>
                </a:lnTo>
                <a:lnTo>
                  <a:pt x="0" y="1390678"/>
                </a:lnTo>
                <a:lnTo>
                  <a:pt x="0" y="1030958"/>
                </a:lnTo>
                <a:cubicBezTo>
                  <a:pt x="0" y="876206"/>
                  <a:pt x="125452" y="750754"/>
                  <a:pt x="280204" y="750754"/>
                </a:cubicBezTo>
                <a:close/>
                <a:moveTo>
                  <a:pt x="744888" y="0"/>
                </a:moveTo>
                <a:cubicBezTo>
                  <a:pt x="931180" y="0"/>
                  <a:pt x="1082199" y="151019"/>
                  <a:pt x="1082199" y="337311"/>
                </a:cubicBezTo>
                <a:cubicBezTo>
                  <a:pt x="1082199" y="523603"/>
                  <a:pt x="931180" y="674622"/>
                  <a:pt x="744888" y="674622"/>
                </a:cubicBezTo>
                <a:cubicBezTo>
                  <a:pt x="558596" y="674622"/>
                  <a:pt x="407577" y="523603"/>
                  <a:pt x="407577" y="337311"/>
                </a:cubicBezTo>
                <a:cubicBezTo>
                  <a:pt x="407577" y="151019"/>
                  <a:pt x="558596" y="0"/>
                  <a:pt x="74488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9" name="Round Same Side Corner Rectangle 20">
            <a:extLst>
              <a:ext uri="{FF2B5EF4-FFF2-40B4-BE49-F238E27FC236}">
                <a16:creationId xmlns:a16="http://schemas.microsoft.com/office/drawing/2014/main" xmlns="" id="{7294A236-F4C1-470B-AB2F-25397A8E9F6F}"/>
              </a:ext>
            </a:extLst>
          </p:cNvPr>
          <p:cNvSpPr/>
          <p:nvPr/>
        </p:nvSpPr>
        <p:spPr>
          <a:xfrm rot="10800000">
            <a:off x="6349186" y="1802112"/>
            <a:ext cx="717050" cy="1529609"/>
          </a:xfrm>
          <a:custGeom>
            <a:avLst/>
            <a:gdLst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521281 w 1856332"/>
              <a:gd name="connsiteY2" fmla="*/ 3174669 h 3959924"/>
              <a:gd name="connsiteX3" fmla="*/ 466697 w 1856332"/>
              <a:gd name="connsiteY3" fmla="*/ 3144149 h 3959924"/>
              <a:gd name="connsiteX4" fmla="*/ 8303 w 1856332"/>
              <a:gd name="connsiteY4" fmla="*/ 1942070 h 3959924"/>
              <a:gd name="connsiteX5" fmla="*/ 81139 w 1856332"/>
              <a:gd name="connsiteY5" fmla="*/ 1779444 h 3959924"/>
              <a:gd name="connsiteX6" fmla="*/ 243764 w 1856332"/>
              <a:gd name="connsiteY6" fmla="*/ 1852280 h 3959924"/>
              <a:gd name="connsiteX7" fmla="*/ 504770 w 1856332"/>
              <a:gd name="connsiteY7" fmla="*/ 2536736 h 3959924"/>
              <a:gd name="connsiteX8" fmla="*/ 555637 w 1856332"/>
              <a:gd name="connsiteY8" fmla="*/ 2536736 h 3959924"/>
              <a:gd name="connsiteX9" fmla="*/ 226299 w 1856332"/>
              <a:gd name="connsiteY9" fmla="*/ 1210417 h 3959924"/>
              <a:gd name="connsiteX10" fmla="*/ 551784 w 1856332"/>
              <a:gd name="connsiteY10" fmla="*/ 1210417 h 3959924"/>
              <a:gd name="connsiteX11" fmla="*/ 551784 w 1856332"/>
              <a:gd name="connsiteY11" fmla="*/ 168335 h 3959924"/>
              <a:gd name="connsiteX12" fmla="*/ 720119 w 1856332"/>
              <a:gd name="connsiteY12" fmla="*/ 0 h 3959924"/>
              <a:gd name="connsiteX13" fmla="*/ 888454 w 1856332"/>
              <a:gd name="connsiteY13" fmla="*/ 168335 h 3959924"/>
              <a:gd name="connsiteX14" fmla="*/ 888454 w 1856332"/>
              <a:gd name="connsiteY14" fmla="*/ 1210417 h 3959924"/>
              <a:gd name="connsiteX15" fmla="*/ 968040 w 1856332"/>
              <a:gd name="connsiteY15" fmla="*/ 1210417 h 3959924"/>
              <a:gd name="connsiteX16" fmla="*/ 968040 w 1856332"/>
              <a:gd name="connsiteY16" fmla="*/ 168335 h 3959924"/>
              <a:gd name="connsiteX17" fmla="*/ 1136375 w 1856332"/>
              <a:gd name="connsiteY17" fmla="*/ 0 h 3959924"/>
              <a:gd name="connsiteX18" fmla="*/ 1304710 w 1856332"/>
              <a:gd name="connsiteY18" fmla="*/ 168335 h 3959924"/>
              <a:gd name="connsiteX19" fmla="*/ 1304710 w 1856332"/>
              <a:gd name="connsiteY19" fmla="*/ 1210417 h 3959924"/>
              <a:gd name="connsiteX20" fmla="*/ 1631589 w 1856332"/>
              <a:gd name="connsiteY20" fmla="*/ 1210417 h 3959924"/>
              <a:gd name="connsiteX21" fmla="*/ 1302251 w 1856332"/>
              <a:gd name="connsiteY21" fmla="*/ 2536736 h 3959924"/>
              <a:gd name="connsiteX22" fmla="*/ 1351562 w 1856332"/>
              <a:gd name="connsiteY22" fmla="*/ 2536736 h 3959924"/>
              <a:gd name="connsiteX23" fmla="*/ 1612568 w 1856332"/>
              <a:gd name="connsiteY23" fmla="*/ 1852280 h 3959924"/>
              <a:gd name="connsiteX24" fmla="*/ 1775193 w 1856332"/>
              <a:gd name="connsiteY24" fmla="*/ 1779444 h 3959924"/>
              <a:gd name="connsiteX25" fmla="*/ 1848029 w 1856332"/>
              <a:gd name="connsiteY25" fmla="*/ 1942070 h 3959924"/>
              <a:gd name="connsiteX26" fmla="*/ 1389635 w 1856332"/>
              <a:gd name="connsiteY26" fmla="*/ 3144149 h 3959924"/>
              <a:gd name="connsiteX27" fmla="*/ 1344732 w 1856332"/>
              <a:gd name="connsiteY27" fmla="*/ 3176282 h 3959924"/>
              <a:gd name="connsiteX28" fmla="*/ 1228565 w 1856332"/>
              <a:gd name="connsiteY28" fmla="*/ 3214674 h 3959924"/>
              <a:gd name="connsiteX29" fmla="*/ 925623 w 1856332"/>
              <a:gd name="connsiteY29" fmla="*/ 3959924 h 3959924"/>
              <a:gd name="connsiteX30" fmla="*/ 601623 w 1856332"/>
              <a:gd name="connsiteY30" fmla="*/ 3635924 h 3959924"/>
              <a:gd name="connsiteX31" fmla="*/ 925623 w 1856332"/>
              <a:gd name="connsiteY31" fmla="*/ 3311924 h 3959924"/>
              <a:gd name="connsiteX32" fmla="*/ 1249623 w 1856332"/>
              <a:gd name="connsiteY32" fmla="*/ 3635924 h 3959924"/>
              <a:gd name="connsiteX33" fmla="*/ 925623 w 1856332"/>
              <a:gd name="connsiteY33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344732 w 1856332"/>
              <a:gd name="connsiteY26" fmla="*/ 3176282 h 3959924"/>
              <a:gd name="connsiteX27" fmla="*/ 1228565 w 1856332"/>
              <a:gd name="connsiteY27" fmla="*/ 3214674 h 3959924"/>
              <a:gd name="connsiteX28" fmla="*/ 925623 w 1856332"/>
              <a:gd name="connsiteY28" fmla="*/ 3959924 h 3959924"/>
              <a:gd name="connsiteX29" fmla="*/ 601623 w 1856332"/>
              <a:gd name="connsiteY29" fmla="*/ 3635924 h 3959924"/>
              <a:gd name="connsiteX30" fmla="*/ 925623 w 1856332"/>
              <a:gd name="connsiteY30" fmla="*/ 3311924 h 3959924"/>
              <a:gd name="connsiteX31" fmla="*/ 1249623 w 1856332"/>
              <a:gd name="connsiteY31" fmla="*/ 3635924 h 3959924"/>
              <a:gd name="connsiteX32" fmla="*/ 925623 w 1856332"/>
              <a:gd name="connsiteY32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344732 w 1856332"/>
              <a:gd name="connsiteY26" fmla="*/ 3176282 h 3959924"/>
              <a:gd name="connsiteX27" fmla="*/ 1228565 w 1856332"/>
              <a:gd name="connsiteY27" fmla="*/ 3214674 h 3959924"/>
              <a:gd name="connsiteX28" fmla="*/ 925623 w 1856332"/>
              <a:gd name="connsiteY28" fmla="*/ 3959924 h 3959924"/>
              <a:gd name="connsiteX29" fmla="*/ 601623 w 1856332"/>
              <a:gd name="connsiteY29" fmla="*/ 3635924 h 3959924"/>
              <a:gd name="connsiteX30" fmla="*/ 925623 w 1856332"/>
              <a:gd name="connsiteY30" fmla="*/ 3311924 h 3959924"/>
              <a:gd name="connsiteX31" fmla="*/ 1249623 w 1856332"/>
              <a:gd name="connsiteY31" fmla="*/ 3635924 h 3959924"/>
              <a:gd name="connsiteX32" fmla="*/ 925623 w 1856332"/>
              <a:gd name="connsiteY32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856332" h="3959924">
                <a:moveTo>
                  <a:pt x="1228565" y="3214674"/>
                </a:moveTo>
                <a:lnTo>
                  <a:pt x="622681" y="3214674"/>
                </a:lnTo>
                <a:cubicBezTo>
                  <a:pt x="495703" y="3202920"/>
                  <a:pt x="501057" y="3225622"/>
                  <a:pt x="466697" y="3144149"/>
                </a:cubicBezTo>
                <a:lnTo>
                  <a:pt x="8303" y="1942070"/>
                </a:lnTo>
                <a:cubicBezTo>
                  <a:pt x="-16491" y="1877049"/>
                  <a:pt x="16118" y="1804239"/>
                  <a:pt x="81139" y="1779444"/>
                </a:cubicBezTo>
                <a:cubicBezTo>
                  <a:pt x="146160" y="1754650"/>
                  <a:pt x="218970" y="1787259"/>
                  <a:pt x="243764" y="1852280"/>
                </a:cubicBezTo>
                <a:lnTo>
                  <a:pt x="504770" y="2536736"/>
                </a:lnTo>
                <a:lnTo>
                  <a:pt x="555637" y="2536736"/>
                </a:lnTo>
                <a:lnTo>
                  <a:pt x="226299" y="1210417"/>
                </a:lnTo>
                <a:lnTo>
                  <a:pt x="551784" y="1210417"/>
                </a:lnTo>
                <a:lnTo>
                  <a:pt x="551784" y="168335"/>
                </a:lnTo>
                <a:cubicBezTo>
                  <a:pt x="551784" y="75366"/>
                  <a:pt x="627150" y="0"/>
                  <a:pt x="720119" y="0"/>
                </a:cubicBezTo>
                <a:cubicBezTo>
                  <a:pt x="813088" y="0"/>
                  <a:pt x="888454" y="75366"/>
                  <a:pt x="888454" y="168335"/>
                </a:cubicBezTo>
                <a:lnTo>
                  <a:pt x="888454" y="1210417"/>
                </a:lnTo>
                <a:lnTo>
                  <a:pt x="968040" y="1210417"/>
                </a:lnTo>
                <a:lnTo>
                  <a:pt x="968040" y="168335"/>
                </a:lnTo>
                <a:cubicBezTo>
                  <a:pt x="968040" y="75366"/>
                  <a:pt x="1043406" y="0"/>
                  <a:pt x="1136375" y="0"/>
                </a:cubicBezTo>
                <a:cubicBezTo>
                  <a:pt x="1229344" y="0"/>
                  <a:pt x="1304710" y="75366"/>
                  <a:pt x="1304710" y="168335"/>
                </a:cubicBezTo>
                <a:lnTo>
                  <a:pt x="1304710" y="1210417"/>
                </a:lnTo>
                <a:lnTo>
                  <a:pt x="1631589" y="1210417"/>
                </a:lnTo>
                <a:lnTo>
                  <a:pt x="1302251" y="2536736"/>
                </a:lnTo>
                <a:lnTo>
                  <a:pt x="1351562" y="2536736"/>
                </a:lnTo>
                <a:lnTo>
                  <a:pt x="1612568" y="1852280"/>
                </a:lnTo>
                <a:cubicBezTo>
                  <a:pt x="1637362" y="1787259"/>
                  <a:pt x="1710172" y="1754650"/>
                  <a:pt x="1775193" y="1779444"/>
                </a:cubicBezTo>
                <a:cubicBezTo>
                  <a:pt x="1840214" y="1804239"/>
                  <a:pt x="1872823" y="1877049"/>
                  <a:pt x="1848029" y="1942070"/>
                </a:cubicBezTo>
                <a:lnTo>
                  <a:pt x="1389635" y="3144149"/>
                </a:lnTo>
                <a:cubicBezTo>
                  <a:pt x="1348984" y="3225622"/>
                  <a:pt x="1356391" y="3202920"/>
                  <a:pt x="1228565" y="3214674"/>
                </a:cubicBezTo>
                <a:close/>
                <a:moveTo>
                  <a:pt x="925623" y="3959924"/>
                </a:moveTo>
                <a:cubicBezTo>
                  <a:pt x="746683" y="3959924"/>
                  <a:pt x="601623" y="3814864"/>
                  <a:pt x="601623" y="3635924"/>
                </a:cubicBezTo>
                <a:cubicBezTo>
                  <a:pt x="601623" y="3456984"/>
                  <a:pt x="746683" y="3311924"/>
                  <a:pt x="925623" y="3311924"/>
                </a:cubicBezTo>
                <a:cubicBezTo>
                  <a:pt x="1104563" y="3311924"/>
                  <a:pt x="1249623" y="3456984"/>
                  <a:pt x="1249623" y="3635924"/>
                </a:cubicBezTo>
                <a:cubicBezTo>
                  <a:pt x="1249623" y="3814864"/>
                  <a:pt x="1104563" y="3959924"/>
                  <a:pt x="925623" y="39599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DF22E0A-DE54-4397-A806-C0480E8F4DE3}"/>
              </a:ext>
            </a:extLst>
          </p:cNvPr>
          <p:cNvSpPr txBox="1"/>
          <p:nvPr/>
        </p:nvSpPr>
        <p:spPr>
          <a:xfrm>
            <a:off x="770792" y="2209791"/>
            <a:ext cx="32688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남성 비율이 높은 카테고리는 취미와 호텔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/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숙박</a:t>
            </a: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marL="285750" marR="0" lvl="0" indent="-28575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019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과 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020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의 소비 양상의 상당한 변화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3BC8455-FA16-4A32-88F0-5DFD4736F7B5}"/>
              </a:ext>
            </a:extLst>
          </p:cNvPr>
          <p:cNvSpPr txBox="1"/>
          <p:nvPr/>
        </p:nvSpPr>
        <p:spPr>
          <a:xfrm>
            <a:off x="8088751" y="2176936"/>
            <a:ext cx="33338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여성 비율이 높은 카테고리는 뷰티와 </a:t>
            </a:r>
            <a:r>
              <a:rPr kumimoji="0" lang="ko-KR" alt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종합몰</a:t>
            </a:r>
            <a:endParaRPr kumimoji="0" lang="en-US" altLang="ko-KR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여성의 소비량이 전반적으로 남성보다 많다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F6BB7374-E3E9-41AF-9CE5-BC1AAF0F3EE2}"/>
              </a:ext>
            </a:extLst>
          </p:cNvPr>
          <p:cNvSpPr txBox="1"/>
          <p:nvPr/>
        </p:nvSpPr>
        <p:spPr>
          <a:xfrm>
            <a:off x="2038078" y="1607849"/>
            <a:ext cx="20015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Male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9AA91B3-DA09-4835-9AA2-0790C96378A6}"/>
              </a:ext>
            </a:extLst>
          </p:cNvPr>
          <p:cNvSpPr txBox="1"/>
          <p:nvPr/>
        </p:nvSpPr>
        <p:spPr>
          <a:xfrm>
            <a:off x="8087402" y="1607849"/>
            <a:ext cx="20015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Female</a:t>
            </a:r>
            <a:endParaRPr kumimoji="0" lang="ko-KR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xmlns="" id="{7117F498-2036-49B5-B09C-953DA46BC71B}"/>
              </a:ext>
            </a:extLst>
          </p:cNvPr>
          <p:cNvGraphicFramePr/>
          <p:nvPr>
            <p:extLst/>
          </p:nvPr>
        </p:nvGraphicFramePr>
        <p:xfrm>
          <a:off x="1613693" y="3589764"/>
          <a:ext cx="3888000" cy="49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7473594C-C50F-4CEA-BEC6-92030F8CBC2E}"/>
              </a:ext>
            </a:extLst>
          </p:cNvPr>
          <p:cNvGrpSpPr/>
          <p:nvPr/>
        </p:nvGrpSpPr>
        <p:grpSpPr>
          <a:xfrm>
            <a:off x="1543573" y="3943554"/>
            <a:ext cx="4152557" cy="1060281"/>
            <a:chOff x="803640" y="3379483"/>
            <a:chExt cx="2069150" cy="92661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2ECF56C0-E691-4E1B-ACFE-C9759588F342}"/>
                </a:ext>
              </a:extLst>
            </p:cNvPr>
            <p:cNvSpPr txBox="1"/>
            <p:nvPr/>
          </p:nvSpPr>
          <p:spPr>
            <a:xfrm>
              <a:off x="803640" y="3579862"/>
              <a:ext cx="2059657" cy="7262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전월 실적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50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만원 이상인 고객들을 대상으로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[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여기 어때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야놀자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스페이스클라우드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]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로 예약 시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5%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할인 쿠폰 지급</a:t>
              </a:r>
              <a:endPara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3D52ACB3-DF88-4393-B9D5-3FA2A2AEB241}"/>
                </a:ext>
              </a:extLst>
            </p:cNvPr>
            <p:cNvSpPr txBox="1"/>
            <p:nvPr/>
          </p:nvSpPr>
          <p:spPr>
            <a:xfrm>
              <a:off x="813133" y="3379483"/>
              <a:ext cx="2059657" cy="295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호텔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숙박 관련 쿠폰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0F869084-2191-480C-A05D-20423E3600D6}"/>
              </a:ext>
            </a:extLst>
          </p:cNvPr>
          <p:cNvSpPr/>
          <p:nvPr/>
        </p:nvSpPr>
        <p:spPr>
          <a:xfrm>
            <a:off x="669530" y="3907285"/>
            <a:ext cx="762460" cy="76246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C927CD3B-DD38-4AE9-A91E-FF39ADCAF398}"/>
              </a:ext>
            </a:extLst>
          </p:cNvPr>
          <p:cNvGrpSpPr/>
          <p:nvPr/>
        </p:nvGrpSpPr>
        <p:grpSpPr>
          <a:xfrm>
            <a:off x="7605472" y="3993839"/>
            <a:ext cx="4063386" cy="830377"/>
            <a:chOff x="803640" y="3362835"/>
            <a:chExt cx="2059657" cy="83037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D7F5FB99-E04F-43EC-9F55-E2C7A9CB7760}"/>
                </a:ext>
              </a:extLst>
            </p:cNvPr>
            <p:cNvSpPr txBox="1"/>
            <p:nvPr/>
          </p:nvSpPr>
          <p:spPr>
            <a:xfrm>
              <a:off x="803640" y="3608437"/>
              <a:ext cx="205965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전월 실적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50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만원 이상인 고객들에게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[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올리브영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롭스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준오헤어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chop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헤어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] 5,000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원 쿠폰 지급</a:t>
              </a:r>
              <a:endPara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1E3D14B4-90CC-4849-9F16-B677B484AFE6}"/>
                </a:ext>
              </a:extLst>
            </p:cNvPr>
            <p:cNvSpPr txBox="1"/>
            <p:nvPr/>
          </p:nvSpPr>
          <p:spPr>
            <a:xfrm>
              <a:off x="803640" y="3362835"/>
              <a:ext cx="205965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D0E3E5FC-8269-4F4D-B43A-9CB7CB017C07}"/>
              </a:ext>
            </a:extLst>
          </p:cNvPr>
          <p:cNvSpPr/>
          <p:nvPr/>
        </p:nvSpPr>
        <p:spPr>
          <a:xfrm>
            <a:off x="6661310" y="3878710"/>
            <a:ext cx="762460" cy="76246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7C8676C4-6CC5-4036-ADDA-7F4D679EB9CE}"/>
              </a:ext>
            </a:extLst>
          </p:cNvPr>
          <p:cNvGrpSpPr/>
          <p:nvPr/>
        </p:nvGrpSpPr>
        <p:grpSpPr>
          <a:xfrm>
            <a:off x="1613693" y="5428260"/>
            <a:ext cx="4063386" cy="1149125"/>
            <a:chOff x="803640" y="3324735"/>
            <a:chExt cx="2059657" cy="633311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3C58DA7C-2B85-43B8-BC9C-9E11477F07E3}"/>
                </a:ext>
              </a:extLst>
            </p:cNvPr>
            <p:cNvSpPr txBox="1"/>
            <p:nvPr/>
          </p:nvSpPr>
          <p:spPr>
            <a:xfrm>
              <a:off x="803640" y="3500063"/>
              <a:ext cx="2059657" cy="457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취미생활은 주기적으로 하는 활동이므로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[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운동닥터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투엑스피트니스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]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에서 재방문 시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10%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할인 혜택 제공 </a:t>
              </a:r>
              <a:endPara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3204A000-D9A9-408D-B5AB-EF28FCE53645}"/>
                </a:ext>
              </a:extLst>
            </p:cNvPr>
            <p:cNvSpPr txBox="1"/>
            <p:nvPr/>
          </p:nvSpPr>
          <p:spPr>
            <a:xfrm>
              <a:off x="803640" y="3324735"/>
              <a:ext cx="2059657" cy="186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운동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바둑 및 낚시 등의 취미생활 지원 혜택</a:t>
              </a:r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88505CEB-8C7B-4396-8DC7-0BA3C2BDD0CB}"/>
              </a:ext>
            </a:extLst>
          </p:cNvPr>
          <p:cNvSpPr/>
          <p:nvPr/>
        </p:nvSpPr>
        <p:spPr>
          <a:xfrm>
            <a:off x="6661309" y="5342178"/>
            <a:ext cx="762460" cy="76246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E2280480-B089-4F41-AEAA-CE3ED907DB3E}"/>
              </a:ext>
            </a:extLst>
          </p:cNvPr>
          <p:cNvGrpSpPr/>
          <p:nvPr/>
        </p:nvGrpSpPr>
        <p:grpSpPr>
          <a:xfrm>
            <a:off x="7605472" y="5400261"/>
            <a:ext cx="4063386" cy="1331772"/>
            <a:chOff x="803640" y="3325308"/>
            <a:chExt cx="2059657" cy="1331772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CDFFC4FE-5A82-47C7-95AC-295C97BD7AFD}"/>
                </a:ext>
              </a:extLst>
            </p:cNvPr>
            <p:cNvSpPr txBox="1"/>
            <p:nvPr/>
          </p:nvSpPr>
          <p:spPr>
            <a:xfrm>
              <a:off x="803640" y="3579862"/>
              <a:ext cx="205965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종합몰은 다양한 목적의 다양한 물품을 구매할 수 있기에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[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SSG.COM,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롯데닷컴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현대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h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몰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] 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대상으로 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일주일 이내 재방문 시 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20%</a:t>
              </a:r>
              <a:r>
                <a:rPr kumimoji="0" lang="ko-KR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할인 쿠폰 제공</a:t>
              </a:r>
              <a:endPara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4D931AE2-2C51-457C-AD57-48A1EDA6D7B0}"/>
                </a:ext>
              </a:extLst>
            </p:cNvPr>
            <p:cNvSpPr txBox="1"/>
            <p:nvPr/>
          </p:nvSpPr>
          <p:spPr>
            <a:xfrm>
              <a:off x="803640" y="3325308"/>
              <a:ext cx="205965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종합몰</a:t>
              </a:r>
              <a:r>
                <a:rPr kumimoji="0" lang="ko-KR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재방문 시 </a:t>
              </a:r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혜택 제공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D5E20AFF-24B0-4834-B210-577B17EBBDD2}"/>
              </a:ext>
            </a:extLst>
          </p:cNvPr>
          <p:cNvSpPr/>
          <p:nvPr/>
        </p:nvSpPr>
        <p:spPr>
          <a:xfrm>
            <a:off x="683197" y="5370753"/>
            <a:ext cx="762460" cy="76246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aphicFrame>
        <p:nvGraphicFramePr>
          <p:cNvPr id="35" name="Chart 18">
            <a:extLst>
              <a:ext uri="{FF2B5EF4-FFF2-40B4-BE49-F238E27FC236}">
                <a16:creationId xmlns:a16="http://schemas.microsoft.com/office/drawing/2014/main" xmlns="" id="{2EDEA3F4-AF09-4DBA-A1C9-16272D18D492}"/>
              </a:ext>
            </a:extLst>
          </p:cNvPr>
          <p:cNvGraphicFramePr/>
          <p:nvPr>
            <p:extLst/>
          </p:nvPr>
        </p:nvGraphicFramePr>
        <p:xfrm>
          <a:off x="1613693" y="5051809"/>
          <a:ext cx="3888000" cy="49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18">
            <a:extLst>
              <a:ext uri="{FF2B5EF4-FFF2-40B4-BE49-F238E27FC236}">
                <a16:creationId xmlns:a16="http://schemas.microsoft.com/office/drawing/2014/main" xmlns="" id="{23CBDA5B-F90B-4844-9A7F-27DDEA14BDCE}"/>
              </a:ext>
            </a:extLst>
          </p:cNvPr>
          <p:cNvGraphicFramePr/>
          <p:nvPr>
            <p:extLst/>
          </p:nvPr>
        </p:nvGraphicFramePr>
        <p:xfrm>
          <a:off x="7639794" y="3561189"/>
          <a:ext cx="3888000" cy="49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18">
            <a:extLst>
              <a:ext uri="{FF2B5EF4-FFF2-40B4-BE49-F238E27FC236}">
                <a16:creationId xmlns:a16="http://schemas.microsoft.com/office/drawing/2014/main" xmlns="" id="{9E532183-B6EC-4FA2-80E2-860D259B16EB}"/>
              </a:ext>
            </a:extLst>
          </p:cNvPr>
          <p:cNvGraphicFramePr/>
          <p:nvPr>
            <p:extLst/>
          </p:nvPr>
        </p:nvGraphicFramePr>
        <p:xfrm>
          <a:off x="7639794" y="5020847"/>
          <a:ext cx="3888000" cy="49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D21FAEA9-4D07-459A-B824-CBBE41FAD7F3}"/>
              </a:ext>
            </a:extLst>
          </p:cNvPr>
          <p:cNvSpPr txBox="1"/>
          <p:nvPr/>
        </p:nvSpPr>
        <p:spPr>
          <a:xfrm>
            <a:off x="7620560" y="3954289"/>
            <a:ext cx="41335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화장품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네일샵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및 미용 등의 뷰티 관련 쿠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AFF4B4D-44CE-4018-B74A-12C91665587F}"/>
              </a:ext>
            </a:extLst>
          </p:cNvPr>
          <p:cNvSpPr txBox="1"/>
          <p:nvPr/>
        </p:nvSpPr>
        <p:spPr>
          <a:xfrm>
            <a:off x="3933825" y="1031473"/>
            <a:ext cx="4352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EDA 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성별 데이터 분석을 기반으로</a:t>
            </a:r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</a:t>
            </a:r>
            <a:endParaRPr lang="ko-KR" altLang="en-US" sz="20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1568" y="4007675"/>
            <a:ext cx="554784" cy="55478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6601" y="5463543"/>
            <a:ext cx="554784" cy="554784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82591" y="3962049"/>
            <a:ext cx="554784" cy="55478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4648" y="5429044"/>
            <a:ext cx="554784" cy="554784"/>
          </a:xfrm>
          <a:prstGeom prst="rect">
            <a:avLst/>
          </a:prstGeom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xmlns="" id="{241A53BA-63CE-4F26-8521-56A04D519B56}"/>
              </a:ext>
            </a:extLst>
          </p:cNvPr>
          <p:cNvSpPr/>
          <p:nvPr/>
        </p:nvSpPr>
        <p:spPr>
          <a:xfrm>
            <a:off x="3143250" y="810113"/>
            <a:ext cx="5868000" cy="144000"/>
          </a:xfrm>
          <a:prstGeom prst="rect">
            <a:avLst/>
          </a:prstGeom>
          <a:solidFill>
            <a:srgbClr val="98DC5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xmlns="" id="{B4258764-64E3-4372-8D5E-D59917B8F0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180" y="288176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ko-KR" altLang="en-US" sz="4800" dirty="0">
                <a:latin typeface="서울남산체 B" panose="02020503020101020101" pitchFamily="18" charset="-127"/>
                <a:ea typeface="서울남산체 B" panose="02020503020101020101" pitchFamily="18" charset="-127"/>
              </a:rPr>
              <a:t>성별에 따른 혜택 제공</a:t>
            </a:r>
            <a:endParaRPr lang="en-US" sz="4800" dirty="0">
              <a:latin typeface="서울남산체 B" panose="02020503020101020101" pitchFamily="18" charset="-127"/>
              <a:ea typeface="서울남산체 B" panose="020205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56390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그림 89">
            <a:extLst>
              <a:ext uri="{FF2B5EF4-FFF2-40B4-BE49-F238E27FC236}">
                <a16:creationId xmlns:a16="http://schemas.microsoft.com/office/drawing/2014/main" xmlns="" id="{BE4D2DF0-93B5-445F-9DE1-00D9F1DD00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8115" y="1365335"/>
            <a:ext cx="8136711" cy="4701115"/>
          </a:xfrm>
          <a:prstGeom prst="rect">
            <a:avLst/>
          </a:prstGeom>
        </p:spPr>
      </p:pic>
      <p:pic>
        <p:nvPicPr>
          <p:cNvPr id="92" name="그림 91">
            <a:extLst>
              <a:ext uri="{FF2B5EF4-FFF2-40B4-BE49-F238E27FC236}">
                <a16:creationId xmlns:a16="http://schemas.microsoft.com/office/drawing/2014/main" xmlns="" id="{08D2310E-54E9-4E30-9E93-F66A96DA5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8057" y="1150392"/>
            <a:ext cx="768163" cy="847417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45C6B1B9-3E29-46E0-BF83-A32EB41E559F}"/>
              </a:ext>
            </a:extLst>
          </p:cNvPr>
          <p:cNvSpPr txBox="1"/>
          <p:nvPr/>
        </p:nvSpPr>
        <p:spPr>
          <a:xfrm>
            <a:off x="4067612" y="1753239"/>
            <a:ext cx="755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ONtact</a:t>
            </a:r>
            <a:r>
              <a:rPr kumimoji="0" lang="en-US" altLang="ko-KR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(Online + Contact) </a:t>
            </a:r>
            <a:r>
              <a:rPr kumimoji="0" lang="ko-KR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사인회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xmlns="" id="{5CD303C6-99FC-4C05-AB6D-B7DA35561347}"/>
              </a:ext>
            </a:extLst>
          </p:cNvPr>
          <p:cNvSpPr/>
          <p:nvPr/>
        </p:nvSpPr>
        <p:spPr>
          <a:xfrm>
            <a:off x="2990848" y="821072"/>
            <a:ext cx="6300000" cy="144000"/>
          </a:xfrm>
          <a:prstGeom prst="rect">
            <a:avLst/>
          </a:prstGeom>
          <a:solidFill>
            <a:srgbClr val="98DC5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1026" name="Picture 2" descr="Selfie Girl Clipart - Selfie Çeken Insan Animasyon - Png Download  (#5687680) - PinClipart">
            <a:extLst>
              <a:ext uri="{FF2B5EF4-FFF2-40B4-BE49-F238E27FC236}">
                <a16:creationId xmlns:a16="http://schemas.microsoft.com/office/drawing/2014/main" xmlns="" id="{544ADC55-EAB2-4BF2-B5A2-CE88A0488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636" b="92491" l="6023" r="92273">
                        <a14:foregroundMark x1="92273" y1="46934" x2="92273" y2="46934"/>
                        <a14:foregroundMark x1="46591" y1="92491" x2="46591" y2="92491"/>
                        <a14:foregroundMark x1="6136" y1="21777" x2="6136" y2="21777"/>
                        <a14:foregroundMark x1="13864" y1="8636" x2="13864" y2="8636"/>
                        <a14:foregroundMark x1="46705" y1="55820" x2="46705" y2="55820"/>
                        <a14:foregroundMark x1="44659" y1="55444" x2="44659" y2="55444"/>
                        <a14:foregroundMark x1="44659" y1="55444" x2="44659" y2="55444"/>
                        <a14:foregroundMark x1="44545" y1="56696" x2="44545" y2="56696"/>
                        <a14:foregroundMark x1="44545" y1="56696" x2="44545" y2="56696"/>
                        <a14:foregroundMark x1="44545" y1="56696" x2="44545" y2="56696"/>
                        <a14:foregroundMark x1="44545" y1="56696" x2="44545" y2="566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94" y="2553546"/>
            <a:ext cx="4058199" cy="3684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🎉 Party Popper Emoji">
            <a:extLst>
              <a:ext uri="{FF2B5EF4-FFF2-40B4-BE49-F238E27FC236}">
                <a16:creationId xmlns:a16="http://schemas.microsoft.com/office/drawing/2014/main" xmlns="" id="{09B5AA9C-3CA0-428D-9CDE-C222313ABD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13330">
            <a:off x="2712810" y="2896935"/>
            <a:ext cx="737456" cy="737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직사각형 16">
            <a:extLst>
              <a:ext uri="{FF2B5EF4-FFF2-40B4-BE49-F238E27FC236}">
                <a16:creationId xmlns:a16="http://schemas.microsoft.com/office/drawing/2014/main" xmlns="" id="{FD0BB935-AEB5-4DD2-9EA1-48B4456C0DDA}"/>
              </a:ext>
            </a:extLst>
          </p:cNvPr>
          <p:cNvSpPr/>
          <p:nvPr/>
        </p:nvSpPr>
        <p:spPr>
          <a:xfrm>
            <a:off x="0" y="6047887"/>
            <a:ext cx="12192000" cy="810113"/>
          </a:xfrm>
          <a:prstGeom prst="rect">
            <a:avLst/>
          </a:prstGeom>
          <a:solidFill>
            <a:srgbClr val="90567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1028" name="Picture 4" descr="🎁 Wrapped Gift Emoji — Meaning, Copy &amp; Paste">
            <a:extLst>
              <a:ext uri="{FF2B5EF4-FFF2-40B4-BE49-F238E27FC236}">
                <a16:creationId xmlns:a16="http://schemas.microsoft.com/office/drawing/2014/main" xmlns="" id="{1F2B33D9-D7AC-444F-80C8-0392BAF25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88" y="5714025"/>
            <a:ext cx="590346" cy="59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그룹 5">
            <a:extLst>
              <a:ext uri="{FF2B5EF4-FFF2-40B4-BE49-F238E27FC236}">
                <a16:creationId xmlns:a16="http://schemas.microsoft.com/office/drawing/2014/main" xmlns="" id="{4AD411E7-AEF9-4419-AFC9-7511FF66260B}"/>
              </a:ext>
            </a:extLst>
          </p:cNvPr>
          <p:cNvGrpSpPr/>
          <p:nvPr/>
        </p:nvGrpSpPr>
        <p:grpSpPr>
          <a:xfrm rot="21600000">
            <a:off x="1627384" y="6019314"/>
            <a:ext cx="2569771" cy="782474"/>
            <a:chOff x="4264826" y="4723278"/>
            <a:chExt cx="2578224" cy="843904"/>
          </a:xfrm>
        </p:grpSpPr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xmlns="" id="{63076B26-FD22-4636-AF09-CE14DD500ECD}"/>
                </a:ext>
              </a:extLst>
            </p:cNvPr>
            <p:cNvSpPr/>
            <p:nvPr/>
          </p:nvSpPr>
          <p:spPr>
            <a:xfrm rot="806733">
              <a:off x="4264826" y="4986815"/>
              <a:ext cx="283713" cy="580367"/>
            </a:xfrm>
            <a:prstGeom prst="triangle">
              <a:avLst>
                <a:gd name="adj" fmla="val 17583"/>
              </a:avLst>
            </a:prstGeom>
            <a:solidFill>
              <a:srgbClr val="0033A0"/>
            </a:solidFill>
            <a:scene3d>
              <a:camera prst="perspectiveHeroicExtremeRightFacing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xmlns="" id="{1E433D59-3A24-4053-B4BA-BF68C1B0B01A}"/>
                </a:ext>
              </a:extLst>
            </p:cNvPr>
            <p:cNvGrpSpPr/>
            <p:nvPr/>
          </p:nvGrpSpPr>
          <p:grpSpPr>
            <a:xfrm>
              <a:off x="4309807" y="4723278"/>
              <a:ext cx="2533243" cy="535468"/>
              <a:chOff x="1164655" y="5950590"/>
              <a:chExt cx="2533243" cy="535468"/>
            </a:xfrm>
          </p:grpSpPr>
          <p:sp>
            <p:nvSpPr>
              <p:cNvPr id="37" name="사각형: 모서리가 접힌 도형 36">
                <a:extLst>
                  <a:ext uri="{FF2B5EF4-FFF2-40B4-BE49-F238E27FC236}">
                    <a16:creationId xmlns:a16="http://schemas.microsoft.com/office/drawing/2014/main" xmlns="" id="{C7246380-9C8F-4C61-9258-7768253FFEDC}"/>
                  </a:ext>
                </a:extLst>
              </p:cNvPr>
              <p:cNvSpPr/>
              <p:nvPr/>
            </p:nvSpPr>
            <p:spPr>
              <a:xfrm rot="21300000">
                <a:off x="1164655" y="5950590"/>
                <a:ext cx="2533243" cy="535468"/>
              </a:xfrm>
              <a:prstGeom prst="foldedCorner">
                <a:avLst/>
              </a:prstGeom>
              <a:gradFill flip="none" rotWithShape="1">
                <a:gsLst>
                  <a:gs pos="0">
                    <a:srgbClr val="208FBC">
                      <a:shade val="30000"/>
                      <a:satMod val="115000"/>
                    </a:srgbClr>
                  </a:gs>
                  <a:gs pos="50000">
                    <a:srgbClr val="208FBC">
                      <a:shade val="67500"/>
                      <a:satMod val="115000"/>
                    </a:srgbClr>
                  </a:gs>
                  <a:gs pos="100000">
                    <a:srgbClr val="208FBC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8575">
                <a:solidFill>
                  <a:srgbClr val="24A3D6"/>
                </a:solidFill>
              </a:ln>
              <a:scene3d>
                <a:camera prst="perspectiveHeroicExtremeRightFacing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08서울남산체 B" panose="02020603020101020101" pitchFamily="18" charset="-127"/>
                  <a:cs typeface="+mn-cs"/>
                </a:endParaRPr>
              </a:p>
            </p:txBody>
          </p:sp>
          <p:pic>
            <p:nvPicPr>
              <p:cNvPr id="19" name="그림 18">
                <a:extLst>
                  <a:ext uri="{FF2B5EF4-FFF2-40B4-BE49-F238E27FC236}">
                    <a16:creationId xmlns:a16="http://schemas.microsoft.com/office/drawing/2014/main" xmlns="" id="{A44B950D-3922-4E2F-8A54-FBFFE11F10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300000">
                <a:off x="1274685" y="5967950"/>
                <a:ext cx="2277134" cy="504245"/>
              </a:xfrm>
              <a:prstGeom prst="rect">
                <a:avLst/>
              </a:prstGeom>
              <a:scene3d>
                <a:camera prst="perspectiveHeroicExtremeRightFacing"/>
                <a:lightRig rig="threePt" dir="t"/>
              </a:scene3d>
            </p:spPr>
          </p:pic>
        </p:grp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D931E19-1CBA-474C-A65D-49C03359F558}"/>
              </a:ext>
            </a:extLst>
          </p:cNvPr>
          <p:cNvSpPr txBox="1"/>
          <p:nvPr/>
        </p:nvSpPr>
        <p:spPr>
          <a:xfrm rot="16200000">
            <a:off x="2641734" y="4114457"/>
            <a:ext cx="1371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SAMSUNG</a:t>
            </a:r>
            <a:endParaRPr kumimoji="0" lang="ko-KR" alt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26" name="Picture 4" descr="🎁 Wrapped Gift Emoji — Meaning, Copy &amp; Paste">
            <a:extLst>
              <a:ext uri="{FF2B5EF4-FFF2-40B4-BE49-F238E27FC236}">
                <a16:creationId xmlns:a16="http://schemas.microsoft.com/office/drawing/2014/main" xmlns="" id="{E314E8AF-D154-42AA-9699-4A497F693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13" y="5885475"/>
            <a:ext cx="590346" cy="59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🎁 Wrapped Gift Emoji — Meaning, Copy &amp; Paste">
            <a:extLst>
              <a:ext uri="{FF2B5EF4-FFF2-40B4-BE49-F238E27FC236}">
                <a16:creationId xmlns:a16="http://schemas.microsoft.com/office/drawing/2014/main" xmlns="" id="{3C83C6F4-5528-4F8E-A2BA-75030E4B2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38" y="6066450"/>
            <a:ext cx="590346" cy="59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🎁 Wrapped Gift Emoji">
            <a:extLst>
              <a:ext uri="{FF2B5EF4-FFF2-40B4-BE49-F238E27FC236}">
                <a16:creationId xmlns:a16="http://schemas.microsoft.com/office/drawing/2014/main" xmlns="" id="{617D6E80-C114-4F0D-8C78-E757B12A3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174" y="4710697"/>
            <a:ext cx="1873816" cy="1873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🎁 Wrapped Gift Emoji">
            <a:extLst>
              <a:ext uri="{FF2B5EF4-FFF2-40B4-BE49-F238E27FC236}">
                <a16:creationId xmlns:a16="http://schemas.microsoft.com/office/drawing/2014/main" xmlns="" id="{FD68EE65-153F-4513-BA2A-537DD4F53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2460" y="5648223"/>
            <a:ext cx="1008573" cy="100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Christmas Present Emoji Newsroom KS2 Illustration - Twinkl">
            <a:extLst>
              <a:ext uri="{FF2B5EF4-FFF2-40B4-BE49-F238E27FC236}">
                <a16:creationId xmlns:a16="http://schemas.microsoft.com/office/drawing/2014/main" xmlns="" id="{CECA8952-F30C-4DB7-939E-2355BEFE7D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15" r="25238"/>
          <a:stretch/>
        </p:blipFill>
        <p:spPr bwMode="auto">
          <a:xfrm>
            <a:off x="10928103" y="5542714"/>
            <a:ext cx="1257300" cy="1281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 Placeholder 1">
            <a:extLst>
              <a:ext uri="{FF2B5EF4-FFF2-40B4-BE49-F238E27FC236}">
                <a16:creationId xmlns:a16="http://schemas.microsoft.com/office/drawing/2014/main" xmlns="" id="{AF1E24EC-FF7A-4535-95C0-16EE05F718D4}"/>
              </a:ext>
            </a:extLst>
          </p:cNvPr>
          <p:cNvSpPr txBox="1">
            <a:spLocks/>
          </p:cNvSpPr>
          <p:nvPr/>
        </p:nvSpPr>
        <p:spPr>
          <a:xfrm>
            <a:off x="304180" y="307226"/>
            <a:ext cx="11573197" cy="724247"/>
          </a:xfrm>
          <a:prstGeom prst="rect">
            <a:avLst/>
          </a:prstGeom>
        </p:spPr>
        <p:txBody>
          <a:bodyPr/>
          <a:lstStyle>
            <a:lvl1pPr marL="228605" indent="-228605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4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서울남산체 B" panose="02020503020101020101" pitchFamily="18" charset="-127"/>
                <a:ea typeface="서울남산체 B" panose="02020503020101020101" pitchFamily="18" charset="-127"/>
                <a:cs typeface="+mn-cs"/>
              </a:rPr>
              <a:t>언택트</a:t>
            </a:r>
            <a:r>
              <a:rPr kumimoji="0" lang="ko-KR" alt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서울남산체 B" panose="02020503020101020101" pitchFamily="18" charset="-127"/>
                <a:ea typeface="서울남산체 B" panose="02020503020101020101" pitchFamily="18" charset="-127"/>
                <a:cs typeface="+mn-cs"/>
              </a:rPr>
              <a:t> 영상통화 프로모션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서울남산체 B" panose="02020503020101020101" pitchFamily="18" charset="-127"/>
              <a:ea typeface="서울남산체 B" panose="02020503020101020101" pitchFamily="18" charset="-127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C75AAB66-1A4A-401D-B015-B435ACA2E394}"/>
              </a:ext>
            </a:extLst>
          </p:cNvPr>
          <p:cNvSpPr txBox="1"/>
          <p:nvPr/>
        </p:nvSpPr>
        <p:spPr>
          <a:xfrm>
            <a:off x="3355675" y="1031473"/>
            <a:ext cx="4931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서울남산체 B" panose="02020503020101020101" pitchFamily="18" charset="-127"/>
                <a:ea typeface="서울남산체 B" panose="02020503020101020101" pitchFamily="18" charset="-127"/>
                <a:cs typeface="+mn-cs"/>
              </a:rPr>
              <a:t>-</a:t>
            </a: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서울남산체 B" panose="02020503020101020101" pitchFamily="18" charset="-127"/>
                <a:ea typeface="서울남산체 B" panose="02020503020101020101" pitchFamily="18" charset="-127"/>
                <a:cs typeface="+mn-cs"/>
              </a:rPr>
              <a:t>성별에 따른 카드 혜택을 기반으로</a:t>
            </a: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서울남산체 B" panose="02020503020101020101" pitchFamily="18" charset="-127"/>
                <a:ea typeface="서울남산체 B" panose="02020503020101020101" pitchFamily="18" charset="-127"/>
                <a:cs typeface="+mn-cs"/>
              </a:rPr>
              <a:t>-</a:t>
            </a:r>
            <a:endParaRPr kumimoji="0" lang="ko-KR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서울남산체 B" panose="02020503020101020101" pitchFamily="18" charset="-127"/>
              <a:ea typeface="서울남산체 B" panose="02020503020101020101" pitchFamily="18" charset="-127"/>
              <a:cs typeface="+mn-cs"/>
            </a:endParaRPr>
          </a:p>
        </p:txBody>
      </p:sp>
      <p:cxnSp>
        <p:nvCxnSpPr>
          <p:cNvPr id="79" name="직선 연결선 78">
            <a:extLst>
              <a:ext uri="{FF2B5EF4-FFF2-40B4-BE49-F238E27FC236}">
                <a16:creationId xmlns:a16="http://schemas.microsoft.com/office/drawing/2014/main" xmlns="" id="{F78355CD-5AF4-43E8-99E1-93ECB646D94C}"/>
              </a:ext>
            </a:extLst>
          </p:cNvPr>
          <p:cNvCxnSpPr>
            <a:cxnSpLocks/>
          </p:cNvCxnSpPr>
          <p:nvPr/>
        </p:nvCxnSpPr>
        <p:spPr>
          <a:xfrm>
            <a:off x="4838700" y="2419042"/>
            <a:ext cx="6441828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20012A25-D94C-464F-9629-DCCB47C72A14}"/>
              </a:ext>
            </a:extLst>
          </p:cNvPr>
          <p:cNvSpPr txBox="1"/>
          <p:nvPr/>
        </p:nvSpPr>
        <p:spPr>
          <a:xfrm>
            <a:off x="4343324" y="2554351"/>
            <a:ext cx="715335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삼성카드 모델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(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연예인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)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과의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언택트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 영상통화 팬사인회 및 프로모션을 진행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새로운 고객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유립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  <a:sym typeface="Wingdings" panose="05000000000000000000" pitchFamily="2" charset="2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영상통화 종료 후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앞서 말한 성별에 따른 카드 혜택 랜덤으로 뽑기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!</a:t>
            </a:r>
          </a:p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단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영상통화 및 혜택 추첨과 같은 모든 과정은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4F4F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자사 앱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에서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진행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  <a:p>
            <a:pPr marL="285750" indent="-285750" defTabSz="914286" latinLnBrk="0">
              <a:buFont typeface="Wingdings" panose="05000000000000000000" pitchFamily="2" charset="2"/>
              <a:buChar char="ü"/>
              <a:defRPr/>
            </a:pPr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삼성카드 </a:t>
            </a:r>
            <a:r>
              <a:rPr lang="ko-KR" altLang="en-US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인스타그램</a:t>
            </a:r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팔로워를</a:t>
            </a:r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 대상으로 참가자 추첨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FF4F4F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SNS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4F4F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팔로워수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4F4F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증가 및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4F4F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자사 앱 이용객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유치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이벤트 및 다양한 서비스 홍보를 할 수 있으며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미래 프로모션 진행 등 장기적인 효과 기대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  <a:sym typeface="Wingdings" panose="05000000000000000000" pitchFamily="2" charset="2"/>
            </a:endParaRPr>
          </a:p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코로나로 인해 불가능했던 행사를 진행 할 수 있음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고객과의 소통 활성화 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3765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그룹 12">
            <a:extLst>
              <a:ext uri="{FF2B5EF4-FFF2-40B4-BE49-F238E27FC236}">
                <a16:creationId xmlns:a16="http://schemas.microsoft.com/office/drawing/2014/main" xmlns="" id="{A8B35994-E2E4-4797-A9EB-53223D6DDA66}"/>
              </a:ext>
            </a:extLst>
          </p:cNvPr>
          <p:cNvGrpSpPr/>
          <p:nvPr/>
        </p:nvGrpSpPr>
        <p:grpSpPr>
          <a:xfrm>
            <a:off x="4429128" y="805968"/>
            <a:ext cx="7848599" cy="5699730"/>
            <a:chOff x="0" y="373740"/>
            <a:chExt cx="8610601" cy="6131835"/>
          </a:xfrm>
        </p:grpSpPr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xmlns="" id="{0496FE55-B7DE-410E-BA46-A1C243026C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3" r="13678"/>
            <a:stretch/>
          </p:blipFill>
          <p:spPr>
            <a:xfrm>
              <a:off x="1" y="373740"/>
              <a:ext cx="8610600" cy="6131835"/>
            </a:xfrm>
            <a:prstGeom prst="rect">
              <a:avLst/>
            </a:prstGeom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xmlns="" id="{B065B9E5-A593-4E8D-A7FE-086BB90E7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2960" b="93661"/>
            <a:stretch/>
          </p:blipFill>
          <p:spPr>
            <a:xfrm>
              <a:off x="0" y="373740"/>
              <a:ext cx="2828925" cy="394549"/>
            </a:xfrm>
            <a:prstGeom prst="rect">
              <a:avLst/>
            </a:prstGeom>
          </p:spPr>
        </p:pic>
      </p:grpSp>
      <p:sp>
        <p:nvSpPr>
          <p:cNvPr id="2" name="Rectangle 8">
            <a:extLst>
              <a:ext uri="{FF2B5EF4-FFF2-40B4-BE49-F238E27FC236}">
                <a16:creationId xmlns:a16="http://schemas.microsoft.com/office/drawing/2014/main" xmlns="" id="{27C74704-4EC2-433B-BB26-D9ED6C4BFF13}"/>
              </a:ext>
            </a:extLst>
          </p:cNvPr>
          <p:cNvSpPr/>
          <p:nvPr/>
        </p:nvSpPr>
        <p:spPr>
          <a:xfrm>
            <a:off x="-19051" y="0"/>
            <a:ext cx="4324351" cy="6858000"/>
          </a:xfrm>
          <a:prstGeom prst="rect">
            <a:avLst/>
          </a:prstGeom>
          <a:solidFill>
            <a:srgbClr val="4CD6B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F6FCE48-53B8-4029-8DD7-2FC3831FDFC0}"/>
              </a:ext>
            </a:extLst>
          </p:cNvPr>
          <p:cNvSpPr txBox="1"/>
          <p:nvPr/>
        </p:nvSpPr>
        <p:spPr>
          <a:xfrm>
            <a:off x="-19050" y="699019"/>
            <a:ext cx="43148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 전년동월대비</a:t>
            </a:r>
            <a:endParaRPr lang="en-US" altLang="ko-KR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매출 차이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A6F1952-DEDC-4B8D-A695-15838F21F7CF}"/>
              </a:ext>
            </a:extLst>
          </p:cNvPr>
          <p:cNvSpPr txBox="1"/>
          <p:nvPr/>
        </p:nvSpPr>
        <p:spPr>
          <a:xfrm>
            <a:off x="-9526" y="360465"/>
            <a:ext cx="43148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9/2020</a:t>
            </a:r>
            <a:r>
              <a: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</a:t>
            </a:r>
            <a:r>
              <a:rPr lang="en-US" altLang="ko-KR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4</a:t>
            </a:r>
            <a:r>
              <a: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</a:t>
            </a:r>
            <a:r>
              <a:rPr lang="en-US" altLang="ko-KR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amp; 5</a:t>
            </a:r>
            <a:r>
              <a:rPr lang="ko-KR" altLang="en-US" sz="16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소비 </a:t>
            </a:r>
            <a:r>
              <a:rPr lang="ko-KR" altLang="en-US" sz="1600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증감량</a:t>
            </a:r>
            <a:endParaRPr lang="en-US" altLang="ko-KR" sz="1600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5BA240F-DC9F-4C28-8DAD-0525CD65A4C6}"/>
              </a:ext>
            </a:extLst>
          </p:cNvPr>
          <p:cNvSpPr txBox="1"/>
          <p:nvPr/>
        </p:nvSpPr>
        <p:spPr>
          <a:xfrm>
            <a:off x="190500" y="2698078"/>
            <a:ext cx="39052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팬데믹으로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인해 경제적 위기를 맞은 다른 업계들과는 달리</a:t>
            </a:r>
            <a:r>
              <a:rPr lang="en-US" altLang="ko-KR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에서는 전년동월대비 매출이 전반적으로 증가함을 알 수 있다</a:t>
            </a:r>
            <a:endParaRPr lang="en-US" altLang="ko-KR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en-US" altLang="ko-KR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en-US" altLang="ko-KR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하지만 이 중에서도 </a:t>
            </a:r>
            <a:r>
              <a:rPr lang="ko-KR" altLang="en-US" dirty="0">
                <a:solidFill>
                  <a:srgbClr val="EC7A2C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 및 교통서비스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와 </a:t>
            </a:r>
            <a:r>
              <a:rPr lang="ko-KR" altLang="en-US" dirty="0">
                <a:solidFill>
                  <a:srgbClr val="EC7A2C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문화 및 레저서비스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에서는 </a:t>
            </a:r>
            <a:r>
              <a:rPr lang="en-US" altLang="ko-KR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, 5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모두 </a:t>
            </a:r>
            <a:r>
              <a:rPr lang="en-US" altLang="ko-KR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85% 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정도에 육박하는 심각한 매출 급감을 보이고 있다</a:t>
            </a:r>
            <a:r>
              <a:rPr lang="en-US" altLang="ko-KR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  <a:p>
            <a:pPr algn="ctr"/>
            <a:endParaRPr lang="en-US" altLang="ko-KR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따라서 소비자들에게 등한시되고 있는 </a:t>
            </a:r>
            <a:r>
              <a:rPr lang="ko-KR" altLang="en-US" b="1" u="sng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 및 문화 서비스</a:t>
            </a:r>
            <a:r>
              <a:rPr lang="ko-KR" altLang="en-US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에 대한 전략을 제시해야한다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1CDEA9B9-FB53-4441-B600-AA563315F89B}"/>
              </a:ext>
            </a:extLst>
          </p:cNvPr>
          <p:cNvSpPr/>
          <p:nvPr/>
        </p:nvSpPr>
        <p:spPr>
          <a:xfrm>
            <a:off x="4467229" y="1376871"/>
            <a:ext cx="5791196" cy="7281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47106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직사각형 35">
            <a:extLst>
              <a:ext uri="{FF2B5EF4-FFF2-40B4-BE49-F238E27FC236}">
                <a16:creationId xmlns:a16="http://schemas.microsoft.com/office/drawing/2014/main" xmlns="" id="{E5E193FC-4B3D-492B-BF03-DC9DA5CA3024}"/>
              </a:ext>
            </a:extLst>
          </p:cNvPr>
          <p:cNvSpPr/>
          <p:nvPr/>
        </p:nvSpPr>
        <p:spPr>
          <a:xfrm>
            <a:off x="2562225" y="876789"/>
            <a:ext cx="6480000" cy="136068"/>
          </a:xfrm>
          <a:prstGeom prst="rect">
            <a:avLst/>
          </a:prstGeom>
          <a:solidFill>
            <a:srgbClr val="98DC5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A586704-8D41-4B1F-B150-69DC54379A4A}"/>
              </a:ext>
            </a:extLst>
          </p:cNvPr>
          <p:cNvGrpSpPr/>
          <p:nvPr/>
        </p:nvGrpSpPr>
        <p:grpSpPr>
          <a:xfrm>
            <a:off x="5648788" y="3830382"/>
            <a:ext cx="883478" cy="883478"/>
            <a:chOff x="3912982" y="3339018"/>
            <a:chExt cx="1307090" cy="130709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xmlns="" id="{B0A101D6-F441-4A45-BC67-DD669B2277E7}"/>
                </a:ext>
              </a:extLst>
            </p:cNvPr>
            <p:cNvSpPr/>
            <p:nvPr/>
          </p:nvSpPr>
          <p:spPr>
            <a:xfrm>
              <a:off x="3912982" y="3339018"/>
              <a:ext cx="1307090" cy="130709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F37DA097-46BA-4AB5-8192-47532D483AB1}"/>
                </a:ext>
              </a:extLst>
            </p:cNvPr>
            <p:cNvSpPr/>
            <p:nvPr/>
          </p:nvSpPr>
          <p:spPr>
            <a:xfrm>
              <a:off x="4144138" y="3576556"/>
              <a:ext cx="840739" cy="840739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6" name="Rectangle 10">
            <a:extLst>
              <a:ext uri="{FF2B5EF4-FFF2-40B4-BE49-F238E27FC236}">
                <a16:creationId xmlns:a16="http://schemas.microsoft.com/office/drawing/2014/main" xmlns="" id="{12F6DA05-8992-47A1-80D0-FCD4A693AE7E}"/>
              </a:ext>
            </a:extLst>
          </p:cNvPr>
          <p:cNvSpPr/>
          <p:nvPr/>
        </p:nvSpPr>
        <p:spPr>
          <a:xfrm>
            <a:off x="5417551" y="2807870"/>
            <a:ext cx="685676" cy="1482080"/>
          </a:xfrm>
          <a:custGeom>
            <a:avLst/>
            <a:gdLst>
              <a:gd name="connsiteX0" fmla="*/ 0 w 1434976"/>
              <a:gd name="connsiteY0" fmla="*/ 0 h 720080"/>
              <a:gd name="connsiteX1" fmla="*/ 1434976 w 1434976"/>
              <a:gd name="connsiteY1" fmla="*/ 0 h 720080"/>
              <a:gd name="connsiteX2" fmla="*/ 1434976 w 1434976"/>
              <a:gd name="connsiteY2" fmla="*/ 720080 h 720080"/>
              <a:gd name="connsiteX3" fmla="*/ 0 w 1434976"/>
              <a:gd name="connsiteY3" fmla="*/ 720080 h 720080"/>
              <a:gd name="connsiteX4" fmla="*/ 0 w 1434976"/>
              <a:gd name="connsiteY4" fmla="*/ 0 h 720080"/>
              <a:gd name="connsiteX0" fmla="*/ 12700 w 1434976"/>
              <a:gd name="connsiteY0" fmla="*/ 0 h 2015480"/>
              <a:gd name="connsiteX1" fmla="*/ 1434976 w 1434976"/>
              <a:gd name="connsiteY1" fmla="*/ 1295400 h 2015480"/>
              <a:gd name="connsiteX2" fmla="*/ 1434976 w 1434976"/>
              <a:gd name="connsiteY2" fmla="*/ 2015480 h 2015480"/>
              <a:gd name="connsiteX3" fmla="*/ 0 w 1434976"/>
              <a:gd name="connsiteY3" fmla="*/ 2015480 h 2015480"/>
              <a:gd name="connsiteX4" fmla="*/ 12700 w 1434976"/>
              <a:gd name="connsiteY4" fmla="*/ 0 h 2015480"/>
              <a:gd name="connsiteX0" fmla="*/ 12700 w 1434976"/>
              <a:gd name="connsiteY0" fmla="*/ 0 h 2015480"/>
              <a:gd name="connsiteX1" fmla="*/ 1434976 w 1434976"/>
              <a:gd name="connsiteY1" fmla="*/ 1295400 h 2015480"/>
              <a:gd name="connsiteX2" fmla="*/ 1434976 w 1434976"/>
              <a:gd name="connsiteY2" fmla="*/ 2015480 h 2015480"/>
              <a:gd name="connsiteX3" fmla="*/ 0 w 1434976"/>
              <a:gd name="connsiteY3" fmla="*/ 643880 h 2015480"/>
              <a:gd name="connsiteX4" fmla="*/ 12700 w 1434976"/>
              <a:gd name="connsiteY4" fmla="*/ 0 h 2015480"/>
              <a:gd name="connsiteX0" fmla="*/ 12700 w 1434976"/>
              <a:gd name="connsiteY0" fmla="*/ 0 h 2015480"/>
              <a:gd name="connsiteX1" fmla="*/ 660276 w 1434976"/>
              <a:gd name="connsiteY1" fmla="*/ 1079500 h 2015480"/>
              <a:gd name="connsiteX2" fmla="*/ 1434976 w 1434976"/>
              <a:gd name="connsiteY2" fmla="*/ 2015480 h 2015480"/>
              <a:gd name="connsiteX3" fmla="*/ 0 w 1434976"/>
              <a:gd name="connsiteY3" fmla="*/ 643880 h 2015480"/>
              <a:gd name="connsiteX4" fmla="*/ 12700 w 1434976"/>
              <a:gd name="connsiteY4" fmla="*/ 0 h 2015480"/>
              <a:gd name="connsiteX0" fmla="*/ 12700 w 660276"/>
              <a:gd name="connsiteY0" fmla="*/ 0 h 1558280"/>
              <a:gd name="connsiteX1" fmla="*/ 660276 w 660276"/>
              <a:gd name="connsiteY1" fmla="*/ 1079500 h 1558280"/>
              <a:gd name="connsiteX2" fmla="*/ 634876 w 660276"/>
              <a:gd name="connsiteY2" fmla="*/ 1558280 h 1558280"/>
              <a:gd name="connsiteX3" fmla="*/ 0 w 660276"/>
              <a:gd name="connsiteY3" fmla="*/ 643880 h 1558280"/>
              <a:gd name="connsiteX4" fmla="*/ 12700 w 660276"/>
              <a:gd name="connsiteY4" fmla="*/ 0 h 1558280"/>
              <a:gd name="connsiteX0" fmla="*/ 12700 w 660276"/>
              <a:gd name="connsiteY0" fmla="*/ 0 h 1558280"/>
              <a:gd name="connsiteX1" fmla="*/ 660276 w 660276"/>
              <a:gd name="connsiteY1" fmla="*/ 901700 h 1558280"/>
              <a:gd name="connsiteX2" fmla="*/ 634876 w 660276"/>
              <a:gd name="connsiteY2" fmla="*/ 1558280 h 1558280"/>
              <a:gd name="connsiteX3" fmla="*/ 0 w 660276"/>
              <a:gd name="connsiteY3" fmla="*/ 643880 h 1558280"/>
              <a:gd name="connsiteX4" fmla="*/ 12700 w 660276"/>
              <a:gd name="connsiteY4" fmla="*/ 0 h 1558280"/>
              <a:gd name="connsiteX0" fmla="*/ 15038 w 662614"/>
              <a:gd name="connsiteY0" fmla="*/ 0 h 1558280"/>
              <a:gd name="connsiteX1" fmla="*/ 662614 w 662614"/>
              <a:gd name="connsiteY1" fmla="*/ 901700 h 1558280"/>
              <a:gd name="connsiteX2" fmla="*/ 637214 w 662614"/>
              <a:gd name="connsiteY2" fmla="*/ 1558280 h 1558280"/>
              <a:gd name="connsiteX3" fmla="*/ 2338 w 662614"/>
              <a:gd name="connsiteY3" fmla="*/ 643880 h 1558280"/>
              <a:gd name="connsiteX4" fmla="*/ 15038 w 662614"/>
              <a:gd name="connsiteY4" fmla="*/ 0 h 1558280"/>
              <a:gd name="connsiteX0" fmla="*/ 553 w 686229"/>
              <a:gd name="connsiteY0" fmla="*/ 0 h 1405880"/>
              <a:gd name="connsiteX1" fmla="*/ 686229 w 686229"/>
              <a:gd name="connsiteY1" fmla="*/ 749300 h 1405880"/>
              <a:gd name="connsiteX2" fmla="*/ 660829 w 686229"/>
              <a:gd name="connsiteY2" fmla="*/ 1405880 h 1405880"/>
              <a:gd name="connsiteX3" fmla="*/ 25953 w 686229"/>
              <a:gd name="connsiteY3" fmla="*/ 491480 h 1405880"/>
              <a:gd name="connsiteX4" fmla="*/ 553 w 686229"/>
              <a:gd name="connsiteY4" fmla="*/ 0 h 1405880"/>
              <a:gd name="connsiteX0" fmla="*/ 553 w 686229"/>
              <a:gd name="connsiteY0" fmla="*/ 0 h 1451600"/>
              <a:gd name="connsiteX1" fmla="*/ 686229 w 686229"/>
              <a:gd name="connsiteY1" fmla="*/ 795020 h 1451600"/>
              <a:gd name="connsiteX2" fmla="*/ 660829 w 686229"/>
              <a:gd name="connsiteY2" fmla="*/ 1451600 h 1451600"/>
              <a:gd name="connsiteX3" fmla="*/ 25953 w 686229"/>
              <a:gd name="connsiteY3" fmla="*/ 537200 h 1451600"/>
              <a:gd name="connsiteX4" fmla="*/ 553 w 686229"/>
              <a:gd name="connsiteY4" fmla="*/ 0 h 1451600"/>
              <a:gd name="connsiteX0" fmla="*/ 8518 w 694194"/>
              <a:gd name="connsiteY0" fmla="*/ 0 h 1451600"/>
              <a:gd name="connsiteX1" fmla="*/ 694194 w 694194"/>
              <a:gd name="connsiteY1" fmla="*/ 795020 h 1451600"/>
              <a:gd name="connsiteX2" fmla="*/ 668794 w 694194"/>
              <a:gd name="connsiteY2" fmla="*/ 1451600 h 1451600"/>
              <a:gd name="connsiteX3" fmla="*/ 3438 w 694194"/>
              <a:gd name="connsiteY3" fmla="*/ 735320 h 1451600"/>
              <a:gd name="connsiteX4" fmla="*/ 8518 w 694194"/>
              <a:gd name="connsiteY4" fmla="*/ 0 h 1451600"/>
              <a:gd name="connsiteX0" fmla="*/ 8518 w 668794"/>
              <a:gd name="connsiteY0" fmla="*/ 0 h 1451600"/>
              <a:gd name="connsiteX1" fmla="*/ 668794 w 668794"/>
              <a:gd name="connsiteY1" fmla="*/ 728980 h 1451600"/>
              <a:gd name="connsiteX2" fmla="*/ 668794 w 668794"/>
              <a:gd name="connsiteY2" fmla="*/ 1451600 h 1451600"/>
              <a:gd name="connsiteX3" fmla="*/ 3438 w 668794"/>
              <a:gd name="connsiteY3" fmla="*/ 735320 h 1451600"/>
              <a:gd name="connsiteX4" fmla="*/ 8518 w 668794"/>
              <a:gd name="connsiteY4" fmla="*/ 0 h 1451600"/>
              <a:gd name="connsiteX0" fmla="*/ 8518 w 684034"/>
              <a:gd name="connsiteY0" fmla="*/ 0 h 1482080"/>
              <a:gd name="connsiteX1" fmla="*/ 668794 w 684034"/>
              <a:gd name="connsiteY1" fmla="*/ 728980 h 1482080"/>
              <a:gd name="connsiteX2" fmla="*/ 684034 w 684034"/>
              <a:gd name="connsiteY2" fmla="*/ 1482080 h 1482080"/>
              <a:gd name="connsiteX3" fmla="*/ 3438 w 684034"/>
              <a:gd name="connsiteY3" fmla="*/ 735320 h 1482080"/>
              <a:gd name="connsiteX4" fmla="*/ 8518 w 684034"/>
              <a:gd name="connsiteY4" fmla="*/ 0 h 1482080"/>
              <a:gd name="connsiteX0" fmla="*/ 8518 w 684034"/>
              <a:gd name="connsiteY0" fmla="*/ 0 h 1482080"/>
              <a:gd name="connsiteX1" fmla="*/ 673874 w 684034"/>
              <a:gd name="connsiteY1" fmla="*/ 728980 h 1482080"/>
              <a:gd name="connsiteX2" fmla="*/ 684034 w 684034"/>
              <a:gd name="connsiteY2" fmla="*/ 1482080 h 1482080"/>
              <a:gd name="connsiteX3" fmla="*/ 3438 w 684034"/>
              <a:gd name="connsiteY3" fmla="*/ 735320 h 1482080"/>
              <a:gd name="connsiteX4" fmla="*/ 8518 w 684034"/>
              <a:gd name="connsiteY4" fmla="*/ 0 h 1482080"/>
              <a:gd name="connsiteX0" fmla="*/ 87 w 675603"/>
              <a:gd name="connsiteY0" fmla="*/ 0 h 1482080"/>
              <a:gd name="connsiteX1" fmla="*/ 665443 w 675603"/>
              <a:gd name="connsiteY1" fmla="*/ 728980 h 1482080"/>
              <a:gd name="connsiteX2" fmla="*/ 675603 w 675603"/>
              <a:gd name="connsiteY2" fmla="*/ 1482080 h 1482080"/>
              <a:gd name="connsiteX3" fmla="*/ 157567 w 675603"/>
              <a:gd name="connsiteY3" fmla="*/ 704840 h 1482080"/>
              <a:gd name="connsiteX4" fmla="*/ 87 w 675603"/>
              <a:gd name="connsiteY4" fmla="*/ 0 h 1482080"/>
              <a:gd name="connsiteX0" fmla="*/ 12780 w 688296"/>
              <a:gd name="connsiteY0" fmla="*/ 0 h 1482080"/>
              <a:gd name="connsiteX1" fmla="*/ 678136 w 688296"/>
              <a:gd name="connsiteY1" fmla="*/ 728980 h 1482080"/>
              <a:gd name="connsiteX2" fmla="*/ 688296 w 688296"/>
              <a:gd name="connsiteY2" fmla="*/ 1482080 h 1482080"/>
              <a:gd name="connsiteX3" fmla="*/ 2620 w 688296"/>
              <a:gd name="connsiteY3" fmla="*/ 735320 h 1482080"/>
              <a:gd name="connsiteX4" fmla="*/ 12780 w 688296"/>
              <a:gd name="connsiteY4" fmla="*/ 0 h 1482080"/>
              <a:gd name="connsiteX0" fmla="*/ 2486 w 678002"/>
              <a:gd name="connsiteY0" fmla="*/ 0 h 1482080"/>
              <a:gd name="connsiteX1" fmla="*/ 667842 w 678002"/>
              <a:gd name="connsiteY1" fmla="*/ 728980 h 1482080"/>
              <a:gd name="connsiteX2" fmla="*/ 678002 w 678002"/>
              <a:gd name="connsiteY2" fmla="*/ 1482080 h 1482080"/>
              <a:gd name="connsiteX3" fmla="*/ 7566 w 678002"/>
              <a:gd name="connsiteY3" fmla="*/ 725160 h 1482080"/>
              <a:gd name="connsiteX4" fmla="*/ 2486 w 678002"/>
              <a:gd name="connsiteY4" fmla="*/ 0 h 1482080"/>
              <a:gd name="connsiteX0" fmla="*/ 12780 w 688296"/>
              <a:gd name="connsiteY0" fmla="*/ 0 h 1482080"/>
              <a:gd name="connsiteX1" fmla="*/ 678136 w 688296"/>
              <a:gd name="connsiteY1" fmla="*/ 728980 h 1482080"/>
              <a:gd name="connsiteX2" fmla="*/ 688296 w 688296"/>
              <a:gd name="connsiteY2" fmla="*/ 1482080 h 1482080"/>
              <a:gd name="connsiteX3" fmla="*/ 2620 w 688296"/>
              <a:gd name="connsiteY3" fmla="*/ 730240 h 1482080"/>
              <a:gd name="connsiteX4" fmla="*/ 12780 w 688296"/>
              <a:gd name="connsiteY4" fmla="*/ 0 h 1482080"/>
              <a:gd name="connsiteX0" fmla="*/ 10160 w 685676"/>
              <a:gd name="connsiteY0" fmla="*/ 0 h 1482080"/>
              <a:gd name="connsiteX1" fmla="*/ 675516 w 685676"/>
              <a:gd name="connsiteY1" fmla="*/ 728980 h 1482080"/>
              <a:gd name="connsiteX2" fmla="*/ 685676 w 685676"/>
              <a:gd name="connsiteY2" fmla="*/ 1482080 h 1482080"/>
              <a:gd name="connsiteX3" fmla="*/ 0 w 685676"/>
              <a:gd name="connsiteY3" fmla="*/ 730240 h 1482080"/>
              <a:gd name="connsiteX4" fmla="*/ 10160 w 685676"/>
              <a:gd name="connsiteY4" fmla="*/ 0 h 148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676" h="1482080">
                <a:moveTo>
                  <a:pt x="10160" y="0"/>
                </a:moveTo>
                <a:lnTo>
                  <a:pt x="675516" y="728980"/>
                </a:lnTo>
                <a:lnTo>
                  <a:pt x="685676" y="1482080"/>
                </a:lnTo>
                <a:lnTo>
                  <a:pt x="0" y="730240"/>
                </a:lnTo>
                <a:cubicBezTo>
                  <a:pt x="6773" y="63493"/>
                  <a:pt x="5927" y="671827"/>
                  <a:pt x="10160" y="0"/>
                </a:cubicBezTo>
                <a:close/>
              </a:path>
            </a:pathLst>
          </a:custGeom>
          <a:solidFill>
            <a:srgbClr val="1C7A5F"/>
          </a:solidFill>
          <a:ln>
            <a:solidFill>
              <a:srgbClr val="2292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C1A4290-18EF-483B-8598-13BB844BEF50}"/>
              </a:ext>
            </a:extLst>
          </p:cNvPr>
          <p:cNvSpPr txBox="1"/>
          <p:nvPr/>
        </p:nvSpPr>
        <p:spPr>
          <a:xfrm>
            <a:off x="2421432" y="1654476"/>
            <a:ext cx="74634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위 </a:t>
            </a:r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EDA </a:t>
            </a:r>
            <a:r>
              <a: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그래프들을 기반으로</a:t>
            </a:r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마케팅 전략을 수립</a:t>
            </a:r>
            <a:endParaRPr lang="en-US" altLang="ko-KR" sz="14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algn="ctr"/>
            <a:r>
              <a: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와 같은 마케팅을 통해 </a:t>
            </a:r>
            <a:endParaRPr lang="en-US" altLang="ko-KR" sz="14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algn="ctr"/>
            <a:r>
              <a: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보유 현금 증가 및 새로운 고객 유치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2C93CAA0-6A90-4A29-8CCC-DDA0FB46EEC0}"/>
              </a:ext>
            </a:extLst>
          </p:cNvPr>
          <p:cNvCxnSpPr/>
          <p:nvPr/>
        </p:nvCxnSpPr>
        <p:spPr>
          <a:xfrm>
            <a:off x="6096001" y="2484422"/>
            <a:ext cx="1" cy="37444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ight Arrow 9">
            <a:extLst>
              <a:ext uri="{FF2B5EF4-FFF2-40B4-BE49-F238E27FC236}">
                <a16:creationId xmlns:a16="http://schemas.microsoft.com/office/drawing/2014/main" xmlns="" id="{61AA0139-EF56-4E3D-81B3-D235A3D8B9FE}"/>
              </a:ext>
            </a:extLst>
          </p:cNvPr>
          <p:cNvSpPr/>
          <p:nvPr/>
        </p:nvSpPr>
        <p:spPr>
          <a:xfrm>
            <a:off x="5417211" y="2466838"/>
            <a:ext cx="2592000" cy="1368152"/>
          </a:xfrm>
          <a:prstGeom prst="rightArrow">
            <a:avLst/>
          </a:prstGeom>
          <a:solidFill>
            <a:srgbClr val="4CD6B0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B862592B-8A1F-4E9D-A248-F40C7EBD027E}"/>
              </a:ext>
            </a:extLst>
          </p:cNvPr>
          <p:cNvGrpSpPr/>
          <p:nvPr/>
        </p:nvGrpSpPr>
        <p:grpSpPr>
          <a:xfrm flipH="1" flipV="1">
            <a:off x="4187634" y="4276484"/>
            <a:ext cx="2592000" cy="1814320"/>
            <a:chOff x="4045951" y="2348472"/>
            <a:chExt cx="2592000" cy="181432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0F871962-3878-40C4-8226-055108A6E401}"/>
                </a:ext>
              </a:extLst>
            </p:cNvPr>
            <p:cNvSpPr/>
            <p:nvPr/>
          </p:nvSpPr>
          <p:spPr>
            <a:xfrm>
              <a:off x="4045951" y="2680712"/>
              <a:ext cx="685676" cy="1482080"/>
            </a:xfrm>
            <a:custGeom>
              <a:avLst/>
              <a:gdLst>
                <a:gd name="connsiteX0" fmla="*/ 0 w 1434976"/>
                <a:gd name="connsiteY0" fmla="*/ 0 h 720080"/>
                <a:gd name="connsiteX1" fmla="*/ 1434976 w 1434976"/>
                <a:gd name="connsiteY1" fmla="*/ 0 h 720080"/>
                <a:gd name="connsiteX2" fmla="*/ 1434976 w 1434976"/>
                <a:gd name="connsiteY2" fmla="*/ 720080 h 720080"/>
                <a:gd name="connsiteX3" fmla="*/ 0 w 1434976"/>
                <a:gd name="connsiteY3" fmla="*/ 720080 h 720080"/>
                <a:gd name="connsiteX4" fmla="*/ 0 w 1434976"/>
                <a:gd name="connsiteY4" fmla="*/ 0 h 720080"/>
                <a:gd name="connsiteX0" fmla="*/ 12700 w 1434976"/>
                <a:gd name="connsiteY0" fmla="*/ 0 h 2015480"/>
                <a:gd name="connsiteX1" fmla="*/ 1434976 w 1434976"/>
                <a:gd name="connsiteY1" fmla="*/ 1295400 h 2015480"/>
                <a:gd name="connsiteX2" fmla="*/ 1434976 w 1434976"/>
                <a:gd name="connsiteY2" fmla="*/ 2015480 h 2015480"/>
                <a:gd name="connsiteX3" fmla="*/ 0 w 1434976"/>
                <a:gd name="connsiteY3" fmla="*/ 2015480 h 2015480"/>
                <a:gd name="connsiteX4" fmla="*/ 12700 w 1434976"/>
                <a:gd name="connsiteY4" fmla="*/ 0 h 2015480"/>
                <a:gd name="connsiteX0" fmla="*/ 12700 w 1434976"/>
                <a:gd name="connsiteY0" fmla="*/ 0 h 2015480"/>
                <a:gd name="connsiteX1" fmla="*/ 1434976 w 1434976"/>
                <a:gd name="connsiteY1" fmla="*/ 1295400 h 2015480"/>
                <a:gd name="connsiteX2" fmla="*/ 1434976 w 1434976"/>
                <a:gd name="connsiteY2" fmla="*/ 2015480 h 2015480"/>
                <a:gd name="connsiteX3" fmla="*/ 0 w 1434976"/>
                <a:gd name="connsiteY3" fmla="*/ 643880 h 2015480"/>
                <a:gd name="connsiteX4" fmla="*/ 12700 w 1434976"/>
                <a:gd name="connsiteY4" fmla="*/ 0 h 2015480"/>
                <a:gd name="connsiteX0" fmla="*/ 12700 w 1434976"/>
                <a:gd name="connsiteY0" fmla="*/ 0 h 2015480"/>
                <a:gd name="connsiteX1" fmla="*/ 660276 w 1434976"/>
                <a:gd name="connsiteY1" fmla="*/ 1079500 h 2015480"/>
                <a:gd name="connsiteX2" fmla="*/ 1434976 w 1434976"/>
                <a:gd name="connsiteY2" fmla="*/ 2015480 h 2015480"/>
                <a:gd name="connsiteX3" fmla="*/ 0 w 1434976"/>
                <a:gd name="connsiteY3" fmla="*/ 643880 h 2015480"/>
                <a:gd name="connsiteX4" fmla="*/ 12700 w 1434976"/>
                <a:gd name="connsiteY4" fmla="*/ 0 h 2015480"/>
                <a:gd name="connsiteX0" fmla="*/ 12700 w 660276"/>
                <a:gd name="connsiteY0" fmla="*/ 0 h 1558280"/>
                <a:gd name="connsiteX1" fmla="*/ 660276 w 660276"/>
                <a:gd name="connsiteY1" fmla="*/ 1079500 h 1558280"/>
                <a:gd name="connsiteX2" fmla="*/ 634876 w 660276"/>
                <a:gd name="connsiteY2" fmla="*/ 1558280 h 1558280"/>
                <a:gd name="connsiteX3" fmla="*/ 0 w 660276"/>
                <a:gd name="connsiteY3" fmla="*/ 643880 h 1558280"/>
                <a:gd name="connsiteX4" fmla="*/ 12700 w 660276"/>
                <a:gd name="connsiteY4" fmla="*/ 0 h 1558280"/>
                <a:gd name="connsiteX0" fmla="*/ 12700 w 660276"/>
                <a:gd name="connsiteY0" fmla="*/ 0 h 1558280"/>
                <a:gd name="connsiteX1" fmla="*/ 660276 w 660276"/>
                <a:gd name="connsiteY1" fmla="*/ 901700 h 1558280"/>
                <a:gd name="connsiteX2" fmla="*/ 634876 w 660276"/>
                <a:gd name="connsiteY2" fmla="*/ 1558280 h 1558280"/>
                <a:gd name="connsiteX3" fmla="*/ 0 w 660276"/>
                <a:gd name="connsiteY3" fmla="*/ 643880 h 1558280"/>
                <a:gd name="connsiteX4" fmla="*/ 12700 w 660276"/>
                <a:gd name="connsiteY4" fmla="*/ 0 h 1558280"/>
                <a:gd name="connsiteX0" fmla="*/ 15038 w 662614"/>
                <a:gd name="connsiteY0" fmla="*/ 0 h 1558280"/>
                <a:gd name="connsiteX1" fmla="*/ 662614 w 662614"/>
                <a:gd name="connsiteY1" fmla="*/ 901700 h 1558280"/>
                <a:gd name="connsiteX2" fmla="*/ 637214 w 662614"/>
                <a:gd name="connsiteY2" fmla="*/ 1558280 h 1558280"/>
                <a:gd name="connsiteX3" fmla="*/ 2338 w 662614"/>
                <a:gd name="connsiteY3" fmla="*/ 643880 h 1558280"/>
                <a:gd name="connsiteX4" fmla="*/ 15038 w 662614"/>
                <a:gd name="connsiteY4" fmla="*/ 0 h 1558280"/>
                <a:gd name="connsiteX0" fmla="*/ 553 w 686229"/>
                <a:gd name="connsiteY0" fmla="*/ 0 h 1405880"/>
                <a:gd name="connsiteX1" fmla="*/ 686229 w 686229"/>
                <a:gd name="connsiteY1" fmla="*/ 749300 h 1405880"/>
                <a:gd name="connsiteX2" fmla="*/ 660829 w 686229"/>
                <a:gd name="connsiteY2" fmla="*/ 1405880 h 1405880"/>
                <a:gd name="connsiteX3" fmla="*/ 25953 w 686229"/>
                <a:gd name="connsiteY3" fmla="*/ 491480 h 1405880"/>
                <a:gd name="connsiteX4" fmla="*/ 553 w 686229"/>
                <a:gd name="connsiteY4" fmla="*/ 0 h 1405880"/>
                <a:gd name="connsiteX0" fmla="*/ 553 w 686229"/>
                <a:gd name="connsiteY0" fmla="*/ 0 h 1451600"/>
                <a:gd name="connsiteX1" fmla="*/ 686229 w 686229"/>
                <a:gd name="connsiteY1" fmla="*/ 795020 h 1451600"/>
                <a:gd name="connsiteX2" fmla="*/ 660829 w 686229"/>
                <a:gd name="connsiteY2" fmla="*/ 1451600 h 1451600"/>
                <a:gd name="connsiteX3" fmla="*/ 25953 w 686229"/>
                <a:gd name="connsiteY3" fmla="*/ 537200 h 1451600"/>
                <a:gd name="connsiteX4" fmla="*/ 553 w 686229"/>
                <a:gd name="connsiteY4" fmla="*/ 0 h 1451600"/>
                <a:gd name="connsiteX0" fmla="*/ 8518 w 694194"/>
                <a:gd name="connsiteY0" fmla="*/ 0 h 1451600"/>
                <a:gd name="connsiteX1" fmla="*/ 694194 w 694194"/>
                <a:gd name="connsiteY1" fmla="*/ 795020 h 1451600"/>
                <a:gd name="connsiteX2" fmla="*/ 668794 w 694194"/>
                <a:gd name="connsiteY2" fmla="*/ 1451600 h 1451600"/>
                <a:gd name="connsiteX3" fmla="*/ 3438 w 694194"/>
                <a:gd name="connsiteY3" fmla="*/ 735320 h 1451600"/>
                <a:gd name="connsiteX4" fmla="*/ 8518 w 694194"/>
                <a:gd name="connsiteY4" fmla="*/ 0 h 1451600"/>
                <a:gd name="connsiteX0" fmla="*/ 8518 w 668794"/>
                <a:gd name="connsiteY0" fmla="*/ 0 h 1451600"/>
                <a:gd name="connsiteX1" fmla="*/ 668794 w 668794"/>
                <a:gd name="connsiteY1" fmla="*/ 728980 h 1451600"/>
                <a:gd name="connsiteX2" fmla="*/ 668794 w 668794"/>
                <a:gd name="connsiteY2" fmla="*/ 1451600 h 1451600"/>
                <a:gd name="connsiteX3" fmla="*/ 3438 w 668794"/>
                <a:gd name="connsiteY3" fmla="*/ 735320 h 1451600"/>
                <a:gd name="connsiteX4" fmla="*/ 8518 w 668794"/>
                <a:gd name="connsiteY4" fmla="*/ 0 h 1451600"/>
                <a:gd name="connsiteX0" fmla="*/ 8518 w 684034"/>
                <a:gd name="connsiteY0" fmla="*/ 0 h 1482080"/>
                <a:gd name="connsiteX1" fmla="*/ 668794 w 684034"/>
                <a:gd name="connsiteY1" fmla="*/ 728980 h 1482080"/>
                <a:gd name="connsiteX2" fmla="*/ 684034 w 684034"/>
                <a:gd name="connsiteY2" fmla="*/ 1482080 h 1482080"/>
                <a:gd name="connsiteX3" fmla="*/ 3438 w 684034"/>
                <a:gd name="connsiteY3" fmla="*/ 735320 h 1482080"/>
                <a:gd name="connsiteX4" fmla="*/ 8518 w 684034"/>
                <a:gd name="connsiteY4" fmla="*/ 0 h 1482080"/>
                <a:gd name="connsiteX0" fmla="*/ 8518 w 684034"/>
                <a:gd name="connsiteY0" fmla="*/ 0 h 1482080"/>
                <a:gd name="connsiteX1" fmla="*/ 673874 w 684034"/>
                <a:gd name="connsiteY1" fmla="*/ 728980 h 1482080"/>
                <a:gd name="connsiteX2" fmla="*/ 684034 w 684034"/>
                <a:gd name="connsiteY2" fmla="*/ 1482080 h 1482080"/>
                <a:gd name="connsiteX3" fmla="*/ 3438 w 684034"/>
                <a:gd name="connsiteY3" fmla="*/ 735320 h 1482080"/>
                <a:gd name="connsiteX4" fmla="*/ 8518 w 684034"/>
                <a:gd name="connsiteY4" fmla="*/ 0 h 1482080"/>
                <a:gd name="connsiteX0" fmla="*/ 87 w 675603"/>
                <a:gd name="connsiteY0" fmla="*/ 0 h 1482080"/>
                <a:gd name="connsiteX1" fmla="*/ 665443 w 675603"/>
                <a:gd name="connsiteY1" fmla="*/ 728980 h 1482080"/>
                <a:gd name="connsiteX2" fmla="*/ 675603 w 675603"/>
                <a:gd name="connsiteY2" fmla="*/ 1482080 h 1482080"/>
                <a:gd name="connsiteX3" fmla="*/ 157567 w 675603"/>
                <a:gd name="connsiteY3" fmla="*/ 704840 h 1482080"/>
                <a:gd name="connsiteX4" fmla="*/ 87 w 675603"/>
                <a:gd name="connsiteY4" fmla="*/ 0 h 1482080"/>
                <a:gd name="connsiteX0" fmla="*/ 12780 w 688296"/>
                <a:gd name="connsiteY0" fmla="*/ 0 h 1482080"/>
                <a:gd name="connsiteX1" fmla="*/ 678136 w 688296"/>
                <a:gd name="connsiteY1" fmla="*/ 728980 h 1482080"/>
                <a:gd name="connsiteX2" fmla="*/ 688296 w 688296"/>
                <a:gd name="connsiteY2" fmla="*/ 1482080 h 1482080"/>
                <a:gd name="connsiteX3" fmla="*/ 2620 w 688296"/>
                <a:gd name="connsiteY3" fmla="*/ 735320 h 1482080"/>
                <a:gd name="connsiteX4" fmla="*/ 12780 w 688296"/>
                <a:gd name="connsiteY4" fmla="*/ 0 h 1482080"/>
                <a:gd name="connsiteX0" fmla="*/ 2486 w 678002"/>
                <a:gd name="connsiteY0" fmla="*/ 0 h 1482080"/>
                <a:gd name="connsiteX1" fmla="*/ 667842 w 678002"/>
                <a:gd name="connsiteY1" fmla="*/ 728980 h 1482080"/>
                <a:gd name="connsiteX2" fmla="*/ 678002 w 678002"/>
                <a:gd name="connsiteY2" fmla="*/ 1482080 h 1482080"/>
                <a:gd name="connsiteX3" fmla="*/ 7566 w 678002"/>
                <a:gd name="connsiteY3" fmla="*/ 725160 h 1482080"/>
                <a:gd name="connsiteX4" fmla="*/ 2486 w 678002"/>
                <a:gd name="connsiteY4" fmla="*/ 0 h 1482080"/>
                <a:gd name="connsiteX0" fmla="*/ 12780 w 688296"/>
                <a:gd name="connsiteY0" fmla="*/ 0 h 1482080"/>
                <a:gd name="connsiteX1" fmla="*/ 678136 w 688296"/>
                <a:gd name="connsiteY1" fmla="*/ 728980 h 1482080"/>
                <a:gd name="connsiteX2" fmla="*/ 688296 w 688296"/>
                <a:gd name="connsiteY2" fmla="*/ 1482080 h 1482080"/>
                <a:gd name="connsiteX3" fmla="*/ 2620 w 688296"/>
                <a:gd name="connsiteY3" fmla="*/ 730240 h 1482080"/>
                <a:gd name="connsiteX4" fmla="*/ 12780 w 688296"/>
                <a:gd name="connsiteY4" fmla="*/ 0 h 1482080"/>
                <a:gd name="connsiteX0" fmla="*/ 10160 w 685676"/>
                <a:gd name="connsiteY0" fmla="*/ 0 h 1482080"/>
                <a:gd name="connsiteX1" fmla="*/ 675516 w 685676"/>
                <a:gd name="connsiteY1" fmla="*/ 728980 h 1482080"/>
                <a:gd name="connsiteX2" fmla="*/ 685676 w 685676"/>
                <a:gd name="connsiteY2" fmla="*/ 1482080 h 1482080"/>
                <a:gd name="connsiteX3" fmla="*/ 0 w 685676"/>
                <a:gd name="connsiteY3" fmla="*/ 730240 h 1482080"/>
                <a:gd name="connsiteX4" fmla="*/ 10160 w 685676"/>
                <a:gd name="connsiteY4" fmla="*/ 0 h 148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676" h="1482080">
                  <a:moveTo>
                    <a:pt x="10160" y="0"/>
                  </a:moveTo>
                  <a:lnTo>
                    <a:pt x="675516" y="728980"/>
                  </a:lnTo>
                  <a:lnTo>
                    <a:pt x="685676" y="1482080"/>
                  </a:lnTo>
                  <a:lnTo>
                    <a:pt x="0" y="730240"/>
                  </a:lnTo>
                  <a:cubicBezTo>
                    <a:pt x="6773" y="63493"/>
                    <a:pt x="5927" y="671827"/>
                    <a:pt x="10160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2" name="Right Arrow 40">
              <a:extLst>
                <a:ext uri="{FF2B5EF4-FFF2-40B4-BE49-F238E27FC236}">
                  <a16:creationId xmlns:a16="http://schemas.microsoft.com/office/drawing/2014/main" xmlns="" id="{08C36030-E2D9-4F58-BF09-A832BF537C25}"/>
                </a:ext>
              </a:extLst>
            </p:cNvPr>
            <p:cNvSpPr/>
            <p:nvPr/>
          </p:nvSpPr>
          <p:spPr>
            <a:xfrm>
              <a:off x="4045951" y="2348472"/>
              <a:ext cx="2592000" cy="1368152"/>
            </a:xfrm>
            <a:prstGeom prst="rightArrow">
              <a:avLst/>
            </a:prstGeom>
            <a:solidFill>
              <a:schemeClr val="accent4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5198D23-FE54-443C-9947-659989E7C104}"/>
              </a:ext>
            </a:extLst>
          </p:cNvPr>
          <p:cNvSpPr txBox="1"/>
          <p:nvPr/>
        </p:nvSpPr>
        <p:spPr>
          <a:xfrm>
            <a:off x="8174977" y="3617015"/>
            <a:ext cx="3353573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코로나로 인해 국내 및 해외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여행이 모두 감소하고 있는 추세이다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algn="just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하지만 이러한 상황 속에서 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‘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여행에 대한 관심 및 욕구는 증가하고 있으므로 여행과 관련한 모임통장을 신설 서비스로 제공을 한다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algn="just"/>
            <a:endParaRPr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algn="just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구체화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)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모임통장을 개설하여 매월 이체 금액과 목표를 설정한다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를 성공적으로 달성할 시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자와 함께 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1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후 여행쿠폰을 발급한다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더불어 여행 산업에 돈을 사용할 시 캐시백을 지원해준다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xmlns="" id="{292AF382-36F0-4C25-99E7-9686D5E49401}"/>
              </a:ext>
            </a:extLst>
          </p:cNvPr>
          <p:cNvGrpSpPr/>
          <p:nvPr/>
        </p:nvGrpSpPr>
        <p:grpSpPr>
          <a:xfrm>
            <a:off x="8458179" y="3149535"/>
            <a:ext cx="2880000" cy="379785"/>
            <a:chOff x="8441673" y="3272692"/>
            <a:chExt cx="2880000" cy="379785"/>
          </a:xfrm>
        </p:grpSpPr>
        <p:sp>
          <p:nvSpPr>
            <p:cNvPr id="15" name="Rounded Rectangle 49">
              <a:extLst>
                <a:ext uri="{FF2B5EF4-FFF2-40B4-BE49-F238E27FC236}">
                  <a16:creationId xmlns:a16="http://schemas.microsoft.com/office/drawing/2014/main" xmlns="" id="{6B349DB4-4034-435C-B44E-BB775BF57028}"/>
                </a:ext>
              </a:extLst>
            </p:cNvPr>
            <p:cNvSpPr/>
            <p:nvPr/>
          </p:nvSpPr>
          <p:spPr>
            <a:xfrm>
              <a:off x="8441673" y="3272692"/>
              <a:ext cx="2880000" cy="379785"/>
            </a:xfrm>
            <a:prstGeom prst="roundRect">
              <a:avLst>
                <a:gd name="adj" fmla="val 50000"/>
              </a:avLst>
            </a:prstGeom>
            <a:solidFill>
              <a:srgbClr val="4CD6B0"/>
            </a:solidFill>
            <a:ln w="444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A2153CC0-7B39-4DFE-9A85-5F78252C0BBA}"/>
                </a:ext>
              </a:extLst>
            </p:cNvPr>
            <p:cNvSpPr txBox="1"/>
            <p:nvPr/>
          </p:nvSpPr>
          <p:spPr>
            <a:xfrm>
              <a:off x="8603496" y="3280120"/>
              <a:ext cx="2555221" cy="369332"/>
            </a:xfrm>
            <a:prstGeom prst="rect">
              <a:avLst/>
            </a:prstGeom>
            <a:solidFill>
              <a:srgbClr val="4CD6B0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모임통장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2AA3A333-3F5E-448D-B1E8-FA2EBCF294EE}"/>
              </a:ext>
            </a:extLst>
          </p:cNvPr>
          <p:cNvGrpSpPr/>
          <p:nvPr/>
        </p:nvGrpSpPr>
        <p:grpSpPr>
          <a:xfrm>
            <a:off x="459783" y="1273926"/>
            <a:ext cx="3770321" cy="3743861"/>
            <a:chOff x="539552" y="2708920"/>
            <a:chExt cx="1872208" cy="3743861"/>
          </a:xfrm>
        </p:grpSpPr>
        <p:sp>
          <p:nvSpPr>
            <p:cNvPr id="19" name="Rounded Rectangle 54">
              <a:extLst>
                <a:ext uri="{FF2B5EF4-FFF2-40B4-BE49-F238E27FC236}">
                  <a16:creationId xmlns:a16="http://schemas.microsoft.com/office/drawing/2014/main" xmlns="" id="{3CBB5F2C-BB12-46A4-8D4B-562D1C5207E8}"/>
                </a:ext>
              </a:extLst>
            </p:cNvPr>
            <p:cNvSpPr/>
            <p:nvPr/>
          </p:nvSpPr>
          <p:spPr>
            <a:xfrm>
              <a:off x="611560" y="2708920"/>
              <a:ext cx="1728192" cy="379785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444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E651053C-C659-46B5-8710-3F4D2A1E2A77}"/>
                </a:ext>
              </a:extLst>
            </p:cNvPr>
            <p:cNvSpPr txBox="1"/>
            <p:nvPr/>
          </p:nvSpPr>
          <p:spPr>
            <a:xfrm>
              <a:off x="539552" y="3159572"/>
              <a:ext cx="1872208" cy="3293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코로나로 인해 전체적인 소비가 감소하고 경제시장이 얼어 </a:t>
              </a:r>
              <a:r>
                <a:rPr lang="ko-KR" alt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소상공인들과 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새로운 사업을 시작하려는 사람들이 피해를 받는 상황이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</a:p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따라서 당장의 자금이 필요한 사람들에게 포인트 투자를 통한 </a:t>
              </a:r>
              <a:r>
                <a:rPr lang="ko-KR" alt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크라우드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펀딩을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지원한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</a:p>
            <a:p>
              <a:endPara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구체화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) 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현물을 활용한 직접적인 투자를 두려워하는 </a:t>
              </a:r>
              <a:r>
                <a:rPr lang="ko-KR" alt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안정 지향적인 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사람들을 대상으로 카드 포인트를 통한 신개념 </a:t>
              </a:r>
              <a:r>
                <a:rPr lang="ko-KR" alt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크라우드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펀딩을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실현한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 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카드사 앱 및 홈페이지에 구체적인 사업 아이디어와 포인트 사용처 등을 명시하게 한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87B7DABF-1EAA-413F-9DAE-E14C254EA776}"/>
                </a:ext>
              </a:extLst>
            </p:cNvPr>
            <p:cNvSpPr txBox="1"/>
            <p:nvPr/>
          </p:nvSpPr>
          <p:spPr>
            <a:xfrm>
              <a:off x="665833" y="2725873"/>
              <a:ext cx="161964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b="1" dirty="0" err="1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크라우드</a:t>
              </a:r>
              <a:r>
                <a:rPr lang="ko-KR" altLang="en-US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b="1" dirty="0" err="1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펀딩</a:t>
              </a:r>
              <a:endParaRPr lang="ko-KR" altLang="en-US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570E486-E53A-4DB7-A37C-155406FA742B}"/>
              </a:ext>
            </a:extLst>
          </p:cNvPr>
          <p:cNvSpPr txBox="1"/>
          <p:nvPr/>
        </p:nvSpPr>
        <p:spPr>
          <a:xfrm>
            <a:off x="5969418" y="2985091"/>
            <a:ext cx="1619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마케팅 </a:t>
            </a:r>
            <a:r>
              <a:rPr lang="en-US" altLang="ko-KR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plan 1</a:t>
            </a:r>
            <a:endParaRPr lang="ko-KR" altLang="en-US" sz="1400" b="1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AD5D89C-74C2-4EA5-B6A6-18ECD4DE3C8B}"/>
              </a:ext>
            </a:extLst>
          </p:cNvPr>
          <p:cNvSpPr txBox="1"/>
          <p:nvPr/>
        </p:nvSpPr>
        <p:spPr>
          <a:xfrm>
            <a:off x="4607729" y="5233469"/>
            <a:ext cx="1619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마케팅 </a:t>
            </a:r>
            <a:r>
              <a:rPr lang="en-US" altLang="ko-KR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plan 2</a:t>
            </a:r>
            <a:endParaRPr lang="ko-KR" altLang="en-US" sz="1400" b="1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24" name="Chart 47">
            <a:extLst>
              <a:ext uri="{FF2B5EF4-FFF2-40B4-BE49-F238E27FC236}">
                <a16:creationId xmlns:a16="http://schemas.microsoft.com/office/drawing/2014/main" xmlns="" id="{2BAF0285-0CFB-40FE-9990-B9DE0EDA3E75}"/>
              </a:ext>
            </a:extLst>
          </p:cNvPr>
          <p:cNvGraphicFramePr/>
          <p:nvPr>
            <p:extLst/>
          </p:nvPr>
        </p:nvGraphicFramePr>
        <p:xfrm>
          <a:off x="1270281" y="4515496"/>
          <a:ext cx="2322596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Rectangle 16">
            <a:extLst>
              <a:ext uri="{FF2B5EF4-FFF2-40B4-BE49-F238E27FC236}">
                <a16:creationId xmlns:a16="http://schemas.microsoft.com/office/drawing/2014/main" xmlns="" id="{FE2501F1-E398-455D-BCEC-8263295F14DF}"/>
              </a:ext>
            </a:extLst>
          </p:cNvPr>
          <p:cNvSpPr/>
          <p:nvPr/>
        </p:nvSpPr>
        <p:spPr>
          <a:xfrm rot="2700000">
            <a:off x="6313634" y="5161168"/>
            <a:ext cx="265920" cy="476745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6" name="Rounded Rectangle 5">
            <a:extLst>
              <a:ext uri="{FF2B5EF4-FFF2-40B4-BE49-F238E27FC236}">
                <a16:creationId xmlns:a16="http://schemas.microsoft.com/office/drawing/2014/main" xmlns="" id="{746AAF37-A308-4569-8B0D-BD0271E7F7E2}"/>
              </a:ext>
            </a:extLst>
          </p:cNvPr>
          <p:cNvSpPr/>
          <p:nvPr/>
        </p:nvSpPr>
        <p:spPr>
          <a:xfrm flipH="1">
            <a:off x="5559958" y="2988488"/>
            <a:ext cx="391682" cy="323114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xmlns="" id="{E93E9192-6790-4E74-B820-61AF880174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15" b="96098" l="10000" r="90000">
                        <a14:foregroundMark x1="23562" y1="15854" x2="23562" y2="15854"/>
                        <a14:foregroundMark x1="23973" y1="12927" x2="23973" y2="12927"/>
                        <a14:foregroundMark x1="23973" y1="6829" x2="23973" y2="6829"/>
                        <a14:foregroundMark x1="25753" y1="31463" x2="25753" y2="31463"/>
                        <a14:foregroundMark x1="48904" y1="5122" x2="48904" y2="5122"/>
                        <a14:foregroundMark x1="69041" y1="31951" x2="69041" y2="31951"/>
                        <a14:foregroundMark x1="67534" y1="16098" x2="67534" y2="16098"/>
                        <a14:foregroundMark x1="50274" y1="60976" x2="50274" y2="60976"/>
                        <a14:foregroundMark x1="49726" y1="53902" x2="49726" y2="53902"/>
                        <a14:foregroundMark x1="50822" y1="84878" x2="50822" y2="84878"/>
                        <a14:foregroundMark x1="48493" y1="89512" x2="48493" y2="89512"/>
                        <a14:foregroundMark x1="49726" y1="95854" x2="50137" y2="96098"/>
                        <a14:foregroundMark x1="50685" y1="37317" x2="50685" y2="37317"/>
                        <a14:foregroundMark x1="51644" y1="29024" x2="51644" y2="29024"/>
                        <a14:foregroundMark x1="51781" y1="29024" x2="51781" y2="29024"/>
                        <a14:foregroundMark x1="51370" y1="28780" x2="51370" y2="28780"/>
                        <a14:foregroundMark x1="51370" y1="28049" x2="51507" y2="27317"/>
                        <a14:foregroundMark x1="46575" y1="10732" x2="46575" y2="10732"/>
                        <a14:foregroundMark x1="47123" y1="30244" x2="47123" y2="30244"/>
                        <a14:foregroundMark x1="43836" y1="23902" x2="43836" y2="23902"/>
                        <a14:foregroundMark x1="43836" y1="25366" x2="43836" y2="25366"/>
                        <a14:foregroundMark x1="43836" y1="25366" x2="43836" y2="25366"/>
                        <a14:foregroundMark x1="51370" y1="93171" x2="51370" y2="93171"/>
                        <a14:foregroundMark x1="52055" y1="92195" x2="52055" y2="92195"/>
                        <a14:foregroundMark x1="52055" y1="92195" x2="52055" y2="92195"/>
                        <a14:foregroundMark x1="50137" y1="41707" x2="50137" y2="41707"/>
                        <a14:foregroundMark x1="50137" y1="41707" x2="50137" y2="41707"/>
                        <a14:foregroundMark x1="54795" y1="38293" x2="54795" y2="38293"/>
                        <a14:foregroundMark x1="65616" y1="18780" x2="65616" y2="18780"/>
                        <a14:foregroundMark x1="69589" y1="3415" x2="69589" y2="3415"/>
                        <a14:foregroundMark x1="68356" y1="29268" x2="68356" y2="29268"/>
                        <a14:foregroundMark x1="64795" y1="38537" x2="64795" y2="38537"/>
                        <a14:foregroundMark x1="45479" y1="23902" x2="45479" y2="23902"/>
                        <a14:foregroundMark x1="45890" y1="29268" x2="45890" y2="29268"/>
                        <a14:foregroundMark x1="38356" y1="27073" x2="38356" y2="27073"/>
                        <a14:foregroundMark x1="52740" y1="36585" x2="52740" y2="36585"/>
                        <a14:foregroundMark x1="22466" y1="10244" x2="22466" y2="10244"/>
                        <a14:foregroundMark x1="22329" y1="9024" x2="22329" y2="9024"/>
                        <a14:foregroundMark x1="25342" y1="8780" x2="25342" y2="8780"/>
                        <a14:foregroundMark x1="22603" y1="37561" x2="22603" y2="37561"/>
                        <a14:foregroundMark x1="21781" y1="33902" x2="21781" y2="33902"/>
                        <a14:foregroundMark x1="21370" y1="33415" x2="21370" y2="33415"/>
                        <a14:foregroundMark x1="67397" y1="8293" x2="67397" y2="8293"/>
                        <a14:foregroundMark x1="69178" y1="12439" x2="69178" y2="12439"/>
                        <a14:foregroundMark x1="70274" y1="20732" x2="70274" y2="20732"/>
                        <a14:foregroundMark x1="72055" y1="11707" x2="72055" y2="11707"/>
                        <a14:foregroundMark x1="26438" y1="11463" x2="26438" y2="11463"/>
                        <a14:foregroundMark x1="50411" y1="43171" x2="50411" y2="43171"/>
                        <a14:foregroundMark x1="51233" y1="45610" x2="51233" y2="45610"/>
                        <a14:foregroundMark x1="46438" y1="57805" x2="46438" y2="57805"/>
                        <a14:foregroundMark x1="47671" y1="55366" x2="47671" y2="55366"/>
                        <a14:foregroundMark x1="50274" y1="53171" x2="50274" y2="53171"/>
                        <a14:foregroundMark x1="46301" y1="60732" x2="46301" y2="60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68" y="5138219"/>
            <a:ext cx="3025152" cy="1699058"/>
          </a:xfrm>
          <a:prstGeom prst="rect">
            <a:avLst/>
          </a:prstGeom>
        </p:spPr>
      </p:pic>
      <p:grpSp>
        <p:nvGrpSpPr>
          <p:cNvPr id="33" name="그룹 32">
            <a:extLst>
              <a:ext uri="{FF2B5EF4-FFF2-40B4-BE49-F238E27FC236}">
                <a16:creationId xmlns:a16="http://schemas.microsoft.com/office/drawing/2014/main" xmlns="" id="{4594DCB3-9AC1-41D2-88D2-78A5FD871E7B}"/>
              </a:ext>
            </a:extLst>
          </p:cNvPr>
          <p:cNvGrpSpPr/>
          <p:nvPr/>
        </p:nvGrpSpPr>
        <p:grpSpPr>
          <a:xfrm>
            <a:off x="8480108" y="628651"/>
            <a:ext cx="2717285" cy="2492744"/>
            <a:chOff x="6880510" y="680952"/>
            <a:chExt cx="2701640" cy="2700423"/>
          </a:xfrm>
        </p:grpSpPr>
        <p:pic>
          <p:nvPicPr>
            <p:cNvPr id="34" name="Picture 16" descr="Group of friends characters | Premium Vector">
              <a:extLst>
                <a:ext uri="{FF2B5EF4-FFF2-40B4-BE49-F238E27FC236}">
                  <a16:creationId xmlns:a16="http://schemas.microsoft.com/office/drawing/2014/main" xmlns="" id="{DA433685-D16B-48B1-A748-CB85A5872A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865" b="89942" l="9425" r="91054">
                          <a14:foregroundMark x1="9425" y1="36170" x2="9425" y2="36170"/>
                          <a14:foregroundMark x1="91054" y1="54352" x2="91054" y2="5435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0510" y="680952"/>
              <a:ext cx="2701640" cy="223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0" descr="Money Saving Clip Art Bank, PNG, 641x1066px, Money, Art, Bank, Bank Account,  Cartoon Download Free">
              <a:extLst>
                <a:ext uri="{FF2B5EF4-FFF2-40B4-BE49-F238E27FC236}">
                  <a16:creationId xmlns:a16="http://schemas.microsoft.com/office/drawing/2014/main" xmlns="" id="{29319644-619A-410D-B531-78F105A10D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657" b="99437" l="10000" r="90000">
                          <a14:foregroundMark x1="17195" y1="28236" x2="17195" y2="28236"/>
                          <a14:foregroundMark x1="18902" y1="26829" x2="18902" y2="26829"/>
                          <a14:foregroundMark x1="18902" y1="26829" x2="18902" y2="26829"/>
                          <a14:foregroundMark x1="19634" y1="25235" x2="19634" y2="25235"/>
                          <a14:foregroundMark x1="19634" y1="25235" x2="19634" y2="25235"/>
                          <a14:foregroundMark x1="47317" y1="17542" x2="47317" y2="17542"/>
                          <a14:foregroundMark x1="47317" y1="17542" x2="47317" y2="17542"/>
                          <a14:foregroundMark x1="50976" y1="4972" x2="50976" y2="4972"/>
                          <a14:foregroundMark x1="51098" y1="4972" x2="51098" y2="4972"/>
                          <a14:foregroundMark x1="51098" y1="4972" x2="51098" y2="4972"/>
                          <a14:foregroundMark x1="51098" y1="4972" x2="51098" y2="4972"/>
                          <a14:foregroundMark x1="51098" y1="4972" x2="51098" y2="4972"/>
                          <a14:foregroundMark x1="51098" y1="4972" x2="51098" y2="4972"/>
                          <a14:foregroundMark x1="49878" y1="4972" x2="49878" y2="4972"/>
                          <a14:foregroundMark x1="49878" y1="4972" x2="49878" y2="4972"/>
                          <a14:foregroundMark x1="49268" y1="938" x2="49268" y2="938"/>
                          <a14:foregroundMark x1="49268" y1="938" x2="49268" y2="938"/>
                          <a14:foregroundMark x1="62805" y1="4878" x2="62805" y2="4878"/>
                          <a14:foregroundMark x1="62805" y1="4878" x2="62805" y2="4878"/>
                          <a14:foregroundMark x1="69146" y1="20263" x2="69146" y2="20263"/>
                          <a14:foregroundMark x1="69146" y1="20263" x2="69146" y2="20263"/>
                          <a14:foregroundMark x1="81829" y1="30582" x2="81829" y2="30582"/>
                          <a14:foregroundMark x1="81829" y1="30582" x2="81829" y2="30582"/>
                          <a14:foregroundMark x1="40488" y1="31520" x2="40488" y2="31520"/>
                          <a14:foregroundMark x1="40488" y1="31520" x2="40488" y2="31520"/>
                          <a14:foregroundMark x1="72927" y1="95685" x2="72927" y2="95685"/>
                          <a14:foregroundMark x1="72927" y1="95685" x2="72927" y2="95685"/>
                          <a14:foregroundMark x1="30488" y1="97092" x2="30488" y2="97092"/>
                          <a14:foregroundMark x1="30488" y1="97092" x2="30488" y2="97092"/>
                          <a14:foregroundMark x1="70366" y1="99156" x2="70366" y2="99156"/>
                          <a14:foregroundMark x1="70366" y1="99156" x2="70366" y2="99156"/>
                          <a14:foregroundMark x1="31463" y1="99437" x2="31463" y2="99437"/>
                          <a14:foregroundMark x1="31463" y1="99437" x2="31463" y2="99437"/>
                          <a14:foregroundMark x1="49634" y1="30675" x2="49634" y2="306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9504" y="2106304"/>
              <a:ext cx="980801" cy="1275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" name="Text Placeholder 1">
            <a:extLst>
              <a:ext uri="{FF2B5EF4-FFF2-40B4-BE49-F238E27FC236}">
                <a16:creationId xmlns:a16="http://schemas.microsoft.com/office/drawing/2014/main" xmlns="" id="{408E13FF-390E-47EB-830F-E9895968DF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430" y="326276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ko-KR" altLang="en-US" sz="48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사 전반의 마케팅 전략</a:t>
            </a:r>
            <a:endParaRPr lang="en-US" sz="48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557665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E97AACD0-B6A1-46DD-9020-EEC4B335ED3F}"/>
              </a:ext>
            </a:extLst>
          </p:cNvPr>
          <p:cNvSpPr/>
          <p:nvPr/>
        </p:nvSpPr>
        <p:spPr>
          <a:xfrm>
            <a:off x="-178" y="-3927"/>
            <a:ext cx="12192000" cy="6858000"/>
          </a:xfrm>
          <a:prstGeom prst="rect">
            <a:avLst/>
          </a:prstGeom>
          <a:solidFill>
            <a:srgbClr val="4CD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xmlns="" id="{47A370ED-7DCC-415B-A676-27A5357A9D2E}"/>
              </a:ext>
            </a:extLst>
          </p:cNvPr>
          <p:cNvSpPr/>
          <p:nvPr/>
        </p:nvSpPr>
        <p:spPr>
          <a:xfrm>
            <a:off x="132220" y="-6541"/>
            <a:ext cx="11905797" cy="6753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54" name="그룹 53">
            <a:extLst>
              <a:ext uri="{FF2B5EF4-FFF2-40B4-BE49-F238E27FC236}">
                <a16:creationId xmlns:a16="http://schemas.microsoft.com/office/drawing/2014/main" xmlns="" id="{026C2885-846C-4754-9F05-F2325C7788E7}"/>
              </a:ext>
            </a:extLst>
          </p:cNvPr>
          <p:cNvGrpSpPr/>
          <p:nvPr/>
        </p:nvGrpSpPr>
        <p:grpSpPr>
          <a:xfrm>
            <a:off x="2901076" y="4831287"/>
            <a:ext cx="6390152" cy="1257246"/>
            <a:chOff x="2901076" y="4831287"/>
            <a:chExt cx="6390152" cy="1257246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69F96557-FB7F-4FD3-9C5A-47DE1C8E73C8}"/>
                </a:ext>
              </a:extLst>
            </p:cNvPr>
            <p:cNvSpPr txBox="1"/>
            <p:nvPr/>
          </p:nvSpPr>
          <p:spPr>
            <a:xfrm>
              <a:off x="2901129" y="4831287"/>
              <a:ext cx="6390099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6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CLUSTERING</a:t>
              </a:r>
              <a:endParaRPr lang="ko-KR" altLang="en-US" sz="6000" dirty="0">
                <a:solidFill>
                  <a:schemeClr val="tx1">
                    <a:lumMod val="85000"/>
                    <a:lumOff val="1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7EBFF538-CEFA-4216-916C-1BB77BC15C47}"/>
                </a:ext>
              </a:extLst>
            </p:cNvPr>
            <p:cNvSpPr txBox="1"/>
            <p:nvPr/>
          </p:nvSpPr>
          <p:spPr>
            <a:xfrm>
              <a:off x="2901076" y="5708877"/>
              <a:ext cx="6390022" cy="3796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ko-KR" altLang="en-US" sz="18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연령대 그룹</a:t>
              </a:r>
            </a:p>
          </p:txBody>
        </p:sp>
      </p:grpSp>
      <p:pic>
        <p:nvPicPr>
          <p:cNvPr id="6" name="그래픽 5" descr="퍼즐 조각">
            <a:extLst>
              <a:ext uri="{FF2B5EF4-FFF2-40B4-BE49-F238E27FC236}">
                <a16:creationId xmlns:a16="http://schemas.microsoft.com/office/drawing/2014/main" xmlns="" id="{E4EF6E00-86F5-40D2-9276-A77A92AAA244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460" y="2350897"/>
            <a:ext cx="914400" cy="914400"/>
          </a:xfrm>
          <a:prstGeom prst="rect">
            <a:avLst/>
          </a:prstGeom>
        </p:spPr>
      </p:pic>
      <p:pic>
        <p:nvPicPr>
          <p:cNvPr id="78" name="그래픽 77" descr="연구">
            <a:extLst>
              <a:ext uri="{FF2B5EF4-FFF2-40B4-BE49-F238E27FC236}">
                <a16:creationId xmlns:a16="http://schemas.microsoft.com/office/drawing/2014/main" xmlns="" id="{23BC348A-BC9C-476A-BB12-76F2548A7318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441" y="2024769"/>
            <a:ext cx="550671" cy="550671"/>
          </a:xfrm>
          <a:prstGeom prst="rect">
            <a:avLst/>
          </a:prstGeom>
        </p:spPr>
      </p:pic>
      <p:pic>
        <p:nvPicPr>
          <p:cNvPr id="80" name="그래픽 79" descr="플레이북">
            <a:extLst>
              <a:ext uri="{FF2B5EF4-FFF2-40B4-BE49-F238E27FC236}">
                <a16:creationId xmlns:a16="http://schemas.microsoft.com/office/drawing/2014/main" xmlns="" id="{F89FA23A-9CBA-435A-AF7A-276ACF9BF6A1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060" y="2091764"/>
            <a:ext cx="620157" cy="620157"/>
          </a:xfrm>
          <a:prstGeom prst="rect">
            <a:avLst/>
          </a:prstGeom>
        </p:spPr>
      </p:pic>
      <p:pic>
        <p:nvPicPr>
          <p:cNvPr id="82" name="그래픽 81" descr="연결">
            <a:extLst>
              <a:ext uri="{FF2B5EF4-FFF2-40B4-BE49-F238E27FC236}">
                <a16:creationId xmlns:a16="http://schemas.microsoft.com/office/drawing/2014/main" xmlns="" id="{B67DAAC8-8592-4F66-9722-D2F9D7CF4988}"/>
              </a:ext>
            </a:extLst>
          </p:cNvPr>
          <p:cNvPicPr>
            <a:picLocks noChangeAspect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054" y="1398758"/>
            <a:ext cx="1191682" cy="119168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2985" y="17225"/>
            <a:ext cx="3286029" cy="4718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165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직사각형 38">
            <a:extLst>
              <a:ext uri="{FF2B5EF4-FFF2-40B4-BE49-F238E27FC236}">
                <a16:creationId xmlns:a16="http://schemas.microsoft.com/office/drawing/2014/main" xmlns="" id="{D6DC1AF2-53EA-4D19-93CB-E72D476D25CC}"/>
              </a:ext>
            </a:extLst>
          </p:cNvPr>
          <p:cNvSpPr/>
          <p:nvPr/>
        </p:nvSpPr>
        <p:spPr>
          <a:xfrm>
            <a:off x="4467225" y="772668"/>
            <a:ext cx="3346009" cy="154800"/>
          </a:xfrm>
          <a:prstGeom prst="rect">
            <a:avLst/>
          </a:prstGeom>
          <a:solidFill>
            <a:srgbClr val="98DC5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529" y="282359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Cluster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C5F35708-7C1C-4B91-8E3E-BF4C7CADD190}"/>
              </a:ext>
            </a:extLst>
          </p:cNvPr>
          <p:cNvGrpSpPr/>
          <p:nvPr/>
        </p:nvGrpSpPr>
        <p:grpSpPr>
          <a:xfrm>
            <a:off x="9076895" y="2060475"/>
            <a:ext cx="3096055" cy="3940275"/>
            <a:chOff x="556000" y="1694129"/>
            <a:chExt cx="3354616" cy="433334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51DE18A3-D4B7-45F0-AC85-7A52AEF3EA7B}"/>
                </a:ext>
              </a:extLst>
            </p:cNvPr>
            <p:cNvGrpSpPr/>
            <p:nvPr/>
          </p:nvGrpSpPr>
          <p:grpSpPr>
            <a:xfrm>
              <a:off x="1042740" y="1694129"/>
              <a:ext cx="989242" cy="4333341"/>
              <a:chOff x="3674096" y="1619710"/>
              <a:chExt cx="980481" cy="4294963"/>
            </a:xfrm>
          </p:grpSpPr>
          <p:sp>
            <p:nvSpPr>
              <p:cNvPr id="7" name="Round Same Side Corner Rectangle 8">
                <a:extLst>
                  <a:ext uri="{FF2B5EF4-FFF2-40B4-BE49-F238E27FC236}">
                    <a16:creationId xmlns:a16="http://schemas.microsoft.com/office/drawing/2014/main" xmlns="" id="{15B65475-2CEB-4104-8BD3-52EFF10EE37D}"/>
                  </a:ext>
                </a:extLst>
              </p:cNvPr>
              <p:cNvSpPr/>
              <p:nvPr/>
            </p:nvSpPr>
            <p:spPr>
              <a:xfrm>
                <a:off x="3674096" y="1619710"/>
                <a:ext cx="490240" cy="4294963"/>
              </a:xfrm>
              <a:custGeom>
                <a:avLst/>
                <a:gdLst>
                  <a:gd name="connsiteX0" fmla="*/ 0 w 456431"/>
                  <a:gd name="connsiteY0" fmla="*/ 821440 h 4294963"/>
                  <a:gd name="connsiteX1" fmla="*/ 456431 w 456431"/>
                  <a:gd name="connsiteY1" fmla="*/ 821440 h 4294963"/>
                  <a:gd name="connsiteX2" fmla="*/ 456431 w 456431"/>
                  <a:gd name="connsiteY2" fmla="*/ 2523008 h 4294963"/>
                  <a:gd name="connsiteX3" fmla="*/ 393929 w 456431"/>
                  <a:gd name="connsiteY3" fmla="*/ 2523008 h 4294963"/>
                  <a:gd name="connsiteX4" fmla="*/ 393929 w 456431"/>
                  <a:gd name="connsiteY4" fmla="*/ 4097911 h 4294963"/>
                  <a:gd name="connsiteX5" fmla="*/ 196878 w 456431"/>
                  <a:gd name="connsiteY5" fmla="*/ 4294963 h 4294963"/>
                  <a:gd name="connsiteX6" fmla="*/ 0 w 456431"/>
                  <a:gd name="connsiteY6" fmla="*/ 4099638 h 4294963"/>
                  <a:gd name="connsiteX7" fmla="*/ 0 w 456431"/>
                  <a:gd name="connsiteY7" fmla="*/ 4039674 h 4294963"/>
                  <a:gd name="connsiteX8" fmla="*/ 7525 w 456431"/>
                  <a:gd name="connsiteY8" fmla="*/ 1521985 h 4294963"/>
                  <a:gd name="connsiteX9" fmla="*/ 0 w 456431"/>
                  <a:gd name="connsiteY9" fmla="*/ 821440 h 4294963"/>
                  <a:gd name="connsiteX10" fmla="*/ 456431 w 456431"/>
                  <a:gd name="connsiteY10" fmla="*/ 0 h 4294963"/>
                  <a:gd name="connsiteX11" fmla="*/ 456431 w 456431"/>
                  <a:gd name="connsiteY11" fmla="*/ 737660 h 4294963"/>
                  <a:gd name="connsiteX12" fmla="*/ 91480 w 456431"/>
                  <a:gd name="connsiteY12" fmla="*/ 368830 h 4294963"/>
                  <a:gd name="connsiteX13" fmla="*/ 456431 w 456431"/>
                  <a:gd name="connsiteY13" fmla="*/ 0 h 4294963"/>
                  <a:gd name="connsiteX0" fmla="*/ 33809 w 490240"/>
                  <a:gd name="connsiteY0" fmla="*/ 821440 h 4294963"/>
                  <a:gd name="connsiteX1" fmla="*/ 490240 w 490240"/>
                  <a:gd name="connsiteY1" fmla="*/ 821440 h 4294963"/>
                  <a:gd name="connsiteX2" fmla="*/ 490240 w 490240"/>
                  <a:gd name="connsiteY2" fmla="*/ 2523008 h 4294963"/>
                  <a:gd name="connsiteX3" fmla="*/ 427738 w 490240"/>
                  <a:gd name="connsiteY3" fmla="*/ 2523008 h 4294963"/>
                  <a:gd name="connsiteX4" fmla="*/ 427738 w 490240"/>
                  <a:gd name="connsiteY4" fmla="*/ 4097911 h 4294963"/>
                  <a:gd name="connsiteX5" fmla="*/ 230687 w 490240"/>
                  <a:gd name="connsiteY5" fmla="*/ 4294963 h 4294963"/>
                  <a:gd name="connsiteX6" fmla="*/ 33809 w 490240"/>
                  <a:gd name="connsiteY6" fmla="*/ 4099638 h 4294963"/>
                  <a:gd name="connsiteX7" fmla="*/ 33809 w 490240"/>
                  <a:gd name="connsiteY7" fmla="*/ 4039674 h 4294963"/>
                  <a:gd name="connsiteX8" fmla="*/ 33809 w 490240"/>
                  <a:gd name="connsiteY8" fmla="*/ 821440 h 4294963"/>
                  <a:gd name="connsiteX9" fmla="*/ 490240 w 490240"/>
                  <a:gd name="connsiteY9" fmla="*/ 0 h 4294963"/>
                  <a:gd name="connsiteX10" fmla="*/ 490240 w 490240"/>
                  <a:gd name="connsiteY10" fmla="*/ 737660 h 4294963"/>
                  <a:gd name="connsiteX11" fmla="*/ 125289 w 490240"/>
                  <a:gd name="connsiteY11" fmla="*/ 368830 h 4294963"/>
                  <a:gd name="connsiteX12" fmla="*/ 490240 w 490240"/>
                  <a:gd name="connsiteY12" fmla="*/ 0 h 429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0240" h="4294963">
                    <a:moveTo>
                      <a:pt x="33809" y="821440"/>
                    </a:moveTo>
                    <a:lnTo>
                      <a:pt x="490240" y="821440"/>
                    </a:lnTo>
                    <a:lnTo>
                      <a:pt x="490240" y="2523008"/>
                    </a:lnTo>
                    <a:lnTo>
                      <a:pt x="427738" y="2523008"/>
                    </a:lnTo>
                    <a:lnTo>
                      <a:pt x="427738" y="4097911"/>
                    </a:lnTo>
                    <a:cubicBezTo>
                      <a:pt x="427738" y="4206740"/>
                      <a:pt x="339515" y="4294963"/>
                      <a:pt x="230687" y="4294963"/>
                    </a:cubicBezTo>
                    <a:cubicBezTo>
                      <a:pt x="122435" y="4294963"/>
                      <a:pt x="34571" y="4207673"/>
                      <a:pt x="33809" y="4099638"/>
                    </a:cubicBezTo>
                    <a:lnTo>
                      <a:pt x="33809" y="4039674"/>
                    </a:lnTo>
                    <a:cubicBezTo>
                      <a:pt x="33809" y="3493308"/>
                      <a:pt x="-42263" y="1357812"/>
                      <a:pt x="33809" y="821440"/>
                    </a:cubicBezTo>
                    <a:close/>
                    <a:moveTo>
                      <a:pt x="490240" y="0"/>
                    </a:moveTo>
                    <a:lnTo>
                      <a:pt x="490240" y="737660"/>
                    </a:lnTo>
                    <a:cubicBezTo>
                      <a:pt x="288286" y="735756"/>
                      <a:pt x="125289" y="571329"/>
                      <a:pt x="125289" y="368830"/>
                    </a:cubicBezTo>
                    <a:cubicBezTo>
                      <a:pt x="125289" y="166332"/>
                      <a:pt x="288286" y="1904"/>
                      <a:pt x="49024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8" name="Round Same Side Corner Rectangle 8">
                <a:extLst>
                  <a:ext uri="{FF2B5EF4-FFF2-40B4-BE49-F238E27FC236}">
                    <a16:creationId xmlns:a16="http://schemas.microsoft.com/office/drawing/2014/main" xmlns="" id="{6BBE6483-6586-4097-BDB6-B9F2B3E65C8B}"/>
                  </a:ext>
                </a:extLst>
              </p:cNvPr>
              <p:cNvSpPr/>
              <p:nvPr/>
            </p:nvSpPr>
            <p:spPr>
              <a:xfrm flipH="1">
                <a:off x="4164337" y="1619710"/>
                <a:ext cx="490240" cy="4294963"/>
              </a:xfrm>
              <a:custGeom>
                <a:avLst/>
                <a:gdLst>
                  <a:gd name="connsiteX0" fmla="*/ 0 w 456431"/>
                  <a:gd name="connsiteY0" fmla="*/ 821440 h 4294963"/>
                  <a:gd name="connsiteX1" fmla="*/ 456431 w 456431"/>
                  <a:gd name="connsiteY1" fmla="*/ 821440 h 4294963"/>
                  <a:gd name="connsiteX2" fmla="*/ 456431 w 456431"/>
                  <a:gd name="connsiteY2" fmla="*/ 2523008 h 4294963"/>
                  <a:gd name="connsiteX3" fmla="*/ 393929 w 456431"/>
                  <a:gd name="connsiteY3" fmla="*/ 2523008 h 4294963"/>
                  <a:gd name="connsiteX4" fmla="*/ 393929 w 456431"/>
                  <a:gd name="connsiteY4" fmla="*/ 4097911 h 4294963"/>
                  <a:gd name="connsiteX5" fmla="*/ 196878 w 456431"/>
                  <a:gd name="connsiteY5" fmla="*/ 4294963 h 4294963"/>
                  <a:gd name="connsiteX6" fmla="*/ 0 w 456431"/>
                  <a:gd name="connsiteY6" fmla="*/ 4099638 h 4294963"/>
                  <a:gd name="connsiteX7" fmla="*/ 0 w 456431"/>
                  <a:gd name="connsiteY7" fmla="*/ 4039674 h 4294963"/>
                  <a:gd name="connsiteX8" fmla="*/ 7525 w 456431"/>
                  <a:gd name="connsiteY8" fmla="*/ 1521985 h 4294963"/>
                  <a:gd name="connsiteX9" fmla="*/ 0 w 456431"/>
                  <a:gd name="connsiteY9" fmla="*/ 821440 h 4294963"/>
                  <a:gd name="connsiteX10" fmla="*/ 456431 w 456431"/>
                  <a:gd name="connsiteY10" fmla="*/ 0 h 4294963"/>
                  <a:gd name="connsiteX11" fmla="*/ 456431 w 456431"/>
                  <a:gd name="connsiteY11" fmla="*/ 737660 h 4294963"/>
                  <a:gd name="connsiteX12" fmla="*/ 91480 w 456431"/>
                  <a:gd name="connsiteY12" fmla="*/ 368830 h 4294963"/>
                  <a:gd name="connsiteX13" fmla="*/ 456431 w 456431"/>
                  <a:gd name="connsiteY13" fmla="*/ 0 h 4294963"/>
                  <a:gd name="connsiteX0" fmla="*/ 33809 w 490240"/>
                  <a:gd name="connsiteY0" fmla="*/ 821440 h 4294963"/>
                  <a:gd name="connsiteX1" fmla="*/ 490240 w 490240"/>
                  <a:gd name="connsiteY1" fmla="*/ 821440 h 4294963"/>
                  <a:gd name="connsiteX2" fmla="*/ 490240 w 490240"/>
                  <a:gd name="connsiteY2" fmla="*/ 2523008 h 4294963"/>
                  <a:gd name="connsiteX3" fmla="*/ 427738 w 490240"/>
                  <a:gd name="connsiteY3" fmla="*/ 2523008 h 4294963"/>
                  <a:gd name="connsiteX4" fmla="*/ 427738 w 490240"/>
                  <a:gd name="connsiteY4" fmla="*/ 4097911 h 4294963"/>
                  <a:gd name="connsiteX5" fmla="*/ 230687 w 490240"/>
                  <a:gd name="connsiteY5" fmla="*/ 4294963 h 4294963"/>
                  <a:gd name="connsiteX6" fmla="*/ 33809 w 490240"/>
                  <a:gd name="connsiteY6" fmla="*/ 4099638 h 4294963"/>
                  <a:gd name="connsiteX7" fmla="*/ 33809 w 490240"/>
                  <a:gd name="connsiteY7" fmla="*/ 4039674 h 4294963"/>
                  <a:gd name="connsiteX8" fmla="*/ 33809 w 490240"/>
                  <a:gd name="connsiteY8" fmla="*/ 821440 h 4294963"/>
                  <a:gd name="connsiteX9" fmla="*/ 490240 w 490240"/>
                  <a:gd name="connsiteY9" fmla="*/ 0 h 4294963"/>
                  <a:gd name="connsiteX10" fmla="*/ 490240 w 490240"/>
                  <a:gd name="connsiteY10" fmla="*/ 737660 h 4294963"/>
                  <a:gd name="connsiteX11" fmla="*/ 125289 w 490240"/>
                  <a:gd name="connsiteY11" fmla="*/ 368830 h 4294963"/>
                  <a:gd name="connsiteX12" fmla="*/ 490240 w 490240"/>
                  <a:gd name="connsiteY12" fmla="*/ 0 h 4294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0240" h="4294963">
                    <a:moveTo>
                      <a:pt x="33809" y="821440"/>
                    </a:moveTo>
                    <a:lnTo>
                      <a:pt x="490240" y="821440"/>
                    </a:lnTo>
                    <a:lnTo>
                      <a:pt x="490240" y="2523008"/>
                    </a:lnTo>
                    <a:lnTo>
                      <a:pt x="427738" y="2523008"/>
                    </a:lnTo>
                    <a:lnTo>
                      <a:pt x="427738" y="4097911"/>
                    </a:lnTo>
                    <a:cubicBezTo>
                      <a:pt x="427738" y="4206740"/>
                      <a:pt x="339515" y="4294963"/>
                      <a:pt x="230687" y="4294963"/>
                    </a:cubicBezTo>
                    <a:cubicBezTo>
                      <a:pt x="122435" y="4294963"/>
                      <a:pt x="34571" y="4207673"/>
                      <a:pt x="33809" y="4099638"/>
                    </a:cubicBezTo>
                    <a:lnTo>
                      <a:pt x="33809" y="4039674"/>
                    </a:lnTo>
                    <a:cubicBezTo>
                      <a:pt x="33809" y="3493308"/>
                      <a:pt x="-42263" y="1357812"/>
                      <a:pt x="33809" y="821440"/>
                    </a:cubicBezTo>
                    <a:close/>
                    <a:moveTo>
                      <a:pt x="490240" y="0"/>
                    </a:moveTo>
                    <a:lnTo>
                      <a:pt x="490240" y="737660"/>
                    </a:lnTo>
                    <a:cubicBezTo>
                      <a:pt x="288286" y="735756"/>
                      <a:pt x="125289" y="571329"/>
                      <a:pt x="125289" y="368830"/>
                    </a:cubicBezTo>
                    <a:cubicBezTo>
                      <a:pt x="125289" y="166332"/>
                      <a:pt x="288286" y="1904"/>
                      <a:pt x="49024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FEACA546-AF3F-4056-9B1D-C663C7A884E8}"/>
                </a:ext>
              </a:extLst>
            </p:cNvPr>
            <p:cNvSpPr txBox="1"/>
            <p:nvPr/>
          </p:nvSpPr>
          <p:spPr>
            <a:xfrm>
              <a:off x="1976389" y="2550095"/>
              <a:ext cx="1934227" cy="4738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200" b="1" dirty="0">
                  <a:solidFill>
                    <a:schemeClr val="accent3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CLUSTERING</a:t>
              </a:r>
              <a:endParaRPr lang="ko-KR" altLang="en-US" sz="2200" b="1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66FEF6B6-BB16-429A-BFE3-A39378D8D709}"/>
                </a:ext>
              </a:extLst>
            </p:cNvPr>
            <p:cNvSpPr txBox="1"/>
            <p:nvPr/>
          </p:nvSpPr>
          <p:spPr>
            <a:xfrm rot="16200000">
              <a:off x="-384569" y="3490663"/>
              <a:ext cx="2348009" cy="466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2200" b="1" dirty="0">
                  <a:solidFill>
                    <a:schemeClr val="accent4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GE GROUPS</a:t>
              </a:r>
              <a:endParaRPr lang="ko-KR" altLang="en-US" sz="2200" b="1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37" name="그룹 36">
            <a:extLst>
              <a:ext uri="{FF2B5EF4-FFF2-40B4-BE49-F238E27FC236}">
                <a16:creationId xmlns:a16="http://schemas.microsoft.com/office/drawing/2014/main" xmlns="" id="{FAFCFC8D-6430-4723-AB69-865D52C5BCF0}"/>
              </a:ext>
            </a:extLst>
          </p:cNvPr>
          <p:cNvGrpSpPr/>
          <p:nvPr/>
        </p:nvGrpSpPr>
        <p:grpSpPr>
          <a:xfrm>
            <a:off x="600276" y="1885312"/>
            <a:ext cx="1736132" cy="1653823"/>
            <a:chOff x="8820351" y="4590412"/>
            <a:chExt cx="1736132" cy="1653823"/>
          </a:xfrm>
        </p:grpSpPr>
        <p:sp>
          <p:nvSpPr>
            <p:cNvPr id="11" name="Round Same Side Corner Rectangle 8">
              <a:extLst>
                <a:ext uri="{FF2B5EF4-FFF2-40B4-BE49-F238E27FC236}">
                  <a16:creationId xmlns:a16="http://schemas.microsoft.com/office/drawing/2014/main" xmlns="" id="{25A313A8-94A3-4A78-A0DD-F57C9B334EC6}"/>
                </a:ext>
              </a:extLst>
            </p:cNvPr>
            <p:cNvSpPr/>
            <p:nvPr/>
          </p:nvSpPr>
          <p:spPr>
            <a:xfrm>
              <a:off x="8855388" y="5457710"/>
              <a:ext cx="298633" cy="786525"/>
            </a:xfrm>
            <a:custGeom>
              <a:avLst/>
              <a:gdLst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8887 w 1489775"/>
                <a:gd name="connsiteY10" fmla="*/ 2305078 h 3923699"/>
                <a:gd name="connsiteX11" fmla="*/ 1151853 w 1489775"/>
                <a:gd name="connsiteY11" fmla="*/ 3743699 h 3923699"/>
                <a:gd name="connsiteX12" fmla="*/ 971853 w 1489775"/>
                <a:gd name="connsiteY12" fmla="*/ 3923699 h 3923699"/>
                <a:gd name="connsiteX13" fmla="*/ 791853 w 1489775"/>
                <a:gd name="connsiteY13" fmla="*/ 3743699 h 3923699"/>
                <a:gd name="connsiteX14" fmla="*/ 791853 w 1489775"/>
                <a:gd name="connsiteY14" fmla="*/ 2305078 h 3923699"/>
                <a:gd name="connsiteX15" fmla="*/ 683854 w 1489775"/>
                <a:gd name="connsiteY15" fmla="*/ 2305078 h 3923699"/>
                <a:gd name="connsiteX16" fmla="*/ 683854 w 1489775"/>
                <a:gd name="connsiteY16" fmla="*/ 3743698 h 3923699"/>
                <a:gd name="connsiteX17" fmla="*/ 503854 w 1489775"/>
                <a:gd name="connsiteY17" fmla="*/ 3923698 h 3923699"/>
                <a:gd name="connsiteX18" fmla="*/ 323854 w 1489775"/>
                <a:gd name="connsiteY18" fmla="*/ 3743698 h 3923699"/>
                <a:gd name="connsiteX19" fmla="*/ 323854 w 1489775"/>
                <a:gd name="connsiteY19" fmla="*/ 2238914 h 3923699"/>
                <a:gd name="connsiteX20" fmla="*/ 330887 w 1489775"/>
                <a:gd name="connsiteY20" fmla="*/ 2238914 h 3923699"/>
                <a:gd name="connsiteX21" fmla="*/ 330887 w 1489775"/>
                <a:gd name="connsiteY21" fmla="*/ 1390678 h 3923699"/>
                <a:gd name="connsiteX22" fmla="*/ 288033 w 1489775"/>
                <a:gd name="connsiteY22" fmla="*/ 1390678 h 3923699"/>
                <a:gd name="connsiteX23" fmla="*/ 288033 w 1489775"/>
                <a:gd name="connsiteY23" fmla="*/ 2063902 h 3923699"/>
                <a:gd name="connsiteX24" fmla="*/ 144017 w 1489775"/>
                <a:gd name="connsiteY24" fmla="*/ 2207918 h 3923699"/>
                <a:gd name="connsiteX25" fmla="*/ 1 w 1489775"/>
                <a:gd name="connsiteY25" fmla="*/ 2063902 h 3923699"/>
                <a:gd name="connsiteX26" fmla="*/ 1 w 1489775"/>
                <a:gd name="connsiteY26" fmla="*/ 1390678 h 3923699"/>
                <a:gd name="connsiteX27" fmla="*/ 0 w 1489775"/>
                <a:gd name="connsiteY27" fmla="*/ 1390678 h 3923699"/>
                <a:gd name="connsiteX28" fmla="*/ 0 w 1489775"/>
                <a:gd name="connsiteY28" fmla="*/ 1030958 h 3923699"/>
                <a:gd name="connsiteX29" fmla="*/ 280204 w 1489775"/>
                <a:gd name="connsiteY29" fmla="*/ 750754 h 3923699"/>
                <a:gd name="connsiteX30" fmla="*/ 744888 w 1489775"/>
                <a:gd name="connsiteY30" fmla="*/ 0 h 3923699"/>
                <a:gd name="connsiteX31" fmla="*/ 1082199 w 1489775"/>
                <a:gd name="connsiteY31" fmla="*/ 337311 h 3923699"/>
                <a:gd name="connsiteX32" fmla="*/ 744888 w 1489775"/>
                <a:gd name="connsiteY32" fmla="*/ 674622 h 3923699"/>
                <a:gd name="connsiteX33" fmla="*/ 407577 w 1489775"/>
                <a:gd name="connsiteY33" fmla="*/ 337311 h 3923699"/>
                <a:gd name="connsiteX34" fmla="*/ 744888 w 1489775"/>
                <a:gd name="connsiteY34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2238914 h 3923699"/>
                <a:gd name="connsiteX20" fmla="*/ 330887 w 1489775"/>
                <a:gd name="connsiteY20" fmla="*/ 1390678 h 3923699"/>
                <a:gd name="connsiteX21" fmla="*/ 288033 w 1489775"/>
                <a:gd name="connsiteY21" fmla="*/ 1390678 h 3923699"/>
                <a:gd name="connsiteX22" fmla="*/ 288033 w 1489775"/>
                <a:gd name="connsiteY22" fmla="*/ 2063902 h 3923699"/>
                <a:gd name="connsiteX23" fmla="*/ 144017 w 1489775"/>
                <a:gd name="connsiteY23" fmla="*/ 2207918 h 3923699"/>
                <a:gd name="connsiteX24" fmla="*/ 1 w 1489775"/>
                <a:gd name="connsiteY24" fmla="*/ 2063902 h 3923699"/>
                <a:gd name="connsiteX25" fmla="*/ 1 w 1489775"/>
                <a:gd name="connsiteY25" fmla="*/ 1390678 h 3923699"/>
                <a:gd name="connsiteX26" fmla="*/ 0 w 1489775"/>
                <a:gd name="connsiteY26" fmla="*/ 1390678 h 3923699"/>
                <a:gd name="connsiteX27" fmla="*/ 0 w 1489775"/>
                <a:gd name="connsiteY27" fmla="*/ 1030958 h 3923699"/>
                <a:gd name="connsiteX28" fmla="*/ 280204 w 1489775"/>
                <a:gd name="connsiteY28" fmla="*/ 750754 h 3923699"/>
                <a:gd name="connsiteX29" fmla="*/ 744888 w 1489775"/>
                <a:gd name="connsiteY29" fmla="*/ 0 h 3923699"/>
                <a:gd name="connsiteX30" fmla="*/ 1082199 w 1489775"/>
                <a:gd name="connsiteY30" fmla="*/ 337311 h 3923699"/>
                <a:gd name="connsiteX31" fmla="*/ 744888 w 1489775"/>
                <a:gd name="connsiteY31" fmla="*/ 674622 h 3923699"/>
                <a:gd name="connsiteX32" fmla="*/ 407577 w 1489775"/>
                <a:gd name="connsiteY32" fmla="*/ 337311 h 3923699"/>
                <a:gd name="connsiteX33" fmla="*/ 744888 w 1489775"/>
                <a:gd name="connsiteY33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1390678 h 3923699"/>
                <a:gd name="connsiteX20" fmla="*/ 288033 w 1489775"/>
                <a:gd name="connsiteY20" fmla="*/ 1390678 h 3923699"/>
                <a:gd name="connsiteX21" fmla="*/ 288033 w 1489775"/>
                <a:gd name="connsiteY21" fmla="*/ 2063902 h 3923699"/>
                <a:gd name="connsiteX22" fmla="*/ 144017 w 1489775"/>
                <a:gd name="connsiteY22" fmla="*/ 2207918 h 3923699"/>
                <a:gd name="connsiteX23" fmla="*/ 1 w 1489775"/>
                <a:gd name="connsiteY23" fmla="*/ 2063902 h 3923699"/>
                <a:gd name="connsiteX24" fmla="*/ 1 w 1489775"/>
                <a:gd name="connsiteY24" fmla="*/ 1390678 h 3923699"/>
                <a:gd name="connsiteX25" fmla="*/ 0 w 1489775"/>
                <a:gd name="connsiteY25" fmla="*/ 1390678 h 3923699"/>
                <a:gd name="connsiteX26" fmla="*/ 0 w 1489775"/>
                <a:gd name="connsiteY26" fmla="*/ 1030958 h 3923699"/>
                <a:gd name="connsiteX27" fmla="*/ 280204 w 1489775"/>
                <a:gd name="connsiteY27" fmla="*/ 750754 h 3923699"/>
                <a:gd name="connsiteX28" fmla="*/ 744888 w 1489775"/>
                <a:gd name="connsiteY28" fmla="*/ 0 h 3923699"/>
                <a:gd name="connsiteX29" fmla="*/ 1082199 w 1489775"/>
                <a:gd name="connsiteY29" fmla="*/ 337311 h 3923699"/>
                <a:gd name="connsiteX30" fmla="*/ 744888 w 1489775"/>
                <a:gd name="connsiteY30" fmla="*/ 674622 h 3923699"/>
                <a:gd name="connsiteX31" fmla="*/ 407577 w 1489775"/>
                <a:gd name="connsiteY31" fmla="*/ 337311 h 3923699"/>
                <a:gd name="connsiteX32" fmla="*/ 744888 w 1489775"/>
                <a:gd name="connsiteY32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30887 w 1489775"/>
                <a:gd name="connsiteY18" fmla="*/ 1390678 h 3923699"/>
                <a:gd name="connsiteX19" fmla="*/ 288033 w 1489775"/>
                <a:gd name="connsiteY19" fmla="*/ 1390678 h 3923699"/>
                <a:gd name="connsiteX20" fmla="*/ 288033 w 1489775"/>
                <a:gd name="connsiteY20" fmla="*/ 2063902 h 3923699"/>
                <a:gd name="connsiteX21" fmla="*/ 144017 w 1489775"/>
                <a:gd name="connsiteY21" fmla="*/ 2207918 h 3923699"/>
                <a:gd name="connsiteX22" fmla="*/ 1 w 1489775"/>
                <a:gd name="connsiteY22" fmla="*/ 2063902 h 3923699"/>
                <a:gd name="connsiteX23" fmla="*/ 1 w 1489775"/>
                <a:gd name="connsiteY23" fmla="*/ 1390678 h 3923699"/>
                <a:gd name="connsiteX24" fmla="*/ 0 w 1489775"/>
                <a:gd name="connsiteY24" fmla="*/ 1390678 h 3923699"/>
                <a:gd name="connsiteX25" fmla="*/ 0 w 1489775"/>
                <a:gd name="connsiteY25" fmla="*/ 1030958 h 3923699"/>
                <a:gd name="connsiteX26" fmla="*/ 280204 w 1489775"/>
                <a:gd name="connsiteY26" fmla="*/ 750754 h 3923699"/>
                <a:gd name="connsiteX27" fmla="*/ 744888 w 1489775"/>
                <a:gd name="connsiteY27" fmla="*/ 0 h 3923699"/>
                <a:gd name="connsiteX28" fmla="*/ 1082199 w 1489775"/>
                <a:gd name="connsiteY28" fmla="*/ 337311 h 3923699"/>
                <a:gd name="connsiteX29" fmla="*/ 744888 w 1489775"/>
                <a:gd name="connsiteY29" fmla="*/ 674622 h 3923699"/>
                <a:gd name="connsiteX30" fmla="*/ 407577 w 1489775"/>
                <a:gd name="connsiteY30" fmla="*/ 337311 h 3923699"/>
                <a:gd name="connsiteX31" fmla="*/ 744888 w 1489775"/>
                <a:gd name="connsiteY31" fmla="*/ 0 h 392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89775" h="3923699">
                  <a:moveTo>
                    <a:pt x="280204" y="750754"/>
                  </a:moveTo>
                  <a:lnTo>
                    <a:pt x="1209570" y="750754"/>
                  </a:lnTo>
                  <a:cubicBezTo>
                    <a:pt x="1364322" y="750754"/>
                    <a:pt x="1489774" y="876206"/>
                    <a:pt x="1489774" y="1030958"/>
                  </a:cubicBezTo>
                  <a:lnTo>
                    <a:pt x="1489774" y="1293518"/>
                  </a:lnTo>
                  <a:lnTo>
                    <a:pt x="1489775" y="1293518"/>
                  </a:lnTo>
                  <a:lnTo>
                    <a:pt x="1489775" y="2063902"/>
                  </a:lnTo>
                  <a:cubicBezTo>
                    <a:pt x="1489775" y="2143440"/>
                    <a:pt x="1425297" y="2207918"/>
                    <a:pt x="1345759" y="2207918"/>
                  </a:cubicBezTo>
                  <a:cubicBezTo>
                    <a:pt x="1266221" y="2207918"/>
                    <a:pt x="1201743" y="2143440"/>
                    <a:pt x="1201743" y="2063902"/>
                  </a:cubicBezTo>
                  <a:lnTo>
                    <a:pt x="1201743" y="1390678"/>
                  </a:lnTo>
                  <a:lnTo>
                    <a:pt x="1158887" y="1390678"/>
                  </a:lnTo>
                  <a:cubicBezTo>
                    <a:pt x="1156542" y="2175018"/>
                    <a:pt x="1154198" y="2959359"/>
                    <a:pt x="1151853" y="3743699"/>
                  </a:cubicBezTo>
                  <a:cubicBezTo>
                    <a:pt x="1151853" y="3843110"/>
                    <a:pt x="1071264" y="3923699"/>
                    <a:pt x="971853" y="3923699"/>
                  </a:cubicBezTo>
                  <a:cubicBezTo>
                    <a:pt x="872442" y="3923699"/>
                    <a:pt x="791853" y="3843110"/>
                    <a:pt x="791853" y="3743699"/>
                  </a:cubicBezTo>
                  <a:lnTo>
                    <a:pt x="791853" y="2305078"/>
                  </a:lnTo>
                  <a:lnTo>
                    <a:pt x="683854" y="2305078"/>
                  </a:lnTo>
                  <a:lnTo>
                    <a:pt x="683854" y="3743698"/>
                  </a:lnTo>
                  <a:cubicBezTo>
                    <a:pt x="683854" y="3843109"/>
                    <a:pt x="603265" y="3923698"/>
                    <a:pt x="503854" y="3923698"/>
                  </a:cubicBezTo>
                  <a:cubicBezTo>
                    <a:pt x="404443" y="3923698"/>
                    <a:pt x="323854" y="3843109"/>
                    <a:pt x="323854" y="3743698"/>
                  </a:cubicBezTo>
                  <a:cubicBezTo>
                    <a:pt x="326198" y="2959358"/>
                    <a:pt x="328543" y="2175018"/>
                    <a:pt x="330887" y="1390678"/>
                  </a:cubicBezTo>
                  <a:lnTo>
                    <a:pt x="288033" y="1390678"/>
                  </a:lnTo>
                  <a:lnTo>
                    <a:pt x="288033" y="2063902"/>
                  </a:lnTo>
                  <a:cubicBezTo>
                    <a:pt x="288033" y="2143440"/>
                    <a:pt x="223555" y="2207918"/>
                    <a:pt x="144017" y="2207918"/>
                  </a:cubicBezTo>
                  <a:cubicBezTo>
                    <a:pt x="64479" y="2207918"/>
                    <a:pt x="1" y="2143440"/>
                    <a:pt x="1" y="2063902"/>
                  </a:cubicBezTo>
                  <a:lnTo>
                    <a:pt x="1" y="1390678"/>
                  </a:lnTo>
                  <a:lnTo>
                    <a:pt x="0" y="1390678"/>
                  </a:lnTo>
                  <a:lnTo>
                    <a:pt x="0" y="1030958"/>
                  </a:lnTo>
                  <a:cubicBezTo>
                    <a:pt x="0" y="876206"/>
                    <a:pt x="125452" y="750754"/>
                    <a:pt x="280204" y="750754"/>
                  </a:cubicBezTo>
                  <a:close/>
                  <a:moveTo>
                    <a:pt x="744888" y="0"/>
                  </a:moveTo>
                  <a:cubicBezTo>
                    <a:pt x="931180" y="0"/>
                    <a:pt x="1082199" y="151019"/>
                    <a:pt x="1082199" y="337311"/>
                  </a:cubicBezTo>
                  <a:cubicBezTo>
                    <a:pt x="1082199" y="523603"/>
                    <a:pt x="931180" y="674622"/>
                    <a:pt x="744888" y="674622"/>
                  </a:cubicBezTo>
                  <a:cubicBezTo>
                    <a:pt x="558596" y="674622"/>
                    <a:pt x="407577" y="523603"/>
                    <a:pt x="407577" y="337311"/>
                  </a:cubicBezTo>
                  <a:cubicBezTo>
                    <a:pt x="407577" y="151019"/>
                    <a:pt x="558596" y="0"/>
                    <a:pt x="74488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2" name="Round Same Side Corner Rectangle 8">
              <a:extLst>
                <a:ext uri="{FF2B5EF4-FFF2-40B4-BE49-F238E27FC236}">
                  <a16:creationId xmlns:a16="http://schemas.microsoft.com/office/drawing/2014/main" xmlns="" id="{7C76DCB9-D829-4FF7-B4A2-1E743FE56AFA}"/>
                </a:ext>
              </a:extLst>
            </p:cNvPr>
            <p:cNvSpPr/>
            <p:nvPr/>
          </p:nvSpPr>
          <p:spPr>
            <a:xfrm>
              <a:off x="9311196" y="5457710"/>
              <a:ext cx="298633" cy="786525"/>
            </a:xfrm>
            <a:custGeom>
              <a:avLst/>
              <a:gdLst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8887 w 1489775"/>
                <a:gd name="connsiteY10" fmla="*/ 2305078 h 3923699"/>
                <a:gd name="connsiteX11" fmla="*/ 1151853 w 1489775"/>
                <a:gd name="connsiteY11" fmla="*/ 3743699 h 3923699"/>
                <a:gd name="connsiteX12" fmla="*/ 971853 w 1489775"/>
                <a:gd name="connsiteY12" fmla="*/ 3923699 h 3923699"/>
                <a:gd name="connsiteX13" fmla="*/ 791853 w 1489775"/>
                <a:gd name="connsiteY13" fmla="*/ 3743699 h 3923699"/>
                <a:gd name="connsiteX14" fmla="*/ 791853 w 1489775"/>
                <a:gd name="connsiteY14" fmla="*/ 2305078 h 3923699"/>
                <a:gd name="connsiteX15" fmla="*/ 683854 w 1489775"/>
                <a:gd name="connsiteY15" fmla="*/ 2305078 h 3923699"/>
                <a:gd name="connsiteX16" fmla="*/ 683854 w 1489775"/>
                <a:gd name="connsiteY16" fmla="*/ 3743698 h 3923699"/>
                <a:gd name="connsiteX17" fmla="*/ 503854 w 1489775"/>
                <a:gd name="connsiteY17" fmla="*/ 3923698 h 3923699"/>
                <a:gd name="connsiteX18" fmla="*/ 323854 w 1489775"/>
                <a:gd name="connsiteY18" fmla="*/ 3743698 h 3923699"/>
                <a:gd name="connsiteX19" fmla="*/ 323854 w 1489775"/>
                <a:gd name="connsiteY19" fmla="*/ 2238914 h 3923699"/>
                <a:gd name="connsiteX20" fmla="*/ 330887 w 1489775"/>
                <a:gd name="connsiteY20" fmla="*/ 2238914 h 3923699"/>
                <a:gd name="connsiteX21" fmla="*/ 330887 w 1489775"/>
                <a:gd name="connsiteY21" fmla="*/ 1390678 h 3923699"/>
                <a:gd name="connsiteX22" fmla="*/ 288033 w 1489775"/>
                <a:gd name="connsiteY22" fmla="*/ 1390678 h 3923699"/>
                <a:gd name="connsiteX23" fmla="*/ 288033 w 1489775"/>
                <a:gd name="connsiteY23" fmla="*/ 2063902 h 3923699"/>
                <a:gd name="connsiteX24" fmla="*/ 144017 w 1489775"/>
                <a:gd name="connsiteY24" fmla="*/ 2207918 h 3923699"/>
                <a:gd name="connsiteX25" fmla="*/ 1 w 1489775"/>
                <a:gd name="connsiteY25" fmla="*/ 2063902 h 3923699"/>
                <a:gd name="connsiteX26" fmla="*/ 1 w 1489775"/>
                <a:gd name="connsiteY26" fmla="*/ 1390678 h 3923699"/>
                <a:gd name="connsiteX27" fmla="*/ 0 w 1489775"/>
                <a:gd name="connsiteY27" fmla="*/ 1390678 h 3923699"/>
                <a:gd name="connsiteX28" fmla="*/ 0 w 1489775"/>
                <a:gd name="connsiteY28" fmla="*/ 1030958 h 3923699"/>
                <a:gd name="connsiteX29" fmla="*/ 280204 w 1489775"/>
                <a:gd name="connsiteY29" fmla="*/ 750754 h 3923699"/>
                <a:gd name="connsiteX30" fmla="*/ 744888 w 1489775"/>
                <a:gd name="connsiteY30" fmla="*/ 0 h 3923699"/>
                <a:gd name="connsiteX31" fmla="*/ 1082199 w 1489775"/>
                <a:gd name="connsiteY31" fmla="*/ 337311 h 3923699"/>
                <a:gd name="connsiteX32" fmla="*/ 744888 w 1489775"/>
                <a:gd name="connsiteY32" fmla="*/ 674622 h 3923699"/>
                <a:gd name="connsiteX33" fmla="*/ 407577 w 1489775"/>
                <a:gd name="connsiteY33" fmla="*/ 337311 h 3923699"/>
                <a:gd name="connsiteX34" fmla="*/ 744888 w 1489775"/>
                <a:gd name="connsiteY34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2238914 h 3923699"/>
                <a:gd name="connsiteX20" fmla="*/ 330887 w 1489775"/>
                <a:gd name="connsiteY20" fmla="*/ 1390678 h 3923699"/>
                <a:gd name="connsiteX21" fmla="*/ 288033 w 1489775"/>
                <a:gd name="connsiteY21" fmla="*/ 1390678 h 3923699"/>
                <a:gd name="connsiteX22" fmla="*/ 288033 w 1489775"/>
                <a:gd name="connsiteY22" fmla="*/ 2063902 h 3923699"/>
                <a:gd name="connsiteX23" fmla="*/ 144017 w 1489775"/>
                <a:gd name="connsiteY23" fmla="*/ 2207918 h 3923699"/>
                <a:gd name="connsiteX24" fmla="*/ 1 w 1489775"/>
                <a:gd name="connsiteY24" fmla="*/ 2063902 h 3923699"/>
                <a:gd name="connsiteX25" fmla="*/ 1 w 1489775"/>
                <a:gd name="connsiteY25" fmla="*/ 1390678 h 3923699"/>
                <a:gd name="connsiteX26" fmla="*/ 0 w 1489775"/>
                <a:gd name="connsiteY26" fmla="*/ 1390678 h 3923699"/>
                <a:gd name="connsiteX27" fmla="*/ 0 w 1489775"/>
                <a:gd name="connsiteY27" fmla="*/ 1030958 h 3923699"/>
                <a:gd name="connsiteX28" fmla="*/ 280204 w 1489775"/>
                <a:gd name="connsiteY28" fmla="*/ 750754 h 3923699"/>
                <a:gd name="connsiteX29" fmla="*/ 744888 w 1489775"/>
                <a:gd name="connsiteY29" fmla="*/ 0 h 3923699"/>
                <a:gd name="connsiteX30" fmla="*/ 1082199 w 1489775"/>
                <a:gd name="connsiteY30" fmla="*/ 337311 h 3923699"/>
                <a:gd name="connsiteX31" fmla="*/ 744888 w 1489775"/>
                <a:gd name="connsiteY31" fmla="*/ 674622 h 3923699"/>
                <a:gd name="connsiteX32" fmla="*/ 407577 w 1489775"/>
                <a:gd name="connsiteY32" fmla="*/ 337311 h 3923699"/>
                <a:gd name="connsiteX33" fmla="*/ 744888 w 1489775"/>
                <a:gd name="connsiteY33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1390678 h 3923699"/>
                <a:gd name="connsiteX20" fmla="*/ 288033 w 1489775"/>
                <a:gd name="connsiteY20" fmla="*/ 1390678 h 3923699"/>
                <a:gd name="connsiteX21" fmla="*/ 288033 w 1489775"/>
                <a:gd name="connsiteY21" fmla="*/ 2063902 h 3923699"/>
                <a:gd name="connsiteX22" fmla="*/ 144017 w 1489775"/>
                <a:gd name="connsiteY22" fmla="*/ 2207918 h 3923699"/>
                <a:gd name="connsiteX23" fmla="*/ 1 w 1489775"/>
                <a:gd name="connsiteY23" fmla="*/ 2063902 h 3923699"/>
                <a:gd name="connsiteX24" fmla="*/ 1 w 1489775"/>
                <a:gd name="connsiteY24" fmla="*/ 1390678 h 3923699"/>
                <a:gd name="connsiteX25" fmla="*/ 0 w 1489775"/>
                <a:gd name="connsiteY25" fmla="*/ 1390678 h 3923699"/>
                <a:gd name="connsiteX26" fmla="*/ 0 w 1489775"/>
                <a:gd name="connsiteY26" fmla="*/ 1030958 h 3923699"/>
                <a:gd name="connsiteX27" fmla="*/ 280204 w 1489775"/>
                <a:gd name="connsiteY27" fmla="*/ 750754 h 3923699"/>
                <a:gd name="connsiteX28" fmla="*/ 744888 w 1489775"/>
                <a:gd name="connsiteY28" fmla="*/ 0 h 3923699"/>
                <a:gd name="connsiteX29" fmla="*/ 1082199 w 1489775"/>
                <a:gd name="connsiteY29" fmla="*/ 337311 h 3923699"/>
                <a:gd name="connsiteX30" fmla="*/ 744888 w 1489775"/>
                <a:gd name="connsiteY30" fmla="*/ 674622 h 3923699"/>
                <a:gd name="connsiteX31" fmla="*/ 407577 w 1489775"/>
                <a:gd name="connsiteY31" fmla="*/ 337311 h 3923699"/>
                <a:gd name="connsiteX32" fmla="*/ 744888 w 1489775"/>
                <a:gd name="connsiteY32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30887 w 1489775"/>
                <a:gd name="connsiteY18" fmla="*/ 1390678 h 3923699"/>
                <a:gd name="connsiteX19" fmla="*/ 288033 w 1489775"/>
                <a:gd name="connsiteY19" fmla="*/ 1390678 h 3923699"/>
                <a:gd name="connsiteX20" fmla="*/ 288033 w 1489775"/>
                <a:gd name="connsiteY20" fmla="*/ 2063902 h 3923699"/>
                <a:gd name="connsiteX21" fmla="*/ 144017 w 1489775"/>
                <a:gd name="connsiteY21" fmla="*/ 2207918 h 3923699"/>
                <a:gd name="connsiteX22" fmla="*/ 1 w 1489775"/>
                <a:gd name="connsiteY22" fmla="*/ 2063902 h 3923699"/>
                <a:gd name="connsiteX23" fmla="*/ 1 w 1489775"/>
                <a:gd name="connsiteY23" fmla="*/ 1390678 h 3923699"/>
                <a:gd name="connsiteX24" fmla="*/ 0 w 1489775"/>
                <a:gd name="connsiteY24" fmla="*/ 1390678 h 3923699"/>
                <a:gd name="connsiteX25" fmla="*/ 0 w 1489775"/>
                <a:gd name="connsiteY25" fmla="*/ 1030958 h 3923699"/>
                <a:gd name="connsiteX26" fmla="*/ 280204 w 1489775"/>
                <a:gd name="connsiteY26" fmla="*/ 750754 h 3923699"/>
                <a:gd name="connsiteX27" fmla="*/ 744888 w 1489775"/>
                <a:gd name="connsiteY27" fmla="*/ 0 h 3923699"/>
                <a:gd name="connsiteX28" fmla="*/ 1082199 w 1489775"/>
                <a:gd name="connsiteY28" fmla="*/ 337311 h 3923699"/>
                <a:gd name="connsiteX29" fmla="*/ 744888 w 1489775"/>
                <a:gd name="connsiteY29" fmla="*/ 674622 h 3923699"/>
                <a:gd name="connsiteX30" fmla="*/ 407577 w 1489775"/>
                <a:gd name="connsiteY30" fmla="*/ 337311 h 3923699"/>
                <a:gd name="connsiteX31" fmla="*/ 744888 w 1489775"/>
                <a:gd name="connsiteY31" fmla="*/ 0 h 392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89775" h="3923699">
                  <a:moveTo>
                    <a:pt x="280204" y="750754"/>
                  </a:moveTo>
                  <a:lnTo>
                    <a:pt x="1209570" y="750754"/>
                  </a:lnTo>
                  <a:cubicBezTo>
                    <a:pt x="1364322" y="750754"/>
                    <a:pt x="1489774" y="876206"/>
                    <a:pt x="1489774" y="1030958"/>
                  </a:cubicBezTo>
                  <a:lnTo>
                    <a:pt x="1489774" y="1293518"/>
                  </a:lnTo>
                  <a:lnTo>
                    <a:pt x="1489775" y="1293518"/>
                  </a:lnTo>
                  <a:lnTo>
                    <a:pt x="1489775" y="2063902"/>
                  </a:lnTo>
                  <a:cubicBezTo>
                    <a:pt x="1489775" y="2143440"/>
                    <a:pt x="1425297" y="2207918"/>
                    <a:pt x="1345759" y="2207918"/>
                  </a:cubicBezTo>
                  <a:cubicBezTo>
                    <a:pt x="1266221" y="2207918"/>
                    <a:pt x="1201743" y="2143440"/>
                    <a:pt x="1201743" y="2063902"/>
                  </a:cubicBezTo>
                  <a:lnTo>
                    <a:pt x="1201743" y="1390678"/>
                  </a:lnTo>
                  <a:lnTo>
                    <a:pt x="1158887" y="1390678"/>
                  </a:lnTo>
                  <a:cubicBezTo>
                    <a:pt x="1156542" y="2175018"/>
                    <a:pt x="1154198" y="2959359"/>
                    <a:pt x="1151853" y="3743699"/>
                  </a:cubicBezTo>
                  <a:cubicBezTo>
                    <a:pt x="1151853" y="3843110"/>
                    <a:pt x="1071264" y="3923699"/>
                    <a:pt x="971853" y="3923699"/>
                  </a:cubicBezTo>
                  <a:cubicBezTo>
                    <a:pt x="872442" y="3923699"/>
                    <a:pt x="791853" y="3843110"/>
                    <a:pt x="791853" y="3743699"/>
                  </a:cubicBezTo>
                  <a:lnTo>
                    <a:pt x="791853" y="2305078"/>
                  </a:lnTo>
                  <a:lnTo>
                    <a:pt x="683854" y="2305078"/>
                  </a:lnTo>
                  <a:lnTo>
                    <a:pt x="683854" y="3743698"/>
                  </a:lnTo>
                  <a:cubicBezTo>
                    <a:pt x="683854" y="3843109"/>
                    <a:pt x="603265" y="3923698"/>
                    <a:pt x="503854" y="3923698"/>
                  </a:cubicBezTo>
                  <a:cubicBezTo>
                    <a:pt x="404443" y="3923698"/>
                    <a:pt x="323854" y="3843109"/>
                    <a:pt x="323854" y="3743698"/>
                  </a:cubicBezTo>
                  <a:cubicBezTo>
                    <a:pt x="326198" y="2959358"/>
                    <a:pt x="328543" y="2175018"/>
                    <a:pt x="330887" y="1390678"/>
                  </a:cubicBezTo>
                  <a:lnTo>
                    <a:pt x="288033" y="1390678"/>
                  </a:lnTo>
                  <a:lnTo>
                    <a:pt x="288033" y="2063902"/>
                  </a:lnTo>
                  <a:cubicBezTo>
                    <a:pt x="288033" y="2143440"/>
                    <a:pt x="223555" y="2207918"/>
                    <a:pt x="144017" y="2207918"/>
                  </a:cubicBezTo>
                  <a:cubicBezTo>
                    <a:pt x="64479" y="2207918"/>
                    <a:pt x="1" y="2143440"/>
                    <a:pt x="1" y="2063902"/>
                  </a:cubicBezTo>
                  <a:lnTo>
                    <a:pt x="1" y="1390678"/>
                  </a:lnTo>
                  <a:lnTo>
                    <a:pt x="0" y="1390678"/>
                  </a:lnTo>
                  <a:lnTo>
                    <a:pt x="0" y="1030958"/>
                  </a:lnTo>
                  <a:cubicBezTo>
                    <a:pt x="0" y="876206"/>
                    <a:pt x="125452" y="750754"/>
                    <a:pt x="280204" y="750754"/>
                  </a:cubicBezTo>
                  <a:close/>
                  <a:moveTo>
                    <a:pt x="744888" y="0"/>
                  </a:moveTo>
                  <a:cubicBezTo>
                    <a:pt x="931180" y="0"/>
                    <a:pt x="1082199" y="151019"/>
                    <a:pt x="1082199" y="337311"/>
                  </a:cubicBezTo>
                  <a:cubicBezTo>
                    <a:pt x="1082199" y="523603"/>
                    <a:pt x="931180" y="674622"/>
                    <a:pt x="744888" y="674622"/>
                  </a:cubicBezTo>
                  <a:cubicBezTo>
                    <a:pt x="558596" y="674622"/>
                    <a:pt x="407577" y="523603"/>
                    <a:pt x="407577" y="337311"/>
                  </a:cubicBezTo>
                  <a:cubicBezTo>
                    <a:pt x="407577" y="151019"/>
                    <a:pt x="558596" y="0"/>
                    <a:pt x="74488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3" name="Round Same Side Corner Rectangle 8">
              <a:extLst>
                <a:ext uri="{FF2B5EF4-FFF2-40B4-BE49-F238E27FC236}">
                  <a16:creationId xmlns:a16="http://schemas.microsoft.com/office/drawing/2014/main" xmlns="" id="{BBA0F34A-2956-4F67-B9C8-28B756770509}"/>
                </a:ext>
              </a:extLst>
            </p:cNvPr>
            <p:cNvSpPr/>
            <p:nvPr/>
          </p:nvSpPr>
          <p:spPr>
            <a:xfrm>
              <a:off x="9767004" y="5457710"/>
              <a:ext cx="298633" cy="786525"/>
            </a:xfrm>
            <a:custGeom>
              <a:avLst/>
              <a:gdLst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8887 w 1489775"/>
                <a:gd name="connsiteY10" fmla="*/ 2305078 h 3923699"/>
                <a:gd name="connsiteX11" fmla="*/ 1151853 w 1489775"/>
                <a:gd name="connsiteY11" fmla="*/ 3743699 h 3923699"/>
                <a:gd name="connsiteX12" fmla="*/ 971853 w 1489775"/>
                <a:gd name="connsiteY12" fmla="*/ 3923699 h 3923699"/>
                <a:gd name="connsiteX13" fmla="*/ 791853 w 1489775"/>
                <a:gd name="connsiteY13" fmla="*/ 3743699 h 3923699"/>
                <a:gd name="connsiteX14" fmla="*/ 791853 w 1489775"/>
                <a:gd name="connsiteY14" fmla="*/ 2305078 h 3923699"/>
                <a:gd name="connsiteX15" fmla="*/ 683854 w 1489775"/>
                <a:gd name="connsiteY15" fmla="*/ 2305078 h 3923699"/>
                <a:gd name="connsiteX16" fmla="*/ 683854 w 1489775"/>
                <a:gd name="connsiteY16" fmla="*/ 3743698 h 3923699"/>
                <a:gd name="connsiteX17" fmla="*/ 503854 w 1489775"/>
                <a:gd name="connsiteY17" fmla="*/ 3923698 h 3923699"/>
                <a:gd name="connsiteX18" fmla="*/ 323854 w 1489775"/>
                <a:gd name="connsiteY18" fmla="*/ 3743698 h 3923699"/>
                <a:gd name="connsiteX19" fmla="*/ 323854 w 1489775"/>
                <a:gd name="connsiteY19" fmla="*/ 2238914 h 3923699"/>
                <a:gd name="connsiteX20" fmla="*/ 330887 w 1489775"/>
                <a:gd name="connsiteY20" fmla="*/ 2238914 h 3923699"/>
                <a:gd name="connsiteX21" fmla="*/ 330887 w 1489775"/>
                <a:gd name="connsiteY21" fmla="*/ 1390678 h 3923699"/>
                <a:gd name="connsiteX22" fmla="*/ 288033 w 1489775"/>
                <a:gd name="connsiteY22" fmla="*/ 1390678 h 3923699"/>
                <a:gd name="connsiteX23" fmla="*/ 288033 w 1489775"/>
                <a:gd name="connsiteY23" fmla="*/ 2063902 h 3923699"/>
                <a:gd name="connsiteX24" fmla="*/ 144017 w 1489775"/>
                <a:gd name="connsiteY24" fmla="*/ 2207918 h 3923699"/>
                <a:gd name="connsiteX25" fmla="*/ 1 w 1489775"/>
                <a:gd name="connsiteY25" fmla="*/ 2063902 h 3923699"/>
                <a:gd name="connsiteX26" fmla="*/ 1 w 1489775"/>
                <a:gd name="connsiteY26" fmla="*/ 1390678 h 3923699"/>
                <a:gd name="connsiteX27" fmla="*/ 0 w 1489775"/>
                <a:gd name="connsiteY27" fmla="*/ 1390678 h 3923699"/>
                <a:gd name="connsiteX28" fmla="*/ 0 w 1489775"/>
                <a:gd name="connsiteY28" fmla="*/ 1030958 h 3923699"/>
                <a:gd name="connsiteX29" fmla="*/ 280204 w 1489775"/>
                <a:gd name="connsiteY29" fmla="*/ 750754 h 3923699"/>
                <a:gd name="connsiteX30" fmla="*/ 744888 w 1489775"/>
                <a:gd name="connsiteY30" fmla="*/ 0 h 3923699"/>
                <a:gd name="connsiteX31" fmla="*/ 1082199 w 1489775"/>
                <a:gd name="connsiteY31" fmla="*/ 337311 h 3923699"/>
                <a:gd name="connsiteX32" fmla="*/ 744888 w 1489775"/>
                <a:gd name="connsiteY32" fmla="*/ 674622 h 3923699"/>
                <a:gd name="connsiteX33" fmla="*/ 407577 w 1489775"/>
                <a:gd name="connsiteY33" fmla="*/ 337311 h 3923699"/>
                <a:gd name="connsiteX34" fmla="*/ 744888 w 1489775"/>
                <a:gd name="connsiteY34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2238914 h 3923699"/>
                <a:gd name="connsiteX20" fmla="*/ 330887 w 1489775"/>
                <a:gd name="connsiteY20" fmla="*/ 1390678 h 3923699"/>
                <a:gd name="connsiteX21" fmla="*/ 288033 w 1489775"/>
                <a:gd name="connsiteY21" fmla="*/ 1390678 h 3923699"/>
                <a:gd name="connsiteX22" fmla="*/ 288033 w 1489775"/>
                <a:gd name="connsiteY22" fmla="*/ 2063902 h 3923699"/>
                <a:gd name="connsiteX23" fmla="*/ 144017 w 1489775"/>
                <a:gd name="connsiteY23" fmla="*/ 2207918 h 3923699"/>
                <a:gd name="connsiteX24" fmla="*/ 1 w 1489775"/>
                <a:gd name="connsiteY24" fmla="*/ 2063902 h 3923699"/>
                <a:gd name="connsiteX25" fmla="*/ 1 w 1489775"/>
                <a:gd name="connsiteY25" fmla="*/ 1390678 h 3923699"/>
                <a:gd name="connsiteX26" fmla="*/ 0 w 1489775"/>
                <a:gd name="connsiteY26" fmla="*/ 1390678 h 3923699"/>
                <a:gd name="connsiteX27" fmla="*/ 0 w 1489775"/>
                <a:gd name="connsiteY27" fmla="*/ 1030958 h 3923699"/>
                <a:gd name="connsiteX28" fmla="*/ 280204 w 1489775"/>
                <a:gd name="connsiteY28" fmla="*/ 750754 h 3923699"/>
                <a:gd name="connsiteX29" fmla="*/ 744888 w 1489775"/>
                <a:gd name="connsiteY29" fmla="*/ 0 h 3923699"/>
                <a:gd name="connsiteX30" fmla="*/ 1082199 w 1489775"/>
                <a:gd name="connsiteY30" fmla="*/ 337311 h 3923699"/>
                <a:gd name="connsiteX31" fmla="*/ 744888 w 1489775"/>
                <a:gd name="connsiteY31" fmla="*/ 674622 h 3923699"/>
                <a:gd name="connsiteX32" fmla="*/ 407577 w 1489775"/>
                <a:gd name="connsiteY32" fmla="*/ 337311 h 3923699"/>
                <a:gd name="connsiteX33" fmla="*/ 744888 w 1489775"/>
                <a:gd name="connsiteY33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1390678 h 3923699"/>
                <a:gd name="connsiteX20" fmla="*/ 288033 w 1489775"/>
                <a:gd name="connsiteY20" fmla="*/ 1390678 h 3923699"/>
                <a:gd name="connsiteX21" fmla="*/ 288033 w 1489775"/>
                <a:gd name="connsiteY21" fmla="*/ 2063902 h 3923699"/>
                <a:gd name="connsiteX22" fmla="*/ 144017 w 1489775"/>
                <a:gd name="connsiteY22" fmla="*/ 2207918 h 3923699"/>
                <a:gd name="connsiteX23" fmla="*/ 1 w 1489775"/>
                <a:gd name="connsiteY23" fmla="*/ 2063902 h 3923699"/>
                <a:gd name="connsiteX24" fmla="*/ 1 w 1489775"/>
                <a:gd name="connsiteY24" fmla="*/ 1390678 h 3923699"/>
                <a:gd name="connsiteX25" fmla="*/ 0 w 1489775"/>
                <a:gd name="connsiteY25" fmla="*/ 1390678 h 3923699"/>
                <a:gd name="connsiteX26" fmla="*/ 0 w 1489775"/>
                <a:gd name="connsiteY26" fmla="*/ 1030958 h 3923699"/>
                <a:gd name="connsiteX27" fmla="*/ 280204 w 1489775"/>
                <a:gd name="connsiteY27" fmla="*/ 750754 h 3923699"/>
                <a:gd name="connsiteX28" fmla="*/ 744888 w 1489775"/>
                <a:gd name="connsiteY28" fmla="*/ 0 h 3923699"/>
                <a:gd name="connsiteX29" fmla="*/ 1082199 w 1489775"/>
                <a:gd name="connsiteY29" fmla="*/ 337311 h 3923699"/>
                <a:gd name="connsiteX30" fmla="*/ 744888 w 1489775"/>
                <a:gd name="connsiteY30" fmla="*/ 674622 h 3923699"/>
                <a:gd name="connsiteX31" fmla="*/ 407577 w 1489775"/>
                <a:gd name="connsiteY31" fmla="*/ 337311 h 3923699"/>
                <a:gd name="connsiteX32" fmla="*/ 744888 w 1489775"/>
                <a:gd name="connsiteY32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30887 w 1489775"/>
                <a:gd name="connsiteY18" fmla="*/ 1390678 h 3923699"/>
                <a:gd name="connsiteX19" fmla="*/ 288033 w 1489775"/>
                <a:gd name="connsiteY19" fmla="*/ 1390678 h 3923699"/>
                <a:gd name="connsiteX20" fmla="*/ 288033 w 1489775"/>
                <a:gd name="connsiteY20" fmla="*/ 2063902 h 3923699"/>
                <a:gd name="connsiteX21" fmla="*/ 144017 w 1489775"/>
                <a:gd name="connsiteY21" fmla="*/ 2207918 h 3923699"/>
                <a:gd name="connsiteX22" fmla="*/ 1 w 1489775"/>
                <a:gd name="connsiteY22" fmla="*/ 2063902 h 3923699"/>
                <a:gd name="connsiteX23" fmla="*/ 1 w 1489775"/>
                <a:gd name="connsiteY23" fmla="*/ 1390678 h 3923699"/>
                <a:gd name="connsiteX24" fmla="*/ 0 w 1489775"/>
                <a:gd name="connsiteY24" fmla="*/ 1390678 h 3923699"/>
                <a:gd name="connsiteX25" fmla="*/ 0 w 1489775"/>
                <a:gd name="connsiteY25" fmla="*/ 1030958 h 3923699"/>
                <a:gd name="connsiteX26" fmla="*/ 280204 w 1489775"/>
                <a:gd name="connsiteY26" fmla="*/ 750754 h 3923699"/>
                <a:gd name="connsiteX27" fmla="*/ 744888 w 1489775"/>
                <a:gd name="connsiteY27" fmla="*/ 0 h 3923699"/>
                <a:gd name="connsiteX28" fmla="*/ 1082199 w 1489775"/>
                <a:gd name="connsiteY28" fmla="*/ 337311 h 3923699"/>
                <a:gd name="connsiteX29" fmla="*/ 744888 w 1489775"/>
                <a:gd name="connsiteY29" fmla="*/ 674622 h 3923699"/>
                <a:gd name="connsiteX30" fmla="*/ 407577 w 1489775"/>
                <a:gd name="connsiteY30" fmla="*/ 337311 h 3923699"/>
                <a:gd name="connsiteX31" fmla="*/ 744888 w 1489775"/>
                <a:gd name="connsiteY31" fmla="*/ 0 h 392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89775" h="3923699">
                  <a:moveTo>
                    <a:pt x="280204" y="750754"/>
                  </a:moveTo>
                  <a:lnTo>
                    <a:pt x="1209570" y="750754"/>
                  </a:lnTo>
                  <a:cubicBezTo>
                    <a:pt x="1364322" y="750754"/>
                    <a:pt x="1489774" y="876206"/>
                    <a:pt x="1489774" y="1030958"/>
                  </a:cubicBezTo>
                  <a:lnTo>
                    <a:pt x="1489774" y="1293518"/>
                  </a:lnTo>
                  <a:lnTo>
                    <a:pt x="1489775" y="1293518"/>
                  </a:lnTo>
                  <a:lnTo>
                    <a:pt x="1489775" y="2063902"/>
                  </a:lnTo>
                  <a:cubicBezTo>
                    <a:pt x="1489775" y="2143440"/>
                    <a:pt x="1425297" y="2207918"/>
                    <a:pt x="1345759" y="2207918"/>
                  </a:cubicBezTo>
                  <a:cubicBezTo>
                    <a:pt x="1266221" y="2207918"/>
                    <a:pt x="1201743" y="2143440"/>
                    <a:pt x="1201743" y="2063902"/>
                  </a:cubicBezTo>
                  <a:lnTo>
                    <a:pt x="1201743" y="1390678"/>
                  </a:lnTo>
                  <a:lnTo>
                    <a:pt x="1158887" y="1390678"/>
                  </a:lnTo>
                  <a:cubicBezTo>
                    <a:pt x="1156542" y="2175018"/>
                    <a:pt x="1154198" y="2959359"/>
                    <a:pt x="1151853" y="3743699"/>
                  </a:cubicBezTo>
                  <a:cubicBezTo>
                    <a:pt x="1151853" y="3843110"/>
                    <a:pt x="1071264" y="3923699"/>
                    <a:pt x="971853" y="3923699"/>
                  </a:cubicBezTo>
                  <a:cubicBezTo>
                    <a:pt x="872442" y="3923699"/>
                    <a:pt x="791853" y="3843110"/>
                    <a:pt x="791853" y="3743699"/>
                  </a:cubicBezTo>
                  <a:lnTo>
                    <a:pt x="791853" y="2305078"/>
                  </a:lnTo>
                  <a:lnTo>
                    <a:pt x="683854" y="2305078"/>
                  </a:lnTo>
                  <a:lnTo>
                    <a:pt x="683854" y="3743698"/>
                  </a:lnTo>
                  <a:cubicBezTo>
                    <a:pt x="683854" y="3843109"/>
                    <a:pt x="603265" y="3923698"/>
                    <a:pt x="503854" y="3923698"/>
                  </a:cubicBezTo>
                  <a:cubicBezTo>
                    <a:pt x="404443" y="3923698"/>
                    <a:pt x="323854" y="3843109"/>
                    <a:pt x="323854" y="3743698"/>
                  </a:cubicBezTo>
                  <a:cubicBezTo>
                    <a:pt x="326198" y="2959358"/>
                    <a:pt x="328543" y="2175018"/>
                    <a:pt x="330887" y="1390678"/>
                  </a:cubicBezTo>
                  <a:lnTo>
                    <a:pt x="288033" y="1390678"/>
                  </a:lnTo>
                  <a:lnTo>
                    <a:pt x="288033" y="2063902"/>
                  </a:lnTo>
                  <a:cubicBezTo>
                    <a:pt x="288033" y="2143440"/>
                    <a:pt x="223555" y="2207918"/>
                    <a:pt x="144017" y="2207918"/>
                  </a:cubicBezTo>
                  <a:cubicBezTo>
                    <a:pt x="64479" y="2207918"/>
                    <a:pt x="1" y="2143440"/>
                    <a:pt x="1" y="2063902"/>
                  </a:cubicBezTo>
                  <a:lnTo>
                    <a:pt x="1" y="1390678"/>
                  </a:lnTo>
                  <a:lnTo>
                    <a:pt x="0" y="1390678"/>
                  </a:lnTo>
                  <a:lnTo>
                    <a:pt x="0" y="1030958"/>
                  </a:lnTo>
                  <a:cubicBezTo>
                    <a:pt x="0" y="876206"/>
                    <a:pt x="125452" y="750754"/>
                    <a:pt x="280204" y="750754"/>
                  </a:cubicBezTo>
                  <a:close/>
                  <a:moveTo>
                    <a:pt x="744888" y="0"/>
                  </a:moveTo>
                  <a:cubicBezTo>
                    <a:pt x="931180" y="0"/>
                    <a:pt x="1082199" y="151019"/>
                    <a:pt x="1082199" y="337311"/>
                  </a:cubicBezTo>
                  <a:cubicBezTo>
                    <a:pt x="1082199" y="523603"/>
                    <a:pt x="931180" y="674622"/>
                    <a:pt x="744888" y="674622"/>
                  </a:cubicBezTo>
                  <a:cubicBezTo>
                    <a:pt x="558596" y="674622"/>
                    <a:pt x="407577" y="523603"/>
                    <a:pt x="407577" y="337311"/>
                  </a:cubicBezTo>
                  <a:cubicBezTo>
                    <a:pt x="407577" y="151019"/>
                    <a:pt x="558596" y="0"/>
                    <a:pt x="74488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4" name="Round Same Side Corner Rectangle 8">
              <a:extLst>
                <a:ext uri="{FF2B5EF4-FFF2-40B4-BE49-F238E27FC236}">
                  <a16:creationId xmlns:a16="http://schemas.microsoft.com/office/drawing/2014/main" xmlns="" id="{7C4F1331-6449-4881-88FC-9A03B13606AD}"/>
                </a:ext>
              </a:extLst>
            </p:cNvPr>
            <p:cNvSpPr/>
            <p:nvPr/>
          </p:nvSpPr>
          <p:spPr>
            <a:xfrm>
              <a:off x="10222813" y="5457710"/>
              <a:ext cx="298633" cy="786525"/>
            </a:xfrm>
            <a:custGeom>
              <a:avLst/>
              <a:gdLst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8887 w 1489775"/>
                <a:gd name="connsiteY10" fmla="*/ 2305078 h 3923699"/>
                <a:gd name="connsiteX11" fmla="*/ 1151853 w 1489775"/>
                <a:gd name="connsiteY11" fmla="*/ 3743699 h 3923699"/>
                <a:gd name="connsiteX12" fmla="*/ 971853 w 1489775"/>
                <a:gd name="connsiteY12" fmla="*/ 3923699 h 3923699"/>
                <a:gd name="connsiteX13" fmla="*/ 791853 w 1489775"/>
                <a:gd name="connsiteY13" fmla="*/ 3743699 h 3923699"/>
                <a:gd name="connsiteX14" fmla="*/ 791853 w 1489775"/>
                <a:gd name="connsiteY14" fmla="*/ 2305078 h 3923699"/>
                <a:gd name="connsiteX15" fmla="*/ 683854 w 1489775"/>
                <a:gd name="connsiteY15" fmla="*/ 2305078 h 3923699"/>
                <a:gd name="connsiteX16" fmla="*/ 683854 w 1489775"/>
                <a:gd name="connsiteY16" fmla="*/ 3743698 h 3923699"/>
                <a:gd name="connsiteX17" fmla="*/ 503854 w 1489775"/>
                <a:gd name="connsiteY17" fmla="*/ 3923698 h 3923699"/>
                <a:gd name="connsiteX18" fmla="*/ 323854 w 1489775"/>
                <a:gd name="connsiteY18" fmla="*/ 3743698 h 3923699"/>
                <a:gd name="connsiteX19" fmla="*/ 323854 w 1489775"/>
                <a:gd name="connsiteY19" fmla="*/ 2238914 h 3923699"/>
                <a:gd name="connsiteX20" fmla="*/ 330887 w 1489775"/>
                <a:gd name="connsiteY20" fmla="*/ 2238914 h 3923699"/>
                <a:gd name="connsiteX21" fmla="*/ 330887 w 1489775"/>
                <a:gd name="connsiteY21" fmla="*/ 1390678 h 3923699"/>
                <a:gd name="connsiteX22" fmla="*/ 288033 w 1489775"/>
                <a:gd name="connsiteY22" fmla="*/ 1390678 h 3923699"/>
                <a:gd name="connsiteX23" fmla="*/ 288033 w 1489775"/>
                <a:gd name="connsiteY23" fmla="*/ 2063902 h 3923699"/>
                <a:gd name="connsiteX24" fmla="*/ 144017 w 1489775"/>
                <a:gd name="connsiteY24" fmla="*/ 2207918 h 3923699"/>
                <a:gd name="connsiteX25" fmla="*/ 1 w 1489775"/>
                <a:gd name="connsiteY25" fmla="*/ 2063902 h 3923699"/>
                <a:gd name="connsiteX26" fmla="*/ 1 w 1489775"/>
                <a:gd name="connsiteY26" fmla="*/ 1390678 h 3923699"/>
                <a:gd name="connsiteX27" fmla="*/ 0 w 1489775"/>
                <a:gd name="connsiteY27" fmla="*/ 1390678 h 3923699"/>
                <a:gd name="connsiteX28" fmla="*/ 0 w 1489775"/>
                <a:gd name="connsiteY28" fmla="*/ 1030958 h 3923699"/>
                <a:gd name="connsiteX29" fmla="*/ 280204 w 1489775"/>
                <a:gd name="connsiteY29" fmla="*/ 750754 h 3923699"/>
                <a:gd name="connsiteX30" fmla="*/ 744888 w 1489775"/>
                <a:gd name="connsiteY30" fmla="*/ 0 h 3923699"/>
                <a:gd name="connsiteX31" fmla="*/ 1082199 w 1489775"/>
                <a:gd name="connsiteY31" fmla="*/ 337311 h 3923699"/>
                <a:gd name="connsiteX32" fmla="*/ 744888 w 1489775"/>
                <a:gd name="connsiteY32" fmla="*/ 674622 h 3923699"/>
                <a:gd name="connsiteX33" fmla="*/ 407577 w 1489775"/>
                <a:gd name="connsiteY33" fmla="*/ 337311 h 3923699"/>
                <a:gd name="connsiteX34" fmla="*/ 744888 w 1489775"/>
                <a:gd name="connsiteY34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2238914 h 3923699"/>
                <a:gd name="connsiteX20" fmla="*/ 330887 w 1489775"/>
                <a:gd name="connsiteY20" fmla="*/ 1390678 h 3923699"/>
                <a:gd name="connsiteX21" fmla="*/ 288033 w 1489775"/>
                <a:gd name="connsiteY21" fmla="*/ 1390678 h 3923699"/>
                <a:gd name="connsiteX22" fmla="*/ 288033 w 1489775"/>
                <a:gd name="connsiteY22" fmla="*/ 2063902 h 3923699"/>
                <a:gd name="connsiteX23" fmla="*/ 144017 w 1489775"/>
                <a:gd name="connsiteY23" fmla="*/ 2207918 h 3923699"/>
                <a:gd name="connsiteX24" fmla="*/ 1 w 1489775"/>
                <a:gd name="connsiteY24" fmla="*/ 2063902 h 3923699"/>
                <a:gd name="connsiteX25" fmla="*/ 1 w 1489775"/>
                <a:gd name="connsiteY25" fmla="*/ 1390678 h 3923699"/>
                <a:gd name="connsiteX26" fmla="*/ 0 w 1489775"/>
                <a:gd name="connsiteY26" fmla="*/ 1390678 h 3923699"/>
                <a:gd name="connsiteX27" fmla="*/ 0 w 1489775"/>
                <a:gd name="connsiteY27" fmla="*/ 1030958 h 3923699"/>
                <a:gd name="connsiteX28" fmla="*/ 280204 w 1489775"/>
                <a:gd name="connsiteY28" fmla="*/ 750754 h 3923699"/>
                <a:gd name="connsiteX29" fmla="*/ 744888 w 1489775"/>
                <a:gd name="connsiteY29" fmla="*/ 0 h 3923699"/>
                <a:gd name="connsiteX30" fmla="*/ 1082199 w 1489775"/>
                <a:gd name="connsiteY30" fmla="*/ 337311 h 3923699"/>
                <a:gd name="connsiteX31" fmla="*/ 744888 w 1489775"/>
                <a:gd name="connsiteY31" fmla="*/ 674622 h 3923699"/>
                <a:gd name="connsiteX32" fmla="*/ 407577 w 1489775"/>
                <a:gd name="connsiteY32" fmla="*/ 337311 h 3923699"/>
                <a:gd name="connsiteX33" fmla="*/ 744888 w 1489775"/>
                <a:gd name="connsiteY33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1390678 h 3923699"/>
                <a:gd name="connsiteX20" fmla="*/ 288033 w 1489775"/>
                <a:gd name="connsiteY20" fmla="*/ 1390678 h 3923699"/>
                <a:gd name="connsiteX21" fmla="*/ 288033 w 1489775"/>
                <a:gd name="connsiteY21" fmla="*/ 2063902 h 3923699"/>
                <a:gd name="connsiteX22" fmla="*/ 144017 w 1489775"/>
                <a:gd name="connsiteY22" fmla="*/ 2207918 h 3923699"/>
                <a:gd name="connsiteX23" fmla="*/ 1 w 1489775"/>
                <a:gd name="connsiteY23" fmla="*/ 2063902 h 3923699"/>
                <a:gd name="connsiteX24" fmla="*/ 1 w 1489775"/>
                <a:gd name="connsiteY24" fmla="*/ 1390678 h 3923699"/>
                <a:gd name="connsiteX25" fmla="*/ 0 w 1489775"/>
                <a:gd name="connsiteY25" fmla="*/ 1390678 h 3923699"/>
                <a:gd name="connsiteX26" fmla="*/ 0 w 1489775"/>
                <a:gd name="connsiteY26" fmla="*/ 1030958 h 3923699"/>
                <a:gd name="connsiteX27" fmla="*/ 280204 w 1489775"/>
                <a:gd name="connsiteY27" fmla="*/ 750754 h 3923699"/>
                <a:gd name="connsiteX28" fmla="*/ 744888 w 1489775"/>
                <a:gd name="connsiteY28" fmla="*/ 0 h 3923699"/>
                <a:gd name="connsiteX29" fmla="*/ 1082199 w 1489775"/>
                <a:gd name="connsiteY29" fmla="*/ 337311 h 3923699"/>
                <a:gd name="connsiteX30" fmla="*/ 744888 w 1489775"/>
                <a:gd name="connsiteY30" fmla="*/ 674622 h 3923699"/>
                <a:gd name="connsiteX31" fmla="*/ 407577 w 1489775"/>
                <a:gd name="connsiteY31" fmla="*/ 337311 h 3923699"/>
                <a:gd name="connsiteX32" fmla="*/ 744888 w 1489775"/>
                <a:gd name="connsiteY32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30887 w 1489775"/>
                <a:gd name="connsiteY18" fmla="*/ 1390678 h 3923699"/>
                <a:gd name="connsiteX19" fmla="*/ 288033 w 1489775"/>
                <a:gd name="connsiteY19" fmla="*/ 1390678 h 3923699"/>
                <a:gd name="connsiteX20" fmla="*/ 288033 w 1489775"/>
                <a:gd name="connsiteY20" fmla="*/ 2063902 h 3923699"/>
                <a:gd name="connsiteX21" fmla="*/ 144017 w 1489775"/>
                <a:gd name="connsiteY21" fmla="*/ 2207918 h 3923699"/>
                <a:gd name="connsiteX22" fmla="*/ 1 w 1489775"/>
                <a:gd name="connsiteY22" fmla="*/ 2063902 h 3923699"/>
                <a:gd name="connsiteX23" fmla="*/ 1 w 1489775"/>
                <a:gd name="connsiteY23" fmla="*/ 1390678 h 3923699"/>
                <a:gd name="connsiteX24" fmla="*/ 0 w 1489775"/>
                <a:gd name="connsiteY24" fmla="*/ 1390678 h 3923699"/>
                <a:gd name="connsiteX25" fmla="*/ 0 w 1489775"/>
                <a:gd name="connsiteY25" fmla="*/ 1030958 h 3923699"/>
                <a:gd name="connsiteX26" fmla="*/ 280204 w 1489775"/>
                <a:gd name="connsiteY26" fmla="*/ 750754 h 3923699"/>
                <a:gd name="connsiteX27" fmla="*/ 744888 w 1489775"/>
                <a:gd name="connsiteY27" fmla="*/ 0 h 3923699"/>
                <a:gd name="connsiteX28" fmla="*/ 1082199 w 1489775"/>
                <a:gd name="connsiteY28" fmla="*/ 337311 h 3923699"/>
                <a:gd name="connsiteX29" fmla="*/ 744888 w 1489775"/>
                <a:gd name="connsiteY29" fmla="*/ 674622 h 3923699"/>
                <a:gd name="connsiteX30" fmla="*/ 407577 w 1489775"/>
                <a:gd name="connsiteY30" fmla="*/ 337311 h 3923699"/>
                <a:gd name="connsiteX31" fmla="*/ 744888 w 1489775"/>
                <a:gd name="connsiteY31" fmla="*/ 0 h 392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89775" h="3923699">
                  <a:moveTo>
                    <a:pt x="280204" y="750754"/>
                  </a:moveTo>
                  <a:lnTo>
                    <a:pt x="1209570" y="750754"/>
                  </a:lnTo>
                  <a:cubicBezTo>
                    <a:pt x="1364322" y="750754"/>
                    <a:pt x="1489774" y="876206"/>
                    <a:pt x="1489774" y="1030958"/>
                  </a:cubicBezTo>
                  <a:lnTo>
                    <a:pt x="1489774" y="1293518"/>
                  </a:lnTo>
                  <a:lnTo>
                    <a:pt x="1489775" y="1293518"/>
                  </a:lnTo>
                  <a:lnTo>
                    <a:pt x="1489775" y="2063902"/>
                  </a:lnTo>
                  <a:cubicBezTo>
                    <a:pt x="1489775" y="2143440"/>
                    <a:pt x="1425297" y="2207918"/>
                    <a:pt x="1345759" y="2207918"/>
                  </a:cubicBezTo>
                  <a:cubicBezTo>
                    <a:pt x="1266221" y="2207918"/>
                    <a:pt x="1201743" y="2143440"/>
                    <a:pt x="1201743" y="2063902"/>
                  </a:cubicBezTo>
                  <a:lnTo>
                    <a:pt x="1201743" y="1390678"/>
                  </a:lnTo>
                  <a:lnTo>
                    <a:pt x="1158887" y="1390678"/>
                  </a:lnTo>
                  <a:cubicBezTo>
                    <a:pt x="1156542" y="2175018"/>
                    <a:pt x="1154198" y="2959359"/>
                    <a:pt x="1151853" y="3743699"/>
                  </a:cubicBezTo>
                  <a:cubicBezTo>
                    <a:pt x="1151853" y="3843110"/>
                    <a:pt x="1071264" y="3923699"/>
                    <a:pt x="971853" y="3923699"/>
                  </a:cubicBezTo>
                  <a:cubicBezTo>
                    <a:pt x="872442" y="3923699"/>
                    <a:pt x="791853" y="3843110"/>
                    <a:pt x="791853" y="3743699"/>
                  </a:cubicBezTo>
                  <a:lnTo>
                    <a:pt x="791853" y="2305078"/>
                  </a:lnTo>
                  <a:lnTo>
                    <a:pt x="683854" y="2305078"/>
                  </a:lnTo>
                  <a:lnTo>
                    <a:pt x="683854" y="3743698"/>
                  </a:lnTo>
                  <a:cubicBezTo>
                    <a:pt x="683854" y="3843109"/>
                    <a:pt x="603265" y="3923698"/>
                    <a:pt x="503854" y="3923698"/>
                  </a:cubicBezTo>
                  <a:cubicBezTo>
                    <a:pt x="404443" y="3923698"/>
                    <a:pt x="323854" y="3843109"/>
                    <a:pt x="323854" y="3743698"/>
                  </a:cubicBezTo>
                  <a:cubicBezTo>
                    <a:pt x="326198" y="2959358"/>
                    <a:pt x="328543" y="2175018"/>
                    <a:pt x="330887" y="1390678"/>
                  </a:cubicBezTo>
                  <a:lnTo>
                    <a:pt x="288033" y="1390678"/>
                  </a:lnTo>
                  <a:lnTo>
                    <a:pt x="288033" y="2063902"/>
                  </a:lnTo>
                  <a:cubicBezTo>
                    <a:pt x="288033" y="2143440"/>
                    <a:pt x="223555" y="2207918"/>
                    <a:pt x="144017" y="2207918"/>
                  </a:cubicBezTo>
                  <a:cubicBezTo>
                    <a:pt x="64479" y="2207918"/>
                    <a:pt x="1" y="2143440"/>
                    <a:pt x="1" y="2063902"/>
                  </a:cubicBezTo>
                  <a:lnTo>
                    <a:pt x="1" y="1390678"/>
                  </a:lnTo>
                  <a:lnTo>
                    <a:pt x="0" y="1390678"/>
                  </a:lnTo>
                  <a:lnTo>
                    <a:pt x="0" y="1030958"/>
                  </a:lnTo>
                  <a:cubicBezTo>
                    <a:pt x="0" y="876206"/>
                    <a:pt x="125452" y="750754"/>
                    <a:pt x="280204" y="750754"/>
                  </a:cubicBezTo>
                  <a:close/>
                  <a:moveTo>
                    <a:pt x="744888" y="0"/>
                  </a:moveTo>
                  <a:cubicBezTo>
                    <a:pt x="931180" y="0"/>
                    <a:pt x="1082199" y="151019"/>
                    <a:pt x="1082199" y="337311"/>
                  </a:cubicBezTo>
                  <a:cubicBezTo>
                    <a:pt x="1082199" y="523603"/>
                    <a:pt x="931180" y="674622"/>
                    <a:pt x="744888" y="674622"/>
                  </a:cubicBezTo>
                  <a:cubicBezTo>
                    <a:pt x="558596" y="674622"/>
                    <a:pt x="407577" y="523603"/>
                    <a:pt x="407577" y="337311"/>
                  </a:cubicBezTo>
                  <a:cubicBezTo>
                    <a:pt x="407577" y="151019"/>
                    <a:pt x="558596" y="0"/>
                    <a:pt x="74488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8" name="Round Same Side Corner Rectangle 20">
              <a:extLst>
                <a:ext uri="{FF2B5EF4-FFF2-40B4-BE49-F238E27FC236}">
                  <a16:creationId xmlns:a16="http://schemas.microsoft.com/office/drawing/2014/main" xmlns="" id="{99C99156-4871-4895-9D40-9DB054675564}"/>
                </a:ext>
              </a:extLst>
            </p:cNvPr>
            <p:cNvSpPr/>
            <p:nvPr/>
          </p:nvSpPr>
          <p:spPr>
            <a:xfrm rot="10800000">
              <a:off x="8820351" y="4590412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19" name="Round Same Side Corner Rectangle 20">
              <a:extLst>
                <a:ext uri="{FF2B5EF4-FFF2-40B4-BE49-F238E27FC236}">
                  <a16:creationId xmlns:a16="http://schemas.microsoft.com/office/drawing/2014/main" xmlns="" id="{9F63A7F8-4BF3-428D-9B1C-31B37CDCD700}"/>
                </a:ext>
              </a:extLst>
            </p:cNvPr>
            <p:cNvSpPr/>
            <p:nvPr/>
          </p:nvSpPr>
          <p:spPr>
            <a:xfrm rot="10800000">
              <a:off x="9276159" y="4590412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0" name="Round Same Side Corner Rectangle 20">
              <a:extLst>
                <a:ext uri="{FF2B5EF4-FFF2-40B4-BE49-F238E27FC236}">
                  <a16:creationId xmlns:a16="http://schemas.microsoft.com/office/drawing/2014/main" xmlns="" id="{B11D6465-70B3-439E-8961-F04F08D68B73}"/>
                </a:ext>
              </a:extLst>
            </p:cNvPr>
            <p:cNvSpPr/>
            <p:nvPr/>
          </p:nvSpPr>
          <p:spPr>
            <a:xfrm rot="10800000">
              <a:off x="9731968" y="4590412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1" name="Round Same Side Corner Rectangle 20">
              <a:extLst>
                <a:ext uri="{FF2B5EF4-FFF2-40B4-BE49-F238E27FC236}">
                  <a16:creationId xmlns:a16="http://schemas.microsoft.com/office/drawing/2014/main" xmlns="" id="{37FF254E-CB5F-44DE-9A2D-027385D00ED4}"/>
                </a:ext>
              </a:extLst>
            </p:cNvPr>
            <p:cNvSpPr/>
            <p:nvPr/>
          </p:nvSpPr>
          <p:spPr>
            <a:xfrm rot="10800000">
              <a:off x="10187776" y="4590412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B67BAC45-6CC7-40A8-80DC-D80350253226}"/>
              </a:ext>
            </a:extLst>
          </p:cNvPr>
          <p:cNvGrpSpPr/>
          <p:nvPr/>
        </p:nvGrpSpPr>
        <p:grpSpPr>
          <a:xfrm>
            <a:off x="2892739" y="4353746"/>
            <a:ext cx="5917886" cy="1760160"/>
            <a:chOff x="3501215" y="2000090"/>
            <a:chExt cx="4031191" cy="1393307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0F3A795F-CF6F-46F9-909C-925C4150CFD5}"/>
                </a:ext>
              </a:extLst>
            </p:cNvPr>
            <p:cNvSpPr txBox="1"/>
            <p:nvPr/>
          </p:nvSpPr>
          <p:spPr>
            <a:xfrm>
              <a:off x="3507646" y="2297063"/>
              <a:ext cx="4024760" cy="10963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주어진 데이터에서 연령대가 총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8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가지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~H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로 분류되어 있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</a:p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효율적인 시각화 및 마케팅 전략 수립을 위해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8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가지의 그룹을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3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가지의 그룹을 통해 재그룹화를 시켜준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</a:p>
            <a:p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이때 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Clustering(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군집화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)</a:t>
              </a:r>
              <a:r>
                <a:rPr lang="ko-KR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를 이용하여 비슷한 연령대끼리 묶는 방법을 활용한다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.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9E63A3E6-C19A-4D07-AC2F-80A5785372DF}"/>
                </a:ext>
              </a:extLst>
            </p:cNvPr>
            <p:cNvSpPr txBox="1"/>
            <p:nvPr/>
          </p:nvSpPr>
          <p:spPr>
            <a:xfrm>
              <a:off x="3501215" y="2000090"/>
              <a:ext cx="4029840" cy="316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연령대 군집화</a:t>
              </a:r>
              <a:r>
                <a:rPr lang="en-US" altLang="ko-KR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Clustering)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pic>
        <p:nvPicPr>
          <p:cNvPr id="35" name="그림 34">
            <a:extLst>
              <a:ext uri="{FF2B5EF4-FFF2-40B4-BE49-F238E27FC236}">
                <a16:creationId xmlns:a16="http://schemas.microsoft.com/office/drawing/2014/main" xmlns="" id="{C2F21FA7-A195-49D2-AE59-5627FA2B96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05"/>
          <a:stretch/>
        </p:blipFill>
        <p:spPr>
          <a:xfrm>
            <a:off x="2868521" y="1170615"/>
            <a:ext cx="4944713" cy="3002443"/>
          </a:xfrm>
          <a:prstGeom prst="rect">
            <a:avLst/>
          </a:prstGeom>
        </p:spPr>
      </p:pic>
      <p:grpSp>
        <p:nvGrpSpPr>
          <p:cNvPr id="24" name="그룹 23">
            <a:extLst>
              <a:ext uri="{FF2B5EF4-FFF2-40B4-BE49-F238E27FC236}">
                <a16:creationId xmlns:a16="http://schemas.microsoft.com/office/drawing/2014/main" xmlns="" id="{869C315D-D518-41D9-B942-0BD7C658C0F1}"/>
              </a:ext>
            </a:extLst>
          </p:cNvPr>
          <p:cNvGrpSpPr/>
          <p:nvPr/>
        </p:nvGrpSpPr>
        <p:grpSpPr>
          <a:xfrm>
            <a:off x="784629" y="5340785"/>
            <a:ext cx="1219623" cy="786526"/>
            <a:chOff x="331471" y="86557"/>
            <a:chExt cx="1219623" cy="786526"/>
          </a:xfrm>
        </p:grpSpPr>
        <p:sp>
          <p:nvSpPr>
            <p:cNvPr id="16" name="Round Same Side Corner Rectangle 8">
              <a:extLst>
                <a:ext uri="{FF2B5EF4-FFF2-40B4-BE49-F238E27FC236}">
                  <a16:creationId xmlns:a16="http://schemas.microsoft.com/office/drawing/2014/main" xmlns="" id="{1F6B5885-19F5-4150-B48E-97D9C37EA629}"/>
                </a:ext>
              </a:extLst>
            </p:cNvPr>
            <p:cNvSpPr/>
            <p:nvPr/>
          </p:nvSpPr>
          <p:spPr>
            <a:xfrm>
              <a:off x="791966" y="86558"/>
              <a:ext cx="298633" cy="786525"/>
            </a:xfrm>
            <a:custGeom>
              <a:avLst/>
              <a:gdLst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8887 w 1489775"/>
                <a:gd name="connsiteY10" fmla="*/ 2305078 h 3923699"/>
                <a:gd name="connsiteX11" fmla="*/ 1151853 w 1489775"/>
                <a:gd name="connsiteY11" fmla="*/ 3743699 h 3923699"/>
                <a:gd name="connsiteX12" fmla="*/ 971853 w 1489775"/>
                <a:gd name="connsiteY12" fmla="*/ 3923699 h 3923699"/>
                <a:gd name="connsiteX13" fmla="*/ 791853 w 1489775"/>
                <a:gd name="connsiteY13" fmla="*/ 3743699 h 3923699"/>
                <a:gd name="connsiteX14" fmla="*/ 791853 w 1489775"/>
                <a:gd name="connsiteY14" fmla="*/ 2305078 h 3923699"/>
                <a:gd name="connsiteX15" fmla="*/ 683854 w 1489775"/>
                <a:gd name="connsiteY15" fmla="*/ 2305078 h 3923699"/>
                <a:gd name="connsiteX16" fmla="*/ 683854 w 1489775"/>
                <a:gd name="connsiteY16" fmla="*/ 3743698 h 3923699"/>
                <a:gd name="connsiteX17" fmla="*/ 503854 w 1489775"/>
                <a:gd name="connsiteY17" fmla="*/ 3923698 h 3923699"/>
                <a:gd name="connsiteX18" fmla="*/ 323854 w 1489775"/>
                <a:gd name="connsiteY18" fmla="*/ 3743698 h 3923699"/>
                <a:gd name="connsiteX19" fmla="*/ 323854 w 1489775"/>
                <a:gd name="connsiteY19" fmla="*/ 2238914 h 3923699"/>
                <a:gd name="connsiteX20" fmla="*/ 330887 w 1489775"/>
                <a:gd name="connsiteY20" fmla="*/ 2238914 h 3923699"/>
                <a:gd name="connsiteX21" fmla="*/ 330887 w 1489775"/>
                <a:gd name="connsiteY21" fmla="*/ 1390678 h 3923699"/>
                <a:gd name="connsiteX22" fmla="*/ 288033 w 1489775"/>
                <a:gd name="connsiteY22" fmla="*/ 1390678 h 3923699"/>
                <a:gd name="connsiteX23" fmla="*/ 288033 w 1489775"/>
                <a:gd name="connsiteY23" fmla="*/ 2063902 h 3923699"/>
                <a:gd name="connsiteX24" fmla="*/ 144017 w 1489775"/>
                <a:gd name="connsiteY24" fmla="*/ 2207918 h 3923699"/>
                <a:gd name="connsiteX25" fmla="*/ 1 w 1489775"/>
                <a:gd name="connsiteY25" fmla="*/ 2063902 h 3923699"/>
                <a:gd name="connsiteX26" fmla="*/ 1 w 1489775"/>
                <a:gd name="connsiteY26" fmla="*/ 1390678 h 3923699"/>
                <a:gd name="connsiteX27" fmla="*/ 0 w 1489775"/>
                <a:gd name="connsiteY27" fmla="*/ 1390678 h 3923699"/>
                <a:gd name="connsiteX28" fmla="*/ 0 w 1489775"/>
                <a:gd name="connsiteY28" fmla="*/ 1030958 h 3923699"/>
                <a:gd name="connsiteX29" fmla="*/ 280204 w 1489775"/>
                <a:gd name="connsiteY29" fmla="*/ 750754 h 3923699"/>
                <a:gd name="connsiteX30" fmla="*/ 744888 w 1489775"/>
                <a:gd name="connsiteY30" fmla="*/ 0 h 3923699"/>
                <a:gd name="connsiteX31" fmla="*/ 1082199 w 1489775"/>
                <a:gd name="connsiteY31" fmla="*/ 337311 h 3923699"/>
                <a:gd name="connsiteX32" fmla="*/ 744888 w 1489775"/>
                <a:gd name="connsiteY32" fmla="*/ 674622 h 3923699"/>
                <a:gd name="connsiteX33" fmla="*/ 407577 w 1489775"/>
                <a:gd name="connsiteY33" fmla="*/ 337311 h 3923699"/>
                <a:gd name="connsiteX34" fmla="*/ 744888 w 1489775"/>
                <a:gd name="connsiteY34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2238914 h 3923699"/>
                <a:gd name="connsiteX20" fmla="*/ 330887 w 1489775"/>
                <a:gd name="connsiteY20" fmla="*/ 1390678 h 3923699"/>
                <a:gd name="connsiteX21" fmla="*/ 288033 w 1489775"/>
                <a:gd name="connsiteY21" fmla="*/ 1390678 h 3923699"/>
                <a:gd name="connsiteX22" fmla="*/ 288033 w 1489775"/>
                <a:gd name="connsiteY22" fmla="*/ 2063902 h 3923699"/>
                <a:gd name="connsiteX23" fmla="*/ 144017 w 1489775"/>
                <a:gd name="connsiteY23" fmla="*/ 2207918 h 3923699"/>
                <a:gd name="connsiteX24" fmla="*/ 1 w 1489775"/>
                <a:gd name="connsiteY24" fmla="*/ 2063902 h 3923699"/>
                <a:gd name="connsiteX25" fmla="*/ 1 w 1489775"/>
                <a:gd name="connsiteY25" fmla="*/ 1390678 h 3923699"/>
                <a:gd name="connsiteX26" fmla="*/ 0 w 1489775"/>
                <a:gd name="connsiteY26" fmla="*/ 1390678 h 3923699"/>
                <a:gd name="connsiteX27" fmla="*/ 0 w 1489775"/>
                <a:gd name="connsiteY27" fmla="*/ 1030958 h 3923699"/>
                <a:gd name="connsiteX28" fmla="*/ 280204 w 1489775"/>
                <a:gd name="connsiteY28" fmla="*/ 750754 h 3923699"/>
                <a:gd name="connsiteX29" fmla="*/ 744888 w 1489775"/>
                <a:gd name="connsiteY29" fmla="*/ 0 h 3923699"/>
                <a:gd name="connsiteX30" fmla="*/ 1082199 w 1489775"/>
                <a:gd name="connsiteY30" fmla="*/ 337311 h 3923699"/>
                <a:gd name="connsiteX31" fmla="*/ 744888 w 1489775"/>
                <a:gd name="connsiteY31" fmla="*/ 674622 h 3923699"/>
                <a:gd name="connsiteX32" fmla="*/ 407577 w 1489775"/>
                <a:gd name="connsiteY32" fmla="*/ 337311 h 3923699"/>
                <a:gd name="connsiteX33" fmla="*/ 744888 w 1489775"/>
                <a:gd name="connsiteY33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23854 w 1489775"/>
                <a:gd name="connsiteY18" fmla="*/ 2238914 h 3923699"/>
                <a:gd name="connsiteX19" fmla="*/ 330887 w 1489775"/>
                <a:gd name="connsiteY19" fmla="*/ 1390678 h 3923699"/>
                <a:gd name="connsiteX20" fmla="*/ 288033 w 1489775"/>
                <a:gd name="connsiteY20" fmla="*/ 1390678 h 3923699"/>
                <a:gd name="connsiteX21" fmla="*/ 288033 w 1489775"/>
                <a:gd name="connsiteY21" fmla="*/ 2063902 h 3923699"/>
                <a:gd name="connsiteX22" fmla="*/ 144017 w 1489775"/>
                <a:gd name="connsiteY22" fmla="*/ 2207918 h 3923699"/>
                <a:gd name="connsiteX23" fmla="*/ 1 w 1489775"/>
                <a:gd name="connsiteY23" fmla="*/ 2063902 h 3923699"/>
                <a:gd name="connsiteX24" fmla="*/ 1 w 1489775"/>
                <a:gd name="connsiteY24" fmla="*/ 1390678 h 3923699"/>
                <a:gd name="connsiteX25" fmla="*/ 0 w 1489775"/>
                <a:gd name="connsiteY25" fmla="*/ 1390678 h 3923699"/>
                <a:gd name="connsiteX26" fmla="*/ 0 w 1489775"/>
                <a:gd name="connsiteY26" fmla="*/ 1030958 h 3923699"/>
                <a:gd name="connsiteX27" fmla="*/ 280204 w 1489775"/>
                <a:gd name="connsiteY27" fmla="*/ 750754 h 3923699"/>
                <a:gd name="connsiteX28" fmla="*/ 744888 w 1489775"/>
                <a:gd name="connsiteY28" fmla="*/ 0 h 3923699"/>
                <a:gd name="connsiteX29" fmla="*/ 1082199 w 1489775"/>
                <a:gd name="connsiteY29" fmla="*/ 337311 h 3923699"/>
                <a:gd name="connsiteX30" fmla="*/ 744888 w 1489775"/>
                <a:gd name="connsiteY30" fmla="*/ 674622 h 3923699"/>
                <a:gd name="connsiteX31" fmla="*/ 407577 w 1489775"/>
                <a:gd name="connsiteY31" fmla="*/ 337311 h 3923699"/>
                <a:gd name="connsiteX32" fmla="*/ 744888 w 1489775"/>
                <a:gd name="connsiteY32" fmla="*/ 0 h 3923699"/>
                <a:gd name="connsiteX0" fmla="*/ 280204 w 1489775"/>
                <a:gd name="connsiteY0" fmla="*/ 750754 h 3923699"/>
                <a:gd name="connsiteX1" fmla="*/ 1209570 w 1489775"/>
                <a:gd name="connsiteY1" fmla="*/ 750754 h 3923699"/>
                <a:gd name="connsiteX2" fmla="*/ 1489774 w 1489775"/>
                <a:gd name="connsiteY2" fmla="*/ 1030958 h 3923699"/>
                <a:gd name="connsiteX3" fmla="*/ 1489774 w 1489775"/>
                <a:gd name="connsiteY3" fmla="*/ 1293518 h 3923699"/>
                <a:gd name="connsiteX4" fmla="*/ 1489775 w 1489775"/>
                <a:gd name="connsiteY4" fmla="*/ 1293518 h 3923699"/>
                <a:gd name="connsiteX5" fmla="*/ 1489775 w 1489775"/>
                <a:gd name="connsiteY5" fmla="*/ 2063902 h 3923699"/>
                <a:gd name="connsiteX6" fmla="*/ 1345759 w 1489775"/>
                <a:gd name="connsiteY6" fmla="*/ 2207918 h 3923699"/>
                <a:gd name="connsiteX7" fmla="*/ 1201743 w 1489775"/>
                <a:gd name="connsiteY7" fmla="*/ 2063902 h 3923699"/>
                <a:gd name="connsiteX8" fmla="*/ 1201743 w 1489775"/>
                <a:gd name="connsiteY8" fmla="*/ 1390678 h 3923699"/>
                <a:gd name="connsiteX9" fmla="*/ 1158887 w 1489775"/>
                <a:gd name="connsiteY9" fmla="*/ 1390678 h 3923699"/>
                <a:gd name="connsiteX10" fmla="*/ 1151853 w 1489775"/>
                <a:gd name="connsiteY10" fmla="*/ 3743699 h 3923699"/>
                <a:gd name="connsiteX11" fmla="*/ 971853 w 1489775"/>
                <a:gd name="connsiteY11" fmla="*/ 3923699 h 3923699"/>
                <a:gd name="connsiteX12" fmla="*/ 791853 w 1489775"/>
                <a:gd name="connsiteY12" fmla="*/ 3743699 h 3923699"/>
                <a:gd name="connsiteX13" fmla="*/ 791853 w 1489775"/>
                <a:gd name="connsiteY13" fmla="*/ 2305078 h 3923699"/>
                <a:gd name="connsiteX14" fmla="*/ 683854 w 1489775"/>
                <a:gd name="connsiteY14" fmla="*/ 2305078 h 3923699"/>
                <a:gd name="connsiteX15" fmla="*/ 683854 w 1489775"/>
                <a:gd name="connsiteY15" fmla="*/ 3743698 h 3923699"/>
                <a:gd name="connsiteX16" fmla="*/ 503854 w 1489775"/>
                <a:gd name="connsiteY16" fmla="*/ 3923698 h 3923699"/>
                <a:gd name="connsiteX17" fmla="*/ 323854 w 1489775"/>
                <a:gd name="connsiteY17" fmla="*/ 3743698 h 3923699"/>
                <a:gd name="connsiteX18" fmla="*/ 330887 w 1489775"/>
                <a:gd name="connsiteY18" fmla="*/ 1390678 h 3923699"/>
                <a:gd name="connsiteX19" fmla="*/ 288033 w 1489775"/>
                <a:gd name="connsiteY19" fmla="*/ 1390678 h 3923699"/>
                <a:gd name="connsiteX20" fmla="*/ 288033 w 1489775"/>
                <a:gd name="connsiteY20" fmla="*/ 2063902 h 3923699"/>
                <a:gd name="connsiteX21" fmla="*/ 144017 w 1489775"/>
                <a:gd name="connsiteY21" fmla="*/ 2207918 h 3923699"/>
                <a:gd name="connsiteX22" fmla="*/ 1 w 1489775"/>
                <a:gd name="connsiteY22" fmla="*/ 2063902 h 3923699"/>
                <a:gd name="connsiteX23" fmla="*/ 1 w 1489775"/>
                <a:gd name="connsiteY23" fmla="*/ 1390678 h 3923699"/>
                <a:gd name="connsiteX24" fmla="*/ 0 w 1489775"/>
                <a:gd name="connsiteY24" fmla="*/ 1390678 h 3923699"/>
                <a:gd name="connsiteX25" fmla="*/ 0 w 1489775"/>
                <a:gd name="connsiteY25" fmla="*/ 1030958 h 3923699"/>
                <a:gd name="connsiteX26" fmla="*/ 280204 w 1489775"/>
                <a:gd name="connsiteY26" fmla="*/ 750754 h 3923699"/>
                <a:gd name="connsiteX27" fmla="*/ 744888 w 1489775"/>
                <a:gd name="connsiteY27" fmla="*/ 0 h 3923699"/>
                <a:gd name="connsiteX28" fmla="*/ 1082199 w 1489775"/>
                <a:gd name="connsiteY28" fmla="*/ 337311 h 3923699"/>
                <a:gd name="connsiteX29" fmla="*/ 744888 w 1489775"/>
                <a:gd name="connsiteY29" fmla="*/ 674622 h 3923699"/>
                <a:gd name="connsiteX30" fmla="*/ 407577 w 1489775"/>
                <a:gd name="connsiteY30" fmla="*/ 337311 h 3923699"/>
                <a:gd name="connsiteX31" fmla="*/ 744888 w 1489775"/>
                <a:gd name="connsiteY31" fmla="*/ 0 h 392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489775" h="3923699">
                  <a:moveTo>
                    <a:pt x="280204" y="750754"/>
                  </a:moveTo>
                  <a:lnTo>
                    <a:pt x="1209570" y="750754"/>
                  </a:lnTo>
                  <a:cubicBezTo>
                    <a:pt x="1364322" y="750754"/>
                    <a:pt x="1489774" y="876206"/>
                    <a:pt x="1489774" y="1030958"/>
                  </a:cubicBezTo>
                  <a:lnTo>
                    <a:pt x="1489774" y="1293518"/>
                  </a:lnTo>
                  <a:lnTo>
                    <a:pt x="1489775" y="1293518"/>
                  </a:lnTo>
                  <a:lnTo>
                    <a:pt x="1489775" y="2063902"/>
                  </a:lnTo>
                  <a:cubicBezTo>
                    <a:pt x="1489775" y="2143440"/>
                    <a:pt x="1425297" y="2207918"/>
                    <a:pt x="1345759" y="2207918"/>
                  </a:cubicBezTo>
                  <a:cubicBezTo>
                    <a:pt x="1266221" y="2207918"/>
                    <a:pt x="1201743" y="2143440"/>
                    <a:pt x="1201743" y="2063902"/>
                  </a:cubicBezTo>
                  <a:lnTo>
                    <a:pt x="1201743" y="1390678"/>
                  </a:lnTo>
                  <a:lnTo>
                    <a:pt x="1158887" y="1390678"/>
                  </a:lnTo>
                  <a:cubicBezTo>
                    <a:pt x="1156542" y="2175018"/>
                    <a:pt x="1154198" y="2959359"/>
                    <a:pt x="1151853" y="3743699"/>
                  </a:cubicBezTo>
                  <a:cubicBezTo>
                    <a:pt x="1151853" y="3843110"/>
                    <a:pt x="1071264" y="3923699"/>
                    <a:pt x="971853" y="3923699"/>
                  </a:cubicBezTo>
                  <a:cubicBezTo>
                    <a:pt x="872442" y="3923699"/>
                    <a:pt x="791853" y="3843110"/>
                    <a:pt x="791853" y="3743699"/>
                  </a:cubicBezTo>
                  <a:lnTo>
                    <a:pt x="791853" y="2305078"/>
                  </a:lnTo>
                  <a:lnTo>
                    <a:pt x="683854" y="2305078"/>
                  </a:lnTo>
                  <a:lnTo>
                    <a:pt x="683854" y="3743698"/>
                  </a:lnTo>
                  <a:cubicBezTo>
                    <a:pt x="683854" y="3843109"/>
                    <a:pt x="603265" y="3923698"/>
                    <a:pt x="503854" y="3923698"/>
                  </a:cubicBezTo>
                  <a:cubicBezTo>
                    <a:pt x="404443" y="3923698"/>
                    <a:pt x="323854" y="3843109"/>
                    <a:pt x="323854" y="3743698"/>
                  </a:cubicBezTo>
                  <a:cubicBezTo>
                    <a:pt x="326198" y="2959358"/>
                    <a:pt x="328543" y="2175018"/>
                    <a:pt x="330887" y="1390678"/>
                  </a:cubicBezTo>
                  <a:lnTo>
                    <a:pt x="288033" y="1390678"/>
                  </a:lnTo>
                  <a:lnTo>
                    <a:pt x="288033" y="2063902"/>
                  </a:lnTo>
                  <a:cubicBezTo>
                    <a:pt x="288033" y="2143440"/>
                    <a:pt x="223555" y="2207918"/>
                    <a:pt x="144017" y="2207918"/>
                  </a:cubicBezTo>
                  <a:cubicBezTo>
                    <a:pt x="64479" y="2207918"/>
                    <a:pt x="1" y="2143440"/>
                    <a:pt x="1" y="2063902"/>
                  </a:cubicBezTo>
                  <a:lnTo>
                    <a:pt x="1" y="1390678"/>
                  </a:lnTo>
                  <a:lnTo>
                    <a:pt x="0" y="1390678"/>
                  </a:lnTo>
                  <a:lnTo>
                    <a:pt x="0" y="1030958"/>
                  </a:lnTo>
                  <a:cubicBezTo>
                    <a:pt x="0" y="876206"/>
                    <a:pt x="125452" y="750754"/>
                    <a:pt x="280204" y="750754"/>
                  </a:cubicBezTo>
                  <a:close/>
                  <a:moveTo>
                    <a:pt x="744888" y="0"/>
                  </a:moveTo>
                  <a:cubicBezTo>
                    <a:pt x="931180" y="0"/>
                    <a:pt x="1082199" y="151019"/>
                    <a:pt x="1082199" y="337311"/>
                  </a:cubicBezTo>
                  <a:cubicBezTo>
                    <a:pt x="1082199" y="523603"/>
                    <a:pt x="931180" y="674622"/>
                    <a:pt x="744888" y="674622"/>
                  </a:cubicBezTo>
                  <a:cubicBezTo>
                    <a:pt x="558596" y="674622"/>
                    <a:pt x="407577" y="523603"/>
                    <a:pt x="407577" y="337311"/>
                  </a:cubicBezTo>
                  <a:cubicBezTo>
                    <a:pt x="407577" y="151019"/>
                    <a:pt x="558596" y="0"/>
                    <a:pt x="74488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3" name="Round Same Side Corner Rectangle 20">
              <a:extLst>
                <a:ext uri="{FF2B5EF4-FFF2-40B4-BE49-F238E27FC236}">
                  <a16:creationId xmlns:a16="http://schemas.microsoft.com/office/drawing/2014/main" xmlns="" id="{C75F98E4-83A2-4B60-A457-F7A83DA7B3AE}"/>
                </a:ext>
              </a:extLst>
            </p:cNvPr>
            <p:cNvSpPr/>
            <p:nvPr/>
          </p:nvSpPr>
          <p:spPr>
            <a:xfrm rot="10800000">
              <a:off x="1182387" y="86558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6" name="Round Same Side Corner Rectangle 20">
              <a:extLst>
                <a:ext uri="{FF2B5EF4-FFF2-40B4-BE49-F238E27FC236}">
                  <a16:creationId xmlns:a16="http://schemas.microsoft.com/office/drawing/2014/main" xmlns="" id="{C7E4ED53-FDC1-4F1D-88C2-3ADA96E7E7B4}"/>
                </a:ext>
              </a:extLst>
            </p:cNvPr>
            <p:cNvSpPr/>
            <p:nvPr/>
          </p:nvSpPr>
          <p:spPr>
            <a:xfrm rot="10800000">
              <a:off x="331471" y="86557"/>
              <a:ext cx="368707" cy="78652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344732 w 1856332"/>
                <a:gd name="connsiteY26" fmla="*/ 3176282 h 3959924"/>
                <a:gd name="connsiteX27" fmla="*/ 1228565 w 1856332"/>
                <a:gd name="connsiteY27" fmla="*/ 3214674 h 3959924"/>
                <a:gd name="connsiteX28" fmla="*/ 925623 w 1856332"/>
                <a:gd name="connsiteY28" fmla="*/ 3959924 h 3959924"/>
                <a:gd name="connsiteX29" fmla="*/ 601623 w 1856332"/>
                <a:gd name="connsiteY29" fmla="*/ 3635924 h 3959924"/>
                <a:gd name="connsiteX30" fmla="*/ 925623 w 1856332"/>
                <a:gd name="connsiteY30" fmla="*/ 3311924 h 3959924"/>
                <a:gd name="connsiteX31" fmla="*/ 1249623 w 1856332"/>
                <a:gd name="connsiteY31" fmla="*/ 3635924 h 3959924"/>
                <a:gd name="connsiteX32" fmla="*/ 925623 w 1856332"/>
                <a:gd name="connsiteY32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466697 w 1856332"/>
                <a:gd name="connsiteY2" fmla="*/ 3144149 h 3959924"/>
                <a:gd name="connsiteX3" fmla="*/ 8303 w 1856332"/>
                <a:gd name="connsiteY3" fmla="*/ 1942070 h 3959924"/>
                <a:gd name="connsiteX4" fmla="*/ 81139 w 1856332"/>
                <a:gd name="connsiteY4" fmla="*/ 1779444 h 3959924"/>
                <a:gd name="connsiteX5" fmla="*/ 243764 w 1856332"/>
                <a:gd name="connsiteY5" fmla="*/ 1852280 h 3959924"/>
                <a:gd name="connsiteX6" fmla="*/ 504770 w 1856332"/>
                <a:gd name="connsiteY6" fmla="*/ 2536736 h 3959924"/>
                <a:gd name="connsiteX7" fmla="*/ 555637 w 1856332"/>
                <a:gd name="connsiteY7" fmla="*/ 2536736 h 3959924"/>
                <a:gd name="connsiteX8" fmla="*/ 226299 w 1856332"/>
                <a:gd name="connsiteY8" fmla="*/ 1210417 h 3959924"/>
                <a:gd name="connsiteX9" fmla="*/ 551784 w 1856332"/>
                <a:gd name="connsiteY9" fmla="*/ 1210417 h 3959924"/>
                <a:gd name="connsiteX10" fmla="*/ 551784 w 1856332"/>
                <a:gd name="connsiteY10" fmla="*/ 168335 h 3959924"/>
                <a:gd name="connsiteX11" fmla="*/ 720119 w 1856332"/>
                <a:gd name="connsiteY11" fmla="*/ 0 h 3959924"/>
                <a:gd name="connsiteX12" fmla="*/ 888454 w 1856332"/>
                <a:gd name="connsiteY12" fmla="*/ 168335 h 3959924"/>
                <a:gd name="connsiteX13" fmla="*/ 888454 w 1856332"/>
                <a:gd name="connsiteY13" fmla="*/ 1210417 h 3959924"/>
                <a:gd name="connsiteX14" fmla="*/ 968040 w 1856332"/>
                <a:gd name="connsiteY14" fmla="*/ 1210417 h 3959924"/>
                <a:gd name="connsiteX15" fmla="*/ 968040 w 1856332"/>
                <a:gd name="connsiteY15" fmla="*/ 168335 h 3959924"/>
                <a:gd name="connsiteX16" fmla="*/ 1136375 w 1856332"/>
                <a:gd name="connsiteY16" fmla="*/ 0 h 3959924"/>
                <a:gd name="connsiteX17" fmla="*/ 1304710 w 1856332"/>
                <a:gd name="connsiteY17" fmla="*/ 168335 h 3959924"/>
                <a:gd name="connsiteX18" fmla="*/ 1304710 w 1856332"/>
                <a:gd name="connsiteY18" fmla="*/ 1210417 h 3959924"/>
                <a:gd name="connsiteX19" fmla="*/ 1631589 w 1856332"/>
                <a:gd name="connsiteY19" fmla="*/ 1210417 h 3959924"/>
                <a:gd name="connsiteX20" fmla="*/ 1302251 w 1856332"/>
                <a:gd name="connsiteY20" fmla="*/ 2536736 h 3959924"/>
                <a:gd name="connsiteX21" fmla="*/ 1351562 w 1856332"/>
                <a:gd name="connsiteY21" fmla="*/ 2536736 h 3959924"/>
                <a:gd name="connsiteX22" fmla="*/ 1612568 w 1856332"/>
                <a:gd name="connsiteY22" fmla="*/ 1852280 h 3959924"/>
                <a:gd name="connsiteX23" fmla="*/ 1775193 w 1856332"/>
                <a:gd name="connsiteY23" fmla="*/ 1779444 h 3959924"/>
                <a:gd name="connsiteX24" fmla="*/ 1848029 w 1856332"/>
                <a:gd name="connsiteY24" fmla="*/ 1942070 h 3959924"/>
                <a:gd name="connsiteX25" fmla="*/ 1389635 w 1856332"/>
                <a:gd name="connsiteY25" fmla="*/ 3144149 h 3959924"/>
                <a:gd name="connsiteX26" fmla="*/ 1228565 w 1856332"/>
                <a:gd name="connsiteY26" fmla="*/ 3214674 h 3959924"/>
                <a:gd name="connsiteX27" fmla="*/ 925623 w 1856332"/>
                <a:gd name="connsiteY27" fmla="*/ 3959924 h 3959924"/>
                <a:gd name="connsiteX28" fmla="*/ 601623 w 1856332"/>
                <a:gd name="connsiteY28" fmla="*/ 3635924 h 3959924"/>
                <a:gd name="connsiteX29" fmla="*/ 925623 w 1856332"/>
                <a:gd name="connsiteY29" fmla="*/ 3311924 h 3959924"/>
                <a:gd name="connsiteX30" fmla="*/ 1249623 w 1856332"/>
                <a:gd name="connsiteY30" fmla="*/ 3635924 h 3959924"/>
                <a:gd name="connsiteX31" fmla="*/ 925623 w 1856332"/>
                <a:gd name="connsiteY31" fmla="*/ 3959924 h 3959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38" name="화살표: 오른쪽 37">
            <a:extLst>
              <a:ext uri="{FF2B5EF4-FFF2-40B4-BE49-F238E27FC236}">
                <a16:creationId xmlns:a16="http://schemas.microsoft.com/office/drawing/2014/main" xmlns="" id="{2D7AE77C-1D8F-46B2-8BE5-9CB3CB018C78}"/>
              </a:ext>
            </a:extLst>
          </p:cNvPr>
          <p:cNvSpPr/>
          <p:nvPr/>
        </p:nvSpPr>
        <p:spPr>
          <a:xfrm rot="5400000">
            <a:off x="977168" y="4138966"/>
            <a:ext cx="900314" cy="416439"/>
          </a:xfrm>
          <a:prstGeom prst="rightArrow">
            <a:avLst>
              <a:gd name="adj1" fmla="val 50000"/>
              <a:gd name="adj2" fmla="val 68297"/>
            </a:avLst>
          </a:prstGeom>
          <a:solidFill>
            <a:schemeClr val="accent5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527396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066FB7A9-8DEE-41D8-B927-12AF3BB740F3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4CD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79D2EF9E-C2D4-4319-BAEF-C83A47AC11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-2" y="7374"/>
            <a:ext cx="6096000" cy="6858000"/>
          </a:xfrm>
        </p:spPr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74948E38-1D08-4ED7-B2EE-D15DDC3CA400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xmlns="" id="{85AB902E-B33B-48AD-87BD-2AAABD0E37F5}"/>
              </a:ext>
            </a:extLst>
          </p:cNvPr>
          <p:cNvGrpSpPr/>
          <p:nvPr/>
        </p:nvGrpSpPr>
        <p:grpSpPr>
          <a:xfrm>
            <a:off x="6717411" y="694569"/>
            <a:ext cx="4893563" cy="5406538"/>
            <a:chOff x="90753" y="694569"/>
            <a:chExt cx="4893563" cy="5406538"/>
          </a:xfrm>
        </p:grpSpPr>
        <p:sp>
          <p:nvSpPr>
            <p:cNvPr id="7" name="Text Placeholder 13"/>
            <p:cNvSpPr txBox="1">
              <a:spLocks/>
            </p:cNvSpPr>
            <p:nvPr/>
          </p:nvSpPr>
          <p:spPr>
            <a:xfrm>
              <a:off x="271728" y="1283083"/>
              <a:ext cx="3216645" cy="1864797"/>
            </a:xfrm>
            <a:prstGeom prst="rect">
              <a:avLst/>
            </a:prstGeom>
          </p:spPr>
          <p:txBody>
            <a:bodyPr anchor="ctr"/>
            <a:lstStyle>
              <a:lvl1pPr marL="342900" indent="-3429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None/>
              </a:pPr>
              <a:r>
                <a:rPr lang="en-US" altLang="ko-KR" sz="3733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K-Means</a:t>
              </a:r>
            </a:p>
            <a:p>
              <a:pPr marL="0" indent="0">
                <a:lnSpc>
                  <a:spcPct val="110000"/>
                </a:lnSpc>
                <a:buNone/>
              </a:pPr>
              <a:r>
                <a:rPr lang="en-US" altLang="ko-KR" sz="3733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(Clustering)</a:t>
              </a:r>
            </a:p>
            <a:p>
              <a:pPr marL="0" indent="0">
                <a:lnSpc>
                  <a:spcPct val="110000"/>
                </a:lnSpc>
                <a:buNone/>
              </a:pPr>
              <a:r>
                <a:rPr lang="ko-KR" altLang="en-US" sz="3733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특성 및 장점</a:t>
              </a:r>
              <a:endParaRPr lang="en-US" altLang="ko-KR" sz="3733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xmlns="" id="{003D61F5-9623-4D3E-BA9B-7B1CF39DED40}"/>
                </a:ext>
              </a:extLst>
            </p:cNvPr>
            <p:cNvGrpSpPr/>
            <p:nvPr/>
          </p:nvGrpSpPr>
          <p:grpSpPr>
            <a:xfrm>
              <a:off x="90753" y="694569"/>
              <a:ext cx="4893563" cy="5406538"/>
              <a:chOff x="90753" y="694569"/>
              <a:chExt cx="4893563" cy="5406538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376504" y="694569"/>
                <a:ext cx="2919473" cy="3449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ko-KR" altLang="en-US" sz="16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알고리즘 이해하기</a:t>
                </a:r>
                <a:endParaRPr lang="en-US" altLang="ko-KR" sz="16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90753" y="3515784"/>
                <a:ext cx="4893563" cy="2585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-  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군집화에서 가장 일반적으로 사용되는 알고리즘 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 marL="285750" indent="-285750">
                  <a:lnSpc>
                    <a:spcPct val="150000"/>
                  </a:lnSpc>
                  <a:buFontTx/>
                  <a:buChar char="-"/>
                </a:pP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군집 중심점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(centroid)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이라는 임의의 지점을 선택하여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, </a:t>
                </a:r>
                <a:r>
                  <a:rPr lang="ko-KR" altLang="en-US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해당 중심에 가장 가까운 점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들을 선택하는 군집화 기법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. </a:t>
                </a:r>
              </a:p>
              <a:p>
                <a:pPr marL="285750" indent="-285750">
                  <a:lnSpc>
                    <a:spcPct val="150000"/>
                  </a:lnSpc>
                  <a:buFontTx/>
                  <a:buChar char="-"/>
                </a:pP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분산 시스템을 이용한 </a:t>
                </a:r>
                <a:r>
                  <a:rPr lang="ko-KR" altLang="en-US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대용량 데이터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처리 가능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marL="285750" indent="-285750">
                  <a:lnSpc>
                    <a:spcPct val="150000"/>
                  </a:lnSpc>
                  <a:buFontTx/>
                  <a:buChar char="-"/>
                </a:pP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각 유형의 </a:t>
                </a:r>
                <a:r>
                  <a:rPr lang="ko-KR" altLang="en-US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특징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파악 용이</a:t>
                </a:r>
              </a:p>
            </p:txBody>
          </p:sp>
        </p:grp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xmlns="" id="{B1573CCC-753B-44BA-B185-CF6E253108A7}"/>
              </a:ext>
            </a:extLst>
          </p:cNvPr>
          <p:cNvGrpSpPr/>
          <p:nvPr/>
        </p:nvGrpSpPr>
        <p:grpSpPr>
          <a:xfrm>
            <a:off x="897270" y="293238"/>
            <a:ext cx="3991531" cy="3488507"/>
            <a:chOff x="449595" y="1445763"/>
            <a:chExt cx="3991531" cy="3488507"/>
          </a:xfrm>
        </p:grpSpPr>
        <p:pic>
          <p:nvPicPr>
            <p:cNvPr id="5" name="Picture 2" descr="E:\002-KIMS BUSINESS\007-bizdesign.tv\000-PPT FOR KMONG\PSD\13-05-14\모니터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95" y="1445763"/>
              <a:ext cx="3991531" cy="3488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xmlns="" id="{263D4C84-AE07-4F9B-BF3C-3FE9B17180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511" t="2106" r="5618" b="12476"/>
            <a:stretch/>
          </p:blipFill>
          <p:spPr>
            <a:xfrm>
              <a:off x="571500" y="1600199"/>
              <a:ext cx="3733800" cy="2086455"/>
            </a:xfrm>
            <a:prstGeom prst="rect">
              <a:avLst/>
            </a:prstGeom>
          </p:spPr>
        </p:pic>
      </p:grpSp>
      <p:pic>
        <p:nvPicPr>
          <p:cNvPr id="22" name="그림 21">
            <a:extLst>
              <a:ext uri="{FF2B5EF4-FFF2-40B4-BE49-F238E27FC236}">
                <a16:creationId xmlns:a16="http://schemas.microsoft.com/office/drawing/2014/main" xmlns="" id="{5AD1CB25-144D-413B-8F59-77001F9B3B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875" y="3936181"/>
            <a:ext cx="4810220" cy="2506119"/>
          </a:xfrm>
          <a:prstGeom prst="rect">
            <a:avLst/>
          </a:prstGeom>
        </p:spPr>
      </p:pic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36EFA6B5-41DD-4838-A6B5-F426EF9D226B}"/>
              </a:ext>
            </a:extLst>
          </p:cNvPr>
          <p:cNvSpPr/>
          <p:nvPr/>
        </p:nvSpPr>
        <p:spPr>
          <a:xfrm>
            <a:off x="752475" y="4667250"/>
            <a:ext cx="4581620" cy="1000125"/>
          </a:xfrm>
          <a:prstGeom prst="rect">
            <a:avLst/>
          </a:prstGeom>
          <a:noFill/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3701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개체 틀 11"/>
          <p:cNvPicPr>
            <a:picLocks noGrp="1" noChangeAspect="1"/>
          </p:cNvPicPr>
          <p:nvPr>
            <p:ph type="pic" sz="quarter" idx="42"/>
          </p:nvPr>
        </p:nvPicPr>
        <p:blipFill>
          <a:blip r:embed="rId2"/>
          <a:srcRect l="12530" r="12530"/>
          <a:stretch>
            <a:fillRect/>
          </a:stretch>
        </p:blipFill>
        <p:spPr>
          <a:xfrm>
            <a:off x="1073358" y="1829430"/>
            <a:ext cx="2062903" cy="2063133"/>
          </a:xfrm>
          <a:prstGeom prst="ellipse">
            <a:avLst/>
          </a:prstGeom>
        </p:spPr>
      </p:pic>
      <p:pic>
        <p:nvPicPr>
          <p:cNvPr id="3" name="그림 개체 틀 2"/>
          <p:cNvPicPr>
            <a:picLocks noGrp="1" noChangeAspect="1"/>
          </p:cNvPicPr>
          <p:nvPr>
            <p:ph type="pic" sz="quarter" idx="43"/>
          </p:nvPr>
        </p:nvPicPr>
        <p:blipFill>
          <a:blip r:embed="rId3"/>
          <a:srcRect t="12500" b="12500"/>
          <a:stretch>
            <a:fillRect/>
          </a:stretch>
        </p:blipFill>
        <p:spPr>
          <a:xfrm>
            <a:off x="5057477" y="1827078"/>
            <a:ext cx="2046207" cy="2046435"/>
          </a:xfrm>
          <a:prstGeom prst="ellipse">
            <a:avLst/>
          </a:prstGeom>
        </p:spPr>
      </p:pic>
      <p:sp>
        <p:nvSpPr>
          <p:cNvPr id="19" name="그림 개체 틀 18">
            <a:extLst>
              <a:ext uri="{FF2B5EF4-FFF2-40B4-BE49-F238E27FC236}">
                <a16:creationId xmlns:a16="http://schemas.microsoft.com/office/drawing/2014/main" xmlns="" id="{1FAA263A-D820-429D-8A18-8E164D04361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/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ko-KR" altLang="en-US" sz="44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팀원 소개</a:t>
            </a:r>
            <a:endParaRPr lang="en-US" altLang="ko-KR" sz="44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38514A37-9BB1-40B8-896D-933BE6B4A4B7}"/>
              </a:ext>
            </a:extLst>
          </p:cNvPr>
          <p:cNvGrpSpPr/>
          <p:nvPr/>
        </p:nvGrpSpPr>
        <p:grpSpPr>
          <a:xfrm>
            <a:off x="1073358" y="4168864"/>
            <a:ext cx="2005476" cy="627167"/>
            <a:chOff x="683568" y="4236526"/>
            <a:chExt cx="2005476" cy="627167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xmlns="" id="{CE211F6B-F521-43C8-8F74-71F2C2A705A4}"/>
                </a:ext>
              </a:extLst>
            </p:cNvPr>
            <p:cNvSpPr/>
            <p:nvPr/>
          </p:nvSpPr>
          <p:spPr>
            <a:xfrm>
              <a:off x="683568" y="423652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이은지</a:t>
              </a:r>
              <a:endPara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xmlns="" id="{B51EACA4-6E33-4C0F-8138-C5222A35C26D}"/>
                </a:ext>
              </a:extLst>
            </p:cNvPr>
            <p:cNvSpPr/>
            <p:nvPr/>
          </p:nvSpPr>
          <p:spPr>
            <a:xfrm>
              <a:off x="683568" y="455591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Manager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xmlns="" id="{EC153729-B6F0-4B55-863F-53CA29340DB3}"/>
              </a:ext>
            </a:extLst>
          </p:cNvPr>
          <p:cNvGrpSpPr/>
          <p:nvPr/>
        </p:nvGrpSpPr>
        <p:grpSpPr>
          <a:xfrm>
            <a:off x="541020" y="5054146"/>
            <a:ext cx="3116581" cy="1328606"/>
            <a:chOff x="1002508" y="5047885"/>
            <a:chExt cx="1880345" cy="1258311"/>
          </a:xfrm>
        </p:grpSpPr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xmlns="" id="{B1BB2FBD-8EB3-4E97-B50D-D0D77D0FB738}"/>
                </a:ext>
              </a:extLst>
            </p:cNvPr>
            <p:cNvSpPr/>
            <p:nvPr/>
          </p:nvSpPr>
          <p:spPr>
            <a:xfrm>
              <a:off x="1002508" y="5047885"/>
              <a:ext cx="1645436" cy="4955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팀 업무 총괄 및 팀원 역할 분배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xmlns="" id="{87E485C9-81A7-440D-9388-DD6C27D0B07E}"/>
                </a:ext>
              </a:extLst>
            </p:cNvPr>
            <p:cNvSpPr/>
            <p:nvPr/>
          </p:nvSpPr>
          <p:spPr>
            <a:xfrm>
              <a:off x="1002508" y="5349182"/>
              <a:ext cx="1880345" cy="2914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아이디어 기획 및 마케팅 전략 고안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xmlns="" id="{BEABEBBB-7353-4988-B932-0291CF62A69D}"/>
                </a:ext>
              </a:extLst>
            </p:cNvPr>
            <p:cNvSpPr/>
            <p:nvPr/>
          </p:nvSpPr>
          <p:spPr>
            <a:xfrm>
              <a:off x="1002508" y="5606614"/>
              <a:ext cx="1679905" cy="6995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개요 작성 및 외부 데이터 탐색 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PPT </a:t>
              </a: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제작 및 디자인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xmlns="" id="{8B2CAE4E-1E20-419F-A9ED-4C26149BF4EB}"/>
              </a:ext>
            </a:extLst>
          </p:cNvPr>
          <p:cNvGrpSpPr/>
          <p:nvPr/>
        </p:nvGrpSpPr>
        <p:grpSpPr>
          <a:xfrm>
            <a:off x="5069633" y="4168864"/>
            <a:ext cx="2005476" cy="627167"/>
            <a:chOff x="3563888" y="4236526"/>
            <a:chExt cx="2005476" cy="627167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xmlns="" id="{ECA6940A-8471-4B71-931B-05B15E328972}"/>
                </a:ext>
              </a:extLst>
            </p:cNvPr>
            <p:cNvSpPr/>
            <p:nvPr/>
          </p:nvSpPr>
          <p:spPr>
            <a:xfrm>
              <a:off x="3563888" y="423652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김유리</a:t>
              </a:r>
              <a:endPara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xmlns="" id="{27AFECB2-61EE-433E-A4A6-F6420C9D290A}"/>
                </a:ext>
              </a:extLst>
            </p:cNvPr>
            <p:cNvSpPr/>
            <p:nvPr/>
          </p:nvSpPr>
          <p:spPr>
            <a:xfrm>
              <a:off x="3563888" y="455591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Data</a:t>
              </a:r>
              <a:r>
                <a: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Analyst</a:t>
              </a:r>
            </a:p>
          </p:txBody>
        </p:sp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xmlns="" id="{12B244CF-60DA-447C-B2D2-659F9110F4FB}"/>
              </a:ext>
            </a:extLst>
          </p:cNvPr>
          <p:cNvGrpSpPr/>
          <p:nvPr/>
        </p:nvGrpSpPr>
        <p:grpSpPr>
          <a:xfrm>
            <a:off x="4561484" y="5074918"/>
            <a:ext cx="3142336" cy="1300649"/>
            <a:chOff x="3923928" y="5067559"/>
            <a:chExt cx="1645436" cy="1084277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xmlns="" id="{9109A894-9C0E-4FD8-AF42-9CEC57CE88F2}"/>
                </a:ext>
              </a:extLst>
            </p:cNvPr>
            <p:cNvSpPr/>
            <p:nvPr/>
          </p:nvSpPr>
          <p:spPr>
            <a:xfrm>
              <a:off x="3923928" y="5067559"/>
              <a:ext cx="1645436" cy="256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데이터 시각화 전담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xmlns="" id="{A6EDBAAD-4C86-46D1-A955-68FC6A8F55F7}"/>
                </a:ext>
              </a:extLst>
            </p:cNvPr>
            <p:cNvSpPr/>
            <p:nvPr/>
          </p:nvSpPr>
          <p:spPr>
            <a:xfrm>
              <a:off x="3923928" y="5343860"/>
              <a:ext cx="1645436" cy="256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아이디어 기획 및 마케팅 전략 고안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xmlns="" id="{268AF331-F89E-4A80-BE5E-059DA3F977C5}"/>
                </a:ext>
              </a:extLst>
            </p:cNvPr>
            <p:cNvSpPr/>
            <p:nvPr/>
          </p:nvSpPr>
          <p:spPr>
            <a:xfrm>
              <a:off x="3923928" y="5567271"/>
              <a:ext cx="1645436" cy="5845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군집 평가 및 웹 </a:t>
              </a:r>
              <a:r>
                <a:rPr lang="ko-KR" altLang="en-US" sz="1400" dirty="0" err="1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크롤링</a:t>
              </a: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 코드 개발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PPT </a:t>
              </a: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제작 및 디자인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xmlns="" id="{AA6A2828-F2E0-4CD4-8343-715742175C07}"/>
              </a:ext>
            </a:extLst>
          </p:cNvPr>
          <p:cNvGrpSpPr/>
          <p:nvPr/>
        </p:nvGrpSpPr>
        <p:grpSpPr>
          <a:xfrm>
            <a:off x="9065909" y="4168864"/>
            <a:ext cx="2005476" cy="627167"/>
            <a:chOff x="6451663" y="4236526"/>
            <a:chExt cx="2005476" cy="627167"/>
          </a:xfrm>
        </p:grpSpPr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xmlns="" id="{61B4107E-B08E-4652-9D38-8766A5FDE5B7}"/>
                </a:ext>
              </a:extLst>
            </p:cNvPr>
            <p:cNvSpPr/>
            <p:nvPr/>
          </p:nvSpPr>
          <p:spPr>
            <a:xfrm>
              <a:off x="6451663" y="423652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김다빈</a:t>
              </a:r>
              <a:endPara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xmlns="" id="{AB918D39-51B7-4C9D-871B-FD75A80AB4B5}"/>
                </a:ext>
              </a:extLst>
            </p:cNvPr>
            <p:cNvSpPr/>
            <p:nvPr/>
          </p:nvSpPr>
          <p:spPr>
            <a:xfrm>
              <a:off x="6451663" y="4555916"/>
              <a:ext cx="2005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Data engineer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xmlns="" id="{D8C34F56-6994-4C06-8D0C-E51C3D77324B}"/>
              </a:ext>
            </a:extLst>
          </p:cNvPr>
          <p:cNvGrpSpPr/>
          <p:nvPr/>
        </p:nvGrpSpPr>
        <p:grpSpPr>
          <a:xfrm>
            <a:off x="8801100" y="5058352"/>
            <a:ext cx="2956704" cy="1333142"/>
            <a:chOff x="6811703" y="5067559"/>
            <a:chExt cx="1645436" cy="1239233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xmlns="" id="{846BD6F7-826A-4B13-B2E6-8E2445CACB07}"/>
                </a:ext>
              </a:extLst>
            </p:cNvPr>
            <p:cNvSpPr/>
            <p:nvPr/>
          </p:nvSpPr>
          <p:spPr>
            <a:xfrm>
              <a:off x="6811703" y="5067559"/>
              <a:ext cx="1645436" cy="2860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데이터 전처리 담당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xmlns="" id="{F9CE04BD-C92C-476E-B3F3-7D989D915DF3}"/>
                </a:ext>
              </a:extLst>
            </p:cNvPr>
            <p:cNvSpPr/>
            <p:nvPr/>
          </p:nvSpPr>
          <p:spPr>
            <a:xfrm>
              <a:off x="6811703" y="5391045"/>
              <a:ext cx="1645436" cy="2860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dirty="0" err="1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워드클라우드</a:t>
              </a: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 코드 개발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xmlns="" id="{96AAC0AB-37CF-470D-9DD5-142FFB405789}"/>
                </a:ext>
              </a:extLst>
            </p:cNvPr>
            <p:cNvSpPr/>
            <p:nvPr/>
          </p:nvSpPr>
          <p:spPr>
            <a:xfrm>
              <a:off x="6811703" y="5620161"/>
              <a:ext cx="1645436" cy="6866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자료조사 및 업무 보조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전략의 기대효과 및 한계점 고찰</a:t>
              </a:r>
              <a:endPara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4386" y="1838033"/>
            <a:ext cx="1967386" cy="201618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897634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03238CDC-9619-4967-9F2A-D80B06E62587}"/>
              </a:ext>
            </a:extLst>
          </p:cNvPr>
          <p:cNvSpPr/>
          <p:nvPr/>
        </p:nvSpPr>
        <p:spPr>
          <a:xfrm>
            <a:off x="4051029" y="703276"/>
            <a:ext cx="4054746" cy="151498"/>
          </a:xfrm>
          <a:prstGeom prst="rect">
            <a:avLst/>
          </a:prstGeom>
          <a:solidFill>
            <a:srgbClr val="98DC5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8261A7FA-3422-4841-9495-5D337B387770}"/>
              </a:ext>
            </a:extLst>
          </p:cNvPr>
          <p:cNvSpPr/>
          <p:nvPr/>
        </p:nvSpPr>
        <p:spPr>
          <a:xfrm>
            <a:off x="3814916" y="910558"/>
            <a:ext cx="6194323" cy="57382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xmlns="" id="{38882911-40E8-4167-B762-9410C15D2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079" y="1048056"/>
            <a:ext cx="6981825" cy="5600455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xmlns="" id="{A173E8A7-445F-496F-A6E0-AA4BD427C6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29" r="24243"/>
          <a:stretch/>
        </p:blipFill>
        <p:spPr>
          <a:xfrm>
            <a:off x="9820615" y="1140543"/>
            <a:ext cx="2381218" cy="403474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D9636A2B-9CA7-4595-9195-DD04F44126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20" r="4803"/>
          <a:stretch/>
        </p:blipFill>
        <p:spPr>
          <a:xfrm>
            <a:off x="19665" y="1012247"/>
            <a:ext cx="5899352" cy="3832435"/>
          </a:xfrm>
          <a:prstGeom prst="rect">
            <a:avLst/>
          </a:prstGeom>
        </p:spPr>
      </p:pic>
      <p:grpSp>
        <p:nvGrpSpPr>
          <p:cNvPr id="22" name="그룹 21">
            <a:extLst>
              <a:ext uri="{FF2B5EF4-FFF2-40B4-BE49-F238E27FC236}">
                <a16:creationId xmlns:a16="http://schemas.microsoft.com/office/drawing/2014/main" xmlns="" id="{3D9F7C96-E87F-4CCF-B9DA-F5CEFBCCEA4B}"/>
              </a:ext>
            </a:extLst>
          </p:cNvPr>
          <p:cNvGrpSpPr/>
          <p:nvPr/>
        </p:nvGrpSpPr>
        <p:grpSpPr>
          <a:xfrm>
            <a:off x="5901402" y="1187632"/>
            <a:ext cx="3977585" cy="5052901"/>
            <a:chOff x="5728675" y="2149812"/>
            <a:chExt cx="2876668" cy="4737573"/>
          </a:xfrm>
        </p:grpSpPr>
        <p:grpSp>
          <p:nvGrpSpPr>
            <p:cNvPr id="24" name="Group 26">
              <a:extLst>
                <a:ext uri="{FF2B5EF4-FFF2-40B4-BE49-F238E27FC236}">
                  <a16:creationId xmlns:a16="http://schemas.microsoft.com/office/drawing/2014/main" xmlns="" id="{23E085FC-A4A8-485A-A524-DAF1FE83F61A}"/>
                </a:ext>
              </a:extLst>
            </p:cNvPr>
            <p:cNvGrpSpPr/>
            <p:nvPr/>
          </p:nvGrpSpPr>
          <p:grpSpPr>
            <a:xfrm>
              <a:off x="5728675" y="4377130"/>
              <a:ext cx="2876668" cy="2510255"/>
              <a:chOff x="3941342" y="4352658"/>
              <a:chExt cx="2876668" cy="2510255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xmlns="" id="{C15A197F-27CF-4638-ADA6-55054855DA96}"/>
                  </a:ext>
                </a:extLst>
              </p:cNvPr>
              <p:cNvSpPr txBox="1"/>
              <p:nvPr/>
            </p:nvSpPr>
            <p:spPr>
              <a:xfrm>
                <a:off x="3941342" y="5564349"/>
                <a:ext cx="2842223" cy="12985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각 연령대별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cluster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중 </a:t>
                </a:r>
                <a:r>
                  <a:rPr lang="ko-KR" altLang="en-US" sz="1400" u="sng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가장 많은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 숫자가 속한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class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를 할당한다</a:t>
                </a:r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algn="ctr"/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algn="ctr"/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ex)  C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는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class 0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에 속하는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point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들이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1018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개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class 1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는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2190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개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class 2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는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53062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개이므로 가장 많은 </a:t>
                </a:r>
                <a:r>
                  <a:rPr lang="en-US" altLang="ko-KR" sz="1400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class 2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에 속한다고 할 수 있다</a:t>
                </a:r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36ED693C-411E-486C-A949-1BEE36D45B89}"/>
                  </a:ext>
                </a:extLst>
              </p:cNvPr>
              <p:cNvSpPr txBox="1"/>
              <p:nvPr/>
            </p:nvSpPr>
            <p:spPr>
              <a:xfrm>
                <a:off x="3954080" y="4716762"/>
                <a:ext cx="2842223" cy="692567"/>
              </a:xfrm>
              <a:prstGeom prst="rect">
                <a:avLst/>
              </a:prstGeom>
              <a:noFill/>
            </p:spPr>
            <p:txBody>
              <a:bodyPr wrap="square" lIns="90000" rIns="108000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0: A, H</a:t>
                </a:r>
              </a:p>
              <a:p>
                <a:pPr algn="ctr"/>
                <a:r>
                  <a:rPr lang="en-US" altLang="ko-KR" sz="1400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1: B, F, G</a:t>
                </a:r>
              </a:p>
              <a:p>
                <a:pPr algn="ctr"/>
                <a:r>
                  <a:rPr lang="en-US" altLang="ko-KR" sz="1400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2: C, D, E</a:t>
                </a:r>
                <a:endParaRPr lang="ko-KR" altLang="en-US" sz="1400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xmlns="" id="{FF609295-5823-4EE4-BCCF-6BD95E965DDC}"/>
                  </a:ext>
                </a:extLst>
              </p:cNvPr>
              <p:cNvSpPr txBox="1"/>
              <p:nvPr/>
            </p:nvSpPr>
            <p:spPr>
              <a:xfrm>
                <a:off x="3975786" y="4352658"/>
                <a:ext cx="2842224" cy="259713"/>
              </a:xfrm>
              <a:prstGeom prst="rect">
                <a:avLst/>
              </a:prstGeom>
              <a:noFill/>
            </p:spPr>
            <p:txBody>
              <a:bodyPr wrap="square" lIns="72000" tIns="0" rIns="36000" bIns="0" rtlCol="0">
                <a:spAutoFit/>
              </a:bodyPr>
              <a:lstStyle/>
              <a:p>
                <a:pPr algn="ctr"/>
                <a:r>
                  <a:rPr lang="ko-KR" altLang="en-US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군집화 결과 해석</a:t>
                </a:r>
              </a:p>
            </p:txBody>
          </p:sp>
        </p:grpSp>
        <p:grpSp>
          <p:nvGrpSpPr>
            <p:cNvPr id="29" name="Group 30">
              <a:extLst>
                <a:ext uri="{FF2B5EF4-FFF2-40B4-BE49-F238E27FC236}">
                  <a16:creationId xmlns:a16="http://schemas.microsoft.com/office/drawing/2014/main" xmlns="" id="{72977C48-5D9F-4AF6-9B35-A4E46D9E761C}"/>
                </a:ext>
              </a:extLst>
            </p:cNvPr>
            <p:cNvGrpSpPr/>
            <p:nvPr/>
          </p:nvGrpSpPr>
          <p:grpSpPr>
            <a:xfrm>
              <a:off x="5823116" y="2149812"/>
              <a:ext cx="2714191" cy="1881541"/>
              <a:chOff x="3956895" y="1810142"/>
              <a:chExt cx="2714191" cy="1881541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xmlns="" id="{3F2D538E-43E0-4A64-A164-32643CECAFCD}"/>
                  </a:ext>
                </a:extLst>
              </p:cNvPr>
              <p:cNvSpPr txBox="1"/>
              <p:nvPr/>
            </p:nvSpPr>
            <p:spPr>
              <a:xfrm>
                <a:off x="3956895" y="2191121"/>
                <a:ext cx="2706152" cy="15005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전체 데이터를 </a:t>
                </a:r>
                <a:r>
                  <a:rPr lang="en-US" altLang="ko-KR" sz="1400" u="sng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3</a:t>
                </a:r>
                <a:r>
                  <a:rPr lang="ko-KR" altLang="en-US" sz="1400" u="sng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개의 군집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으로 나누고자 했다</a:t>
                </a:r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algn="ctr"/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algn="ctr"/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이때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</a:t>
                </a:r>
                <a:r>
                  <a:rPr lang="ko-KR" altLang="en-US" sz="1400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스코어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에 기반한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class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들의 벡터를 사용하기 위해 기혼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유아자녀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초등학생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중고생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,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대학생자녀 및 전업주부스코어를 골라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K-Means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를 실행시켰다</a:t>
                </a:r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  <a:p>
                <a:pPr algn="ctr"/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Iteration 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횟수는 최대 </a:t>
                </a:r>
                <a:r>
                  <a:rPr lang="en-US" altLang="ko-KR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1000</a:t>
                </a:r>
                <a:r>
                  <a:rPr lang="ko-KR" altLang="en-US" sz="14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회로 설정했다</a:t>
                </a:r>
                <a:endParaRPr lang="en-US" altLang="ko-KR" sz="1400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xmlns="" id="{CDCD8BE7-85AF-4FDA-BB0D-B37A40366428}"/>
                  </a:ext>
                </a:extLst>
              </p:cNvPr>
              <p:cNvSpPr txBox="1"/>
              <p:nvPr/>
            </p:nvSpPr>
            <p:spPr>
              <a:xfrm>
                <a:off x="3964934" y="1810142"/>
                <a:ext cx="2706152" cy="346284"/>
              </a:xfrm>
              <a:prstGeom prst="rect">
                <a:avLst/>
              </a:prstGeom>
              <a:noFill/>
            </p:spPr>
            <p:txBody>
              <a:bodyPr wrap="square" lIns="90000" rIns="108000" rtlCol="0">
                <a:spAutoFit/>
              </a:bodyPr>
              <a:lstStyle/>
              <a:p>
                <a:pPr algn="ctr"/>
                <a:r>
                  <a:rPr lang="en-US" altLang="ko-KR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K-Means </a:t>
                </a:r>
                <a:r>
                  <a:rPr lang="ko-KR" altLang="en-US" b="1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코드</a:t>
                </a:r>
              </a:p>
            </p:txBody>
          </p:sp>
        </p:grp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xmlns="" id="{3C8E6AD0-4DE8-4358-BB9D-A943C7379DBC}"/>
              </a:ext>
            </a:extLst>
          </p:cNvPr>
          <p:cNvGrpSpPr/>
          <p:nvPr/>
        </p:nvGrpSpPr>
        <p:grpSpPr>
          <a:xfrm>
            <a:off x="592975" y="5232189"/>
            <a:ext cx="3959974" cy="1293863"/>
            <a:chOff x="592975" y="5079789"/>
            <a:chExt cx="3959974" cy="12938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xmlns="" id="{7055702A-EEC4-4912-B4D2-6BC976B4C756}"/>
                </a:ext>
              </a:extLst>
            </p:cNvPr>
            <p:cNvSpPr txBox="1"/>
            <p:nvPr/>
          </p:nvSpPr>
          <p:spPr>
            <a:xfrm>
              <a:off x="592976" y="5079789"/>
              <a:ext cx="3959973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/>
              <a:r>
                <a:rPr lang="en-US" altLang="ko-KR" sz="4000" b="1" dirty="0">
                  <a:solidFill>
                    <a:schemeClr val="accent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NEW</a:t>
              </a:r>
              <a:r>
                <a:rPr lang="ko-KR" altLang="en-US" sz="4000" b="1" dirty="0">
                  <a:solidFill>
                    <a:schemeClr val="accent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 그룹</a:t>
              </a:r>
              <a:endParaRPr lang="en-US" altLang="ko-KR" sz="4000" b="1" dirty="0">
                <a:solidFill>
                  <a:schemeClr val="accent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5E0472D9-6FDC-4AB6-A9A8-5C3DB1FD057B}"/>
                </a:ext>
              </a:extLst>
            </p:cNvPr>
            <p:cNvSpPr txBox="1"/>
            <p:nvPr/>
          </p:nvSpPr>
          <p:spPr>
            <a:xfrm>
              <a:off x="592975" y="5896598"/>
              <a:ext cx="3959973" cy="4770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/>
              <a:r>
                <a:rPr lang="en-US" altLang="ko-KR" sz="2500" b="1" dirty="0">
                  <a:solidFill>
                    <a:schemeClr val="accent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0: A,H/1:B,F,G/2:C,D,E</a:t>
              </a:r>
              <a:endParaRPr lang="ko-KR" altLang="en-US" sz="2500" b="1" dirty="0">
                <a:solidFill>
                  <a:schemeClr val="accent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AEAF951B-449E-48DF-8568-C0A778456B0E}"/>
                </a:ext>
              </a:extLst>
            </p:cNvPr>
            <p:cNvSpPr txBox="1"/>
            <p:nvPr/>
          </p:nvSpPr>
          <p:spPr>
            <a:xfrm>
              <a:off x="592976" y="5843966"/>
              <a:ext cx="3959973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/>
              <a:endParaRPr lang="ko-KR" altLang="en-US" sz="1400" dirty="0">
                <a:solidFill>
                  <a:schemeClr val="accent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FD854B0D-223A-44B1-AFAB-47A95BB02B7B}"/>
              </a:ext>
            </a:extLst>
          </p:cNvPr>
          <p:cNvSpPr/>
          <p:nvPr/>
        </p:nvSpPr>
        <p:spPr>
          <a:xfrm>
            <a:off x="9926420" y="2466975"/>
            <a:ext cx="2103655" cy="628589"/>
          </a:xfrm>
          <a:prstGeom prst="rect">
            <a:avLst/>
          </a:prstGeom>
          <a:noFill/>
          <a:ln w="28575">
            <a:solidFill>
              <a:srgbClr val="EC7A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cxnSp>
        <p:nvCxnSpPr>
          <p:cNvPr id="11" name="연결선: 꺾임 10">
            <a:extLst>
              <a:ext uri="{FF2B5EF4-FFF2-40B4-BE49-F238E27FC236}">
                <a16:creationId xmlns:a16="http://schemas.microsoft.com/office/drawing/2014/main" xmlns="" id="{FAD7B222-51CF-489D-A405-764B6124DD21}"/>
              </a:ext>
            </a:extLst>
          </p:cNvPr>
          <p:cNvCxnSpPr>
            <a:cxnSpLocks/>
          </p:cNvCxnSpPr>
          <p:nvPr/>
        </p:nvCxnSpPr>
        <p:spPr>
          <a:xfrm rot="5400000">
            <a:off x="9147832" y="3801908"/>
            <a:ext cx="2652032" cy="1249744"/>
          </a:xfrm>
          <a:prstGeom prst="bentConnector3">
            <a:avLst>
              <a:gd name="adj1" fmla="val 99923"/>
            </a:avLst>
          </a:prstGeom>
          <a:ln w="12700">
            <a:solidFill>
              <a:srgbClr val="EC7A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xmlns="" id="{6E699DFE-9B8F-4C5F-B594-F69B4FD33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3503" y="180606"/>
            <a:ext cx="12192000" cy="701377"/>
          </a:xfrm>
          <a:prstGeom prst="rect">
            <a:avLst/>
          </a:prstGeom>
        </p:spPr>
        <p:txBody>
          <a:bodyPr/>
          <a:lstStyle/>
          <a:p>
            <a:r>
              <a:rPr lang="en-US" altLang="ko-KR" sz="5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K-Means </a:t>
            </a:r>
            <a:r>
              <a:rPr lang="ko-KR" altLang="en-US" sz="5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결과</a:t>
            </a:r>
          </a:p>
        </p:txBody>
      </p:sp>
    </p:spTree>
    <p:extLst>
      <p:ext uri="{BB962C8B-B14F-4D97-AF65-F5344CB8AC3E}">
        <p14:creationId xmlns:p14="http://schemas.microsoft.com/office/powerpoint/2010/main" val="23953354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그룹 4">
            <a:extLst>
              <a:ext uri="{FF2B5EF4-FFF2-40B4-BE49-F238E27FC236}">
                <a16:creationId xmlns:a16="http://schemas.microsoft.com/office/drawing/2014/main" xmlns="" id="{0D544206-EEB8-4AD4-B63F-D91C518F8B60}"/>
              </a:ext>
            </a:extLst>
          </p:cNvPr>
          <p:cNvGrpSpPr/>
          <p:nvPr/>
        </p:nvGrpSpPr>
        <p:grpSpPr>
          <a:xfrm>
            <a:off x="448720" y="93566"/>
            <a:ext cx="4893563" cy="6374095"/>
            <a:chOff x="-43838" y="694569"/>
            <a:chExt cx="4893563" cy="5411545"/>
          </a:xfrm>
        </p:grpSpPr>
        <p:sp>
          <p:nvSpPr>
            <p:cNvPr id="6" name="Text Placeholder 13">
              <a:extLst>
                <a:ext uri="{FF2B5EF4-FFF2-40B4-BE49-F238E27FC236}">
                  <a16:creationId xmlns:a16="http://schemas.microsoft.com/office/drawing/2014/main" xmlns="" id="{7F32B038-5A40-4368-B4E5-040F1D005440}"/>
                </a:ext>
              </a:extLst>
            </p:cNvPr>
            <p:cNvSpPr txBox="1">
              <a:spLocks/>
            </p:cNvSpPr>
            <p:nvPr/>
          </p:nvSpPr>
          <p:spPr>
            <a:xfrm>
              <a:off x="12657" y="944057"/>
              <a:ext cx="3216645" cy="636704"/>
            </a:xfrm>
            <a:prstGeom prst="rect">
              <a:avLst/>
            </a:prstGeom>
          </p:spPr>
          <p:txBody>
            <a:bodyPr anchor="ctr"/>
            <a:lstStyle>
              <a:lvl1pPr marL="342900" indent="-3429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None/>
              </a:pPr>
              <a:r>
                <a:rPr lang="ko-KR" altLang="en-US" sz="3733" b="1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  <a:cs typeface="Arial" pitchFamily="34" charset="0"/>
                </a:rPr>
                <a:t>군집화 평가</a:t>
              </a:r>
              <a:endParaRPr lang="en-US" altLang="ko-KR" sz="3733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xmlns="" id="{7FFAE5E9-C183-40EC-8294-B7822BA2FFEA}"/>
                </a:ext>
              </a:extLst>
            </p:cNvPr>
            <p:cNvGrpSpPr/>
            <p:nvPr/>
          </p:nvGrpSpPr>
          <p:grpSpPr>
            <a:xfrm>
              <a:off x="-43838" y="694569"/>
              <a:ext cx="4893563" cy="5411545"/>
              <a:chOff x="-43838" y="694569"/>
              <a:chExt cx="4893563" cy="5411545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xmlns="" id="{99FBBCD6-83BE-4EC5-B0DC-A0705CA3B029}"/>
                  </a:ext>
                </a:extLst>
              </p:cNvPr>
              <p:cNvSpPr txBox="1"/>
              <p:nvPr/>
            </p:nvSpPr>
            <p:spPr>
              <a:xfrm>
                <a:off x="309829" y="694569"/>
                <a:ext cx="2919473" cy="2928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altLang="ko-KR" sz="1600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  <a:cs typeface="Arial" pitchFamily="34" charset="0"/>
                  </a:rPr>
                  <a:t>Silhouette Score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xmlns="" id="{16464C83-F791-4B2C-BEF8-D9906869D53D}"/>
                  </a:ext>
                </a:extLst>
              </p:cNvPr>
              <p:cNvSpPr txBox="1"/>
              <p:nvPr/>
            </p:nvSpPr>
            <p:spPr>
              <a:xfrm>
                <a:off x="-43838" y="1441920"/>
                <a:ext cx="4893563" cy="46641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각 군집의 샘플 대부분이 </a:t>
                </a:r>
                <a:r>
                  <a:rPr lang="ko-KR" altLang="en-US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실루엣 점수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(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평균값 </a:t>
                </a:r>
                <a:r>
                  <a:rPr lang="ko-KR" altLang="en-US" dirty="0" err="1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빨간점선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)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를 초과하면 군집의 수가 적당한 것으로 판단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K-Means 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클러스터링은 클러스터 내 </a:t>
                </a:r>
                <a:r>
                  <a:rPr lang="ko-KR" altLang="en-US" dirty="0" err="1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오차제곱합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(SSE)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의 값이 최소가 되도록 클러스터의 중심을 결정 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SSE 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그래프는 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SSE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는 군집내 </a:t>
                </a:r>
                <a:r>
                  <a:rPr lang="ko-KR" altLang="en-US" dirty="0" err="1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오차제곱합으로서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 군집이 많아질수록 작아진다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SSE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의 값이 점점 줄어들다가 어느 순간 줄어드는 비율이 급격하게 작아지는 부분 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(</a:t>
                </a:r>
                <a:r>
                  <a:rPr lang="en-US" altLang="ko-KR" b="1" u="sng" dirty="0">
                    <a:solidFill>
                      <a:srgbClr val="EC7A2C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Elbow Point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)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의 군집 수를 선택한다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ko-KR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∴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 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군집의 개수를 </a:t>
                </a:r>
                <a:r>
                  <a:rPr lang="en-US" altLang="ko-KR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3</a:t>
                </a:r>
                <a:r>
                  <a:rPr lang="ko-KR" altLang="en-US" dirty="0">
                    <a:solidFill>
                      <a:schemeClr val="bg1"/>
                    </a:solidFill>
                    <a:latin typeface="08서울남산체 B" panose="02020603020101020101" pitchFamily="18" charset="-127"/>
                    <a:ea typeface="08서울남산체 B" panose="02020603020101020101" pitchFamily="18" charset="-127"/>
                  </a:rPr>
                  <a:t>으로 선택</a:t>
                </a:r>
                <a:endParaRPr lang="en-US" altLang="ko-KR" dirty="0">
                  <a:solidFill>
                    <a:schemeClr val="bg1"/>
                  </a:solidFill>
                  <a:latin typeface="08서울남산체 B" panose="02020603020101020101" pitchFamily="18" charset="-127"/>
                  <a:ea typeface="08서울남산체 B" panose="02020603020101020101" pitchFamily="18" charset="-127"/>
                </a:endParaRPr>
              </a:p>
            </p:txBody>
          </p:sp>
        </p:grpSp>
      </p:grpSp>
      <p:pic>
        <p:nvPicPr>
          <p:cNvPr id="15" name="그림 14">
            <a:extLst>
              <a:ext uri="{FF2B5EF4-FFF2-40B4-BE49-F238E27FC236}">
                <a16:creationId xmlns:a16="http://schemas.microsoft.com/office/drawing/2014/main" xmlns="" id="{46B3A2AE-EB64-457E-BB2D-52827303E7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8813" y="4448110"/>
            <a:ext cx="4121362" cy="2400423"/>
          </a:xfrm>
          <a:prstGeom prst="rect">
            <a:avLst/>
          </a:prstGeom>
        </p:spPr>
      </p:pic>
      <p:grpSp>
        <p:nvGrpSpPr>
          <p:cNvPr id="19" name="그룹 18">
            <a:extLst>
              <a:ext uri="{FF2B5EF4-FFF2-40B4-BE49-F238E27FC236}">
                <a16:creationId xmlns:a16="http://schemas.microsoft.com/office/drawing/2014/main" xmlns="" id="{701EE085-18DD-44F1-ABA6-FA3890AAC759}"/>
              </a:ext>
            </a:extLst>
          </p:cNvPr>
          <p:cNvGrpSpPr/>
          <p:nvPr/>
        </p:nvGrpSpPr>
        <p:grpSpPr>
          <a:xfrm>
            <a:off x="7138813" y="9467"/>
            <a:ext cx="3915117" cy="4612327"/>
            <a:chOff x="7105308" y="35937"/>
            <a:chExt cx="3896067" cy="4861221"/>
          </a:xfrm>
        </p:grpSpPr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xmlns="" id="{B2D147A3-5F9F-4AEF-B5BD-EBBDAF2ABC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827"/>
            <a:stretch/>
          </p:blipFill>
          <p:spPr>
            <a:xfrm>
              <a:off x="7105308" y="35937"/>
              <a:ext cx="3755265" cy="2525852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xmlns="" id="{30BB4167-B8A8-49AB-B369-C6F857B9F1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612"/>
            <a:stretch/>
          </p:blipFill>
          <p:spPr>
            <a:xfrm>
              <a:off x="7143584" y="2364927"/>
              <a:ext cx="3857791" cy="2532231"/>
            </a:xfrm>
            <a:prstGeom prst="rect">
              <a:avLst/>
            </a:prstGeom>
          </p:spPr>
        </p:pic>
      </p:grpSp>
      <p:sp>
        <p:nvSpPr>
          <p:cNvPr id="20" name="원형: 비어 있음 19">
            <a:extLst>
              <a:ext uri="{FF2B5EF4-FFF2-40B4-BE49-F238E27FC236}">
                <a16:creationId xmlns:a16="http://schemas.microsoft.com/office/drawing/2014/main" xmlns="" id="{D7486ED5-EE60-4AEA-A0AB-9E95959AB09B}"/>
              </a:ext>
            </a:extLst>
          </p:cNvPr>
          <p:cNvSpPr/>
          <p:nvPr/>
        </p:nvSpPr>
        <p:spPr>
          <a:xfrm>
            <a:off x="9061972" y="5499151"/>
            <a:ext cx="360000" cy="360000"/>
          </a:xfrm>
          <a:prstGeom prst="donut">
            <a:avLst>
              <a:gd name="adj" fmla="val 6434"/>
            </a:avLst>
          </a:prstGeom>
          <a:solidFill>
            <a:srgbClr val="FFC000"/>
          </a:solid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xmlns="" id="{C1CE521C-AB83-4A48-9994-AED8C6332C63}"/>
              </a:ext>
            </a:extLst>
          </p:cNvPr>
          <p:cNvCxnSpPr>
            <a:stCxn id="15" idx="1"/>
          </p:cNvCxnSpPr>
          <p:nvPr/>
        </p:nvCxnSpPr>
        <p:spPr>
          <a:xfrm flipH="1">
            <a:off x="4895850" y="5648322"/>
            <a:ext cx="2242963" cy="210829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3A2788E8-5012-4F9C-AD24-B2329B3A67C4}"/>
              </a:ext>
            </a:extLst>
          </p:cNvPr>
          <p:cNvSpPr/>
          <p:nvPr/>
        </p:nvSpPr>
        <p:spPr>
          <a:xfrm>
            <a:off x="9071497" y="18992"/>
            <a:ext cx="1850468" cy="2276533"/>
          </a:xfrm>
          <a:prstGeom prst="rect">
            <a:avLst/>
          </a:prstGeom>
          <a:noFill/>
          <a:ln w="28575">
            <a:solidFill>
              <a:srgbClr val="EC7A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24" name="Group 14">
            <a:extLst>
              <a:ext uri="{FF2B5EF4-FFF2-40B4-BE49-F238E27FC236}">
                <a16:creationId xmlns:a16="http://schemas.microsoft.com/office/drawing/2014/main" xmlns="" id="{81656768-6965-4197-AA68-AA0DBAAB3DF6}"/>
              </a:ext>
            </a:extLst>
          </p:cNvPr>
          <p:cNvGrpSpPr/>
          <p:nvPr/>
        </p:nvGrpSpPr>
        <p:grpSpPr>
          <a:xfrm>
            <a:off x="10053042" y="726599"/>
            <a:ext cx="2001776" cy="688134"/>
            <a:chOff x="4860032" y="1844709"/>
            <a:chExt cx="5404127" cy="1502733"/>
          </a:xfrm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xmlns="" id="{540041FC-A465-466C-914B-50DC78213EAB}"/>
                </a:ext>
              </a:extLst>
            </p:cNvPr>
            <p:cNvSpPr/>
            <p:nvPr/>
          </p:nvSpPr>
          <p:spPr>
            <a:xfrm>
              <a:off x="5220070" y="1847560"/>
              <a:ext cx="4982309" cy="149988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400" dirty="0">
                  <a:latin typeface="08서울남산체 B" panose="02020603020101020101" pitchFamily="18" charset="-127"/>
                  <a:ea typeface="08서울남산체 B" panose="02020603020101020101" pitchFamily="18" charset="-127"/>
                </a:rPr>
                <a:t>대부분의 데이터가 실루엣 점수인 빨간 점선을 넘음</a:t>
              </a:r>
            </a:p>
          </p:txBody>
        </p:sp>
        <p:sp>
          <p:nvSpPr>
            <p:cNvPr id="26" name="Isosceles Triangle 16">
              <a:extLst>
                <a:ext uri="{FF2B5EF4-FFF2-40B4-BE49-F238E27FC236}">
                  <a16:creationId xmlns:a16="http://schemas.microsoft.com/office/drawing/2014/main" xmlns="" id="{525EEE71-65A9-4055-8827-6E76FFAB26B5}"/>
                </a:ext>
              </a:extLst>
            </p:cNvPr>
            <p:cNvSpPr/>
            <p:nvPr/>
          </p:nvSpPr>
          <p:spPr>
            <a:xfrm rot="16200000">
              <a:off x="4860032" y="2417481"/>
              <a:ext cx="360040" cy="36003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xmlns="" id="{EE258C8C-4508-4B17-A9C9-70CFEC696100}"/>
                </a:ext>
              </a:extLst>
            </p:cNvPr>
            <p:cNvSpPr/>
            <p:nvPr/>
          </p:nvSpPr>
          <p:spPr>
            <a:xfrm>
              <a:off x="9732499" y="1844709"/>
              <a:ext cx="531660" cy="149988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01331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E97AACD0-B6A1-46DD-9020-EEC4B335ED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CD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F8076799-5877-49C7-A43F-FC5C2831591B}"/>
              </a:ext>
            </a:extLst>
          </p:cNvPr>
          <p:cNvSpPr/>
          <p:nvPr/>
        </p:nvSpPr>
        <p:spPr>
          <a:xfrm>
            <a:off x="390525" y="180975"/>
            <a:ext cx="11344275" cy="6353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xmlns="" id="{EA6B5434-BF1F-48E4-B432-74624F5385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56" r="27273"/>
          <a:stretch/>
        </p:blipFill>
        <p:spPr>
          <a:xfrm>
            <a:off x="578948" y="1675859"/>
            <a:ext cx="5539721" cy="4591050"/>
          </a:xfrm>
          <a:prstGeom prst="rect">
            <a:avLst/>
          </a:prstGeom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xmlns="" id="{BEF6CAE5-1EA4-4DFB-8662-065DE0285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7617" y="1428750"/>
            <a:ext cx="4741909" cy="4838159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108B87E1-7A6C-4DC4-95A7-D9D93009694D}"/>
              </a:ext>
            </a:extLst>
          </p:cNvPr>
          <p:cNvSpPr/>
          <p:nvPr/>
        </p:nvSpPr>
        <p:spPr>
          <a:xfrm>
            <a:off x="2828925" y="704850"/>
            <a:ext cx="6505575" cy="144000"/>
          </a:xfrm>
          <a:prstGeom prst="rect">
            <a:avLst/>
          </a:prstGeom>
          <a:solidFill>
            <a:srgbClr val="98DC5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xmlns="" id="{7C729CD2-8224-4AF6-97C9-5E6710EFF3BA}"/>
              </a:ext>
            </a:extLst>
          </p:cNvPr>
          <p:cNvSpPr txBox="1">
            <a:spLocks/>
          </p:cNvSpPr>
          <p:nvPr/>
        </p:nvSpPr>
        <p:spPr>
          <a:xfrm>
            <a:off x="-13503" y="171081"/>
            <a:ext cx="12192000" cy="701377"/>
          </a:xfrm>
          <a:prstGeom prst="rect">
            <a:avLst/>
          </a:prstGeom>
        </p:spPr>
        <p:txBody>
          <a:bodyPr/>
          <a:lstStyle>
            <a:lvl1pPr algn="l" defTabSz="9144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ko-KR" sz="54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Sihouette</a:t>
            </a:r>
            <a:r>
              <a:rPr lang="en-US" altLang="ko-KR" sz="5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Score </a:t>
            </a:r>
            <a:r>
              <a:rPr lang="ko-KR" altLang="en-US" sz="5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드</a:t>
            </a:r>
          </a:p>
        </p:txBody>
      </p:sp>
    </p:spTree>
    <p:extLst>
      <p:ext uri="{BB962C8B-B14F-4D97-AF65-F5344CB8AC3E}">
        <p14:creationId xmlns:p14="http://schemas.microsoft.com/office/powerpoint/2010/main" val="14101766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ko-KR" altLang="en-US" dirty="0"/>
              <a:t>연령대 그래프 활용</a:t>
            </a:r>
            <a:endParaRPr lang="en-US" dirty="0"/>
          </a:p>
        </p:txBody>
      </p:sp>
      <p:cxnSp>
        <p:nvCxnSpPr>
          <p:cNvPr id="3" name="Straight Connector 10">
            <a:extLst>
              <a:ext uri="{FF2B5EF4-FFF2-40B4-BE49-F238E27FC236}">
                <a16:creationId xmlns:a16="http://schemas.microsoft.com/office/drawing/2014/main" xmlns="" id="{63C6E5C0-CF62-4D57-8729-210A7AEE1048}"/>
              </a:ext>
            </a:extLst>
          </p:cNvPr>
          <p:cNvCxnSpPr>
            <a:cxnSpLocks/>
            <a:endCxn id="8" idx="2"/>
          </p:cNvCxnSpPr>
          <p:nvPr/>
        </p:nvCxnSpPr>
        <p:spPr>
          <a:xfrm>
            <a:off x="0" y="4965681"/>
            <a:ext cx="3001168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xmlns="" id="{21B37C3F-3544-4346-AEA9-09BA764C122D}"/>
              </a:ext>
            </a:extLst>
          </p:cNvPr>
          <p:cNvCxnSpPr>
            <a:cxnSpLocks/>
            <a:stCxn id="8" idx="6"/>
            <a:endCxn id="9" idx="3"/>
          </p:cNvCxnSpPr>
          <p:nvPr/>
        </p:nvCxnSpPr>
        <p:spPr>
          <a:xfrm flipV="1">
            <a:off x="3164910" y="4587718"/>
            <a:ext cx="1647549" cy="377963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3">
            <a:extLst>
              <a:ext uri="{FF2B5EF4-FFF2-40B4-BE49-F238E27FC236}">
                <a16:creationId xmlns:a16="http://schemas.microsoft.com/office/drawing/2014/main" xmlns="" id="{25C1275E-576E-4691-B15E-7E2D2C6DAF1C}"/>
              </a:ext>
            </a:extLst>
          </p:cNvPr>
          <p:cNvCxnSpPr>
            <a:cxnSpLocks/>
            <a:endCxn id="10" idx="2"/>
          </p:cNvCxnSpPr>
          <p:nvPr/>
        </p:nvCxnSpPr>
        <p:spPr>
          <a:xfrm flipV="1">
            <a:off x="7436644" y="3725000"/>
            <a:ext cx="2108881" cy="377412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5">
            <a:extLst>
              <a:ext uri="{FF2B5EF4-FFF2-40B4-BE49-F238E27FC236}">
                <a16:creationId xmlns:a16="http://schemas.microsoft.com/office/drawing/2014/main" xmlns="" id="{F64F17D5-273C-47D7-97FB-A33E1F0D4774}"/>
              </a:ext>
            </a:extLst>
          </p:cNvPr>
          <p:cNvCxnSpPr>
            <a:cxnSpLocks/>
          </p:cNvCxnSpPr>
          <p:nvPr/>
        </p:nvCxnSpPr>
        <p:spPr>
          <a:xfrm flipV="1">
            <a:off x="9709267" y="2179789"/>
            <a:ext cx="1361375" cy="525099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xmlns="" id="{2B3C1D32-5CA1-4742-89A2-ED2D70AC7EF7}"/>
              </a:ext>
            </a:extLst>
          </p:cNvPr>
          <p:cNvCxnSpPr>
            <a:cxnSpLocks/>
            <a:stCxn id="10" idx="7"/>
          </p:cNvCxnSpPr>
          <p:nvPr/>
        </p:nvCxnSpPr>
        <p:spPr>
          <a:xfrm flipV="1">
            <a:off x="9685288" y="2704888"/>
            <a:ext cx="23979" cy="96222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17">
            <a:extLst>
              <a:ext uri="{FF2B5EF4-FFF2-40B4-BE49-F238E27FC236}">
                <a16:creationId xmlns:a16="http://schemas.microsoft.com/office/drawing/2014/main" xmlns="" id="{44B95399-856D-491D-A833-F6315064D8CA}"/>
              </a:ext>
            </a:extLst>
          </p:cNvPr>
          <p:cNvSpPr/>
          <p:nvPr/>
        </p:nvSpPr>
        <p:spPr>
          <a:xfrm>
            <a:off x="3001168" y="4883810"/>
            <a:ext cx="163742" cy="163742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9" name="Oval 18">
            <a:extLst>
              <a:ext uri="{FF2B5EF4-FFF2-40B4-BE49-F238E27FC236}">
                <a16:creationId xmlns:a16="http://schemas.microsoft.com/office/drawing/2014/main" xmlns="" id="{180BF080-F1EB-4443-862D-0E9AE2EDEACD}"/>
              </a:ext>
            </a:extLst>
          </p:cNvPr>
          <p:cNvSpPr/>
          <p:nvPr/>
        </p:nvSpPr>
        <p:spPr>
          <a:xfrm>
            <a:off x="4788480" y="4447955"/>
            <a:ext cx="163742" cy="163742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0" name="Oval 21">
            <a:extLst>
              <a:ext uri="{FF2B5EF4-FFF2-40B4-BE49-F238E27FC236}">
                <a16:creationId xmlns:a16="http://schemas.microsoft.com/office/drawing/2014/main" xmlns="" id="{DFE855CF-3906-4901-9E4A-38DFFB9DE1B1}"/>
              </a:ext>
            </a:extLst>
          </p:cNvPr>
          <p:cNvSpPr/>
          <p:nvPr/>
        </p:nvSpPr>
        <p:spPr>
          <a:xfrm>
            <a:off x="9545525" y="3643129"/>
            <a:ext cx="163742" cy="163742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5EC171D-6776-4265-8486-FA795E2A374F}"/>
              </a:ext>
            </a:extLst>
          </p:cNvPr>
          <p:cNvSpPr txBox="1"/>
          <p:nvPr/>
        </p:nvSpPr>
        <p:spPr>
          <a:xfrm>
            <a:off x="4040722" y="3806871"/>
            <a:ext cx="74450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286" latinLnBrk="0"/>
            <a:r>
              <a:rPr lang="en-US" altLang="ko-KR" sz="3200" b="1" dirty="0">
                <a:solidFill>
                  <a:srgbClr val="4CD6B0"/>
                </a:solidFill>
                <a:ea typeface="08서울남산체 B" panose="02020603020101020101" pitchFamily="18" charset="-127"/>
                <a:cs typeface="Arial" pitchFamily="34" charset="0"/>
              </a:rPr>
              <a:t>02</a:t>
            </a:r>
            <a:endParaRPr lang="ko-KR" altLang="en-US" sz="3200" b="1" dirty="0">
              <a:solidFill>
                <a:srgbClr val="4CD6B0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D9B6BDE-701B-4224-AA53-B4603C63A4DD}"/>
              </a:ext>
            </a:extLst>
          </p:cNvPr>
          <p:cNvSpPr txBox="1"/>
          <p:nvPr/>
        </p:nvSpPr>
        <p:spPr>
          <a:xfrm>
            <a:off x="7051379" y="4244003"/>
            <a:ext cx="74450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286" latinLnBrk="0"/>
            <a:r>
              <a:rPr lang="en-US" altLang="ko-KR" sz="3200" b="1" dirty="0">
                <a:solidFill>
                  <a:srgbClr val="98DC56"/>
                </a:solidFill>
                <a:ea typeface="08서울남산체 B" panose="02020603020101020101" pitchFamily="18" charset="-127"/>
                <a:cs typeface="Arial" pitchFamily="34" charset="0"/>
              </a:rPr>
              <a:t>03</a:t>
            </a:r>
            <a:endParaRPr lang="ko-KR" altLang="en-US" sz="3200" b="1" dirty="0">
              <a:solidFill>
                <a:srgbClr val="98DC56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76FE2AD-8B24-4B5E-8F86-F28FB89B7C7A}"/>
              </a:ext>
            </a:extLst>
          </p:cNvPr>
          <p:cNvSpPr txBox="1"/>
          <p:nvPr/>
        </p:nvSpPr>
        <p:spPr>
          <a:xfrm>
            <a:off x="9255143" y="3945051"/>
            <a:ext cx="74450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286" latinLnBrk="0"/>
            <a:r>
              <a:rPr lang="en-US" altLang="ko-KR" sz="3200" b="1" dirty="0">
                <a:solidFill>
                  <a:srgbClr val="5EBEE4"/>
                </a:solidFill>
                <a:ea typeface="08서울남산체 B" panose="02020603020101020101" pitchFamily="18" charset="-127"/>
                <a:cs typeface="Arial" pitchFamily="34" charset="0"/>
              </a:rPr>
              <a:t>04</a:t>
            </a:r>
            <a:endParaRPr lang="ko-KR" altLang="en-US" sz="3200" b="1" dirty="0">
              <a:solidFill>
                <a:srgbClr val="5EBEE4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grpSp>
        <p:nvGrpSpPr>
          <p:cNvPr id="14" name="Group 30">
            <a:extLst>
              <a:ext uri="{FF2B5EF4-FFF2-40B4-BE49-F238E27FC236}">
                <a16:creationId xmlns:a16="http://schemas.microsoft.com/office/drawing/2014/main" xmlns="" id="{331A3228-77DA-43CA-8915-37445C62692A}"/>
              </a:ext>
            </a:extLst>
          </p:cNvPr>
          <p:cNvGrpSpPr/>
          <p:nvPr/>
        </p:nvGrpSpPr>
        <p:grpSpPr>
          <a:xfrm>
            <a:off x="1809613" y="3507246"/>
            <a:ext cx="2171315" cy="1114656"/>
            <a:chOff x="993672" y="3632214"/>
            <a:chExt cx="1989414" cy="111465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0304EF91-8FDF-4156-8288-D4EA728FF76B}"/>
                </a:ext>
              </a:extLst>
            </p:cNvPr>
            <p:cNvSpPr txBox="1"/>
            <p:nvPr/>
          </p:nvSpPr>
          <p:spPr>
            <a:xfrm>
              <a:off x="993672" y="3632214"/>
              <a:ext cx="19894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286" latinLnBrk="0"/>
              <a:r>
                <a:rPr lang="ko-KR" altLang="en-US" b="1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그룹별 매출 분석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A2405B24-E6F8-4F62-967F-93675E45BE3B}"/>
                </a:ext>
              </a:extLst>
            </p:cNvPr>
            <p:cNvSpPr txBox="1"/>
            <p:nvPr/>
          </p:nvSpPr>
          <p:spPr>
            <a:xfrm>
              <a:off x="993672" y="3915873"/>
              <a:ext cx="198941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286" latinLnBrk="0"/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세 그룹에 대해 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2019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년</a:t>
              </a: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/2020</a:t>
              </a:r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년의 항목별 매출 비중을 분석 </a:t>
              </a:r>
            </a:p>
          </p:txBody>
        </p:sp>
      </p:grpSp>
      <p:grpSp>
        <p:nvGrpSpPr>
          <p:cNvPr id="17" name="Group 33">
            <a:extLst>
              <a:ext uri="{FF2B5EF4-FFF2-40B4-BE49-F238E27FC236}">
                <a16:creationId xmlns:a16="http://schemas.microsoft.com/office/drawing/2014/main" xmlns="" id="{C0C16821-E0BB-4C22-9F52-7B5E7AE67F16}"/>
              </a:ext>
            </a:extLst>
          </p:cNvPr>
          <p:cNvGrpSpPr/>
          <p:nvPr/>
        </p:nvGrpSpPr>
        <p:grpSpPr>
          <a:xfrm>
            <a:off x="7043598" y="4965681"/>
            <a:ext cx="2171315" cy="1114656"/>
            <a:chOff x="993672" y="3632214"/>
            <a:chExt cx="1989414" cy="111465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2BA1A5C9-02AA-43FD-BAA2-744F1B8D843F}"/>
                </a:ext>
              </a:extLst>
            </p:cNvPr>
            <p:cNvSpPr txBox="1"/>
            <p:nvPr/>
          </p:nvSpPr>
          <p:spPr>
            <a:xfrm>
              <a:off x="993672" y="3632214"/>
              <a:ext cx="19894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ko-KR" altLang="en-US" b="1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연령대별 카드 제작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FFDE5379-B67E-445F-B384-C7EB225E3F47}"/>
                </a:ext>
              </a:extLst>
            </p:cNvPr>
            <p:cNvSpPr txBox="1"/>
            <p:nvPr/>
          </p:nvSpPr>
          <p:spPr>
            <a:xfrm>
              <a:off x="993672" y="3915873"/>
              <a:ext cx="198941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ko-KR" alt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  <a:cs typeface="Arial" pitchFamily="34" charset="0"/>
                </a:rPr>
                <a:t>그룹의 연령대와 관심사를 바탕으로 연령대별 카드 제작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FB8BAB2-6463-43E7-BC00-F940B03FD73D}"/>
              </a:ext>
            </a:extLst>
          </p:cNvPr>
          <p:cNvSpPr txBox="1"/>
          <p:nvPr/>
        </p:nvSpPr>
        <p:spPr>
          <a:xfrm>
            <a:off x="9350122" y="4539202"/>
            <a:ext cx="217131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세부적인 카테고리 선정 및 분석</a:t>
            </a:r>
            <a:endParaRPr lang="en-US" altLang="ko-KR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defTabSz="914286" latinLnBrk="0"/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할인점</a:t>
            </a:r>
            <a:r>
              <a:rPr lang="en-US" altLang="ko-KR" sz="16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/</a:t>
            </a:r>
            <a:r>
              <a:rPr lang="ko-KR" altLang="en-US" sz="1600" dirty="0" err="1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종합몰에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대한 구체적인 분석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FE072BB-92BE-4815-B575-086E47386FD2}"/>
              </a:ext>
            </a:extLst>
          </p:cNvPr>
          <p:cNvSpPr txBox="1"/>
          <p:nvPr/>
        </p:nvSpPr>
        <p:spPr>
          <a:xfrm>
            <a:off x="2672046" y="5321942"/>
            <a:ext cx="74450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286" latinLnBrk="0"/>
            <a:r>
              <a:rPr lang="en-US" altLang="ko-KR" sz="3200" b="1" dirty="0">
                <a:solidFill>
                  <a:srgbClr val="5EBEE4"/>
                </a:solidFill>
                <a:ea typeface="08서울남산체 B" panose="02020603020101020101" pitchFamily="18" charset="-127"/>
                <a:cs typeface="Arial" pitchFamily="34" charset="0"/>
              </a:rPr>
              <a:t>01</a:t>
            </a:r>
            <a:endParaRPr lang="ko-KR" altLang="en-US" sz="3200" b="1" dirty="0">
              <a:solidFill>
                <a:srgbClr val="5EBEE4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381EA7FD-7921-41C5-B8C7-F7EE225D4E2C}"/>
              </a:ext>
            </a:extLst>
          </p:cNvPr>
          <p:cNvSpPr txBox="1"/>
          <p:nvPr/>
        </p:nvSpPr>
        <p:spPr>
          <a:xfrm>
            <a:off x="161450" y="5249340"/>
            <a:ext cx="255202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연령대 추측</a:t>
            </a:r>
            <a:endParaRPr lang="en-US" altLang="ko-KR" b="1" dirty="0">
              <a:solidFill>
                <a:prstClr val="black">
                  <a:lumMod val="75000"/>
                  <a:lumOff val="25000"/>
                </a:prst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algn="r" defTabSz="914286" latinLnBrk="0"/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주어진 데이터 </a:t>
            </a:r>
            <a:r>
              <a:rPr lang="ko-KR" altLang="en-US" sz="16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전처리를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통해 </a:t>
            </a:r>
            <a:r>
              <a:rPr lang="ko-KR" altLang="en-US" sz="16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클러스터링을</a:t>
            </a:r>
            <a:r>
              <a: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한 각 그룹이 어떤 연령대일지 추정 </a:t>
            </a:r>
          </a:p>
        </p:txBody>
      </p:sp>
      <p:cxnSp>
        <p:nvCxnSpPr>
          <p:cNvPr id="27" name="Straight Connector 15">
            <a:extLst>
              <a:ext uri="{FF2B5EF4-FFF2-40B4-BE49-F238E27FC236}">
                <a16:creationId xmlns:a16="http://schemas.microsoft.com/office/drawing/2014/main" xmlns="" id="{5BDDD556-0A40-49E1-A156-F47AD2CA54AB}"/>
              </a:ext>
            </a:extLst>
          </p:cNvPr>
          <p:cNvCxnSpPr>
            <a:cxnSpLocks/>
          </p:cNvCxnSpPr>
          <p:nvPr/>
        </p:nvCxnSpPr>
        <p:spPr>
          <a:xfrm flipH="1">
            <a:off x="11058652" y="839265"/>
            <a:ext cx="23979" cy="1370692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1">
            <a:extLst>
              <a:ext uri="{FF2B5EF4-FFF2-40B4-BE49-F238E27FC236}">
                <a16:creationId xmlns:a16="http://schemas.microsoft.com/office/drawing/2014/main" xmlns="" id="{4461E422-9AD2-4832-8391-4AA33D795AC1}"/>
              </a:ext>
            </a:extLst>
          </p:cNvPr>
          <p:cNvCxnSpPr>
            <a:cxnSpLocks/>
          </p:cNvCxnSpPr>
          <p:nvPr/>
        </p:nvCxnSpPr>
        <p:spPr>
          <a:xfrm flipV="1">
            <a:off x="10626869" y="840961"/>
            <a:ext cx="455940" cy="43856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11">
            <a:extLst>
              <a:ext uri="{FF2B5EF4-FFF2-40B4-BE49-F238E27FC236}">
                <a16:creationId xmlns:a16="http://schemas.microsoft.com/office/drawing/2014/main" xmlns="" id="{85FA6737-0C2B-463F-A2D9-DEF2B9F3D7B2}"/>
              </a:ext>
            </a:extLst>
          </p:cNvPr>
          <p:cNvCxnSpPr>
            <a:cxnSpLocks/>
          </p:cNvCxnSpPr>
          <p:nvPr/>
        </p:nvCxnSpPr>
        <p:spPr>
          <a:xfrm flipH="1" flipV="1">
            <a:off x="11064526" y="839265"/>
            <a:ext cx="433376" cy="416858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19">
            <a:extLst>
              <a:ext uri="{FF2B5EF4-FFF2-40B4-BE49-F238E27FC236}">
                <a16:creationId xmlns:a16="http://schemas.microsoft.com/office/drawing/2014/main" xmlns="" id="{62899F6D-BB92-4FAF-B80A-3C16F34E6A9F}"/>
              </a:ext>
            </a:extLst>
          </p:cNvPr>
          <p:cNvSpPr/>
          <p:nvPr/>
        </p:nvSpPr>
        <p:spPr>
          <a:xfrm>
            <a:off x="7372308" y="3994618"/>
            <a:ext cx="163742" cy="163742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31" name="그룹 94">
            <a:extLst>
              <a:ext uri="{FF2B5EF4-FFF2-40B4-BE49-F238E27FC236}">
                <a16:creationId xmlns:a16="http://schemas.microsoft.com/office/drawing/2014/main" xmlns="" id="{429607B9-C9E5-491E-B0CA-968D1B0E064B}"/>
              </a:ext>
            </a:extLst>
          </p:cNvPr>
          <p:cNvGrpSpPr/>
          <p:nvPr/>
        </p:nvGrpSpPr>
        <p:grpSpPr>
          <a:xfrm>
            <a:off x="4428445" y="1653940"/>
            <a:ext cx="3446039" cy="2794015"/>
            <a:chOff x="4428445" y="1653940"/>
            <a:chExt cx="3446039" cy="2794015"/>
          </a:xfrm>
        </p:grpSpPr>
        <p:cxnSp>
          <p:nvCxnSpPr>
            <p:cNvPr id="32" name="Straight Connector 12">
              <a:extLst>
                <a:ext uri="{FF2B5EF4-FFF2-40B4-BE49-F238E27FC236}">
                  <a16:creationId xmlns:a16="http://schemas.microsoft.com/office/drawing/2014/main" xmlns="" id="{93D4BBBC-4ABA-4033-B099-7FFE52EEA662}"/>
                </a:ext>
              </a:extLst>
            </p:cNvPr>
            <p:cNvCxnSpPr>
              <a:cxnSpLocks/>
            </p:cNvCxnSpPr>
            <p:nvPr/>
          </p:nvCxnSpPr>
          <p:spPr>
            <a:xfrm>
              <a:off x="4428445" y="3083840"/>
              <a:ext cx="44190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4">
              <a:extLst>
                <a:ext uri="{FF2B5EF4-FFF2-40B4-BE49-F238E27FC236}">
                  <a16:creationId xmlns:a16="http://schemas.microsoft.com/office/drawing/2014/main" xmlns="" id="{C98B58E8-1909-4C40-BB94-629AA9CAA79A}"/>
                </a:ext>
              </a:extLst>
            </p:cNvPr>
            <p:cNvCxnSpPr>
              <a:cxnSpLocks/>
              <a:endCxn id="9" idx="0"/>
            </p:cNvCxnSpPr>
            <p:nvPr/>
          </p:nvCxnSpPr>
          <p:spPr>
            <a:xfrm flipH="1">
              <a:off x="4870351" y="3051450"/>
              <a:ext cx="2036" cy="1396505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2">
              <a:extLst>
                <a:ext uri="{FF2B5EF4-FFF2-40B4-BE49-F238E27FC236}">
                  <a16:creationId xmlns:a16="http://schemas.microsoft.com/office/drawing/2014/main" xmlns="" id="{A9935955-D6F9-4077-9A3B-A7EC7F26D89A}"/>
                </a:ext>
              </a:extLst>
            </p:cNvPr>
            <p:cNvCxnSpPr>
              <a:cxnSpLocks/>
            </p:cNvCxnSpPr>
            <p:nvPr/>
          </p:nvCxnSpPr>
          <p:spPr>
            <a:xfrm>
              <a:off x="7402022" y="3087232"/>
              <a:ext cx="441906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>
              <a:extLst>
                <a:ext uri="{FF2B5EF4-FFF2-40B4-BE49-F238E27FC236}">
                  <a16:creationId xmlns:a16="http://schemas.microsoft.com/office/drawing/2014/main" xmlns="" id="{0329AF5C-A896-40F5-9791-BBA5857BCC63}"/>
                </a:ext>
              </a:extLst>
            </p:cNvPr>
            <p:cNvCxnSpPr>
              <a:cxnSpLocks/>
              <a:endCxn id="30" idx="0"/>
            </p:cNvCxnSpPr>
            <p:nvPr/>
          </p:nvCxnSpPr>
          <p:spPr>
            <a:xfrm>
              <a:off x="7410620" y="3085536"/>
              <a:ext cx="43559" cy="909082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1">
              <a:extLst>
                <a:ext uri="{FF2B5EF4-FFF2-40B4-BE49-F238E27FC236}">
                  <a16:creationId xmlns:a16="http://schemas.microsoft.com/office/drawing/2014/main" xmlns="" id="{387055E0-CBE1-4F3E-A386-AB5A73F6CA55}"/>
                </a:ext>
              </a:extLst>
            </p:cNvPr>
            <p:cNvCxnSpPr>
              <a:cxnSpLocks/>
            </p:cNvCxnSpPr>
            <p:nvPr/>
          </p:nvCxnSpPr>
          <p:spPr>
            <a:xfrm>
              <a:off x="6881121" y="1653940"/>
              <a:ext cx="0" cy="73573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1">
              <a:extLst>
                <a:ext uri="{FF2B5EF4-FFF2-40B4-BE49-F238E27FC236}">
                  <a16:creationId xmlns:a16="http://schemas.microsoft.com/office/drawing/2014/main" xmlns="" id="{9B0F2B7C-F2D8-4ED0-A747-8084C43E88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28445" y="1839083"/>
              <a:ext cx="1729391" cy="1244757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1">
              <a:extLst>
                <a:ext uri="{FF2B5EF4-FFF2-40B4-BE49-F238E27FC236}">
                  <a16:creationId xmlns:a16="http://schemas.microsoft.com/office/drawing/2014/main" xmlns="" id="{31B1012E-CAFC-47EE-80C8-9E490088D6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249199" y="2648081"/>
              <a:ext cx="625285" cy="43576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1">
              <a:extLst>
                <a:ext uri="{FF2B5EF4-FFF2-40B4-BE49-F238E27FC236}">
                  <a16:creationId xmlns:a16="http://schemas.microsoft.com/office/drawing/2014/main" xmlns="" id="{A67F9C8E-222C-4862-9AFE-266F018DAC8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51669" y="1837388"/>
              <a:ext cx="733556" cy="53116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1">
              <a:extLst>
                <a:ext uri="{FF2B5EF4-FFF2-40B4-BE49-F238E27FC236}">
                  <a16:creationId xmlns:a16="http://schemas.microsoft.com/office/drawing/2014/main" xmlns="" id="{56ED82A6-7F2D-48F9-83E9-D2BA2825F36E}"/>
                </a:ext>
              </a:extLst>
            </p:cNvPr>
            <p:cNvCxnSpPr>
              <a:cxnSpLocks/>
            </p:cNvCxnSpPr>
            <p:nvPr/>
          </p:nvCxnSpPr>
          <p:spPr>
            <a:xfrm>
              <a:off x="7249199" y="1653940"/>
              <a:ext cx="0" cy="98863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2">
              <a:extLst>
                <a:ext uri="{FF2B5EF4-FFF2-40B4-BE49-F238E27FC236}">
                  <a16:creationId xmlns:a16="http://schemas.microsoft.com/office/drawing/2014/main" xmlns="" id="{B080A527-70BB-4C0D-9AEE-09FE05A9ED75}"/>
                </a:ext>
              </a:extLst>
            </p:cNvPr>
            <p:cNvCxnSpPr>
              <a:cxnSpLocks/>
            </p:cNvCxnSpPr>
            <p:nvPr/>
          </p:nvCxnSpPr>
          <p:spPr>
            <a:xfrm>
              <a:off x="6870101" y="1653940"/>
              <a:ext cx="379098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그룹 93">
            <a:extLst>
              <a:ext uri="{FF2B5EF4-FFF2-40B4-BE49-F238E27FC236}">
                <a16:creationId xmlns:a16="http://schemas.microsoft.com/office/drawing/2014/main" xmlns="" id="{75A71342-0259-46E8-9CCC-5A644613C44A}"/>
              </a:ext>
            </a:extLst>
          </p:cNvPr>
          <p:cNvGrpSpPr/>
          <p:nvPr/>
        </p:nvGrpSpPr>
        <p:grpSpPr>
          <a:xfrm>
            <a:off x="6274838" y="2909422"/>
            <a:ext cx="837477" cy="850987"/>
            <a:chOff x="5951998" y="2924697"/>
            <a:chExt cx="1104830" cy="1122653"/>
          </a:xfrm>
        </p:grpSpPr>
        <p:sp>
          <p:nvSpPr>
            <p:cNvPr id="43" name="직사각형 79">
              <a:extLst>
                <a:ext uri="{FF2B5EF4-FFF2-40B4-BE49-F238E27FC236}">
                  <a16:creationId xmlns:a16="http://schemas.microsoft.com/office/drawing/2014/main" xmlns="" id="{42A0CD52-A4E7-459C-87A2-A368D1C03CEC}"/>
                </a:ext>
              </a:extLst>
            </p:cNvPr>
            <p:cNvSpPr/>
            <p:nvPr/>
          </p:nvSpPr>
          <p:spPr>
            <a:xfrm>
              <a:off x="5951998" y="2924697"/>
              <a:ext cx="512891" cy="512891"/>
            </a:xfrm>
            <a:prstGeom prst="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4" name="직사각형 90">
              <a:extLst>
                <a:ext uri="{FF2B5EF4-FFF2-40B4-BE49-F238E27FC236}">
                  <a16:creationId xmlns:a16="http://schemas.microsoft.com/office/drawing/2014/main" xmlns="" id="{7900846E-520E-4F77-9622-216CA9A21BCF}"/>
                </a:ext>
              </a:extLst>
            </p:cNvPr>
            <p:cNvSpPr/>
            <p:nvPr/>
          </p:nvSpPr>
          <p:spPr>
            <a:xfrm>
              <a:off x="6543937" y="2924697"/>
              <a:ext cx="512891" cy="512891"/>
            </a:xfrm>
            <a:prstGeom prst="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5" name="직사각형 91">
              <a:extLst>
                <a:ext uri="{FF2B5EF4-FFF2-40B4-BE49-F238E27FC236}">
                  <a16:creationId xmlns:a16="http://schemas.microsoft.com/office/drawing/2014/main" xmlns="" id="{FF84211B-86E8-44F2-B4CF-75C83A6D21FD}"/>
                </a:ext>
              </a:extLst>
            </p:cNvPr>
            <p:cNvSpPr/>
            <p:nvPr/>
          </p:nvSpPr>
          <p:spPr>
            <a:xfrm>
              <a:off x="5951998" y="3534459"/>
              <a:ext cx="512891" cy="512891"/>
            </a:xfrm>
            <a:prstGeom prst="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46" name="직사각형 92">
              <a:extLst>
                <a:ext uri="{FF2B5EF4-FFF2-40B4-BE49-F238E27FC236}">
                  <a16:creationId xmlns:a16="http://schemas.microsoft.com/office/drawing/2014/main" xmlns="" id="{CDC9330A-126B-4711-8C82-604DAD8F8D23}"/>
                </a:ext>
              </a:extLst>
            </p:cNvPr>
            <p:cNvSpPr/>
            <p:nvPr/>
          </p:nvSpPr>
          <p:spPr>
            <a:xfrm>
              <a:off x="6543937" y="3534459"/>
              <a:ext cx="512891" cy="512891"/>
            </a:xfrm>
            <a:prstGeom prst="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66100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574833D-5244-4C7A-885B-8F340B26947E}"/>
              </a:ext>
            </a:extLst>
          </p:cNvPr>
          <p:cNvSpPr txBox="1"/>
          <p:nvPr/>
        </p:nvSpPr>
        <p:spPr>
          <a:xfrm>
            <a:off x="6568895" y="1252622"/>
            <a:ext cx="542182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defTabSz="914286" latinLnBrk="0">
              <a:buFont typeface="+mj-lt"/>
              <a:buAutoNum type="romanUcPeriod"/>
            </a:pP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주어진 데이터를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en-US" altLang="ko-KR" dirty="0" err="1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filte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문을 사용하여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201904, 201905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의 데이터를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data_2019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로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, 202004, 202005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의 데이터를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data_2020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으로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분류하였다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marL="400050" indent="-400050" defTabSz="914286" latinLnBrk="0">
              <a:buFont typeface="+mj-lt"/>
              <a:buAutoNum type="romanUcPeriod"/>
            </a:pP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앞서 </a:t>
            </a:r>
            <a:r>
              <a:rPr lang="ko-KR" altLang="en-US" dirty="0" err="1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클러스터링으로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나눈 세 그룹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A H/ B F G/ C D E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를 각각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Group1, Group2, Group3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로 지정하였다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marL="400050" indent="-400050" defTabSz="914286" latinLnBrk="0">
              <a:buFont typeface="+mj-lt"/>
              <a:buAutoNum type="romanUcPeriod"/>
            </a:pP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그룹별로 각각 자녀 스코어 및 기혼 스코어 합계를 한 번에 계산하였다</a:t>
            </a: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그룹을 구성하는 연령대가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Group1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은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2, Group2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는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3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개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, Group3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는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3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개이므로 이에 맞추어 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2,3,3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으로 스코어 합계를 나누었다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. </a:t>
            </a:r>
          </a:p>
          <a:p>
            <a:pPr marL="400050" indent="-400050" defTabSz="914286" latinLnBrk="0">
              <a:buFont typeface="+mj-lt"/>
              <a:buAutoNum type="romanUcPeriod"/>
            </a:pP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marL="400050" indent="-400050" defTabSz="914286" latinLnBrk="0">
              <a:buFont typeface="+mj-lt"/>
              <a:buAutoNum type="romanUcPeriod"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이를 시각화하여 묶은 막대그래프로 나타내어 연령대를 추측하고자 하였다</a:t>
            </a:r>
            <a:r>
              <a:rPr lang="en-US" altLang="ko-KR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44149FE-19BB-47B6-8D66-C6FF59B087A3}"/>
              </a:ext>
            </a:extLst>
          </p:cNvPr>
          <p:cNvSpPr txBox="1"/>
          <p:nvPr/>
        </p:nvSpPr>
        <p:spPr>
          <a:xfrm>
            <a:off x="2528203" y="378445"/>
            <a:ext cx="96637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en-US" altLang="ko-KR" sz="40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Step 1: R</a:t>
            </a:r>
            <a:r>
              <a:rPr lang="ko-KR" altLang="en-US" sz="40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을 이용한 스코어 전처리</a:t>
            </a:r>
            <a:endParaRPr lang="en-US" altLang="ko-KR" sz="40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663" y="1822530"/>
            <a:ext cx="6039537" cy="333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993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 txBox="1">
            <a:spLocks/>
          </p:cNvSpPr>
          <p:nvPr/>
        </p:nvSpPr>
        <p:spPr>
          <a:xfrm>
            <a:off x="1132748" y="205156"/>
            <a:ext cx="3774812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  <a:ea typeface="08서울남산체 B" panose="02020603020101020101" pitchFamily="18" charset="-127"/>
              </a:rPr>
              <a:t> </a:t>
            </a:r>
            <a:r>
              <a:rPr lang="en-US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1: A 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AE17D99-0F9E-40A4-9426-FCA4799628B1}"/>
              </a:ext>
            </a:extLst>
          </p:cNvPr>
          <p:cNvSpPr txBox="1"/>
          <p:nvPr/>
        </p:nvSpPr>
        <p:spPr>
          <a:xfrm>
            <a:off x="833943" y="4582408"/>
            <a:ext cx="55046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전반적인 자녀 스코어가 세 그룹 중에 제일 낮다</a:t>
            </a:r>
            <a:endParaRPr lang="en-US" altLang="ko-KR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833943" y="5059045"/>
            <a:ext cx="55046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기혼스코어는 높은데 기혼 스코어와 나머지 스코어들의   상대적인 비율 차이가 있다</a:t>
            </a:r>
          </a:p>
          <a:p>
            <a:pPr defTabSz="914286" latinLnBrk="0"/>
            <a:endParaRPr lang="en-US" altLang="ko-KR" sz="16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21" name="Rectangle 29">
            <a:extLst>
              <a:ext uri="{FF2B5EF4-FFF2-40B4-BE49-F238E27FC236}">
                <a16:creationId xmlns:a16="http://schemas.microsoft.com/office/drawing/2014/main" xmlns="" id="{DDEB05E5-66C8-41BB-A516-EED1DB98FEC4}"/>
              </a:ext>
            </a:extLst>
          </p:cNvPr>
          <p:cNvSpPr/>
          <p:nvPr/>
        </p:nvSpPr>
        <p:spPr>
          <a:xfrm>
            <a:off x="331713" y="4596637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1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xmlns="" id="{F6591F3F-A33C-4F63-AAC3-524AB168A08A}"/>
              </a:ext>
            </a:extLst>
          </p:cNvPr>
          <p:cNvSpPr/>
          <p:nvPr/>
        </p:nvSpPr>
        <p:spPr>
          <a:xfrm>
            <a:off x="331713" y="5138339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2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3" name="Rectangle 31">
            <a:extLst>
              <a:ext uri="{FF2B5EF4-FFF2-40B4-BE49-F238E27FC236}">
                <a16:creationId xmlns:a16="http://schemas.microsoft.com/office/drawing/2014/main" xmlns="" id="{3D7B6CF2-B281-4D32-8EE4-10442D3E6032}"/>
              </a:ext>
            </a:extLst>
          </p:cNvPr>
          <p:cNvSpPr/>
          <p:nvPr/>
        </p:nvSpPr>
        <p:spPr>
          <a:xfrm>
            <a:off x="331713" y="5740909"/>
            <a:ext cx="422694" cy="33659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3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833943" y="5739928"/>
            <a:ext cx="4815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종합몰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스코어에 소비하는 비중이 굉장히 증가함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</p:txBody>
      </p:sp>
      <p:sp>
        <p:nvSpPr>
          <p:cNvPr id="29" name="Rounded Rectangle 4">
            <a:extLst>
              <a:ext uri="{FF2B5EF4-FFF2-40B4-BE49-F238E27FC236}">
                <a16:creationId xmlns:a16="http://schemas.microsoft.com/office/drawing/2014/main" xmlns="" id="{88FAECC1-5B6B-45FD-B4A8-F7ABD896C18D}"/>
              </a:ext>
            </a:extLst>
          </p:cNvPr>
          <p:cNvSpPr/>
          <p:nvPr/>
        </p:nvSpPr>
        <p:spPr>
          <a:xfrm>
            <a:off x="833943" y="6170206"/>
            <a:ext cx="4224411" cy="5249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“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자녀가 독립한 사람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60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 + </a:t>
            </a:r>
            <a:r>
              <a:rPr lang="ko-KR" altLang="en-US" sz="2000" b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딩크족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”</a:t>
            </a:r>
            <a:endParaRPr lang="ko-KR" altLang="en-US" sz="2000" b="1" dirty="0">
              <a:solidFill>
                <a:prstClr val="black">
                  <a:lumMod val="65000"/>
                  <a:lumOff val="35000"/>
                </a:prst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30" name="Text Placeholder 1"/>
          <p:cNvSpPr txBox="1">
            <a:spLocks/>
          </p:cNvSpPr>
          <p:nvPr/>
        </p:nvSpPr>
        <p:spPr>
          <a:xfrm>
            <a:off x="7088696" y="205156"/>
            <a:ext cx="4262849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  <a:ea typeface="08서울남산체 B" panose="02020603020101020101" pitchFamily="18" charset="-127"/>
              </a:rPr>
              <a:t> </a:t>
            </a:r>
            <a:r>
              <a:rPr lang="en-US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2: B F 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6AE17D99-0F9E-40A4-9426-FCA4799628B1}"/>
              </a:ext>
            </a:extLst>
          </p:cNvPr>
          <p:cNvSpPr txBox="1"/>
          <p:nvPr/>
        </p:nvSpPr>
        <p:spPr>
          <a:xfrm>
            <a:off x="6886783" y="4536553"/>
            <a:ext cx="5504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Group1, Group3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과 비교했을 때 중고생 자녀와 대학생 자녀 스코어가 가장 높음 </a:t>
            </a:r>
            <a:endParaRPr lang="en-US" altLang="ko-KR" sz="1600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6916973" y="5113259"/>
            <a:ext cx="5504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유아자녀 스코어는 매우 낮음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가장 낮은 스코어를 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‘1’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라고 분류하였음을 고려할 때 유아자녀는 거의 없다고 볼 수 있음</a:t>
            </a:r>
            <a:endParaRPr lang="en-US" altLang="ko-KR" sz="16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4" name="Rectangle 29">
            <a:extLst>
              <a:ext uri="{FF2B5EF4-FFF2-40B4-BE49-F238E27FC236}">
                <a16:creationId xmlns:a16="http://schemas.microsoft.com/office/drawing/2014/main" xmlns="" id="{DDEB05E5-66C8-41BB-A516-EED1DB98FEC4}"/>
              </a:ext>
            </a:extLst>
          </p:cNvPr>
          <p:cNvSpPr/>
          <p:nvPr/>
        </p:nvSpPr>
        <p:spPr>
          <a:xfrm>
            <a:off x="6384553" y="4610866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1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5" name="Rectangle 30">
            <a:extLst>
              <a:ext uri="{FF2B5EF4-FFF2-40B4-BE49-F238E27FC236}">
                <a16:creationId xmlns:a16="http://schemas.microsoft.com/office/drawing/2014/main" xmlns="" id="{F6591F3F-A33C-4F63-AAC3-524AB168A08A}"/>
              </a:ext>
            </a:extLst>
          </p:cNvPr>
          <p:cNvSpPr/>
          <p:nvPr/>
        </p:nvSpPr>
        <p:spPr>
          <a:xfrm>
            <a:off x="6384553" y="5152568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2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6" name="Rectangle 31">
            <a:extLst>
              <a:ext uri="{FF2B5EF4-FFF2-40B4-BE49-F238E27FC236}">
                <a16:creationId xmlns:a16="http://schemas.microsoft.com/office/drawing/2014/main" xmlns="" id="{3D7B6CF2-B281-4D32-8EE4-10442D3E6032}"/>
              </a:ext>
            </a:extLst>
          </p:cNvPr>
          <p:cNvSpPr/>
          <p:nvPr/>
        </p:nvSpPr>
        <p:spPr>
          <a:xfrm>
            <a:off x="6384553" y="5755138"/>
            <a:ext cx="422694" cy="33659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3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8" name="Rounded Rectangle 4">
            <a:extLst>
              <a:ext uri="{FF2B5EF4-FFF2-40B4-BE49-F238E27FC236}">
                <a16:creationId xmlns:a16="http://schemas.microsoft.com/office/drawing/2014/main" xmlns="" id="{88FAECC1-5B6B-45FD-B4A8-F7ABD896C18D}"/>
              </a:ext>
            </a:extLst>
          </p:cNvPr>
          <p:cNvSpPr/>
          <p:nvPr/>
        </p:nvSpPr>
        <p:spPr>
          <a:xfrm>
            <a:off x="7005555" y="6170206"/>
            <a:ext cx="4224411" cy="5249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“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중고등학생 자녀가 있는 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0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50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”</a:t>
            </a:r>
            <a:endParaRPr lang="ko-KR" altLang="en-US" sz="2000" b="1" dirty="0">
              <a:solidFill>
                <a:prstClr val="black">
                  <a:lumMod val="65000"/>
                  <a:lumOff val="35000"/>
                </a:prst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6932763" y="5738950"/>
            <a:ext cx="55046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019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과 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020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의 스코어 갭이 가장 적음</a:t>
            </a:r>
            <a:endParaRPr lang="en-US" altLang="ko-KR" sz="16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184" y="1057417"/>
            <a:ext cx="5767939" cy="339880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837" y="1093799"/>
            <a:ext cx="5681846" cy="339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1312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 txBox="1">
            <a:spLocks/>
          </p:cNvSpPr>
          <p:nvPr/>
        </p:nvSpPr>
        <p:spPr>
          <a:xfrm>
            <a:off x="1132748" y="205156"/>
            <a:ext cx="3774812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  <a:ea typeface="08서울남산체 B" panose="02020603020101020101" pitchFamily="18" charset="-127"/>
              </a:rPr>
              <a:t> </a:t>
            </a:r>
            <a:r>
              <a:rPr lang="en-US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3: C D 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AE17D99-0F9E-40A4-9426-FCA4799628B1}"/>
              </a:ext>
            </a:extLst>
          </p:cNvPr>
          <p:cNvSpPr txBox="1"/>
          <p:nvPr/>
        </p:nvSpPr>
        <p:spPr>
          <a:xfrm>
            <a:off x="833943" y="4582408"/>
            <a:ext cx="55046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유아자녀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초등학생 자녀 스코어가 높다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  <a:endParaRPr lang="en-US" altLang="ko-KR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833943" y="5059045"/>
            <a:ext cx="5504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유아자녀 스코어와 초등학생 자녀 스코어가 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2019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 대비 확연하게 떨어졌다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  <a:endParaRPr lang="en-US" altLang="ko-KR" sz="16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21" name="Rectangle 29">
            <a:extLst>
              <a:ext uri="{FF2B5EF4-FFF2-40B4-BE49-F238E27FC236}">
                <a16:creationId xmlns:a16="http://schemas.microsoft.com/office/drawing/2014/main" xmlns="" id="{DDEB05E5-66C8-41BB-A516-EED1DB98FEC4}"/>
              </a:ext>
            </a:extLst>
          </p:cNvPr>
          <p:cNvSpPr/>
          <p:nvPr/>
        </p:nvSpPr>
        <p:spPr>
          <a:xfrm>
            <a:off x="331713" y="4596637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1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xmlns="" id="{F6591F3F-A33C-4F63-AAC3-524AB168A08A}"/>
              </a:ext>
            </a:extLst>
          </p:cNvPr>
          <p:cNvSpPr/>
          <p:nvPr/>
        </p:nvSpPr>
        <p:spPr>
          <a:xfrm>
            <a:off x="331713" y="5138339"/>
            <a:ext cx="422694" cy="35020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2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3" name="Rectangle 31">
            <a:extLst>
              <a:ext uri="{FF2B5EF4-FFF2-40B4-BE49-F238E27FC236}">
                <a16:creationId xmlns:a16="http://schemas.microsoft.com/office/drawing/2014/main" xmlns="" id="{3D7B6CF2-B281-4D32-8EE4-10442D3E6032}"/>
              </a:ext>
            </a:extLst>
          </p:cNvPr>
          <p:cNvSpPr/>
          <p:nvPr/>
        </p:nvSpPr>
        <p:spPr>
          <a:xfrm>
            <a:off x="331713" y="5740909"/>
            <a:ext cx="422694" cy="33659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rPr>
              <a:t>03</a:t>
            </a:r>
            <a:endParaRPr lang="ko-KR" alt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73329CB-9375-4BCD-B3E1-91B4126ACFBE}"/>
              </a:ext>
            </a:extLst>
          </p:cNvPr>
          <p:cNvSpPr txBox="1"/>
          <p:nvPr/>
        </p:nvSpPr>
        <p:spPr>
          <a:xfrm>
            <a:off x="833943" y="5739928"/>
            <a:ext cx="4815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전업주부 스코어가 가장 높음</a:t>
            </a:r>
            <a:r>
              <a:rPr lang="en-US" altLang="ko-KR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-&gt; </a:t>
            </a:r>
            <a:r>
              <a:rPr lang="ko-KR" altLang="en-US" sz="16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자녀가 어리기 때문일 것</a:t>
            </a:r>
            <a:endParaRPr lang="en-US" altLang="ko-KR" sz="1600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29" name="Rounded Rectangle 4">
            <a:extLst>
              <a:ext uri="{FF2B5EF4-FFF2-40B4-BE49-F238E27FC236}">
                <a16:creationId xmlns:a16="http://schemas.microsoft.com/office/drawing/2014/main" xmlns="" id="{88FAECC1-5B6B-45FD-B4A8-F7ABD896C18D}"/>
              </a:ext>
            </a:extLst>
          </p:cNvPr>
          <p:cNvSpPr/>
          <p:nvPr/>
        </p:nvSpPr>
        <p:spPr>
          <a:xfrm>
            <a:off x="833943" y="6170206"/>
            <a:ext cx="4224411" cy="5249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“20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 후반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30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자녀가 어린 사람</a:t>
            </a:r>
            <a:r>
              <a:rPr lang="en-US" altLang="ko-KR" sz="2000" b="1" dirty="0">
                <a:solidFill>
                  <a:prstClr val="black">
                    <a:lumMod val="65000"/>
                    <a:lumOff val="3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”</a:t>
            </a:r>
            <a:endParaRPr lang="ko-KR" altLang="en-US" sz="2000" b="1" dirty="0">
              <a:solidFill>
                <a:prstClr val="black">
                  <a:lumMod val="65000"/>
                  <a:lumOff val="35000"/>
                </a:prst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 rotWithShape="1">
          <a:blip r:embed="rId2"/>
          <a:srcRect l="26321" t="41383" r="29387" b="16479"/>
          <a:stretch/>
        </p:blipFill>
        <p:spPr>
          <a:xfrm>
            <a:off x="6190422" y="1984106"/>
            <a:ext cx="5894176" cy="3154233"/>
          </a:xfrm>
          <a:prstGeom prst="rect">
            <a:avLst/>
          </a:prstGeom>
        </p:spPr>
      </p:pic>
      <p:sp>
        <p:nvSpPr>
          <p:cNvPr id="4" name="모서리가 둥근 직사각형 3"/>
          <p:cNvSpPr/>
          <p:nvPr/>
        </p:nvSpPr>
        <p:spPr>
          <a:xfrm>
            <a:off x="6442745" y="205156"/>
            <a:ext cx="5251508" cy="80945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dirty="0">
                <a:solidFill>
                  <a:prstClr val="white"/>
                </a:solidFill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묶은 막대그래프를 그릴 때 활용한 시각화 코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446" y="1013618"/>
            <a:ext cx="5825422" cy="347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0769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 Placeholder 10">
            <a:extLst>
              <a:ext uri="{FF2B5EF4-FFF2-40B4-BE49-F238E27FC236}">
                <a16:creationId xmlns:a16="http://schemas.microsoft.com/office/drawing/2014/main" xmlns="" id="{43F687E3-5544-459C-9B6C-90A13EE20943}"/>
              </a:ext>
            </a:extLst>
          </p:cNvPr>
          <p:cNvSpPr txBox="1">
            <a:spLocks/>
          </p:cNvSpPr>
          <p:nvPr/>
        </p:nvSpPr>
        <p:spPr>
          <a:xfrm>
            <a:off x="585847" y="492780"/>
            <a:ext cx="5806064" cy="2123554"/>
          </a:xfrm>
          <a:prstGeom prst="rect">
            <a:avLst/>
          </a:prstGeom>
          <a:noFill/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 typeface="Arial" pitchFamily="34" charset="0"/>
              <a:buNone/>
            </a:pPr>
            <a:r>
              <a:rPr lang="en-US" altLang="ko-KR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Step 2. </a:t>
            </a:r>
            <a:r>
              <a:rPr lang="ko-KR" altLang="en-US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그룹별</a:t>
            </a:r>
            <a:r>
              <a:rPr lang="en-US" altLang="ko-KR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(</a:t>
            </a:r>
            <a:r>
              <a:rPr lang="ko-KR" altLang="en-US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연령대별</a:t>
            </a:r>
            <a:r>
              <a:rPr lang="en-US" altLang="ko-KR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) </a:t>
            </a:r>
            <a:r>
              <a:rPr lang="ko-KR" altLang="en-US" sz="4000" b="1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품목별 매출액 분석</a:t>
            </a:r>
            <a:endParaRPr lang="en-US" altLang="ko-KR" sz="4000" b="1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F97F06E2-79E8-47E2-AACD-51FFACE4C565}"/>
              </a:ext>
            </a:extLst>
          </p:cNvPr>
          <p:cNvSpPr txBox="1"/>
          <p:nvPr/>
        </p:nvSpPr>
        <p:spPr>
          <a:xfrm>
            <a:off x="7072870" y="2506416"/>
            <a:ext cx="4855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파이 차트 시각화에 사용한 코드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986E74C8-A59D-426D-9E37-95B601EEAEF3}"/>
              </a:ext>
            </a:extLst>
          </p:cNvPr>
          <p:cNvSpPr/>
          <p:nvPr/>
        </p:nvSpPr>
        <p:spPr>
          <a:xfrm rot="19089177">
            <a:off x="276788" y="4541734"/>
            <a:ext cx="1275480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2A80ECB5-BE68-4413-B8BF-629574261966}"/>
              </a:ext>
            </a:extLst>
          </p:cNvPr>
          <p:cNvSpPr/>
          <p:nvPr/>
        </p:nvSpPr>
        <p:spPr>
          <a:xfrm rot="1537424">
            <a:off x="1230040" y="4241340"/>
            <a:ext cx="1005840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1E544792-D557-4010-AD46-6EE6ACC13DD6}"/>
              </a:ext>
            </a:extLst>
          </p:cNvPr>
          <p:cNvSpPr/>
          <p:nvPr/>
        </p:nvSpPr>
        <p:spPr>
          <a:xfrm rot="18665290">
            <a:off x="1676245" y="3751790"/>
            <a:ext cx="1957104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E69FB7D7-83A5-4E8F-A888-FF4A0EFFFAA0}"/>
              </a:ext>
            </a:extLst>
          </p:cNvPr>
          <p:cNvSpPr/>
          <p:nvPr/>
        </p:nvSpPr>
        <p:spPr>
          <a:xfrm rot="1630235">
            <a:off x="3058480" y="3277810"/>
            <a:ext cx="1188720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57E81973-BDC4-4B11-BD76-D14CDF37615C}"/>
              </a:ext>
            </a:extLst>
          </p:cNvPr>
          <p:cNvSpPr/>
          <p:nvPr/>
        </p:nvSpPr>
        <p:spPr>
          <a:xfrm rot="18590322">
            <a:off x="3780111" y="3012382"/>
            <a:ext cx="1404753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A4BAA645-6CA2-4741-81E1-F2D6D036CADB}"/>
              </a:ext>
            </a:extLst>
          </p:cNvPr>
          <p:cNvSpPr/>
          <p:nvPr/>
        </p:nvSpPr>
        <p:spPr>
          <a:xfrm rot="1266680">
            <a:off x="4740256" y="2645730"/>
            <a:ext cx="959368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B29E28A4-DEE3-47F0-9754-42C7605D2161}"/>
              </a:ext>
            </a:extLst>
          </p:cNvPr>
          <p:cNvSpPr/>
          <p:nvPr/>
        </p:nvSpPr>
        <p:spPr>
          <a:xfrm rot="19201153">
            <a:off x="5272644" y="2191251"/>
            <a:ext cx="2023022" cy="1828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50E72D31-6802-455E-B961-C9B4AF929F75}"/>
              </a:ext>
            </a:extLst>
          </p:cNvPr>
          <p:cNvSpPr/>
          <p:nvPr/>
        </p:nvSpPr>
        <p:spPr>
          <a:xfrm>
            <a:off x="1337116" y="4093333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D915D46E-76C0-4253-B70B-EAA89D6B6E46}"/>
              </a:ext>
            </a:extLst>
          </p:cNvPr>
          <p:cNvSpPr/>
          <p:nvPr/>
        </p:nvSpPr>
        <p:spPr>
          <a:xfrm>
            <a:off x="2022861" y="4443247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ACD38166-88B1-45D5-8BC8-D04CD28343CE}"/>
              </a:ext>
            </a:extLst>
          </p:cNvPr>
          <p:cNvSpPr/>
          <p:nvPr/>
        </p:nvSpPr>
        <p:spPr>
          <a:xfrm>
            <a:off x="3155207" y="3081517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B89D6FB-F873-442E-81C2-DA1D5A9E15A8}"/>
              </a:ext>
            </a:extLst>
          </p:cNvPr>
          <p:cNvSpPr/>
          <p:nvPr/>
        </p:nvSpPr>
        <p:spPr>
          <a:xfrm>
            <a:off x="4025289" y="3477917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xmlns="" id="{4CCE7980-D22C-44C8-8B83-901791EBAFBD}"/>
              </a:ext>
            </a:extLst>
          </p:cNvPr>
          <p:cNvSpPr/>
          <p:nvPr/>
        </p:nvSpPr>
        <p:spPr>
          <a:xfrm>
            <a:off x="4824979" y="2532659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xmlns="" id="{7AE9CCE6-7B68-4A02-AC75-EAE744369EC8}"/>
              </a:ext>
            </a:extLst>
          </p:cNvPr>
          <p:cNvSpPr/>
          <p:nvPr/>
        </p:nvSpPr>
        <p:spPr>
          <a:xfrm>
            <a:off x="5513837" y="2799820"/>
            <a:ext cx="129029" cy="129029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700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en-US" sz="2800" dirty="0">
              <a:solidFill>
                <a:prstClr val="black">
                  <a:lumMod val="65000"/>
                  <a:lumOff val="35000"/>
                </a:prstClr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C1DD6B17-EC32-4821-9C53-46911D663576}"/>
              </a:ext>
            </a:extLst>
          </p:cNvPr>
          <p:cNvGrpSpPr/>
          <p:nvPr/>
        </p:nvGrpSpPr>
        <p:grpSpPr>
          <a:xfrm rot="20855145">
            <a:off x="6592977" y="1481150"/>
            <a:ext cx="586399" cy="548640"/>
            <a:chOff x="8817102" y="1225804"/>
            <a:chExt cx="586399" cy="54864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xmlns="" id="{EED081CA-B905-4148-AAE0-5FF0D8591998}"/>
                </a:ext>
              </a:extLst>
            </p:cNvPr>
            <p:cNvGrpSpPr/>
            <p:nvPr/>
          </p:nvGrpSpPr>
          <p:grpSpPr>
            <a:xfrm rot="1527336">
              <a:off x="8817102" y="1225804"/>
              <a:ext cx="584883" cy="548640"/>
              <a:chOff x="8760368" y="1190003"/>
              <a:chExt cx="584883" cy="548640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xmlns="" id="{53BE0728-F543-46BB-92CA-22A3BA01044D}"/>
                  </a:ext>
                </a:extLst>
              </p:cNvPr>
              <p:cNvSpPr/>
              <p:nvPr/>
            </p:nvSpPr>
            <p:spPr>
              <a:xfrm>
                <a:off x="8760368" y="1190647"/>
                <a:ext cx="548640" cy="18288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87000"/>
                    </a:schemeClr>
                  </a:gs>
                  <a:gs pos="100000">
                    <a:schemeClr val="bg1"/>
                  </a:gs>
                </a:gsLst>
                <a:lin ang="81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800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xmlns="" id="{F6C23F63-0ACB-4FE4-AE67-7913A2AD78B5}"/>
                  </a:ext>
                </a:extLst>
              </p:cNvPr>
              <p:cNvSpPr/>
              <p:nvPr/>
            </p:nvSpPr>
            <p:spPr>
              <a:xfrm rot="16200000" flipH="1">
                <a:off x="8979491" y="1372883"/>
                <a:ext cx="548640" cy="18288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87000"/>
                    </a:schemeClr>
                  </a:gs>
                  <a:gs pos="100000">
                    <a:schemeClr val="bg1"/>
                  </a:gs>
                </a:gsLst>
                <a:lin ang="81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800" dirty="0">
                  <a:solidFill>
                    <a:prstClr val="black">
                      <a:lumMod val="65000"/>
                      <a:lumOff val="35000"/>
                    </a:prstClr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xmlns="" id="{0A42206F-1910-43F5-991B-C08EBFCDC840}"/>
                </a:ext>
              </a:extLst>
            </p:cNvPr>
            <p:cNvSpPr/>
            <p:nvPr/>
          </p:nvSpPr>
          <p:spPr>
            <a:xfrm>
              <a:off x="9274472" y="1342617"/>
              <a:ext cx="129029" cy="129029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8100000" scaled="1"/>
              <a:tileRect/>
            </a:gra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en-US" sz="2800" dirty="0">
                <a:solidFill>
                  <a:prstClr val="black">
                    <a:lumMod val="65000"/>
                    <a:lumOff val="3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74" name="Graphic 39">
            <a:extLst>
              <a:ext uri="{FF2B5EF4-FFF2-40B4-BE49-F238E27FC236}">
                <a16:creationId xmlns:a16="http://schemas.microsoft.com/office/drawing/2014/main" xmlns="" id="{48BFDBEE-3FAE-44D2-BA49-B92B2F5C8165}"/>
              </a:ext>
            </a:extLst>
          </p:cNvPr>
          <p:cNvGrpSpPr/>
          <p:nvPr/>
        </p:nvGrpSpPr>
        <p:grpSpPr>
          <a:xfrm>
            <a:off x="7121272" y="216412"/>
            <a:ext cx="4617650" cy="1672720"/>
            <a:chOff x="4229100" y="2752725"/>
            <a:chExt cx="3733800" cy="1352550"/>
          </a:xfrm>
          <a:solidFill>
            <a:schemeClr val="bg1"/>
          </a:solidFill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8606C701-743B-47A4-A7DE-69C9B5B62276}"/>
                </a:ext>
              </a:extLst>
            </p:cNvPr>
            <p:cNvSpPr/>
            <p:nvPr/>
          </p:nvSpPr>
          <p:spPr>
            <a:xfrm>
              <a:off x="4654391" y="3161824"/>
              <a:ext cx="514350" cy="838200"/>
            </a:xfrm>
            <a:custGeom>
              <a:avLst/>
              <a:gdLst>
                <a:gd name="connsiteX0" fmla="*/ 261461 w 514350"/>
                <a:gd name="connsiteY0" fmla="*/ 7144 h 838200"/>
                <a:gd name="connsiteX1" fmla="*/ 7144 w 514350"/>
                <a:gd name="connsiteY1" fmla="*/ 254794 h 838200"/>
                <a:gd name="connsiteX2" fmla="*/ 51911 w 514350"/>
                <a:gd name="connsiteY2" fmla="*/ 394811 h 838200"/>
                <a:gd name="connsiteX3" fmla="*/ 74771 w 514350"/>
                <a:gd name="connsiteY3" fmla="*/ 436721 h 838200"/>
                <a:gd name="connsiteX4" fmla="*/ 138589 w 514350"/>
                <a:gd name="connsiteY4" fmla="*/ 620554 h 838200"/>
                <a:gd name="connsiteX5" fmla="*/ 144304 w 514350"/>
                <a:gd name="connsiteY5" fmla="*/ 653891 h 838200"/>
                <a:gd name="connsiteX6" fmla="*/ 144304 w 514350"/>
                <a:gd name="connsiteY6" fmla="*/ 757714 h 838200"/>
                <a:gd name="connsiteX7" fmla="*/ 190976 w 514350"/>
                <a:gd name="connsiteY7" fmla="*/ 813911 h 838200"/>
                <a:gd name="connsiteX8" fmla="*/ 190976 w 514350"/>
                <a:gd name="connsiteY8" fmla="*/ 814864 h 838200"/>
                <a:gd name="connsiteX9" fmla="*/ 244316 w 514350"/>
                <a:gd name="connsiteY9" fmla="*/ 835819 h 838200"/>
                <a:gd name="connsiteX10" fmla="*/ 264319 w 514350"/>
                <a:gd name="connsiteY10" fmla="*/ 835819 h 838200"/>
                <a:gd name="connsiteX11" fmla="*/ 317659 w 514350"/>
                <a:gd name="connsiteY11" fmla="*/ 814864 h 838200"/>
                <a:gd name="connsiteX12" fmla="*/ 317659 w 514350"/>
                <a:gd name="connsiteY12" fmla="*/ 814864 h 838200"/>
                <a:gd name="connsiteX13" fmla="*/ 370999 w 514350"/>
                <a:gd name="connsiteY13" fmla="*/ 754856 h 838200"/>
                <a:gd name="connsiteX14" fmla="*/ 370999 w 514350"/>
                <a:gd name="connsiteY14" fmla="*/ 654844 h 838200"/>
                <a:gd name="connsiteX15" fmla="*/ 386239 w 514350"/>
                <a:gd name="connsiteY15" fmla="*/ 597694 h 838200"/>
                <a:gd name="connsiteX16" fmla="*/ 430054 w 514350"/>
                <a:gd name="connsiteY16" fmla="*/ 485299 h 838200"/>
                <a:gd name="connsiteX17" fmla="*/ 491014 w 514350"/>
                <a:gd name="connsiteY17" fmla="*/ 362426 h 838200"/>
                <a:gd name="connsiteX18" fmla="*/ 491014 w 514350"/>
                <a:gd name="connsiteY18" fmla="*/ 362426 h 838200"/>
                <a:gd name="connsiteX19" fmla="*/ 515779 w 514350"/>
                <a:gd name="connsiteY19" fmla="*/ 256699 h 838200"/>
                <a:gd name="connsiteX20" fmla="*/ 261461 w 514350"/>
                <a:gd name="connsiteY20" fmla="*/ 714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14350" h="838200">
                  <a:moveTo>
                    <a:pt x="261461" y="7144"/>
                  </a:moveTo>
                  <a:cubicBezTo>
                    <a:pt x="121444" y="7144"/>
                    <a:pt x="7144" y="117634"/>
                    <a:pt x="7144" y="254794"/>
                  </a:cubicBezTo>
                  <a:cubicBezTo>
                    <a:pt x="7144" y="307181"/>
                    <a:pt x="23336" y="354806"/>
                    <a:pt x="51911" y="394811"/>
                  </a:cubicBezTo>
                  <a:lnTo>
                    <a:pt x="74771" y="436721"/>
                  </a:lnTo>
                  <a:cubicBezTo>
                    <a:pt x="106204" y="493871"/>
                    <a:pt x="128111" y="555784"/>
                    <a:pt x="138589" y="620554"/>
                  </a:cubicBezTo>
                  <a:lnTo>
                    <a:pt x="144304" y="653891"/>
                  </a:lnTo>
                  <a:lnTo>
                    <a:pt x="144304" y="757714"/>
                  </a:lnTo>
                  <a:cubicBezTo>
                    <a:pt x="144304" y="785336"/>
                    <a:pt x="164306" y="809149"/>
                    <a:pt x="190976" y="813911"/>
                  </a:cubicBezTo>
                  <a:lnTo>
                    <a:pt x="190976" y="814864"/>
                  </a:lnTo>
                  <a:cubicBezTo>
                    <a:pt x="190976" y="826294"/>
                    <a:pt x="214789" y="835819"/>
                    <a:pt x="244316" y="835819"/>
                  </a:cubicBezTo>
                  <a:lnTo>
                    <a:pt x="264319" y="835819"/>
                  </a:lnTo>
                  <a:cubicBezTo>
                    <a:pt x="293846" y="835819"/>
                    <a:pt x="317659" y="826294"/>
                    <a:pt x="317659" y="814864"/>
                  </a:cubicBezTo>
                  <a:lnTo>
                    <a:pt x="317659" y="814864"/>
                  </a:lnTo>
                  <a:cubicBezTo>
                    <a:pt x="348139" y="811054"/>
                    <a:pt x="370999" y="786289"/>
                    <a:pt x="370999" y="754856"/>
                  </a:cubicBezTo>
                  <a:lnTo>
                    <a:pt x="370999" y="654844"/>
                  </a:lnTo>
                  <a:lnTo>
                    <a:pt x="386239" y="597694"/>
                  </a:lnTo>
                  <a:cubicBezTo>
                    <a:pt x="396716" y="558641"/>
                    <a:pt x="411004" y="520541"/>
                    <a:pt x="430054" y="485299"/>
                  </a:cubicBezTo>
                  <a:lnTo>
                    <a:pt x="491014" y="362426"/>
                  </a:lnTo>
                  <a:lnTo>
                    <a:pt x="491014" y="362426"/>
                  </a:lnTo>
                  <a:cubicBezTo>
                    <a:pt x="507206" y="330041"/>
                    <a:pt x="515779" y="293846"/>
                    <a:pt x="515779" y="256699"/>
                  </a:cubicBezTo>
                  <a:cubicBezTo>
                    <a:pt x="515779" y="117634"/>
                    <a:pt x="401479" y="7144"/>
                    <a:pt x="261461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F740302A-6314-435C-9558-2A4ACE1F110B}"/>
                </a:ext>
              </a:extLst>
            </p:cNvPr>
            <p:cNvSpPr/>
            <p:nvPr/>
          </p:nvSpPr>
          <p:spPr>
            <a:xfrm>
              <a:off x="5764054" y="3871436"/>
              <a:ext cx="200025" cy="228600"/>
            </a:xfrm>
            <a:custGeom>
              <a:avLst/>
              <a:gdLst>
                <a:gd name="connsiteX0" fmla="*/ 192881 w 200025"/>
                <a:gd name="connsiteY0" fmla="*/ 11906 h 228600"/>
                <a:gd name="connsiteX1" fmla="*/ 175736 w 200025"/>
                <a:gd name="connsiteY1" fmla="*/ 7144 h 228600"/>
                <a:gd name="connsiteX2" fmla="*/ 158591 w 200025"/>
                <a:gd name="connsiteY2" fmla="*/ 11906 h 228600"/>
                <a:gd name="connsiteX3" fmla="*/ 150971 w 200025"/>
                <a:gd name="connsiteY3" fmla="*/ 23336 h 228600"/>
                <a:gd name="connsiteX4" fmla="*/ 150971 w 200025"/>
                <a:gd name="connsiteY4" fmla="*/ 138589 h 228600"/>
                <a:gd name="connsiteX5" fmla="*/ 137636 w 200025"/>
                <a:gd name="connsiteY5" fmla="*/ 171926 h 228600"/>
                <a:gd name="connsiteX6" fmla="*/ 104299 w 200025"/>
                <a:gd name="connsiteY6" fmla="*/ 186214 h 228600"/>
                <a:gd name="connsiteX7" fmla="*/ 70961 w 200025"/>
                <a:gd name="connsiteY7" fmla="*/ 171926 h 228600"/>
                <a:gd name="connsiteX8" fmla="*/ 56674 w 200025"/>
                <a:gd name="connsiteY8" fmla="*/ 138589 h 228600"/>
                <a:gd name="connsiteX9" fmla="*/ 56674 w 200025"/>
                <a:gd name="connsiteY9" fmla="*/ 24289 h 228600"/>
                <a:gd name="connsiteX10" fmla="*/ 49054 w 200025"/>
                <a:gd name="connsiteY10" fmla="*/ 12859 h 228600"/>
                <a:gd name="connsiteX11" fmla="*/ 31909 w 200025"/>
                <a:gd name="connsiteY11" fmla="*/ 8096 h 228600"/>
                <a:gd name="connsiteX12" fmla="*/ 14764 w 200025"/>
                <a:gd name="connsiteY12" fmla="*/ 12859 h 228600"/>
                <a:gd name="connsiteX13" fmla="*/ 7144 w 200025"/>
                <a:gd name="connsiteY13" fmla="*/ 24289 h 228600"/>
                <a:gd name="connsiteX14" fmla="*/ 7144 w 200025"/>
                <a:gd name="connsiteY14" fmla="*/ 138589 h 228600"/>
                <a:gd name="connsiteX15" fmla="*/ 35719 w 200025"/>
                <a:gd name="connsiteY15" fmla="*/ 201454 h 228600"/>
                <a:gd name="connsiteX16" fmla="*/ 102394 w 200025"/>
                <a:gd name="connsiteY16" fmla="*/ 229076 h 228600"/>
                <a:gd name="connsiteX17" fmla="*/ 169069 w 200025"/>
                <a:gd name="connsiteY17" fmla="*/ 201454 h 228600"/>
                <a:gd name="connsiteX18" fmla="*/ 196691 w 200025"/>
                <a:gd name="connsiteY18" fmla="*/ 138589 h 228600"/>
                <a:gd name="connsiteX19" fmla="*/ 196691 w 200025"/>
                <a:gd name="connsiteY19" fmla="*/ 23336 h 228600"/>
                <a:gd name="connsiteX20" fmla="*/ 192881 w 200025"/>
                <a:gd name="connsiteY20" fmla="*/ 11906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0025" h="228600">
                  <a:moveTo>
                    <a:pt x="192881" y="11906"/>
                  </a:moveTo>
                  <a:cubicBezTo>
                    <a:pt x="188119" y="9049"/>
                    <a:pt x="182404" y="7144"/>
                    <a:pt x="175736" y="7144"/>
                  </a:cubicBezTo>
                  <a:cubicBezTo>
                    <a:pt x="169069" y="7144"/>
                    <a:pt x="163354" y="9049"/>
                    <a:pt x="158591" y="11906"/>
                  </a:cubicBezTo>
                  <a:cubicBezTo>
                    <a:pt x="153829" y="14764"/>
                    <a:pt x="150971" y="18574"/>
                    <a:pt x="150971" y="23336"/>
                  </a:cubicBezTo>
                  <a:lnTo>
                    <a:pt x="150971" y="138589"/>
                  </a:lnTo>
                  <a:cubicBezTo>
                    <a:pt x="150971" y="150971"/>
                    <a:pt x="146209" y="162401"/>
                    <a:pt x="137636" y="171926"/>
                  </a:cubicBezTo>
                  <a:cubicBezTo>
                    <a:pt x="128111" y="181451"/>
                    <a:pt x="117634" y="186214"/>
                    <a:pt x="104299" y="186214"/>
                  </a:cubicBezTo>
                  <a:cubicBezTo>
                    <a:pt x="91916" y="186214"/>
                    <a:pt x="80486" y="181451"/>
                    <a:pt x="70961" y="171926"/>
                  </a:cubicBezTo>
                  <a:cubicBezTo>
                    <a:pt x="61436" y="162401"/>
                    <a:pt x="56674" y="150971"/>
                    <a:pt x="56674" y="138589"/>
                  </a:cubicBezTo>
                  <a:lnTo>
                    <a:pt x="56674" y="24289"/>
                  </a:lnTo>
                  <a:cubicBezTo>
                    <a:pt x="56674" y="20479"/>
                    <a:pt x="53816" y="16669"/>
                    <a:pt x="49054" y="12859"/>
                  </a:cubicBezTo>
                  <a:cubicBezTo>
                    <a:pt x="44291" y="10001"/>
                    <a:pt x="38576" y="8096"/>
                    <a:pt x="31909" y="8096"/>
                  </a:cubicBezTo>
                  <a:cubicBezTo>
                    <a:pt x="25241" y="8096"/>
                    <a:pt x="19526" y="10001"/>
                    <a:pt x="14764" y="12859"/>
                  </a:cubicBezTo>
                  <a:cubicBezTo>
                    <a:pt x="10001" y="15716"/>
                    <a:pt x="7144" y="19526"/>
                    <a:pt x="7144" y="24289"/>
                  </a:cubicBezTo>
                  <a:lnTo>
                    <a:pt x="7144" y="138589"/>
                  </a:lnTo>
                  <a:cubicBezTo>
                    <a:pt x="7144" y="162401"/>
                    <a:pt x="16669" y="184309"/>
                    <a:pt x="35719" y="201454"/>
                  </a:cubicBezTo>
                  <a:cubicBezTo>
                    <a:pt x="54769" y="219551"/>
                    <a:pt x="76676" y="229076"/>
                    <a:pt x="102394" y="229076"/>
                  </a:cubicBezTo>
                  <a:cubicBezTo>
                    <a:pt x="128111" y="229076"/>
                    <a:pt x="150019" y="219551"/>
                    <a:pt x="169069" y="201454"/>
                  </a:cubicBezTo>
                  <a:cubicBezTo>
                    <a:pt x="188119" y="183356"/>
                    <a:pt x="196691" y="162401"/>
                    <a:pt x="196691" y="138589"/>
                  </a:cubicBezTo>
                  <a:lnTo>
                    <a:pt x="196691" y="23336"/>
                  </a:lnTo>
                  <a:cubicBezTo>
                    <a:pt x="199549" y="18574"/>
                    <a:pt x="197644" y="14764"/>
                    <a:pt x="19288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8F64A7E-B051-4869-836B-8ED94859BB94}"/>
                </a:ext>
              </a:extLst>
            </p:cNvPr>
            <p:cNvSpPr/>
            <p:nvPr/>
          </p:nvSpPr>
          <p:spPr>
            <a:xfrm>
              <a:off x="5992654" y="3868579"/>
              <a:ext cx="171450" cy="228600"/>
            </a:xfrm>
            <a:custGeom>
              <a:avLst/>
              <a:gdLst>
                <a:gd name="connsiteX0" fmla="*/ 127159 w 171450"/>
                <a:gd name="connsiteY0" fmla="*/ 109061 h 228600"/>
                <a:gd name="connsiteX1" fmla="*/ 94774 w 171450"/>
                <a:gd name="connsiteY1" fmla="*/ 98584 h 228600"/>
                <a:gd name="connsiteX2" fmla="*/ 67151 w 171450"/>
                <a:gd name="connsiteY2" fmla="*/ 88106 h 228600"/>
                <a:gd name="connsiteX3" fmla="*/ 55721 w 171450"/>
                <a:gd name="connsiteY3" fmla="*/ 70961 h 228600"/>
                <a:gd name="connsiteX4" fmla="*/ 65246 w 171450"/>
                <a:gd name="connsiteY4" fmla="*/ 52864 h 228600"/>
                <a:gd name="connsiteX5" fmla="*/ 92869 w 171450"/>
                <a:gd name="connsiteY5" fmla="*/ 44291 h 228600"/>
                <a:gd name="connsiteX6" fmla="*/ 123349 w 171450"/>
                <a:gd name="connsiteY6" fmla="*/ 50959 h 228600"/>
                <a:gd name="connsiteX7" fmla="*/ 142399 w 171450"/>
                <a:gd name="connsiteY7" fmla="*/ 57626 h 228600"/>
                <a:gd name="connsiteX8" fmla="*/ 155734 w 171450"/>
                <a:gd name="connsiteY8" fmla="*/ 49054 h 228600"/>
                <a:gd name="connsiteX9" fmla="*/ 160496 w 171450"/>
                <a:gd name="connsiteY9" fmla="*/ 33814 h 228600"/>
                <a:gd name="connsiteX10" fmla="*/ 139541 w 171450"/>
                <a:gd name="connsiteY10" fmla="*/ 14764 h 228600"/>
                <a:gd name="connsiteX11" fmla="*/ 91916 w 171450"/>
                <a:gd name="connsiteY11" fmla="*/ 7144 h 228600"/>
                <a:gd name="connsiteX12" fmla="*/ 32861 w 171450"/>
                <a:gd name="connsiteY12" fmla="*/ 26194 h 228600"/>
                <a:gd name="connsiteX13" fmla="*/ 13811 w 171450"/>
                <a:gd name="connsiteY13" fmla="*/ 72866 h 228600"/>
                <a:gd name="connsiteX14" fmla="*/ 25241 w 171450"/>
                <a:gd name="connsiteY14" fmla="*/ 107156 h 228600"/>
                <a:gd name="connsiteX15" fmla="*/ 52864 w 171450"/>
                <a:gd name="connsiteY15" fmla="*/ 126206 h 228600"/>
                <a:gd name="connsiteX16" fmla="*/ 85249 w 171450"/>
                <a:gd name="connsiteY16" fmla="*/ 135731 h 228600"/>
                <a:gd name="connsiteX17" fmla="*/ 112871 w 171450"/>
                <a:gd name="connsiteY17" fmla="*/ 148114 h 228600"/>
                <a:gd name="connsiteX18" fmla="*/ 124301 w 171450"/>
                <a:gd name="connsiteY18" fmla="*/ 169069 h 228600"/>
                <a:gd name="connsiteX19" fmla="*/ 85249 w 171450"/>
                <a:gd name="connsiteY19" fmla="*/ 193834 h 228600"/>
                <a:gd name="connsiteX20" fmla="*/ 54769 w 171450"/>
                <a:gd name="connsiteY20" fmla="*/ 188119 h 228600"/>
                <a:gd name="connsiteX21" fmla="*/ 34766 w 171450"/>
                <a:gd name="connsiteY21" fmla="*/ 177641 h 228600"/>
                <a:gd name="connsiteX22" fmla="*/ 23336 w 171450"/>
                <a:gd name="connsiteY22" fmla="*/ 171926 h 228600"/>
                <a:gd name="connsiteX23" fmla="*/ 11906 w 171450"/>
                <a:gd name="connsiteY23" fmla="*/ 179546 h 228600"/>
                <a:gd name="connsiteX24" fmla="*/ 7144 w 171450"/>
                <a:gd name="connsiteY24" fmla="*/ 193834 h 228600"/>
                <a:gd name="connsiteX25" fmla="*/ 30004 w 171450"/>
                <a:gd name="connsiteY25" fmla="*/ 219551 h 228600"/>
                <a:gd name="connsiteX26" fmla="*/ 85249 w 171450"/>
                <a:gd name="connsiteY26" fmla="*/ 230981 h 228600"/>
                <a:gd name="connsiteX27" fmla="*/ 145256 w 171450"/>
                <a:gd name="connsiteY27" fmla="*/ 213836 h 228600"/>
                <a:gd name="connsiteX28" fmla="*/ 166211 w 171450"/>
                <a:gd name="connsiteY28" fmla="*/ 167164 h 228600"/>
                <a:gd name="connsiteX29" fmla="*/ 154781 w 171450"/>
                <a:gd name="connsiteY29" fmla="*/ 129064 h 228600"/>
                <a:gd name="connsiteX30" fmla="*/ 127159 w 171450"/>
                <a:gd name="connsiteY30" fmla="*/ 109061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1450" h="228600">
                  <a:moveTo>
                    <a:pt x="127159" y="109061"/>
                  </a:moveTo>
                  <a:cubicBezTo>
                    <a:pt x="116681" y="105251"/>
                    <a:pt x="105251" y="101441"/>
                    <a:pt x="94774" y="98584"/>
                  </a:cubicBezTo>
                  <a:cubicBezTo>
                    <a:pt x="84296" y="95726"/>
                    <a:pt x="74771" y="91916"/>
                    <a:pt x="67151" y="88106"/>
                  </a:cubicBezTo>
                  <a:cubicBezTo>
                    <a:pt x="59531" y="83344"/>
                    <a:pt x="55721" y="77629"/>
                    <a:pt x="55721" y="70961"/>
                  </a:cubicBezTo>
                  <a:cubicBezTo>
                    <a:pt x="55721" y="64294"/>
                    <a:pt x="58579" y="57626"/>
                    <a:pt x="65246" y="52864"/>
                  </a:cubicBezTo>
                  <a:cubicBezTo>
                    <a:pt x="70961" y="47149"/>
                    <a:pt x="80486" y="44291"/>
                    <a:pt x="92869" y="44291"/>
                  </a:cubicBezTo>
                  <a:cubicBezTo>
                    <a:pt x="102394" y="44291"/>
                    <a:pt x="112871" y="46196"/>
                    <a:pt x="123349" y="50959"/>
                  </a:cubicBezTo>
                  <a:cubicBezTo>
                    <a:pt x="133826" y="55721"/>
                    <a:pt x="140494" y="57626"/>
                    <a:pt x="142399" y="57626"/>
                  </a:cubicBezTo>
                  <a:cubicBezTo>
                    <a:pt x="147161" y="57626"/>
                    <a:pt x="151924" y="54769"/>
                    <a:pt x="155734" y="49054"/>
                  </a:cubicBezTo>
                  <a:cubicBezTo>
                    <a:pt x="159544" y="43339"/>
                    <a:pt x="160496" y="38576"/>
                    <a:pt x="160496" y="33814"/>
                  </a:cubicBezTo>
                  <a:cubicBezTo>
                    <a:pt x="160496" y="26194"/>
                    <a:pt x="153829" y="20479"/>
                    <a:pt x="139541" y="14764"/>
                  </a:cubicBezTo>
                  <a:cubicBezTo>
                    <a:pt x="125254" y="9049"/>
                    <a:pt x="109061" y="7144"/>
                    <a:pt x="91916" y="7144"/>
                  </a:cubicBezTo>
                  <a:cubicBezTo>
                    <a:pt x="65246" y="7144"/>
                    <a:pt x="45244" y="13811"/>
                    <a:pt x="32861" y="26194"/>
                  </a:cubicBezTo>
                  <a:cubicBezTo>
                    <a:pt x="20479" y="39529"/>
                    <a:pt x="13811" y="54769"/>
                    <a:pt x="13811" y="72866"/>
                  </a:cubicBezTo>
                  <a:cubicBezTo>
                    <a:pt x="13811" y="87154"/>
                    <a:pt x="17621" y="98584"/>
                    <a:pt x="25241" y="107156"/>
                  </a:cubicBezTo>
                  <a:cubicBezTo>
                    <a:pt x="32861" y="115729"/>
                    <a:pt x="42386" y="122396"/>
                    <a:pt x="52864" y="126206"/>
                  </a:cubicBezTo>
                  <a:cubicBezTo>
                    <a:pt x="63341" y="130016"/>
                    <a:pt x="74771" y="132874"/>
                    <a:pt x="85249" y="135731"/>
                  </a:cubicBezTo>
                  <a:cubicBezTo>
                    <a:pt x="95726" y="138589"/>
                    <a:pt x="105251" y="142399"/>
                    <a:pt x="112871" y="148114"/>
                  </a:cubicBezTo>
                  <a:cubicBezTo>
                    <a:pt x="120491" y="152876"/>
                    <a:pt x="124301" y="160496"/>
                    <a:pt x="124301" y="169069"/>
                  </a:cubicBezTo>
                  <a:cubicBezTo>
                    <a:pt x="124301" y="186214"/>
                    <a:pt x="110966" y="193834"/>
                    <a:pt x="85249" y="193834"/>
                  </a:cubicBezTo>
                  <a:cubicBezTo>
                    <a:pt x="73819" y="193834"/>
                    <a:pt x="63341" y="191929"/>
                    <a:pt x="54769" y="188119"/>
                  </a:cubicBezTo>
                  <a:cubicBezTo>
                    <a:pt x="46196" y="184309"/>
                    <a:pt x="39529" y="180499"/>
                    <a:pt x="34766" y="177641"/>
                  </a:cubicBezTo>
                  <a:cubicBezTo>
                    <a:pt x="30004" y="173831"/>
                    <a:pt x="26194" y="171926"/>
                    <a:pt x="23336" y="171926"/>
                  </a:cubicBezTo>
                  <a:cubicBezTo>
                    <a:pt x="18574" y="171926"/>
                    <a:pt x="14764" y="174784"/>
                    <a:pt x="11906" y="179546"/>
                  </a:cubicBezTo>
                  <a:cubicBezTo>
                    <a:pt x="9049" y="184309"/>
                    <a:pt x="7144" y="189071"/>
                    <a:pt x="7144" y="193834"/>
                  </a:cubicBezTo>
                  <a:cubicBezTo>
                    <a:pt x="7144" y="203359"/>
                    <a:pt x="14764" y="211931"/>
                    <a:pt x="30004" y="219551"/>
                  </a:cubicBezTo>
                  <a:cubicBezTo>
                    <a:pt x="45244" y="227171"/>
                    <a:pt x="64294" y="230981"/>
                    <a:pt x="85249" y="230981"/>
                  </a:cubicBezTo>
                  <a:cubicBezTo>
                    <a:pt x="110966" y="230981"/>
                    <a:pt x="130969" y="225266"/>
                    <a:pt x="145256" y="213836"/>
                  </a:cubicBezTo>
                  <a:cubicBezTo>
                    <a:pt x="159544" y="202406"/>
                    <a:pt x="166211" y="187166"/>
                    <a:pt x="166211" y="167164"/>
                  </a:cubicBezTo>
                  <a:cubicBezTo>
                    <a:pt x="166211" y="151924"/>
                    <a:pt x="162401" y="139541"/>
                    <a:pt x="154781" y="129064"/>
                  </a:cubicBezTo>
                  <a:cubicBezTo>
                    <a:pt x="146209" y="120491"/>
                    <a:pt x="137636" y="113824"/>
                    <a:pt x="127159" y="109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B25D6D70-F7F4-4F4E-A04B-627EF09042A9}"/>
                </a:ext>
              </a:extLst>
            </p:cNvPr>
            <p:cNvSpPr/>
            <p:nvPr/>
          </p:nvSpPr>
          <p:spPr>
            <a:xfrm>
              <a:off x="6186011" y="3766661"/>
              <a:ext cx="66675" cy="57150"/>
            </a:xfrm>
            <a:custGeom>
              <a:avLst/>
              <a:gdLst>
                <a:gd name="connsiteX0" fmla="*/ 35719 w 66675"/>
                <a:gd name="connsiteY0" fmla="*/ 7144 h 57150"/>
                <a:gd name="connsiteX1" fmla="*/ 15716 w 66675"/>
                <a:gd name="connsiteY1" fmla="*/ 14764 h 57150"/>
                <a:gd name="connsiteX2" fmla="*/ 7144 w 66675"/>
                <a:gd name="connsiteY2" fmla="*/ 32861 h 57150"/>
                <a:gd name="connsiteX3" fmla="*/ 15716 w 66675"/>
                <a:gd name="connsiteY3" fmla="*/ 50959 h 57150"/>
                <a:gd name="connsiteX4" fmla="*/ 35719 w 66675"/>
                <a:gd name="connsiteY4" fmla="*/ 58579 h 57150"/>
                <a:gd name="connsiteX5" fmla="*/ 55721 w 66675"/>
                <a:gd name="connsiteY5" fmla="*/ 50959 h 57150"/>
                <a:gd name="connsiteX6" fmla="*/ 64294 w 66675"/>
                <a:gd name="connsiteY6" fmla="*/ 32861 h 57150"/>
                <a:gd name="connsiteX7" fmla="*/ 55721 w 66675"/>
                <a:gd name="connsiteY7" fmla="*/ 14764 h 57150"/>
                <a:gd name="connsiteX8" fmla="*/ 35719 w 66675"/>
                <a:gd name="connsiteY8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57150">
                  <a:moveTo>
                    <a:pt x="35719" y="7144"/>
                  </a:moveTo>
                  <a:cubicBezTo>
                    <a:pt x="28099" y="7144"/>
                    <a:pt x="21431" y="10001"/>
                    <a:pt x="15716" y="14764"/>
                  </a:cubicBezTo>
                  <a:cubicBezTo>
                    <a:pt x="10001" y="19526"/>
                    <a:pt x="7144" y="25241"/>
                    <a:pt x="7144" y="32861"/>
                  </a:cubicBezTo>
                  <a:cubicBezTo>
                    <a:pt x="7144" y="39529"/>
                    <a:pt x="10001" y="45244"/>
                    <a:pt x="15716" y="50959"/>
                  </a:cubicBezTo>
                  <a:cubicBezTo>
                    <a:pt x="21431" y="55721"/>
                    <a:pt x="28099" y="58579"/>
                    <a:pt x="35719" y="58579"/>
                  </a:cubicBezTo>
                  <a:cubicBezTo>
                    <a:pt x="43339" y="58579"/>
                    <a:pt x="50006" y="55721"/>
                    <a:pt x="55721" y="50959"/>
                  </a:cubicBezTo>
                  <a:cubicBezTo>
                    <a:pt x="61436" y="46196"/>
                    <a:pt x="64294" y="39529"/>
                    <a:pt x="64294" y="32861"/>
                  </a:cubicBezTo>
                  <a:cubicBezTo>
                    <a:pt x="64294" y="26194"/>
                    <a:pt x="61436" y="19526"/>
                    <a:pt x="55721" y="14764"/>
                  </a:cubicBezTo>
                  <a:cubicBezTo>
                    <a:pt x="50006" y="10001"/>
                    <a:pt x="43339" y="7144"/>
                    <a:pt x="3571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6A4B2F7A-E9F1-4E84-9C21-082E9C716315}"/>
                </a:ext>
              </a:extLst>
            </p:cNvPr>
            <p:cNvSpPr/>
            <p:nvPr/>
          </p:nvSpPr>
          <p:spPr>
            <a:xfrm>
              <a:off x="6190774" y="3871436"/>
              <a:ext cx="57150" cy="228600"/>
            </a:xfrm>
            <a:custGeom>
              <a:avLst/>
              <a:gdLst>
                <a:gd name="connsiteX0" fmla="*/ 48101 w 57150"/>
                <a:gd name="connsiteY0" fmla="*/ 11906 h 228600"/>
                <a:gd name="connsiteX1" fmla="*/ 30956 w 57150"/>
                <a:gd name="connsiteY1" fmla="*/ 7144 h 228600"/>
                <a:gd name="connsiteX2" fmla="*/ 13811 w 57150"/>
                <a:gd name="connsiteY2" fmla="*/ 11906 h 228600"/>
                <a:gd name="connsiteX3" fmla="*/ 7144 w 57150"/>
                <a:gd name="connsiteY3" fmla="*/ 23336 h 228600"/>
                <a:gd name="connsiteX4" fmla="*/ 7144 w 57150"/>
                <a:gd name="connsiteY4" fmla="*/ 209074 h 228600"/>
                <a:gd name="connsiteX5" fmla="*/ 13811 w 57150"/>
                <a:gd name="connsiteY5" fmla="*/ 220504 h 228600"/>
                <a:gd name="connsiteX6" fmla="*/ 30956 w 57150"/>
                <a:gd name="connsiteY6" fmla="*/ 225266 h 228600"/>
                <a:gd name="connsiteX7" fmla="*/ 48101 w 57150"/>
                <a:gd name="connsiteY7" fmla="*/ 220504 h 228600"/>
                <a:gd name="connsiteX8" fmla="*/ 54769 w 57150"/>
                <a:gd name="connsiteY8" fmla="*/ 209074 h 228600"/>
                <a:gd name="connsiteX9" fmla="*/ 54769 w 57150"/>
                <a:gd name="connsiteY9" fmla="*/ 23336 h 228600"/>
                <a:gd name="connsiteX10" fmla="*/ 48101 w 57150"/>
                <a:gd name="connsiteY10" fmla="*/ 11906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150" h="228600">
                  <a:moveTo>
                    <a:pt x="48101" y="11906"/>
                  </a:moveTo>
                  <a:cubicBezTo>
                    <a:pt x="43339" y="9049"/>
                    <a:pt x="37624" y="7144"/>
                    <a:pt x="30956" y="7144"/>
                  </a:cubicBezTo>
                  <a:cubicBezTo>
                    <a:pt x="24289" y="7144"/>
                    <a:pt x="18574" y="9049"/>
                    <a:pt x="13811" y="11906"/>
                  </a:cubicBezTo>
                  <a:cubicBezTo>
                    <a:pt x="9049" y="14764"/>
                    <a:pt x="7144" y="18574"/>
                    <a:pt x="7144" y="23336"/>
                  </a:cubicBezTo>
                  <a:lnTo>
                    <a:pt x="7144" y="209074"/>
                  </a:lnTo>
                  <a:cubicBezTo>
                    <a:pt x="7144" y="212884"/>
                    <a:pt x="9049" y="216694"/>
                    <a:pt x="13811" y="220504"/>
                  </a:cubicBezTo>
                  <a:cubicBezTo>
                    <a:pt x="18574" y="224314"/>
                    <a:pt x="24289" y="225266"/>
                    <a:pt x="30956" y="225266"/>
                  </a:cubicBezTo>
                  <a:cubicBezTo>
                    <a:pt x="37624" y="225266"/>
                    <a:pt x="43339" y="223361"/>
                    <a:pt x="48101" y="220504"/>
                  </a:cubicBezTo>
                  <a:cubicBezTo>
                    <a:pt x="52864" y="217646"/>
                    <a:pt x="54769" y="213836"/>
                    <a:pt x="54769" y="209074"/>
                  </a:cubicBezTo>
                  <a:lnTo>
                    <a:pt x="54769" y="23336"/>
                  </a:lnTo>
                  <a:cubicBezTo>
                    <a:pt x="54769" y="18574"/>
                    <a:pt x="52864" y="14764"/>
                    <a:pt x="4810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7E4077BE-D825-45A9-8922-114B388CE08F}"/>
                </a:ext>
              </a:extLst>
            </p:cNvPr>
            <p:cNvSpPr/>
            <p:nvPr/>
          </p:nvSpPr>
          <p:spPr>
            <a:xfrm>
              <a:off x="6288881" y="3868579"/>
              <a:ext cx="200025" cy="228600"/>
            </a:xfrm>
            <a:custGeom>
              <a:avLst/>
              <a:gdLst>
                <a:gd name="connsiteX0" fmla="*/ 113824 w 200025"/>
                <a:gd name="connsiteY0" fmla="*/ 7144 h 228600"/>
                <a:gd name="connsiteX1" fmla="*/ 75724 w 200025"/>
                <a:gd name="connsiteY1" fmla="*/ 17621 h 228600"/>
                <a:gd name="connsiteX2" fmla="*/ 51911 w 200025"/>
                <a:gd name="connsiteY2" fmla="*/ 42386 h 228600"/>
                <a:gd name="connsiteX3" fmla="*/ 51911 w 200025"/>
                <a:gd name="connsiteY3" fmla="*/ 25241 h 228600"/>
                <a:gd name="connsiteX4" fmla="*/ 46196 w 200025"/>
                <a:gd name="connsiteY4" fmla="*/ 13811 h 228600"/>
                <a:gd name="connsiteX5" fmla="*/ 30956 w 200025"/>
                <a:gd name="connsiteY5" fmla="*/ 9049 h 228600"/>
                <a:gd name="connsiteX6" fmla="*/ 13811 w 200025"/>
                <a:gd name="connsiteY6" fmla="*/ 13811 h 228600"/>
                <a:gd name="connsiteX7" fmla="*/ 7144 w 200025"/>
                <a:gd name="connsiteY7" fmla="*/ 25241 h 228600"/>
                <a:gd name="connsiteX8" fmla="*/ 7144 w 200025"/>
                <a:gd name="connsiteY8" fmla="*/ 210979 h 228600"/>
                <a:gd name="connsiteX9" fmla="*/ 13811 w 200025"/>
                <a:gd name="connsiteY9" fmla="*/ 222409 h 228600"/>
                <a:gd name="connsiteX10" fmla="*/ 30956 w 200025"/>
                <a:gd name="connsiteY10" fmla="*/ 227171 h 228600"/>
                <a:gd name="connsiteX11" fmla="*/ 48101 w 200025"/>
                <a:gd name="connsiteY11" fmla="*/ 222409 h 228600"/>
                <a:gd name="connsiteX12" fmla="*/ 55721 w 200025"/>
                <a:gd name="connsiteY12" fmla="*/ 211931 h 228600"/>
                <a:gd name="connsiteX13" fmla="*/ 55721 w 200025"/>
                <a:gd name="connsiteY13" fmla="*/ 98584 h 228600"/>
                <a:gd name="connsiteX14" fmla="*/ 69056 w 200025"/>
                <a:gd name="connsiteY14" fmla="*/ 64294 h 228600"/>
                <a:gd name="connsiteX15" fmla="*/ 99536 w 200025"/>
                <a:gd name="connsiteY15" fmla="*/ 50959 h 228600"/>
                <a:gd name="connsiteX16" fmla="*/ 131921 w 200025"/>
                <a:gd name="connsiteY16" fmla="*/ 65246 h 228600"/>
                <a:gd name="connsiteX17" fmla="*/ 145256 w 200025"/>
                <a:gd name="connsiteY17" fmla="*/ 98584 h 228600"/>
                <a:gd name="connsiteX18" fmla="*/ 145256 w 200025"/>
                <a:gd name="connsiteY18" fmla="*/ 211931 h 228600"/>
                <a:gd name="connsiteX19" fmla="*/ 152876 w 200025"/>
                <a:gd name="connsiteY19" fmla="*/ 223361 h 228600"/>
                <a:gd name="connsiteX20" fmla="*/ 169069 w 200025"/>
                <a:gd name="connsiteY20" fmla="*/ 228124 h 228600"/>
                <a:gd name="connsiteX21" fmla="*/ 186214 w 200025"/>
                <a:gd name="connsiteY21" fmla="*/ 223361 h 228600"/>
                <a:gd name="connsiteX22" fmla="*/ 192881 w 200025"/>
                <a:gd name="connsiteY22" fmla="*/ 211931 h 228600"/>
                <a:gd name="connsiteX23" fmla="*/ 192881 w 200025"/>
                <a:gd name="connsiteY23" fmla="*/ 97631 h 228600"/>
                <a:gd name="connsiteX24" fmla="*/ 169069 w 200025"/>
                <a:gd name="connsiteY24" fmla="*/ 33814 h 228600"/>
                <a:gd name="connsiteX25" fmla="*/ 113824 w 200025"/>
                <a:gd name="connsiteY25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0025" h="228600">
                  <a:moveTo>
                    <a:pt x="113824" y="7144"/>
                  </a:moveTo>
                  <a:cubicBezTo>
                    <a:pt x="99536" y="7144"/>
                    <a:pt x="87154" y="10954"/>
                    <a:pt x="75724" y="17621"/>
                  </a:cubicBezTo>
                  <a:cubicBezTo>
                    <a:pt x="65246" y="24289"/>
                    <a:pt x="56674" y="32861"/>
                    <a:pt x="51911" y="42386"/>
                  </a:cubicBezTo>
                  <a:lnTo>
                    <a:pt x="51911" y="25241"/>
                  </a:lnTo>
                  <a:cubicBezTo>
                    <a:pt x="51911" y="20479"/>
                    <a:pt x="50006" y="16669"/>
                    <a:pt x="46196" y="13811"/>
                  </a:cubicBezTo>
                  <a:cubicBezTo>
                    <a:pt x="42386" y="10954"/>
                    <a:pt x="36671" y="9049"/>
                    <a:pt x="30956" y="9049"/>
                  </a:cubicBezTo>
                  <a:cubicBezTo>
                    <a:pt x="24289" y="9049"/>
                    <a:pt x="18574" y="10954"/>
                    <a:pt x="13811" y="13811"/>
                  </a:cubicBezTo>
                  <a:cubicBezTo>
                    <a:pt x="9049" y="16669"/>
                    <a:pt x="7144" y="20479"/>
                    <a:pt x="7144" y="25241"/>
                  </a:cubicBezTo>
                  <a:lnTo>
                    <a:pt x="7144" y="210979"/>
                  </a:lnTo>
                  <a:cubicBezTo>
                    <a:pt x="7144" y="214789"/>
                    <a:pt x="9049" y="218599"/>
                    <a:pt x="13811" y="222409"/>
                  </a:cubicBezTo>
                  <a:cubicBezTo>
                    <a:pt x="18574" y="226219"/>
                    <a:pt x="24289" y="227171"/>
                    <a:pt x="30956" y="227171"/>
                  </a:cubicBezTo>
                  <a:cubicBezTo>
                    <a:pt x="37624" y="227171"/>
                    <a:pt x="43339" y="225266"/>
                    <a:pt x="48101" y="222409"/>
                  </a:cubicBezTo>
                  <a:cubicBezTo>
                    <a:pt x="52864" y="219551"/>
                    <a:pt x="55721" y="215741"/>
                    <a:pt x="55721" y="211931"/>
                  </a:cubicBezTo>
                  <a:lnTo>
                    <a:pt x="55721" y="98584"/>
                  </a:lnTo>
                  <a:cubicBezTo>
                    <a:pt x="55721" y="84296"/>
                    <a:pt x="60484" y="72866"/>
                    <a:pt x="69056" y="64294"/>
                  </a:cubicBezTo>
                  <a:cubicBezTo>
                    <a:pt x="77629" y="55721"/>
                    <a:pt x="88106" y="50959"/>
                    <a:pt x="99536" y="50959"/>
                  </a:cubicBezTo>
                  <a:cubicBezTo>
                    <a:pt x="111919" y="50959"/>
                    <a:pt x="123349" y="55721"/>
                    <a:pt x="131921" y="65246"/>
                  </a:cubicBezTo>
                  <a:cubicBezTo>
                    <a:pt x="141446" y="74771"/>
                    <a:pt x="145256" y="86201"/>
                    <a:pt x="145256" y="98584"/>
                  </a:cubicBezTo>
                  <a:lnTo>
                    <a:pt x="145256" y="211931"/>
                  </a:lnTo>
                  <a:cubicBezTo>
                    <a:pt x="145256" y="216694"/>
                    <a:pt x="148114" y="220504"/>
                    <a:pt x="152876" y="223361"/>
                  </a:cubicBezTo>
                  <a:cubicBezTo>
                    <a:pt x="157639" y="226219"/>
                    <a:pt x="163354" y="228124"/>
                    <a:pt x="169069" y="228124"/>
                  </a:cubicBezTo>
                  <a:cubicBezTo>
                    <a:pt x="175736" y="228124"/>
                    <a:pt x="181451" y="226219"/>
                    <a:pt x="186214" y="223361"/>
                  </a:cubicBezTo>
                  <a:cubicBezTo>
                    <a:pt x="190976" y="220504"/>
                    <a:pt x="192881" y="216694"/>
                    <a:pt x="192881" y="211931"/>
                  </a:cubicBezTo>
                  <a:lnTo>
                    <a:pt x="192881" y="97631"/>
                  </a:lnTo>
                  <a:cubicBezTo>
                    <a:pt x="192881" y="72866"/>
                    <a:pt x="185261" y="51911"/>
                    <a:pt x="169069" y="33814"/>
                  </a:cubicBezTo>
                  <a:cubicBezTo>
                    <a:pt x="154781" y="16669"/>
                    <a:pt x="135731" y="7144"/>
                    <a:pt x="11382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07D151F6-F7E8-41DE-802F-497A85FC9D28}"/>
                </a:ext>
              </a:extLst>
            </p:cNvPr>
            <p:cNvSpPr/>
            <p:nvPr/>
          </p:nvSpPr>
          <p:spPr>
            <a:xfrm>
              <a:off x="6516529" y="3869531"/>
              <a:ext cx="200025" cy="238125"/>
            </a:xfrm>
            <a:custGeom>
              <a:avLst/>
              <a:gdLst>
                <a:gd name="connsiteX0" fmla="*/ 167164 w 200025"/>
                <a:gd name="connsiteY0" fmla="*/ 30956 h 238125"/>
                <a:gd name="connsiteX1" fmla="*/ 102394 w 200025"/>
                <a:gd name="connsiteY1" fmla="*/ 7144 h 238125"/>
                <a:gd name="connsiteX2" fmla="*/ 34766 w 200025"/>
                <a:gd name="connsiteY2" fmla="*/ 33814 h 238125"/>
                <a:gd name="connsiteX3" fmla="*/ 7144 w 200025"/>
                <a:gd name="connsiteY3" fmla="*/ 96679 h 238125"/>
                <a:gd name="connsiteX4" fmla="*/ 7144 w 200025"/>
                <a:gd name="connsiteY4" fmla="*/ 140494 h 238125"/>
                <a:gd name="connsiteX5" fmla="*/ 36671 w 200025"/>
                <a:gd name="connsiteY5" fmla="*/ 206216 h 238125"/>
                <a:gd name="connsiteX6" fmla="*/ 112871 w 200025"/>
                <a:gd name="connsiteY6" fmla="*/ 231934 h 238125"/>
                <a:gd name="connsiteX7" fmla="*/ 167164 w 200025"/>
                <a:gd name="connsiteY7" fmla="*/ 220504 h 238125"/>
                <a:gd name="connsiteX8" fmla="*/ 189071 w 200025"/>
                <a:gd name="connsiteY8" fmla="*/ 197644 h 238125"/>
                <a:gd name="connsiteX9" fmla="*/ 183356 w 200025"/>
                <a:gd name="connsiteY9" fmla="*/ 183356 h 238125"/>
                <a:gd name="connsiteX10" fmla="*/ 170021 w 200025"/>
                <a:gd name="connsiteY10" fmla="*/ 175736 h 238125"/>
                <a:gd name="connsiteX11" fmla="*/ 150019 w 200025"/>
                <a:gd name="connsiteY11" fmla="*/ 184309 h 238125"/>
                <a:gd name="connsiteX12" fmla="*/ 114776 w 200025"/>
                <a:gd name="connsiteY12" fmla="*/ 192881 h 238125"/>
                <a:gd name="connsiteX13" fmla="*/ 71914 w 200025"/>
                <a:gd name="connsiteY13" fmla="*/ 179546 h 238125"/>
                <a:gd name="connsiteX14" fmla="*/ 55721 w 200025"/>
                <a:gd name="connsiteY14" fmla="*/ 142399 h 238125"/>
                <a:gd name="connsiteX15" fmla="*/ 55721 w 200025"/>
                <a:gd name="connsiteY15" fmla="*/ 130969 h 238125"/>
                <a:gd name="connsiteX16" fmla="*/ 152876 w 200025"/>
                <a:gd name="connsiteY16" fmla="*/ 130969 h 238125"/>
                <a:gd name="connsiteX17" fmla="*/ 168116 w 200025"/>
                <a:gd name="connsiteY17" fmla="*/ 130016 h 238125"/>
                <a:gd name="connsiteX18" fmla="*/ 180499 w 200025"/>
                <a:gd name="connsiteY18" fmla="*/ 125254 h 238125"/>
                <a:gd name="connsiteX19" fmla="*/ 190976 w 200025"/>
                <a:gd name="connsiteY19" fmla="*/ 112871 h 238125"/>
                <a:gd name="connsiteX20" fmla="*/ 193834 w 200025"/>
                <a:gd name="connsiteY20" fmla="*/ 90011 h 238125"/>
                <a:gd name="connsiteX21" fmla="*/ 167164 w 200025"/>
                <a:gd name="connsiteY21" fmla="*/ 30956 h 238125"/>
                <a:gd name="connsiteX22" fmla="*/ 144304 w 200025"/>
                <a:gd name="connsiteY22" fmla="*/ 97631 h 238125"/>
                <a:gd name="connsiteX23" fmla="*/ 130969 w 200025"/>
                <a:gd name="connsiteY23" fmla="*/ 100489 h 238125"/>
                <a:gd name="connsiteX24" fmla="*/ 54769 w 200025"/>
                <a:gd name="connsiteY24" fmla="*/ 100489 h 238125"/>
                <a:gd name="connsiteX25" fmla="*/ 54769 w 200025"/>
                <a:gd name="connsiteY25" fmla="*/ 86201 h 238125"/>
                <a:gd name="connsiteX26" fmla="*/ 68104 w 200025"/>
                <a:gd name="connsiteY26" fmla="*/ 55721 h 238125"/>
                <a:gd name="connsiteX27" fmla="*/ 101441 w 200025"/>
                <a:gd name="connsiteY27" fmla="*/ 43339 h 238125"/>
                <a:gd name="connsiteX28" fmla="*/ 134779 w 200025"/>
                <a:gd name="connsiteY28" fmla="*/ 55721 h 238125"/>
                <a:gd name="connsiteX29" fmla="*/ 148114 w 200025"/>
                <a:gd name="connsiteY29" fmla="*/ 86201 h 238125"/>
                <a:gd name="connsiteX30" fmla="*/ 144304 w 200025"/>
                <a:gd name="connsiteY30" fmla="*/ 97631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0025" h="238125">
                  <a:moveTo>
                    <a:pt x="167164" y="30956"/>
                  </a:moveTo>
                  <a:cubicBezTo>
                    <a:pt x="149066" y="14764"/>
                    <a:pt x="128111" y="7144"/>
                    <a:pt x="102394" y="7144"/>
                  </a:cubicBezTo>
                  <a:cubicBezTo>
                    <a:pt x="75724" y="7144"/>
                    <a:pt x="53816" y="15716"/>
                    <a:pt x="34766" y="33814"/>
                  </a:cubicBezTo>
                  <a:cubicBezTo>
                    <a:pt x="15716" y="50959"/>
                    <a:pt x="7144" y="71914"/>
                    <a:pt x="7144" y="96679"/>
                  </a:cubicBezTo>
                  <a:lnTo>
                    <a:pt x="7144" y="140494"/>
                  </a:lnTo>
                  <a:cubicBezTo>
                    <a:pt x="7144" y="168116"/>
                    <a:pt x="17621" y="190024"/>
                    <a:pt x="36671" y="206216"/>
                  </a:cubicBezTo>
                  <a:cubicBezTo>
                    <a:pt x="56674" y="223361"/>
                    <a:pt x="82391" y="231934"/>
                    <a:pt x="112871" y="231934"/>
                  </a:cubicBezTo>
                  <a:cubicBezTo>
                    <a:pt x="134779" y="231934"/>
                    <a:pt x="151924" y="228124"/>
                    <a:pt x="167164" y="220504"/>
                  </a:cubicBezTo>
                  <a:cubicBezTo>
                    <a:pt x="181451" y="212884"/>
                    <a:pt x="189071" y="205264"/>
                    <a:pt x="189071" y="197644"/>
                  </a:cubicBezTo>
                  <a:cubicBezTo>
                    <a:pt x="189071" y="192881"/>
                    <a:pt x="187166" y="188119"/>
                    <a:pt x="183356" y="183356"/>
                  </a:cubicBezTo>
                  <a:cubicBezTo>
                    <a:pt x="179546" y="178594"/>
                    <a:pt x="175736" y="175736"/>
                    <a:pt x="170021" y="175736"/>
                  </a:cubicBezTo>
                  <a:cubicBezTo>
                    <a:pt x="167164" y="175736"/>
                    <a:pt x="160496" y="178594"/>
                    <a:pt x="150019" y="184309"/>
                  </a:cubicBezTo>
                  <a:cubicBezTo>
                    <a:pt x="138589" y="190024"/>
                    <a:pt x="127159" y="192881"/>
                    <a:pt x="114776" y="192881"/>
                  </a:cubicBezTo>
                  <a:cubicBezTo>
                    <a:pt x="96679" y="192881"/>
                    <a:pt x="82391" y="188119"/>
                    <a:pt x="71914" y="179546"/>
                  </a:cubicBezTo>
                  <a:cubicBezTo>
                    <a:pt x="60484" y="170021"/>
                    <a:pt x="55721" y="158591"/>
                    <a:pt x="55721" y="142399"/>
                  </a:cubicBezTo>
                  <a:lnTo>
                    <a:pt x="55721" y="130969"/>
                  </a:lnTo>
                  <a:lnTo>
                    <a:pt x="152876" y="130969"/>
                  </a:lnTo>
                  <a:cubicBezTo>
                    <a:pt x="159544" y="130969"/>
                    <a:pt x="164306" y="130969"/>
                    <a:pt x="168116" y="130016"/>
                  </a:cubicBezTo>
                  <a:cubicBezTo>
                    <a:pt x="171926" y="129064"/>
                    <a:pt x="176689" y="128111"/>
                    <a:pt x="180499" y="125254"/>
                  </a:cubicBezTo>
                  <a:cubicBezTo>
                    <a:pt x="185261" y="122396"/>
                    <a:pt x="188119" y="118586"/>
                    <a:pt x="190976" y="112871"/>
                  </a:cubicBezTo>
                  <a:cubicBezTo>
                    <a:pt x="192881" y="107156"/>
                    <a:pt x="193834" y="99536"/>
                    <a:pt x="193834" y="90011"/>
                  </a:cubicBezTo>
                  <a:cubicBezTo>
                    <a:pt x="193834" y="66199"/>
                    <a:pt x="184309" y="46196"/>
                    <a:pt x="167164" y="30956"/>
                  </a:cubicBezTo>
                  <a:close/>
                  <a:moveTo>
                    <a:pt x="144304" y="97631"/>
                  </a:moveTo>
                  <a:cubicBezTo>
                    <a:pt x="142399" y="99536"/>
                    <a:pt x="137636" y="100489"/>
                    <a:pt x="130969" y="100489"/>
                  </a:cubicBezTo>
                  <a:lnTo>
                    <a:pt x="54769" y="100489"/>
                  </a:lnTo>
                  <a:lnTo>
                    <a:pt x="54769" y="86201"/>
                  </a:lnTo>
                  <a:cubicBezTo>
                    <a:pt x="54769" y="73819"/>
                    <a:pt x="59531" y="63341"/>
                    <a:pt x="68104" y="55721"/>
                  </a:cubicBezTo>
                  <a:cubicBezTo>
                    <a:pt x="77629" y="48101"/>
                    <a:pt x="88106" y="43339"/>
                    <a:pt x="101441" y="43339"/>
                  </a:cubicBezTo>
                  <a:cubicBezTo>
                    <a:pt x="114776" y="43339"/>
                    <a:pt x="125254" y="47149"/>
                    <a:pt x="134779" y="55721"/>
                  </a:cubicBezTo>
                  <a:cubicBezTo>
                    <a:pt x="143351" y="64294"/>
                    <a:pt x="148114" y="74771"/>
                    <a:pt x="148114" y="86201"/>
                  </a:cubicBezTo>
                  <a:cubicBezTo>
                    <a:pt x="148114" y="91916"/>
                    <a:pt x="147161" y="95726"/>
                    <a:pt x="144304" y="976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05039D0C-0F17-4370-8EAB-E4D70D3B9E3D}"/>
                </a:ext>
              </a:extLst>
            </p:cNvPr>
            <p:cNvSpPr/>
            <p:nvPr/>
          </p:nvSpPr>
          <p:spPr>
            <a:xfrm>
              <a:off x="6729889" y="3868579"/>
              <a:ext cx="171450" cy="228600"/>
            </a:xfrm>
            <a:custGeom>
              <a:avLst/>
              <a:gdLst>
                <a:gd name="connsiteX0" fmla="*/ 126206 w 171450"/>
                <a:gd name="connsiteY0" fmla="*/ 109061 h 228600"/>
                <a:gd name="connsiteX1" fmla="*/ 93821 w 171450"/>
                <a:gd name="connsiteY1" fmla="*/ 98584 h 228600"/>
                <a:gd name="connsiteX2" fmla="*/ 66199 w 171450"/>
                <a:gd name="connsiteY2" fmla="*/ 88106 h 228600"/>
                <a:gd name="connsiteX3" fmla="*/ 54769 w 171450"/>
                <a:gd name="connsiteY3" fmla="*/ 70961 h 228600"/>
                <a:gd name="connsiteX4" fmla="*/ 64294 w 171450"/>
                <a:gd name="connsiteY4" fmla="*/ 52864 h 228600"/>
                <a:gd name="connsiteX5" fmla="*/ 91916 w 171450"/>
                <a:gd name="connsiteY5" fmla="*/ 44291 h 228600"/>
                <a:gd name="connsiteX6" fmla="*/ 122396 w 171450"/>
                <a:gd name="connsiteY6" fmla="*/ 50959 h 228600"/>
                <a:gd name="connsiteX7" fmla="*/ 141446 w 171450"/>
                <a:gd name="connsiteY7" fmla="*/ 57626 h 228600"/>
                <a:gd name="connsiteX8" fmla="*/ 154781 w 171450"/>
                <a:gd name="connsiteY8" fmla="*/ 49054 h 228600"/>
                <a:gd name="connsiteX9" fmla="*/ 160496 w 171450"/>
                <a:gd name="connsiteY9" fmla="*/ 33814 h 228600"/>
                <a:gd name="connsiteX10" fmla="*/ 139541 w 171450"/>
                <a:gd name="connsiteY10" fmla="*/ 14764 h 228600"/>
                <a:gd name="connsiteX11" fmla="*/ 91916 w 171450"/>
                <a:gd name="connsiteY11" fmla="*/ 7144 h 228600"/>
                <a:gd name="connsiteX12" fmla="*/ 32861 w 171450"/>
                <a:gd name="connsiteY12" fmla="*/ 26194 h 228600"/>
                <a:gd name="connsiteX13" fmla="*/ 13811 w 171450"/>
                <a:gd name="connsiteY13" fmla="*/ 72866 h 228600"/>
                <a:gd name="connsiteX14" fmla="*/ 25241 w 171450"/>
                <a:gd name="connsiteY14" fmla="*/ 107156 h 228600"/>
                <a:gd name="connsiteX15" fmla="*/ 52864 w 171450"/>
                <a:gd name="connsiteY15" fmla="*/ 126206 h 228600"/>
                <a:gd name="connsiteX16" fmla="*/ 85249 w 171450"/>
                <a:gd name="connsiteY16" fmla="*/ 135731 h 228600"/>
                <a:gd name="connsiteX17" fmla="*/ 112871 w 171450"/>
                <a:gd name="connsiteY17" fmla="*/ 148114 h 228600"/>
                <a:gd name="connsiteX18" fmla="*/ 124301 w 171450"/>
                <a:gd name="connsiteY18" fmla="*/ 169069 h 228600"/>
                <a:gd name="connsiteX19" fmla="*/ 85249 w 171450"/>
                <a:gd name="connsiteY19" fmla="*/ 193834 h 228600"/>
                <a:gd name="connsiteX20" fmla="*/ 54769 w 171450"/>
                <a:gd name="connsiteY20" fmla="*/ 188119 h 228600"/>
                <a:gd name="connsiteX21" fmla="*/ 34766 w 171450"/>
                <a:gd name="connsiteY21" fmla="*/ 177641 h 228600"/>
                <a:gd name="connsiteX22" fmla="*/ 23336 w 171450"/>
                <a:gd name="connsiteY22" fmla="*/ 171926 h 228600"/>
                <a:gd name="connsiteX23" fmla="*/ 11906 w 171450"/>
                <a:gd name="connsiteY23" fmla="*/ 179546 h 228600"/>
                <a:gd name="connsiteX24" fmla="*/ 7144 w 171450"/>
                <a:gd name="connsiteY24" fmla="*/ 193834 h 228600"/>
                <a:gd name="connsiteX25" fmla="*/ 30004 w 171450"/>
                <a:gd name="connsiteY25" fmla="*/ 219551 h 228600"/>
                <a:gd name="connsiteX26" fmla="*/ 86201 w 171450"/>
                <a:gd name="connsiteY26" fmla="*/ 230981 h 228600"/>
                <a:gd name="connsiteX27" fmla="*/ 146209 w 171450"/>
                <a:gd name="connsiteY27" fmla="*/ 213836 h 228600"/>
                <a:gd name="connsiteX28" fmla="*/ 167164 w 171450"/>
                <a:gd name="connsiteY28" fmla="*/ 167164 h 228600"/>
                <a:gd name="connsiteX29" fmla="*/ 155734 w 171450"/>
                <a:gd name="connsiteY29" fmla="*/ 129064 h 228600"/>
                <a:gd name="connsiteX30" fmla="*/ 126206 w 171450"/>
                <a:gd name="connsiteY30" fmla="*/ 109061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1450" h="228600">
                  <a:moveTo>
                    <a:pt x="126206" y="109061"/>
                  </a:moveTo>
                  <a:cubicBezTo>
                    <a:pt x="115729" y="105251"/>
                    <a:pt x="104299" y="101441"/>
                    <a:pt x="93821" y="98584"/>
                  </a:cubicBezTo>
                  <a:cubicBezTo>
                    <a:pt x="82391" y="95726"/>
                    <a:pt x="73819" y="91916"/>
                    <a:pt x="66199" y="88106"/>
                  </a:cubicBezTo>
                  <a:cubicBezTo>
                    <a:pt x="58579" y="83344"/>
                    <a:pt x="54769" y="77629"/>
                    <a:pt x="54769" y="70961"/>
                  </a:cubicBezTo>
                  <a:cubicBezTo>
                    <a:pt x="54769" y="64294"/>
                    <a:pt x="57626" y="57626"/>
                    <a:pt x="64294" y="52864"/>
                  </a:cubicBezTo>
                  <a:cubicBezTo>
                    <a:pt x="70961" y="47149"/>
                    <a:pt x="79534" y="44291"/>
                    <a:pt x="91916" y="44291"/>
                  </a:cubicBezTo>
                  <a:cubicBezTo>
                    <a:pt x="101441" y="44291"/>
                    <a:pt x="111919" y="46196"/>
                    <a:pt x="122396" y="50959"/>
                  </a:cubicBezTo>
                  <a:cubicBezTo>
                    <a:pt x="132874" y="55721"/>
                    <a:pt x="139541" y="57626"/>
                    <a:pt x="141446" y="57626"/>
                  </a:cubicBezTo>
                  <a:cubicBezTo>
                    <a:pt x="146209" y="57626"/>
                    <a:pt x="150971" y="54769"/>
                    <a:pt x="154781" y="49054"/>
                  </a:cubicBezTo>
                  <a:cubicBezTo>
                    <a:pt x="158591" y="43339"/>
                    <a:pt x="160496" y="38576"/>
                    <a:pt x="160496" y="33814"/>
                  </a:cubicBezTo>
                  <a:cubicBezTo>
                    <a:pt x="160496" y="26194"/>
                    <a:pt x="153829" y="20479"/>
                    <a:pt x="139541" y="14764"/>
                  </a:cubicBezTo>
                  <a:cubicBezTo>
                    <a:pt x="125254" y="9049"/>
                    <a:pt x="110014" y="7144"/>
                    <a:pt x="91916" y="7144"/>
                  </a:cubicBezTo>
                  <a:cubicBezTo>
                    <a:pt x="65246" y="7144"/>
                    <a:pt x="45244" y="13811"/>
                    <a:pt x="32861" y="26194"/>
                  </a:cubicBezTo>
                  <a:cubicBezTo>
                    <a:pt x="19526" y="39529"/>
                    <a:pt x="13811" y="54769"/>
                    <a:pt x="13811" y="72866"/>
                  </a:cubicBezTo>
                  <a:cubicBezTo>
                    <a:pt x="13811" y="87154"/>
                    <a:pt x="17621" y="98584"/>
                    <a:pt x="25241" y="107156"/>
                  </a:cubicBezTo>
                  <a:cubicBezTo>
                    <a:pt x="32861" y="115729"/>
                    <a:pt x="42386" y="122396"/>
                    <a:pt x="52864" y="126206"/>
                  </a:cubicBezTo>
                  <a:cubicBezTo>
                    <a:pt x="63341" y="130016"/>
                    <a:pt x="74771" y="132874"/>
                    <a:pt x="85249" y="135731"/>
                  </a:cubicBezTo>
                  <a:cubicBezTo>
                    <a:pt x="95726" y="138589"/>
                    <a:pt x="105251" y="142399"/>
                    <a:pt x="112871" y="148114"/>
                  </a:cubicBezTo>
                  <a:cubicBezTo>
                    <a:pt x="120491" y="152876"/>
                    <a:pt x="124301" y="160496"/>
                    <a:pt x="124301" y="169069"/>
                  </a:cubicBezTo>
                  <a:cubicBezTo>
                    <a:pt x="124301" y="186214"/>
                    <a:pt x="110966" y="193834"/>
                    <a:pt x="85249" y="193834"/>
                  </a:cubicBezTo>
                  <a:cubicBezTo>
                    <a:pt x="73819" y="193834"/>
                    <a:pt x="63341" y="191929"/>
                    <a:pt x="54769" y="188119"/>
                  </a:cubicBezTo>
                  <a:cubicBezTo>
                    <a:pt x="46196" y="184309"/>
                    <a:pt x="39529" y="180499"/>
                    <a:pt x="34766" y="177641"/>
                  </a:cubicBezTo>
                  <a:cubicBezTo>
                    <a:pt x="30004" y="173831"/>
                    <a:pt x="26194" y="171926"/>
                    <a:pt x="23336" y="171926"/>
                  </a:cubicBezTo>
                  <a:cubicBezTo>
                    <a:pt x="18574" y="171926"/>
                    <a:pt x="14764" y="174784"/>
                    <a:pt x="11906" y="179546"/>
                  </a:cubicBezTo>
                  <a:cubicBezTo>
                    <a:pt x="9049" y="184309"/>
                    <a:pt x="7144" y="189071"/>
                    <a:pt x="7144" y="193834"/>
                  </a:cubicBezTo>
                  <a:cubicBezTo>
                    <a:pt x="7144" y="203359"/>
                    <a:pt x="14764" y="211931"/>
                    <a:pt x="30004" y="219551"/>
                  </a:cubicBezTo>
                  <a:cubicBezTo>
                    <a:pt x="45244" y="227171"/>
                    <a:pt x="64294" y="230981"/>
                    <a:pt x="86201" y="230981"/>
                  </a:cubicBezTo>
                  <a:cubicBezTo>
                    <a:pt x="111919" y="230981"/>
                    <a:pt x="131921" y="225266"/>
                    <a:pt x="146209" y="213836"/>
                  </a:cubicBezTo>
                  <a:cubicBezTo>
                    <a:pt x="160496" y="202406"/>
                    <a:pt x="167164" y="187166"/>
                    <a:pt x="167164" y="167164"/>
                  </a:cubicBezTo>
                  <a:cubicBezTo>
                    <a:pt x="167164" y="151924"/>
                    <a:pt x="163354" y="139541"/>
                    <a:pt x="155734" y="129064"/>
                  </a:cubicBezTo>
                  <a:cubicBezTo>
                    <a:pt x="146209" y="120491"/>
                    <a:pt x="137636" y="113824"/>
                    <a:pt x="126206" y="109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23C0B403-0732-4127-807F-08920998F3A9}"/>
                </a:ext>
              </a:extLst>
            </p:cNvPr>
            <p:cNvSpPr/>
            <p:nvPr/>
          </p:nvSpPr>
          <p:spPr>
            <a:xfrm>
              <a:off x="6916579" y="3868579"/>
              <a:ext cx="171450" cy="228600"/>
            </a:xfrm>
            <a:custGeom>
              <a:avLst/>
              <a:gdLst>
                <a:gd name="connsiteX0" fmla="*/ 125254 w 171450"/>
                <a:gd name="connsiteY0" fmla="*/ 109061 h 228600"/>
                <a:gd name="connsiteX1" fmla="*/ 92869 w 171450"/>
                <a:gd name="connsiteY1" fmla="*/ 98584 h 228600"/>
                <a:gd name="connsiteX2" fmla="*/ 65246 w 171450"/>
                <a:gd name="connsiteY2" fmla="*/ 88106 h 228600"/>
                <a:gd name="connsiteX3" fmla="*/ 53816 w 171450"/>
                <a:gd name="connsiteY3" fmla="*/ 70961 h 228600"/>
                <a:gd name="connsiteX4" fmla="*/ 63341 w 171450"/>
                <a:gd name="connsiteY4" fmla="*/ 52864 h 228600"/>
                <a:gd name="connsiteX5" fmla="*/ 90964 w 171450"/>
                <a:gd name="connsiteY5" fmla="*/ 44291 h 228600"/>
                <a:gd name="connsiteX6" fmla="*/ 121444 w 171450"/>
                <a:gd name="connsiteY6" fmla="*/ 50959 h 228600"/>
                <a:gd name="connsiteX7" fmla="*/ 140494 w 171450"/>
                <a:gd name="connsiteY7" fmla="*/ 57626 h 228600"/>
                <a:gd name="connsiteX8" fmla="*/ 153829 w 171450"/>
                <a:gd name="connsiteY8" fmla="*/ 49054 h 228600"/>
                <a:gd name="connsiteX9" fmla="*/ 159544 w 171450"/>
                <a:gd name="connsiteY9" fmla="*/ 33814 h 228600"/>
                <a:gd name="connsiteX10" fmla="*/ 138589 w 171450"/>
                <a:gd name="connsiteY10" fmla="*/ 14764 h 228600"/>
                <a:gd name="connsiteX11" fmla="*/ 90964 w 171450"/>
                <a:gd name="connsiteY11" fmla="*/ 7144 h 228600"/>
                <a:gd name="connsiteX12" fmla="*/ 31909 w 171450"/>
                <a:gd name="connsiteY12" fmla="*/ 26194 h 228600"/>
                <a:gd name="connsiteX13" fmla="*/ 12859 w 171450"/>
                <a:gd name="connsiteY13" fmla="*/ 72866 h 228600"/>
                <a:gd name="connsiteX14" fmla="*/ 24289 w 171450"/>
                <a:gd name="connsiteY14" fmla="*/ 107156 h 228600"/>
                <a:gd name="connsiteX15" fmla="*/ 51911 w 171450"/>
                <a:gd name="connsiteY15" fmla="*/ 126206 h 228600"/>
                <a:gd name="connsiteX16" fmla="*/ 84296 w 171450"/>
                <a:gd name="connsiteY16" fmla="*/ 135731 h 228600"/>
                <a:gd name="connsiteX17" fmla="*/ 111919 w 171450"/>
                <a:gd name="connsiteY17" fmla="*/ 148114 h 228600"/>
                <a:gd name="connsiteX18" fmla="*/ 123349 w 171450"/>
                <a:gd name="connsiteY18" fmla="*/ 169069 h 228600"/>
                <a:gd name="connsiteX19" fmla="*/ 84296 w 171450"/>
                <a:gd name="connsiteY19" fmla="*/ 193834 h 228600"/>
                <a:gd name="connsiteX20" fmla="*/ 54769 w 171450"/>
                <a:gd name="connsiteY20" fmla="*/ 188119 h 228600"/>
                <a:gd name="connsiteX21" fmla="*/ 34766 w 171450"/>
                <a:gd name="connsiteY21" fmla="*/ 177641 h 228600"/>
                <a:gd name="connsiteX22" fmla="*/ 23336 w 171450"/>
                <a:gd name="connsiteY22" fmla="*/ 171926 h 228600"/>
                <a:gd name="connsiteX23" fmla="*/ 11906 w 171450"/>
                <a:gd name="connsiteY23" fmla="*/ 179546 h 228600"/>
                <a:gd name="connsiteX24" fmla="*/ 7144 w 171450"/>
                <a:gd name="connsiteY24" fmla="*/ 193834 h 228600"/>
                <a:gd name="connsiteX25" fmla="*/ 30004 w 171450"/>
                <a:gd name="connsiteY25" fmla="*/ 219551 h 228600"/>
                <a:gd name="connsiteX26" fmla="*/ 86201 w 171450"/>
                <a:gd name="connsiteY26" fmla="*/ 230981 h 228600"/>
                <a:gd name="connsiteX27" fmla="*/ 146209 w 171450"/>
                <a:gd name="connsiteY27" fmla="*/ 213836 h 228600"/>
                <a:gd name="connsiteX28" fmla="*/ 167164 w 171450"/>
                <a:gd name="connsiteY28" fmla="*/ 167164 h 228600"/>
                <a:gd name="connsiteX29" fmla="*/ 155734 w 171450"/>
                <a:gd name="connsiteY29" fmla="*/ 129064 h 228600"/>
                <a:gd name="connsiteX30" fmla="*/ 125254 w 171450"/>
                <a:gd name="connsiteY30" fmla="*/ 109061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1450" h="228600">
                  <a:moveTo>
                    <a:pt x="125254" y="109061"/>
                  </a:moveTo>
                  <a:cubicBezTo>
                    <a:pt x="114776" y="105251"/>
                    <a:pt x="103346" y="101441"/>
                    <a:pt x="92869" y="98584"/>
                  </a:cubicBezTo>
                  <a:cubicBezTo>
                    <a:pt x="81439" y="95726"/>
                    <a:pt x="72866" y="91916"/>
                    <a:pt x="65246" y="88106"/>
                  </a:cubicBezTo>
                  <a:cubicBezTo>
                    <a:pt x="57626" y="84296"/>
                    <a:pt x="53816" y="77629"/>
                    <a:pt x="53816" y="70961"/>
                  </a:cubicBezTo>
                  <a:cubicBezTo>
                    <a:pt x="53816" y="64294"/>
                    <a:pt x="56674" y="57626"/>
                    <a:pt x="63341" y="52864"/>
                  </a:cubicBezTo>
                  <a:cubicBezTo>
                    <a:pt x="70009" y="47149"/>
                    <a:pt x="78581" y="44291"/>
                    <a:pt x="90964" y="44291"/>
                  </a:cubicBezTo>
                  <a:cubicBezTo>
                    <a:pt x="100489" y="44291"/>
                    <a:pt x="110966" y="46196"/>
                    <a:pt x="121444" y="50959"/>
                  </a:cubicBezTo>
                  <a:cubicBezTo>
                    <a:pt x="131921" y="55721"/>
                    <a:pt x="138589" y="57626"/>
                    <a:pt x="140494" y="57626"/>
                  </a:cubicBezTo>
                  <a:cubicBezTo>
                    <a:pt x="146209" y="57626"/>
                    <a:pt x="150019" y="54769"/>
                    <a:pt x="153829" y="49054"/>
                  </a:cubicBezTo>
                  <a:cubicBezTo>
                    <a:pt x="157639" y="43339"/>
                    <a:pt x="159544" y="38576"/>
                    <a:pt x="159544" y="33814"/>
                  </a:cubicBezTo>
                  <a:cubicBezTo>
                    <a:pt x="159544" y="26194"/>
                    <a:pt x="151924" y="20479"/>
                    <a:pt x="138589" y="14764"/>
                  </a:cubicBezTo>
                  <a:cubicBezTo>
                    <a:pt x="124301" y="9049"/>
                    <a:pt x="108109" y="7144"/>
                    <a:pt x="90964" y="7144"/>
                  </a:cubicBezTo>
                  <a:cubicBezTo>
                    <a:pt x="64294" y="7144"/>
                    <a:pt x="44291" y="13811"/>
                    <a:pt x="31909" y="26194"/>
                  </a:cubicBezTo>
                  <a:cubicBezTo>
                    <a:pt x="19526" y="39529"/>
                    <a:pt x="12859" y="54769"/>
                    <a:pt x="12859" y="72866"/>
                  </a:cubicBezTo>
                  <a:cubicBezTo>
                    <a:pt x="12859" y="87154"/>
                    <a:pt x="16669" y="98584"/>
                    <a:pt x="24289" y="107156"/>
                  </a:cubicBezTo>
                  <a:cubicBezTo>
                    <a:pt x="31909" y="115729"/>
                    <a:pt x="41434" y="122396"/>
                    <a:pt x="51911" y="126206"/>
                  </a:cubicBezTo>
                  <a:cubicBezTo>
                    <a:pt x="62389" y="130016"/>
                    <a:pt x="73819" y="132874"/>
                    <a:pt x="84296" y="135731"/>
                  </a:cubicBezTo>
                  <a:cubicBezTo>
                    <a:pt x="94774" y="138589"/>
                    <a:pt x="104299" y="142399"/>
                    <a:pt x="111919" y="148114"/>
                  </a:cubicBezTo>
                  <a:cubicBezTo>
                    <a:pt x="119539" y="152876"/>
                    <a:pt x="123349" y="160496"/>
                    <a:pt x="123349" y="169069"/>
                  </a:cubicBezTo>
                  <a:cubicBezTo>
                    <a:pt x="123349" y="186214"/>
                    <a:pt x="110014" y="193834"/>
                    <a:pt x="84296" y="193834"/>
                  </a:cubicBezTo>
                  <a:cubicBezTo>
                    <a:pt x="72866" y="193834"/>
                    <a:pt x="62389" y="191929"/>
                    <a:pt x="54769" y="188119"/>
                  </a:cubicBezTo>
                  <a:cubicBezTo>
                    <a:pt x="46196" y="184309"/>
                    <a:pt x="39529" y="180499"/>
                    <a:pt x="34766" y="177641"/>
                  </a:cubicBezTo>
                  <a:cubicBezTo>
                    <a:pt x="30004" y="173831"/>
                    <a:pt x="26194" y="171926"/>
                    <a:pt x="23336" y="171926"/>
                  </a:cubicBezTo>
                  <a:cubicBezTo>
                    <a:pt x="18574" y="171926"/>
                    <a:pt x="14764" y="174784"/>
                    <a:pt x="11906" y="179546"/>
                  </a:cubicBezTo>
                  <a:cubicBezTo>
                    <a:pt x="9049" y="184309"/>
                    <a:pt x="7144" y="189071"/>
                    <a:pt x="7144" y="193834"/>
                  </a:cubicBezTo>
                  <a:cubicBezTo>
                    <a:pt x="7144" y="203359"/>
                    <a:pt x="14764" y="211931"/>
                    <a:pt x="30004" y="219551"/>
                  </a:cubicBezTo>
                  <a:cubicBezTo>
                    <a:pt x="45244" y="227171"/>
                    <a:pt x="64294" y="230981"/>
                    <a:pt x="86201" y="230981"/>
                  </a:cubicBezTo>
                  <a:cubicBezTo>
                    <a:pt x="111919" y="230981"/>
                    <a:pt x="131921" y="225266"/>
                    <a:pt x="146209" y="213836"/>
                  </a:cubicBezTo>
                  <a:cubicBezTo>
                    <a:pt x="160496" y="202406"/>
                    <a:pt x="167164" y="187166"/>
                    <a:pt x="167164" y="167164"/>
                  </a:cubicBezTo>
                  <a:cubicBezTo>
                    <a:pt x="167164" y="151924"/>
                    <a:pt x="163354" y="139541"/>
                    <a:pt x="155734" y="129064"/>
                  </a:cubicBezTo>
                  <a:cubicBezTo>
                    <a:pt x="145256" y="120491"/>
                    <a:pt x="135731" y="113824"/>
                    <a:pt x="125254" y="109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4F39367E-3BFB-44A4-BA22-1573FD974C2E}"/>
                </a:ext>
              </a:extLst>
            </p:cNvPr>
            <p:cNvSpPr/>
            <p:nvPr/>
          </p:nvSpPr>
          <p:spPr>
            <a:xfrm>
              <a:off x="7208996" y="3754279"/>
              <a:ext cx="219075" cy="342900"/>
            </a:xfrm>
            <a:custGeom>
              <a:avLst/>
              <a:gdLst>
                <a:gd name="connsiteX0" fmla="*/ 115729 w 219075"/>
                <a:gd name="connsiteY0" fmla="*/ 7144 h 342900"/>
                <a:gd name="connsiteX1" fmla="*/ 26194 w 219075"/>
                <a:gd name="connsiteY1" fmla="*/ 7144 h 342900"/>
                <a:gd name="connsiteX2" fmla="*/ 12859 w 219075"/>
                <a:gd name="connsiteY2" fmla="*/ 11906 h 342900"/>
                <a:gd name="connsiteX3" fmla="*/ 7144 w 219075"/>
                <a:gd name="connsiteY3" fmla="*/ 23336 h 342900"/>
                <a:gd name="connsiteX4" fmla="*/ 7144 w 219075"/>
                <a:gd name="connsiteY4" fmla="*/ 327184 h 342900"/>
                <a:gd name="connsiteX5" fmla="*/ 14764 w 219075"/>
                <a:gd name="connsiteY5" fmla="*/ 338614 h 342900"/>
                <a:gd name="connsiteX6" fmla="*/ 31909 w 219075"/>
                <a:gd name="connsiteY6" fmla="*/ 343376 h 342900"/>
                <a:gd name="connsiteX7" fmla="*/ 49054 w 219075"/>
                <a:gd name="connsiteY7" fmla="*/ 338614 h 342900"/>
                <a:gd name="connsiteX8" fmla="*/ 55721 w 219075"/>
                <a:gd name="connsiteY8" fmla="*/ 327184 h 342900"/>
                <a:gd name="connsiteX9" fmla="*/ 55721 w 219075"/>
                <a:gd name="connsiteY9" fmla="*/ 213836 h 342900"/>
                <a:gd name="connsiteX10" fmla="*/ 112871 w 219075"/>
                <a:gd name="connsiteY10" fmla="*/ 213836 h 342900"/>
                <a:gd name="connsiteX11" fmla="*/ 188119 w 219075"/>
                <a:gd name="connsiteY11" fmla="*/ 189071 h 342900"/>
                <a:gd name="connsiteX12" fmla="*/ 216694 w 219075"/>
                <a:gd name="connsiteY12" fmla="*/ 111919 h 342900"/>
                <a:gd name="connsiteX13" fmla="*/ 216694 w 219075"/>
                <a:gd name="connsiteY13" fmla="*/ 108109 h 342900"/>
                <a:gd name="connsiteX14" fmla="*/ 189071 w 219075"/>
                <a:gd name="connsiteY14" fmla="*/ 31909 h 342900"/>
                <a:gd name="connsiteX15" fmla="*/ 115729 w 219075"/>
                <a:gd name="connsiteY15" fmla="*/ 7144 h 342900"/>
                <a:gd name="connsiteX16" fmla="*/ 168116 w 219075"/>
                <a:gd name="connsiteY16" fmla="*/ 114776 h 342900"/>
                <a:gd name="connsiteX17" fmla="*/ 153829 w 219075"/>
                <a:gd name="connsiteY17" fmla="*/ 159544 h 342900"/>
                <a:gd name="connsiteX18" fmla="*/ 113824 w 219075"/>
                <a:gd name="connsiteY18" fmla="*/ 174784 h 342900"/>
                <a:gd name="connsiteX19" fmla="*/ 56674 w 219075"/>
                <a:gd name="connsiteY19" fmla="*/ 174784 h 342900"/>
                <a:gd name="connsiteX20" fmla="*/ 56674 w 219075"/>
                <a:gd name="connsiteY20" fmla="*/ 50006 h 342900"/>
                <a:gd name="connsiteX21" fmla="*/ 113824 w 219075"/>
                <a:gd name="connsiteY21" fmla="*/ 50006 h 342900"/>
                <a:gd name="connsiteX22" fmla="*/ 153829 w 219075"/>
                <a:gd name="connsiteY22" fmla="*/ 64294 h 342900"/>
                <a:gd name="connsiteX23" fmla="*/ 168116 w 219075"/>
                <a:gd name="connsiteY23" fmla="*/ 109061 h 342900"/>
                <a:gd name="connsiteX24" fmla="*/ 168116 w 219075"/>
                <a:gd name="connsiteY24" fmla="*/ 114776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9075" h="342900">
                  <a:moveTo>
                    <a:pt x="115729" y="7144"/>
                  </a:moveTo>
                  <a:lnTo>
                    <a:pt x="26194" y="7144"/>
                  </a:lnTo>
                  <a:cubicBezTo>
                    <a:pt x="20479" y="7144"/>
                    <a:pt x="15716" y="9049"/>
                    <a:pt x="12859" y="11906"/>
                  </a:cubicBezTo>
                  <a:cubicBezTo>
                    <a:pt x="10001" y="14764"/>
                    <a:pt x="7144" y="18574"/>
                    <a:pt x="7144" y="23336"/>
                  </a:cubicBezTo>
                  <a:lnTo>
                    <a:pt x="7144" y="327184"/>
                  </a:lnTo>
                  <a:cubicBezTo>
                    <a:pt x="7144" y="331946"/>
                    <a:pt x="10001" y="335756"/>
                    <a:pt x="14764" y="338614"/>
                  </a:cubicBezTo>
                  <a:cubicBezTo>
                    <a:pt x="19526" y="341471"/>
                    <a:pt x="25241" y="343376"/>
                    <a:pt x="31909" y="343376"/>
                  </a:cubicBezTo>
                  <a:cubicBezTo>
                    <a:pt x="38576" y="343376"/>
                    <a:pt x="44291" y="341471"/>
                    <a:pt x="49054" y="338614"/>
                  </a:cubicBezTo>
                  <a:cubicBezTo>
                    <a:pt x="53816" y="335756"/>
                    <a:pt x="55721" y="331946"/>
                    <a:pt x="55721" y="327184"/>
                  </a:cubicBezTo>
                  <a:lnTo>
                    <a:pt x="55721" y="213836"/>
                  </a:lnTo>
                  <a:lnTo>
                    <a:pt x="112871" y="213836"/>
                  </a:lnTo>
                  <a:cubicBezTo>
                    <a:pt x="144304" y="213836"/>
                    <a:pt x="169069" y="205264"/>
                    <a:pt x="188119" y="189071"/>
                  </a:cubicBezTo>
                  <a:cubicBezTo>
                    <a:pt x="207169" y="172879"/>
                    <a:pt x="216694" y="147161"/>
                    <a:pt x="216694" y="111919"/>
                  </a:cubicBezTo>
                  <a:lnTo>
                    <a:pt x="216694" y="108109"/>
                  </a:lnTo>
                  <a:cubicBezTo>
                    <a:pt x="216694" y="72866"/>
                    <a:pt x="207169" y="48101"/>
                    <a:pt x="189071" y="31909"/>
                  </a:cubicBezTo>
                  <a:cubicBezTo>
                    <a:pt x="170974" y="14764"/>
                    <a:pt x="147161" y="7144"/>
                    <a:pt x="115729" y="7144"/>
                  </a:cubicBezTo>
                  <a:close/>
                  <a:moveTo>
                    <a:pt x="168116" y="114776"/>
                  </a:moveTo>
                  <a:cubicBezTo>
                    <a:pt x="168116" y="134779"/>
                    <a:pt x="163354" y="150019"/>
                    <a:pt x="153829" y="159544"/>
                  </a:cubicBezTo>
                  <a:cubicBezTo>
                    <a:pt x="144304" y="169069"/>
                    <a:pt x="130969" y="174784"/>
                    <a:pt x="113824" y="174784"/>
                  </a:cubicBezTo>
                  <a:lnTo>
                    <a:pt x="56674" y="174784"/>
                  </a:lnTo>
                  <a:lnTo>
                    <a:pt x="56674" y="50006"/>
                  </a:lnTo>
                  <a:lnTo>
                    <a:pt x="113824" y="50006"/>
                  </a:lnTo>
                  <a:cubicBezTo>
                    <a:pt x="130969" y="50006"/>
                    <a:pt x="144304" y="54769"/>
                    <a:pt x="153829" y="64294"/>
                  </a:cubicBezTo>
                  <a:cubicBezTo>
                    <a:pt x="163354" y="73819"/>
                    <a:pt x="168116" y="89059"/>
                    <a:pt x="168116" y="109061"/>
                  </a:cubicBezTo>
                  <a:lnTo>
                    <a:pt x="168116" y="11477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7A45711B-0C85-4100-8B84-D03A5DD9FBFB}"/>
                </a:ext>
              </a:extLst>
            </p:cNvPr>
            <p:cNvSpPr/>
            <p:nvPr/>
          </p:nvSpPr>
          <p:spPr>
            <a:xfrm>
              <a:off x="7458551" y="3741896"/>
              <a:ext cx="57150" cy="361950"/>
            </a:xfrm>
            <a:custGeom>
              <a:avLst/>
              <a:gdLst>
                <a:gd name="connsiteX0" fmla="*/ 48101 w 57150"/>
                <a:gd name="connsiteY0" fmla="*/ 11906 h 361950"/>
                <a:gd name="connsiteX1" fmla="*/ 30956 w 57150"/>
                <a:gd name="connsiteY1" fmla="*/ 7144 h 361950"/>
                <a:gd name="connsiteX2" fmla="*/ 13811 w 57150"/>
                <a:gd name="connsiteY2" fmla="*/ 11906 h 361950"/>
                <a:gd name="connsiteX3" fmla="*/ 7144 w 57150"/>
                <a:gd name="connsiteY3" fmla="*/ 23336 h 361950"/>
                <a:gd name="connsiteX4" fmla="*/ 7144 w 57150"/>
                <a:gd name="connsiteY4" fmla="*/ 338614 h 361950"/>
                <a:gd name="connsiteX5" fmla="*/ 13811 w 57150"/>
                <a:gd name="connsiteY5" fmla="*/ 350044 h 361950"/>
                <a:gd name="connsiteX6" fmla="*/ 30956 w 57150"/>
                <a:gd name="connsiteY6" fmla="*/ 354806 h 361950"/>
                <a:gd name="connsiteX7" fmla="*/ 48101 w 57150"/>
                <a:gd name="connsiteY7" fmla="*/ 350044 h 361950"/>
                <a:gd name="connsiteX8" fmla="*/ 55721 w 57150"/>
                <a:gd name="connsiteY8" fmla="*/ 338614 h 361950"/>
                <a:gd name="connsiteX9" fmla="*/ 55721 w 57150"/>
                <a:gd name="connsiteY9" fmla="*/ 23336 h 361950"/>
                <a:gd name="connsiteX10" fmla="*/ 48101 w 57150"/>
                <a:gd name="connsiteY10" fmla="*/ 11906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150" h="361950">
                  <a:moveTo>
                    <a:pt x="48101" y="11906"/>
                  </a:moveTo>
                  <a:cubicBezTo>
                    <a:pt x="43339" y="9049"/>
                    <a:pt x="37624" y="7144"/>
                    <a:pt x="30956" y="7144"/>
                  </a:cubicBezTo>
                  <a:cubicBezTo>
                    <a:pt x="24289" y="7144"/>
                    <a:pt x="18574" y="9049"/>
                    <a:pt x="13811" y="11906"/>
                  </a:cubicBezTo>
                  <a:cubicBezTo>
                    <a:pt x="9049" y="14764"/>
                    <a:pt x="7144" y="18574"/>
                    <a:pt x="7144" y="23336"/>
                  </a:cubicBezTo>
                  <a:lnTo>
                    <a:pt x="7144" y="338614"/>
                  </a:lnTo>
                  <a:cubicBezTo>
                    <a:pt x="7144" y="342424"/>
                    <a:pt x="9049" y="346234"/>
                    <a:pt x="13811" y="350044"/>
                  </a:cubicBezTo>
                  <a:cubicBezTo>
                    <a:pt x="18574" y="353854"/>
                    <a:pt x="24289" y="354806"/>
                    <a:pt x="30956" y="354806"/>
                  </a:cubicBezTo>
                  <a:cubicBezTo>
                    <a:pt x="37624" y="354806"/>
                    <a:pt x="43339" y="352901"/>
                    <a:pt x="48101" y="350044"/>
                  </a:cubicBezTo>
                  <a:cubicBezTo>
                    <a:pt x="52864" y="347186"/>
                    <a:pt x="55721" y="343376"/>
                    <a:pt x="55721" y="338614"/>
                  </a:cubicBezTo>
                  <a:lnTo>
                    <a:pt x="55721" y="23336"/>
                  </a:lnTo>
                  <a:cubicBezTo>
                    <a:pt x="55721" y="18574"/>
                    <a:pt x="52864" y="14764"/>
                    <a:pt x="48101" y="119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6C303F7-8DF3-46E0-8664-BBB77B6666A5}"/>
                </a:ext>
              </a:extLst>
            </p:cNvPr>
            <p:cNvSpPr/>
            <p:nvPr/>
          </p:nvSpPr>
          <p:spPr>
            <a:xfrm>
              <a:off x="7548086" y="3868579"/>
              <a:ext cx="190500" cy="238125"/>
            </a:xfrm>
            <a:custGeom>
              <a:avLst/>
              <a:gdLst>
                <a:gd name="connsiteX0" fmla="*/ 90011 w 190500"/>
                <a:gd name="connsiteY0" fmla="*/ 7144 h 238125"/>
                <a:gd name="connsiteX1" fmla="*/ 43339 w 190500"/>
                <a:gd name="connsiteY1" fmla="*/ 15716 h 238125"/>
                <a:gd name="connsiteX2" fmla="*/ 21431 w 190500"/>
                <a:gd name="connsiteY2" fmla="*/ 36671 h 238125"/>
                <a:gd name="connsiteX3" fmla="*/ 26194 w 190500"/>
                <a:gd name="connsiteY3" fmla="*/ 53816 h 238125"/>
                <a:gd name="connsiteX4" fmla="*/ 38576 w 190500"/>
                <a:gd name="connsiteY4" fmla="*/ 61436 h 238125"/>
                <a:gd name="connsiteX5" fmla="*/ 54769 w 190500"/>
                <a:gd name="connsiteY5" fmla="*/ 53816 h 238125"/>
                <a:gd name="connsiteX6" fmla="*/ 89059 w 190500"/>
                <a:gd name="connsiteY6" fmla="*/ 46196 h 238125"/>
                <a:gd name="connsiteX7" fmla="*/ 123349 w 190500"/>
                <a:gd name="connsiteY7" fmla="*/ 61436 h 238125"/>
                <a:gd name="connsiteX8" fmla="*/ 134779 w 190500"/>
                <a:gd name="connsiteY8" fmla="*/ 97631 h 238125"/>
                <a:gd name="connsiteX9" fmla="*/ 134779 w 190500"/>
                <a:gd name="connsiteY9" fmla="*/ 106204 h 238125"/>
                <a:gd name="connsiteX10" fmla="*/ 114776 w 190500"/>
                <a:gd name="connsiteY10" fmla="*/ 106204 h 238125"/>
                <a:gd name="connsiteX11" fmla="*/ 34766 w 190500"/>
                <a:gd name="connsiteY11" fmla="*/ 120491 h 238125"/>
                <a:gd name="connsiteX12" fmla="*/ 7144 w 190500"/>
                <a:gd name="connsiteY12" fmla="*/ 171926 h 238125"/>
                <a:gd name="connsiteX13" fmla="*/ 24289 w 190500"/>
                <a:gd name="connsiteY13" fmla="*/ 216694 h 238125"/>
                <a:gd name="connsiteX14" fmla="*/ 68104 w 190500"/>
                <a:gd name="connsiteY14" fmla="*/ 231934 h 238125"/>
                <a:gd name="connsiteX15" fmla="*/ 137636 w 190500"/>
                <a:gd name="connsiteY15" fmla="*/ 195739 h 238125"/>
                <a:gd name="connsiteX16" fmla="*/ 137636 w 190500"/>
                <a:gd name="connsiteY16" fmla="*/ 211931 h 238125"/>
                <a:gd name="connsiteX17" fmla="*/ 144304 w 190500"/>
                <a:gd name="connsiteY17" fmla="*/ 223361 h 238125"/>
                <a:gd name="connsiteX18" fmla="*/ 159544 w 190500"/>
                <a:gd name="connsiteY18" fmla="*/ 228124 h 238125"/>
                <a:gd name="connsiteX19" fmla="*/ 176689 w 190500"/>
                <a:gd name="connsiteY19" fmla="*/ 223361 h 238125"/>
                <a:gd name="connsiteX20" fmla="*/ 183356 w 190500"/>
                <a:gd name="connsiteY20" fmla="*/ 211931 h 238125"/>
                <a:gd name="connsiteX21" fmla="*/ 183356 w 190500"/>
                <a:gd name="connsiteY21" fmla="*/ 96679 h 238125"/>
                <a:gd name="connsiteX22" fmla="*/ 160496 w 190500"/>
                <a:gd name="connsiteY22" fmla="*/ 32861 h 238125"/>
                <a:gd name="connsiteX23" fmla="*/ 90011 w 190500"/>
                <a:gd name="connsiteY23" fmla="*/ 7144 h 238125"/>
                <a:gd name="connsiteX24" fmla="*/ 134779 w 190500"/>
                <a:gd name="connsiteY24" fmla="*/ 149066 h 238125"/>
                <a:gd name="connsiteX25" fmla="*/ 118586 w 190500"/>
                <a:gd name="connsiteY25" fmla="*/ 180499 h 238125"/>
                <a:gd name="connsiteX26" fmla="*/ 85249 w 190500"/>
                <a:gd name="connsiteY26" fmla="*/ 194786 h 238125"/>
                <a:gd name="connsiteX27" fmla="*/ 63341 w 190500"/>
                <a:gd name="connsiteY27" fmla="*/ 187166 h 238125"/>
                <a:gd name="connsiteX28" fmla="*/ 54769 w 190500"/>
                <a:gd name="connsiteY28" fmla="*/ 165259 h 238125"/>
                <a:gd name="connsiteX29" fmla="*/ 65246 w 190500"/>
                <a:gd name="connsiteY29" fmla="*/ 143351 h 238125"/>
                <a:gd name="connsiteX30" fmla="*/ 88106 w 190500"/>
                <a:gd name="connsiteY30" fmla="*/ 133826 h 238125"/>
                <a:gd name="connsiteX31" fmla="*/ 122396 w 190500"/>
                <a:gd name="connsiteY31" fmla="*/ 131921 h 238125"/>
                <a:gd name="connsiteX32" fmla="*/ 133826 w 190500"/>
                <a:gd name="connsiteY32" fmla="*/ 131921 h 238125"/>
                <a:gd name="connsiteX33" fmla="*/ 133826 w 190500"/>
                <a:gd name="connsiteY33" fmla="*/ 14906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0500" h="238125">
                  <a:moveTo>
                    <a:pt x="90011" y="7144"/>
                  </a:moveTo>
                  <a:cubicBezTo>
                    <a:pt x="73819" y="7144"/>
                    <a:pt x="57626" y="10001"/>
                    <a:pt x="43339" y="15716"/>
                  </a:cubicBezTo>
                  <a:cubicBezTo>
                    <a:pt x="28099" y="21431"/>
                    <a:pt x="21431" y="28099"/>
                    <a:pt x="21431" y="36671"/>
                  </a:cubicBezTo>
                  <a:cubicBezTo>
                    <a:pt x="21431" y="42386"/>
                    <a:pt x="23336" y="48101"/>
                    <a:pt x="26194" y="53816"/>
                  </a:cubicBezTo>
                  <a:cubicBezTo>
                    <a:pt x="29051" y="58579"/>
                    <a:pt x="33814" y="61436"/>
                    <a:pt x="38576" y="61436"/>
                  </a:cubicBezTo>
                  <a:cubicBezTo>
                    <a:pt x="39529" y="61436"/>
                    <a:pt x="45244" y="58579"/>
                    <a:pt x="54769" y="53816"/>
                  </a:cubicBezTo>
                  <a:cubicBezTo>
                    <a:pt x="64294" y="49054"/>
                    <a:pt x="76676" y="46196"/>
                    <a:pt x="89059" y="46196"/>
                  </a:cubicBezTo>
                  <a:cubicBezTo>
                    <a:pt x="104299" y="46196"/>
                    <a:pt x="115729" y="50959"/>
                    <a:pt x="123349" y="61436"/>
                  </a:cubicBezTo>
                  <a:cubicBezTo>
                    <a:pt x="130969" y="70961"/>
                    <a:pt x="134779" y="83344"/>
                    <a:pt x="134779" y="97631"/>
                  </a:cubicBezTo>
                  <a:lnTo>
                    <a:pt x="134779" y="106204"/>
                  </a:lnTo>
                  <a:lnTo>
                    <a:pt x="114776" y="106204"/>
                  </a:lnTo>
                  <a:cubicBezTo>
                    <a:pt x="79534" y="106204"/>
                    <a:pt x="52864" y="110966"/>
                    <a:pt x="34766" y="120491"/>
                  </a:cubicBezTo>
                  <a:cubicBezTo>
                    <a:pt x="16669" y="130016"/>
                    <a:pt x="7144" y="147161"/>
                    <a:pt x="7144" y="171926"/>
                  </a:cubicBezTo>
                  <a:cubicBezTo>
                    <a:pt x="7144" y="191929"/>
                    <a:pt x="12859" y="206216"/>
                    <a:pt x="24289" y="216694"/>
                  </a:cubicBezTo>
                  <a:cubicBezTo>
                    <a:pt x="35719" y="227171"/>
                    <a:pt x="50006" y="231934"/>
                    <a:pt x="68104" y="231934"/>
                  </a:cubicBezTo>
                  <a:cubicBezTo>
                    <a:pt x="93821" y="231934"/>
                    <a:pt x="116681" y="219551"/>
                    <a:pt x="137636" y="195739"/>
                  </a:cubicBezTo>
                  <a:lnTo>
                    <a:pt x="137636" y="211931"/>
                  </a:lnTo>
                  <a:cubicBezTo>
                    <a:pt x="137636" y="216694"/>
                    <a:pt x="139541" y="219551"/>
                    <a:pt x="144304" y="223361"/>
                  </a:cubicBezTo>
                  <a:cubicBezTo>
                    <a:pt x="149066" y="226219"/>
                    <a:pt x="153829" y="228124"/>
                    <a:pt x="159544" y="228124"/>
                  </a:cubicBezTo>
                  <a:cubicBezTo>
                    <a:pt x="166211" y="228124"/>
                    <a:pt x="171926" y="226219"/>
                    <a:pt x="176689" y="223361"/>
                  </a:cubicBezTo>
                  <a:cubicBezTo>
                    <a:pt x="181451" y="220504"/>
                    <a:pt x="183356" y="216694"/>
                    <a:pt x="183356" y="211931"/>
                  </a:cubicBezTo>
                  <a:lnTo>
                    <a:pt x="183356" y="96679"/>
                  </a:lnTo>
                  <a:cubicBezTo>
                    <a:pt x="183356" y="70961"/>
                    <a:pt x="175736" y="50006"/>
                    <a:pt x="160496" y="32861"/>
                  </a:cubicBezTo>
                  <a:cubicBezTo>
                    <a:pt x="145256" y="15716"/>
                    <a:pt x="121444" y="7144"/>
                    <a:pt x="90011" y="7144"/>
                  </a:cubicBezTo>
                  <a:close/>
                  <a:moveTo>
                    <a:pt x="134779" y="149066"/>
                  </a:moveTo>
                  <a:cubicBezTo>
                    <a:pt x="134779" y="160496"/>
                    <a:pt x="129064" y="170974"/>
                    <a:pt x="118586" y="180499"/>
                  </a:cubicBezTo>
                  <a:cubicBezTo>
                    <a:pt x="108109" y="190024"/>
                    <a:pt x="96679" y="194786"/>
                    <a:pt x="85249" y="194786"/>
                  </a:cubicBezTo>
                  <a:cubicBezTo>
                    <a:pt x="76676" y="194786"/>
                    <a:pt x="69056" y="191929"/>
                    <a:pt x="63341" y="187166"/>
                  </a:cubicBezTo>
                  <a:cubicBezTo>
                    <a:pt x="57626" y="182404"/>
                    <a:pt x="54769" y="174784"/>
                    <a:pt x="54769" y="165259"/>
                  </a:cubicBezTo>
                  <a:cubicBezTo>
                    <a:pt x="54769" y="155734"/>
                    <a:pt x="58579" y="149066"/>
                    <a:pt x="65246" y="143351"/>
                  </a:cubicBezTo>
                  <a:cubicBezTo>
                    <a:pt x="71914" y="137636"/>
                    <a:pt x="79534" y="134779"/>
                    <a:pt x="88106" y="133826"/>
                  </a:cubicBezTo>
                  <a:cubicBezTo>
                    <a:pt x="96679" y="132874"/>
                    <a:pt x="108109" y="131921"/>
                    <a:pt x="122396" y="131921"/>
                  </a:cubicBezTo>
                  <a:lnTo>
                    <a:pt x="133826" y="131921"/>
                  </a:lnTo>
                  <a:lnTo>
                    <a:pt x="133826" y="1490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2D7B90A9-288F-4859-8D27-531431DE425F}"/>
                </a:ext>
              </a:extLst>
            </p:cNvPr>
            <p:cNvSpPr/>
            <p:nvPr/>
          </p:nvSpPr>
          <p:spPr>
            <a:xfrm>
              <a:off x="7772876" y="3868579"/>
              <a:ext cx="200025" cy="228600"/>
            </a:xfrm>
            <a:custGeom>
              <a:avLst/>
              <a:gdLst>
                <a:gd name="connsiteX0" fmla="*/ 170021 w 200025"/>
                <a:gd name="connsiteY0" fmla="*/ 33814 h 228600"/>
                <a:gd name="connsiteX1" fmla="*/ 113824 w 200025"/>
                <a:gd name="connsiteY1" fmla="*/ 7144 h 228600"/>
                <a:gd name="connsiteX2" fmla="*/ 75724 w 200025"/>
                <a:gd name="connsiteY2" fmla="*/ 17621 h 228600"/>
                <a:gd name="connsiteX3" fmla="*/ 51911 w 200025"/>
                <a:gd name="connsiteY3" fmla="*/ 42386 h 228600"/>
                <a:gd name="connsiteX4" fmla="*/ 51911 w 200025"/>
                <a:gd name="connsiteY4" fmla="*/ 25241 h 228600"/>
                <a:gd name="connsiteX5" fmla="*/ 46196 w 200025"/>
                <a:gd name="connsiteY5" fmla="*/ 13811 h 228600"/>
                <a:gd name="connsiteX6" fmla="*/ 30956 w 200025"/>
                <a:gd name="connsiteY6" fmla="*/ 9049 h 228600"/>
                <a:gd name="connsiteX7" fmla="*/ 13811 w 200025"/>
                <a:gd name="connsiteY7" fmla="*/ 13811 h 228600"/>
                <a:gd name="connsiteX8" fmla="*/ 7144 w 200025"/>
                <a:gd name="connsiteY8" fmla="*/ 25241 h 228600"/>
                <a:gd name="connsiteX9" fmla="*/ 7144 w 200025"/>
                <a:gd name="connsiteY9" fmla="*/ 210979 h 228600"/>
                <a:gd name="connsiteX10" fmla="*/ 13811 w 200025"/>
                <a:gd name="connsiteY10" fmla="*/ 222409 h 228600"/>
                <a:gd name="connsiteX11" fmla="*/ 30956 w 200025"/>
                <a:gd name="connsiteY11" fmla="*/ 227171 h 228600"/>
                <a:gd name="connsiteX12" fmla="*/ 48101 w 200025"/>
                <a:gd name="connsiteY12" fmla="*/ 222409 h 228600"/>
                <a:gd name="connsiteX13" fmla="*/ 55721 w 200025"/>
                <a:gd name="connsiteY13" fmla="*/ 211931 h 228600"/>
                <a:gd name="connsiteX14" fmla="*/ 55721 w 200025"/>
                <a:gd name="connsiteY14" fmla="*/ 98584 h 228600"/>
                <a:gd name="connsiteX15" fmla="*/ 69056 w 200025"/>
                <a:gd name="connsiteY15" fmla="*/ 64294 h 228600"/>
                <a:gd name="connsiteX16" fmla="*/ 99536 w 200025"/>
                <a:gd name="connsiteY16" fmla="*/ 50959 h 228600"/>
                <a:gd name="connsiteX17" fmla="*/ 131921 w 200025"/>
                <a:gd name="connsiteY17" fmla="*/ 65246 h 228600"/>
                <a:gd name="connsiteX18" fmla="*/ 145256 w 200025"/>
                <a:gd name="connsiteY18" fmla="*/ 98584 h 228600"/>
                <a:gd name="connsiteX19" fmla="*/ 145256 w 200025"/>
                <a:gd name="connsiteY19" fmla="*/ 211931 h 228600"/>
                <a:gd name="connsiteX20" fmla="*/ 152876 w 200025"/>
                <a:gd name="connsiteY20" fmla="*/ 223361 h 228600"/>
                <a:gd name="connsiteX21" fmla="*/ 169069 w 200025"/>
                <a:gd name="connsiteY21" fmla="*/ 228124 h 228600"/>
                <a:gd name="connsiteX22" fmla="*/ 186214 w 200025"/>
                <a:gd name="connsiteY22" fmla="*/ 223361 h 228600"/>
                <a:gd name="connsiteX23" fmla="*/ 193834 w 200025"/>
                <a:gd name="connsiteY23" fmla="*/ 211931 h 228600"/>
                <a:gd name="connsiteX24" fmla="*/ 193834 w 200025"/>
                <a:gd name="connsiteY24" fmla="*/ 97631 h 228600"/>
                <a:gd name="connsiteX25" fmla="*/ 170021 w 200025"/>
                <a:gd name="connsiteY25" fmla="*/ 3381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0025" h="228600">
                  <a:moveTo>
                    <a:pt x="170021" y="33814"/>
                  </a:moveTo>
                  <a:cubicBezTo>
                    <a:pt x="153829" y="15716"/>
                    <a:pt x="135731" y="7144"/>
                    <a:pt x="113824" y="7144"/>
                  </a:cubicBezTo>
                  <a:cubicBezTo>
                    <a:pt x="99536" y="7144"/>
                    <a:pt x="87154" y="10954"/>
                    <a:pt x="75724" y="17621"/>
                  </a:cubicBezTo>
                  <a:cubicBezTo>
                    <a:pt x="65246" y="24289"/>
                    <a:pt x="56674" y="32861"/>
                    <a:pt x="51911" y="42386"/>
                  </a:cubicBezTo>
                  <a:lnTo>
                    <a:pt x="51911" y="25241"/>
                  </a:lnTo>
                  <a:cubicBezTo>
                    <a:pt x="51911" y="20479"/>
                    <a:pt x="50006" y="16669"/>
                    <a:pt x="46196" y="13811"/>
                  </a:cubicBezTo>
                  <a:cubicBezTo>
                    <a:pt x="42386" y="10954"/>
                    <a:pt x="36671" y="9049"/>
                    <a:pt x="30956" y="9049"/>
                  </a:cubicBezTo>
                  <a:cubicBezTo>
                    <a:pt x="24289" y="9049"/>
                    <a:pt x="18574" y="10954"/>
                    <a:pt x="13811" y="13811"/>
                  </a:cubicBezTo>
                  <a:cubicBezTo>
                    <a:pt x="9049" y="16669"/>
                    <a:pt x="7144" y="20479"/>
                    <a:pt x="7144" y="25241"/>
                  </a:cubicBezTo>
                  <a:lnTo>
                    <a:pt x="7144" y="210979"/>
                  </a:lnTo>
                  <a:cubicBezTo>
                    <a:pt x="7144" y="214789"/>
                    <a:pt x="9049" y="218599"/>
                    <a:pt x="13811" y="222409"/>
                  </a:cubicBezTo>
                  <a:cubicBezTo>
                    <a:pt x="18574" y="226219"/>
                    <a:pt x="24289" y="227171"/>
                    <a:pt x="30956" y="227171"/>
                  </a:cubicBezTo>
                  <a:cubicBezTo>
                    <a:pt x="37624" y="227171"/>
                    <a:pt x="43339" y="225266"/>
                    <a:pt x="48101" y="222409"/>
                  </a:cubicBezTo>
                  <a:cubicBezTo>
                    <a:pt x="52864" y="219551"/>
                    <a:pt x="55721" y="215741"/>
                    <a:pt x="55721" y="211931"/>
                  </a:cubicBezTo>
                  <a:lnTo>
                    <a:pt x="55721" y="98584"/>
                  </a:lnTo>
                  <a:cubicBezTo>
                    <a:pt x="55721" y="84296"/>
                    <a:pt x="60484" y="72866"/>
                    <a:pt x="69056" y="64294"/>
                  </a:cubicBezTo>
                  <a:cubicBezTo>
                    <a:pt x="77629" y="55721"/>
                    <a:pt x="88106" y="50959"/>
                    <a:pt x="99536" y="50959"/>
                  </a:cubicBezTo>
                  <a:cubicBezTo>
                    <a:pt x="111919" y="50959"/>
                    <a:pt x="123349" y="55721"/>
                    <a:pt x="131921" y="65246"/>
                  </a:cubicBezTo>
                  <a:cubicBezTo>
                    <a:pt x="141446" y="74771"/>
                    <a:pt x="145256" y="86201"/>
                    <a:pt x="145256" y="98584"/>
                  </a:cubicBezTo>
                  <a:lnTo>
                    <a:pt x="145256" y="211931"/>
                  </a:lnTo>
                  <a:cubicBezTo>
                    <a:pt x="145256" y="216694"/>
                    <a:pt x="148114" y="220504"/>
                    <a:pt x="152876" y="223361"/>
                  </a:cubicBezTo>
                  <a:cubicBezTo>
                    <a:pt x="157639" y="226219"/>
                    <a:pt x="163354" y="228124"/>
                    <a:pt x="169069" y="228124"/>
                  </a:cubicBezTo>
                  <a:cubicBezTo>
                    <a:pt x="175736" y="228124"/>
                    <a:pt x="181451" y="226219"/>
                    <a:pt x="186214" y="223361"/>
                  </a:cubicBezTo>
                  <a:cubicBezTo>
                    <a:pt x="190976" y="220504"/>
                    <a:pt x="193834" y="216694"/>
                    <a:pt x="193834" y="211931"/>
                  </a:cubicBezTo>
                  <a:lnTo>
                    <a:pt x="193834" y="97631"/>
                  </a:lnTo>
                  <a:cubicBezTo>
                    <a:pt x="193834" y="72866"/>
                    <a:pt x="186214" y="51911"/>
                    <a:pt x="170021" y="338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76CC85B-A48B-45F7-B34A-6F70D0E31A79}"/>
                </a:ext>
              </a:extLst>
            </p:cNvPr>
            <p:cNvSpPr/>
            <p:nvPr/>
          </p:nvSpPr>
          <p:spPr>
            <a:xfrm>
              <a:off x="4887754" y="3754279"/>
              <a:ext cx="847725" cy="342900"/>
            </a:xfrm>
            <a:custGeom>
              <a:avLst/>
              <a:gdLst>
                <a:gd name="connsiteX0" fmla="*/ 797719 w 847725"/>
                <a:gd name="connsiteY0" fmla="*/ 160496 h 342900"/>
                <a:gd name="connsiteX1" fmla="*/ 836771 w 847725"/>
                <a:gd name="connsiteY1" fmla="*/ 86201 h 342900"/>
                <a:gd name="connsiteX2" fmla="*/ 812006 w 847725"/>
                <a:gd name="connsiteY2" fmla="*/ 24289 h 342900"/>
                <a:gd name="connsiteX3" fmla="*/ 744379 w 847725"/>
                <a:gd name="connsiteY3" fmla="*/ 7144 h 342900"/>
                <a:gd name="connsiteX4" fmla="*/ 660559 w 847725"/>
                <a:gd name="connsiteY4" fmla="*/ 7144 h 342900"/>
                <a:gd name="connsiteX5" fmla="*/ 645319 w 847725"/>
                <a:gd name="connsiteY5" fmla="*/ 11906 h 342900"/>
                <a:gd name="connsiteX6" fmla="*/ 638651 w 847725"/>
                <a:gd name="connsiteY6" fmla="*/ 23336 h 342900"/>
                <a:gd name="connsiteX7" fmla="*/ 638651 w 847725"/>
                <a:gd name="connsiteY7" fmla="*/ 250031 h 342900"/>
                <a:gd name="connsiteX8" fmla="*/ 687229 w 847725"/>
                <a:gd name="connsiteY8" fmla="*/ 250031 h 342900"/>
                <a:gd name="connsiteX9" fmla="*/ 687229 w 847725"/>
                <a:gd name="connsiteY9" fmla="*/ 179546 h 342900"/>
                <a:gd name="connsiteX10" fmla="*/ 744379 w 847725"/>
                <a:gd name="connsiteY10" fmla="*/ 179546 h 342900"/>
                <a:gd name="connsiteX11" fmla="*/ 783431 w 847725"/>
                <a:gd name="connsiteY11" fmla="*/ 191929 h 342900"/>
                <a:gd name="connsiteX12" fmla="*/ 796766 w 847725"/>
                <a:gd name="connsiteY12" fmla="*/ 233839 h 342900"/>
                <a:gd name="connsiteX13" fmla="*/ 796766 w 847725"/>
                <a:gd name="connsiteY13" fmla="*/ 241459 h 342900"/>
                <a:gd name="connsiteX14" fmla="*/ 745331 w 847725"/>
                <a:gd name="connsiteY14" fmla="*/ 298609 h 342900"/>
                <a:gd name="connsiteX15" fmla="*/ 735806 w 847725"/>
                <a:gd name="connsiteY15" fmla="*/ 298609 h 342900"/>
                <a:gd name="connsiteX16" fmla="*/ 735806 w 847725"/>
                <a:gd name="connsiteY16" fmla="*/ 298609 h 342900"/>
                <a:gd name="connsiteX17" fmla="*/ 639604 w 847725"/>
                <a:gd name="connsiteY17" fmla="*/ 298609 h 342900"/>
                <a:gd name="connsiteX18" fmla="*/ 639604 w 847725"/>
                <a:gd name="connsiteY18" fmla="*/ 298609 h 342900"/>
                <a:gd name="connsiteX19" fmla="*/ 61436 w 847725"/>
                <a:gd name="connsiteY19" fmla="*/ 299561 h 342900"/>
                <a:gd name="connsiteX20" fmla="*/ 55721 w 847725"/>
                <a:gd name="connsiteY20" fmla="*/ 298609 h 342900"/>
                <a:gd name="connsiteX21" fmla="*/ 54769 w 847725"/>
                <a:gd name="connsiteY21" fmla="*/ 290989 h 342900"/>
                <a:gd name="connsiteX22" fmla="*/ 54769 w 847725"/>
                <a:gd name="connsiteY22" fmla="*/ 210979 h 342900"/>
                <a:gd name="connsiteX23" fmla="*/ 7144 w 847725"/>
                <a:gd name="connsiteY23" fmla="*/ 210979 h 342900"/>
                <a:gd name="connsiteX24" fmla="*/ 10001 w 847725"/>
                <a:gd name="connsiteY24" fmla="*/ 291941 h 342900"/>
                <a:gd name="connsiteX25" fmla="*/ 17621 w 847725"/>
                <a:gd name="connsiteY25" fmla="*/ 330041 h 342900"/>
                <a:gd name="connsiteX26" fmla="*/ 54769 w 847725"/>
                <a:gd name="connsiteY26" fmla="*/ 343376 h 342900"/>
                <a:gd name="connsiteX27" fmla="*/ 641509 w 847725"/>
                <a:gd name="connsiteY27" fmla="*/ 341471 h 342900"/>
                <a:gd name="connsiteX28" fmla="*/ 661511 w 847725"/>
                <a:gd name="connsiteY28" fmla="*/ 342424 h 342900"/>
                <a:gd name="connsiteX29" fmla="*/ 754856 w 847725"/>
                <a:gd name="connsiteY29" fmla="*/ 342424 h 342900"/>
                <a:gd name="connsiteX30" fmla="*/ 821531 w 847725"/>
                <a:gd name="connsiteY30" fmla="*/ 319564 h 342900"/>
                <a:gd name="connsiteX31" fmla="*/ 846296 w 847725"/>
                <a:gd name="connsiteY31" fmla="*/ 246221 h 342900"/>
                <a:gd name="connsiteX32" fmla="*/ 846296 w 847725"/>
                <a:gd name="connsiteY32" fmla="*/ 236696 h 342900"/>
                <a:gd name="connsiteX33" fmla="*/ 833914 w 847725"/>
                <a:gd name="connsiteY33" fmla="*/ 186214 h 342900"/>
                <a:gd name="connsiteX34" fmla="*/ 797719 w 847725"/>
                <a:gd name="connsiteY34" fmla="*/ 160496 h 342900"/>
                <a:gd name="connsiteX35" fmla="*/ 742474 w 847725"/>
                <a:gd name="connsiteY35" fmla="*/ 141446 h 342900"/>
                <a:gd name="connsiteX36" fmla="*/ 688181 w 847725"/>
                <a:gd name="connsiteY36" fmla="*/ 141446 h 342900"/>
                <a:gd name="connsiteX37" fmla="*/ 688181 w 847725"/>
                <a:gd name="connsiteY37" fmla="*/ 50006 h 342900"/>
                <a:gd name="connsiteX38" fmla="*/ 741521 w 847725"/>
                <a:gd name="connsiteY38" fmla="*/ 50006 h 342900"/>
                <a:gd name="connsiteX39" fmla="*/ 789146 w 847725"/>
                <a:gd name="connsiteY39" fmla="*/ 93821 h 342900"/>
                <a:gd name="connsiteX40" fmla="*/ 742474 w 847725"/>
                <a:gd name="connsiteY40" fmla="*/ 141446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847725" h="342900">
                  <a:moveTo>
                    <a:pt x="797719" y="160496"/>
                  </a:moveTo>
                  <a:cubicBezTo>
                    <a:pt x="823436" y="149066"/>
                    <a:pt x="836771" y="124301"/>
                    <a:pt x="836771" y="86201"/>
                  </a:cubicBezTo>
                  <a:cubicBezTo>
                    <a:pt x="836771" y="56674"/>
                    <a:pt x="828199" y="35719"/>
                    <a:pt x="812006" y="24289"/>
                  </a:cubicBezTo>
                  <a:cubicBezTo>
                    <a:pt x="794861" y="12859"/>
                    <a:pt x="772954" y="7144"/>
                    <a:pt x="744379" y="7144"/>
                  </a:cubicBezTo>
                  <a:lnTo>
                    <a:pt x="660559" y="7144"/>
                  </a:lnTo>
                  <a:cubicBezTo>
                    <a:pt x="654844" y="7144"/>
                    <a:pt x="650081" y="9049"/>
                    <a:pt x="645319" y="11906"/>
                  </a:cubicBezTo>
                  <a:cubicBezTo>
                    <a:pt x="641509" y="14764"/>
                    <a:pt x="638651" y="18574"/>
                    <a:pt x="638651" y="23336"/>
                  </a:cubicBezTo>
                  <a:lnTo>
                    <a:pt x="638651" y="250031"/>
                  </a:lnTo>
                  <a:lnTo>
                    <a:pt x="687229" y="250031"/>
                  </a:lnTo>
                  <a:lnTo>
                    <a:pt x="687229" y="179546"/>
                  </a:lnTo>
                  <a:lnTo>
                    <a:pt x="744379" y="179546"/>
                  </a:lnTo>
                  <a:cubicBezTo>
                    <a:pt x="761524" y="179546"/>
                    <a:pt x="774859" y="184309"/>
                    <a:pt x="783431" y="191929"/>
                  </a:cubicBezTo>
                  <a:cubicBezTo>
                    <a:pt x="792004" y="200501"/>
                    <a:pt x="796766" y="214789"/>
                    <a:pt x="796766" y="233839"/>
                  </a:cubicBezTo>
                  <a:lnTo>
                    <a:pt x="796766" y="241459"/>
                  </a:lnTo>
                  <a:cubicBezTo>
                    <a:pt x="796766" y="279559"/>
                    <a:pt x="779621" y="298609"/>
                    <a:pt x="745331" y="298609"/>
                  </a:cubicBezTo>
                  <a:lnTo>
                    <a:pt x="735806" y="298609"/>
                  </a:lnTo>
                  <a:lnTo>
                    <a:pt x="735806" y="298609"/>
                  </a:lnTo>
                  <a:lnTo>
                    <a:pt x="639604" y="298609"/>
                  </a:lnTo>
                  <a:lnTo>
                    <a:pt x="639604" y="298609"/>
                  </a:lnTo>
                  <a:lnTo>
                    <a:pt x="61436" y="299561"/>
                  </a:lnTo>
                  <a:cubicBezTo>
                    <a:pt x="57626" y="299561"/>
                    <a:pt x="55721" y="298609"/>
                    <a:pt x="55721" y="298609"/>
                  </a:cubicBezTo>
                  <a:cubicBezTo>
                    <a:pt x="54769" y="297656"/>
                    <a:pt x="53816" y="292894"/>
                    <a:pt x="54769" y="290989"/>
                  </a:cubicBezTo>
                  <a:lnTo>
                    <a:pt x="54769" y="210979"/>
                  </a:lnTo>
                  <a:lnTo>
                    <a:pt x="7144" y="210979"/>
                  </a:lnTo>
                  <a:lnTo>
                    <a:pt x="10001" y="291941"/>
                  </a:lnTo>
                  <a:cubicBezTo>
                    <a:pt x="10001" y="298609"/>
                    <a:pt x="6191" y="316706"/>
                    <a:pt x="17621" y="330041"/>
                  </a:cubicBezTo>
                  <a:cubicBezTo>
                    <a:pt x="23336" y="336709"/>
                    <a:pt x="36671" y="343376"/>
                    <a:pt x="54769" y="343376"/>
                  </a:cubicBezTo>
                  <a:lnTo>
                    <a:pt x="641509" y="341471"/>
                  </a:lnTo>
                  <a:cubicBezTo>
                    <a:pt x="644366" y="342424"/>
                    <a:pt x="658654" y="342424"/>
                    <a:pt x="661511" y="342424"/>
                  </a:cubicBezTo>
                  <a:lnTo>
                    <a:pt x="754856" y="342424"/>
                  </a:lnTo>
                  <a:cubicBezTo>
                    <a:pt x="782479" y="342424"/>
                    <a:pt x="805339" y="334804"/>
                    <a:pt x="821531" y="319564"/>
                  </a:cubicBezTo>
                  <a:cubicBezTo>
                    <a:pt x="837724" y="304324"/>
                    <a:pt x="846296" y="279559"/>
                    <a:pt x="846296" y="246221"/>
                  </a:cubicBezTo>
                  <a:lnTo>
                    <a:pt x="846296" y="236696"/>
                  </a:lnTo>
                  <a:cubicBezTo>
                    <a:pt x="846296" y="214789"/>
                    <a:pt x="842486" y="197644"/>
                    <a:pt x="833914" y="186214"/>
                  </a:cubicBezTo>
                  <a:cubicBezTo>
                    <a:pt x="825341" y="175736"/>
                    <a:pt x="813911" y="166211"/>
                    <a:pt x="797719" y="160496"/>
                  </a:cubicBezTo>
                  <a:close/>
                  <a:moveTo>
                    <a:pt x="742474" y="141446"/>
                  </a:moveTo>
                  <a:lnTo>
                    <a:pt x="688181" y="141446"/>
                  </a:lnTo>
                  <a:lnTo>
                    <a:pt x="688181" y="50006"/>
                  </a:lnTo>
                  <a:lnTo>
                    <a:pt x="741521" y="50006"/>
                  </a:lnTo>
                  <a:cubicBezTo>
                    <a:pt x="772954" y="50006"/>
                    <a:pt x="789146" y="64294"/>
                    <a:pt x="789146" y="93821"/>
                  </a:cubicBezTo>
                  <a:cubicBezTo>
                    <a:pt x="788194" y="125254"/>
                    <a:pt x="772954" y="141446"/>
                    <a:pt x="742474" y="1414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B325FCCD-EABF-40FD-B8B9-63C2091100EC}"/>
                </a:ext>
              </a:extLst>
            </p:cNvPr>
            <p:cNvSpPr/>
            <p:nvPr/>
          </p:nvSpPr>
          <p:spPr>
            <a:xfrm>
              <a:off x="4914424" y="2745581"/>
              <a:ext cx="38100" cy="276225"/>
            </a:xfrm>
            <a:custGeom>
              <a:avLst/>
              <a:gdLst>
                <a:gd name="connsiteX0" fmla="*/ 19526 w 38100"/>
                <a:gd name="connsiteY0" fmla="*/ 273844 h 276225"/>
                <a:gd name="connsiteX1" fmla="*/ 19526 w 38100"/>
                <a:gd name="connsiteY1" fmla="*/ 273844 h 276225"/>
                <a:gd name="connsiteX2" fmla="*/ 7144 w 38100"/>
                <a:gd name="connsiteY2" fmla="*/ 262414 h 276225"/>
                <a:gd name="connsiteX3" fmla="*/ 7144 w 38100"/>
                <a:gd name="connsiteY3" fmla="*/ 18574 h 276225"/>
                <a:gd name="connsiteX4" fmla="*/ 19526 w 38100"/>
                <a:gd name="connsiteY4" fmla="*/ 7144 h 276225"/>
                <a:gd name="connsiteX5" fmla="*/ 19526 w 38100"/>
                <a:gd name="connsiteY5" fmla="*/ 7144 h 276225"/>
                <a:gd name="connsiteX6" fmla="*/ 31909 w 38100"/>
                <a:gd name="connsiteY6" fmla="*/ 18574 h 276225"/>
                <a:gd name="connsiteX7" fmla="*/ 31909 w 38100"/>
                <a:gd name="connsiteY7" fmla="*/ 261461 h 276225"/>
                <a:gd name="connsiteX8" fmla="*/ 19526 w 38100"/>
                <a:gd name="connsiteY8" fmla="*/ 273844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276225">
                  <a:moveTo>
                    <a:pt x="19526" y="273844"/>
                  </a:moveTo>
                  <a:lnTo>
                    <a:pt x="19526" y="273844"/>
                  </a:lnTo>
                  <a:cubicBezTo>
                    <a:pt x="12859" y="273844"/>
                    <a:pt x="7144" y="268129"/>
                    <a:pt x="7144" y="262414"/>
                  </a:cubicBezTo>
                  <a:lnTo>
                    <a:pt x="7144" y="18574"/>
                  </a:lnTo>
                  <a:cubicBezTo>
                    <a:pt x="8096" y="12859"/>
                    <a:pt x="12859" y="7144"/>
                    <a:pt x="19526" y="7144"/>
                  </a:cubicBezTo>
                  <a:lnTo>
                    <a:pt x="19526" y="7144"/>
                  </a:lnTo>
                  <a:cubicBezTo>
                    <a:pt x="26194" y="7144"/>
                    <a:pt x="31909" y="12859"/>
                    <a:pt x="31909" y="18574"/>
                  </a:cubicBezTo>
                  <a:lnTo>
                    <a:pt x="31909" y="261461"/>
                  </a:lnTo>
                  <a:cubicBezTo>
                    <a:pt x="31909" y="268129"/>
                    <a:pt x="26194" y="273844"/>
                    <a:pt x="19526" y="2738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B6987814-8E84-46B6-863F-537149C67502}"/>
                </a:ext>
              </a:extLst>
            </p:cNvPr>
            <p:cNvSpPr/>
            <p:nvPr/>
          </p:nvSpPr>
          <p:spPr>
            <a:xfrm>
              <a:off x="4646192" y="2774529"/>
              <a:ext cx="114300" cy="266700"/>
            </a:xfrm>
            <a:custGeom>
              <a:avLst/>
              <a:gdLst>
                <a:gd name="connsiteX0" fmla="*/ 102021 w 114300"/>
                <a:gd name="connsiteY0" fmla="*/ 260136 h 266700"/>
                <a:gd name="connsiteX1" fmla="*/ 102021 w 114300"/>
                <a:gd name="connsiteY1" fmla="*/ 260136 h 266700"/>
                <a:gd name="connsiteX2" fmla="*/ 86781 w 114300"/>
                <a:gd name="connsiteY2" fmla="*/ 252516 h 266700"/>
                <a:gd name="connsiteX3" fmla="*/ 7723 w 114300"/>
                <a:gd name="connsiteY3" fmla="*/ 22963 h 266700"/>
                <a:gd name="connsiteX4" fmla="*/ 15343 w 114300"/>
                <a:gd name="connsiteY4" fmla="*/ 7723 h 266700"/>
                <a:gd name="connsiteX5" fmla="*/ 15343 w 114300"/>
                <a:gd name="connsiteY5" fmla="*/ 7723 h 266700"/>
                <a:gd name="connsiteX6" fmla="*/ 30583 w 114300"/>
                <a:gd name="connsiteY6" fmla="*/ 15343 h 266700"/>
                <a:gd name="connsiteX7" fmla="*/ 109641 w 114300"/>
                <a:gd name="connsiteY7" fmla="*/ 244896 h 266700"/>
                <a:gd name="connsiteX8" fmla="*/ 102021 w 114300"/>
                <a:gd name="connsiteY8" fmla="*/ 260136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66700">
                  <a:moveTo>
                    <a:pt x="102021" y="260136"/>
                  </a:moveTo>
                  <a:lnTo>
                    <a:pt x="102021" y="260136"/>
                  </a:lnTo>
                  <a:cubicBezTo>
                    <a:pt x="95353" y="262041"/>
                    <a:pt x="88686" y="259183"/>
                    <a:pt x="86781" y="252516"/>
                  </a:cubicBezTo>
                  <a:lnTo>
                    <a:pt x="7723" y="22963"/>
                  </a:lnTo>
                  <a:cubicBezTo>
                    <a:pt x="5818" y="16296"/>
                    <a:pt x="8676" y="9628"/>
                    <a:pt x="15343" y="7723"/>
                  </a:cubicBezTo>
                  <a:lnTo>
                    <a:pt x="15343" y="7723"/>
                  </a:lnTo>
                  <a:cubicBezTo>
                    <a:pt x="22011" y="5818"/>
                    <a:pt x="28678" y="8676"/>
                    <a:pt x="30583" y="15343"/>
                  </a:cubicBezTo>
                  <a:lnTo>
                    <a:pt x="109641" y="244896"/>
                  </a:lnTo>
                  <a:cubicBezTo>
                    <a:pt x="111546" y="250611"/>
                    <a:pt x="108688" y="257278"/>
                    <a:pt x="102021" y="2601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8CC2B5BA-B47A-4ACC-906E-DD117323A773}"/>
                </a:ext>
              </a:extLst>
            </p:cNvPr>
            <p:cNvSpPr/>
            <p:nvPr/>
          </p:nvSpPr>
          <p:spPr>
            <a:xfrm>
              <a:off x="4419362" y="2942987"/>
              <a:ext cx="209550" cy="209550"/>
            </a:xfrm>
            <a:custGeom>
              <a:avLst/>
              <a:gdLst>
                <a:gd name="connsiteX0" fmla="*/ 199311 w 209550"/>
                <a:gd name="connsiteY0" fmla="*/ 199311 h 209550"/>
                <a:gd name="connsiteX1" fmla="*/ 199311 w 209550"/>
                <a:gd name="connsiteY1" fmla="*/ 199311 h 209550"/>
                <a:gd name="connsiteX2" fmla="*/ 182166 w 209550"/>
                <a:gd name="connsiteY2" fmla="*/ 199311 h 209550"/>
                <a:gd name="connsiteX3" fmla="*/ 10716 w 209550"/>
                <a:gd name="connsiteY3" fmla="*/ 27861 h 209550"/>
                <a:gd name="connsiteX4" fmla="*/ 10716 w 209550"/>
                <a:gd name="connsiteY4" fmla="*/ 10716 h 209550"/>
                <a:gd name="connsiteX5" fmla="*/ 10716 w 209550"/>
                <a:gd name="connsiteY5" fmla="*/ 10716 h 209550"/>
                <a:gd name="connsiteX6" fmla="*/ 27861 w 209550"/>
                <a:gd name="connsiteY6" fmla="*/ 10716 h 209550"/>
                <a:gd name="connsiteX7" fmla="*/ 199311 w 209550"/>
                <a:gd name="connsiteY7" fmla="*/ 182166 h 209550"/>
                <a:gd name="connsiteX8" fmla="*/ 199311 w 209550"/>
                <a:gd name="connsiteY8" fmla="*/ 199311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50" h="209550">
                  <a:moveTo>
                    <a:pt x="199311" y="199311"/>
                  </a:moveTo>
                  <a:lnTo>
                    <a:pt x="199311" y="199311"/>
                  </a:lnTo>
                  <a:cubicBezTo>
                    <a:pt x="194548" y="204073"/>
                    <a:pt x="186928" y="204073"/>
                    <a:pt x="182166" y="199311"/>
                  </a:cubicBezTo>
                  <a:lnTo>
                    <a:pt x="10716" y="27861"/>
                  </a:lnTo>
                  <a:cubicBezTo>
                    <a:pt x="5953" y="23098"/>
                    <a:pt x="5953" y="15478"/>
                    <a:pt x="10716" y="10716"/>
                  </a:cubicBezTo>
                  <a:lnTo>
                    <a:pt x="10716" y="10716"/>
                  </a:lnTo>
                  <a:cubicBezTo>
                    <a:pt x="15478" y="5953"/>
                    <a:pt x="23098" y="5953"/>
                    <a:pt x="27861" y="10716"/>
                  </a:cubicBezTo>
                  <a:lnTo>
                    <a:pt x="199311" y="182166"/>
                  </a:lnTo>
                  <a:cubicBezTo>
                    <a:pt x="204073" y="186928"/>
                    <a:pt x="204073" y="194548"/>
                    <a:pt x="199311" y="1993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AD696E16-298B-4327-9B48-2906008CC554}"/>
                </a:ext>
              </a:extLst>
            </p:cNvPr>
            <p:cNvSpPr/>
            <p:nvPr/>
          </p:nvSpPr>
          <p:spPr>
            <a:xfrm>
              <a:off x="4279471" y="3163141"/>
              <a:ext cx="257175" cy="123825"/>
            </a:xfrm>
            <a:custGeom>
              <a:avLst/>
              <a:gdLst>
                <a:gd name="connsiteX0" fmla="*/ 253476 w 257175"/>
                <a:gd name="connsiteY0" fmla="*/ 117269 h 123825"/>
                <a:gd name="connsiteX1" fmla="*/ 253476 w 257175"/>
                <a:gd name="connsiteY1" fmla="*/ 117269 h 123825"/>
                <a:gd name="connsiteX2" fmla="*/ 238236 w 257175"/>
                <a:gd name="connsiteY2" fmla="*/ 123936 h 123825"/>
                <a:gd name="connsiteX3" fmla="*/ 14399 w 257175"/>
                <a:gd name="connsiteY3" fmla="*/ 29639 h 123825"/>
                <a:gd name="connsiteX4" fmla="*/ 7731 w 257175"/>
                <a:gd name="connsiteY4" fmla="*/ 14399 h 123825"/>
                <a:gd name="connsiteX5" fmla="*/ 7731 w 257175"/>
                <a:gd name="connsiteY5" fmla="*/ 14399 h 123825"/>
                <a:gd name="connsiteX6" fmla="*/ 22971 w 257175"/>
                <a:gd name="connsiteY6" fmla="*/ 7731 h 123825"/>
                <a:gd name="connsiteX7" fmla="*/ 246809 w 257175"/>
                <a:gd name="connsiteY7" fmla="*/ 102029 h 123825"/>
                <a:gd name="connsiteX8" fmla="*/ 253476 w 257175"/>
                <a:gd name="connsiteY8" fmla="*/ 11726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123825">
                  <a:moveTo>
                    <a:pt x="253476" y="117269"/>
                  </a:moveTo>
                  <a:lnTo>
                    <a:pt x="253476" y="117269"/>
                  </a:lnTo>
                  <a:cubicBezTo>
                    <a:pt x="250619" y="122984"/>
                    <a:pt x="243951" y="125841"/>
                    <a:pt x="238236" y="123936"/>
                  </a:cubicBezTo>
                  <a:lnTo>
                    <a:pt x="14399" y="29639"/>
                  </a:lnTo>
                  <a:cubicBezTo>
                    <a:pt x="8684" y="26781"/>
                    <a:pt x="5826" y="20114"/>
                    <a:pt x="7731" y="14399"/>
                  </a:cubicBezTo>
                  <a:lnTo>
                    <a:pt x="7731" y="14399"/>
                  </a:lnTo>
                  <a:cubicBezTo>
                    <a:pt x="10589" y="8684"/>
                    <a:pt x="17256" y="5826"/>
                    <a:pt x="22971" y="7731"/>
                  </a:cubicBezTo>
                  <a:lnTo>
                    <a:pt x="246809" y="102029"/>
                  </a:lnTo>
                  <a:cubicBezTo>
                    <a:pt x="253476" y="104886"/>
                    <a:pt x="256334" y="111554"/>
                    <a:pt x="253476" y="117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63B5819E-1263-4F86-AFDE-3FAFB8737774}"/>
                </a:ext>
              </a:extLst>
            </p:cNvPr>
            <p:cNvSpPr/>
            <p:nvPr/>
          </p:nvSpPr>
          <p:spPr>
            <a:xfrm>
              <a:off x="4221956" y="3419847"/>
              <a:ext cx="276225" cy="38100"/>
            </a:xfrm>
            <a:custGeom>
              <a:avLst/>
              <a:gdLst>
                <a:gd name="connsiteX0" fmla="*/ 273844 w 276225"/>
                <a:gd name="connsiteY0" fmla="*/ 18678 h 38100"/>
                <a:gd name="connsiteX1" fmla="*/ 273844 w 276225"/>
                <a:gd name="connsiteY1" fmla="*/ 18678 h 38100"/>
                <a:gd name="connsiteX2" fmla="*/ 261461 w 276225"/>
                <a:gd name="connsiteY2" fmla="*/ 31061 h 38100"/>
                <a:gd name="connsiteX3" fmla="*/ 18574 w 276225"/>
                <a:gd name="connsiteY3" fmla="*/ 31061 h 38100"/>
                <a:gd name="connsiteX4" fmla="*/ 7144 w 276225"/>
                <a:gd name="connsiteY4" fmla="*/ 18678 h 38100"/>
                <a:gd name="connsiteX5" fmla="*/ 7144 w 276225"/>
                <a:gd name="connsiteY5" fmla="*/ 18678 h 38100"/>
                <a:gd name="connsiteX6" fmla="*/ 18574 w 276225"/>
                <a:gd name="connsiteY6" fmla="*/ 7248 h 38100"/>
                <a:gd name="connsiteX7" fmla="*/ 261461 w 276225"/>
                <a:gd name="connsiteY7" fmla="*/ 7248 h 38100"/>
                <a:gd name="connsiteX8" fmla="*/ 273844 w 276225"/>
                <a:gd name="connsiteY8" fmla="*/ 1867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5" h="38100">
                  <a:moveTo>
                    <a:pt x="273844" y="18678"/>
                  </a:moveTo>
                  <a:lnTo>
                    <a:pt x="273844" y="18678"/>
                  </a:lnTo>
                  <a:cubicBezTo>
                    <a:pt x="273844" y="25345"/>
                    <a:pt x="268129" y="31061"/>
                    <a:pt x="261461" y="31061"/>
                  </a:cubicBezTo>
                  <a:lnTo>
                    <a:pt x="18574" y="31061"/>
                  </a:lnTo>
                  <a:cubicBezTo>
                    <a:pt x="12859" y="30108"/>
                    <a:pt x="7144" y="25345"/>
                    <a:pt x="7144" y="18678"/>
                  </a:cubicBezTo>
                  <a:lnTo>
                    <a:pt x="7144" y="18678"/>
                  </a:lnTo>
                  <a:cubicBezTo>
                    <a:pt x="7144" y="12010"/>
                    <a:pt x="12859" y="6295"/>
                    <a:pt x="18574" y="7248"/>
                  </a:cubicBezTo>
                  <a:lnTo>
                    <a:pt x="261461" y="7248"/>
                  </a:lnTo>
                  <a:cubicBezTo>
                    <a:pt x="268129" y="7248"/>
                    <a:pt x="273844" y="12010"/>
                    <a:pt x="273844" y="18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C21F394D-1888-4199-8A0D-AFBE0DD9E943}"/>
                </a:ext>
              </a:extLst>
            </p:cNvPr>
            <p:cNvSpPr/>
            <p:nvPr/>
          </p:nvSpPr>
          <p:spPr>
            <a:xfrm>
              <a:off x="5088236" y="2779292"/>
              <a:ext cx="114300" cy="266700"/>
            </a:xfrm>
            <a:custGeom>
              <a:avLst/>
              <a:gdLst>
                <a:gd name="connsiteX0" fmla="*/ 15259 w 114300"/>
                <a:gd name="connsiteY0" fmla="*/ 260136 h 266700"/>
                <a:gd name="connsiteX1" fmla="*/ 15259 w 114300"/>
                <a:gd name="connsiteY1" fmla="*/ 260136 h 266700"/>
                <a:gd name="connsiteX2" fmla="*/ 30499 w 114300"/>
                <a:gd name="connsiteY2" fmla="*/ 252516 h 266700"/>
                <a:gd name="connsiteX3" fmla="*/ 110509 w 114300"/>
                <a:gd name="connsiteY3" fmla="*/ 22963 h 266700"/>
                <a:gd name="connsiteX4" fmla="*/ 102889 w 114300"/>
                <a:gd name="connsiteY4" fmla="*/ 7723 h 266700"/>
                <a:gd name="connsiteX5" fmla="*/ 102889 w 114300"/>
                <a:gd name="connsiteY5" fmla="*/ 7723 h 266700"/>
                <a:gd name="connsiteX6" fmla="*/ 87649 w 114300"/>
                <a:gd name="connsiteY6" fmla="*/ 15343 h 266700"/>
                <a:gd name="connsiteX7" fmla="*/ 7639 w 114300"/>
                <a:gd name="connsiteY7" fmla="*/ 244896 h 266700"/>
                <a:gd name="connsiteX8" fmla="*/ 15259 w 114300"/>
                <a:gd name="connsiteY8" fmla="*/ 260136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266700">
                  <a:moveTo>
                    <a:pt x="15259" y="260136"/>
                  </a:moveTo>
                  <a:lnTo>
                    <a:pt x="15259" y="260136"/>
                  </a:lnTo>
                  <a:cubicBezTo>
                    <a:pt x="21927" y="262041"/>
                    <a:pt x="28594" y="259183"/>
                    <a:pt x="30499" y="252516"/>
                  </a:cubicBezTo>
                  <a:lnTo>
                    <a:pt x="110509" y="22963"/>
                  </a:lnTo>
                  <a:cubicBezTo>
                    <a:pt x="112414" y="16296"/>
                    <a:pt x="109557" y="9628"/>
                    <a:pt x="102889" y="7723"/>
                  </a:cubicBezTo>
                  <a:lnTo>
                    <a:pt x="102889" y="7723"/>
                  </a:lnTo>
                  <a:cubicBezTo>
                    <a:pt x="96222" y="5818"/>
                    <a:pt x="89554" y="8676"/>
                    <a:pt x="87649" y="15343"/>
                  </a:cubicBezTo>
                  <a:lnTo>
                    <a:pt x="7639" y="244896"/>
                  </a:lnTo>
                  <a:cubicBezTo>
                    <a:pt x="5734" y="250611"/>
                    <a:pt x="9544" y="257278"/>
                    <a:pt x="15259" y="2601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C25E3401-4039-47F6-AD53-59C43E9953B9}"/>
                </a:ext>
              </a:extLst>
            </p:cNvPr>
            <p:cNvSpPr/>
            <p:nvPr/>
          </p:nvSpPr>
          <p:spPr>
            <a:xfrm>
              <a:off x="5223034" y="2947749"/>
              <a:ext cx="200025" cy="209550"/>
            </a:xfrm>
            <a:custGeom>
              <a:avLst/>
              <a:gdLst>
                <a:gd name="connsiteX0" fmla="*/ 10001 w 200025"/>
                <a:gd name="connsiteY0" fmla="*/ 199311 h 209550"/>
                <a:gd name="connsiteX1" fmla="*/ 10001 w 200025"/>
                <a:gd name="connsiteY1" fmla="*/ 199311 h 209550"/>
                <a:gd name="connsiteX2" fmla="*/ 27146 w 200025"/>
                <a:gd name="connsiteY2" fmla="*/ 199311 h 209550"/>
                <a:gd name="connsiteX3" fmla="*/ 198596 w 200025"/>
                <a:gd name="connsiteY3" fmla="*/ 27861 h 209550"/>
                <a:gd name="connsiteX4" fmla="*/ 198596 w 200025"/>
                <a:gd name="connsiteY4" fmla="*/ 10716 h 209550"/>
                <a:gd name="connsiteX5" fmla="*/ 198596 w 200025"/>
                <a:gd name="connsiteY5" fmla="*/ 10716 h 209550"/>
                <a:gd name="connsiteX6" fmla="*/ 181451 w 200025"/>
                <a:gd name="connsiteY6" fmla="*/ 10716 h 209550"/>
                <a:gd name="connsiteX7" fmla="*/ 10001 w 200025"/>
                <a:gd name="connsiteY7" fmla="*/ 182166 h 209550"/>
                <a:gd name="connsiteX8" fmla="*/ 10001 w 200025"/>
                <a:gd name="connsiteY8" fmla="*/ 199311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9550">
                  <a:moveTo>
                    <a:pt x="10001" y="199311"/>
                  </a:moveTo>
                  <a:lnTo>
                    <a:pt x="10001" y="199311"/>
                  </a:lnTo>
                  <a:cubicBezTo>
                    <a:pt x="14764" y="204073"/>
                    <a:pt x="22384" y="204073"/>
                    <a:pt x="27146" y="199311"/>
                  </a:cubicBezTo>
                  <a:lnTo>
                    <a:pt x="198596" y="27861"/>
                  </a:lnTo>
                  <a:cubicBezTo>
                    <a:pt x="203359" y="23098"/>
                    <a:pt x="203359" y="15478"/>
                    <a:pt x="198596" y="10716"/>
                  </a:cubicBezTo>
                  <a:lnTo>
                    <a:pt x="198596" y="10716"/>
                  </a:lnTo>
                  <a:cubicBezTo>
                    <a:pt x="193834" y="5953"/>
                    <a:pt x="186214" y="5953"/>
                    <a:pt x="181451" y="10716"/>
                  </a:cubicBezTo>
                  <a:lnTo>
                    <a:pt x="10001" y="182166"/>
                  </a:lnTo>
                  <a:cubicBezTo>
                    <a:pt x="6191" y="186928"/>
                    <a:pt x="6191" y="194548"/>
                    <a:pt x="10001" y="1993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6482C6B3-BB42-4514-B168-DDF685E93BB9}"/>
                </a:ext>
              </a:extLst>
            </p:cNvPr>
            <p:cNvSpPr/>
            <p:nvPr/>
          </p:nvSpPr>
          <p:spPr>
            <a:xfrm>
              <a:off x="5311029" y="3167904"/>
              <a:ext cx="257175" cy="123825"/>
            </a:xfrm>
            <a:custGeom>
              <a:avLst/>
              <a:gdLst>
                <a:gd name="connsiteX0" fmla="*/ 7732 w 257175"/>
                <a:gd name="connsiteY0" fmla="*/ 117269 h 123825"/>
                <a:gd name="connsiteX1" fmla="*/ 7732 w 257175"/>
                <a:gd name="connsiteY1" fmla="*/ 117269 h 123825"/>
                <a:gd name="connsiteX2" fmla="*/ 22971 w 257175"/>
                <a:gd name="connsiteY2" fmla="*/ 123936 h 123825"/>
                <a:gd name="connsiteX3" fmla="*/ 246809 w 257175"/>
                <a:gd name="connsiteY3" fmla="*/ 29639 h 123825"/>
                <a:gd name="connsiteX4" fmla="*/ 253476 w 257175"/>
                <a:gd name="connsiteY4" fmla="*/ 14399 h 123825"/>
                <a:gd name="connsiteX5" fmla="*/ 253476 w 257175"/>
                <a:gd name="connsiteY5" fmla="*/ 14399 h 123825"/>
                <a:gd name="connsiteX6" fmla="*/ 238237 w 257175"/>
                <a:gd name="connsiteY6" fmla="*/ 7731 h 123825"/>
                <a:gd name="connsiteX7" fmla="*/ 14399 w 257175"/>
                <a:gd name="connsiteY7" fmla="*/ 102029 h 123825"/>
                <a:gd name="connsiteX8" fmla="*/ 7732 w 257175"/>
                <a:gd name="connsiteY8" fmla="*/ 11726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123825">
                  <a:moveTo>
                    <a:pt x="7732" y="117269"/>
                  </a:moveTo>
                  <a:lnTo>
                    <a:pt x="7732" y="117269"/>
                  </a:lnTo>
                  <a:cubicBezTo>
                    <a:pt x="10589" y="122984"/>
                    <a:pt x="17257" y="125841"/>
                    <a:pt x="22971" y="123936"/>
                  </a:cubicBezTo>
                  <a:lnTo>
                    <a:pt x="246809" y="29639"/>
                  </a:lnTo>
                  <a:cubicBezTo>
                    <a:pt x="252524" y="26781"/>
                    <a:pt x="255381" y="20114"/>
                    <a:pt x="253476" y="14399"/>
                  </a:cubicBezTo>
                  <a:lnTo>
                    <a:pt x="253476" y="14399"/>
                  </a:lnTo>
                  <a:cubicBezTo>
                    <a:pt x="250619" y="8684"/>
                    <a:pt x="243951" y="5826"/>
                    <a:pt x="238237" y="7731"/>
                  </a:cubicBezTo>
                  <a:lnTo>
                    <a:pt x="14399" y="102029"/>
                  </a:lnTo>
                  <a:cubicBezTo>
                    <a:pt x="8684" y="104886"/>
                    <a:pt x="5826" y="111554"/>
                    <a:pt x="7732" y="1172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2A819EB6-A1C2-44D0-8591-4DAD5C1E85BF}"/>
                </a:ext>
              </a:extLst>
            </p:cNvPr>
            <p:cNvSpPr/>
            <p:nvPr/>
          </p:nvSpPr>
          <p:spPr>
            <a:xfrm>
              <a:off x="5348764" y="3424610"/>
              <a:ext cx="276225" cy="38100"/>
            </a:xfrm>
            <a:custGeom>
              <a:avLst/>
              <a:gdLst>
                <a:gd name="connsiteX0" fmla="*/ 7144 w 276225"/>
                <a:gd name="connsiteY0" fmla="*/ 18678 h 38100"/>
                <a:gd name="connsiteX1" fmla="*/ 7144 w 276225"/>
                <a:gd name="connsiteY1" fmla="*/ 18678 h 38100"/>
                <a:gd name="connsiteX2" fmla="*/ 19526 w 276225"/>
                <a:gd name="connsiteY2" fmla="*/ 31061 h 38100"/>
                <a:gd name="connsiteX3" fmla="*/ 262414 w 276225"/>
                <a:gd name="connsiteY3" fmla="*/ 31061 h 38100"/>
                <a:gd name="connsiteX4" fmla="*/ 274796 w 276225"/>
                <a:gd name="connsiteY4" fmla="*/ 18678 h 38100"/>
                <a:gd name="connsiteX5" fmla="*/ 274796 w 276225"/>
                <a:gd name="connsiteY5" fmla="*/ 18678 h 38100"/>
                <a:gd name="connsiteX6" fmla="*/ 262414 w 276225"/>
                <a:gd name="connsiteY6" fmla="*/ 7248 h 38100"/>
                <a:gd name="connsiteX7" fmla="*/ 19526 w 276225"/>
                <a:gd name="connsiteY7" fmla="*/ 7248 h 38100"/>
                <a:gd name="connsiteX8" fmla="*/ 7144 w 276225"/>
                <a:gd name="connsiteY8" fmla="*/ 1867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5" h="38100">
                  <a:moveTo>
                    <a:pt x="7144" y="18678"/>
                  </a:moveTo>
                  <a:lnTo>
                    <a:pt x="7144" y="18678"/>
                  </a:lnTo>
                  <a:cubicBezTo>
                    <a:pt x="7144" y="25345"/>
                    <a:pt x="12859" y="31061"/>
                    <a:pt x="19526" y="31061"/>
                  </a:cubicBezTo>
                  <a:lnTo>
                    <a:pt x="262414" y="31061"/>
                  </a:lnTo>
                  <a:cubicBezTo>
                    <a:pt x="269081" y="31061"/>
                    <a:pt x="274796" y="25345"/>
                    <a:pt x="274796" y="18678"/>
                  </a:cubicBezTo>
                  <a:lnTo>
                    <a:pt x="274796" y="18678"/>
                  </a:lnTo>
                  <a:cubicBezTo>
                    <a:pt x="274796" y="12010"/>
                    <a:pt x="269081" y="6295"/>
                    <a:pt x="262414" y="7248"/>
                  </a:cubicBezTo>
                  <a:lnTo>
                    <a:pt x="19526" y="7248"/>
                  </a:lnTo>
                  <a:cubicBezTo>
                    <a:pt x="12859" y="7248"/>
                    <a:pt x="7144" y="12010"/>
                    <a:pt x="7144" y="186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286" latinLnBrk="0"/>
              <a:endParaRPr 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518" y="2942349"/>
            <a:ext cx="5858548" cy="362700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7453" y="5233508"/>
            <a:ext cx="4884535" cy="132343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286" latinLnBrk="0"/>
            <a:r>
              <a:rPr lang="ko-KR" altLang="en-US" sz="20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목표</a:t>
            </a:r>
            <a:r>
              <a:rPr lang="en-US" altLang="ko-KR" sz="20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20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앞서 </a:t>
            </a:r>
            <a:r>
              <a:rPr lang="ko-KR" altLang="en-US" sz="20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클러스터링으로</a:t>
            </a:r>
            <a:r>
              <a:rPr lang="ko-KR" altLang="en-US" sz="20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연령대를 추정한 세 그룹에 대한 품목별 매출액 변화 추이를 분석함으로써 각 연령대 그룹의 관심 품목을 구체화</a:t>
            </a:r>
          </a:p>
        </p:txBody>
      </p:sp>
    </p:spTree>
    <p:extLst>
      <p:ext uri="{BB962C8B-B14F-4D97-AF65-F5344CB8AC3E}">
        <p14:creationId xmlns:p14="http://schemas.microsoft.com/office/powerpoint/2010/main" val="25419437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413" t="8686" r="23831" b="28073"/>
          <a:stretch/>
        </p:blipFill>
        <p:spPr>
          <a:xfrm>
            <a:off x="1657122" y="895364"/>
            <a:ext cx="8503803" cy="3993158"/>
          </a:xfrm>
          <a:prstGeom prst="rect">
            <a:avLst/>
          </a:prstGeom>
        </p:spPr>
      </p:pic>
      <p:grpSp>
        <p:nvGrpSpPr>
          <p:cNvPr id="103" name="Group 2">
            <a:extLst>
              <a:ext uri="{FF2B5EF4-FFF2-40B4-BE49-F238E27FC236}">
                <a16:creationId xmlns:a16="http://schemas.microsoft.com/office/drawing/2014/main" xmlns="" id="{31126605-BCDF-48EC-9724-C31257FCE87E}"/>
              </a:ext>
            </a:extLst>
          </p:cNvPr>
          <p:cNvGrpSpPr/>
          <p:nvPr/>
        </p:nvGrpSpPr>
        <p:grpSpPr>
          <a:xfrm>
            <a:off x="792757" y="5039649"/>
            <a:ext cx="10128284" cy="256208"/>
            <a:chOff x="395536" y="3212976"/>
            <a:chExt cx="8015714" cy="256208"/>
          </a:xfrm>
        </p:grpSpPr>
        <p:sp>
          <p:nvSpPr>
            <p:cNvPr id="104" name="Rectangle 3">
              <a:extLst>
                <a:ext uri="{FF2B5EF4-FFF2-40B4-BE49-F238E27FC236}">
                  <a16:creationId xmlns:a16="http://schemas.microsoft.com/office/drawing/2014/main" xmlns="" id="{10A51B80-BE25-4B58-AC7D-C71E941EEBE4}"/>
                </a:ext>
              </a:extLst>
            </p:cNvPr>
            <p:cNvSpPr/>
            <p:nvPr/>
          </p:nvSpPr>
          <p:spPr>
            <a:xfrm>
              <a:off x="395536" y="3212976"/>
              <a:ext cx="282028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6" name="Rectangle 3">
              <a:extLst>
                <a:ext uri="{FF2B5EF4-FFF2-40B4-BE49-F238E27FC236}">
                  <a16:creationId xmlns:a16="http://schemas.microsoft.com/office/drawing/2014/main" xmlns="" id="{2FDE795C-A164-4C18-9B13-0560F1A1BE01}"/>
                </a:ext>
              </a:extLst>
            </p:cNvPr>
            <p:cNvSpPr/>
            <p:nvPr/>
          </p:nvSpPr>
          <p:spPr>
            <a:xfrm>
              <a:off x="3131840" y="3212976"/>
              <a:ext cx="2736303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8" name="Rectangle 3">
              <a:extLst>
                <a:ext uri="{FF2B5EF4-FFF2-40B4-BE49-F238E27FC236}">
                  <a16:creationId xmlns:a16="http://schemas.microsoft.com/office/drawing/2014/main" xmlns="" id="{41FD1879-391B-4C63-B6CE-7827F96D06C8}"/>
                </a:ext>
              </a:extLst>
            </p:cNvPr>
            <p:cNvSpPr/>
            <p:nvPr/>
          </p:nvSpPr>
          <p:spPr>
            <a:xfrm>
              <a:off x="5868144" y="3212976"/>
              <a:ext cx="254310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1054066" y="5304625"/>
            <a:ext cx="3040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할인점이 </a:t>
            </a:r>
            <a:r>
              <a:rPr lang="ko-KR" altLang="ko-KR" sz="16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문몰보다</a:t>
            </a:r>
            <a:r>
              <a:rPr lang="ko-KR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비중이 컸는데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할인점 비중이 현저히 낮아짐</a:t>
            </a:r>
          </a:p>
          <a:p>
            <a:pPr defTabSz="914286"/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원래 오프라인 매장을 선호하던 사람들이므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오프라인 매장에 대한 혜택</a:t>
            </a:r>
          </a:p>
          <a:p>
            <a:pPr algn="ctr" defTabSz="914286" latinLnBrk="0"/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 </a:t>
            </a:r>
          </a:p>
        </p:txBody>
      </p:sp>
      <p:sp>
        <p:nvSpPr>
          <p:cNvPr id="128" name="Text Placeholder 1"/>
          <p:cNvSpPr txBox="1">
            <a:spLocks/>
          </p:cNvSpPr>
          <p:nvPr/>
        </p:nvSpPr>
        <p:spPr>
          <a:xfrm>
            <a:off x="3823246" y="150295"/>
            <a:ext cx="4311420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1</a:t>
            </a:r>
            <a:endParaRPr lang="en-US" sz="28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4515517" y="5311509"/>
            <a:ext cx="30409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취미의 비중이 코로나로 인해 절반 정도 감소함</a:t>
            </a:r>
            <a:endParaRPr lang="en-US" altLang="ko-KR" sz="16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endParaRPr lang="en-US" altLang="ko-KR" sz="16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에서도 즐길 수 있는 취미 활동에 대한 제휴와 홍보 필요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endParaRPr lang="en-US" altLang="ko-KR" sz="1400" dirty="0" smtClean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en-US" altLang="ko-KR" sz="1400" dirty="0" smtClean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ex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 </a:t>
            </a:r>
            <a:r>
              <a:rPr lang="ko-KR" altLang="en-US" sz="1400" dirty="0" err="1" smtClean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홈트레이닝</a:t>
            </a:r>
            <a:r>
              <a:rPr lang="ko-KR" altLang="en-US" sz="1400" dirty="0" smtClean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등 온라인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취미 플랫폼 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endParaRPr lang="en-US" altLang="ko-KR" sz="11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7880078" y="5295857"/>
            <a:ext cx="30409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종합몰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스코어에 소비하는 비중이 굉장히 증가</a:t>
            </a:r>
            <a:endParaRPr lang="en-US" altLang="ko-KR" sz="16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 defTabSz="914286" latinLnBrk="0"/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 defTabSz="914286" latinLnBrk="0"/>
            <a:r>
              <a:rPr lang="ko-KR" alt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할인점이 </a:t>
            </a:r>
            <a:r>
              <a:rPr lang="ko-KR" altLang="en-US" sz="1400" dirty="0" err="1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줄어듬과</a:t>
            </a:r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동시에 종합몰이 증가한 것은 오프라인으로 소비하던 품목을 온라인으로 구매함을 의미</a:t>
            </a:r>
            <a:r>
              <a: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948213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2">
            <a:extLst>
              <a:ext uri="{FF2B5EF4-FFF2-40B4-BE49-F238E27FC236}">
                <a16:creationId xmlns:a16="http://schemas.microsoft.com/office/drawing/2014/main" xmlns="" id="{31126605-BCDF-48EC-9724-C31257FCE87E}"/>
              </a:ext>
            </a:extLst>
          </p:cNvPr>
          <p:cNvGrpSpPr/>
          <p:nvPr/>
        </p:nvGrpSpPr>
        <p:grpSpPr>
          <a:xfrm>
            <a:off x="792757" y="5039649"/>
            <a:ext cx="10128284" cy="256208"/>
            <a:chOff x="395536" y="3212976"/>
            <a:chExt cx="8015714" cy="256208"/>
          </a:xfrm>
        </p:grpSpPr>
        <p:sp>
          <p:nvSpPr>
            <p:cNvPr id="104" name="Rectangle 3">
              <a:extLst>
                <a:ext uri="{FF2B5EF4-FFF2-40B4-BE49-F238E27FC236}">
                  <a16:creationId xmlns:a16="http://schemas.microsoft.com/office/drawing/2014/main" xmlns="" id="{10A51B80-BE25-4B58-AC7D-C71E941EEBE4}"/>
                </a:ext>
              </a:extLst>
            </p:cNvPr>
            <p:cNvSpPr/>
            <p:nvPr/>
          </p:nvSpPr>
          <p:spPr>
            <a:xfrm>
              <a:off x="395536" y="3212976"/>
              <a:ext cx="282028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6" name="Rectangle 3">
              <a:extLst>
                <a:ext uri="{FF2B5EF4-FFF2-40B4-BE49-F238E27FC236}">
                  <a16:creationId xmlns:a16="http://schemas.microsoft.com/office/drawing/2014/main" xmlns="" id="{2FDE795C-A164-4C18-9B13-0560F1A1BE01}"/>
                </a:ext>
              </a:extLst>
            </p:cNvPr>
            <p:cNvSpPr/>
            <p:nvPr/>
          </p:nvSpPr>
          <p:spPr>
            <a:xfrm>
              <a:off x="3131840" y="3212976"/>
              <a:ext cx="2736303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8" name="Rectangle 3">
              <a:extLst>
                <a:ext uri="{FF2B5EF4-FFF2-40B4-BE49-F238E27FC236}">
                  <a16:creationId xmlns:a16="http://schemas.microsoft.com/office/drawing/2014/main" xmlns="" id="{41FD1879-391B-4C63-B6CE-7827F96D06C8}"/>
                </a:ext>
              </a:extLst>
            </p:cNvPr>
            <p:cNvSpPr/>
            <p:nvPr/>
          </p:nvSpPr>
          <p:spPr>
            <a:xfrm>
              <a:off x="5868144" y="3212976"/>
              <a:ext cx="254310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1054066" y="5304625"/>
            <a:ext cx="30409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문몰이 할인점보다 비중이 계속 크다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Group1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과 마찬가지로 할인점 비중이 현저히 낮아짐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  <a:p>
            <a:pPr defTabSz="914286"/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원래 오프라인 매장을 선호하던 사람들이므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오프라인 매장에 대한 혜택</a:t>
            </a:r>
            <a:endParaRPr lang="en-US" altLang="ko-KR" sz="11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4515517" y="5311509"/>
            <a:ext cx="304096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학원비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점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education): 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교육비 비중이 높음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부데이터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]</a:t>
            </a:r>
          </a:p>
          <a:p>
            <a:pPr defTabSz="914286"/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자녀가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중고등학생이다보니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교육비의 비중이 높음 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7880078" y="5295857"/>
            <a:ext cx="3040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식비에 소비하는 비중이 높음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부데이터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]</a:t>
            </a:r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 defTabSz="914286" latinLnBrk="0"/>
            <a:endParaRPr lang="en-US" altLang="ko-KR" sz="14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algn="ctr" defTabSz="914286" latinLnBrk="0"/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식료품 구매나 외식</a:t>
            </a:r>
            <a:r>
              <a: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관련 혜택이 유용할 것</a:t>
            </a:r>
            <a:r>
              <a: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코로나 상황을 고려하여 배달의 민족</a:t>
            </a:r>
            <a:r>
              <a: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요기요 등과 제휴</a:t>
            </a:r>
            <a:endParaRPr lang="en-US" altLang="ko-KR" sz="14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2"/>
          <a:srcRect l="494" t="9308" r="23302" b="25535"/>
          <a:stretch/>
        </p:blipFill>
        <p:spPr>
          <a:xfrm>
            <a:off x="1665877" y="866787"/>
            <a:ext cx="8486294" cy="4081617"/>
          </a:xfrm>
          <a:prstGeom prst="rect">
            <a:avLst/>
          </a:prstGeom>
        </p:spPr>
      </p:pic>
      <p:sp>
        <p:nvSpPr>
          <p:cNvPr id="12" name="Text Placeholder 1"/>
          <p:cNvSpPr txBox="1">
            <a:spLocks/>
          </p:cNvSpPr>
          <p:nvPr/>
        </p:nvSpPr>
        <p:spPr>
          <a:xfrm>
            <a:off x="3823246" y="150295"/>
            <a:ext cx="4311420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2</a:t>
            </a:r>
            <a:endParaRPr lang="en-US" sz="28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920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xmlns="" id="{97552A22-E7D0-44B4-9CFF-842DAB1DBBF5}"/>
              </a:ext>
            </a:extLst>
          </p:cNvPr>
          <p:cNvSpPr/>
          <p:nvPr/>
        </p:nvSpPr>
        <p:spPr>
          <a:xfrm>
            <a:off x="5868196" y="2586482"/>
            <a:ext cx="5383100" cy="9487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04510579-2BE1-4A34-B349-8E3F0BC6BB7F}"/>
              </a:ext>
            </a:extLst>
          </p:cNvPr>
          <p:cNvSpPr/>
          <p:nvPr/>
        </p:nvSpPr>
        <p:spPr>
          <a:xfrm>
            <a:off x="5868196" y="3940919"/>
            <a:ext cx="5383100" cy="9417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xmlns="" id="{298BC558-7B4D-4E5A-91B4-EDBB16920E21}"/>
              </a:ext>
            </a:extLst>
          </p:cNvPr>
          <p:cNvSpPr/>
          <p:nvPr/>
        </p:nvSpPr>
        <p:spPr>
          <a:xfrm>
            <a:off x="5868196" y="5312039"/>
            <a:ext cx="5383100" cy="9417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2" name="Isosceles Triangle 48">
            <a:extLst>
              <a:ext uri="{FF2B5EF4-FFF2-40B4-BE49-F238E27FC236}">
                <a16:creationId xmlns:a16="http://schemas.microsoft.com/office/drawing/2014/main" xmlns="" id="{0CF16C1F-62CE-4FA1-9CFF-FEA33BC3022F}"/>
              </a:ext>
            </a:extLst>
          </p:cNvPr>
          <p:cNvSpPr/>
          <p:nvPr/>
        </p:nvSpPr>
        <p:spPr>
          <a:xfrm rot="16200000">
            <a:off x="4440511" y="2165363"/>
            <a:ext cx="1003975" cy="1860158"/>
          </a:xfrm>
          <a:custGeom>
            <a:avLst/>
            <a:gdLst>
              <a:gd name="connsiteX0" fmla="*/ 0 w 1008000"/>
              <a:gd name="connsiteY0" fmla="*/ 1096600 h 1096600"/>
              <a:gd name="connsiteX1" fmla="*/ 131856 w 1008000"/>
              <a:gd name="connsiteY1" fmla="*/ 0 h 1096600"/>
              <a:gd name="connsiteX2" fmla="*/ 1008000 w 1008000"/>
              <a:gd name="connsiteY2" fmla="*/ 1096600 h 1096600"/>
              <a:gd name="connsiteX3" fmla="*/ 0 w 1008000"/>
              <a:gd name="connsiteY3" fmla="*/ 1096600 h 1096600"/>
              <a:gd name="connsiteX0" fmla="*/ 112693 w 1120693"/>
              <a:gd name="connsiteY0" fmla="*/ 1075334 h 1075334"/>
              <a:gd name="connsiteX1" fmla="*/ 0 w 1120693"/>
              <a:gd name="connsiteY1" fmla="*/ 0 h 1075334"/>
              <a:gd name="connsiteX2" fmla="*/ 1120693 w 1120693"/>
              <a:gd name="connsiteY2" fmla="*/ 1075334 h 1075334"/>
              <a:gd name="connsiteX3" fmla="*/ 112693 w 1120693"/>
              <a:gd name="connsiteY3" fmla="*/ 1075334 h 1075334"/>
              <a:gd name="connsiteX0" fmla="*/ 83413 w 1091413"/>
              <a:gd name="connsiteY0" fmla="*/ 1072603 h 1072603"/>
              <a:gd name="connsiteX1" fmla="*/ 0 w 1091413"/>
              <a:gd name="connsiteY1" fmla="*/ 0 h 1072603"/>
              <a:gd name="connsiteX2" fmla="*/ 1091413 w 1091413"/>
              <a:gd name="connsiteY2" fmla="*/ 1072603 h 1072603"/>
              <a:gd name="connsiteX3" fmla="*/ 83413 w 1091413"/>
              <a:gd name="connsiteY3" fmla="*/ 1072603 h 1072603"/>
              <a:gd name="connsiteX0" fmla="*/ 79231 w 1087231"/>
              <a:gd name="connsiteY0" fmla="*/ 1069873 h 1069873"/>
              <a:gd name="connsiteX1" fmla="*/ 0 w 1087231"/>
              <a:gd name="connsiteY1" fmla="*/ 0 h 1069873"/>
              <a:gd name="connsiteX2" fmla="*/ 1087231 w 1087231"/>
              <a:gd name="connsiteY2" fmla="*/ 1069873 h 1069873"/>
              <a:gd name="connsiteX3" fmla="*/ 79231 w 1087231"/>
              <a:gd name="connsiteY3" fmla="*/ 1069873 h 1069873"/>
              <a:gd name="connsiteX0" fmla="*/ 62499 w 1070499"/>
              <a:gd name="connsiteY0" fmla="*/ 1075334 h 1075334"/>
              <a:gd name="connsiteX1" fmla="*/ 0 w 1070499"/>
              <a:gd name="connsiteY1" fmla="*/ 0 h 1075334"/>
              <a:gd name="connsiteX2" fmla="*/ 1070499 w 1070499"/>
              <a:gd name="connsiteY2" fmla="*/ 1075334 h 1075334"/>
              <a:gd name="connsiteX3" fmla="*/ 62499 w 1070499"/>
              <a:gd name="connsiteY3" fmla="*/ 1075334 h 1075334"/>
              <a:gd name="connsiteX0" fmla="*/ 66683 w 1074683"/>
              <a:gd name="connsiteY0" fmla="*/ 1075332 h 1075332"/>
              <a:gd name="connsiteX1" fmla="*/ 0 w 1074683"/>
              <a:gd name="connsiteY1" fmla="*/ 0 h 1075332"/>
              <a:gd name="connsiteX2" fmla="*/ 1074683 w 1074683"/>
              <a:gd name="connsiteY2" fmla="*/ 1075332 h 1075332"/>
              <a:gd name="connsiteX3" fmla="*/ 66683 w 1074683"/>
              <a:gd name="connsiteY3" fmla="*/ 1075332 h 1075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4683" h="1075332">
                <a:moveTo>
                  <a:pt x="66683" y="1075332"/>
                </a:moveTo>
                <a:lnTo>
                  <a:pt x="0" y="0"/>
                </a:lnTo>
                <a:lnTo>
                  <a:pt x="1074683" y="1075332"/>
                </a:lnTo>
                <a:lnTo>
                  <a:pt x="66683" y="1075332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4" name="Isosceles Triangle 49">
            <a:extLst>
              <a:ext uri="{FF2B5EF4-FFF2-40B4-BE49-F238E27FC236}">
                <a16:creationId xmlns:a16="http://schemas.microsoft.com/office/drawing/2014/main" xmlns="" id="{D37C5DD6-014C-40AD-B9F6-9E642ED69986}"/>
              </a:ext>
            </a:extLst>
          </p:cNvPr>
          <p:cNvSpPr/>
          <p:nvPr/>
        </p:nvSpPr>
        <p:spPr>
          <a:xfrm rot="16200000">
            <a:off x="4443352" y="3460473"/>
            <a:ext cx="998749" cy="1859656"/>
          </a:xfrm>
          <a:custGeom>
            <a:avLst/>
            <a:gdLst>
              <a:gd name="connsiteX0" fmla="*/ 0 w 1008000"/>
              <a:gd name="connsiteY0" fmla="*/ 1096600 h 1096600"/>
              <a:gd name="connsiteX1" fmla="*/ 131856 w 1008000"/>
              <a:gd name="connsiteY1" fmla="*/ 0 h 1096600"/>
              <a:gd name="connsiteX2" fmla="*/ 1008000 w 1008000"/>
              <a:gd name="connsiteY2" fmla="*/ 1096600 h 1096600"/>
              <a:gd name="connsiteX3" fmla="*/ 0 w 1008000"/>
              <a:gd name="connsiteY3" fmla="*/ 1096600 h 1096600"/>
              <a:gd name="connsiteX0" fmla="*/ 0 w 1035624"/>
              <a:gd name="connsiteY0" fmla="*/ 1085967 h 1085967"/>
              <a:gd name="connsiteX1" fmla="*/ 1035624 w 1035624"/>
              <a:gd name="connsiteY1" fmla="*/ 0 h 1085967"/>
              <a:gd name="connsiteX2" fmla="*/ 1008000 w 1035624"/>
              <a:gd name="connsiteY2" fmla="*/ 1085967 h 1085967"/>
              <a:gd name="connsiteX3" fmla="*/ 0 w 1035624"/>
              <a:gd name="connsiteY3" fmla="*/ 1085967 h 1085967"/>
              <a:gd name="connsiteX0" fmla="*/ 0 w 1060722"/>
              <a:gd name="connsiteY0" fmla="*/ 1075043 h 1075043"/>
              <a:gd name="connsiteX1" fmla="*/ 1060722 w 1060722"/>
              <a:gd name="connsiteY1" fmla="*/ 0 h 1075043"/>
              <a:gd name="connsiteX2" fmla="*/ 1008000 w 1060722"/>
              <a:gd name="connsiteY2" fmla="*/ 1075043 h 1075043"/>
              <a:gd name="connsiteX3" fmla="*/ 0 w 1060722"/>
              <a:gd name="connsiteY3" fmla="*/ 1075043 h 1075043"/>
              <a:gd name="connsiteX0" fmla="*/ 0 w 1069087"/>
              <a:gd name="connsiteY0" fmla="*/ 1075043 h 1075043"/>
              <a:gd name="connsiteX1" fmla="*/ 1069087 w 1069087"/>
              <a:gd name="connsiteY1" fmla="*/ 0 h 1075043"/>
              <a:gd name="connsiteX2" fmla="*/ 1008000 w 1069087"/>
              <a:gd name="connsiteY2" fmla="*/ 1075043 h 1075043"/>
              <a:gd name="connsiteX3" fmla="*/ 0 w 1069087"/>
              <a:gd name="connsiteY3" fmla="*/ 1075043 h 107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087" h="1075043">
                <a:moveTo>
                  <a:pt x="0" y="1075043"/>
                </a:moveTo>
                <a:lnTo>
                  <a:pt x="1069087" y="0"/>
                </a:lnTo>
                <a:lnTo>
                  <a:pt x="1008000" y="1075043"/>
                </a:lnTo>
                <a:lnTo>
                  <a:pt x="0" y="107504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6" name="Isosceles Triangle 50">
            <a:extLst>
              <a:ext uri="{FF2B5EF4-FFF2-40B4-BE49-F238E27FC236}">
                <a16:creationId xmlns:a16="http://schemas.microsoft.com/office/drawing/2014/main" xmlns="" id="{9F67D8A7-B3B2-4A78-A20F-B4D513F0F792}"/>
              </a:ext>
            </a:extLst>
          </p:cNvPr>
          <p:cNvSpPr/>
          <p:nvPr/>
        </p:nvSpPr>
        <p:spPr>
          <a:xfrm rot="16200000">
            <a:off x="3938071" y="4326948"/>
            <a:ext cx="2025426" cy="1842265"/>
          </a:xfrm>
          <a:custGeom>
            <a:avLst/>
            <a:gdLst>
              <a:gd name="connsiteX0" fmla="*/ 0 w 1008000"/>
              <a:gd name="connsiteY0" fmla="*/ 1096600 h 1096600"/>
              <a:gd name="connsiteX1" fmla="*/ 131856 w 1008000"/>
              <a:gd name="connsiteY1" fmla="*/ 0 h 1096600"/>
              <a:gd name="connsiteX2" fmla="*/ 1008000 w 1008000"/>
              <a:gd name="connsiteY2" fmla="*/ 1096600 h 1096600"/>
              <a:gd name="connsiteX3" fmla="*/ 0 w 1008000"/>
              <a:gd name="connsiteY3" fmla="*/ 1096600 h 1096600"/>
              <a:gd name="connsiteX0" fmla="*/ 0 w 2109512"/>
              <a:gd name="connsiteY0" fmla="*/ 1054069 h 1054069"/>
              <a:gd name="connsiteX1" fmla="*/ 2109512 w 2109512"/>
              <a:gd name="connsiteY1" fmla="*/ 0 h 1054069"/>
              <a:gd name="connsiteX2" fmla="*/ 1008000 w 2109512"/>
              <a:gd name="connsiteY2" fmla="*/ 1054069 h 1054069"/>
              <a:gd name="connsiteX3" fmla="*/ 0 w 2109512"/>
              <a:gd name="connsiteY3" fmla="*/ 1054069 h 1054069"/>
              <a:gd name="connsiteX0" fmla="*/ 0 w 2172255"/>
              <a:gd name="connsiteY0" fmla="*/ 1064989 h 1064989"/>
              <a:gd name="connsiteX1" fmla="*/ 2172255 w 2172255"/>
              <a:gd name="connsiteY1" fmla="*/ 0 h 1064989"/>
              <a:gd name="connsiteX2" fmla="*/ 1008000 w 2172255"/>
              <a:gd name="connsiteY2" fmla="*/ 1064989 h 1064989"/>
              <a:gd name="connsiteX3" fmla="*/ 0 w 2172255"/>
              <a:gd name="connsiteY3" fmla="*/ 1064989 h 1064989"/>
              <a:gd name="connsiteX0" fmla="*/ 0 w 2168072"/>
              <a:gd name="connsiteY0" fmla="*/ 1064989 h 1064989"/>
              <a:gd name="connsiteX1" fmla="*/ 2168072 w 2168072"/>
              <a:gd name="connsiteY1" fmla="*/ 0 h 1064989"/>
              <a:gd name="connsiteX2" fmla="*/ 1008000 w 2168072"/>
              <a:gd name="connsiteY2" fmla="*/ 1064989 h 1064989"/>
              <a:gd name="connsiteX3" fmla="*/ 0 w 2168072"/>
              <a:gd name="connsiteY3" fmla="*/ 1064989 h 106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8072" h="1064989">
                <a:moveTo>
                  <a:pt x="0" y="1064989"/>
                </a:moveTo>
                <a:lnTo>
                  <a:pt x="2168072" y="0"/>
                </a:lnTo>
                <a:lnTo>
                  <a:pt x="1008000" y="1064989"/>
                </a:lnTo>
                <a:lnTo>
                  <a:pt x="0" y="106498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xmlns="" id="{56B69E62-97DC-43A9-88BB-A2C5EE4937D3}"/>
              </a:ext>
            </a:extLst>
          </p:cNvPr>
          <p:cNvSpPr/>
          <p:nvPr/>
        </p:nvSpPr>
        <p:spPr>
          <a:xfrm>
            <a:off x="5870066" y="1304530"/>
            <a:ext cx="5383100" cy="9417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Isosceles Triangle 26">
            <a:extLst>
              <a:ext uri="{FF2B5EF4-FFF2-40B4-BE49-F238E27FC236}">
                <a16:creationId xmlns:a16="http://schemas.microsoft.com/office/drawing/2014/main" xmlns="" id="{68024200-DDD2-4F66-B82F-A3A5B290AF6F}"/>
              </a:ext>
            </a:extLst>
          </p:cNvPr>
          <p:cNvSpPr/>
          <p:nvPr/>
        </p:nvSpPr>
        <p:spPr>
          <a:xfrm rot="16200000">
            <a:off x="3964500" y="1433768"/>
            <a:ext cx="2036677" cy="1778195"/>
          </a:xfrm>
          <a:custGeom>
            <a:avLst/>
            <a:gdLst>
              <a:gd name="connsiteX0" fmla="*/ 0 w 1008000"/>
              <a:gd name="connsiteY0" fmla="*/ 1096600 h 1096600"/>
              <a:gd name="connsiteX1" fmla="*/ 131856 w 1008000"/>
              <a:gd name="connsiteY1" fmla="*/ 0 h 1096600"/>
              <a:gd name="connsiteX2" fmla="*/ 1008000 w 1008000"/>
              <a:gd name="connsiteY2" fmla="*/ 1096600 h 1096600"/>
              <a:gd name="connsiteX3" fmla="*/ 0 w 1008000"/>
              <a:gd name="connsiteY3" fmla="*/ 1096600 h 1096600"/>
              <a:gd name="connsiteX0" fmla="*/ 1197213 w 2205213"/>
              <a:gd name="connsiteY0" fmla="*/ 1064702 h 1064702"/>
              <a:gd name="connsiteX1" fmla="*/ 0 w 2205213"/>
              <a:gd name="connsiteY1" fmla="*/ 0 h 1064702"/>
              <a:gd name="connsiteX2" fmla="*/ 2205213 w 2205213"/>
              <a:gd name="connsiteY2" fmla="*/ 1064702 h 1064702"/>
              <a:gd name="connsiteX3" fmla="*/ 1197213 w 2205213"/>
              <a:gd name="connsiteY3" fmla="*/ 1064702 h 1064702"/>
              <a:gd name="connsiteX0" fmla="*/ 1180481 w 2188481"/>
              <a:gd name="connsiteY0" fmla="*/ 1064702 h 1064702"/>
              <a:gd name="connsiteX1" fmla="*/ 0 w 2188481"/>
              <a:gd name="connsiteY1" fmla="*/ 0 h 1064702"/>
              <a:gd name="connsiteX2" fmla="*/ 2188481 w 2188481"/>
              <a:gd name="connsiteY2" fmla="*/ 1064702 h 1064702"/>
              <a:gd name="connsiteX3" fmla="*/ 1180481 w 2188481"/>
              <a:gd name="connsiteY3" fmla="*/ 1064702 h 1064702"/>
              <a:gd name="connsiteX0" fmla="*/ 1172115 w 2180115"/>
              <a:gd name="connsiteY0" fmla="*/ 1067431 h 1067431"/>
              <a:gd name="connsiteX1" fmla="*/ 0 w 2180115"/>
              <a:gd name="connsiteY1" fmla="*/ 0 h 1067431"/>
              <a:gd name="connsiteX2" fmla="*/ 2180115 w 2180115"/>
              <a:gd name="connsiteY2" fmla="*/ 1067431 h 1067431"/>
              <a:gd name="connsiteX3" fmla="*/ 1172115 w 2180115"/>
              <a:gd name="connsiteY3" fmla="*/ 1067431 h 1067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0115" h="1067431">
                <a:moveTo>
                  <a:pt x="1172115" y="1067431"/>
                </a:moveTo>
                <a:lnTo>
                  <a:pt x="0" y="0"/>
                </a:lnTo>
                <a:lnTo>
                  <a:pt x="2180115" y="1067431"/>
                </a:lnTo>
                <a:lnTo>
                  <a:pt x="1172115" y="106743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4" name="사각형: 잘린 한쪽 모서리 3">
            <a:extLst>
              <a:ext uri="{FF2B5EF4-FFF2-40B4-BE49-F238E27FC236}">
                <a16:creationId xmlns:a16="http://schemas.microsoft.com/office/drawing/2014/main" xmlns="" id="{CC36252A-334F-4E35-AC61-64C7F682EDCC}"/>
              </a:ext>
            </a:extLst>
          </p:cNvPr>
          <p:cNvSpPr/>
          <p:nvPr/>
        </p:nvSpPr>
        <p:spPr>
          <a:xfrm>
            <a:off x="4950784" y="287493"/>
            <a:ext cx="2259795" cy="661330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DB107CD-258A-4A79-AFED-1DE703FC4410}"/>
              </a:ext>
            </a:extLst>
          </p:cNvPr>
          <p:cNvSpPr txBox="1"/>
          <p:nvPr/>
        </p:nvSpPr>
        <p:spPr>
          <a:xfrm>
            <a:off x="5035746" y="318372"/>
            <a:ext cx="2303017" cy="523220"/>
          </a:xfrm>
          <a:prstGeom prst="rect">
            <a:avLst/>
          </a:prstGeom>
          <a:noFill/>
        </p:spPr>
        <p:txBody>
          <a:bodyPr wrap="square" lIns="108000" rIns="108000" rtlCol="0" anchor="ctr">
            <a:spAutoFit/>
          </a:bodyPr>
          <a:lstStyle/>
          <a:p>
            <a:pPr marL="0" marR="0" lvl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공모전 소개</a:t>
            </a:r>
            <a:endParaRPr kumimoji="0" lang="ko-KR" altLang="en-US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420CF68E-5EBF-46CE-9D94-732B9849E1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32520" y="0"/>
            <a:ext cx="3564070" cy="6858000"/>
          </a:xfrm>
        </p:spPr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CFA633C-BD40-4164-9DA8-EAF523721CBD}"/>
              </a:ext>
            </a:extLst>
          </p:cNvPr>
          <p:cNvSpPr txBox="1"/>
          <p:nvPr/>
        </p:nvSpPr>
        <p:spPr>
          <a:xfrm>
            <a:off x="5857416" y="1548880"/>
            <a:ext cx="5503418" cy="4001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171450" marR="0" lvl="0" indent="-1714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주제</a:t>
            </a: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: </a:t>
            </a:r>
            <a:r>
              <a:rPr lang="ko-KR" altLang="en-US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팬</a:t>
            </a:r>
            <a:r>
              <a:rPr kumimoji="0" lang="ko-KR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데믹</a:t>
            </a: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시대를 극복할 마케팅 전략 수립</a:t>
            </a: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500FD32-DBDC-451C-954B-0BFB5248C3BB}"/>
              </a:ext>
            </a:extLst>
          </p:cNvPr>
          <p:cNvSpPr txBox="1"/>
          <p:nvPr/>
        </p:nvSpPr>
        <p:spPr>
          <a:xfrm>
            <a:off x="5833288" y="2725966"/>
            <a:ext cx="5383100" cy="646331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171450" marR="0" lvl="0" indent="-1714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목표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: 2019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 및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2020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년도 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4~5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월 업종별 카드 결제 건수 데이터를 활용하여 마케팅 전략 수립</a:t>
            </a:r>
            <a:endParaRPr kumimoji="0" lang="en-US" altLang="ko-KR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FC103FB-DD71-4D48-8D04-8DED96096F7B}"/>
              </a:ext>
            </a:extLst>
          </p:cNvPr>
          <p:cNvSpPr txBox="1"/>
          <p:nvPr/>
        </p:nvSpPr>
        <p:spPr>
          <a:xfrm>
            <a:off x="5833388" y="4067393"/>
            <a:ext cx="5318933" cy="646331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171450" marR="0" lvl="0" indent="-1714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배경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: 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코로나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19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로 인한 소비시장의 변화</a:t>
            </a: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에 따른 적절한 마케팅 전략 필요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</a:p>
        </p:txBody>
      </p:sp>
      <p:pic>
        <p:nvPicPr>
          <p:cNvPr id="1026" name="Picture 2" descr="https://www.samsungcard.com/tool/imgDownload.do?imgPath=attachdext5data20200820200824_140434471_38877.png">
            <a:extLst>
              <a:ext uri="{FF2B5EF4-FFF2-40B4-BE49-F238E27FC236}">
                <a16:creationId xmlns:a16="http://schemas.microsoft.com/office/drawing/2014/main" xmlns="" id="{BC1F6971-3A36-4DB2-963B-0E5C1B400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4849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EEF13D7-5387-4C21-908F-17FDC29E3292}"/>
              </a:ext>
            </a:extLst>
          </p:cNvPr>
          <p:cNvSpPr txBox="1"/>
          <p:nvPr/>
        </p:nvSpPr>
        <p:spPr>
          <a:xfrm>
            <a:off x="5861862" y="5328522"/>
            <a:ext cx="5383101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108000" rIns="108000" rtlCol="0">
            <a:spAutoFit/>
          </a:bodyPr>
          <a:lstStyle/>
          <a:p>
            <a:pPr marL="171450" marR="0" lvl="0" indent="-17145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기대효과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: 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현 코로나 상황에 따른 적절한 마케팅 </a:t>
            </a:r>
            <a:r>
              <a:rPr kumimoji="0" lang="ko-KR" altLang="en-US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전략을 제시함으로써 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소비자의 </a:t>
            </a:r>
            <a:r>
              <a:rPr kumimoji="0" lang="en-US" altLang="ko-KR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needs</a:t>
            </a:r>
            <a:r>
              <a:rPr kumimoji="0" lang="ko-KR" alt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를 충족하고 수익성을 기대할 수 </a:t>
            </a:r>
            <a:r>
              <a:rPr kumimoji="0" lang="ko-KR" altLang="en-US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있음</a:t>
            </a:r>
            <a:endParaRPr kumimoji="0" lang="en-US" altLang="ko-KR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03631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2">
            <a:extLst>
              <a:ext uri="{FF2B5EF4-FFF2-40B4-BE49-F238E27FC236}">
                <a16:creationId xmlns:a16="http://schemas.microsoft.com/office/drawing/2014/main" xmlns="" id="{31126605-BCDF-48EC-9724-C31257FCE87E}"/>
              </a:ext>
            </a:extLst>
          </p:cNvPr>
          <p:cNvGrpSpPr/>
          <p:nvPr/>
        </p:nvGrpSpPr>
        <p:grpSpPr>
          <a:xfrm>
            <a:off x="792757" y="5039649"/>
            <a:ext cx="10128284" cy="256208"/>
            <a:chOff x="395536" y="3212976"/>
            <a:chExt cx="8015714" cy="256208"/>
          </a:xfrm>
        </p:grpSpPr>
        <p:sp>
          <p:nvSpPr>
            <p:cNvPr id="104" name="Rectangle 3">
              <a:extLst>
                <a:ext uri="{FF2B5EF4-FFF2-40B4-BE49-F238E27FC236}">
                  <a16:creationId xmlns:a16="http://schemas.microsoft.com/office/drawing/2014/main" xmlns="" id="{10A51B80-BE25-4B58-AC7D-C71E941EEBE4}"/>
                </a:ext>
              </a:extLst>
            </p:cNvPr>
            <p:cNvSpPr/>
            <p:nvPr/>
          </p:nvSpPr>
          <p:spPr>
            <a:xfrm>
              <a:off x="395536" y="3212976"/>
              <a:ext cx="282028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6" name="Rectangle 3">
              <a:extLst>
                <a:ext uri="{FF2B5EF4-FFF2-40B4-BE49-F238E27FC236}">
                  <a16:creationId xmlns:a16="http://schemas.microsoft.com/office/drawing/2014/main" xmlns="" id="{2FDE795C-A164-4C18-9B13-0560F1A1BE01}"/>
                </a:ext>
              </a:extLst>
            </p:cNvPr>
            <p:cNvSpPr/>
            <p:nvPr/>
          </p:nvSpPr>
          <p:spPr>
            <a:xfrm>
              <a:off x="3131840" y="3212976"/>
              <a:ext cx="2736303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108" name="Rectangle 3">
              <a:extLst>
                <a:ext uri="{FF2B5EF4-FFF2-40B4-BE49-F238E27FC236}">
                  <a16:creationId xmlns:a16="http://schemas.microsoft.com/office/drawing/2014/main" xmlns="" id="{41FD1879-391B-4C63-B6CE-7827F96D06C8}"/>
                </a:ext>
              </a:extLst>
            </p:cNvPr>
            <p:cNvSpPr/>
            <p:nvPr/>
          </p:nvSpPr>
          <p:spPr>
            <a:xfrm>
              <a:off x="5868144" y="3212976"/>
              <a:ext cx="2543106" cy="256208"/>
            </a:xfrm>
            <a:custGeom>
              <a:avLst/>
              <a:gdLst/>
              <a:ahLst/>
              <a:cxnLst/>
              <a:rect l="l" t="t" r="r" b="b"/>
              <a:pathLst>
                <a:path w="1008112" h="256208">
                  <a:moveTo>
                    <a:pt x="0" y="0"/>
                  </a:moveTo>
                  <a:lnTo>
                    <a:pt x="1008112" y="0"/>
                  </a:lnTo>
                  <a:lnTo>
                    <a:pt x="1008112" y="144016"/>
                  </a:lnTo>
                  <a:lnTo>
                    <a:pt x="569127" y="144016"/>
                  </a:lnTo>
                  <a:lnTo>
                    <a:pt x="504055" y="256208"/>
                  </a:lnTo>
                  <a:lnTo>
                    <a:pt x="438984" y="144016"/>
                  </a:lnTo>
                  <a:lnTo>
                    <a:pt x="0" y="1440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1054066" y="5304625"/>
            <a:ext cx="304096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오픈마켓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en-US" sz="16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소셜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소비 비중과 숫자가 가장 크다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쿠팡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위메프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등 잡화를 파는 곳에 어린이 용품 및 장난감이 많기 때문</a:t>
            </a:r>
            <a:endParaRPr lang="en-US" altLang="ko-KR" sz="12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4515517" y="5311509"/>
            <a:ext cx="3040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뷰티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비중 감소가 가장 크다</a:t>
            </a:r>
            <a:endParaRPr lang="en-US" altLang="ko-KR" sz="16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endParaRPr lang="en-US" altLang="ko-KR" sz="16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어린 아이와 보내는 시간이 코로나로 인해 증가했으며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자녀가 어리기에 코로나로 인한 우려가 커 외출을 줄이기 때문이라고 추정</a:t>
            </a:r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EA003B43-0A77-4506-A39F-900E745CDE79}"/>
              </a:ext>
            </a:extLst>
          </p:cNvPr>
          <p:cNvSpPr txBox="1"/>
          <p:nvPr/>
        </p:nvSpPr>
        <p:spPr>
          <a:xfrm>
            <a:off x="7880078" y="5295857"/>
            <a:ext cx="3040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/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호텔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숙박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항공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사</a:t>
            </a:r>
            <a:r>
              <a:rPr lang="en-US" altLang="ko-KR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면세점에 가장 많은 소비를 하는 그룹</a:t>
            </a:r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 defTabSz="914286" latinLnBrk="0"/>
            <a:endParaRPr lang="en-US" altLang="ko-KR" sz="14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algn="ctr" defTabSz="914286" latinLnBrk="0"/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현재 코로나로 인해 소비가 가장 많이 감소했다고 볼 수 있으며</a:t>
            </a:r>
            <a:r>
              <a: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이 항목들에 대한 소비를 어떻게 이끌어 낼지 고안</a:t>
            </a:r>
            <a:endParaRPr lang="en-US" altLang="ko-KR" sz="1400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424" t="9182" r="23515" b="26038"/>
          <a:stretch/>
        </p:blipFill>
        <p:spPr>
          <a:xfrm>
            <a:off x="1709673" y="854546"/>
            <a:ext cx="8498007" cy="4071138"/>
          </a:xfrm>
          <a:prstGeom prst="rect">
            <a:avLst/>
          </a:prstGeom>
        </p:spPr>
      </p:pic>
      <p:sp>
        <p:nvSpPr>
          <p:cNvPr id="12" name="Text Placeholder 1"/>
          <p:cNvSpPr txBox="1">
            <a:spLocks/>
          </p:cNvSpPr>
          <p:nvPr/>
        </p:nvSpPr>
        <p:spPr>
          <a:xfrm>
            <a:off x="3823246" y="150295"/>
            <a:ext cx="4311420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Group 3</a:t>
            </a:r>
            <a:endParaRPr lang="en-US" sz="28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1370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26605" t="30189" r="43183" b="59622"/>
          <a:stretch/>
        </p:blipFill>
        <p:spPr>
          <a:xfrm>
            <a:off x="527814" y="1069081"/>
            <a:ext cx="4857605" cy="921465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l="26533" t="28428" r="32743" b="25393"/>
          <a:stretch/>
        </p:blipFill>
        <p:spPr>
          <a:xfrm>
            <a:off x="527814" y="1903744"/>
            <a:ext cx="4857605" cy="3106864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976" y="1069081"/>
            <a:ext cx="5040172" cy="3941527"/>
          </a:xfrm>
          <a:prstGeom prst="rect">
            <a:avLst/>
          </a:prstGeom>
        </p:spPr>
      </p:pic>
      <p:sp>
        <p:nvSpPr>
          <p:cNvPr id="5" name="Text Placeholder 1"/>
          <p:cNvSpPr txBox="1">
            <a:spLocks/>
          </p:cNvSpPr>
          <p:nvPr/>
        </p:nvSpPr>
        <p:spPr>
          <a:xfrm>
            <a:off x="2216988" y="162113"/>
            <a:ext cx="7392838" cy="61696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rmAutofit fontScale="85000" lnSpcReduction="10000"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부 데이터 분석</a:t>
            </a:r>
            <a:r>
              <a:rPr lang="en-US" altLang="ko-KR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-</a:t>
            </a:r>
            <a:r>
              <a:rPr lang="ko-KR" altLang="en-US" sz="28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가구주 연령별 가구당 월평균 가계수지</a:t>
            </a:r>
            <a:endParaRPr lang="en-US" sz="28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6" name="Rounded Rectangle 13">
            <a:extLst>
              <a:ext uri="{FF2B5EF4-FFF2-40B4-BE49-F238E27FC236}">
                <a16:creationId xmlns:a16="http://schemas.microsoft.com/office/drawing/2014/main" xmlns="" id="{6DF5C207-4E9F-4443-A6C8-630E86FF12AB}"/>
              </a:ext>
            </a:extLst>
          </p:cNvPr>
          <p:cNvSpPr/>
          <p:nvPr/>
        </p:nvSpPr>
        <p:spPr>
          <a:xfrm>
            <a:off x="2031910" y="5300611"/>
            <a:ext cx="8207645" cy="1333102"/>
          </a:xfrm>
          <a:prstGeom prst="roundRect">
            <a:avLst>
              <a:gd name="adj" fmla="val 12448"/>
            </a:avLst>
          </a:prstGeom>
          <a:solidFill>
            <a:schemeClr val="accent2">
              <a:lumMod val="40000"/>
              <a:lumOff val="6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b="1" dirty="0">
              <a:solidFill>
                <a:schemeClr val="tx1"/>
              </a:solidFill>
              <a:ea typeface="08서울남산체 B" panose="02020603020101020101" pitchFamily="18" charset="-127"/>
            </a:endParaRP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40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대는 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Education(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교육비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) 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비중이 현저히 높다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.</a:t>
            </a: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30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대는 새로 가정을 꾸리는 시기라서 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accommodation(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숙박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)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에 대한 비중이 높다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.</a:t>
            </a: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전 연령층에서 두루 높은 비중을 차지하는 것은 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Food(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식품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)</a:t>
            </a: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b="1" dirty="0">
              <a:solidFill>
                <a:schemeClr val="tx1"/>
              </a:solidFill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45594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22">
            <a:extLst>
              <a:ext uri="{FF2B5EF4-FFF2-40B4-BE49-F238E27FC236}">
                <a16:creationId xmlns:a16="http://schemas.microsoft.com/office/drawing/2014/main" xmlns="" id="{ECC316DB-B01E-4E20-8072-74715A47F5A1}"/>
              </a:ext>
            </a:extLst>
          </p:cNvPr>
          <p:cNvSpPr/>
          <p:nvPr/>
        </p:nvSpPr>
        <p:spPr>
          <a:xfrm>
            <a:off x="553185" y="1209197"/>
            <a:ext cx="2635320" cy="32388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0">
            <a:solidFill>
              <a:schemeClr val="accent1"/>
            </a:solidFill>
          </a:ln>
          <a:effectLst>
            <a:innerShdw blurRad="127000" dist="127000" dir="13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xmlns="" id="{285D19AB-2C66-4940-B305-E506961155FB}"/>
              </a:ext>
            </a:extLst>
          </p:cNvPr>
          <p:cNvGrpSpPr/>
          <p:nvPr/>
        </p:nvGrpSpPr>
        <p:grpSpPr>
          <a:xfrm>
            <a:off x="3233145" y="3447605"/>
            <a:ext cx="6347794" cy="6217783"/>
            <a:chOff x="1754163" y="2276872"/>
            <a:chExt cx="5616624" cy="5616624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xmlns="" id="{D22F1D09-594A-4335-9D3C-1A3541CE50A9}"/>
                </a:ext>
              </a:extLst>
            </p:cNvPr>
            <p:cNvGrpSpPr/>
            <p:nvPr/>
          </p:nvGrpSpPr>
          <p:grpSpPr>
            <a:xfrm>
              <a:off x="2068835" y="2581274"/>
              <a:ext cx="5009767" cy="4999063"/>
              <a:chOff x="1754163" y="2276871"/>
              <a:chExt cx="5628651" cy="5616625"/>
            </a:xfrm>
          </p:grpSpPr>
          <p:sp>
            <p:nvSpPr>
              <p:cNvPr id="74" name="Block Arc 73">
                <a:extLst>
                  <a:ext uri="{FF2B5EF4-FFF2-40B4-BE49-F238E27FC236}">
                    <a16:creationId xmlns:a16="http://schemas.microsoft.com/office/drawing/2014/main" xmlns="" id="{ABCFB03E-DD48-47D8-A0CD-DDEFCC73BC83}"/>
                  </a:ext>
                </a:extLst>
              </p:cNvPr>
              <p:cNvSpPr/>
              <p:nvPr/>
            </p:nvSpPr>
            <p:spPr>
              <a:xfrm>
                <a:off x="1754163" y="2276872"/>
                <a:ext cx="5616624" cy="5616624"/>
              </a:xfrm>
              <a:prstGeom prst="blockArc">
                <a:avLst>
                  <a:gd name="adj1" fmla="val 10800000"/>
                  <a:gd name="adj2" fmla="val 21586788"/>
                  <a:gd name="adj3" fmla="val 6977"/>
                </a:avLst>
              </a:prstGeom>
              <a:gradFill>
                <a:gsLst>
                  <a:gs pos="0">
                    <a:schemeClr val="accent1">
                      <a:lumMod val="70000"/>
                      <a:lumOff val="30000"/>
                    </a:schemeClr>
                  </a:gs>
                  <a:gs pos="94000">
                    <a:schemeClr val="accent1">
                      <a:lumMod val="70000"/>
                      <a:lumOff val="30000"/>
                    </a:schemeClr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5" name="Block Arc 74">
                <a:extLst>
                  <a:ext uri="{FF2B5EF4-FFF2-40B4-BE49-F238E27FC236}">
                    <a16:creationId xmlns:a16="http://schemas.microsoft.com/office/drawing/2014/main" xmlns="" id="{C696CABB-B4D5-4E5E-BEA5-02990C3B79A2}"/>
                  </a:ext>
                </a:extLst>
              </p:cNvPr>
              <p:cNvSpPr/>
              <p:nvPr/>
            </p:nvSpPr>
            <p:spPr>
              <a:xfrm>
                <a:off x="1766190" y="2276871"/>
                <a:ext cx="5616624" cy="5616624"/>
              </a:xfrm>
              <a:prstGeom prst="blockArc">
                <a:avLst>
                  <a:gd name="adj1" fmla="val 14227704"/>
                  <a:gd name="adj2" fmla="val 21586788"/>
                  <a:gd name="adj3" fmla="val 6977"/>
                </a:avLst>
              </a:prstGeom>
              <a:gradFill>
                <a:gsLst>
                  <a:gs pos="0">
                    <a:schemeClr val="accent2">
                      <a:lumMod val="70000"/>
                      <a:lumOff val="30000"/>
                    </a:schemeClr>
                  </a:gs>
                  <a:gs pos="94000">
                    <a:schemeClr val="accent2">
                      <a:lumMod val="70000"/>
                      <a:lumOff val="30000"/>
                    </a:schemeClr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6" name="Block Arc 75">
                <a:extLst>
                  <a:ext uri="{FF2B5EF4-FFF2-40B4-BE49-F238E27FC236}">
                    <a16:creationId xmlns:a16="http://schemas.microsoft.com/office/drawing/2014/main" xmlns="" id="{94F73C28-3624-4125-AD3C-4E4E3868B7E9}"/>
                  </a:ext>
                </a:extLst>
              </p:cNvPr>
              <p:cNvSpPr/>
              <p:nvPr/>
            </p:nvSpPr>
            <p:spPr>
              <a:xfrm>
                <a:off x="1754163" y="2276872"/>
                <a:ext cx="5616624" cy="5616624"/>
              </a:xfrm>
              <a:prstGeom prst="blockArc">
                <a:avLst>
                  <a:gd name="adj1" fmla="val 17883415"/>
                  <a:gd name="adj2" fmla="val 21586788"/>
                  <a:gd name="adj3" fmla="val 6977"/>
                </a:avLst>
              </a:prstGeom>
              <a:gradFill>
                <a:gsLst>
                  <a:gs pos="0">
                    <a:schemeClr val="accent3">
                      <a:lumMod val="70000"/>
                      <a:lumOff val="30000"/>
                    </a:schemeClr>
                  </a:gs>
                  <a:gs pos="94000">
                    <a:schemeClr val="accent3">
                      <a:lumMod val="70000"/>
                      <a:lumOff val="30000"/>
                    </a:schemeClr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xmlns="" id="{57785199-1231-4507-831C-2D222D3E88E1}"/>
                </a:ext>
              </a:extLst>
            </p:cNvPr>
            <p:cNvGrpSpPr/>
            <p:nvPr/>
          </p:nvGrpSpPr>
          <p:grpSpPr>
            <a:xfrm>
              <a:off x="1754163" y="2276872"/>
              <a:ext cx="5616624" cy="5616624"/>
              <a:chOff x="1754163" y="2276872"/>
              <a:chExt cx="5616624" cy="5616624"/>
            </a:xfrm>
          </p:grpSpPr>
          <p:sp>
            <p:nvSpPr>
              <p:cNvPr id="70" name="Block Arc 69">
                <a:extLst>
                  <a:ext uri="{FF2B5EF4-FFF2-40B4-BE49-F238E27FC236}">
                    <a16:creationId xmlns:a16="http://schemas.microsoft.com/office/drawing/2014/main" xmlns="" id="{2A4D6252-24F3-4515-BED6-567DE88D1141}"/>
                  </a:ext>
                </a:extLst>
              </p:cNvPr>
              <p:cNvSpPr/>
              <p:nvPr/>
            </p:nvSpPr>
            <p:spPr>
              <a:xfrm>
                <a:off x="1754163" y="2276872"/>
                <a:ext cx="5616624" cy="5616624"/>
              </a:xfrm>
              <a:prstGeom prst="blockArc">
                <a:avLst>
                  <a:gd name="adj1" fmla="val 10800000"/>
                  <a:gd name="adj2" fmla="val 21586788"/>
                  <a:gd name="adj3" fmla="val 6977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1" name="Block Arc 70">
                <a:extLst>
                  <a:ext uri="{FF2B5EF4-FFF2-40B4-BE49-F238E27FC236}">
                    <a16:creationId xmlns:a16="http://schemas.microsoft.com/office/drawing/2014/main" xmlns="" id="{F6986561-6E42-4A50-8979-F09D428B141D}"/>
                  </a:ext>
                </a:extLst>
              </p:cNvPr>
              <p:cNvSpPr/>
              <p:nvPr/>
            </p:nvSpPr>
            <p:spPr>
              <a:xfrm>
                <a:off x="1754163" y="2276872"/>
                <a:ext cx="5616624" cy="5616624"/>
              </a:xfrm>
              <a:prstGeom prst="blockArc">
                <a:avLst>
                  <a:gd name="adj1" fmla="val 14268288"/>
                  <a:gd name="adj2" fmla="val 21586788"/>
                  <a:gd name="adj3" fmla="val 6977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2" name="Block Arc 71">
                <a:extLst>
                  <a:ext uri="{FF2B5EF4-FFF2-40B4-BE49-F238E27FC236}">
                    <a16:creationId xmlns:a16="http://schemas.microsoft.com/office/drawing/2014/main" xmlns="" id="{5E0C1D21-CE32-45A3-BE5C-7DF42E6F61BC}"/>
                  </a:ext>
                </a:extLst>
              </p:cNvPr>
              <p:cNvSpPr/>
              <p:nvPr/>
            </p:nvSpPr>
            <p:spPr>
              <a:xfrm>
                <a:off x="1754163" y="2276872"/>
                <a:ext cx="5616624" cy="5616624"/>
              </a:xfrm>
              <a:prstGeom prst="blockArc">
                <a:avLst>
                  <a:gd name="adj1" fmla="val 17877379"/>
                  <a:gd name="adj2" fmla="val 21586788"/>
                  <a:gd name="adj3" fmla="val 6977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en-US" sz="2700" dirty="0">
                  <a:solidFill>
                    <a:prstClr val="black"/>
                  </a:solidFill>
                  <a:ea typeface="08서울남산체 B" panose="02020603020101020101" pitchFamily="18" charset="-127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C3CDF5BD-6E63-4D22-86AF-2AAEDE9EA0AF}"/>
              </a:ext>
            </a:extLst>
          </p:cNvPr>
          <p:cNvGrpSpPr/>
          <p:nvPr/>
        </p:nvGrpSpPr>
        <p:grpSpPr>
          <a:xfrm>
            <a:off x="9878557" y="3576250"/>
            <a:ext cx="1788639" cy="678649"/>
            <a:chOff x="3233964" y="1954419"/>
            <a:chExt cx="1410044" cy="67864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218AB965-132D-4E78-BC85-B81083A690D0}"/>
                </a:ext>
              </a:extLst>
            </p:cNvPr>
            <p:cNvSpPr txBox="1"/>
            <p:nvPr/>
          </p:nvSpPr>
          <p:spPr>
            <a:xfrm>
              <a:off x="3233964" y="1954419"/>
              <a:ext cx="1400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en-US" altLang="ko-KR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</a:rPr>
                <a:t>Add Text</a:t>
              </a:r>
              <a:endParaRPr lang="ko-KR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37F9449C-C5F5-43CA-B5A7-236985565298}"/>
                </a:ext>
              </a:extLst>
            </p:cNvPr>
            <p:cNvSpPr txBox="1"/>
            <p:nvPr/>
          </p:nvSpPr>
          <p:spPr>
            <a:xfrm>
              <a:off x="3243489" y="2171403"/>
              <a:ext cx="14005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en-US" altLang="ko-KR" sz="1200" dirty="0">
                  <a:solidFill>
                    <a:prstClr val="black">
                      <a:lumMod val="75000"/>
                      <a:lumOff val="25000"/>
                    </a:prstClr>
                  </a:solidFill>
                  <a:ea typeface="08서울남산체 B" panose="02020603020101020101" pitchFamily="18" charset="-127"/>
                </a:rPr>
                <a:t>Easy to change colors, photos and Text. </a:t>
              </a:r>
              <a:endParaRPr lang="ko-KR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A5F585EE-F4D8-498B-BD8D-ABF8EB1320E8}"/>
              </a:ext>
            </a:extLst>
          </p:cNvPr>
          <p:cNvSpPr txBox="1"/>
          <p:nvPr/>
        </p:nvSpPr>
        <p:spPr>
          <a:xfrm>
            <a:off x="4876404" y="4674303"/>
            <a:ext cx="2934089" cy="156966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 defTabSz="914286" latinLnBrk="0"/>
            <a:r>
              <a:rPr lang="ko-KR" altLang="en-US" sz="4800" b="1" dirty="0">
                <a:solidFill>
                  <a:srgbClr val="5EBEE4"/>
                </a:solidFill>
                <a:ea typeface="08서울남산체 B" panose="02020603020101020101" pitchFamily="18" charset="-127"/>
              </a:rPr>
              <a:t>연령대별 카드 제작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886EADA1-08C1-4EE4-98F6-BC48E42AE747}"/>
              </a:ext>
            </a:extLst>
          </p:cNvPr>
          <p:cNvGrpSpPr/>
          <p:nvPr/>
        </p:nvGrpSpPr>
        <p:grpSpPr>
          <a:xfrm>
            <a:off x="3256443" y="6648289"/>
            <a:ext cx="6308750" cy="81273"/>
            <a:chOff x="1780872" y="5229200"/>
            <a:chExt cx="5589541" cy="72008"/>
          </a:xfrm>
        </p:grpSpPr>
        <p:sp>
          <p:nvSpPr>
            <p:cNvPr id="57" name="Rectangle 24">
              <a:extLst>
                <a:ext uri="{FF2B5EF4-FFF2-40B4-BE49-F238E27FC236}">
                  <a16:creationId xmlns:a16="http://schemas.microsoft.com/office/drawing/2014/main" xmlns="" id="{FF6DF057-F8F4-47AA-9BC0-19C6C41520BB}"/>
                </a:ext>
              </a:extLst>
            </p:cNvPr>
            <p:cNvSpPr/>
            <p:nvPr/>
          </p:nvSpPr>
          <p:spPr>
            <a:xfrm>
              <a:off x="17808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8" name="Rectangle 24">
              <a:extLst>
                <a:ext uri="{FF2B5EF4-FFF2-40B4-BE49-F238E27FC236}">
                  <a16:creationId xmlns:a16="http://schemas.microsoft.com/office/drawing/2014/main" xmlns="" id="{B3D804AE-C35C-481C-BAD4-61C9835422DA}"/>
                </a:ext>
              </a:extLst>
            </p:cNvPr>
            <p:cNvSpPr/>
            <p:nvPr/>
          </p:nvSpPr>
          <p:spPr>
            <a:xfrm>
              <a:off x="3177238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9" name="Rectangle 24">
              <a:extLst>
                <a:ext uri="{FF2B5EF4-FFF2-40B4-BE49-F238E27FC236}">
                  <a16:creationId xmlns:a16="http://schemas.microsoft.com/office/drawing/2014/main" xmlns="" id="{6FB4B37D-1F9C-449B-B510-7636083EFD93}"/>
                </a:ext>
              </a:extLst>
            </p:cNvPr>
            <p:cNvSpPr/>
            <p:nvPr/>
          </p:nvSpPr>
          <p:spPr>
            <a:xfrm>
              <a:off x="4573604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60" name="Rectangle 24">
              <a:extLst>
                <a:ext uri="{FF2B5EF4-FFF2-40B4-BE49-F238E27FC236}">
                  <a16:creationId xmlns:a16="http://schemas.microsoft.com/office/drawing/2014/main" xmlns="" id="{0748429F-65A7-4BDB-AC97-E4B3E6ABADBC}"/>
                </a:ext>
              </a:extLst>
            </p:cNvPr>
            <p:cNvSpPr/>
            <p:nvPr/>
          </p:nvSpPr>
          <p:spPr>
            <a:xfrm>
              <a:off x="59699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en-US" sz="2700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7F5D3577-0FAD-4FCA-A062-C804239FFAB1}"/>
              </a:ext>
            </a:extLst>
          </p:cNvPr>
          <p:cNvSpPr txBox="1"/>
          <p:nvPr/>
        </p:nvSpPr>
        <p:spPr>
          <a:xfrm rot="17747156">
            <a:off x="3032428" y="5018030"/>
            <a:ext cx="2281599" cy="762272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171822"/>
              </a:avLst>
            </a:prstTxWarp>
            <a:spAutoFit/>
          </a:bodyPr>
          <a:lstStyle/>
          <a:p>
            <a:pPr algn="ctr" defTabSz="914286" latinLnBrk="0"/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Group 1(</a:t>
            </a:r>
            <a:r>
              <a:rPr lang="ko-KR" altLang="en-US" sz="1600" b="1" dirty="0" err="1">
                <a:solidFill>
                  <a:prstClr val="white"/>
                </a:solidFill>
                <a:ea typeface="08서울남산체 B" panose="02020603020101020101" pitchFamily="18" charset="-127"/>
              </a:rPr>
              <a:t>딩크족</a:t>
            </a:r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) 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카드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C37A44C8-3B73-405E-A840-B94F56DE7AB8}"/>
              </a:ext>
            </a:extLst>
          </p:cNvPr>
          <p:cNvSpPr txBox="1"/>
          <p:nvPr/>
        </p:nvSpPr>
        <p:spPr>
          <a:xfrm>
            <a:off x="5158595" y="3685573"/>
            <a:ext cx="2281599" cy="762271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171822"/>
              </a:avLst>
            </a:prstTxWarp>
            <a:spAutoFit/>
          </a:bodyPr>
          <a:lstStyle/>
          <a:p>
            <a:pPr algn="ctr" defTabSz="914286" latinLnBrk="0"/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Group 2(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중고등학생 자녀</a:t>
            </a:r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) 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카드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78016387-ECD4-4F31-963A-B5AE89C8B1FC}"/>
              </a:ext>
            </a:extLst>
          </p:cNvPr>
          <p:cNvSpPr txBox="1"/>
          <p:nvPr/>
        </p:nvSpPr>
        <p:spPr>
          <a:xfrm rot="3424501">
            <a:off x="7394234" y="4748969"/>
            <a:ext cx="2281599" cy="762271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171822"/>
              </a:avLst>
            </a:prstTxWarp>
            <a:spAutoFit/>
          </a:bodyPr>
          <a:lstStyle/>
          <a:p>
            <a:pPr algn="ctr" defTabSz="914286" latinLnBrk="0"/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Group 3(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유아자녀</a:t>
            </a:r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) 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카드</a:t>
            </a:r>
          </a:p>
        </p:txBody>
      </p:sp>
      <p:cxnSp>
        <p:nvCxnSpPr>
          <p:cNvPr id="65" name="Elbow Connector 34">
            <a:extLst>
              <a:ext uri="{FF2B5EF4-FFF2-40B4-BE49-F238E27FC236}">
                <a16:creationId xmlns:a16="http://schemas.microsoft.com/office/drawing/2014/main" xmlns="" id="{138688E1-9038-4872-A6AD-06F3C0093FE8}"/>
              </a:ext>
            </a:extLst>
          </p:cNvPr>
          <p:cNvCxnSpPr/>
          <p:nvPr/>
        </p:nvCxnSpPr>
        <p:spPr>
          <a:xfrm rot="16200000" flipH="1">
            <a:off x="1913320" y="4319976"/>
            <a:ext cx="1592596" cy="1252729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직사각형 80"/>
          <p:cNvSpPr/>
          <p:nvPr/>
        </p:nvSpPr>
        <p:spPr>
          <a:xfrm>
            <a:off x="552795" y="1451383"/>
            <a:ext cx="2675072" cy="2833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86">
              <a:lnSpc>
                <a:spcPct val="107000"/>
              </a:lnSpc>
              <a:spcAft>
                <a:spcPts val="800"/>
              </a:spcAft>
            </a:pPr>
            <a:r>
              <a:rPr lang="ko-KR" altLang="ko-KR" sz="1400" b="1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취미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: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문화의 날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2~3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일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</a:t>
            </a:r>
            <a:r>
              <a:rPr lang="ko-KR" altLang="en-US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지정하여 해당 날짜에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전시회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스튜디오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(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발레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미술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음악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)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대관 할인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(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스페이스 </a:t>
            </a:r>
            <a:r>
              <a:rPr lang="ko-KR" altLang="ko-KR" sz="1400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클라우드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)</a:t>
            </a:r>
            <a:endParaRPr lang="ko-KR" altLang="ko-KR" sz="1400" kern="1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Times New Roman" panose="02020603050405020304" pitchFamily="18" charset="0"/>
            </a:endParaRPr>
          </a:p>
          <a:p>
            <a:pPr algn="just" defTabSz="914286">
              <a:lnSpc>
                <a:spcPct val="107000"/>
              </a:lnSpc>
              <a:spcAft>
                <a:spcPts val="800"/>
              </a:spcAft>
            </a:pPr>
            <a:r>
              <a:rPr lang="ko-KR" altLang="ko-KR" sz="1400" b="1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오픈마켓</a:t>
            </a:r>
            <a:r>
              <a:rPr lang="en-US" altLang="ko-KR" sz="1400" b="1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/</a:t>
            </a:r>
            <a:r>
              <a:rPr lang="ko-KR" altLang="ko-KR" sz="1400" b="1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소셜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: 5% 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포인트 적립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쿠팡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11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번가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네이버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스마트 스토어</a:t>
            </a:r>
            <a:endParaRPr lang="en-US" altLang="ko-KR" sz="1400" kern="1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Times New Roman" panose="02020603050405020304" pitchFamily="18" charset="0"/>
            </a:endParaRPr>
          </a:p>
          <a:p>
            <a:pPr algn="just" defTabSz="914286">
              <a:lnSpc>
                <a:spcPct val="107000"/>
              </a:lnSpc>
              <a:spcAft>
                <a:spcPts val="800"/>
              </a:spcAft>
            </a:pPr>
            <a:r>
              <a:rPr lang="ko-KR" altLang="ko-KR" sz="1400" b="1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할인점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이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</a:t>
            </a:r>
            <a:r>
              <a:rPr lang="ko-KR" altLang="ko-KR" sz="1400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전문몰보다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비중이 컸는데 할인점 비중이 현저히 낮아지고</a:t>
            </a:r>
            <a:r>
              <a:rPr lang="en-US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ko-KR" sz="1400" kern="1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종합몰</a:t>
            </a:r>
            <a:r>
              <a:rPr lang="ko-KR" altLang="ko-KR" sz="1400" kern="1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스코어에 소비하는 비중이 굉장히 증가</a:t>
            </a:r>
          </a:p>
        </p:txBody>
      </p:sp>
      <p:sp>
        <p:nvSpPr>
          <p:cNvPr id="85" name="Rectangle 10">
            <a:extLst>
              <a:ext uri="{FF2B5EF4-FFF2-40B4-BE49-F238E27FC236}">
                <a16:creationId xmlns:a16="http://schemas.microsoft.com/office/drawing/2014/main" xmlns="" id="{89106013-3C51-49D7-84C8-11E9AECF8DEE}"/>
              </a:ext>
            </a:extLst>
          </p:cNvPr>
          <p:cNvSpPr/>
          <p:nvPr/>
        </p:nvSpPr>
        <p:spPr>
          <a:xfrm>
            <a:off x="9466949" y="1395442"/>
            <a:ext cx="2368192" cy="337599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0">
            <a:solidFill>
              <a:schemeClr val="accent3"/>
            </a:solidFill>
          </a:ln>
          <a:effectLst>
            <a:innerShdw blurRad="127000" dist="127000" dir="13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286"/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</a:p>
          <a:p>
            <a:pPr defTabSz="914286"/>
            <a:r>
              <a:rPr lang="ko-KR" altLang="ko-KR" sz="14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홈데코</a:t>
            </a:r>
            <a:r>
              <a:rPr lang="en-US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ko-KR" sz="1400" b="1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홈인테리어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한샘과 제휴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ko-KR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자녀방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인기품목 월 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회 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0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종 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0%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할인</a:t>
            </a:r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endParaRPr lang="en-US" altLang="ko-KR" sz="1400" b="1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면세점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사 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VIP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고객 대상으로 면세점은 한정 고객들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예약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로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판매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면세점은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재고 남음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항공 </a:t>
            </a:r>
            <a:r>
              <a:rPr lang="ko-KR" altLang="ko-KR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일리지를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면세점 포인트로 전환</a:t>
            </a:r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endParaRPr lang="ko-KR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/>
            <a:r>
              <a:rPr lang="ko-KR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호텔</a:t>
            </a:r>
            <a:r>
              <a:rPr lang="en-US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숙박</a:t>
            </a:r>
            <a:r>
              <a:rPr lang="en-US" altLang="ko-KR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ko-KR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호캉스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할인 패키지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사 홈페이지 통해 결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조식포함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망 업그레이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ko-KR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레이트</a:t>
            </a:r>
            <a:r>
              <a:rPr lang="ko-KR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체크아웃</a:t>
            </a:r>
          </a:p>
          <a:p>
            <a:pPr algn="ctr" defTabSz="914286" latinLnBrk="0"/>
            <a:endParaRPr lang="ko-KR" altLang="en-US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cxnSp>
        <p:nvCxnSpPr>
          <p:cNvPr id="66" name="Elbow Connector 63">
            <a:extLst>
              <a:ext uri="{FF2B5EF4-FFF2-40B4-BE49-F238E27FC236}">
                <a16:creationId xmlns:a16="http://schemas.microsoft.com/office/drawing/2014/main" xmlns="" id="{D068E50F-4D49-45C5-8FBD-9E29D5B28FC8}"/>
              </a:ext>
            </a:extLst>
          </p:cNvPr>
          <p:cNvCxnSpPr>
            <a:cxnSpLocks/>
          </p:cNvCxnSpPr>
          <p:nvPr/>
        </p:nvCxnSpPr>
        <p:spPr>
          <a:xfrm rot="5400000">
            <a:off x="9198328" y="4669430"/>
            <a:ext cx="1551313" cy="122125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16">
            <a:extLst>
              <a:ext uri="{FF2B5EF4-FFF2-40B4-BE49-F238E27FC236}">
                <a16:creationId xmlns:a16="http://schemas.microsoft.com/office/drawing/2014/main" xmlns="" id="{9F89A89A-CD0F-4A71-8067-9326D0E5F9BC}"/>
              </a:ext>
            </a:extLst>
          </p:cNvPr>
          <p:cNvSpPr/>
          <p:nvPr/>
        </p:nvSpPr>
        <p:spPr>
          <a:xfrm>
            <a:off x="4152856" y="616301"/>
            <a:ext cx="3270804" cy="263521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0">
            <a:solidFill>
              <a:schemeClr val="accent2"/>
            </a:solidFill>
          </a:ln>
          <a:effectLst>
            <a:innerShdw blurRad="127000" dist="127000" dir="13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283809" y="784265"/>
            <a:ext cx="290305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86" latinLnBrk="0"/>
            <a:r>
              <a:rPr lang="ko-KR" altLang="en-US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식비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금토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저녁 오프라인외식비 할인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6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~9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시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 :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결제 건수는 매주 토요일에 대부분 가장 높음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일요일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~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화요일에 가장 낮음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+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한카드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외부데이터 요식이 많다</a:t>
            </a:r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r>
              <a:rPr lang="ko-KR" altLang="en-US" sz="1400" b="1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학원비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월실적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비 할인</a:t>
            </a:r>
            <a:endParaRPr lang="en-US" altLang="ko-KR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0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만원 이상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한도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만오천원</a:t>
            </a:r>
            <a:endParaRPr lang="ko-KR" altLang="en-US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80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만원 이상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한도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만원</a:t>
            </a:r>
            <a:endParaRPr lang="ko-KR" altLang="en-US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20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만원 이상</a:t>
            </a:r>
            <a:r>
              <a:rPr lang="en-US" altLang="ko-KR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2</a:t>
            </a:r>
            <a:r>
              <a:rPr lang="ko-KR" altLang="en-US" sz="14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만 </a:t>
            </a:r>
            <a:r>
              <a:rPr lang="ko-KR" altLang="en-US" sz="14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오천원</a:t>
            </a:r>
            <a:endParaRPr lang="ko-KR" altLang="en-US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defTabSz="914286" latinLnBrk="0"/>
            <a:endParaRPr lang="ko-KR" altLang="en-US" sz="14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cxnSp>
        <p:nvCxnSpPr>
          <p:cNvPr id="53" name="Elbow Connector 58">
            <a:extLst>
              <a:ext uri="{FF2B5EF4-FFF2-40B4-BE49-F238E27FC236}">
                <a16:creationId xmlns:a16="http://schemas.microsoft.com/office/drawing/2014/main" xmlns="" id="{1961B74B-BFCF-4C79-9DDB-E386B7CA9F05}"/>
              </a:ext>
            </a:extLst>
          </p:cNvPr>
          <p:cNvCxnSpPr>
            <a:cxnSpLocks/>
          </p:cNvCxnSpPr>
          <p:nvPr/>
        </p:nvCxnSpPr>
        <p:spPr>
          <a:xfrm rot="5400000">
            <a:off x="6721366" y="2957287"/>
            <a:ext cx="761399" cy="21923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직사각형 12"/>
          <p:cNvSpPr/>
          <p:nvPr/>
        </p:nvSpPr>
        <p:spPr>
          <a:xfrm>
            <a:off x="522189" y="869460"/>
            <a:ext cx="2705678" cy="345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나 혼자 산다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9426864" y="1041988"/>
            <a:ext cx="2448362" cy="3355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영 앤 </a:t>
            </a:r>
            <a:r>
              <a:rPr lang="ko-KR" altLang="en-US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리치</a:t>
            </a:r>
            <a:endParaRPr lang="ko-KR" altLang="en-US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128669" y="292806"/>
            <a:ext cx="3319497" cy="3130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ko-KR" altLang="en-US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포 마이 </a:t>
            </a:r>
            <a:r>
              <a:rPr lang="ko-KR" altLang="en-US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키즈</a:t>
            </a:r>
            <a:r>
              <a:rPr lang="en-US" altLang="ko-KR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For my kids)</a:t>
            </a:r>
            <a:endParaRPr lang="ko-KR" altLang="en-US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94379" y="5709528"/>
            <a:ext cx="2511246" cy="8421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앞선 파이 차트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/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외부 데이터 분석을 통해 아이디어 도출</a:t>
            </a:r>
          </a:p>
        </p:txBody>
      </p:sp>
    </p:spTree>
    <p:extLst>
      <p:ext uri="{BB962C8B-B14F-4D97-AF65-F5344CB8AC3E}">
        <p14:creationId xmlns:p14="http://schemas.microsoft.com/office/powerpoint/2010/main" val="13484244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3">
            <a:extLst>
              <a:ext uri="{FF2B5EF4-FFF2-40B4-BE49-F238E27FC236}">
                <a16:creationId xmlns:a16="http://schemas.microsoft.com/office/drawing/2014/main" xmlns="" id="{D3297B33-85D3-4CA8-B1CA-301A6076E9F4}"/>
              </a:ext>
            </a:extLst>
          </p:cNvPr>
          <p:cNvGrpSpPr/>
          <p:nvPr/>
        </p:nvGrpSpPr>
        <p:grpSpPr>
          <a:xfrm>
            <a:off x="977322" y="2054064"/>
            <a:ext cx="10258382" cy="3787938"/>
            <a:chOff x="977322" y="1968339"/>
            <a:chExt cx="10258382" cy="378793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3B14B775-12C8-4843-90B9-6AAD78AB06AC}"/>
                </a:ext>
              </a:extLst>
            </p:cNvPr>
            <p:cNvGrpSpPr/>
            <p:nvPr/>
          </p:nvGrpSpPr>
          <p:grpSpPr>
            <a:xfrm>
              <a:off x="977322" y="1968339"/>
              <a:ext cx="5132957" cy="1028614"/>
              <a:chOff x="-546679" y="1968338"/>
              <a:chExt cx="5132957" cy="1028614"/>
            </a:xfrm>
            <a:solidFill>
              <a:schemeClr val="accent1"/>
            </a:solidFill>
          </p:grpSpPr>
          <p:sp>
            <p:nvSpPr>
              <p:cNvPr id="20" name="Block Arc 19">
                <a:extLst>
                  <a:ext uri="{FF2B5EF4-FFF2-40B4-BE49-F238E27FC236}">
                    <a16:creationId xmlns:a16="http://schemas.microsoft.com/office/drawing/2014/main" xmlns="" id="{FB6A1F82-9893-4B36-B5E8-61BF684C5D5E}"/>
                  </a:ext>
                </a:extLst>
              </p:cNvPr>
              <p:cNvSpPr/>
              <p:nvPr/>
            </p:nvSpPr>
            <p:spPr>
              <a:xfrm>
                <a:off x="-546679" y="1968338"/>
                <a:ext cx="1026000" cy="1026000"/>
              </a:xfrm>
              <a:prstGeom prst="blockArc">
                <a:avLst>
                  <a:gd name="adj1" fmla="val 5349198"/>
                  <a:gd name="adj2" fmla="val 16233715"/>
                  <a:gd name="adj3" fmla="val 1021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solidFill>
                    <a:schemeClr val="tx1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xmlns="" id="{7C3ABBC0-B024-49D4-BD31-406B77B87284}"/>
                  </a:ext>
                </a:extLst>
              </p:cNvPr>
              <p:cNvSpPr/>
              <p:nvPr/>
            </p:nvSpPr>
            <p:spPr>
              <a:xfrm>
                <a:off x="-93722" y="1968338"/>
                <a:ext cx="468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xmlns="" id="{5AC984FD-9299-40E6-BF91-A959FDB38932}"/>
                  </a:ext>
                </a:extLst>
              </p:cNvPr>
              <p:cNvSpPr/>
              <p:nvPr/>
            </p:nvSpPr>
            <p:spPr>
              <a:xfrm>
                <a:off x="-36573" y="2888952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670E5654-2ECA-4DAB-AEC6-0E0AFA55E22B}"/>
                </a:ext>
              </a:extLst>
            </p:cNvPr>
            <p:cNvGrpSpPr/>
            <p:nvPr/>
          </p:nvGrpSpPr>
          <p:grpSpPr>
            <a:xfrm>
              <a:off x="977322" y="3801539"/>
              <a:ext cx="4110106" cy="1028614"/>
              <a:chOff x="-546678" y="3785456"/>
              <a:chExt cx="4110106" cy="1028614"/>
            </a:xfrm>
            <a:solidFill>
              <a:schemeClr val="accent3"/>
            </a:solidFill>
          </p:grpSpPr>
          <p:sp>
            <p:nvSpPr>
              <p:cNvPr id="17" name="Block Arc 16">
                <a:extLst>
                  <a:ext uri="{FF2B5EF4-FFF2-40B4-BE49-F238E27FC236}">
                    <a16:creationId xmlns:a16="http://schemas.microsoft.com/office/drawing/2014/main" xmlns="" id="{B574E956-0C16-431E-A6C4-644DCC6F255A}"/>
                  </a:ext>
                </a:extLst>
              </p:cNvPr>
              <p:cNvSpPr/>
              <p:nvPr/>
            </p:nvSpPr>
            <p:spPr>
              <a:xfrm>
                <a:off x="-546678" y="3785456"/>
                <a:ext cx="1026000" cy="1026000"/>
              </a:xfrm>
              <a:prstGeom prst="blockArc">
                <a:avLst>
                  <a:gd name="adj1" fmla="val 5349198"/>
                  <a:gd name="adj2" fmla="val 16233715"/>
                  <a:gd name="adj3" fmla="val 1021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solidFill>
                    <a:schemeClr val="tx1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xmlns="" id="{448BCCC1-6DD8-43BA-BFEF-D2ECEF7E1C59}"/>
                  </a:ext>
                </a:extLst>
              </p:cNvPr>
              <p:cNvSpPr/>
              <p:nvPr/>
            </p:nvSpPr>
            <p:spPr>
              <a:xfrm>
                <a:off x="-36572" y="3785456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xmlns="" id="{946322DE-CC0B-4FC6-B875-270E2FEF9655}"/>
                  </a:ext>
                </a:extLst>
              </p:cNvPr>
              <p:cNvSpPr/>
              <p:nvPr/>
            </p:nvSpPr>
            <p:spPr>
              <a:xfrm>
                <a:off x="-36572" y="4706070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1ADC62F5-32FD-4212-A463-A53032D3D14E}"/>
                </a:ext>
              </a:extLst>
            </p:cNvPr>
            <p:cNvGrpSpPr/>
            <p:nvPr/>
          </p:nvGrpSpPr>
          <p:grpSpPr>
            <a:xfrm flipH="1">
              <a:off x="7131448" y="2884650"/>
              <a:ext cx="4104256" cy="1028903"/>
              <a:chOff x="-567704" y="3794692"/>
              <a:chExt cx="4104256" cy="1028903"/>
            </a:xfrm>
            <a:solidFill>
              <a:schemeClr val="accent2"/>
            </a:solidFill>
          </p:grpSpPr>
          <p:sp>
            <p:nvSpPr>
              <p:cNvPr id="14" name="Block Arc 13">
                <a:extLst>
                  <a:ext uri="{FF2B5EF4-FFF2-40B4-BE49-F238E27FC236}">
                    <a16:creationId xmlns:a16="http://schemas.microsoft.com/office/drawing/2014/main" xmlns="" id="{F625AA56-1CB7-4846-939E-C1707354E406}"/>
                  </a:ext>
                </a:extLst>
              </p:cNvPr>
              <p:cNvSpPr/>
              <p:nvPr/>
            </p:nvSpPr>
            <p:spPr>
              <a:xfrm>
                <a:off x="-567704" y="3794692"/>
                <a:ext cx="1026000" cy="1026000"/>
              </a:xfrm>
              <a:prstGeom prst="blockArc">
                <a:avLst>
                  <a:gd name="adj1" fmla="val 5349198"/>
                  <a:gd name="adj2" fmla="val 16233715"/>
                  <a:gd name="adj3" fmla="val 1021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solidFill>
                    <a:schemeClr val="tx1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xmlns="" id="{68396D65-15BB-449D-8BD1-7A13347701E3}"/>
                  </a:ext>
                </a:extLst>
              </p:cNvPr>
              <p:cNvSpPr/>
              <p:nvPr/>
            </p:nvSpPr>
            <p:spPr>
              <a:xfrm>
                <a:off x="-76247" y="3794981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xmlns="" id="{B549E2B3-DA9C-48C9-89A2-50D8F9EA466E}"/>
                  </a:ext>
                </a:extLst>
              </p:cNvPr>
              <p:cNvSpPr/>
              <p:nvPr/>
            </p:nvSpPr>
            <p:spPr>
              <a:xfrm>
                <a:off x="-63448" y="4715595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99ED6585-7607-4FD4-B2B8-9C2C8E7A9DBD}"/>
                </a:ext>
              </a:extLst>
            </p:cNvPr>
            <p:cNvGrpSpPr/>
            <p:nvPr/>
          </p:nvGrpSpPr>
          <p:grpSpPr>
            <a:xfrm flipH="1">
              <a:off x="6076128" y="4727663"/>
              <a:ext cx="5159576" cy="1028614"/>
              <a:chOff x="-555823" y="3785456"/>
              <a:chExt cx="5159576" cy="1028614"/>
            </a:xfrm>
            <a:solidFill>
              <a:schemeClr val="accent4"/>
            </a:solidFill>
          </p:grpSpPr>
          <p:sp>
            <p:nvSpPr>
              <p:cNvPr id="11" name="Block Arc 10">
                <a:extLst>
                  <a:ext uri="{FF2B5EF4-FFF2-40B4-BE49-F238E27FC236}">
                    <a16:creationId xmlns:a16="http://schemas.microsoft.com/office/drawing/2014/main" xmlns="" id="{DA658C38-97BD-4344-8B69-BDBC3A07397F}"/>
                  </a:ext>
                </a:extLst>
              </p:cNvPr>
              <p:cNvSpPr/>
              <p:nvPr/>
            </p:nvSpPr>
            <p:spPr>
              <a:xfrm>
                <a:off x="-555823" y="3785456"/>
                <a:ext cx="1026000" cy="1026000"/>
              </a:xfrm>
              <a:prstGeom prst="blockArc">
                <a:avLst>
                  <a:gd name="adj1" fmla="val 5349198"/>
                  <a:gd name="adj2" fmla="val 16233715"/>
                  <a:gd name="adj3" fmla="val 1021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solidFill>
                    <a:schemeClr val="tx1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xmlns="" id="{D8B85779-DB41-4C8C-9054-14905D7B8CD2}"/>
                  </a:ext>
                </a:extLst>
              </p:cNvPr>
              <p:cNvSpPr/>
              <p:nvPr/>
            </p:nvSpPr>
            <p:spPr>
              <a:xfrm>
                <a:off x="-76247" y="3785456"/>
                <a:ext cx="3600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xmlns="" id="{EBD3A9F0-547A-4E74-AB53-E5DDCE0C792A}"/>
                  </a:ext>
                </a:extLst>
              </p:cNvPr>
              <p:cNvSpPr/>
              <p:nvPr/>
            </p:nvSpPr>
            <p:spPr>
              <a:xfrm>
                <a:off x="-112247" y="4706070"/>
                <a:ext cx="4716000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3200" dirty="0"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B472D5A4-A3AD-4460-85FB-94929E7F3383}"/>
                </a:ext>
              </a:extLst>
            </p:cNvPr>
            <p:cNvSpPr/>
            <p:nvPr/>
          </p:nvSpPr>
          <p:spPr>
            <a:xfrm>
              <a:off x="5001022" y="2672976"/>
              <a:ext cx="216024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2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21B4D359-122A-47A7-A70A-B94CC2E1E741}"/>
                </a:ext>
              </a:extLst>
            </p:cNvPr>
            <p:cNvSpPr/>
            <p:nvPr/>
          </p:nvSpPr>
          <p:spPr>
            <a:xfrm>
              <a:off x="5001022" y="3591048"/>
              <a:ext cx="2160240" cy="54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200" dirty="0">
                <a:ea typeface="08서울남산체 B" panose="02020603020101020101" pitchFamily="18" charset="-127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D9E57B4E-AB20-411C-A231-03AA30EDAE91}"/>
                </a:ext>
              </a:extLst>
            </p:cNvPr>
            <p:cNvSpPr/>
            <p:nvPr/>
          </p:nvSpPr>
          <p:spPr>
            <a:xfrm>
              <a:off x="5001022" y="4509120"/>
              <a:ext cx="2160240" cy="54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200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08D8F198-1160-4F7F-B2A2-ACBD47D8A315}"/>
              </a:ext>
            </a:extLst>
          </p:cNvPr>
          <p:cNvSpPr/>
          <p:nvPr/>
        </p:nvSpPr>
        <p:spPr>
          <a:xfrm>
            <a:off x="6133850" y="1835986"/>
            <a:ext cx="532746" cy="532746"/>
          </a:xfrm>
          <a:prstGeom prst="ellipse">
            <a:avLst/>
          </a:prstGeom>
          <a:noFill/>
          <a:ln w="889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ea typeface="08서울남산체 B" panose="02020603020101020101" pitchFamily="18" charset="-127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A35F248E-D81B-40FA-BEC0-8BBB7E6F7B97}"/>
              </a:ext>
            </a:extLst>
          </p:cNvPr>
          <p:cNvSpPr/>
          <p:nvPr/>
        </p:nvSpPr>
        <p:spPr>
          <a:xfrm>
            <a:off x="5557158" y="5512104"/>
            <a:ext cx="532746" cy="532746"/>
          </a:xfrm>
          <a:prstGeom prst="ellipse">
            <a:avLst/>
          </a:prstGeom>
          <a:noFill/>
          <a:ln w="889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ea typeface="08서울남산체 B" panose="02020603020101020101" pitchFamily="18" charset="-127"/>
            </a:endParaRPr>
          </a:p>
        </p:txBody>
      </p:sp>
      <p:sp>
        <p:nvSpPr>
          <p:cNvPr id="25" name="Left Arrow 9215">
            <a:extLst>
              <a:ext uri="{FF2B5EF4-FFF2-40B4-BE49-F238E27FC236}">
                <a16:creationId xmlns:a16="http://schemas.microsoft.com/office/drawing/2014/main" xmlns="" id="{F301D612-5EDD-4875-A461-CFB55576F1AA}"/>
              </a:ext>
            </a:extLst>
          </p:cNvPr>
          <p:cNvSpPr/>
          <p:nvPr/>
        </p:nvSpPr>
        <p:spPr>
          <a:xfrm>
            <a:off x="6292211" y="1981200"/>
            <a:ext cx="216024" cy="242316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ea typeface="08서울남산체 B" panose="02020603020101020101" pitchFamily="18" charset="-127"/>
            </a:endParaRPr>
          </a:p>
        </p:txBody>
      </p:sp>
      <p:sp>
        <p:nvSpPr>
          <p:cNvPr id="26" name="Left Arrow 43">
            <a:extLst>
              <a:ext uri="{FF2B5EF4-FFF2-40B4-BE49-F238E27FC236}">
                <a16:creationId xmlns:a16="http://schemas.microsoft.com/office/drawing/2014/main" xmlns="" id="{634001C6-4D83-4901-9406-FB76B0484A5A}"/>
              </a:ext>
            </a:extLst>
          </p:cNvPr>
          <p:cNvSpPr/>
          <p:nvPr/>
        </p:nvSpPr>
        <p:spPr>
          <a:xfrm>
            <a:off x="5715519" y="5657318"/>
            <a:ext cx="216024" cy="242316"/>
          </a:xfrm>
          <a:prstGeom prst="lef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ea typeface="08서울남산체 B" panose="02020603020101020101" pitchFamily="18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88AAAAB-7BBC-40C4-B3D9-6D2A4C650411}"/>
              </a:ext>
            </a:extLst>
          </p:cNvPr>
          <p:cNvSpPr txBox="1"/>
          <p:nvPr/>
        </p:nvSpPr>
        <p:spPr>
          <a:xfrm>
            <a:off x="1347403" y="2225422"/>
            <a:ext cx="3503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2. </a:t>
            </a:r>
            <a:r>
              <a:rPr lang="ko-KR" altLang="en-US" b="1" dirty="0" err="1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네이버</a:t>
            </a:r>
            <a:r>
              <a:rPr lang="ko-KR" altLang="en-US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b="1" dirty="0" err="1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블로그</a:t>
            </a:r>
            <a:r>
              <a:rPr lang="ko-KR" altLang="en-US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 리뷰 </a:t>
            </a:r>
            <a:r>
              <a:rPr lang="ko-KR" altLang="en-US" b="1" dirty="0" err="1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크롤링을</a:t>
            </a:r>
            <a:r>
              <a:rPr lang="ko-KR" altLang="en-US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 통한 자료 수집</a:t>
            </a:r>
            <a:endParaRPr lang="ko-KR" altLang="en-US" b="1" dirty="0">
              <a:solidFill>
                <a:schemeClr val="accent1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D79B0C97-3723-46F6-BA91-E5E39B12D747}"/>
              </a:ext>
            </a:extLst>
          </p:cNvPr>
          <p:cNvSpPr txBox="1"/>
          <p:nvPr/>
        </p:nvSpPr>
        <p:spPr>
          <a:xfrm>
            <a:off x="1354470" y="4020187"/>
            <a:ext cx="3302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4. </a:t>
            </a:r>
            <a:r>
              <a:rPr lang="ko-KR" altLang="en-US" sz="1600" b="1" dirty="0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백화점</a:t>
            </a:r>
            <a:r>
              <a:rPr lang="en-US" altLang="ko-KR" sz="1600" b="1" dirty="0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b="1" dirty="0" err="1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대형마트의</a:t>
            </a:r>
            <a:r>
              <a:rPr lang="ko-KR" altLang="en-US" sz="1600" b="1" dirty="0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 전년 동월대비 매출 증감 그래프 분석을 통한 </a:t>
            </a:r>
            <a:r>
              <a:rPr lang="ko-KR" altLang="en-US" sz="1600" b="1" dirty="0" err="1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인사이트</a:t>
            </a:r>
            <a:r>
              <a:rPr lang="ko-KR" altLang="en-US" sz="1600" b="1" dirty="0" smtClean="0">
                <a:solidFill>
                  <a:schemeClr val="accent3"/>
                </a:solidFill>
                <a:ea typeface="08서울남산체 B" panose="02020603020101020101" pitchFamily="18" charset="-127"/>
                <a:cs typeface="Arial" pitchFamily="34" charset="0"/>
              </a:rPr>
              <a:t> 도출</a:t>
            </a:r>
            <a:endParaRPr lang="ko-KR" altLang="en-US" sz="1600" b="1" dirty="0">
              <a:solidFill>
                <a:schemeClr val="accent3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42D46010-6905-44BE-B5CD-DC4F2A59B429}"/>
              </a:ext>
            </a:extLst>
          </p:cNvPr>
          <p:cNvSpPr txBox="1"/>
          <p:nvPr/>
        </p:nvSpPr>
        <p:spPr>
          <a:xfrm>
            <a:off x="7372498" y="3913399"/>
            <a:ext cx="32514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ko-KR" altLang="en-US" sz="1600" b="1" dirty="0">
              <a:solidFill>
                <a:schemeClr val="accent2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47FD0E57-1126-40E3-A20E-5ED61B4B1C72}"/>
              </a:ext>
            </a:extLst>
          </p:cNvPr>
          <p:cNvSpPr txBox="1"/>
          <p:nvPr/>
        </p:nvSpPr>
        <p:spPr>
          <a:xfrm>
            <a:off x="6861856" y="5010987"/>
            <a:ext cx="3762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5. </a:t>
            </a:r>
            <a:r>
              <a:rPr lang="ko-KR" altLang="en-US" b="1" dirty="0" err="1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종합몰</a:t>
            </a:r>
            <a:r>
              <a:rPr lang="en-US" altLang="ko-KR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/</a:t>
            </a:r>
            <a:r>
              <a:rPr lang="ko-KR" altLang="en-US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할인점에 대한 구체적인 </a:t>
            </a:r>
            <a:endParaRPr lang="en-US" altLang="ko-KR" b="1" dirty="0" smtClean="0">
              <a:solidFill>
                <a:schemeClr val="accent4"/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algn="r"/>
            <a:r>
              <a:rPr lang="ko-KR" altLang="en-US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전략 제시</a:t>
            </a:r>
            <a:endParaRPr lang="ko-KR" altLang="en-US" b="1" dirty="0">
              <a:solidFill>
                <a:schemeClr val="accent4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95EA50FA-7E7F-4CE4-956A-95FC8C9A1379}"/>
              </a:ext>
            </a:extLst>
          </p:cNvPr>
          <p:cNvSpPr txBox="1"/>
          <p:nvPr/>
        </p:nvSpPr>
        <p:spPr>
          <a:xfrm>
            <a:off x="2296433" y="5398519"/>
            <a:ext cx="3128382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6. V-log</a:t>
            </a:r>
            <a:r>
              <a:rPr lang="ko-KR" altLang="en-US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 제작을 통한 </a:t>
            </a:r>
            <a:r>
              <a:rPr lang="en-US" altLang="ko-KR" b="1" dirty="0" smtClean="0">
                <a:solidFill>
                  <a:schemeClr val="accent4"/>
                </a:solidFill>
                <a:ea typeface="08서울남산체 B" panose="02020603020101020101" pitchFamily="18" charset="-127"/>
                <a:cs typeface="Arial" pitchFamily="34" charset="0"/>
              </a:rPr>
              <a:t>Promotion</a:t>
            </a:r>
            <a:endParaRPr lang="ko-KR" altLang="en-US" b="1" dirty="0">
              <a:solidFill>
                <a:schemeClr val="accent4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44AAF47-F283-459B-8A7A-88449814E8C5}"/>
              </a:ext>
            </a:extLst>
          </p:cNvPr>
          <p:cNvSpPr txBox="1"/>
          <p:nvPr/>
        </p:nvSpPr>
        <p:spPr>
          <a:xfrm>
            <a:off x="7063708" y="1779192"/>
            <a:ext cx="343220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1. </a:t>
            </a:r>
            <a:r>
              <a:rPr lang="ko-KR" altLang="en-US" b="1" dirty="0" err="1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신한카드</a:t>
            </a:r>
            <a:r>
              <a:rPr lang="ko-KR" altLang="en-US" b="1" dirty="0" smtClean="0">
                <a:solidFill>
                  <a:schemeClr val="accent1"/>
                </a:solidFill>
                <a:ea typeface="08서울남산체 B" panose="02020603020101020101" pitchFamily="18" charset="-127"/>
                <a:cs typeface="Arial" pitchFamily="34" charset="0"/>
              </a:rPr>
              <a:t> 오프라인 매출 데이터 분석</a:t>
            </a:r>
            <a:endParaRPr lang="ko-KR" altLang="en-US" b="1" dirty="0">
              <a:solidFill>
                <a:schemeClr val="accent1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228260" y="3124669"/>
            <a:ext cx="35761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b="1" dirty="0" smtClean="0">
                <a:solidFill>
                  <a:schemeClr val="accent2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3. </a:t>
            </a:r>
            <a:r>
              <a:rPr lang="ko-KR" altLang="en-US" b="1" dirty="0" err="1" smtClean="0">
                <a:solidFill>
                  <a:schemeClr val="accent2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워드클라우드</a:t>
            </a:r>
            <a:r>
              <a:rPr lang="ko-KR" altLang="en-US" b="1" dirty="0" smtClean="0">
                <a:solidFill>
                  <a:schemeClr val="accent2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기법을 통한 소비자 의견 시각화</a:t>
            </a:r>
            <a:endParaRPr lang="ko-KR" altLang="en-US" b="1" dirty="0">
              <a:solidFill>
                <a:schemeClr val="accent2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2" name="Parallelogram 30">
            <a:extLst>
              <a:ext uri="{FF2B5EF4-FFF2-40B4-BE49-F238E27FC236}">
                <a16:creationId xmlns:a16="http://schemas.microsoft.com/office/drawing/2014/main" xmlns="" id="{07A9DF64-EAEC-4F98-A0C9-E2239CA0F425}"/>
              </a:ext>
            </a:extLst>
          </p:cNvPr>
          <p:cNvSpPr/>
          <p:nvPr/>
        </p:nvSpPr>
        <p:spPr>
          <a:xfrm flipH="1">
            <a:off x="5826965" y="3709521"/>
            <a:ext cx="454983" cy="455368"/>
          </a:xfrm>
          <a:custGeom>
            <a:avLst/>
            <a:gdLst/>
            <a:ahLst/>
            <a:cxnLst/>
            <a:rect l="l" t="t" r="r" b="b"/>
            <a:pathLst>
              <a:path w="3240000" h="3248012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3" name="Rounded Rectangle 5">
            <a:extLst>
              <a:ext uri="{FF2B5EF4-FFF2-40B4-BE49-F238E27FC236}">
                <a16:creationId xmlns:a16="http://schemas.microsoft.com/office/drawing/2014/main" xmlns="" id="{B5A177C8-7AB0-4E40-873A-70F231B3FA06}"/>
              </a:ext>
            </a:extLst>
          </p:cNvPr>
          <p:cNvSpPr/>
          <p:nvPr/>
        </p:nvSpPr>
        <p:spPr>
          <a:xfrm flipH="1">
            <a:off x="5854699" y="2827984"/>
            <a:ext cx="504633" cy="416291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4" name="Rectangle 18">
            <a:extLst>
              <a:ext uri="{FF2B5EF4-FFF2-40B4-BE49-F238E27FC236}">
                <a16:creationId xmlns:a16="http://schemas.microsoft.com/office/drawing/2014/main" xmlns="" id="{D8BFBE69-EC90-491A-A905-789398F4B3A8}"/>
              </a:ext>
            </a:extLst>
          </p:cNvPr>
          <p:cNvSpPr/>
          <p:nvPr/>
        </p:nvSpPr>
        <p:spPr>
          <a:xfrm>
            <a:off x="5820355" y="4688466"/>
            <a:ext cx="491054" cy="390153"/>
          </a:xfrm>
          <a:custGeom>
            <a:avLst/>
            <a:gdLst/>
            <a:ahLst/>
            <a:cxnLst/>
            <a:rect l="l" t="t" r="r" b="b"/>
            <a:pathLst>
              <a:path w="3240000" h="2574247">
                <a:moveTo>
                  <a:pt x="2393400" y="1814089"/>
                </a:moveTo>
                <a:cubicBezTo>
                  <a:pt x="2363577" y="1814089"/>
                  <a:pt x="2339400" y="1838266"/>
                  <a:pt x="2339400" y="1868089"/>
                </a:cubicBezTo>
                <a:cubicBezTo>
                  <a:pt x="2339400" y="1897912"/>
                  <a:pt x="2363577" y="1922089"/>
                  <a:pt x="2393400" y="1922089"/>
                </a:cubicBezTo>
                <a:lnTo>
                  <a:pt x="2573400" y="1922089"/>
                </a:lnTo>
                <a:cubicBezTo>
                  <a:pt x="2603223" y="1922089"/>
                  <a:pt x="2627400" y="1897912"/>
                  <a:pt x="2627400" y="1868089"/>
                </a:cubicBezTo>
                <a:cubicBezTo>
                  <a:pt x="2627400" y="1838266"/>
                  <a:pt x="2603223" y="1814089"/>
                  <a:pt x="2573400" y="1814089"/>
                </a:cubicBezTo>
                <a:close/>
                <a:moveTo>
                  <a:pt x="173344" y="1814089"/>
                </a:moveTo>
                <a:cubicBezTo>
                  <a:pt x="143521" y="1814089"/>
                  <a:pt x="119344" y="1838266"/>
                  <a:pt x="119344" y="1868089"/>
                </a:cubicBezTo>
                <a:cubicBezTo>
                  <a:pt x="119344" y="1897912"/>
                  <a:pt x="143521" y="1922089"/>
                  <a:pt x="173344" y="1922089"/>
                </a:cubicBezTo>
                <a:lnTo>
                  <a:pt x="353344" y="1922089"/>
                </a:lnTo>
                <a:cubicBezTo>
                  <a:pt x="383167" y="1922089"/>
                  <a:pt x="407344" y="1897912"/>
                  <a:pt x="407344" y="1868089"/>
                </a:cubicBezTo>
                <a:cubicBezTo>
                  <a:pt x="407344" y="1838266"/>
                  <a:pt x="383167" y="1814089"/>
                  <a:pt x="353344" y="1814089"/>
                </a:cubicBezTo>
                <a:close/>
                <a:moveTo>
                  <a:pt x="2933496" y="1796081"/>
                </a:moveTo>
                <a:cubicBezTo>
                  <a:pt x="2893727" y="1796081"/>
                  <a:pt x="2861488" y="1828320"/>
                  <a:pt x="2861488" y="1868089"/>
                </a:cubicBezTo>
                <a:cubicBezTo>
                  <a:pt x="2861488" y="1907858"/>
                  <a:pt x="2893727" y="1940097"/>
                  <a:pt x="2933496" y="1940097"/>
                </a:cubicBezTo>
                <a:cubicBezTo>
                  <a:pt x="2973265" y="1940097"/>
                  <a:pt x="3005504" y="1907858"/>
                  <a:pt x="3005504" y="1868089"/>
                </a:cubicBezTo>
                <a:cubicBezTo>
                  <a:pt x="3005504" y="1828320"/>
                  <a:pt x="2973265" y="1796081"/>
                  <a:pt x="2933496" y="1796081"/>
                </a:cubicBezTo>
                <a:close/>
                <a:moveTo>
                  <a:pt x="119344" y="122856"/>
                </a:moveTo>
                <a:lnTo>
                  <a:pt x="119344" y="1728192"/>
                </a:lnTo>
                <a:lnTo>
                  <a:pt x="3120656" y="1728192"/>
                </a:lnTo>
                <a:lnTo>
                  <a:pt x="3120656" y="122856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2016224"/>
                </a:lnTo>
                <a:lnTo>
                  <a:pt x="1812079" y="2016224"/>
                </a:lnTo>
                <a:lnTo>
                  <a:pt x="1857107" y="2320159"/>
                </a:lnTo>
                <a:lnTo>
                  <a:pt x="2357140" y="2320159"/>
                </a:lnTo>
                <a:cubicBezTo>
                  <a:pt x="2427304" y="2320159"/>
                  <a:pt x="2484184" y="2377039"/>
                  <a:pt x="2484184" y="2447203"/>
                </a:cubicBezTo>
                <a:lnTo>
                  <a:pt x="2484184" y="2574247"/>
                </a:lnTo>
                <a:lnTo>
                  <a:pt x="755992" y="2574247"/>
                </a:lnTo>
                <a:lnTo>
                  <a:pt x="755992" y="2447203"/>
                </a:lnTo>
                <a:cubicBezTo>
                  <a:pt x="755992" y="2377039"/>
                  <a:pt x="812872" y="2320159"/>
                  <a:pt x="883036" y="2320159"/>
                </a:cubicBezTo>
                <a:lnTo>
                  <a:pt x="1382894" y="2320159"/>
                </a:lnTo>
                <a:lnTo>
                  <a:pt x="1427922" y="2016224"/>
                </a:lnTo>
                <a:lnTo>
                  <a:pt x="0" y="2016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3" name="Text Placeholder 1"/>
          <p:cNvSpPr txBox="1">
            <a:spLocks/>
          </p:cNvSpPr>
          <p:nvPr/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08서울남산체 B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dirty="0" smtClean="0"/>
              <a:t>Step 4. </a:t>
            </a:r>
            <a:r>
              <a:rPr lang="ko-KR" altLang="en-US" sz="4400" dirty="0" err="1" smtClean="0"/>
              <a:t>종합몰</a:t>
            </a:r>
            <a:r>
              <a:rPr lang="en-US" altLang="ko-KR" sz="4400" dirty="0" smtClean="0"/>
              <a:t>/</a:t>
            </a:r>
            <a:r>
              <a:rPr lang="ko-KR" altLang="en-US" sz="4400" dirty="0" smtClean="0"/>
              <a:t>할인점 추출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89164328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Why </a:t>
            </a:r>
            <a:r>
              <a:rPr lang="ko-KR" altLang="en-US" sz="4400" dirty="0" err="1"/>
              <a:t>종합몰</a:t>
            </a:r>
            <a:r>
              <a:rPr lang="en-US" altLang="ko-KR" sz="4400" dirty="0"/>
              <a:t>/</a:t>
            </a:r>
            <a:r>
              <a:rPr lang="ko-KR" altLang="en-US" sz="4400" dirty="0"/>
              <a:t>할인점</a:t>
            </a:r>
            <a:r>
              <a:rPr lang="en-US" altLang="ko-KR" sz="4400" dirty="0"/>
              <a:t>?</a:t>
            </a:r>
            <a:endParaRPr lang="en-US" sz="4400" dirty="0"/>
          </a:p>
        </p:txBody>
      </p:sp>
      <p:grpSp>
        <p:nvGrpSpPr>
          <p:cNvPr id="3" name="그룹 8">
            <a:extLst>
              <a:ext uri="{FF2B5EF4-FFF2-40B4-BE49-F238E27FC236}">
                <a16:creationId xmlns:a16="http://schemas.microsoft.com/office/drawing/2014/main" xmlns="" id="{8F7CF1C4-EF35-48F2-93E9-E60CEB25C700}"/>
              </a:ext>
            </a:extLst>
          </p:cNvPr>
          <p:cNvGrpSpPr/>
          <p:nvPr/>
        </p:nvGrpSpPr>
        <p:grpSpPr>
          <a:xfrm>
            <a:off x="-33426" y="1097956"/>
            <a:ext cx="12191999" cy="1160647"/>
            <a:chOff x="1" y="1412530"/>
            <a:chExt cx="12191999" cy="1160647"/>
          </a:xfrm>
        </p:grpSpPr>
        <p:sp>
          <p:nvSpPr>
            <p:cNvPr id="4" name="Rectangle 35">
              <a:extLst>
                <a:ext uri="{FF2B5EF4-FFF2-40B4-BE49-F238E27FC236}">
                  <a16:creationId xmlns:a16="http://schemas.microsoft.com/office/drawing/2014/main" xmlns="" id="{B6C7D413-79A6-41AA-B322-4CD1CBF2BD90}"/>
                </a:ext>
              </a:extLst>
            </p:cNvPr>
            <p:cNvSpPr/>
            <p:nvPr/>
          </p:nvSpPr>
          <p:spPr>
            <a:xfrm>
              <a:off x="1" y="1412530"/>
              <a:ext cx="3032161" cy="1160647"/>
            </a:xfrm>
            <a:custGeom>
              <a:avLst/>
              <a:gdLst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842946 w 3079941"/>
                <a:gd name="connsiteY405" fmla="*/ 1160647 h 1160647"/>
                <a:gd name="connsiteX406" fmla="*/ 200958 w 3079941"/>
                <a:gd name="connsiteY406" fmla="*/ 1160647 h 1160647"/>
                <a:gd name="connsiteX407" fmla="*/ 200958 w 3079941"/>
                <a:gd name="connsiteY407" fmla="*/ 1126882 h 1160647"/>
                <a:gd name="connsiteX408" fmla="*/ 0 w 3079941"/>
                <a:gd name="connsiteY408" fmla="*/ 1126882 h 1160647"/>
                <a:gd name="connsiteX409" fmla="*/ 0 w 3079941"/>
                <a:gd name="connsiteY409" fmla="*/ 915339 h 1160647"/>
                <a:gd name="connsiteX410" fmla="*/ 103377 w 3079941"/>
                <a:gd name="connsiteY410" fmla="*/ 915339 h 1160647"/>
                <a:gd name="connsiteX411" fmla="*/ 103377 w 3079941"/>
                <a:gd name="connsiteY411" fmla="*/ 886329 h 1160647"/>
                <a:gd name="connsiteX412" fmla="*/ 55096 w 3079941"/>
                <a:gd name="connsiteY412" fmla="*/ 886329 h 1160647"/>
                <a:gd name="connsiteX413" fmla="*/ 55096 w 3079941"/>
                <a:gd name="connsiteY413" fmla="*/ 724196 h 1160647"/>
                <a:gd name="connsiteX414" fmla="*/ 75363 w 3079941"/>
                <a:gd name="connsiteY414" fmla="*/ 724196 h 1160647"/>
                <a:gd name="connsiteX415" fmla="*/ 75870 w 3079941"/>
                <a:gd name="connsiteY415" fmla="*/ 723115 h 1160647"/>
                <a:gd name="connsiteX416" fmla="*/ 79416 w 3079941"/>
                <a:gd name="connsiteY416" fmla="*/ 715549 h 1160647"/>
                <a:gd name="connsiteX417" fmla="*/ 81190 w 3079941"/>
                <a:gd name="connsiteY417" fmla="*/ 715819 h 1160647"/>
                <a:gd name="connsiteX418" fmla="*/ 93603 w 3079941"/>
                <a:gd name="connsiteY418" fmla="*/ 717710 h 1160647"/>
                <a:gd name="connsiteX419" fmla="*/ 94110 w 3079941"/>
                <a:gd name="connsiteY419" fmla="*/ 719062 h 1160647"/>
                <a:gd name="connsiteX420" fmla="*/ 97656 w 3079941"/>
                <a:gd name="connsiteY420" fmla="*/ 728519 h 1160647"/>
                <a:gd name="connsiteX421" fmla="*/ 124003 w 3079941"/>
                <a:gd name="connsiteY421" fmla="*/ 730681 h 1160647"/>
                <a:gd name="connsiteX422" fmla="*/ 124003 w 3079941"/>
                <a:gd name="connsiteY422" fmla="*/ 607460 h 1160647"/>
                <a:gd name="connsiteX423" fmla="*/ 126030 w 3079941"/>
                <a:gd name="connsiteY423" fmla="*/ 607460 h 1160647"/>
                <a:gd name="connsiteX424" fmla="*/ 140217 w 3079941"/>
                <a:gd name="connsiteY424" fmla="*/ 607460 h 1160647"/>
                <a:gd name="connsiteX425" fmla="*/ 140217 w 3079941"/>
                <a:gd name="connsiteY425" fmla="*/ 471268 h 1160647"/>
                <a:gd name="connsiteX426" fmla="*/ 141990 w 3079941"/>
                <a:gd name="connsiteY426" fmla="*/ 471268 h 1160647"/>
                <a:gd name="connsiteX427" fmla="*/ 154404 w 3079941"/>
                <a:gd name="connsiteY427" fmla="*/ 471268 h 1160647"/>
                <a:gd name="connsiteX428" fmla="*/ 154404 w 3079941"/>
                <a:gd name="connsiteY428" fmla="*/ 356694 h 1160647"/>
                <a:gd name="connsiteX429" fmla="*/ 158457 w 3079941"/>
                <a:gd name="connsiteY429" fmla="*/ 328590 h 1160647"/>
                <a:gd name="connsiteX430" fmla="*/ 160484 w 3079941"/>
                <a:gd name="connsiteY430" fmla="*/ 328590 h 1160647"/>
                <a:gd name="connsiteX431" fmla="*/ 174671 w 3079941"/>
                <a:gd name="connsiteY431" fmla="*/ 328590 h 1160647"/>
                <a:gd name="connsiteX432" fmla="*/ 211151 w 3079941"/>
                <a:gd name="connsiteY432" fmla="*/ 246443 h 1160647"/>
                <a:gd name="connsiteX433" fmla="*/ 215205 w 3079941"/>
                <a:gd name="connsiteY433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00958 w 3079941"/>
                <a:gd name="connsiteY405" fmla="*/ 1160647 h 1160647"/>
                <a:gd name="connsiteX406" fmla="*/ 200958 w 3079941"/>
                <a:gd name="connsiteY406" fmla="*/ 1126882 h 1160647"/>
                <a:gd name="connsiteX407" fmla="*/ 0 w 3079941"/>
                <a:gd name="connsiteY407" fmla="*/ 1126882 h 1160647"/>
                <a:gd name="connsiteX408" fmla="*/ 0 w 3079941"/>
                <a:gd name="connsiteY408" fmla="*/ 915339 h 1160647"/>
                <a:gd name="connsiteX409" fmla="*/ 103377 w 3079941"/>
                <a:gd name="connsiteY409" fmla="*/ 915339 h 1160647"/>
                <a:gd name="connsiteX410" fmla="*/ 103377 w 3079941"/>
                <a:gd name="connsiteY410" fmla="*/ 886329 h 1160647"/>
                <a:gd name="connsiteX411" fmla="*/ 55096 w 3079941"/>
                <a:gd name="connsiteY411" fmla="*/ 886329 h 1160647"/>
                <a:gd name="connsiteX412" fmla="*/ 55096 w 3079941"/>
                <a:gd name="connsiteY412" fmla="*/ 724196 h 1160647"/>
                <a:gd name="connsiteX413" fmla="*/ 75363 w 3079941"/>
                <a:gd name="connsiteY413" fmla="*/ 724196 h 1160647"/>
                <a:gd name="connsiteX414" fmla="*/ 75870 w 3079941"/>
                <a:gd name="connsiteY414" fmla="*/ 723115 h 1160647"/>
                <a:gd name="connsiteX415" fmla="*/ 79416 w 3079941"/>
                <a:gd name="connsiteY415" fmla="*/ 715549 h 1160647"/>
                <a:gd name="connsiteX416" fmla="*/ 81190 w 3079941"/>
                <a:gd name="connsiteY416" fmla="*/ 715819 h 1160647"/>
                <a:gd name="connsiteX417" fmla="*/ 93603 w 3079941"/>
                <a:gd name="connsiteY417" fmla="*/ 717710 h 1160647"/>
                <a:gd name="connsiteX418" fmla="*/ 94110 w 3079941"/>
                <a:gd name="connsiteY418" fmla="*/ 719062 h 1160647"/>
                <a:gd name="connsiteX419" fmla="*/ 97656 w 3079941"/>
                <a:gd name="connsiteY419" fmla="*/ 728519 h 1160647"/>
                <a:gd name="connsiteX420" fmla="*/ 124003 w 3079941"/>
                <a:gd name="connsiteY420" fmla="*/ 730681 h 1160647"/>
                <a:gd name="connsiteX421" fmla="*/ 124003 w 3079941"/>
                <a:gd name="connsiteY421" fmla="*/ 607460 h 1160647"/>
                <a:gd name="connsiteX422" fmla="*/ 126030 w 3079941"/>
                <a:gd name="connsiteY422" fmla="*/ 607460 h 1160647"/>
                <a:gd name="connsiteX423" fmla="*/ 140217 w 3079941"/>
                <a:gd name="connsiteY423" fmla="*/ 607460 h 1160647"/>
                <a:gd name="connsiteX424" fmla="*/ 140217 w 3079941"/>
                <a:gd name="connsiteY424" fmla="*/ 471268 h 1160647"/>
                <a:gd name="connsiteX425" fmla="*/ 141990 w 3079941"/>
                <a:gd name="connsiteY425" fmla="*/ 471268 h 1160647"/>
                <a:gd name="connsiteX426" fmla="*/ 154404 w 3079941"/>
                <a:gd name="connsiteY426" fmla="*/ 471268 h 1160647"/>
                <a:gd name="connsiteX427" fmla="*/ 154404 w 3079941"/>
                <a:gd name="connsiteY427" fmla="*/ 356694 h 1160647"/>
                <a:gd name="connsiteX428" fmla="*/ 158457 w 3079941"/>
                <a:gd name="connsiteY428" fmla="*/ 328590 h 1160647"/>
                <a:gd name="connsiteX429" fmla="*/ 160484 w 3079941"/>
                <a:gd name="connsiteY429" fmla="*/ 328590 h 1160647"/>
                <a:gd name="connsiteX430" fmla="*/ 174671 w 3079941"/>
                <a:gd name="connsiteY430" fmla="*/ 328590 h 1160647"/>
                <a:gd name="connsiteX431" fmla="*/ 211151 w 3079941"/>
                <a:gd name="connsiteY431" fmla="*/ 246443 h 1160647"/>
                <a:gd name="connsiteX432" fmla="*/ 215205 w 3079941"/>
                <a:gd name="connsiteY432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030409 h 1160647"/>
                <a:gd name="connsiteX403" fmla="*/ 3079941 w 3079941"/>
                <a:gd name="connsiteY403" fmla="*/ 1160647 h 1160647"/>
                <a:gd name="connsiteX404" fmla="*/ 200958 w 3079941"/>
                <a:gd name="connsiteY404" fmla="*/ 1160647 h 1160647"/>
                <a:gd name="connsiteX405" fmla="*/ 200958 w 3079941"/>
                <a:gd name="connsiteY405" fmla="*/ 1126882 h 1160647"/>
                <a:gd name="connsiteX406" fmla="*/ 0 w 3079941"/>
                <a:gd name="connsiteY406" fmla="*/ 1126882 h 1160647"/>
                <a:gd name="connsiteX407" fmla="*/ 0 w 3079941"/>
                <a:gd name="connsiteY407" fmla="*/ 915339 h 1160647"/>
                <a:gd name="connsiteX408" fmla="*/ 103377 w 3079941"/>
                <a:gd name="connsiteY408" fmla="*/ 915339 h 1160647"/>
                <a:gd name="connsiteX409" fmla="*/ 103377 w 3079941"/>
                <a:gd name="connsiteY409" fmla="*/ 886329 h 1160647"/>
                <a:gd name="connsiteX410" fmla="*/ 55096 w 3079941"/>
                <a:gd name="connsiteY410" fmla="*/ 886329 h 1160647"/>
                <a:gd name="connsiteX411" fmla="*/ 55096 w 3079941"/>
                <a:gd name="connsiteY411" fmla="*/ 724196 h 1160647"/>
                <a:gd name="connsiteX412" fmla="*/ 75363 w 3079941"/>
                <a:gd name="connsiteY412" fmla="*/ 724196 h 1160647"/>
                <a:gd name="connsiteX413" fmla="*/ 75870 w 3079941"/>
                <a:gd name="connsiteY413" fmla="*/ 723115 h 1160647"/>
                <a:gd name="connsiteX414" fmla="*/ 79416 w 3079941"/>
                <a:gd name="connsiteY414" fmla="*/ 715549 h 1160647"/>
                <a:gd name="connsiteX415" fmla="*/ 81190 w 3079941"/>
                <a:gd name="connsiteY415" fmla="*/ 715819 h 1160647"/>
                <a:gd name="connsiteX416" fmla="*/ 93603 w 3079941"/>
                <a:gd name="connsiteY416" fmla="*/ 717710 h 1160647"/>
                <a:gd name="connsiteX417" fmla="*/ 94110 w 3079941"/>
                <a:gd name="connsiteY417" fmla="*/ 719062 h 1160647"/>
                <a:gd name="connsiteX418" fmla="*/ 97656 w 3079941"/>
                <a:gd name="connsiteY418" fmla="*/ 728519 h 1160647"/>
                <a:gd name="connsiteX419" fmla="*/ 124003 w 3079941"/>
                <a:gd name="connsiteY419" fmla="*/ 730681 h 1160647"/>
                <a:gd name="connsiteX420" fmla="*/ 124003 w 3079941"/>
                <a:gd name="connsiteY420" fmla="*/ 607460 h 1160647"/>
                <a:gd name="connsiteX421" fmla="*/ 126030 w 3079941"/>
                <a:gd name="connsiteY421" fmla="*/ 607460 h 1160647"/>
                <a:gd name="connsiteX422" fmla="*/ 140217 w 3079941"/>
                <a:gd name="connsiteY422" fmla="*/ 607460 h 1160647"/>
                <a:gd name="connsiteX423" fmla="*/ 140217 w 3079941"/>
                <a:gd name="connsiteY423" fmla="*/ 471268 h 1160647"/>
                <a:gd name="connsiteX424" fmla="*/ 141990 w 3079941"/>
                <a:gd name="connsiteY424" fmla="*/ 471268 h 1160647"/>
                <a:gd name="connsiteX425" fmla="*/ 154404 w 3079941"/>
                <a:gd name="connsiteY425" fmla="*/ 471268 h 1160647"/>
                <a:gd name="connsiteX426" fmla="*/ 154404 w 3079941"/>
                <a:gd name="connsiteY426" fmla="*/ 356694 h 1160647"/>
                <a:gd name="connsiteX427" fmla="*/ 158457 w 3079941"/>
                <a:gd name="connsiteY427" fmla="*/ 328590 h 1160647"/>
                <a:gd name="connsiteX428" fmla="*/ 160484 w 3079941"/>
                <a:gd name="connsiteY428" fmla="*/ 328590 h 1160647"/>
                <a:gd name="connsiteX429" fmla="*/ 174671 w 3079941"/>
                <a:gd name="connsiteY429" fmla="*/ 328590 h 1160647"/>
                <a:gd name="connsiteX430" fmla="*/ 211151 w 3079941"/>
                <a:gd name="connsiteY430" fmla="*/ 246443 h 1160647"/>
                <a:gd name="connsiteX431" fmla="*/ 215205 w 3079941"/>
                <a:gd name="connsiteY431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200958 w 3079941"/>
                <a:gd name="connsiteY404" fmla="*/ 1126882 h 1160647"/>
                <a:gd name="connsiteX405" fmla="*/ 0 w 3079941"/>
                <a:gd name="connsiteY405" fmla="*/ 1126882 h 1160647"/>
                <a:gd name="connsiteX406" fmla="*/ 0 w 3079941"/>
                <a:gd name="connsiteY406" fmla="*/ 915339 h 1160647"/>
                <a:gd name="connsiteX407" fmla="*/ 103377 w 3079941"/>
                <a:gd name="connsiteY407" fmla="*/ 915339 h 1160647"/>
                <a:gd name="connsiteX408" fmla="*/ 103377 w 3079941"/>
                <a:gd name="connsiteY408" fmla="*/ 886329 h 1160647"/>
                <a:gd name="connsiteX409" fmla="*/ 55096 w 3079941"/>
                <a:gd name="connsiteY409" fmla="*/ 886329 h 1160647"/>
                <a:gd name="connsiteX410" fmla="*/ 55096 w 3079941"/>
                <a:gd name="connsiteY410" fmla="*/ 724196 h 1160647"/>
                <a:gd name="connsiteX411" fmla="*/ 75363 w 3079941"/>
                <a:gd name="connsiteY411" fmla="*/ 724196 h 1160647"/>
                <a:gd name="connsiteX412" fmla="*/ 75870 w 3079941"/>
                <a:gd name="connsiteY412" fmla="*/ 723115 h 1160647"/>
                <a:gd name="connsiteX413" fmla="*/ 79416 w 3079941"/>
                <a:gd name="connsiteY413" fmla="*/ 715549 h 1160647"/>
                <a:gd name="connsiteX414" fmla="*/ 81190 w 3079941"/>
                <a:gd name="connsiteY414" fmla="*/ 715819 h 1160647"/>
                <a:gd name="connsiteX415" fmla="*/ 93603 w 3079941"/>
                <a:gd name="connsiteY415" fmla="*/ 717710 h 1160647"/>
                <a:gd name="connsiteX416" fmla="*/ 94110 w 3079941"/>
                <a:gd name="connsiteY416" fmla="*/ 719062 h 1160647"/>
                <a:gd name="connsiteX417" fmla="*/ 97656 w 3079941"/>
                <a:gd name="connsiteY417" fmla="*/ 728519 h 1160647"/>
                <a:gd name="connsiteX418" fmla="*/ 124003 w 3079941"/>
                <a:gd name="connsiteY418" fmla="*/ 730681 h 1160647"/>
                <a:gd name="connsiteX419" fmla="*/ 124003 w 3079941"/>
                <a:gd name="connsiteY419" fmla="*/ 607460 h 1160647"/>
                <a:gd name="connsiteX420" fmla="*/ 126030 w 3079941"/>
                <a:gd name="connsiteY420" fmla="*/ 607460 h 1160647"/>
                <a:gd name="connsiteX421" fmla="*/ 140217 w 3079941"/>
                <a:gd name="connsiteY421" fmla="*/ 607460 h 1160647"/>
                <a:gd name="connsiteX422" fmla="*/ 140217 w 3079941"/>
                <a:gd name="connsiteY422" fmla="*/ 471268 h 1160647"/>
                <a:gd name="connsiteX423" fmla="*/ 141990 w 3079941"/>
                <a:gd name="connsiteY423" fmla="*/ 471268 h 1160647"/>
                <a:gd name="connsiteX424" fmla="*/ 154404 w 3079941"/>
                <a:gd name="connsiteY424" fmla="*/ 471268 h 1160647"/>
                <a:gd name="connsiteX425" fmla="*/ 154404 w 3079941"/>
                <a:gd name="connsiteY425" fmla="*/ 356694 h 1160647"/>
                <a:gd name="connsiteX426" fmla="*/ 158457 w 3079941"/>
                <a:gd name="connsiteY426" fmla="*/ 328590 h 1160647"/>
                <a:gd name="connsiteX427" fmla="*/ 160484 w 3079941"/>
                <a:gd name="connsiteY427" fmla="*/ 328590 h 1160647"/>
                <a:gd name="connsiteX428" fmla="*/ 174671 w 3079941"/>
                <a:gd name="connsiteY428" fmla="*/ 328590 h 1160647"/>
                <a:gd name="connsiteX429" fmla="*/ 211151 w 3079941"/>
                <a:gd name="connsiteY429" fmla="*/ 246443 h 1160647"/>
                <a:gd name="connsiteX430" fmla="*/ 215205 w 3079941"/>
                <a:gd name="connsiteY430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103377 w 3079941"/>
                <a:gd name="connsiteY407" fmla="*/ 886329 h 1160647"/>
                <a:gd name="connsiteX408" fmla="*/ 55096 w 3079941"/>
                <a:gd name="connsiteY408" fmla="*/ 886329 h 1160647"/>
                <a:gd name="connsiteX409" fmla="*/ 55096 w 3079941"/>
                <a:gd name="connsiteY409" fmla="*/ 724196 h 1160647"/>
                <a:gd name="connsiteX410" fmla="*/ 75363 w 3079941"/>
                <a:gd name="connsiteY410" fmla="*/ 724196 h 1160647"/>
                <a:gd name="connsiteX411" fmla="*/ 75870 w 3079941"/>
                <a:gd name="connsiteY411" fmla="*/ 723115 h 1160647"/>
                <a:gd name="connsiteX412" fmla="*/ 79416 w 3079941"/>
                <a:gd name="connsiteY412" fmla="*/ 715549 h 1160647"/>
                <a:gd name="connsiteX413" fmla="*/ 81190 w 3079941"/>
                <a:gd name="connsiteY413" fmla="*/ 715819 h 1160647"/>
                <a:gd name="connsiteX414" fmla="*/ 93603 w 3079941"/>
                <a:gd name="connsiteY414" fmla="*/ 717710 h 1160647"/>
                <a:gd name="connsiteX415" fmla="*/ 94110 w 3079941"/>
                <a:gd name="connsiteY415" fmla="*/ 719062 h 1160647"/>
                <a:gd name="connsiteX416" fmla="*/ 97656 w 3079941"/>
                <a:gd name="connsiteY416" fmla="*/ 728519 h 1160647"/>
                <a:gd name="connsiteX417" fmla="*/ 124003 w 3079941"/>
                <a:gd name="connsiteY417" fmla="*/ 730681 h 1160647"/>
                <a:gd name="connsiteX418" fmla="*/ 124003 w 3079941"/>
                <a:gd name="connsiteY418" fmla="*/ 607460 h 1160647"/>
                <a:gd name="connsiteX419" fmla="*/ 126030 w 3079941"/>
                <a:gd name="connsiteY419" fmla="*/ 607460 h 1160647"/>
                <a:gd name="connsiteX420" fmla="*/ 140217 w 3079941"/>
                <a:gd name="connsiteY420" fmla="*/ 607460 h 1160647"/>
                <a:gd name="connsiteX421" fmla="*/ 140217 w 3079941"/>
                <a:gd name="connsiteY421" fmla="*/ 471268 h 1160647"/>
                <a:gd name="connsiteX422" fmla="*/ 141990 w 3079941"/>
                <a:gd name="connsiteY422" fmla="*/ 471268 h 1160647"/>
                <a:gd name="connsiteX423" fmla="*/ 154404 w 3079941"/>
                <a:gd name="connsiteY423" fmla="*/ 471268 h 1160647"/>
                <a:gd name="connsiteX424" fmla="*/ 154404 w 3079941"/>
                <a:gd name="connsiteY424" fmla="*/ 356694 h 1160647"/>
                <a:gd name="connsiteX425" fmla="*/ 158457 w 3079941"/>
                <a:gd name="connsiteY425" fmla="*/ 328590 h 1160647"/>
                <a:gd name="connsiteX426" fmla="*/ 160484 w 3079941"/>
                <a:gd name="connsiteY426" fmla="*/ 328590 h 1160647"/>
                <a:gd name="connsiteX427" fmla="*/ 174671 w 3079941"/>
                <a:gd name="connsiteY427" fmla="*/ 328590 h 1160647"/>
                <a:gd name="connsiteX428" fmla="*/ 211151 w 3079941"/>
                <a:gd name="connsiteY428" fmla="*/ 246443 h 1160647"/>
                <a:gd name="connsiteX429" fmla="*/ 215205 w 3079941"/>
                <a:gd name="connsiteY429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55096 w 3079941"/>
                <a:gd name="connsiteY407" fmla="*/ 886329 h 1160647"/>
                <a:gd name="connsiteX408" fmla="*/ 55096 w 3079941"/>
                <a:gd name="connsiteY408" fmla="*/ 724196 h 1160647"/>
                <a:gd name="connsiteX409" fmla="*/ 75363 w 3079941"/>
                <a:gd name="connsiteY409" fmla="*/ 724196 h 1160647"/>
                <a:gd name="connsiteX410" fmla="*/ 75870 w 3079941"/>
                <a:gd name="connsiteY410" fmla="*/ 723115 h 1160647"/>
                <a:gd name="connsiteX411" fmla="*/ 79416 w 3079941"/>
                <a:gd name="connsiteY411" fmla="*/ 715549 h 1160647"/>
                <a:gd name="connsiteX412" fmla="*/ 81190 w 3079941"/>
                <a:gd name="connsiteY412" fmla="*/ 715819 h 1160647"/>
                <a:gd name="connsiteX413" fmla="*/ 93603 w 3079941"/>
                <a:gd name="connsiteY413" fmla="*/ 717710 h 1160647"/>
                <a:gd name="connsiteX414" fmla="*/ 94110 w 3079941"/>
                <a:gd name="connsiteY414" fmla="*/ 719062 h 1160647"/>
                <a:gd name="connsiteX415" fmla="*/ 97656 w 3079941"/>
                <a:gd name="connsiteY415" fmla="*/ 728519 h 1160647"/>
                <a:gd name="connsiteX416" fmla="*/ 124003 w 3079941"/>
                <a:gd name="connsiteY416" fmla="*/ 730681 h 1160647"/>
                <a:gd name="connsiteX417" fmla="*/ 124003 w 3079941"/>
                <a:gd name="connsiteY417" fmla="*/ 607460 h 1160647"/>
                <a:gd name="connsiteX418" fmla="*/ 126030 w 3079941"/>
                <a:gd name="connsiteY418" fmla="*/ 607460 h 1160647"/>
                <a:gd name="connsiteX419" fmla="*/ 140217 w 3079941"/>
                <a:gd name="connsiteY419" fmla="*/ 607460 h 1160647"/>
                <a:gd name="connsiteX420" fmla="*/ 140217 w 3079941"/>
                <a:gd name="connsiteY420" fmla="*/ 471268 h 1160647"/>
                <a:gd name="connsiteX421" fmla="*/ 141990 w 3079941"/>
                <a:gd name="connsiteY421" fmla="*/ 471268 h 1160647"/>
                <a:gd name="connsiteX422" fmla="*/ 154404 w 3079941"/>
                <a:gd name="connsiteY422" fmla="*/ 471268 h 1160647"/>
                <a:gd name="connsiteX423" fmla="*/ 154404 w 3079941"/>
                <a:gd name="connsiteY423" fmla="*/ 356694 h 1160647"/>
                <a:gd name="connsiteX424" fmla="*/ 158457 w 3079941"/>
                <a:gd name="connsiteY424" fmla="*/ 328590 h 1160647"/>
                <a:gd name="connsiteX425" fmla="*/ 160484 w 3079941"/>
                <a:gd name="connsiteY425" fmla="*/ 328590 h 1160647"/>
                <a:gd name="connsiteX426" fmla="*/ 174671 w 3079941"/>
                <a:gd name="connsiteY426" fmla="*/ 328590 h 1160647"/>
                <a:gd name="connsiteX427" fmla="*/ 211151 w 3079941"/>
                <a:gd name="connsiteY427" fmla="*/ 246443 h 1160647"/>
                <a:gd name="connsiteX428" fmla="*/ 215205 w 3079941"/>
                <a:gd name="connsiteY428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55096 w 3079941"/>
                <a:gd name="connsiteY406" fmla="*/ 886329 h 1160647"/>
                <a:gd name="connsiteX407" fmla="*/ 55096 w 3079941"/>
                <a:gd name="connsiteY407" fmla="*/ 724196 h 1160647"/>
                <a:gd name="connsiteX408" fmla="*/ 75363 w 3079941"/>
                <a:gd name="connsiteY408" fmla="*/ 724196 h 1160647"/>
                <a:gd name="connsiteX409" fmla="*/ 75870 w 3079941"/>
                <a:gd name="connsiteY409" fmla="*/ 723115 h 1160647"/>
                <a:gd name="connsiteX410" fmla="*/ 79416 w 3079941"/>
                <a:gd name="connsiteY410" fmla="*/ 715549 h 1160647"/>
                <a:gd name="connsiteX411" fmla="*/ 81190 w 3079941"/>
                <a:gd name="connsiteY411" fmla="*/ 715819 h 1160647"/>
                <a:gd name="connsiteX412" fmla="*/ 93603 w 3079941"/>
                <a:gd name="connsiteY412" fmla="*/ 717710 h 1160647"/>
                <a:gd name="connsiteX413" fmla="*/ 94110 w 3079941"/>
                <a:gd name="connsiteY413" fmla="*/ 719062 h 1160647"/>
                <a:gd name="connsiteX414" fmla="*/ 97656 w 3079941"/>
                <a:gd name="connsiteY414" fmla="*/ 728519 h 1160647"/>
                <a:gd name="connsiteX415" fmla="*/ 124003 w 3079941"/>
                <a:gd name="connsiteY415" fmla="*/ 730681 h 1160647"/>
                <a:gd name="connsiteX416" fmla="*/ 124003 w 3079941"/>
                <a:gd name="connsiteY416" fmla="*/ 607460 h 1160647"/>
                <a:gd name="connsiteX417" fmla="*/ 126030 w 3079941"/>
                <a:gd name="connsiteY417" fmla="*/ 607460 h 1160647"/>
                <a:gd name="connsiteX418" fmla="*/ 140217 w 3079941"/>
                <a:gd name="connsiteY418" fmla="*/ 607460 h 1160647"/>
                <a:gd name="connsiteX419" fmla="*/ 140217 w 3079941"/>
                <a:gd name="connsiteY419" fmla="*/ 471268 h 1160647"/>
                <a:gd name="connsiteX420" fmla="*/ 141990 w 3079941"/>
                <a:gd name="connsiteY420" fmla="*/ 471268 h 1160647"/>
                <a:gd name="connsiteX421" fmla="*/ 154404 w 3079941"/>
                <a:gd name="connsiteY421" fmla="*/ 471268 h 1160647"/>
                <a:gd name="connsiteX422" fmla="*/ 154404 w 3079941"/>
                <a:gd name="connsiteY422" fmla="*/ 356694 h 1160647"/>
                <a:gd name="connsiteX423" fmla="*/ 158457 w 3079941"/>
                <a:gd name="connsiteY423" fmla="*/ 328590 h 1160647"/>
                <a:gd name="connsiteX424" fmla="*/ 160484 w 3079941"/>
                <a:gd name="connsiteY424" fmla="*/ 328590 h 1160647"/>
                <a:gd name="connsiteX425" fmla="*/ 174671 w 3079941"/>
                <a:gd name="connsiteY425" fmla="*/ 328590 h 1160647"/>
                <a:gd name="connsiteX426" fmla="*/ 211151 w 3079941"/>
                <a:gd name="connsiteY426" fmla="*/ 246443 h 1160647"/>
                <a:gd name="connsiteX427" fmla="*/ 215205 w 3079941"/>
                <a:gd name="connsiteY427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886329 h 1160647"/>
                <a:gd name="connsiteX406" fmla="*/ 55096 w 3079941"/>
                <a:gd name="connsiteY406" fmla="*/ 724196 h 1160647"/>
                <a:gd name="connsiteX407" fmla="*/ 75363 w 3079941"/>
                <a:gd name="connsiteY407" fmla="*/ 724196 h 1160647"/>
                <a:gd name="connsiteX408" fmla="*/ 75870 w 3079941"/>
                <a:gd name="connsiteY408" fmla="*/ 723115 h 1160647"/>
                <a:gd name="connsiteX409" fmla="*/ 79416 w 3079941"/>
                <a:gd name="connsiteY409" fmla="*/ 715549 h 1160647"/>
                <a:gd name="connsiteX410" fmla="*/ 81190 w 3079941"/>
                <a:gd name="connsiteY410" fmla="*/ 715819 h 1160647"/>
                <a:gd name="connsiteX411" fmla="*/ 93603 w 3079941"/>
                <a:gd name="connsiteY411" fmla="*/ 717710 h 1160647"/>
                <a:gd name="connsiteX412" fmla="*/ 94110 w 3079941"/>
                <a:gd name="connsiteY412" fmla="*/ 719062 h 1160647"/>
                <a:gd name="connsiteX413" fmla="*/ 97656 w 3079941"/>
                <a:gd name="connsiteY413" fmla="*/ 728519 h 1160647"/>
                <a:gd name="connsiteX414" fmla="*/ 124003 w 3079941"/>
                <a:gd name="connsiteY414" fmla="*/ 730681 h 1160647"/>
                <a:gd name="connsiteX415" fmla="*/ 124003 w 3079941"/>
                <a:gd name="connsiteY415" fmla="*/ 607460 h 1160647"/>
                <a:gd name="connsiteX416" fmla="*/ 126030 w 3079941"/>
                <a:gd name="connsiteY416" fmla="*/ 607460 h 1160647"/>
                <a:gd name="connsiteX417" fmla="*/ 140217 w 3079941"/>
                <a:gd name="connsiteY417" fmla="*/ 607460 h 1160647"/>
                <a:gd name="connsiteX418" fmla="*/ 140217 w 3079941"/>
                <a:gd name="connsiteY418" fmla="*/ 471268 h 1160647"/>
                <a:gd name="connsiteX419" fmla="*/ 141990 w 3079941"/>
                <a:gd name="connsiteY419" fmla="*/ 471268 h 1160647"/>
                <a:gd name="connsiteX420" fmla="*/ 154404 w 3079941"/>
                <a:gd name="connsiteY420" fmla="*/ 471268 h 1160647"/>
                <a:gd name="connsiteX421" fmla="*/ 154404 w 3079941"/>
                <a:gd name="connsiteY421" fmla="*/ 356694 h 1160647"/>
                <a:gd name="connsiteX422" fmla="*/ 158457 w 3079941"/>
                <a:gd name="connsiteY422" fmla="*/ 328590 h 1160647"/>
                <a:gd name="connsiteX423" fmla="*/ 160484 w 3079941"/>
                <a:gd name="connsiteY423" fmla="*/ 328590 h 1160647"/>
                <a:gd name="connsiteX424" fmla="*/ 174671 w 3079941"/>
                <a:gd name="connsiteY424" fmla="*/ 328590 h 1160647"/>
                <a:gd name="connsiteX425" fmla="*/ 211151 w 3079941"/>
                <a:gd name="connsiteY425" fmla="*/ 246443 h 1160647"/>
                <a:gd name="connsiteX426" fmla="*/ 215205 w 3079941"/>
                <a:gd name="connsiteY426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724196 h 1160647"/>
                <a:gd name="connsiteX406" fmla="*/ 75363 w 3079941"/>
                <a:gd name="connsiteY406" fmla="*/ 724196 h 1160647"/>
                <a:gd name="connsiteX407" fmla="*/ 75870 w 3079941"/>
                <a:gd name="connsiteY407" fmla="*/ 723115 h 1160647"/>
                <a:gd name="connsiteX408" fmla="*/ 79416 w 3079941"/>
                <a:gd name="connsiteY408" fmla="*/ 715549 h 1160647"/>
                <a:gd name="connsiteX409" fmla="*/ 81190 w 3079941"/>
                <a:gd name="connsiteY409" fmla="*/ 715819 h 1160647"/>
                <a:gd name="connsiteX410" fmla="*/ 93603 w 3079941"/>
                <a:gd name="connsiteY410" fmla="*/ 717710 h 1160647"/>
                <a:gd name="connsiteX411" fmla="*/ 94110 w 3079941"/>
                <a:gd name="connsiteY411" fmla="*/ 719062 h 1160647"/>
                <a:gd name="connsiteX412" fmla="*/ 97656 w 3079941"/>
                <a:gd name="connsiteY412" fmla="*/ 728519 h 1160647"/>
                <a:gd name="connsiteX413" fmla="*/ 124003 w 3079941"/>
                <a:gd name="connsiteY413" fmla="*/ 730681 h 1160647"/>
                <a:gd name="connsiteX414" fmla="*/ 124003 w 3079941"/>
                <a:gd name="connsiteY414" fmla="*/ 607460 h 1160647"/>
                <a:gd name="connsiteX415" fmla="*/ 126030 w 3079941"/>
                <a:gd name="connsiteY415" fmla="*/ 607460 h 1160647"/>
                <a:gd name="connsiteX416" fmla="*/ 140217 w 3079941"/>
                <a:gd name="connsiteY416" fmla="*/ 607460 h 1160647"/>
                <a:gd name="connsiteX417" fmla="*/ 140217 w 3079941"/>
                <a:gd name="connsiteY417" fmla="*/ 471268 h 1160647"/>
                <a:gd name="connsiteX418" fmla="*/ 141990 w 3079941"/>
                <a:gd name="connsiteY418" fmla="*/ 471268 h 1160647"/>
                <a:gd name="connsiteX419" fmla="*/ 154404 w 3079941"/>
                <a:gd name="connsiteY419" fmla="*/ 471268 h 1160647"/>
                <a:gd name="connsiteX420" fmla="*/ 154404 w 3079941"/>
                <a:gd name="connsiteY420" fmla="*/ 356694 h 1160647"/>
                <a:gd name="connsiteX421" fmla="*/ 158457 w 3079941"/>
                <a:gd name="connsiteY421" fmla="*/ 328590 h 1160647"/>
                <a:gd name="connsiteX422" fmla="*/ 160484 w 3079941"/>
                <a:gd name="connsiteY422" fmla="*/ 328590 h 1160647"/>
                <a:gd name="connsiteX423" fmla="*/ 174671 w 3079941"/>
                <a:gd name="connsiteY423" fmla="*/ 328590 h 1160647"/>
                <a:gd name="connsiteX424" fmla="*/ 211151 w 3079941"/>
                <a:gd name="connsiteY424" fmla="*/ 246443 h 1160647"/>
                <a:gd name="connsiteX425" fmla="*/ 215205 w 3079941"/>
                <a:gd name="connsiteY425" fmla="*/ 0 h 1160647"/>
                <a:gd name="connsiteX0" fmla="*/ 160109 w 3024845"/>
                <a:gd name="connsiteY0" fmla="*/ 0 h 1166887"/>
                <a:gd name="connsiteX1" fmla="*/ 162135 w 3024845"/>
                <a:gd name="connsiteY1" fmla="*/ 246443 h 1166887"/>
                <a:gd name="connsiteX2" fmla="*/ 200642 w 3024845"/>
                <a:gd name="connsiteY2" fmla="*/ 326429 h 1166887"/>
                <a:gd name="connsiteX3" fmla="*/ 202669 w 3024845"/>
                <a:gd name="connsiteY3" fmla="*/ 326429 h 1166887"/>
                <a:gd name="connsiteX4" fmla="*/ 216856 w 3024845"/>
                <a:gd name="connsiteY4" fmla="*/ 326429 h 1166887"/>
                <a:gd name="connsiteX5" fmla="*/ 216856 w 3024845"/>
                <a:gd name="connsiteY5" fmla="*/ 350208 h 1166887"/>
                <a:gd name="connsiteX6" fmla="*/ 217363 w 3024845"/>
                <a:gd name="connsiteY6" fmla="*/ 351019 h 1166887"/>
                <a:gd name="connsiteX7" fmla="*/ 220909 w 3024845"/>
                <a:gd name="connsiteY7" fmla="*/ 356694 h 1166887"/>
                <a:gd name="connsiteX8" fmla="*/ 220909 w 3024845"/>
                <a:gd name="connsiteY8" fmla="*/ 471268 h 1166887"/>
                <a:gd name="connsiteX9" fmla="*/ 223189 w 3024845"/>
                <a:gd name="connsiteY9" fmla="*/ 471268 h 1166887"/>
                <a:gd name="connsiteX10" fmla="*/ 239150 w 3024845"/>
                <a:gd name="connsiteY10" fmla="*/ 471268 h 1166887"/>
                <a:gd name="connsiteX11" fmla="*/ 239150 w 3024845"/>
                <a:gd name="connsiteY11" fmla="*/ 611783 h 1166887"/>
                <a:gd name="connsiteX12" fmla="*/ 240670 w 3024845"/>
                <a:gd name="connsiteY12" fmla="*/ 611513 h 1166887"/>
                <a:gd name="connsiteX13" fmla="*/ 251310 w 3024845"/>
                <a:gd name="connsiteY13" fmla="*/ 609622 h 1166887"/>
                <a:gd name="connsiteX14" fmla="*/ 249283 w 3024845"/>
                <a:gd name="connsiteY14" fmla="*/ 698254 h 1166887"/>
                <a:gd name="connsiteX15" fmla="*/ 250803 w 3024845"/>
                <a:gd name="connsiteY15" fmla="*/ 698525 h 1166887"/>
                <a:gd name="connsiteX16" fmla="*/ 261443 w 3024845"/>
                <a:gd name="connsiteY16" fmla="*/ 700416 h 1166887"/>
                <a:gd name="connsiteX17" fmla="*/ 261696 w 3024845"/>
                <a:gd name="connsiteY17" fmla="*/ 701227 h 1166887"/>
                <a:gd name="connsiteX18" fmla="*/ 263470 w 3024845"/>
                <a:gd name="connsiteY18" fmla="*/ 706902 h 1166887"/>
                <a:gd name="connsiteX19" fmla="*/ 264230 w 3024845"/>
                <a:gd name="connsiteY19" fmla="*/ 704470 h 1166887"/>
                <a:gd name="connsiteX20" fmla="*/ 269550 w 3024845"/>
                <a:gd name="connsiteY20" fmla="*/ 687446 h 1166887"/>
                <a:gd name="connsiteX21" fmla="*/ 271323 w 3024845"/>
                <a:gd name="connsiteY21" fmla="*/ 687446 h 1166887"/>
                <a:gd name="connsiteX22" fmla="*/ 283737 w 3024845"/>
                <a:gd name="connsiteY22" fmla="*/ 687446 h 1166887"/>
                <a:gd name="connsiteX23" fmla="*/ 283737 w 3024845"/>
                <a:gd name="connsiteY23" fmla="*/ 719872 h 1166887"/>
                <a:gd name="connsiteX24" fmla="*/ 284750 w 3024845"/>
                <a:gd name="connsiteY24" fmla="*/ 720413 h 1166887"/>
                <a:gd name="connsiteX25" fmla="*/ 291844 w 3024845"/>
                <a:gd name="connsiteY25" fmla="*/ 724196 h 1166887"/>
                <a:gd name="connsiteX26" fmla="*/ 291844 w 3024845"/>
                <a:gd name="connsiteY26" fmla="*/ 725547 h 1166887"/>
                <a:gd name="connsiteX27" fmla="*/ 291844 w 3024845"/>
                <a:gd name="connsiteY27" fmla="*/ 735005 h 1166887"/>
                <a:gd name="connsiteX28" fmla="*/ 336431 w 3024845"/>
                <a:gd name="connsiteY28" fmla="*/ 735005 h 1166887"/>
                <a:gd name="connsiteX29" fmla="*/ 336431 w 3024845"/>
                <a:gd name="connsiteY29" fmla="*/ 736086 h 1166887"/>
                <a:gd name="connsiteX30" fmla="*/ 336431 w 3024845"/>
                <a:gd name="connsiteY30" fmla="*/ 743652 h 1166887"/>
                <a:gd name="connsiteX31" fmla="*/ 338457 w 3024845"/>
                <a:gd name="connsiteY31" fmla="*/ 743652 h 1166887"/>
                <a:gd name="connsiteX32" fmla="*/ 352644 w 3024845"/>
                <a:gd name="connsiteY32" fmla="*/ 743652 h 1166887"/>
                <a:gd name="connsiteX33" fmla="*/ 352644 w 3024845"/>
                <a:gd name="connsiteY33" fmla="*/ 713387 h 1166887"/>
                <a:gd name="connsiteX34" fmla="*/ 397231 w 3024845"/>
                <a:gd name="connsiteY34" fmla="*/ 713387 h 1166887"/>
                <a:gd name="connsiteX35" fmla="*/ 397231 w 3024845"/>
                <a:gd name="connsiteY35" fmla="*/ 712036 h 1166887"/>
                <a:gd name="connsiteX36" fmla="*/ 397231 w 3024845"/>
                <a:gd name="connsiteY36" fmla="*/ 702578 h 1166887"/>
                <a:gd name="connsiteX37" fmla="*/ 398245 w 3024845"/>
                <a:gd name="connsiteY37" fmla="*/ 702578 h 1166887"/>
                <a:gd name="connsiteX38" fmla="*/ 405338 w 3024845"/>
                <a:gd name="connsiteY38" fmla="*/ 702578 h 1166887"/>
                <a:gd name="connsiteX39" fmla="*/ 405338 w 3024845"/>
                <a:gd name="connsiteY39" fmla="*/ 700687 h 1166887"/>
                <a:gd name="connsiteX40" fmla="*/ 405338 w 3024845"/>
                <a:gd name="connsiteY40" fmla="*/ 687446 h 1166887"/>
                <a:gd name="connsiteX41" fmla="*/ 406098 w 3024845"/>
                <a:gd name="connsiteY41" fmla="*/ 687446 h 1166887"/>
                <a:gd name="connsiteX42" fmla="*/ 411418 w 3024845"/>
                <a:gd name="connsiteY42" fmla="*/ 687446 h 1166887"/>
                <a:gd name="connsiteX43" fmla="*/ 411418 w 3024845"/>
                <a:gd name="connsiteY43" fmla="*/ 686365 h 1166887"/>
                <a:gd name="connsiteX44" fmla="*/ 411418 w 3024845"/>
                <a:gd name="connsiteY44" fmla="*/ 678798 h 1166887"/>
                <a:gd name="connsiteX45" fmla="*/ 413445 w 3024845"/>
                <a:gd name="connsiteY45" fmla="*/ 678798 h 1166887"/>
                <a:gd name="connsiteX46" fmla="*/ 427632 w 3024845"/>
                <a:gd name="connsiteY46" fmla="*/ 678798 h 1166887"/>
                <a:gd name="connsiteX47" fmla="*/ 427632 w 3024845"/>
                <a:gd name="connsiteY47" fmla="*/ 679879 h 1166887"/>
                <a:gd name="connsiteX48" fmla="*/ 427632 w 3024845"/>
                <a:gd name="connsiteY48" fmla="*/ 687446 h 1166887"/>
                <a:gd name="connsiteX49" fmla="*/ 449925 w 3024845"/>
                <a:gd name="connsiteY49" fmla="*/ 687446 h 1166887"/>
                <a:gd name="connsiteX50" fmla="*/ 449925 w 3024845"/>
                <a:gd name="connsiteY50" fmla="*/ 685554 h 1166887"/>
                <a:gd name="connsiteX51" fmla="*/ 449925 w 3024845"/>
                <a:gd name="connsiteY51" fmla="*/ 672313 h 1166887"/>
                <a:gd name="connsiteX52" fmla="*/ 451699 w 3024845"/>
                <a:gd name="connsiteY52" fmla="*/ 672313 h 1166887"/>
                <a:gd name="connsiteX53" fmla="*/ 464112 w 3024845"/>
                <a:gd name="connsiteY53" fmla="*/ 672313 h 1166887"/>
                <a:gd name="connsiteX54" fmla="*/ 464112 w 3024845"/>
                <a:gd name="connsiteY54" fmla="*/ 696093 h 1166887"/>
                <a:gd name="connsiteX55" fmla="*/ 465126 w 3024845"/>
                <a:gd name="connsiteY55" fmla="*/ 696093 h 1166887"/>
                <a:gd name="connsiteX56" fmla="*/ 472219 w 3024845"/>
                <a:gd name="connsiteY56" fmla="*/ 696093 h 1166887"/>
                <a:gd name="connsiteX57" fmla="*/ 472219 w 3024845"/>
                <a:gd name="connsiteY57" fmla="*/ 695012 h 1166887"/>
                <a:gd name="connsiteX58" fmla="*/ 472219 w 3024845"/>
                <a:gd name="connsiteY58" fmla="*/ 687446 h 1166887"/>
                <a:gd name="connsiteX59" fmla="*/ 473992 w 3024845"/>
                <a:gd name="connsiteY59" fmla="*/ 687446 h 1166887"/>
                <a:gd name="connsiteX60" fmla="*/ 486406 w 3024845"/>
                <a:gd name="connsiteY60" fmla="*/ 687446 h 1166887"/>
                <a:gd name="connsiteX61" fmla="*/ 486406 w 3024845"/>
                <a:gd name="connsiteY61" fmla="*/ 713387 h 1166887"/>
                <a:gd name="connsiteX62" fmla="*/ 488433 w 3024845"/>
                <a:gd name="connsiteY62" fmla="*/ 713387 h 1166887"/>
                <a:gd name="connsiteX63" fmla="*/ 502619 w 3024845"/>
                <a:gd name="connsiteY63" fmla="*/ 713387 h 1166887"/>
                <a:gd name="connsiteX64" fmla="*/ 502619 w 3024845"/>
                <a:gd name="connsiteY64" fmla="*/ 715008 h 1166887"/>
                <a:gd name="connsiteX65" fmla="*/ 502619 w 3024845"/>
                <a:gd name="connsiteY65" fmla="*/ 726358 h 1166887"/>
                <a:gd name="connsiteX66" fmla="*/ 503379 w 3024845"/>
                <a:gd name="connsiteY66" fmla="*/ 726358 h 1166887"/>
                <a:gd name="connsiteX67" fmla="*/ 508700 w 3024845"/>
                <a:gd name="connsiteY67" fmla="*/ 726358 h 1166887"/>
                <a:gd name="connsiteX68" fmla="*/ 508700 w 3024845"/>
                <a:gd name="connsiteY68" fmla="*/ 725547 h 1166887"/>
                <a:gd name="connsiteX69" fmla="*/ 508700 w 3024845"/>
                <a:gd name="connsiteY69" fmla="*/ 719872 h 1166887"/>
                <a:gd name="connsiteX70" fmla="*/ 539100 w 3024845"/>
                <a:gd name="connsiteY70" fmla="*/ 719872 h 1166887"/>
                <a:gd name="connsiteX71" fmla="*/ 539100 w 3024845"/>
                <a:gd name="connsiteY71" fmla="*/ 743652 h 1166887"/>
                <a:gd name="connsiteX72" fmla="*/ 540113 w 3024845"/>
                <a:gd name="connsiteY72" fmla="*/ 743652 h 1166887"/>
                <a:gd name="connsiteX73" fmla="*/ 547207 w 3024845"/>
                <a:gd name="connsiteY73" fmla="*/ 743652 h 1166887"/>
                <a:gd name="connsiteX74" fmla="*/ 547207 w 3024845"/>
                <a:gd name="connsiteY74" fmla="*/ 744733 h 1166887"/>
                <a:gd name="connsiteX75" fmla="*/ 547207 w 3024845"/>
                <a:gd name="connsiteY75" fmla="*/ 752299 h 1166887"/>
                <a:gd name="connsiteX76" fmla="*/ 547967 w 3024845"/>
                <a:gd name="connsiteY76" fmla="*/ 752299 h 1166887"/>
                <a:gd name="connsiteX77" fmla="*/ 553287 w 3024845"/>
                <a:gd name="connsiteY77" fmla="*/ 752299 h 1166887"/>
                <a:gd name="connsiteX78" fmla="*/ 553287 w 3024845"/>
                <a:gd name="connsiteY78" fmla="*/ 750137 h 1166887"/>
                <a:gd name="connsiteX79" fmla="*/ 553287 w 3024845"/>
                <a:gd name="connsiteY79" fmla="*/ 735005 h 1166887"/>
                <a:gd name="connsiteX80" fmla="*/ 554300 w 3024845"/>
                <a:gd name="connsiteY80" fmla="*/ 735005 h 1166887"/>
                <a:gd name="connsiteX81" fmla="*/ 561394 w 3024845"/>
                <a:gd name="connsiteY81" fmla="*/ 735005 h 1166887"/>
                <a:gd name="connsiteX82" fmla="*/ 561394 w 3024845"/>
                <a:gd name="connsiteY82" fmla="*/ 736086 h 1166887"/>
                <a:gd name="connsiteX83" fmla="*/ 561394 w 3024845"/>
                <a:gd name="connsiteY83" fmla="*/ 743652 h 1166887"/>
                <a:gd name="connsiteX84" fmla="*/ 566714 w 3024845"/>
                <a:gd name="connsiteY84" fmla="*/ 741659 h 1166887"/>
                <a:gd name="connsiteX85" fmla="*/ 567474 w 3024845"/>
                <a:gd name="connsiteY85" fmla="*/ 740679 h 1166887"/>
                <a:gd name="connsiteX86" fmla="*/ 567474 w 3024845"/>
                <a:gd name="connsiteY86" fmla="*/ 735005 h 1166887"/>
                <a:gd name="connsiteX87" fmla="*/ 605981 w 3024845"/>
                <a:gd name="connsiteY87" fmla="*/ 735005 h 1166887"/>
                <a:gd name="connsiteX88" fmla="*/ 605981 w 3024845"/>
                <a:gd name="connsiteY88" fmla="*/ 758784 h 1166887"/>
                <a:gd name="connsiteX89" fmla="*/ 608007 w 3024845"/>
                <a:gd name="connsiteY89" fmla="*/ 758784 h 1166887"/>
                <a:gd name="connsiteX90" fmla="*/ 622194 w 3024845"/>
                <a:gd name="connsiteY90" fmla="*/ 758784 h 1166887"/>
                <a:gd name="connsiteX91" fmla="*/ 622194 w 3024845"/>
                <a:gd name="connsiteY91" fmla="*/ 759865 h 1166887"/>
                <a:gd name="connsiteX92" fmla="*/ 622194 w 3024845"/>
                <a:gd name="connsiteY92" fmla="*/ 767431 h 1166887"/>
                <a:gd name="connsiteX93" fmla="*/ 623968 w 3024845"/>
                <a:gd name="connsiteY93" fmla="*/ 767431 h 1166887"/>
                <a:gd name="connsiteX94" fmla="*/ 636381 w 3024845"/>
                <a:gd name="connsiteY94" fmla="*/ 767431 h 1166887"/>
                <a:gd name="connsiteX95" fmla="*/ 636381 w 3024845"/>
                <a:gd name="connsiteY95" fmla="*/ 743652 h 1166887"/>
                <a:gd name="connsiteX96" fmla="*/ 637394 w 3024845"/>
                <a:gd name="connsiteY96" fmla="*/ 743652 h 1166887"/>
                <a:gd name="connsiteX97" fmla="*/ 644488 w 3024845"/>
                <a:gd name="connsiteY97" fmla="*/ 743652 h 1166887"/>
                <a:gd name="connsiteX98" fmla="*/ 644488 w 3024845"/>
                <a:gd name="connsiteY98" fmla="*/ 711225 h 1166887"/>
                <a:gd name="connsiteX99" fmla="*/ 645501 w 3024845"/>
                <a:gd name="connsiteY99" fmla="*/ 711225 h 1166887"/>
                <a:gd name="connsiteX100" fmla="*/ 652595 w 3024845"/>
                <a:gd name="connsiteY100" fmla="*/ 711225 h 1166887"/>
                <a:gd name="connsiteX101" fmla="*/ 652595 w 3024845"/>
                <a:gd name="connsiteY101" fmla="*/ 709334 h 1166887"/>
                <a:gd name="connsiteX102" fmla="*/ 652595 w 3024845"/>
                <a:gd name="connsiteY102" fmla="*/ 696093 h 1166887"/>
                <a:gd name="connsiteX103" fmla="*/ 651328 w 3024845"/>
                <a:gd name="connsiteY103" fmla="*/ 694471 h 1166887"/>
                <a:gd name="connsiteX104" fmla="*/ 656648 w 3024845"/>
                <a:gd name="connsiteY104" fmla="*/ 683122 h 1166887"/>
                <a:gd name="connsiteX105" fmla="*/ 664755 w 3024845"/>
                <a:gd name="connsiteY105" fmla="*/ 711225 h 1166887"/>
                <a:gd name="connsiteX106" fmla="*/ 665515 w 3024845"/>
                <a:gd name="connsiteY106" fmla="*/ 711225 h 1166887"/>
                <a:gd name="connsiteX107" fmla="*/ 670835 w 3024845"/>
                <a:gd name="connsiteY107" fmla="*/ 711225 h 1166887"/>
                <a:gd name="connsiteX108" fmla="*/ 670835 w 3024845"/>
                <a:gd name="connsiteY108" fmla="*/ 605298 h 1166887"/>
                <a:gd name="connsiteX109" fmla="*/ 672355 w 3024845"/>
                <a:gd name="connsiteY109" fmla="*/ 605298 h 1166887"/>
                <a:gd name="connsiteX110" fmla="*/ 682995 w 3024845"/>
                <a:gd name="connsiteY110" fmla="*/ 605298 h 1166887"/>
                <a:gd name="connsiteX111" fmla="*/ 682995 w 3024845"/>
                <a:gd name="connsiteY111" fmla="*/ 557739 h 1166887"/>
                <a:gd name="connsiteX112" fmla="*/ 709342 w 3024845"/>
                <a:gd name="connsiteY112" fmla="*/ 557739 h 1166887"/>
                <a:gd name="connsiteX113" fmla="*/ 709342 w 3024845"/>
                <a:gd name="connsiteY113" fmla="*/ 536121 h 1166887"/>
                <a:gd name="connsiteX114" fmla="*/ 743796 w 3024845"/>
                <a:gd name="connsiteY114" fmla="*/ 536121 h 1166887"/>
                <a:gd name="connsiteX115" fmla="*/ 743796 w 3024845"/>
                <a:gd name="connsiteY115" fmla="*/ 538553 h 1166887"/>
                <a:gd name="connsiteX116" fmla="*/ 743796 w 3024845"/>
                <a:gd name="connsiteY116" fmla="*/ 555577 h 1166887"/>
                <a:gd name="connsiteX117" fmla="*/ 746076 w 3024845"/>
                <a:gd name="connsiteY117" fmla="*/ 555577 h 1166887"/>
                <a:gd name="connsiteX118" fmla="*/ 762036 w 3024845"/>
                <a:gd name="connsiteY118" fmla="*/ 555577 h 1166887"/>
                <a:gd name="connsiteX119" fmla="*/ 762036 w 3024845"/>
                <a:gd name="connsiteY119" fmla="*/ 603136 h 1166887"/>
                <a:gd name="connsiteX120" fmla="*/ 763049 w 3024845"/>
                <a:gd name="connsiteY120" fmla="*/ 603136 h 1166887"/>
                <a:gd name="connsiteX121" fmla="*/ 770143 w 3024845"/>
                <a:gd name="connsiteY121" fmla="*/ 603136 h 1166887"/>
                <a:gd name="connsiteX122" fmla="*/ 784330 w 3024845"/>
                <a:gd name="connsiteY122" fmla="*/ 607460 h 1166887"/>
                <a:gd name="connsiteX123" fmla="*/ 784330 w 3024845"/>
                <a:gd name="connsiteY123" fmla="*/ 646372 h 1166887"/>
                <a:gd name="connsiteX124" fmla="*/ 785343 w 3024845"/>
                <a:gd name="connsiteY124" fmla="*/ 646372 h 1166887"/>
                <a:gd name="connsiteX125" fmla="*/ 792436 w 3024845"/>
                <a:gd name="connsiteY125" fmla="*/ 646372 h 1166887"/>
                <a:gd name="connsiteX126" fmla="*/ 792436 w 3024845"/>
                <a:gd name="connsiteY126" fmla="*/ 647993 h 1166887"/>
                <a:gd name="connsiteX127" fmla="*/ 792436 w 3024845"/>
                <a:gd name="connsiteY127" fmla="*/ 659342 h 1166887"/>
                <a:gd name="connsiteX128" fmla="*/ 794463 w 3024845"/>
                <a:gd name="connsiteY128" fmla="*/ 659342 h 1166887"/>
                <a:gd name="connsiteX129" fmla="*/ 808650 w 3024845"/>
                <a:gd name="connsiteY129" fmla="*/ 659342 h 1166887"/>
                <a:gd name="connsiteX130" fmla="*/ 814730 w 3024845"/>
                <a:gd name="connsiteY130" fmla="*/ 665828 h 1166887"/>
                <a:gd name="connsiteX131" fmla="*/ 814730 w 3024845"/>
                <a:gd name="connsiteY131" fmla="*/ 687446 h 1166887"/>
                <a:gd name="connsiteX132" fmla="*/ 817010 w 3024845"/>
                <a:gd name="connsiteY132" fmla="*/ 687446 h 1166887"/>
                <a:gd name="connsiteX133" fmla="*/ 832970 w 3024845"/>
                <a:gd name="connsiteY133" fmla="*/ 687446 h 1166887"/>
                <a:gd name="connsiteX134" fmla="*/ 832970 w 3024845"/>
                <a:gd name="connsiteY134" fmla="*/ 688526 h 1166887"/>
                <a:gd name="connsiteX135" fmla="*/ 832970 w 3024845"/>
                <a:gd name="connsiteY135" fmla="*/ 696093 h 1166887"/>
                <a:gd name="connsiteX136" fmla="*/ 834237 w 3024845"/>
                <a:gd name="connsiteY136" fmla="*/ 696093 h 1166887"/>
                <a:gd name="connsiteX137" fmla="*/ 843104 w 3024845"/>
                <a:gd name="connsiteY137" fmla="*/ 696093 h 1166887"/>
                <a:gd name="connsiteX138" fmla="*/ 843104 w 3024845"/>
                <a:gd name="connsiteY138" fmla="*/ 698254 h 1166887"/>
                <a:gd name="connsiteX139" fmla="*/ 843104 w 3024845"/>
                <a:gd name="connsiteY139" fmla="*/ 713387 h 1166887"/>
                <a:gd name="connsiteX140" fmla="*/ 847157 w 3024845"/>
                <a:gd name="connsiteY140" fmla="*/ 711495 h 1166887"/>
                <a:gd name="connsiteX141" fmla="*/ 847157 w 3024845"/>
                <a:gd name="connsiteY141" fmla="*/ 698254 h 1166887"/>
                <a:gd name="connsiteX142" fmla="*/ 848170 w 3024845"/>
                <a:gd name="connsiteY142" fmla="*/ 698254 h 1166887"/>
                <a:gd name="connsiteX143" fmla="*/ 855264 w 3024845"/>
                <a:gd name="connsiteY143" fmla="*/ 698254 h 1166887"/>
                <a:gd name="connsiteX144" fmla="*/ 855264 w 3024845"/>
                <a:gd name="connsiteY144" fmla="*/ 699876 h 1166887"/>
                <a:gd name="connsiteX145" fmla="*/ 855264 w 3024845"/>
                <a:gd name="connsiteY145" fmla="*/ 711225 h 1166887"/>
                <a:gd name="connsiteX146" fmla="*/ 856024 w 3024845"/>
                <a:gd name="connsiteY146" fmla="*/ 711225 h 1166887"/>
                <a:gd name="connsiteX147" fmla="*/ 861344 w 3024845"/>
                <a:gd name="connsiteY147" fmla="*/ 711225 h 1166887"/>
                <a:gd name="connsiteX148" fmla="*/ 909984 w 3024845"/>
                <a:gd name="connsiteY148" fmla="*/ 706902 h 1166887"/>
                <a:gd name="connsiteX149" fmla="*/ 909984 w 3024845"/>
                <a:gd name="connsiteY149" fmla="*/ 708253 h 1166887"/>
                <a:gd name="connsiteX150" fmla="*/ 909984 w 3024845"/>
                <a:gd name="connsiteY150" fmla="*/ 717710 h 1166887"/>
                <a:gd name="connsiteX151" fmla="*/ 910744 w 3024845"/>
                <a:gd name="connsiteY151" fmla="*/ 717710 h 1166887"/>
                <a:gd name="connsiteX152" fmla="*/ 916065 w 3024845"/>
                <a:gd name="connsiteY152" fmla="*/ 717710 h 1166887"/>
                <a:gd name="connsiteX153" fmla="*/ 916065 w 3024845"/>
                <a:gd name="connsiteY153" fmla="*/ 719872 h 1166887"/>
                <a:gd name="connsiteX154" fmla="*/ 916065 w 3024845"/>
                <a:gd name="connsiteY154" fmla="*/ 735005 h 1166887"/>
                <a:gd name="connsiteX155" fmla="*/ 918091 w 3024845"/>
                <a:gd name="connsiteY155" fmla="*/ 733654 h 1166887"/>
                <a:gd name="connsiteX156" fmla="*/ 932278 w 3024845"/>
                <a:gd name="connsiteY156" fmla="*/ 724196 h 1166887"/>
                <a:gd name="connsiteX157" fmla="*/ 938358 w 3024845"/>
                <a:gd name="connsiteY157" fmla="*/ 683122 h 1166887"/>
                <a:gd name="connsiteX158" fmla="*/ 939118 w 3024845"/>
                <a:gd name="connsiteY158" fmla="*/ 682852 h 1166887"/>
                <a:gd name="connsiteX159" fmla="*/ 944438 w 3024845"/>
                <a:gd name="connsiteY159" fmla="*/ 680960 h 1166887"/>
                <a:gd name="connsiteX160" fmla="*/ 946465 w 3024845"/>
                <a:gd name="connsiteY160" fmla="*/ 611783 h 1166887"/>
                <a:gd name="connsiteX161" fmla="*/ 948492 w 3024845"/>
                <a:gd name="connsiteY161" fmla="*/ 680960 h 1166887"/>
                <a:gd name="connsiteX162" fmla="*/ 949252 w 3024845"/>
                <a:gd name="connsiteY162" fmla="*/ 681230 h 1166887"/>
                <a:gd name="connsiteX163" fmla="*/ 954572 w 3024845"/>
                <a:gd name="connsiteY163" fmla="*/ 683122 h 1166887"/>
                <a:gd name="connsiteX164" fmla="*/ 954572 w 3024845"/>
                <a:gd name="connsiteY164" fmla="*/ 596651 h 1166887"/>
                <a:gd name="connsiteX165" fmla="*/ 958625 w 3024845"/>
                <a:gd name="connsiteY165" fmla="*/ 564224 h 1166887"/>
                <a:gd name="connsiteX166" fmla="*/ 997132 w 3024845"/>
                <a:gd name="connsiteY166" fmla="*/ 564224 h 1166887"/>
                <a:gd name="connsiteX167" fmla="*/ 997132 w 3024845"/>
                <a:gd name="connsiteY167" fmla="*/ 596651 h 1166887"/>
                <a:gd name="connsiteX168" fmla="*/ 997892 w 3024845"/>
                <a:gd name="connsiteY168" fmla="*/ 596651 h 1166887"/>
                <a:gd name="connsiteX169" fmla="*/ 1003212 w 3024845"/>
                <a:gd name="connsiteY169" fmla="*/ 596651 h 1166887"/>
                <a:gd name="connsiteX170" fmla="*/ 1003212 w 3024845"/>
                <a:gd name="connsiteY170" fmla="*/ 514503 h 1166887"/>
                <a:gd name="connsiteX171" fmla="*/ 1004986 w 3024845"/>
                <a:gd name="connsiteY171" fmla="*/ 514503 h 1166887"/>
                <a:gd name="connsiteX172" fmla="*/ 1017399 w 3024845"/>
                <a:gd name="connsiteY172" fmla="*/ 514503 h 1166887"/>
                <a:gd name="connsiteX173" fmla="*/ 1017399 w 3024845"/>
                <a:gd name="connsiteY173" fmla="*/ 512612 h 1166887"/>
                <a:gd name="connsiteX174" fmla="*/ 1017399 w 3024845"/>
                <a:gd name="connsiteY174" fmla="*/ 499371 h 1166887"/>
                <a:gd name="connsiteX175" fmla="*/ 1039693 w 3024845"/>
                <a:gd name="connsiteY175" fmla="*/ 499371 h 1166887"/>
                <a:gd name="connsiteX176" fmla="*/ 1039693 w 3024845"/>
                <a:gd name="connsiteY176" fmla="*/ 498290 h 1166887"/>
                <a:gd name="connsiteX177" fmla="*/ 1039693 w 3024845"/>
                <a:gd name="connsiteY177" fmla="*/ 490724 h 1166887"/>
                <a:gd name="connsiteX178" fmla="*/ 1041466 w 3024845"/>
                <a:gd name="connsiteY178" fmla="*/ 490724 h 1166887"/>
                <a:gd name="connsiteX179" fmla="*/ 1053880 w 3024845"/>
                <a:gd name="connsiteY179" fmla="*/ 490724 h 1166887"/>
                <a:gd name="connsiteX180" fmla="*/ 1053880 w 3024845"/>
                <a:gd name="connsiteY180" fmla="*/ 491805 h 1166887"/>
                <a:gd name="connsiteX181" fmla="*/ 1053880 w 3024845"/>
                <a:gd name="connsiteY181" fmla="*/ 499371 h 1166887"/>
                <a:gd name="connsiteX182" fmla="*/ 1054640 w 3024845"/>
                <a:gd name="connsiteY182" fmla="*/ 499371 h 1166887"/>
                <a:gd name="connsiteX183" fmla="*/ 1059960 w 3024845"/>
                <a:gd name="connsiteY183" fmla="*/ 499371 h 1166887"/>
                <a:gd name="connsiteX184" fmla="*/ 1070093 w 3024845"/>
                <a:gd name="connsiteY184" fmla="*/ 495047 h 1166887"/>
                <a:gd name="connsiteX185" fmla="*/ 1074146 w 3024845"/>
                <a:gd name="connsiteY185" fmla="*/ 498290 h 1166887"/>
                <a:gd name="connsiteX186" fmla="*/ 1074146 w 3024845"/>
                <a:gd name="connsiteY186" fmla="*/ 490724 h 1166887"/>
                <a:gd name="connsiteX187" fmla="*/ 1076426 w 3024845"/>
                <a:gd name="connsiteY187" fmla="*/ 490724 h 1166887"/>
                <a:gd name="connsiteX188" fmla="*/ 1092387 w 3024845"/>
                <a:gd name="connsiteY188" fmla="*/ 490724 h 1166887"/>
                <a:gd name="connsiteX189" fmla="*/ 1092387 w 3024845"/>
                <a:gd name="connsiteY189" fmla="*/ 491805 h 1166887"/>
                <a:gd name="connsiteX190" fmla="*/ 1092387 w 3024845"/>
                <a:gd name="connsiteY190" fmla="*/ 499371 h 1166887"/>
                <a:gd name="connsiteX191" fmla="*/ 1122787 w 3024845"/>
                <a:gd name="connsiteY191" fmla="*/ 499371 h 1166887"/>
                <a:gd name="connsiteX192" fmla="*/ 1122787 w 3024845"/>
                <a:gd name="connsiteY192" fmla="*/ 500992 h 1166887"/>
                <a:gd name="connsiteX193" fmla="*/ 1122787 w 3024845"/>
                <a:gd name="connsiteY193" fmla="*/ 512342 h 1166887"/>
                <a:gd name="connsiteX194" fmla="*/ 1149134 w 3024845"/>
                <a:gd name="connsiteY194" fmla="*/ 512342 h 1166887"/>
                <a:gd name="connsiteX195" fmla="*/ 1149134 w 3024845"/>
                <a:gd name="connsiteY195" fmla="*/ 542606 h 1166887"/>
                <a:gd name="connsiteX196" fmla="*/ 1149894 w 3024845"/>
                <a:gd name="connsiteY196" fmla="*/ 542606 h 1166887"/>
                <a:gd name="connsiteX197" fmla="*/ 1155214 w 3024845"/>
                <a:gd name="connsiteY197" fmla="*/ 542606 h 1166887"/>
                <a:gd name="connsiteX198" fmla="*/ 1155214 w 3024845"/>
                <a:gd name="connsiteY198" fmla="*/ 543687 h 1166887"/>
                <a:gd name="connsiteX199" fmla="*/ 1155214 w 3024845"/>
                <a:gd name="connsiteY199" fmla="*/ 551254 h 1166887"/>
                <a:gd name="connsiteX200" fmla="*/ 1159268 w 3024845"/>
                <a:gd name="connsiteY200" fmla="*/ 581518 h 1166887"/>
                <a:gd name="connsiteX201" fmla="*/ 1160028 w 3024845"/>
                <a:gd name="connsiteY201" fmla="*/ 581518 h 1166887"/>
                <a:gd name="connsiteX202" fmla="*/ 1165348 w 3024845"/>
                <a:gd name="connsiteY202" fmla="*/ 581518 h 1166887"/>
                <a:gd name="connsiteX203" fmla="*/ 1165348 w 3024845"/>
                <a:gd name="connsiteY203" fmla="*/ 582329 h 1166887"/>
                <a:gd name="connsiteX204" fmla="*/ 1165348 w 3024845"/>
                <a:gd name="connsiteY204" fmla="*/ 588004 h 1166887"/>
                <a:gd name="connsiteX205" fmla="*/ 1166361 w 3024845"/>
                <a:gd name="connsiteY205" fmla="*/ 588004 h 1166887"/>
                <a:gd name="connsiteX206" fmla="*/ 1173454 w 3024845"/>
                <a:gd name="connsiteY206" fmla="*/ 588004 h 1166887"/>
                <a:gd name="connsiteX207" fmla="*/ 1173454 w 3024845"/>
                <a:gd name="connsiteY207" fmla="*/ 618269 h 1166887"/>
                <a:gd name="connsiteX208" fmla="*/ 1175481 w 3024845"/>
                <a:gd name="connsiteY208" fmla="*/ 618269 h 1166887"/>
                <a:gd name="connsiteX209" fmla="*/ 1189668 w 3024845"/>
                <a:gd name="connsiteY209" fmla="*/ 618269 h 1166887"/>
                <a:gd name="connsiteX210" fmla="*/ 1189668 w 3024845"/>
                <a:gd name="connsiteY210" fmla="*/ 642048 h 1166887"/>
                <a:gd name="connsiteX211" fmla="*/ 1191695 w 3024845"/>
                <a:gd name="connsiteY211" fmla="*/ 643669 h 1166887"/>
                <a:gd name="connsiteX212" fmla="*/ 1191695 w 3024845"/>
                <a:gd name="connsiteY212" fmla="*/ 655019 h 1166887"/>
                <a:gd name="connsiteX213" fmla="*/ 1192455 w 3024845"/>
                <a:gd name="connsiteY213" fmla="*/ 655019 h 1166887"/>
                <a:gd name="connsiteX214" fmla="*/ 1197775 w 3024845"/>
                <a:gd name="connsiteY214" fmla="*/ 655019 h 1166887"/>
                <a:gd name="connsiteX215" fmla="*/ 1197775 w 3024845"/>
                <a:gd name="connsiteY215" fmla="*/ 678798 h 1166887"/>
                <a:gd name="connsiteX216" fmla="*/ 1199041 w 3024845"/>
                <a:gd name="connsiteY216" fmla="*/ 678798 h 1166887"/>
                <a:gd name="connsiteX217" fmla="*/ 1207908 w 3024845"/>
                <a:gd name="connsiteY217" fmla="*/ 678798 h 1166887"/>
                <a:gd name="connsiteX218" fmla="*/ 1209935 w 3024845"/>
                <a:gd name="connsiteY218" fmla="*/ 682852 h 1166887"/>
                <a:gd name="connsiteX219" fmla="*/ 1209935 w 3024845"/>
                <a:gd name="connsiteY219" fmla="*/ 696093 h 1166887"/>
                <a:gd name="connsiteX220" fmla="*/ 1211455 w 3024845"/>
                <a:gd name="connsiteY220" fmla="*/ 694201 h 1166887"/>
                <a:gd name="connsiteX221" fmla="*/ 1222095 w 3024845"/>
                <a:gd name="connsiteY221" fmla="*/ 680960 h 1166887"/>
                <a:gd name="connsiteX222" fmla="*/ 1250469 w 3024845"/>
                <a:gd name="connsiteY222" fmla="*/ 680960 h 1166887"/>
                <a:gd name="connsiteX223" fmla="*/ 1250469 w 3024845"/>
                <a:gd name="connsiteY223" fmla="*/ 767431 h 1166887"/>
                <a:gd name="connsiteX224" fmla="*/ 1251229 w 3024845"/>
                <a:gd name="connsiteY224" fmla="*/ 767431 h 1166887"/>
                <a:gd name="connsiteX225" fmla="*/ 1256549 w 3024845"/>
                <a:gd name="connsiteY225" fmla="*/ 767431 h 1166887"/>
                <a:gd name="connsiteX226" fmla="*/ 1257309 w 3024845"/>
                <a:gd name="connsiteY226" fmla="*/ 766080 h 1166887"/>
                <a:gd name="connsiteX227" fmla="*/ 1262629 w 3024845"/>
                <a:gd name="connsiteY227" fmla="*/ 756622 h 1166887"/>
                <a:gd name="connsiteX228" fmla="*/ 1262629 w 3024845"/>
                <a:gd name="connsiteY228" fmla="*/ 758514 h 1166887"/>
                <a:gd name="connsiteX229" fmla="*/ 1262629 w 3024845"/>
                <a:gd name="connsiteY229" fmla="*/ 771755 h 1166887"/>
                <a:gd name="connsiteX230" fmla="*/ 1266682 w 3024845"/>
                <a:gd name="connsiteY230" fmla="*/ 726358 h 1166887"/>
                <a:gd name="connsiteX231" fmla="*/ 1267442 w 3024845"/>
                <a:gd name="connsiteY231" fmla="*/ 726358 h 1166887"/>
                <a:gd name="connsiteX232" fmla="*/ 1272762 w 3024845"/>
                <a:gd name="connsiteY232" fmla="*/ 726358 h 1166887"/>
                <a:gd name="connsiteX233" fmla="*/ 1272762 w 3024845"/>
                <a:gd name="connsiteY233" fmla="*/ 661504 h 1166887"/>
                <a:gd name="connsiteX234" fmla="*/ 1273776 w 3024845"/>
                <a:gd name="connsiteY234" fmla="*/ 661504 h 1166887"/>
                <a:gd name="connsiteX235" fmla="*/ 1280869 w 3024845"/>
                <a:gd name="connsiteY235" fmla="*/ 661504 h 1166887"/>
                <a:gd name="connsiteX236" fmla="*/ 1293029 w 3024845"/>
                <a:gd name="connsiteY236" fmla="*/ 618269 h 1166887"/>
                <a:gd name="connsiteX237" fmla="*/ 1294296 w 3024845"/>
                <a:gd name="connsiteY237" fmla="*/ 618269 h 1166887"/>
                <a:gd name="connsiteX238" fmla="*/ 1303163 w 3024845"/>
                <a:gd name="connsiteY238" fmla="*/ 618269 h 1166887"/>
                <a:gd name="connsiteX239" fmla="*/ 1313296 w 3024845"/>
                <a:gd name="connsiteY239" fmla="*/ 661504 h 1166887"/>
                <a:gd name="connsiteX240" fmla="*/ 1314309 w 3024845"/>
                <a:gd name="connsiteY240" fmla="*/ 661504 h 1166887"/>
                <a:gd name="connsiteX241" fmla="*/ 1321403 w 3024845"/>
                <a:gd name="connsiteY241" fmla="*/ 661504 h 1166887"/>
                <a:gd name="connsiteX242" fmla="*/ 1321403 w 3024845"/>
                <a:gd name="connsiteY242" fmla="*/ 700416 h 1166887"/>
                <a:gd name="connsiteX243" fmla="*/ 1323176 w 3024845"/>
                <a:gd name="connsiteY243" fmla="*/ 700416 h 1166887"/>
                <a:gd name="connsiteX244" fmla="*/ 1335590 w 3024845"/>
                <a:gd name="connsiteY244" fmla="*/ 700416 h 1166887"/>
                <a:gd name="connsiteX245" fmla="*/ 1335590 w 3024845"/>
                <a:gd name="connsiteY245" fmla="*/ 702578 h 1166887"/>
                <a:gd name="connsiteX246" fmla="*/ 1335590 w 3024845"/>
                <a:gd name="connsiteY246" fmla="*/ 717710 h 1166887"/>
                <a:gd name="connsiteX247" fmla="*/ 1339643 w 3024845"/>
                <a:gd name="connsiteY247" fmla="*/ 715549 h 1166887"/>
                <a:gd name="connsiteX248" fmla="*/ 1339643 w 3024845"/>
                <a:gd name="connsiteY248" fmla="*/ 700416 h 1166887"/>
                <a:gd name="connsiteX249" fmla="*/ 1341163 w 3024845"/>
                <a:gd name="connsiteY249" fmla="*/ 700416 h 1166887"/>
                <a:gd name="connsiteX250" fmla="*/ 1351803 w 3024845"/>
                <a:gd name="connsiteY250" fmla="*/ 700416 h 1166887"/>
                <a:gd name="connsiteX251" fmla="*/ 1351803 w 3024845"/>
                <a:gd name="connsiteY251" fmla="*/ 702037 h 1166887"/>
                <a:gd name="connsiteX252" fmla="*/ 1351803 w 3024845"/>
                <a:gd name="connsiteY252" fmla="*/ 713387 h 1166887"/>
                <a:gd name="connsiteX253" fmla="*/ 1382204 w 3024845"/>
                <a:gd name="connsiteY253" fmla="*/ 713387 h 1166887"/>
                <a:gd name="connsiteX254" fmla="*/ 1382204 w 3024845"/>
                <a:gd name="connsiteY254" fmla="*/ 676637 h 1166887"/>
                <a:gd name="connsiteX255" fmla="*/ 1383470 w 3024845"/>
                <a:gd name="connsiteY255" fmla="*/ 676637 h 1166887"/>
                <a:gd name="connsiteX256" fmla="*/ 1392337 w 3024845"/>
                <a:gd name="connsiteY256" fmla="*/ 676637 h 1166887"/>
                <a:gd name="connsiteX257" fmla="*/ 1392337 w 3024845"/>
                <a:gd name="connsiteY257" fmla="*/ 698254 h 1166887"/>
                <a:gd name="connsiteX258" fmla="*/ 1394364 w 3024845"/>
                <a:gd name="connsiteY258" fmla="*/ 665828 h 1166887"/>
                <a:gd name="connsiteX259" fmla="*/ 1416657 w 3024845"/>
                <a:gd name="connsiteY259" fmla="*/ 665828 h 1166887"/>
                <a:gd name="connsiteX260" fmla="*/ 1416657 w 3024845"/>
                <a:gd name="connsiteY260" fmla="*/ 664206 h 1166887"/>
                <a:gd name="connsiteX261" fmla="*/ 1416657 w 3024845"/>
                <a:gd name="connsiteY261" fmla="*/ 652857 h 1166887"/>
                <a:gd name="connsiteX262" fmla="*/ 1417417 w 3024845"/>
                <a:gd name="connsiteY262" fmla="*/ 652857 h 1166887"/>
                <a:gd name="connsiteX263" fmla="*/ 1422737 w 3024845"/>
                <a:gd name="connsiteY263" fmla="*/ 652857 h 1166887"/>
                <a:gd name="connsiteX264" fmla="*/ 1422737 w 3024845"/>
                <a:gd name="connsiteY264" fmla="*/ 650966 h 1166887"/>
                <a:gd name="connsiteX265" fmla="*/ 1422737 w 3024845"/>
                <a:gd name="connsiteY265" fmla="*/ 637725 h 1166887"/>
                <a:gd name="connsiteX266" fmla="*/ 1426791 w 3024845"/>
                <a:gd name="connsiteY266" fmla="*/ 644210 h 1166887"/>
                <a:gd name="connsiteX267" fmla="*/ 1429071 w 3024845"/>
                <a:gd name="connsiteY267" fmla="*/ 644210 h 1166887"/>
                <a:gd name="connsiteX268" fmla="*/ 1445031 w 3024845"/>
                <a:gd name="connsiteY268" fmla="*/ 644210 h 1166887"/>
                <a:gd name="connsiteX269" fmla="*/ 1445031 w 3024845"/>
                <a:gd name="connsiteY269" fmla="*/ 643399 h 1166887"/>
                <a:gd name="connsiteX270" fmla="*/ 1445031 w 3024845"/>
                <a:gd name="connsiteY270" fmla="*/ 637725 h 1166887"/>
                <a:gd name="connsiteX271" fmla="*/ 1445791 w 3024845"/>
                <a:gd name="connsiteY271" fmla="*/ 637725 h 1166887"/>
                <a:gd name="connsiteX272" fmla="*/ 1451111 w 3024845"/>
                <a:gd name="connsiteY272" fmla="*/ 637725 h 1166887"/>
                <a:gd name="connsiteX273" fmla="*/ 1451111 w 3024845"/>
                <a:gd name="connsiteY273" fmla="*/ 639076 h 1166887"/>
                <a:gd name="connsiteX274" fmla="*/ 1451111 w 3024845"/>
                <a:gd name="connsiteY274" fmla="*/ 648534 h 1166887"/>
                <a:gd name="connsiteX275" fmla="*/ 1489618 w 3024845"/>
                <a:gd name="connsiteY275" fmla="*/ 648534 h 1166887"/>
                <a:gd name="connsiteX276" fmla="*/ 1489618 w 3024845"/>
                <a:gd name="connsiteY276" fmla="*/ 786887 h 1166887"/>
                <a:gd name="connsiteX277" fmla="*/ 1491138 w 3024845"/>
                <a:gd name="connsiteY277" fmla="*/ 786887 h 1166887"/>
                <a:gd name="connsiteX278" fmla="*/ 1501778 w 3024845"/>
                <a:gd name="connsiteY278" fmla="*/ 786887 h 1166887"/>
                <a:gd name="connsiteX279" fmla="*/ 1501778 w 3024845"/>
                <a:gd name="connsiteY279" fmla="*/ 773917 h 1166887"/>
                <a:gd name="connsiteX280" fmla="*/ 1505832 w 3024845"/>
                <a:gd name="connsiteY280" fmla="*/ 773917 h 1166887"/>
                <a:gd name="connsiteX281" fmla="*/ 1505832 w 3024845"/>
                <a:gd name="connsiteY281" fmla="*/ 786887 h 1166887"/>
                <a:gd name="connsiteX282" fmla="*/ 1536232 w 3024845"/>
                <a:gd name="connsiteY282" fmla="*/ 786887 h 1166887"/>
                <a:gd name="connsiteX283" fmla="*/ 1536232 w 3024845"/>
                <a:gd name="connsiteY283" fmla="*/ 756622 h 1166887"/>
                <a:gd name="connsiteX284" fmla="*/ 1548392 w 3024845"/>
                <a:gd name="connsiteY284" fmla="*/ 756622 h 1166887"/>
                <a:gd name="connsiteX285" fmla="*/ 1560552 w 3024845"/>
                <a:gd name="connsiteY285" fmla="*/ 754461 h 1166887"/>
                <a:gd name="connsiteX286" fmla="*/ 1564606 w 3024845"/>
                <a:gd name="connsiteY286" fmla="*/ 756622 h 1166887"/>
                <a:gd name="connsiteX287" fmla="*/ 1574739 w 3024845"/>
                <a:gd name="connsiteY287" fmla="*/ 756622 h 1166887"/>
                <a:gd name="connsiteX288" fmla="*/ 1574739 w 3024845"/>
                <a:gd name="connsiteY288" fmla="*/ 786887 h 1166887"/>
                <a:gd name="connsiteX289" fmla="*/ 1582846 w 3024845"/>
                <a:gd name="connsiteY289" fmla="*/ 786887 h 1166887"/>
                <a:gd name="connsiteX290" fmla="*/ 1582846 w 3024845"/>
                <a:gd name="connsiteY290" fmla="*/ 804182 h 1166887"/>
                <a:gd name="connsiteX291" fmla="*/ 1592182 w 3024845"/>
                <a:gd name="connsiteY291" fmla="*/ 805087 h 1166887"/>
                <a:gd name="connsiteX292" fmla="*/ 1605140 w 3024845"/>
                <a:gd name="connsiteY292" fmla="*/ 805087 h 1166887"/>
                <a:gd name="connsiteX293" fmla="*/ 1605140 w 3024845"/>
                <a:gd name="connsiteY293" fmla="*/ 789049 h 1166887"/>
                <a:gd name="connsiteX294" fmla="*/ 1673096 w 3024845"/>
                <a:gd name="connsiteY294" fmla="*/ 789049 h 1166887"/>
                <a:gd name="connsiteX295" fmla="*/ 1673096 w 3024845"/>
                <a:gd name="connsiteY295" fmla="*/ 703796 h 1166887"/>
                <a:gd name="connsiteX296" fmla="*/ 1745104 w 3024845"/>
                <a:gd name="connsiteY296" fmla="*/ 703796 h 1166887"/>
                <a:gd name="connsiteX297" fmla="*/ 1745104 w 3024845"/>
                <a:gd name="connsiteY297" fmla="*/ 782564 h 1166887"/>
                <a:gd name="connsiteX298" fmla="*/ 1747008 w 3024845"/>
                <a:gd name="connsiteY298" fmla="*/ 782564 h 1166887"/>
                <a:gd name="connsiteX299" fmla="*/ 1748250 w 3024845"/>
                <a:gd name="connsiteY299" fmla="*/ 805087 h 1166887"/>
                <a:gd name="connsiteX300" fmla="*/ 1757926 w 3024845"/>
                <a:gd name="connsiteY300" fmla="*/ 805087 h 1166887"/>
                <a:gd name="connsiteX301" fmla="*/ 1759168 w 3024845"/>
                <a:gd name="connsiteY301" fmla="*/ 782564 h 1166887"/>
                <a:gd name="connsiteX302" fmla="*/ 1765248 w 3024845"/>
                <a:gd name="connsiteY302" fmla="*/ 782564 h 1166887"/>
                <a:gd name="connsiteX303" fmla="*/ 1766490 w 3024845"/>
                <a:gd name="connsiteY303" fmla="*/ 805087 h 1166887"/>
                <a:gd name="connsiteX304" fmla="*/ 1817112 w 3024845"/>
                <a:gd name="connsiteY304" fmla="*/ 805087 h 1166887"/>
                <a:gd name="connsiteX305" fmla="*/ 1817112 w 3024845"/>
                <a:gd name="connsiteY305" fmla="*/ 642059 h 1166887"/>
                <a:gd name="connsiteX306" fmla="*/ 2014439 w 3024845"/>
                <a:gd name="connsiteY306" fmla="*/ 642059 h 1166887"/>
                <a:gd name="connsiteX307" fmla="*/ 2014439 w 3024845"/>
                <a:gd name="connsiteY307" fmla="*/ 805087 h 1166887"/>
                <a:gd name="connsiteX308" fmla="*/ 2033136 w 3024845"/>
                <a:gd name="connsiteY308" fmla="*/ 805087 h 1166887"/>
                <a:gd name="connsiteX309" fmla="*/ 2033136 w 3024845"/>
                <a:gd name="connsiteY309" fmla="*/ 722394 h 1166887"/>
                <a:gd name="connsiteX310" fmla="*/ 2128256 w 3024845"/>
                <a:gd name="connsiteY310" fmla="*/ 722394 h 1166887"/>
                <a:gd name="connsiteX311" fmla="*/ 2140186 w 3024845"/>
                <a:gd name="connsiteY311" fmla="*/ 404253 h 1166887"/>
                <a:gd name="connsiteX312" fmla="*/ 2128026 w 3024845"/>
                <a:gd name="connsiteY312" fmla="*/ 382635 h 1166887"/>
                <a:gd name="connsiteX313" fmla="*/ 2121946 w 3024845"/>
                <a:gd name="connsiteY313" fmla="*/ 378311 h 1166887"/>
                <a:gd name="connsiteX314" fmla="*/ 2130053 w 3024845"/>
                <a:gd name="connsiteY314" fmla="*/ 354532 h 1166887"/>
                <a:gd name="connsiteX315" fmla="*/ 2130053 w 3024845"/>
                <a:gd name="connsiteY315" fmla="*/ 337238 h 1166887"/>
                <a:gd name="connsiteX316" fmla="*/ 2144240 w 3024845"/>
                <a:gd name="connsiteY316" fmla="*/ 337238 h 1166887"/>
                <a:gd name="connsiteX317" fmla="*/ 2144240 w 3024845"/>
                <a:gd name="connsiteY317" fmla="*/ 315620 h 1166887"/>
                <a:gd name="connsiteX318" fmla="*/ 2146266 w 3024845"/>
                <a:gd name="connsiteY318" fmla="*/ 311296 h 1166887"/>
                <a:gd name="connsiteX319" fmla="*/ 2146266 w 3024845"/>
                <a:gd name="connsiteY319" fmla="*/ 233472 h 1166887"/>
                <a:gd name="connsiteX320" fmla="*/ 2144240 w 3024845"/>
                <a:gd name="connsiteY320" fmla="*/ 226987 h 1166887"/>
                <a:gd name="connsiteX321" fmla="*/ 2150320 w 3024845"/>
                <a:gd name="connsiteY321" fmla="*/ 220501 h 1166887"/>
                <a:gd name="connsiteX322" fmla="*/ 2150320 w 3024845"/>
                <a:gd name="connsiteY322" fmla="*/ 162133 h 1166887"/>
                <a:gd name="connsiteX323" fmla="*/ 2152346 w 3024845"/>
                <a:gd name="connsiteY323" fmla="*/ 157810 h 1166887"/>
                <a:gd name="connsiteX324" fmla="*/ 2152346 w 3024845"/>
                <a:gd name="connsiteY324" fmla="*/ 101604 h 1166887"/>
                <a:gd name="connsiteX325" fmla="*/ 2154373 w 3024845"/>
                <a:gd name="connsiteY325" fmla="*/ 82148 h 1166887"/>
                <a:gd name="connsiteX326" fmla="*/ 2158427 w 3024845"/>
                <a:gd name="connsiteY326" fmla="*/ 99442 h 1166887"/>
                <a:gd name="connsiteX327" fmla="*/ 2160453 w 3024845"/>
                <a:gd name="connsiteY327" fmla="*/ 157810 h 1166887"/>
                <a:gd name="connsiteX328" fmla="*/ 2162480 w 3024845"/>
                <a:gd name="connsiteY328" fmla="*/ 220501 h 1166887"/>
                <a:gd name="connsiteX329" fmla="*/ 2168560 w 3024845"/>
                <a:gd name="connsiteY329" fmla="*/ 226987 h 1166887"/>
                <a:gd name="connsiteX330" fmla="*/ 2166533 w 3024845"/>
                <a:gd name="connsiteY330" fmla="*/ 233472 h 1166887"/>
                <a:gd name="connsiteX331" fmla="*/ 2166533 w 3024845"/>
                <a:gd name="connsiteY331" fmla="*/ 311296 h 1166887"/>
                <a:gd name="connsiteX332" fmla="*/ 2168560 w 3024845"/>
                <a:gd name="connsiteY332" fmla="*/ 315620 h 1166887"/>
                <a:gd name="connsiteX333" fmla="*/ 2168560 w 3024845"/>
                <a:gd name="connsiteY333" fmla="*/ 337238 h 1166887"/>
                <a:gd name="connsiteX334" fmla="*/ 2182747 w 3024845"/>
                <a:gd name="connsiteY334" fmla="*/ 337238 h 1166887"/>
                <a:gd name="connsiteX335" fmla="*/ 2182747 w 3024845"/>
                <a:gd name="connsiteY335" fmla="*/ 354532 h 1166887"/>
                <a:gd name="connsiteX336" fmla="*/ 2190854 w 3024845"/>
                <a:gd name="connsiteY336" fmla="*/ 378311 h 1166887"/>
                <a:gd name="connsiteX337" fmla="*/ 2184774 w 3024845"/>
                <a:gd name="connsiteY337" fmla="*/ 382635 h 1166887"/>
                <a:gd name="connsiteX338" fmla="*/ 2172613 w 3024845"/>
                <a:gd name="connsiteY338" fmla="*/ 404253 h 1166887"/>
                <a:gd name="connsiteX339" fmla="*/ 2180720 w 3024845"/>
                <a:gd name="connsiteY339" fmla="*/ 657181 h 1166887"/>
                <a:gd name="connsiteX340" fmla="*/ 2245574 w 3024845"/>
                <a:gd name="connsiteY340" fmla="*/ 657181 h 1166887"/>
                <a:gd name="connsiteX341" fmla="*/ 2245574 w 3024845"/>
                <a:gd name="connsiteY341" fmla="*/ 732843 h 1166887"/>
                <a:gd name="connsiteX342" fmla="*/ 2253681 w 3024845"/>
                <a:gd name="connsiteY342" fmla="*/ 732843 h 1166887"/>
                <a:gd name="connsiteX343" fmla="*/ 2255708 w 3024845"/>
                <a:gd name="connsiteY343" fmla="*/ 726358 h 1166887"/>
                <a:gd name="connsiteX344" fmla="*/ 2261788 w 3024845"/>
                <a:gd name="connsiteY344" fmla="*/ 726358 h 1166887"/>
                <a:gd name="connsiteX345" fmla="*/ 2263815 w 3024845"/>
                <a:gd name="connsiteY345" fmla="*/ 735005 h 1166887"/>
                <a:gd name="connsiteX346" fmla="*/ 2275975 w 3024845"/>
                <a:gd name="connsiteY346" fmla="*/ 735005 h 1166887"/>
                <a:gd name="connsiteX347" fmla="*/ 2275975 w 3024845"/>
                <a:gd name="connsiteY347" fmla="*/ 728519 h 1166887"/>
                <a:gd name="connsiteX348" fmla="*/ 2298268 w 3024845"/>
                <a:gd name="connsiteY348" fmla="*/ 728519 h 1166887"/>
                <a:gd name="connsiteX349" fmla="*/ 2298268 w 3024845"/>
                <a:gd name="connsiteY349" fmla="*/ 735005 h 1166887"/>
                <a:gd name="connsiteX350" fmla="*/ 2318535 w 3024845"/>
                <a:gd name="connsiteY350" fmla="*/ 735005 h 1166887"/>
                <a:gd name="connsiteX351" fmla="*/ 2318535 w 3024845"/>
                <a:gd name="connsiteY351" fmla="*/ 780402 h 1166887"/>
                <a:gd name="connsiteX352" fmla="*/ 2332722 w 3024845"/>
                <a:gd name="connsiteY352" fmla="*/ 780402 h 1166887"/>
                <a:gd name="connsiteX353" fmla="*/ 2332722 w 3024845"/>
                <a:gd name="connsiteY353" fmla="*/ 767431 h 1166887"/>
                <a:gd name="connsiteX354" fmla="*/ 2348936 w 3024845"/>
                <a:gd name="connsiteY354" fmla="*/ 767431 h 1166887"/>
                <a:gd name="connsiteX355" fmla="*/ 2348936 w 3024845"/>
                <a:gd name="connsiteY355" fmla="*/ 588004 h 1166887"/>
                <a:gd name="connsiteX356" fmla="*/ 2355016 w 3024845"/>
                <a:gd name="connsiteY356" fmla="*/ 581518 h 1166887"/>
                <a:gd name="connsiteX357" fmla="*/ 2427977 w 3024845"/>
                <a:gd name="connsiteY357" fmla="*/ 581518 h 1166887"/>
                <a:gd name="connsiteX358" fmla="*/ 2427977 w 3024845"/>
                <a:gd name="connsiteY358" fmla="*/ 590166 h 1166887"/>
                <a:gd name="connsiteX359" fmla="*/ 2438110 w 3024845"/>
                <a:gd name="connsiteY359" fmla="*/ 590166 h 1166887"/>
                <a:gd name="connsiteX360" fmla="*/ 2438110 w 3024845"/>
                <a:gd name="connsiteY360" fmla="*/ 704740 h 1166887"/>
                <a:gd name="connsiteX361" fmla="*/ 2460404 w 3024845"/>
                <a:gd name="connsiteY361" fmla="*/ 704740 h 1166887"/>
                <a:gd name="connsiteX362" fmla="*/ 2460404 w 3024845"/>
                <a:gd name="connsiteY362" fmla="*/ 637725 h 1166887"/>
                <a:gd name="connsiteX363" fmla="*/ 2486751 w 3024845"/>
                <a:gd name="connsiteY363" fmla="*/ 637725 h 1166887"/>
                <a:gd name="connsiteX364" fmla="*/ 2490804 w 3024845"/>
                <a:gd name="connsiteY364" fmla="*/ 633401 h 1166887"/>
                <a:gd name="connsiteX365" fmla="*/ 2498911 w 3024845"/>
                <a:gd name="connsiteY365" fmla="*/ 633401 h 1166887"/>
                <a:gd name="connsiteX366" fmla="*/ 2502964 w 3024845"/>
                <a:gd name="connsiteY366" fmla="*/ 637725 h 1166887"/>
                <a:gd name="connsiteX367" fmla="*/ 2525258 w 3024845"/>
                <a:gd name="connsiteY367" fmla="*/ 637725 h 1166887"/>
                <a:gd name="connsiteX368" fmla="*/ 2525258 w 3024845"/>
                <a:gd name="connsiteY368" fmla="*/ 520989 h 1166887"/>
                <a:gd name="connsiteX369" fmla="*/ 2582005 w 3024845"/>
                <a:gd name="connsiteY369" fmla="*/ 510180 h 1166887"/>
                <a:gd name="connsiteX370" fmla="*/ 2582005 w 3024845"/>
                <a:gd name="connsiteY370" fmla="*/ 511261 h 1166887"/>
                <a:gd name="connsiteX371" fmla="*/ 2582005 w 3024845"/>
                <a:gd name="connsiteY371" fmla="*/ 518827 h 1166887"/>
                <a:gd name="connsiteX372" fmla="*/ 2608352 w 3024845"/>
                <a:gd name="connsiteY372" fmla="*/ 518827 h 1166887"/>
                <a:gd name="connsiteX373" fmla="*/ 2608352 w 3024845"/>
                <a:gd name="connsiteY373" fmla="*/ 773917 h 1166887"/>
                <a:gd name="connsiteX374" fmla="*/ 2630646 w 3024845"/>
                <a:gd name="connsiteY374" fmla="*/ 773917 h 1166887"/>
                <a:gd name="connsiteX375" fmla="*/ 2630646 w 3024845"/>
                <a:gd name="connsiteY375" fmla="*/ 769593 h 1166887"/>
                <a:gd name="connsiteX376" fmla="*/ 2642806 w 3024845"/>
                <a:gd name="connsiteY376" fmla="*/ 769593 h 1166887"/>
                <a:gd name="connsiteX377" fmla="*/ 2642806 w 3024845"/>
                <a:gd name="connsiteY377" fmla="*/ 773917 h 1166887"/>
                <a:gd name="connsiteX378" fmla="*/ 2667126 w 3024845"/>
                <a:gd name="connsiteY378" fmla="*/ 773917 h 1166887"/>
                <a:gd name="connsiteX379" fmla="*/ 2667126 w 3024845"/>
                <a:gd name="connsiteY379" fmla="*/ 760946 h 1166887"/>
                <a:gd name="connsiteX380" fmla="*/ 2695500 w 3024845"/>
                <a:gd name="connsiteY380" fmla="*/ 760946 h 1166887"/>
                <a:gd name="connsiteX381" fmla="*/ 2707660 w 3024845"/>
                <a:gd name="connsiteY381" fmla="*/ 756622 h 1166887"/>
                <a:gd name="connsiteX382" fmla="*/ 2727927 w 3024845"/>
                <a:gd name="connsiteY382" fmla="*/ 760946 h 1166887"/>
                <a:gd name="connsiteX383" fmla="*/ 2727927 w 3024845"/>
                <a:gd name="connsiteY383" fmla="*/ 743652 h 1166887"/>
                <a:gd name="connsiteX384" fmla="*/ 2736034 w 3024845"/>
                <a:gd name="connsiteY384" fmla="*/ 743652 h 1166887"/>
                <a:gd name="connsiteX385" fmla="*/ 2736034 w 3024845"/>
                <a:gd name="connsiteY385" fmla="*/ 730681 h 1166887"/>
                <a:gd name="connsiteX386" fmla="*/ 2792781 w 3024845"/>
                <a:gd name="connsiteY386" fmla="*/ 730681 h 1166887"/>
                <a:gd name="connsiteX387" fmla="*/ 2792781 w 3024845"/>
                <a:gd name="connsiteY387" fmla="*/ 700416 h 1166887"/>
                <a:gd name="connsiteX388" fmla="*/ 2811021 w 3024845"/>
                <a:gd name="connsiteY388" fmla="*/ 700416 h 1166887"/>
                <a:gd name="connsiteX389" fmla="*/ 2811021 w 3024845"/>
                <a:gd name="connsiteY389" fmla="*/ 693931 h 1166887"/>
                <a:gd name="connsiteX390" fmla="*/ 2823181 w 3024845"/>
                <a:gd name="connsiteY390" fmla="*/ 693931 h 1166887"/>
                <a:gd name="connsiteX391" fmla="*/ 2823181 w 3024845"/>
                <a:gd name="connsiteY391" fmla="*/ 700416 h 1166887"/>
                <a:gd name="connsiteX392" fmla="*/ 2839395 w 3024845"/>
                <a:gd name="connsiteY392" fmla="*/ 700416 h 1166887"/>
                <a:gd name="connsiteX393" fmla="*/ 2839395 w 3024845"/>
                <a:gd name="connsiteY393" fmla="*/ 750137 h 1166887"/>
                <a:gd name="connsiteX394" fmla="*/ 2871822 w 3024845"/>
                <a:gd name="connsiteY394" fmla="*/ 750137 h 1166887"/>
                <a:gd name="connsiteX395" fmla="*/ 2871822 w 3024845"/>
                <a:gd name="connsiteY395" fmla="*/ 724196 h 1166887"/>
                <a:gd name="connsiteX396" fmla="*/ 2910329 w 3024845"/>
                <a:gd name="connsiteY396" fmla="*/ 724196 h 1166887"/>
                <a:gd name="connsiteX397" fmla="*/ 2910329 w 3024845"/>
                <a:gd name="connsiteY397" fmla="*/ 693931 h 1166887"/>
                <a:gd name="connsiteX398" fmla="*/ 2958970 w 3024845"/>
                <a:gd name="connsiteY398" fmla="*/ 693931 h 1166887"/>
                <a:gd name="connsiteX399" fmla="*/ 2958970 w 3024845"/>
                <a:gd name="connsiteY399" fmla="*/ 805087 h 1166887"/>
                <a:gd name="connsiteX400" fmla="*/ 2958970 w 3024845"/>
                <a:gd name="connsiteY400" fmla="*/ 818866 h 1166887"/>
                <a:gd name="connsiteX401" fmla="*/ 3024845 w 3024845"/>
                <a:gd name="connsiteY401" fmla="*/ 818866 h 1166887"/>
                <a:gd name="connsiteX402" fmla="*/ 3024845 w 3024845"/>
                <a:gd name="connsiteY402" fmla="*/ 1160647 h 1166887"/>
                <a:gd name="connsiteX403" fmla="*/ 145862 w 3024845"/>
                <a:gd name="connsiteY403" fmla="*/ 1160647 h 1166887"/>
                <a:gd name="connsiteX404" fmla="*/ 2054 w 3024845"/>
                <a:gd name="connsiteY404" fmla="*/ 1166887 h 1166887"/>
                <a:gd name="connsiteX405" fmla="*/ 0 w 3024845"/>
                <a:gd name="connsiteY405" fmla="*/ 724196 h 1166887"/>
                <a:gd name="connsiteX406" fmla="*/ 20267 w 3024845"/>
                <a:gd name="connsiteY406" fmla="*/ 724196 h 1166887"/>
                <a:gd name="connsiteX407" fmla="*/ 20774 w 3024845"/>
                <a:gd name="connsiteY407" fmla="*/ 723115 h 1166887"/>
                <a:gd name="connsiteX408" fmla="*/ 24320 w 3024845"/>
                <a:gd name="connsiteY408" fmla="*/ 715549 h 1166887"/>
                <a:gd name="connsiteX409" fmla="*/ 26094 w 3024845"/>
                <a:gd name="connsiteY409" fmla="*/ 715819 h 1166887"/>
                <a:gd name="connsiteX410" fmla="*/ 38507 w 3024845"/>
                <a:gd name="connsiteY410" fmla="*/ 717710 h 1166887"/>
                <a:gd name="connsiteX411" fmla="*/ 39014 w 3024845"/>
                <a:gd name="connsiteY411" fmla="*/ 719062 h 1166887"/>
                <a:gd name="connsiteX412" fmla="*/ 42560 w 3024845"/>
                <a:gd name="connsiteY412" fmla="*/ 728519 h 1166887"/>
                <a:gd name="connsiteX413" fmla="*/ 68907 w 3024845"/>
                <a:gd name="connsiteY413" fmla="*/ 730681 h 1166887"/>
                <a:gd name="connsiteX414" fmla="*/ 68907 w 3024845"/>
                <a:gd name="connsiteY414" fmla="*/ 607460 h 1166887"/>
                <a:gd name="connsiteX415" fmla="*/ 70934 w 3024845"/>
                <a:gd name="connsiteY415" fmla="*/ 607460 h 1166887"/>
                <a:gd name="connsiteX416" fmla="*/ 85121 w 3024845"/>
                <a:gd name="connsiteY416" fmla="*/ 607460 h 1166887"/>
                <a:gd name="connsiteX417" fmla="*/ 85121 w 3024845"/>
                <a:gd name="connsiteY417" fmla="*/ 471268 h 1166887"/>
                <a:gd name="connsiteX418" fmla="*/ 86894 w 3024845"/>
                <a:gd name="connsiteY418" fmla="*/ 471268 h 1166887"/>
                <a:gd name="connsiteX419" fmla="*/ 99308 w 3024845"/>
                <a:gd name="connsiteY419" fmla="*/ 471268 h 1166887"/>
                <a:gd name="connsiteX420" fmla="*/ 99308 w 3024845"/>
                <a:gd name="connsiteY420" fmla="*/ 356694 h 1166887"/>
                <a:gd name="connsiteX421" fmla="*/ 103361 w 3024845"/>
                <a:gd name="connsiteY421" fmla="*/ 328590 h 1166887"/>
                <a:gd name="connsiteX422" fmla="*/ 105388 w 3024845"/>
                <a:gd name="connsiteY422" fmla="*/ 328590 h 1166887"/>
                <a:gd name="connsiteX423" fmla="*/ 119575 w 3024845"/>
                <a:gd name="connsiteY423" fmla="*/ 328590 h 1166887"/>
                <a:gd name="connsiteX424" fmla="*/ 156055 w 3024845"/>
                <a:gd name="connsiteY424" fmla="*/ 246443 h 1166887"/>
                <a:gd name="connsiteX425" fmla="*/ 160109 w 3024845"/>
                <a:gd name="connsiteY425" fmla="*/ 0 h 116688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60109 w 3028183"/>
                <a:gd name="connsiteY0" fmla="*/ 0 h 1160647"/>
                <a:gd name="connsiteX1" fmla="*/ 162135 w 3028183"/>
                <a:gd name="connsiteY1" fmla="*/ 246443 h 1160647"/>
                <a:gd name="connsiteX2" fmla="*/ 200642 w 3028183"/>
                <a:gd name="connsiteY2" fmla="*/ 326429 h 1160647"/>
                <a:gd name="connsiteX3" fmla="*/ 202669 w 3028183"/>
                <a:gd name="connsiteY3" fmla="*/ 326429 h 1160647"/>
                <a:gd name="connsiteX4" fmla="*/ 216856 w 3028183"/>
                <a:gd name="connsiteY4" fmla="*/ 326429 h 1160647"/>
                <a:gd name="connsiteX5" fmla="*/ 216856 w 3028183"/>
                <a:gd name="connsiteY5" fmla="*/ 350208 h 1160647"/>
                <a:gd name="connsiteX6" fmla="*/ 217363 w 3028183"/>
                <a:gd name="connsiteY6" fmla="*/ 351019 h 1160647"/>
                <a:gd name="connsiteX7" fmla="*/ 220909 w 3028183"/>
                <a:gd name="connsiteY7" fmla="*/ 356694 h 1160647"/>
                <a:gd name="connsiteX8" fmla="*/ 220909 w 3028183"/>
                <a:gd name="connsiteY8" fmla="*/ 471268 h 1160647"/>
                <a:gd name="connsiteX9" fmla="*/ 223189 w 3028183"/>
                <a:gd name="connsiteY9" fmla="*/ 471268 h 1160647"/>
                <a:gd name="connsiteX10" fmla="*/ 239150 w 3028183"/>
                <a:gd name="connsiteY10" fmla="*/ 471268 h 1160647"/>
                <a:gd name="connsiteX11" fmla="*/ 239150 w 3028183"/>
                <a:gd name="connsiteY11" fmla="*/ 611783 h 1160647"/>
                <a:gd name="connsiteX12" fmla="*/ 240670 w 3028183"/>
                <a:gd name="connsiteY12" fmla="*/ 611513 h 1160647"/>
                <a:gd name="connsiteX13" fmla="*/ 251310 w 3028183"/>
                <a:gd name="connsiteY13" fmla="*/ 609622 h 1160647"/>
                <a:gd name="connsiteX14" fmla="*/ 249283 w 3028183"/>
                <a:gd name="connsiteY14" fmla="*/ 698254 h 1160647"/>
                <a:gd name="connsiteX15" fmla="*/ 250803 w 3028183"/>
                <a:gd name="connsiteY15" fmla="*/ 698525 h 1160647"/>
                <a:gd name="connsiteX16" fmla="*/ 261443 w 3028183"/>
                <a:gd name="connsiteY16" fmla="*/ 700416 h 1160647"/>
                <a:gd name="connsiteX17" fmla="*/ 261696 w 3028183"/>
                <a:gd name="connsiteY17" fmla="*/ 701227 h 1160647"/>
                <a:gd name="connsiteX18" fmla="*/ 263470 w 3028183"/>
                <a:gd name="connsiteY18" fmla="*/ 706902 h 1160647"/>
                <a:gd name="connsiteX19" fmla="*/ 264230 w 3028183"/>
                <a:gd name="connsiteY19" fmla="*/ 704470 h 1160647"/>
                <a:gd name="connsiteX20" fmla="*/ 269550 w 3028183"/>
                <a:gd name="connsiteY20" fmla="*/ 687446 h 1160647"/>
                <a:gd name="connsiteX21" fmla="*/ 271323 w 3028183"/>
                <a:gd name="connsiteY21" fmla="*/ 687446 h 1160647"/>
                <a:gd name="connsiteX22" fmla="*/ 283737 w 3028183"/>
                <a:gd name="connsiteY22" fmla="*/ 687446 h 1160647"/>
                <a:gd name="connsiteX23" fmla="*/ 283737 w 3028183"/>
                <a:gd name="connsiteY23" fmla="*/ 719872 h 1160647"/>
                <a:gd name="connsiteX24" fmla="*/ 284750 w 3028183"/>
                <a:gd name="connsiteY24" fmla="*/ 720413 h 1160647"/>
                <a:gd name="connsiteX25" fmla="*/ 291844 w 3028183"/>
                <a:gd name="connsiteY25" fmla="*/ 724196 h 1160647"/>
                <a:gd name="connsiteX26" fmla="*/ 291844 w 3028183"/>
                <a:gd name="connsiteY26" fmla="*/ 725547 h 1160647"/>
                <a:gd name="connsiteX27" fmla="*/ 291844 w 3028183"/>
                <a:gd name="connsiteY27" fmla="*/ 735005 h 1160647"/>
                <a:gd name="connsiteX28" fmla="*/ 336431 w 3028183"/>
                <a:gd name="connsiteY28" fmla="*/ 735005 h 1160647"/>
                <a:gd name="connsiteX29" fmla="*/ 336431 w 3028183"/>
                <a:gd name="connsiteY29" fmla="*/ 736086 h 1160647"/>
                <a:gd name="connsiteX30" fmla="*/ 336431 w 3028183"/>
                <a:gd name="connsiteY30" fmla="*/ 743652 h 1160647"/>
                <a:gd name="connsiteX31" fmla="*/ 338457 w 3028183"/>
                <a:gd name="connsiteY31" fmla="*/ 743652 h 1160647"/>
                <a:gd name="connsiteX32" fmla="*/ 352644 w 3028183"/>
                <a:gd name="connsiteY32" fmla="*/ 743652 h 1160647"/>
                <a:gd name="connsiteX33" fmla="*/ 352644 w 3028183"/>
                <a:gd name="connsiteY33" fmla="*/ 713387 h 1160647"/>
                <a:gd name="connsiteX34" fmla="*/ 397231 w 3028183"/>
                <a:gd name="connsiteY34" fmla="*/ 713387 h 1160647"/>
                <a:gd name="connsiteX35" fmla="*/ 397231 w 3028183"/>
                <a:gd name="connsiteY35" fmla="*/ 712036 h 1160647"/>
                <a:gd name="connsiteX36" fmla="*/ 397231 w 3028183"/>
                <a:gd name="connsiteY36" fmla="*/ 702578 h 1160647"/>
                <a:gd name="connsiteX37" fmla="*/ 398245 w 3028183"/>
                <a:gd name="connsiteY37" fmla="*/ 702578 h 1160647"/>
                <a:gd name="connsiteX38" fmla="*/ 405338 w 3028183"/>
                <a:gd name="connsiteY38" fmla="*/ 702578 h 1160647"/>
                <a:gd name="connsiteX39" fmla="*/ 405338 w 3028183"/>
                <a:gd name="connsiteY39" fmla="*/ 700687 h 1160647"/>
                <a:gd name="connsiteX40" fmla="*/ 405338 w 3028183"/>
                <a:gd name="connsiteY40" fmla="*/ 687446 h 1160647"/>
                <a:gd name="connsiteX41" fmla="*/ 406098 w 3028183"/>
                <a:gd name="connsiteY41" fmla="*/ 687446 h 1160647"/>
                <a:gd name="connsiteX42" fmla="*/ 411418 w 3028183"/>
                <a:gd name="connsiteY42" fmla="*/ 687446 h 1160647"/>
                <a:gd name="connsiteX43" fmla="*/ 411418 w 3028183"/>
                <a:gd name="connsiteY43" fmla="*/ 686365 h 1160647"/>
                <a:gd name="connsiteX44" fmla="*/ 411418 w 3028183"/>
                <a:gd name="connsiteY44" fmla="*/ 678798 h 1160647"/>
                <a:gd name="connsiteX45" fmla="*/ 413445 w 3028183"/>
                <a:gd name="connsiteY45" fmla="*/ 678798 h 1160647"/>
                <a:gd name="connsiteX46" fmla="*/ 427632 w 3028183"/>
                <a:gd name="connsiteY46" fmla="*/ 678798 h 1160647"/>
                <a:gd name="connsiteX47" fmla="*/ 427632 w 3028183"/>
                <a:gd name="connsiteY47" fmla="*/ 679879 h 1160647"/>
                <a:gd name="connsiteX48" fmla="*/ 427632 w 3028183"/>
                <a:gd name="connsiteY48" fmla="*/ 687446 h 1160647"/>
                <a:gd name="connsiteX49" fmla="*/ 449925 w 3028183"/>
                <a:gd name="connsiteY49" fmla="*/ 687446 h 1160647"/>
                <a:gd name="connsiteX50" fmla="*/ 449925 w 3028183"/>
                <a:gd name="connsiteY50" fmla="*/ 685554 h 1160647"/>
                <a:gd name="connsiteX51" fmla="*/ 449925 w 3028183"/>
                <a:gd name="connsiteY51" fmla="*/ 672313 h 1160647"/>
                <a:gd name="connsiteX52" fmla="*/ 451699 w 3028183"/>
                <a:gd name="connsiteY52" fmla="*/ 672313 h 1160647"/>
                <a:gd name="connsiteX53" fmla="*/ 464112 w 3028183"/>
                <a:gd name="connsiteY53" fmla="*/ 672313 h 1160647"/>
                <a:gd name="connsiteX54" fmla="*/ 464112 w 3028183"/>
                <a:gd name="connsiteY54" fmla="*/ 696093 h 1160647"/>
                <a:gd name="connsiteX55" fmla="*/ 465126 w 3028183"/>
                <a:gd name="connsiteY55" fmla="*/ 696093 h 1160647"/>
                <a:gd name="connsiteX56" fmla="*/ 472219 w 3028183"/>
                <a:gd name="connsiteY56" fmla="*/ 696093 h 1160647"/>
                <a:gd name="connsiteX57" fmla="*/ 472219 w 3028183"/>
                <a:gd name="connsiteY57" fmla="*/ 695012 h 1160647"/>
                <a:gd name="connsiteX58" fmla="*/ 472219 w 3028183"/>
                <a:gd name="connsiteY58" fmla="*/ 687446 h 1160647"/>
                <a:gd name="connsiteX59" fmla="*/ 473992 w 3028183"/>
                <a:gd name="connsiteY59" fmla="*/ 687446 h 1160647"/>
                <a:gd name="connsiteX60" fmla="*/ 486406 w 3028183"/>
                <a:gd name="connsiteY60" fmla="*/ 687446 h 1160647"/>
                <a:gd name="connsiteX61" fmla="*/ 486406 w 3028183"/>
                <a:gd name="connsiteY61" fmla="*/ 713387 h 1160647"/>
                <a:gd name="connsiteX62" fmla="*/ 488433 w 3028183"/>
                <a:gd name="connsiteY62" fmla="*/ 713387 h 1160647"/>
                <a:gd name="connsiteX63" fmla="*/ 502619 w 3028183"/>
                <a:gd name="connsiteY63" fmla="*/ 713387 h 1160647"/>
                <a:gd name="connsiteX64" fmla="*/ 502619 w 3028183"/>
                <a:gd name="connsiteY64" fmla="*/ 715008 h 1160647"/>
                <a:gd name="connsiteX65" fmla="*/ 502619 w 3028183"/>
                <a:gd name="connsiteY65" fmla="*/ 726358 h 1160647"/>
                <a:gd name="connsiteX66" fmla="*/ 503379 w 3028183"/>
                <a:gd name="connsiteY66" fmla="*/ 726358 h 1160647"/>
                <a:gd name="connsiteX67" fmla="*/ 508700 w 3028183"/>
                <a:gd name="connsiteY67" fmla="*/ 726358 h 1160647"/>
                <a:gd name="connsiteX68" fmla="*/ 508700 w 3028183"/>
                <a:gd name="connsiteY68" fmla="*/ 725547 h 1160647"/>
                <a:gd name="connsiteX69" fmla="*/ 508700 w 3028183"/>
                <a:gd name="connsiteY69" fmla="*/ 719872 h 1160647"/>
                <a:gd name="connsiteX70" fmla="*/ 539100 w 3028183"/>
                <a:gd name="connsiteY70" fmla="*/ 719872 h 1160647"/>
                <a:gd name="connsiteX71" fmla="*/ 539100 w 3028183"/>
                <a:gd name="connsiteY71" fmla="*/ 743652 h 1160647"/>
                <a:gd name="connsiteX72" fmla="*/ 540113 w 3028183"/>
                <a:gd name="connsiteY72" fmla="*/ 743652 h 1160647"/>
                <a:gd name="connsiteX73" fmla="*/ 547207 w 3028183"/>
                <a:gd name="connsiteY73" fmla="*/ 743652 h 1160647"/>
                <a:gd name="connsiteX74" fmla="*/ 547207 w 3028183"/>
                <a:gd name="connsiteY74" fmla="*/ 744733 h 1160647"/>
                <a:gd name="connsiteX75" fmla="*/ 547207 w 3028183"/>
                <a:gd name="connsiteY75" fmla="*/ 752299 h 1160647"/>
                <a:gd name="connsiteX76" fmla="*/ 547967 w 3028183"/>
                <a:gd name="connsiteY76" fmla="*/ 752299 h 1160647"/>
                <a:gd name="connsiteX77" fmla="*/ 553287 w 3028183"/>
                <a:gd name="connsiteY77" fmla="*/ 752299 h 1160647"/>
                <a:gd name="connsiteX78" fmla="*/ 553287 w 3028183"/>
                <a:gd name="connsiteY78" fmla="*/ 750137 h 1160647"/>
                <a:gd name="connsiteX79" fmla="*/ 553287 w 3028183"/>
                <a:gd name="connsiteY79" fmla="*/ 735005 h 1160647"/>
                <a:gd name="connsiteX80" fmla="*/ 554300 w 3028183"/>
                <a:gd name="connsiteY80" fmla="*/ 735005 h 1160647"/>
                <a:gd name="connsiteX81" fmla="*/ 561394 w 3028183"/>
                <a:gd name="connsiteY81" fmla="*/ 735005 h 1160647"/>
                <a:gd name="connsiteX82" fmla="*/ 561394 w 3028183"/>
                <a:gd name="connsiteY82" fmla="*/ 736086 h 1160647"/>
                <a:gd name="connsiteX83" fmla="*/ 561394 w 3028183"/>
                <a:gd name="connsiteY83" fmla="*/ 743652 h 1160647"/>
                <a:gd name="connsiteX84" fmla="*/ 566714 w 3028183"/>
                <a:gd name="connsiteY84" fmla="*/ 741659 h 1160647"/>
                <a:gd name="connsiteX85" fmla="*/ 567474 w 3028183"/>
                <a:gd name="connsiteY85" fmla="*/ 740679 h 1160647"/>
                <a:gd name="connsiteX86" fmla="*/ 567474 w 3028183"/>
                <a:gd name="connsiteY86" fmla="*/ 735005 h 1160647"/>
                <a:gd name="connsiteX87" fmla="*/ 605981 w 3028183"/>
                <a:gd name="connsiteY87" fmla="*/ 735005 h 1160647"/>
                <a:gd name="connsiteX88" fmla="*/ 605981 w 3028183"/>
                <a:gd name="connsiteY88" fmla="*/ 758784 h 1160647"/>
                <a:gd name="connsiteX89" fmla="*/ 608007 w 3028183"/>
                <a:gd name="connsiteY89" fmla="*/ 758784 h 1160647"/>
                <a:gd name="connsiteX90" fmla="*/ 622194 w 3028183"/>
                <a:gd name="connsiteY90" fmla="*/ 758784 h 1160647"/>
                <a:gd name="connsiteX91" fmla="*/ 622194 w 3028183"/>
                <a:gd name="connsiteY91" fmla="*/ 759865 h 1160647"/>
                <a:gd name="connsiteX92" fmla="*/ 622194 w 3028183"/>
                <a:gd name="connsiteY92" fmla="*/ 767431 h 1160647"/>
                <a:gd name="connsiteX93" fmla="*/ 623968 w 3028183"/>
                <a:gd name="connsiteY93" fmla="*/ 767431 h 1160647"/>
                <a:gd name="connsiteX94" fmla="*/ 636381 w 3028183"/>
                <a:gd name="connsiteY94" fmla="*/ 767431 h 1160647"/>
                <a:gd name="connsiteX95" fmla="*/ 636381 w 3028183"/>
                <a:gd name="connsiteY95" fmla="*/ 743652 h 1160647"/>
                <a:gd name="connsiteX96" fmla="*/ 637394 w 3028183"/>
                <a:gd name="connsiteY96" fmla="*/ 743652 h 1160647"/>
                <a:gd name="connsiteX97" fmla="*/ 644488 w 3028183"/>
                <a:gd name="connsiteY97" fmla="*/ 743652 h 1160647"/>
                <a:gd name="connsiteX98" fmla="*/ 644488 w 3028183"/>
                <a:gd name="connsiteY98" fmla="*/ 711225 h 1160647"/>
                <a:gd name="connsiteX99" fmla="*/ 645501 w 3028183"/>
                <a:gd name="connsiteY99" fmla="*/ 711225 h 1160647"/>
                <a:gd name="connsiteX100" fmla="*/ 652595 w 3028183"/>
                <a:gd name="connsiteY100" fmla="*/ 711225 h 1160647"/>
                <a:gd name="connsiteX101" fmla="*/ 652595 w 3028183"/>
                <a:gd name="connsiteY101" fmla="*/ 709334 h 1160647"/>
                <a:gd name="connsiteX102" fmla="*/ 652595 w 3028183"/>
                <a:gd name="connsiteY102" fmla="*/ 696093 h 1160647"/>
                <a:gd name="connsiteX103" fmla="*/ 651328 w 3028183"/>
                <a:gd name="connsiteY103" fmla="*/ 694471 h 1160647"/>
                <a:gd name="connsiteX104" fmla="*/ 656648 w 3028183"/>
                <a:gd name="connsiteY104" fmla="*/ 683122 h 1160647"/>
                <a:gd name="connsiteX105" fmla="*/ 664755 w 3028183"/>
                <a:gd name="connsiteY105" fmla="*/ 711225 h 1160647"/>
                <a:gd name="connsiteX106" fmla="*/ 665515 w 3028183"/>
                <a:gd name="connsiteY106" fmla="*/ 711225 h 1160647"/>
                <a:gd name="connsiteX107" fmla="*/ 670835 w 3028183"/>
                <a:gd name="connsiteY107" fmla="*/ 711225 h 1160647"/>
                <a:gd name="connsiteX108" fmla="*/ 670835 w 3028183"/>
                <a:gd name="connsiteY108" fmla="*/ 605298 h 1160647"/>
                <a:gd name="connsiteX109" fmla="*/ 672355 w 3028183"/>
                <a:gd name="connsiteY109" fmla="*/ 605298 h 1160647"/>
                <a:gd name="connsiteX110" fmla="*/ 682995 w 3028183"/>
                <a:gd name="connsiteY110" fmla="*/ 605298 h 1160647"/>
                <a:gd name="connsiteX111" fmla="*/ 682995 w 3028183"/>
                <a:gd name="connsiteY111" fmla="*/ 557739 h 1160647"/>
                <a:gd name="connsiteX112" fmla="*/ 709342 w 3028183"/>
                <a:gd name="connsiteY112" fmla="*/ 557739 h 1160647"/>
                <a:gd name="connsiteX113" fmla="*/ 709342 w 3028183"/>
                <a:gd name="connsiteY113" fmla="*/ 536121 h 1160647"/>
                <a:gd name="connsiteX114" fmla="*/ 743796 w 3028183"/>
                <a:gd name="connsiteY114" fmla="*/ 536121 h 1160647"/>
                <a:gd name="connsiteX115" fmla="*/ 743796 w 3028183"/>
                <a:gd name="connsiteY115" fmla="*/ 538553 h 1160647"/>
                <a:gd name="connsiteX116" fmla="*/ 743796 w 3028183"/>
                <a:gd name="connsiteY116" fmla="*/ 555577 h 1160647"/>
                <a:gd name="connsiteX117" fmla="*/ 746076 w 3028183"/>
                <a:gd name="connsiteY117" fmla="*/ 555577 h 1160647"/>
                <a:gd name="connsiteX118" fmla="*/ 762036 w 3028183"/>
                <a:gd name="connsiteY118" fmla="*/ 555577 h 1160647"/>
                <a:gd name="connsiteX119" fmla="*/ 762036 w 3028183"/>
                <a:gd name="connsiteY119" fmla="*/ 603136 h 1160647"/>
                <a:gd name="connsiteX120" fmla="*/ 763049 w 3028183"/>
                <a:gd name="connsiteY120" fmla="*/ 603136 h 1160647"/>
                <a:gd name="connsiteX121" fmla="*/ 770143 w 3028183"/>
                <a:gd name="connsiteY121" fmla="*/ 603136 h 1160647"/>
                <a:gd name="connsiteX122" fmla="*/ 784330 w 3028183"/>
                <a:gd name="connsiteY122" fmla="*/ 607460 h 1160647"/>
                <a:gd name="connsiteX123" fmla="*/ 784330 w 3028183"/>
                <a:gd name="connsiteY123" fmla="*/ 646372 h 1160647"/>
                <a:gd name="connsiteX124" fmla="*/ 785343 w 3028183"/>
                <a:gd name="connsiteY124" fmla="*/ 646372 h 1160647"/>
                <a:gd name="connsiteX125" fmla="*/ 792436 w 3028183"/>
                <a:gd name="connsiteY125" fmla="*/ 646372 h 1160647"/>
                <a:gd name="connsiteX126" fmla="*/ 792436 w 3028183"/>
                <a:gd name="connsiteY126" fmla="*/ 647993 h 1160647"/>
                <a:gd name="connsiteX127" fmla="*/ 792436 w 3028183"/>
                <a:gd name="connsiteY127" fmla="*/ 659342 h 1160647"/>
                <a:gd name="connsiteX128" fmla="*/ 794463 w 3028183"/>
                <a:gd name="connsiteY128" fmla="*/ 659342 h 1160647"/>
                <a:gd name="connsiteX129" fmla="*/ 808650 w 3028183"/>
                <a:gd name="connsiteY129" fmla="*/ 659342 h 1160647"/>
                <a:gd name="connsiteX130" fmla="*/ 814730 w 3028183"/>
                <a:gd name="connsiteY130" fmla="*/ 665828 h 1160647"/>
                <a:gd name="connsiteX131" fmla="*/ 814730 w 3028183"/>
                <a:gd name="connsiteY131" fmla="*/ 687446 h 1160647"/>
                <a:gd name="connsiteX132" fmla="*/ 817010 w 3028183"/>
                <a:gd name="connsiteY132" fmla="*/ 687446 h 1160647"/>
                <a:gd name="connsiteX133" fmla="*/ 832970 w 3028183"/>
                <a:gd name="connsiteY133" fmla="*/ 687446 h 1160647"/>
                <a:gd name="connsiteX134" fmla="*/ 832970 w 3028183"/>
                <a:gd name="connsiteY134" fmla="*/ 688526 h 1160647"/>
                <a:gd name="connsiteX135" fmla="*/ 832970 w 3028183"/>
                <a:gd name="connsiteY135" fmla="*/ 696093 h 1160647"/>
                <a:gd name="connsiteX136" fmla="*/ 834237 w 3028183"/>
                <a:gd name="connsiteY136" fmla="*/ 696093 h 1160647"/>
                <a:gd name="connsiteX137" fmla="*/ 843104 w 3028183"/>
                <a:gd name="connsiteY137" fmla="*/ 696093 h 1160647"/>
                <a:gd name="connsiteX138" fmla="*/ 843104 w 3028183"/>
                <a:gd name="connsiteY138" fmla="*/ 698254 h 1160647"/>
                <a:gd name="connsiteX139" fmla="*/ 843104 w 3028183"/>
                <a:gd name="connsiteY139" fmla="*/ 713387 h 1160647"/>
                <a:gd name="connsiteX140" fmla="*/ 847157 w 3028183"/>
                <a:gd name="connsiteY140" fmla="*/ 711495 h 1160647"/>
                <a:gd name="connsiteX141" fmla="*/ 847157 w 3028183"/>
                <a:gd name="connsiteY141" fmla="*/ 698254 h 1160647"/>
                <a:gd name="connsiteX142" fmla="*/ 848170 w 3028183"/>
                <a:gd name="connsiteY142" fmla="*/ 698254 h 1160647"/>
                <a:gd name="connsiteX143" fmla="*/ 855264 w 3028183"/>
                <a:gd name="connsiteY143" fmla="*/ 698254 h 1160647"/>
                <a:gd name="connsiteX144" fmla="*/ 855264 w 3028183"/>
                <a:gd name="connsiteY144" fmla="*/ 699876 h 1160647"/>
                <a:gd name="connsiteX145" fmla="*/ 855264 w 3028183"/>
                <a:gd name="connsiteY145" fmla="*/ 711225 h 1160647"/>
                <a:gd name="connsiteX146" fmla="*/ 856024 w 3028183"/>
                <a:gd name="connsiteY146" fmla="*/ 711225 h 1160647"/>
                <a:gd name="connsiteX147" fmla="*/ 861344 w 3028183"/>
                <a:gd name="connsiteY147" fmla="*/ 711225 h 1160647"/>
                <a:gd name="connsiteX148" fmla="*/ 909984 w 3028183"/>
                <a:gd name="connsiteY148" fmla="*/ 706902 h 1160647"/>
                <a:gd name="connsiteX149" fmla="*/ 909984 w 3028183"/>
                <a:gd name="connsiteY149" fmla="*/ 708253 h 1160647"/>
                <a:gd name="connsiteX150" fmla="*/ 909984 w 3028183"/>
                <a:gd name="connsiteY150" fmla="*/ 717710 h 1160647"/>
                <a:gd name="connsiteX151" fmla="*/ 910744 w 3028183"/>
                <a:gd name="connsiteY151" fmla="*/ 717710 h 1160647"/>
                <a:gd name="connsiteX152" fmla="*/ 916065 w 3028183"/>
                <a:gd name="connsiteY152" fmla="*/ 717710 h 1160647"/>
                <a:gd name="connsiteX153" fmla="*/ 916065 w 3028183"/>
                <a:gd name="connsiteY153" fmla="*/ 719872 h 1160647"/>
                <a:gd name="connsiteX154" fmla="*/ 916065 w 3028183"/>
                <a:gd name="connsiteY154" fmla="*/ 735005 h 1160647"/>
                <a:gd name="connsiteX155" fmla="*/ 918091 w 3028183"/>
                <a:gd name="connsiteY155" fmla="*/ 733654 h 1160647"/>
                <a:gd name="connsiteX156" fmla="*/ 932278 w 3028183"/>
                <a:gd name="connsiteY156" fmla="*/ 724196 h 1160647"/>
                <a:gd name="connsiteX157" fmla="*/ 938358 w 3028183"/>
                <a:gd name="connsiteY157" fmla="*/ 683122 h 1160647"/>
                <a:gd name="connsiteX158" fmla="*/ 939118 w 3028183"/>
                <a:gd name="connsiteY158" fmla="*/ 682852 h 1160647"/>
                <a:gd name="connsiteX159" fmla="*/ 944438 w 3028183"/>
                <a:gd name="connsiteY159" fmla="*/ 680960 h 1160647"/>
                <a:gd name="connsiteX160" fmla="*/ 946465 w 3028183"/>
                <a:gd name="connsiteY160" fmla="*/ 611783 h 1160647"/>
                <a:gd name="connsiteX161" fmla="*/ 948492 w 3028183"/>
                <a:gd name="connsiteY161" fmla="*/ 680960 h 1160647"/>
                <a:gd name="connsiteX162" fmla="*/ 949252 w 3028183"/>
                <a:gd name="connsiteY162" fmla="*/ 681230 h 1160647"/>
                <a:gd name="connsiteX163" fmla="*/ 954572 w 3028183"/>
                <a:gd name="connsiteY163" fmla="*/ 683122 h 1160647"/>
                <a:gd name="connsiteX164" fmla="*/ 954572 w 3028183"/>
                <a:gd name="connsiteY164" fmla="*/ 596651 h 1160647"/>
                <a:gd name="connsiteX165" fmla="*/ 958625 w 3028183"/>
                <a:gd name="connsiteY165" fmla="*/ 564224 h 1160647"/>
                <a:gd name="connsiteX166" fmla="*/ 997132 w 3028183"/>
                <a:gd name="connsiteY166" fmla="*/ 564224 h 1160647"/>
                <a:gd name="connsiteX167" fmla="*/ 997132 w 3028183"/>
                <a:gd name="connsiteY167" fmla="*/ 596651 h 1160647"/>
                <a:gd name="connsiteX168" fmla="*/ 997892 w 3028183"/>
                <a:gd name="connsiteY168" fmla="*/ 596651 h 1160647"/>
                <a:gd name="connsiteX169" fmla="*/ 1003212 w 3028183"/>
                <a:gd name="connsiteY169" fmla="*/ 596651 h 1160647"/>
                <a:gd name="connsiteX170" fmla="*/ 1003212 w 3028183"/>
                <a:gd name="connsiteY170" fmla="*/ 514503 h 1160647"/>
                <a:gd name="connsiteX171" fmla="*/ 1004986 w 3028183"/>
                <a:gd name="connsiteY171" fmla="*/ 514503 h 1160647"/>
                <a:gd name="connsiteX172" fmla="*/ 1017399 w 3028183"/>
                <a:gd name="connsiteY172" fmla="*/ 514503 h 1160647"/>
                <a:gd name="connsiteX173" fmla="*/ 1017399 w 3028183"/>
                <a:gd name="connsiteY173" fmla="*/ 512612 h 1160647"/>
                <a:gd name="connsiteX174" fmla="*/ 1017399 w 3028183"/>
                <a:gd name="connsiteY174" fmla="*/ 499371 h 1160647"/>
                <a:gd name="connsiteX175" fmla="*/ 1039693 w 3028183"/>
                <a:gd name="connsiteY175" fmla="*/ 499371 h 1160647"/>
                <a:gd name="connsiteX176" fmla="*/ 1039693 w 3028183"/>
                <a:gd name="connsiteY176" fmla="*/ 498290 h 1160647"/>
                <a:gd name="connsiteX177" fmla="*/ 1039693 w 3028183"/>
                <a:gd name="connsiteY177" fmla="*/ 490724 h 1160647"/>
                <a:gd name="connsiteX178" fmla="*/ 1041466 w 3028183"/>
                <a:gd name="connsiteY178" fmla="*/ 490724 h 1160647"/>
                <a:gd name="connsiteX179" fmla="*/ 1053880 w 3028183"/>
                <a:gd name="connsiteY179" fmla="*/ 490724 h 1160647"/>
                <a:gd name="connsiteX180" fmla="*/ 1053880 w 3028183"/>
                <a:gd name="connsiteY180" fmla="*/ 491805 h 1160647"/>
                <a:gd name="connsiteX181" fmla="*/ 1053880 w 3028183"/>
                <a:gd name="connsiteY181" fmla="*/ 499371 h 1160647"/>
                <a:gd name="connsiteX182" fmla="*/ 1054640 w 3028183"/>
                <a:gd name="connsiteY182" fmla="*/ 499371 h 1160647"/>
                <a:gd name="connsiteX183" fmla="*/ 1059960 w 3028183"/>
                <a:gd name="connsiteY183" fmla="*/ 499371 h 1160647"/>
                <a:gd name="connsiteX184" fmla="*/ 1070093 w 3028183"/>
                <a:gd name="connsiteY184" fmla="*/ 495047 h 1160647"/>
                <a:gd name="connsiteX185" fmla="*/ 1074146 w 3028183"/>
                <a:gd name="connsiteY185" fmla="*/ 498290 h 1160647"/>
                <a:gd name="connsiteX186" fmla="*/ 1074146 w 3028183"/>
                <a:gd name="connsiteY186" fmla="*/ 490724 h 1160647"/>
                <a:gd name="connsiteX187" fmla="*/ 1076426 w 3028183"/>
                <a:gd name="connsiteY187" fmla="*/ 490724 h 1160647"/>
                <a:gd name="connsiteX188" fmla="*/ 1092387 w 3028183"/>
                <a:gd name="connsiteY188" fmla="*/ 490724 h 1160647"/>
                <a:gd name="connsiteX189" fmla="*/ 1092387 w 3028183"/>
                <a:gd name="connsiteY189" fmla="*/ 491805 h 1160647"/>
                <a:gd name="connsiteX190" fmla="*/ 1092387 w 3028183"/>
                <a:gd name="connsiteY190" fmla="*/ 499371 h 1160647"/>
                <a:gd name="connsiteX191" fmla="*/ 1122787 w 3028183"/>
                <a:gd name="connsiteY191" fmla="*/ 499371 h 1160647"/>
                <a:gd name="connsiteX192" fmla="*/ 1122787 w 3028183"/>
                <a:gd name="connsiteY192" fmla="*/ 500992 h 1160647"/>
                <a:gd name="connsiteX193" fmla="*/ 1122787 w 3028183"/>
                <a:gd name="connsiteY193" fmla="*/ 512342 h 1160647"/>
                <a:gd name="connsiteX194" fmla="*/ 1149134 w 3028183"/>
                <a:gd name="connsiteY194" fmla="*/ 512342 h 1160647"/>
                <a:gd name="connsiteX195" fmla="*/ 1149134 w 3028183"/>
                <a:gd name="connsiteY195" fmla="*/ 542606 h 1160647"/>
                <a:gd name="connsiteX196" fmla="*/ 1149894 w 3028183"/>
                <a:gd name="connsiteY196" fmla="*/ 542606 h 1160647"/>
                <a:gd name="connsiteX197" fmla="*/ 1155214 w 3028183"/>
                <a:gd name="connsiteY197" fmla="*/ 542606 h 1160647"/>
                <a:gd name="connsiteX198" fmla="*/ 1155214 w 3028183"/>
                <a:gd name="connsiteY198" fmla="*/ 543687 h 1160647"/>
                <a:gd name="connsiteX199" fmla="*/ 1155214 w 3028183"/>
                <a:gd name="connsiteY199" fmla="*/ 551254 h 1160647"/>
                <a:gd name="connsiteX200" fmla="*/ 1159268 w 3028183"/>
                <a:gd name="connsiteY200" fmla="*/ 581518 h 1160647"/>
                <a:gd name="connsiteX201" fmla="*/ 1160028 w 3028183"/>
                <a:gd name="connsiteY201" fmla="*/ 581518 h 1160647"/>
                <a:gd name="connsiteX202" fmla="*/ 1165348 w 3028183"/>
                <a:gd name="connsiteY202" fmla="*/ 581518 h 1160647"/>
                <a:gd name="connsiteX203" fmla="*/ 1165348 w 3028183"/>
                <a:gd name="connsiteY203" fmla="*/ 582329 h 1160647"/>
                <a:gd name="connsiteX204" fmla="*/ 1165348 w 3028183"/>
                <a:gd name="connsiteY204" fmla="*/ 588004 h 1160647"/>
                <a:gd name="connsiteX205" fmla="*/ 1166361 w 3028183"/>
                <a:gd name="connsiteY205" fmla="*/ 588004 h 1160647"/>
                <a:gd name="connsiteX206" fmla="*/ 1173454 w 3028183"/>
                <a:gd name="connsiteY206" fmla="*/ 588004 h 1160647"/>
                <a:gd name="connsiteX207" fmla="*/ 1173454 w 3028183"/>
                <a:gd name="connsiteY207" fmla="*/ 618269 h 1160647"/>
                <a:gd name="connsiteX208" fmla="*/ 1175481 w 3028183"/>
                <a:gd name="connsiteY208" fmla="*/ 618269 h 1160647"/>
                <a:gd name="connsiteX209" fmla="*/ 1189668 w 3028183"/>
                <a:gd name="connsiteY209" fmla="*/ 618269 h 1160647"/>
                <a:gd name="connsiteX210" fmla="*/ 1189668 w 3028183"/>
                <a:gd name="connsiteY210" fmla="*/ 642048 h 1160647"/>
                <a:gd name="connsiteX211" fmla="*/ 1191695 w 3028183"/>
                <a:gd name="connsiteY211" fmla="*/ 643669 h 1160647"/>
                <a:gd name="connsiteX212" fmla="*/ 1191695 w 3028183"/>
                <a:gd name="connsiteY212" fmla="*/ 655019 h 1160647"/>
                <a:gd name="connsiteX213" fmla="*/ 1192455 w 3028183"/>
                <a:gd name="connsiteY213" fmla="*/ 655019 h 1160647"/>
                <a:gd name="connsiteX214" fmla="*/ 1197775 w 3028183"/>
                <a:gd name="connsiteY214" fmla="*/ 655019 h 1160647"/>
                <a:gd name="connsiteX215" fmla="*/ 1197775 w 3028183"/>
                <a:gd name="connsiteY215" fmla="*/ 678798 h 1160647"/>
                <a:gd name="connsiteX216" fmla="*/ 1199041 w 3028183"/>
                <a:gd name="connsiteY216" fmla="*/ 678798 h 1160647"/>
                <a:gd name="connsiteX217" fmla="*/ 1207908 w 3028183"/>
                <a:gd name="connsiteY217" fmla="*/ 678798 h 1160647"/>
                <a:gd name="connsiteX218" fmla="*/ 1209935 w 3028183"/>
                <a:gd name="connsiteY218" fmla="*/ 682852 h 1160647"/>
                <a:gd name="connsiteX219" fmla="*/ 1209935 w 3028183"/>
                <a:gd name="connsiteY219" fmla="*/ 696093 h 1160647"/>
                <a:gd name="connsiteX220" fmla="*/ 1211455 w 3028183"/>
                <a:gd name="connsiteY220" fmla="*/ 694201 h 1160647"/>
                <a:gd name="connsiteX221" fmla="*/ 1222095 w 3028183"/>
                <a:gd name="connsiteY221" fmla="*/ 680960 h 1160647"/>
                <a:gd name="connsiteX222" fmla="*/ 1250469 w 3028183"/>
                <a:gd name="connsiteY222" fmla="*/ 680960 h 1160647"/>
                <a:gd name="connsiteX223" fmla="*/ 1250469 w 3028183"/>
                <a:gd name="connsiteY223" fmla="*/ 767431 h 1160647"/>
                <a:gd name="connsiteX224" fmla="*/ 1251229 w 3028183"/>
                <a:gd name="connsiteY224" fmla="*/ 767431 h 1160647"/>
                <a:gd name="connsiteX225" fmla="*/ 1256549 w 3028183"/>
                <a:gd name="connsiteY225" fmla="*/ 767431 h 1160647"/>
                <a:gd name="connsiteX226" fmla="*/ 1257309 w 3028183"/>
                <a:gd name="connsiteY226" fmla="*/ 766080 h 1160647"/>
                <a:gd name="connsiteX227" fmla="*/ 1262629 w 3028183"/>
                <a:gd name="connsiteY227" fmla="*/ 756622 h 1160647"/>
                <a:gd name="connsiteX228" fmla="*/ 1262629 w 3028183"/>
                <a:gd name="connsiteY228" fmla="*/ 758514 h 1160647"/>
                <a:gd name="connsiteX229" fmla="*/ 1262629 w 3028183"/>
                <a:gd name="connsiteY229" fmla="*/ 771755 h 1160647"/>
                <a:gd name="connsiteX230" fmla="*/ 1266682 w 3028183"/>
                <a:gd name="connsiteY230" fmla="*/ 726358 h 1160647"/>
                <a:gd name="connsiteX231" fmla="*/ 1267442 w 3028183"/>
                <a:gd name="connsiteY231" fmla="*/ 726358 h 1160647"/>
                <a:gd name="connsiteX232" fmla="*/ 1272762 w 3028183"/>
                <a:gd name="connsiteY232" fmla="*/ 726358 h 1160647"/>
                <a:gd name="connsiteX233" fmla="*/ 1272762 w 3028183"/>
                <a:gd name="connsiteY233" fmla="*/ 661504 h 1160647"/>
                <a:gd name="connsiteX234" fmla="*/ 1273776 w 3028183"/>
                <a:gd name="connsiteY234" fmla="*/ 661504 h 1160647"/>
                <a:gd name="connsiteX235" fmla="*/ 1280869 w 3028183"/>
                <a:gd name="connsiteY235" fmla="*/ 661504 h 1160647"/>
                <a:gd name="connsiteX236" fmla="*/ 1293029 w 3028183"/>
                <a:gd name="connsiteY236" fmla="*/ 618269 h 1160647"/>
                <a:gd name="connsiteX237" fmla="*/ 1294296 w 3028183"/>
                <a:gd name="connsiteY237" fmla="*/ 618269 h 1160647"/>
                <a:gd name="connsiteX238" fmla="*/ 1303163 w 3028183"/>
                <a:gd name="connsiteY238" fmla="*/ 618269 h 1160647"/>
                <a:gd name="connsiteX239" fmla="*/ 1313296 w 3028183"/>
                <a:gd name="connsiteY239" fmla="*/ 661504 h 1160647"/>
                <a:gd name="connsiteX240" fmla="*/ 1314309 w 3028183"/>
                <a:gd name="connsiteY240" fmla="*/ 661504 h 1160647"/>
                <a:gd name="connsiteX241" fmla="*/ 1321403 w 3028183"/>
                <a:gd name="connsiteY241" fmla="*/ 661504 h 1160647"/>
                <a:gd name="connsiteX242" fmla="*/ 1321403 w 3028183"/>
                <a:gd name="connsiteY242" fmla="*/ 700416 h 1160647"/>
                <a:gd name="connsiteX243" fmla="*/ 1323176 w 3028183"/>
                <a:gd name="connsiteY243" fmla="*/ 700416 h 1160647"/>
                <a:gd name="connsiteX244" fmla="*/ 1335590 w 3028183"/>
                <a:gd name="connsiteY244" fmla="*/ 700416 h 1160647"/>
                <a:gd name="connsiteX245" fmla="*/ 1335590 w 3028183"/>
                <a:gd name="connsiteY245" fmla="*/ 702578 h 1160647"/>
                <a:gd name="connsiteX246" fmla="*/ 1335590 w 3028183"/>
                <a:gd name="connsiteY246" fmla="*/ 717710 h 1160647"/>
                <a:gd name="connsiteX247" fmla="*/ 1339643 w 3028183"/>
                <a:gd name="connsiteY247" fmla="*/ 715549 h 1160647"/>
                <a:gd name="connsiteX248" fmla="*/ 1339643 w 3028183"/>
                <a:gd name="connsiteY248" fmla="*/ 700416 h 1160647"/>
                <a:gd name="connsiteX249" fmla="*/ 1341163 w 3028183"/>
                <a:gd name="connsiteY249" fmla="*/ 700416 h 1160647"/>
                <a:gd name="connsiteX250" fmla="*/ 1351803 w 3028183"/>
                <a:gd name="connsiteY250" fmla="*/ 700416 h 1160647"/>
                <a:gd name="connsiteX251" fmla="*/ 1351803 w 3028183"/>
                <a:gd name="connsiteY251" fmla="*/ 702037 h 1160647"/>
                <a:gd name="connsiteX252" fmla="*/ 1351803 w 3028183"/>
                <a:gd name="connsiteY252" fmla="*/ 713387 h 1160647"/>
                <a:gd name="connsiteX253" fmla="*/ 1382204 w 3028183"/>
                <a:gd name="connsiteY253" fmla="*/ 713387 h 1160647"/>
                <a:gd name="connsiteX254" fmla="*/ 1382204 w 3028183"/>
                <a:gd name="connsiteY254" fmla="*/ 676637 h 1160647"/>
                <a:gd name="connsiteX255" fmla="*/ 1383470 w 3028183"/>
                <a:gd name="connsiteY255" fmla="*/ 676637 h 1160647"/>
                <a:gd name="connsiteX256" fmla="*/ 1392337 w 3028183"/>
                <a:gd name="connsiteY256" fmla="*/ 676637 h 1160647"/>
                <a:gd name="connsiteX257" fmla="*/ 1392337 w 3028183"/>
                <a:gd name="connsiteY257" fmla="*/ 698254 h 1160647"/>
                <a:gd name="connsiteX258" fmla="*/ 1394364 w 3028183"/>
                <a:gd name="connsiteY258" fmla="*/ 665828 h 1160647"/>
                <a:gd name="connsiteX259" fmla="*/ 1416657 w 3028183"/>
                <a:gd name="connsiteY259" fmla="*/ 665828 h 1160647"/>
                <a:gd name="connsiteX260" fmla="*/ 1416657 w 3028183"/>
                <a:gd name="connsiteY260" fmla="*/ 664206 h 1160647"/>
                <a:gd name="connsiteX261" fmla="*/ 1416657 w 3028183"/>
                <a:gd name="connsiteY261" fmla="*/ 652857 h 1160647"/>
                <a:gd name="connsiteX262" fmla="*/ 1417417 w 3028183"/>
                <a:gd name="connsiteY262" fmla="*/ 652857 h 1160647"/>
                <a:gd name="connsiteX263" fmla="*/ 1422737 w 3028183"/>
                <a:gd name="connsiteY263" fmla="*/ 652857 h 1160647"/>
                <a:gd name="connsiteX264" fmla="*/ 1422737 w 3028183"/>
                <a:gd name="connsiteY264" fmla="*/ 650966 h 1160647"/>
                <a:gd name="connsiteX265" fmla="*/ 1422737 w 3028183"/>
                <a:gd name="connsiteY265" fmla="*/ 637725 h 1160647"/>
                <a:gd name="connsiteX266" fmla="*/ 1426791 w 3028183"/>
                <a:gd name="connsiteY266" fmla="*/ 644210 h 1160647"/>
                <a:gd name="connsiteX267" fmla="*/ 1429071 w 3028183"/>
                <a:gd name="connsiteY267" fmla="*/ 644210 h 1160647"/>
                <a:gd name="connsiteX268" fmla="*/ 1445031 w 3028183"/>
                <a:gd name="connsiteY268" fmla="*/ 644210 h 1160647"/>
                <a:gd name="connsiteX269" fmla="*/ 1445031 w 3028183"/>
                <a:gd name="connsiteY269" fmla="*/ 643399 h 1160647"/>
                <a:gd name="connsiteX270" fmla="*/ 1445031 w 3028183"/>
                <a:gd name="connsiteY270" fmla="*/ 637725 h 1160647"/>
                <a:gd name="connsiteX271" fmla="*/ 1445791 w 3028183"/>
                <a:gd name="connsiteY271" fmla="*/ 637725 h 1160647"/>
                <a:gd name="connsiteX272" fmla="*/ 1451111 w 3028183"/>
                <a:gd name="connsiteY272" fmla="*/ 637725 h 1160647"/>
                <a:gd name="connsiteX273" fmla="*/ 1451111 w 3028183"/>
                <a:gd name="connsiteY273" fmla="*/ 639076 h 1160647"/>
                <a:gd name="connsiteX274" fmla="*/ 1451111 w 3028183"/>
                <a:gd name="connsiteY274" fmla="*/ 648534 h 1160647"/>
                <a:gd name="connsiteX275" fmla="*/ 1489618 w 3028183"/>
                <a:gd name="connsiteY275" fmla="*/ 648534 h 1160647"/>
                <a:gd name="connsiteX276" fmla="*/ 1489618 w 3028183"/>
                <a:gd name="connsiteY276" fmla="*/ 786887 h 1160647"/>
                <a:gd name="connsiteX277" fmla="*/ 1491138 w 3028183"/>
                <a:gd name="connsiteY277" fmla="*/ 786887 h 1160647"/>
                <a:gd name="connsiteX278" fmla="*/ 1501778 w 3028183"/>
                <a:gd name="connsiteY278" fmla="*/ 786887 h 1160647"/>
                <a:gd name="connsiteX279" fmla="*/ 1501778 w 3028183"/>
                <a:gd name="connsiteY279" fmla="*/ 773917 h 1160647"/>
                <a:gd name="connsiteX280" fmla="*/ 1505832 w 3028183"/>
                <a:gd name="connsiteY280" fmla="*/ 773917 h 1160647"/>
                <a:gd name="connsiteX281" fmla="*/ 1505832 w 3028183"/>
                <a:gd name="connsiteY281" fmla="*/ 786887 h 1160647"/>
                <a:gd name="connsiteX282" fmla="*/ 1536232 w 3028183"/>
                <a:gd name="connsiteY282" fmla="*/ 786887 h 1160647"/>
                <a:gd name="connsiteX283" fmla="*/ 1536232 w 3028183"/>
                <a:gd name="connsiteY283" fmla="*/ 756622 h 1160647"/>
                <a:gd name="connsiteX284" fmla="*/ 1548392 w 3028183"/>
                <a:gd name="connsiteY284" fmla="*/ 756622 h 1160647"/>
                <a:gd name="connsiteX285" fmla="*/ 1560552 w 3028183"/>
                <a:gd name="connsiteY285" fmla="*/ 754461 h 1160647"/>
                <a:gd name="connsiteX286" fmla="*/ 1564606 w 3028183"/>
                <a:gd name="connsiteY286" fmla="*/ 756622 h 1160647"/>
                <a:gd name="connsiteX287" fmla="*/ 1574739 w 3028183"/>
                <a:gd name="connsiteY287" fmla="*/ 756622 h 1160647"/>
                <a:gd name="connsiteX288" fmla="*/ 1574739 w 3028183"/>
                <a:gd name="connsiteY288" fmla="*/ 786887 h 1160647"/>
                <a:gd name="connsiteX289" fmla="*/ 1582846 w 3028183"/>
                <a:gd name="connsiteY289" fmla="*/ 786887 h 1160647"/>
                <a:gd name="connsiteX290" fmla="*/ 1582846 w 3028183"/>
                <a:gd name="connsiteY290" fmla="*/ 804182 h 1160647"/>
                <a:gd name="connsiteX291" fmla="*/ 1592182 w 3028183"/>
                <a:gd name="connsiteY291" fmla="*/ 805087 h 1160647"/>
                <a:gd name="connsiteX292" fmla="*/ 1605140 w 3028183"/>
                <a:gd name="connsiteY292" fmla="*/ 805087 h 1160647"/>
                <a:gd name="connsiteX293" fmla="*/ 1605140 w 3028183"/>
                <a:gd name="connsiteY293" fmla="*/ 789049 h 1160647"/>
                <a:gd name="connsiteX294" fmla="*/ 1673096 w 3028183"/>
                <a:gd name="connsiteY294" fmla="*/ 789049 h 1160647"/>
                <a:gd name="connsiteX295" fmla="*/ 1673096 w 3028183"/>
                <a:gd name="connsiteY295" fmla="*/ 703796 h 1160647"/>
                <a:gd name="connsiteX296" fmla="*/ 1745104 w 3028183"/>
                <a:gd name="connsiteY296" fmla="*/ 703796 h 1160647"/>
                <a:gd name="connsiteX297" fmla="*/ 1745104 w 3028183"/>
                <a:gd name="connsiteY297" fmla="*/ 782564 h 1160647"/>
                <a:gd name="connsiteX298" fmla="*/ 1747008 w 3028183"/>
                <a:gd name="connsiteY298" fmla="*/ 782564 h 1160647"/>
                <a:gd name="connsiteX299" fmla="*/ 1748250 w 3028183"/>
                <a:gd name="connsiteY299" fmla="*/ 805087 h 1160647"/>
                <a:gd name="connsiteX300" fmla="*/ 1757926 w 3028183"/>
                <a:gd name="connsiteY300" fmla="*/ 805087 h 1160647"/>
                <a:gd name="connsiteX301" fmla="*/ 1759168 w 3028183"/>
                <a:gd name="connsiteY301" fmla="*/ 782564 h 1160647"/>
                <a:gd name="connsiteX302" fmla="*/ 1765248 w 3028183"/>
                <a:gd name="connsiteY302" fmla="*/ 782564 h 1160647"/>
                <a:gd name="connsiteX303" fmla="*/ 1766490 w 3028183"/>
                <a:gd name="connsiteY303" fmla="*/ 805087 h 1160647"/>
                <a:gd name="connsiteX304" fmla="*/ 1817112 w 3028183"/>
                <a:gd name="connsiteY304" fmla="*/ 805087 h 1160647"/>
                <a:gd name="connsiteX305" fmla="*/ 1817112 w 3028183"/>
                <a:gd name="connsiteY305" fmla="*/ 642059 h 1160647"/>
                <a:gd name="connsiteX306" fmla="*/ 2014439 w 3028183"/>
                <a:gd name="connsiteY306" fmla="*/ 642059 h 1160647"/>
                <a:gd name="connsiteX307" fmla="*/ 2014439 w 3028183"/>
                <a:gd name="connsiteY307" fmla="*/ 805087 h 1160647"/>
                <a:gd name="connsiteX308" fmla="*/ 2033136 w 3028183"/>
                <a:gd name="connsiteY308" fmla="*/ 805087 h 1160647"/>
                <a:gd name="connsiteX309" fmla="*/ 2033136 w 3028183"/>
                <a:gd name="connsiteY309" fmla="*/ 722394 h 1160647"/>
                <a:gd name="connsiteX310" fmla="*/ 2128256 w 3028183"/>
                <a:gd name="connsiteY310" fmla="*/ 722394 h 1160647"/>
                <a:gd name="connsiteX311" fmla="*/ 2140186 w 3028183"/>
                <a:gd name="connsiteY311" fmla="*/ 404253 h 1160647"/>
                <a:gd name="connsiteX312" fmla="*/ 2128026 w 3028183"/>
                <a:gd name="connsiteY312" fmla="*/ 382635 h 1160647"/>
                <a:gd name="connsiteX313" fmla="*/ 2121946 w 3028183"/>
                <a:gd name="connsiteY313" fmla="*/ 378311 h 1160647"/>
                <a:gd name="connsiteX314" fmla="*/ 2130053 w 3028183"/>
                <a:gd name="connsiteY314" fmla="*/ 354532 h 1160647"/>
                <a:gd name="connsiteX315" fmla="*/ 2130053 w 3028183"/>
                <a:gd name="connsiteY315" fmla="*/ 337238 h 1160647"/>
                <a:gd name="connsiteX316" fmla="*/ 2144240 w 3028183"/>
                <a:gd name="connsiteY316" fmla="*/ 337238 h 1160647"/>
                <a:gd name="connsiteX317" fmla="*/ 2144240 w 3028183"/>
                <a:gd name="connsiteY317" fmla="*/ 315620 h 1160647"/>
                <a:gd name="connsiteX318" fmla="*/ 2146266 w 3028183"/>
                <a:gd name="connsiteY318" fmla="*/ 311296 h 1160647"/>
                <a:gd name="connsiteX319" fmla="*/ 2146266 w 3028183"/>
                <a:gd name="connsiteY319" fmla="*/ 233472 h 1160647"/>
                <a:gd name="connsiteX320" fmla="*/ 2144240 w 3028183"/>
                <a:gd name="connsiteY320" fmla="*/ 226987 h 1160647"/>
                <a:gd name="connsiteX321" fmla="*/ 2150320 w 3028183"/>
                <a:gd name="connsiteY321" fmla="*/ 220501 h 1160647"/>
                <a:gd name="connsiteX322" fmla="*/ 2150320 w 3028183"/>
                <a:gd name="connsiteY322" fmla="*/ 162133 h 1160647"/>
                <a:gd name="connsiteX323" fmla="*/ 2152346 w 3028183"/>
                <a:gd name="connsiteY323" fmla="*/ 157810 h 1160647"/>
                <a:gd name="connsiteX324" fmla="*/ 2152346 w 3028183"/>
                <a:gd name="connsiteY324" fmla="*/ 101604 h 1160647"/>
                <a:gd name="connsiteX325" fmla="*/ 2154373 w 3028183"/>
                <a:gd name="connsiteY325" fmla="*/ 82148 h 1160647"/>
                <a:gd name="connsiteX326" fmla="*/ 2158427 w 3028183"/>
                <a:gd name="connsiteY326" fmla="*/ 99442 h 1160647"/>
                <a:gd name="connsiteX327" fmla="*/ 2160453 w 3028183"/>
                <a:gd name="connsiteY327" fmla="*/ 157810 h 1160647"/>
                <a:gd name="connsiteX328" fmla="*/ 2162480 w 3028183"/>
                <a:gd name="connsiteY328" fmla="*/ 220501 h 1160647"/>
                <a:gd name="connsiteX329" fmla="*/ 2168560 w 3028183"/>
                <a:gd name="connsiteY329" fmla="*/ 226987 h 1160647"/>
                <a:gd name="connsiteX330" fmla="*/ 2166533 w 3028183"/>
                <a:gd name="connsiteY330" fmla="*/ 233472 h 1160647"/>
                <a:gd name="connsiteX331" fmla="*/ 2166533 w 3028183"/>
                <a:gd name="connsiteY331" fmla="*/ 311296 h 1160647"/>
                <a:gd name="connsiteX332" fmla="*/ 2168560 w 3028183"/>
                <a:gd name="connsiteY332" fmla="*/ 315620 h 1160647"/>
                <a:gd name="connsiteX333" fmla="*/ 2168560 w 3028183"/>
                <a:gd name="connsiteY333" fmla="*/ 337238 h 1160647"/>
                <a:gd name="connsiteX334" fmla="*/ 2182747 w 3028183"/>
                <a:gd name="connsiteY334" fmla="*/ 337238 h 1160647"/>
                <a:gd name="connsiteX335" fmla="*/ 2182747 w 3028183"/>
                <a:gd name="connsiteY335" fmla="*/ 354532 h 1160647"/>
                <a:gd name="connsiteX336" fmla="*/ 2190854 w 3028183"/>
                <a:gd name="connsiteY336" fmla="*/ 378311 h 1160647"/>
                <a:gd name="connsiteX337" fmla="*/ 2184774 w 3028183"/>
                <a:gd name="connsiteY337" fmla="*/ 382635 h 1160647"/>
                <a:gd name="connsiteX338" fmla="*/ 2172613 w 3028183"/>
                <a:gd name="connsiteY338" fmla="*/ 404253 h 1160647"/>
                <a:gd name="connsiteX339" fmla="*/ 2180720 w 3028183"/>
                <a:gd name="connsiteY339" fmla="*/ 657181 h 1160647"/>
                <a:gd name="connsiteX340" fmla="*/ 2245574 w 3028183"/>
                <a:gd name="connsiteY340" fmla="*/ 657181 h 1160647"/>
                <a:gd name="connsiteX341" fmla="*/ 2245574 w 3028183"/>
                <a:gd name="connsiteY341" fmla="*/ 732843 h 1160647"/>
                <a:gd name="connsiteX342" fmla="*/ 2253681 w 3028183"/>
                <a:gd name="connsiteY342" fmla="*/ 732843 h 1160647"/>
                <a:gd name="connsiteX343" fmla="*/ 2255708 w 3028183"/>
                <a:gd name="connsiteY343" fmla="*/ 726358 h 1160647"/>
                <a:gd name="connsiteX344" fmla="*/ 2261788 w 3028183"/>
                <a:gd name="connsiteY344" fmla="*/ 726358 h 1160647"/>
                <a:gd name="connsiteX345" fmla="*/ 2263815 w 3028183"/>
                <a:gd name="connsiteY345" fmla="*/ 735005 h 1160647"/>
                <a:gd name="connsiteX346" fmla="*/ 2275975 w 3028183"/>
                <a:gd name="connsiteY346" fmla="*/ 735005 h 1160647"/>
                <a:gd name="connsiteX347" fmla="*/ 2275975 w 3028183"/>
                <a:gd name="connsiteY347" fmla="*/ 728519 h 1160647"/>
                <a:gd name="connsiteX348" fmla="*/ 2298268 w 3028183"/>
                <a:gd name="connsiteY348" fmla="*/ 728519 h 1160647"/>
                <a:gd name="connsiteX349" fmla="*/ 2298268 w 3028183"/>
                <a:gd name="connsiteY349" fmla="*/ 735005 h 1160647"/>
                <a:gd name="connsiteX350" fmla="*/ 2318535 w 3028183"/>
                <a:gd name="connsiteY350" fmla="*/ 735005 h 1160647"/>
                <a:gd name="connsiteX351" fmla="*/ 2318535 w 3028183"/>
                <a:gd name="connsiteY351" fmla="*/ 780402 h 1160647"/>
                <a:gd name="connsiteX352" fmla="*/ 2332722 w 3028183"/>
                <a:gd name="connsiteY352" fmla="*/ 780402 h 1160647"/>
                <a:gd name="connsiteX353" fmla="*/ 2332722 w 3028183"/>
                <a:gd name="connsiteY353" fmla="*/ 767431 h 1160647"/>
                <a:gd name="connsiteX354" fmla="*/ 2348936 w 3028183"/>
                <a:gd name="connsiteY354" fmla="*/ 767431 h 1160647"/>
                <a:gd name="connsiteX355" fmla="*/ 2348936 w 3028183"/>
                <a:gd name="connsiteY355" fmla="*/ 588004 h 1160647"/>
                <a:gd name="connsiteX356" fmla="*/ 2355016 w 3028183"/>
                <a:gd name="connsiteY356" fmla="*/ 581518 h 1160647"/>
                <a:gd name="connsiteX357" fmla="*/ 2427977 w 3028183"/>
                <a:gd name="connsiteY357" fmla="*/ 581518 h 1160647"/>
                <a:gd name="connsiteX358" fmla="*/ 2427977 w 3028183"/>
                <a:gd name="connsiteY358" fmla="*/ 590166 h 1160647"/>
                <a:gd name="connsiteX359" fmla="*/ 2438110 w 3028183"/>
                <a:gd name="connsiteY359" fmla="*/ 590166 h 1160647"/>
                <a:gd name="connsiteX360" fmla="*/ 2438110 w 3028183"/>
                <a:gd name="connsiteY360" fmla="*/ 704740 h 1160647"/>
                <a:gd name="connsiteX361" fmla="*/ 2460404 w 3028183"/>
                <a:gd name="connsiteY361" fmla="*/ 704740 h 1160647"/>
                <a:gd name="connsiteX362" fmla="*/ 2460404 w 3028183"/>
                <a:gd name="connsiteY362" fmla="*/ 637725 h 1160647"/>
                <a:gd name="connsiteX363" fmla="*/ 2486751 w 3028183"/>
                <a:gd name="connsiteY363" fmla="*/ 637725 h 1160647"/>
                <a:gd name="connsiteX364" fmla="*/ 2490804 w 3028183"/>
                <a:gd name="connsiteY364" fmla="*/ 633401 h 1160647"/>
                <a:gd name="connsiteX365" fmla="*/ 2498911 w 3028183"/>
                <a:gd name="connsiteY365" fmla="*/ 633401 h 1160647"/>
                <a:gd name="connsiteX366" fmla="*/ 2502964 w 3028183"/>
                <a:gd name="connsiteY366" fmla="*/ 637725 h 1160647"/>
                <a:gd name="connsiteX367" fmla="*/ 2525258 w 3028183"/>
                <a:gd name="connsiteY367" fmla="*/ 637725 h 1160647"/>
                <a:gd name="connsiteX368" fmla="*/ 2525258 w 3028183"/>
                <a:gd name="connsiteY368" fmla="*/ 520989 h 1160647"/>
                <a:gd name="connsiteX369" fmla="*/ 2582005 w 3028183"/>
                <a:gd name="connsiteY369" fmla="*/ 510180 h 1160647"/>
                <a:gd name="connsiteX370" fmla="*/ 2582005 w 3028183"/>
                <a:gd name="connsiteY370" fmla="*/ 511261 h 1160647"/>
                <a:gd name="connsiteX371" fmla="*/ 2582005 w 3028183"/>
                <a:gd name="connsiteY371" fmla="*/ 518827 h 1160647"/>
                <a:gd name="connsiteX372" fmla="*/ 2608352 w 3028183"/>
                <a:gd name="connsiteY372" fmla="*/ 518827 h 1160647"/>
                <a:gd name="connsiteX373" fmla="*/ 2608352 w 3028183"/>
                <a:gd name="connsiteY373" fmla="*/ 773917 h 1160647"/>
                <a:gd name="connsiteX374" fmla="*/ 2630646 w 3028183"/>
                <a:gd name="connsiteY374" fmla="*/ 773917 h 1160647"/>
                <a:gd name="connsiteX375" fmla="*/ 2630646 w 3028183"/>
                <a:gd name="connsiteY375" fmla="*/ 769593 h 1160647"/>
                <a:gd name="connsiteX376" fmla="*/ 2642806 w 3028183"/>
                <a:gd name="connsiteY376" fmla="*/ 769593 h 1160647"/>
                <a:gd name="connsiteX377" fmla="*/ 2642806 w 3028183"/>
                <a:gd name="connsiteY377" fmla="*/ 773917 h 1160647"/>
                <a:gd name="connsiteX378" fmla="*/ 2667126 w 3028183"/>
                <a:gd name="connsiteY378" fmla="*/ 773917 h 1160647"/>
                <a:gd name="connsiteX379" fmla="*/ 2667126 w 3028183"/>
                <a:gd name="connsiteY379" fmla="*/ 760946 h 1160647"/>
                <a:gd name="connsiteX380" fmla="*/ 2695500 w 3028183"/>
                <a:gd name="connsiteY380" fmla="*/ 760946 h 1160647"/>
                <a:gd name="connsiteX381" fmla="*/ 2707660 w 3028183"/>
                <a:gd name="connsiteY381" fmla="*/ 756622 h 1160647"/>
                <a:gd name="connsiteX382" fmla="*/ 2727927 w 3028183"/>
                <a:gd name="connsiteY382" fmla="*/ 760946 h 1160647"/>
                <a:gd name="connsiteX383" fmla="*/ 2727927 w 3028183"/>
                <a:gd name="connsiteY383" fmla="*/ 743652 h 1160647"/>
                <a:gd name="connsiteX384" fmla="*/ 2736034 w 3028183"/>
                <a:gd name="connsiteY384" fmla="*/ 743652 h 1160647"/>
                <a:gd name="connsiteX385" fmla="*/ 2736034 w 3028183"/>
                <a:gd name="connsiteY385" fmla="*/ 730681 h 1160647"/>
                <a:gd name="connsiteX386" fmla="*/ 2792781 w 3028183"/>
                <a:gd name="connsiteY386" fmla="*/ 730681 h 1160647"/>
                <a:gd name="connsiteX387" fmla="*/ 2792781 w 3028183"/>
                <a:gd name="connsiteY387" fmla="*/ 700416 h 1160647"/>
                <a:gd name="connsiteX388" fmla="*/ 2811021 w 3028183"/>
                <a:gd name="connsiteY388" fmla="*/ 700416 h 1160647"/>
                <a:gd name="connsiteX389" fmla="*/ 2811021 w 3028183"/>
                <a:gd name="connsiteY389" fmla="*/ 693931 h 1160647"/>
                <a:gd name="connsiteX390" fmla="*/ 2823181 w 3028183"/>
                <a:gd name="connsiteY390" fmla="*/ 693931 h 1160647"/>
                <a:gd name="connsiteX391" fmla="*/ 2823181 w 3028183"/>
                <a:gd name="connsiteY391" fmla="*/ 700416 h 1160647"/>
                <a:gd name="connsiteX392" fmla="*/ 2839395 w 3028183"/>
                <a:gd name="connsiteY392" fmla="*/ 700416 h 1160647"/>
                <a:gd name="connsiteX393" fmla="*/ 2839395 w 3028183"/>
                <a:gd name="connsiteY393" fmla="*/ 750137 h 1160647"/>
                <a:gd name="connsiteX394" fmla="*/ 2871822 w 3028183"/>
                <a:gd name="connsiteY394" fmla="*/ 750137 h 1160647"/>
                <a:gd name="connsiteX395" fmla="*/ 2871822 w 3028183"/>
                <a:gd name="connsiteY395" fmla="*/ 724196 h 1160647"/>
                <a:gd name="connsiteX396" fmla="*/ 2910329 w 3028183"/>
                <a:gd name="connsiteY396" fmla="*/ 724196 h 1160647"/>
                <a:gd name="connsiteX397" fmla="*/ 2910329 w 3028183"/>
                <a:gd name="connsiteY397" fmla="*/ 693931 h 1160647"/>
                <a:gd name="connsiteX398" fmla="*/ 2958970 w 3028183"/>
                <a:gd name="connsiteY398" fmla="*/ 693931 h 1160647"/>
                <a:gd name="connsiteX399" fmla="*/ 2958970 w 3028183"/>
                <a:gd name="connsiteY399" fmla="*/ 805087 h 1160647"/>
                <a:gd name="connsiteX400" fmla="*/ 2958970 w 3028183"/>
                <a:gd name="connsiteY400" fmla="*/ 818866 h 1160647"/>
                <a:gd name="connsiteX401" fmla="*/ 3024845 w 3028183"/>
                <a:gd name="connsiteY401" fmla="*/ 818866 h 1160647"/>
                <a:gd name="connsiteX402" fmla="*/ 3028183 w 3028183"/>
                <a:gd name="connsiteY402" fmla="*/ 1160647 h 1160647"/>
                <a:gd name="connsiteX403" fmla="*/ 2054 w 3028183"/>
                <a:gd name="connsiteY403" fmla="*/ 1158314 h 1160647"/>
                <a:gd name="connsiteX404" fmla="*/ 0 w 3028183"/>
                <a:gd name="connsiteY404" fmla="*/ 724196 h 1160647"/>
                <a:gd name="connsiteX405" fmla="*/ 20267 w 3028183"/>
                <a:gd name="connsiteY405" fmla="*/ 724196 h 1160647"/>
                <a:gd name="connsiteX406" fmla="*/ 20774 w 3028183"/>
                <a:gd name="connsiteY406" fmla="*/ 723115 h 1160647"/>
                <a:gd name="connsiteX407" fmla="*/ 24320 w 3028183"/>
                <a:gd name="connsiteY407" fmla="*/ 715549 h 1160647"/>
                <a:gd name="connsiteX408" fmla="*/ 26094 w 3028183"/>
                <a:gd name="connsiteY408" fmla="*/ 715819 h 1160647"/>
                <a:gd name="connsiteX409" fmla="*/ 38507 w 3028183"/>
                <a:gd name="connsiteY409" fmla="*/ 717710 h 1160647"/>
                <a:gd name="connsiteX410" fmla="*/ 39014 w 3028183"/>
                <a:gd name="connsiteY410" fmla="*/ 719062 h 1160647"/>
                <a:gd name="connsiteX411" fmla="*/ 42560 w 3028183"/>
                <a:gd name="connsiteY411" fmla="*/ 728519 h 1160647"/>
                <a:gd name="connsiteX412" fmla="*/ 68907 w 3028183"/>
                <a:gd name="connsiteY412" fmla="*/ 730681 h 1160647"/>
                <a:gd name="connsiteX413" fmla="*/ 68907 w 3028183"/>
                <a:gd name="connsiteY413" fmla="*/ 607460 h 1160647"/>
                <a:gd name="connsiteX414" fmla="*/ 70934 w 3028183"/>
                <a:gd name="connsiteY414" fmla="*/ 607460 h 1160647"/>
                <a:gd name="connsiteX415" fmla="*/ 85121 w 3028183"/>
                <a:gd name="connsiteY415" fmla="*/ 607460 h 1160647"/>
                <a:gd name="connsiteX416" fmla="*/ 85121 w 3028183"/>
                <a:gd name="connsiteY416" fmla="*/ 471268 h 1160647"/>
                <a:gd name="connsiteX417" fmla="*/ 86894 w 3028183"/>
                <a:gd name="connsiteY417" fmla="*/ 471268 h 1160647"/>
                <a:gd name="connsiteX418" fmla="*/ 99308 w 3028183"/>
                <a:gd name="connsiteY418" fmla="*/ 471268 h 1160647"/>
                <a:gd name="connsiteX419" fmla="*/ 99308 w 3028183"/>
                <a:gd name="connsiteY419" fmla="*/ 356694 h 1160647"/>
                <a:gd name="connsiteX420" fmla="*/ 103361 w 3028183"/>
                <a:gd name="connsiteY420" fmla="*/ 328590 h 1160647"/>
                <a:gd name="connsiteX421" fmla="*/ 105388 w 3028183"/>
                <a:gd name="connsiteY421" fmla="*/ 328590 h 1160647"/>
                <a:gd name="connsiteX422" fmla="*/ 119575 w 3028183"/>
                <a:gd name="connsiteY422" fmla="*/ 328590 h 1160647"/>
                <a:gd name="connsiteX423" fmla="*/ 156055 w 3028183"/>
                <a:gd name="connsiteY423" fmla="*/ 246443 h 1160647"/>
                <a:gd name="connsiteX424" fmla="*/ 160109 w 3028183"/>
                <a:gd name="connsiteY424" fmla="*/ 0 h 1160647"/>
                <a:gd name="connsiteX0" fmla="*/ 160109 w 3028183"/>
                <a:gd name="connsiteY0" fmla="*/ 0 h 1160647"/>
                <a:gd name="connsiteX1" fmla="*/ 162135 w 3028183"/>
                <a:gd name="connsiteY1" fmla="*/ 246443 h 1160647"/>
                <a:gd name="connsiteX2" fmla="*/ 200642 w 3028183"/>
                <a:gd name="connsiteY2" fmla="*/ 326429 h 1160647"/>
                <a:gd name="connsiteX3" fmla="*/ 202669 w 3028183"/>
                <a:gd name="connsiteY3" fmla="*/ 326429 h 1160647"/>
                <a:gd name="connsiteX4" fmla="*/ 216856 w 3028183"/>
                <a:gd name="connsiteY4" fmla="*/ 326429 h 1160647"/>
                <a:gd name="connsiteX5" fmla="*/ 216856 w 3028183"/>
                <a:gd name="connsiteY5" fmla="*/ 350208 h 1160647"/>
                <a:gd name="connsiteX6" fmla="*/ 217363 w 3028183"/>
                <a:gd name="connsiteY6" fmla="*/ 351019 h 1160647"/>
                <a:gd name="connsiteX7" fmla="*/ 220909 w 3028183"/>
                <a:gd name="connsiteY7" fmla="*/ 356694 h 1160647"/>
                <a:gd name="connsiteX8" fmla="*/ 220909 w 3028183"/>
                <a:gd name="connsiteY8" fmla="*/ 471268 h 1160647"/>
                <a:gd name="connsiteX9" fmla="*/ 223189 w 3028183"/>
                <a:gd name="connsiteY9" fmla="*/ 471268 h 1160647"/>
                <a:gd name="connsiteX10" fmla="*/ 239150 w 3028183"/>
                <a:gd name="connsiteY10" fmla="*/ 471268 h 1160647"/>
                <a:gd name="connsiteX11" fmla="*/ 239150 w 3028183"/>
                <a:gd name="connsiteY11" fmla="*/ 611783 h 1160647"/>
                <a:gd name="connsiteX12" fmla="*/ 240670 w 3028183"/>
                <a:gd name="connsiteY12" fmla="*/ 611513 h 1160647"/>
                <a:gd name="connsiteX13" fmla="*/ 251310 w 3028183"/>
                <a:gd name="connsiteY13" fmla="*/ 609622 h 1160647"/>
                <a:gd name="connsiteX14" fmla="*/ 249283 w 3028183"/>
                <a:gd name="connsiteY14" fmla="*/ 698254 h 1160647"/>
                <a:gd name="connsiteX15" fmla="*/ 250803 w 3028183"/>
                <a:gd name="connsiteY15" fmla="*/ 698525 h 1160647"/>
                <a:gd name="connsiteX16" fmla="*/ 261443 w 3028183"/>
                <a:gd name="connsiteY16" fmla="*/ 700416 h 1160647"/>
                <a:gd name="connsiteX17" fmla="*/ 261696 w 3028183"/>
                <a:gd name="connsiteY17" fmla="*/ 701227 h 1160647"/>
                <a:gd name="connsiteX18" fmla="*/ 263470 w 3028183"/>
                <a:gd name="connsiteY18" fmla="*/ 706902 h 1160647"/>
                <a:gd name="connsiteX19" fmla="*/ 264230 w 3028183"/>
                <a:gd name="connsiteY19" fmla="*/ 704470 h 1160647"/>
                <a:gd name="connsiteX20" fmla="*/ 269550 w 3028183"/>
                <a:gd name="connsiteY20" fmla="*/ 687446 h 1160647"/>
                <a:gd name="connsiteX21" fmla="*/ 271323 w 3028183"/>
                <a:gd name="connsiteY21" fmla="*/ 687446 h 1160647"/>
                <a:gd name="connsiteX22" fmla="*/ 283737 w 3028183"/>
                <a:gd name="connsiteY22" fmla="*/ 687446 h 1160647"/>
                <a:gd name="connsiteX23" fmla="*/ 283737 w 3028183"/>
                <a:gd name="connsiteY23" fmla="*/ 719872 h 1160647"/>
                <a:gd name="connsiteX24" fmla="*/ 284750 w 3028183"/>
                <a:gd name="connsiteY24" fmla="*/ 720413 h 1160647"/>
                <a:gd name="connsiteX25" fmla="*/ 291844 w 3028183"/>
                <a:gd name="connsiteY25" fmla="*/ 724196 h 1160647"/>
                <a:gd name="connsiteX26" fmla="*/ 291844 w 3028183"/>
                <a:gd name="connsiteY26" fmla="*/ 725547 h 1160647"/>
                <a:gd name="connsiteX27" fmla="*/ 291844 w 3028183"/>
                <a:gd name="connsiteY27" fmla="*/ 735005 h 1160647"/>
                <a:gd name="connsiteX28" fmla="*/ 336431 w 3028183"/>
                <a:gd name="connsiteY28" fmla="*/ 735005 h 1160647"/>
                <a:gd name="connsiteX29" fmla="*/ 336431 w 3028183"/>
                <a:gd name="connsiteY29" fmla="*/ 736086 h 1160647"/>
                <a:gd name="connsiteX30" fmla="*/ 336431 w 3028183"/>
                <a:gd name="connsiteY30" fmla="*/ 743652 h 1160647"/>
                <a:gd name="connsiteX31" fmla="*/ 338457 w 3028183"/>
                <a:gd name="connsiteY31" fmla="*/ 743652 h 1160647"/>
                <a:gd name="connsiteX32" fmla="*/ 352644 w 3028183"/>
                <a:gd name="connsiteY32" fmla="*/ 743652 h 1160647"/>
                <a:gd name="connsiteX33" fmla="*/ 352644 w 3028183"/>
                <a:gd name="connsiteY33" fmla="*/ 713387 h 1160647"/>
                <a:gd name="connsiteX34" fmla="*/ 397231 w 3028183"/>
                <a:gd name="connsiteY34" fmla="*/ 713387 h 1160647"/>
                <a:gd name="connsiteX35" fmla="*/ 397231 w 3028183"/>
                <a:gd name="connsiteY35" fmla="*/ 712036 h 1160647"/>
                <a:gd name="connsiteX36" fmla="*/ 397231 w 3028183"/>
                <a:gd name="connsiteY36" fmla="*/ 702578 h 1160647"/>
                <a:gd name="connsiteX37" fmla="*/ 398245 w 3028183"/>
                <a:gd name="connsiteY37" fmla="*/ 702578 h 1160647"/>
                <a:gd name="connsiteX38" fmla="*/ 405338 w 3028183"/>
                <a:gd name="connsiteY38" fmla="*/ 702578 h 1160647"/>
                <a:gd name="connsiteX39" fmla="*/ 405338 w 3028183"/>
                <a:gd name="connsiteY39" fmla="*/ 700687 h 1160647"/>
                <a:gd name="connsiteX40" fmla="*/ 405338 w 3028183"/>
                <a:gd name="connsiteY40" fmla="*/ 687446 h 1160647"/>
                <a:gd name="connsiteX41" fmla="*/ 406098 w 3028183"/>
                <a:gd name="connsiteY41" fmla="*/ 687446 h 1160647"/>
                <a:gd name="connsiteX42" fmla="*/ 411418 w 3028183"/>
                <a:gd name="connsiteY42" fmla="*/ 687446 h 1160647"/>
                <a:gd name="connsiteX43" fmla="*/ 411418 w 3028183"/>
                <a:gd name="connsiteY43" fmla="*/ 686365 h 1160647"/>
                <a:gd name="connsiteX44" fmla="*/ 411418 w 3028183"/>
                <a:gd name="connsiteY44" fmla="*/ 678798 h 1160647"/>
                <a:gd name="connsiteX45" fmla="*/ 413445 w 3028183"/>
                <a:gd name="connsiteY45" fmla="*/ 678798 h 1160647"/>
                <a:gd name="connsiteX46" fmla="*/ 427632 w 3028183"/>
                <a:gd name="connsiteY46" fmla="*/ 678798 h 1160647"/>
                <a:gd name="connsiteX47" fmla="*/ 427632 w 3028183"/>
                <a:gd name="connsiteY47" fmla="*/ 679879 h 1160647"/>
                <a:gd name="connsiteX48" fmla="*/ 427632 w 3028183"/>
                <a:gd name="connsiteY48" fmla="*/ 687446 h 1160647"/>
                <a:gd name="connsiteX49" fmla="*/ 449925 w 3028183"/>
                <a:gd name="connsiteY49" fmla="*/ 687446 h 1160647"/>
                <a:gd name="connsiteX50" fmla="*/ 449925 w 3028183"/>
                <a:gd name="connsiteY50" fmla="*/ 685554 h 1160647"/>
                <a:gd name="connsiteX51" fmla="*/ 449925 w 3028183"/>
                <a:gd name="connsiteY51" fmla="*/ 672313 h 1160647"/>
                <a:gd name="connsiteX52" fmla="*/ 451699 w 3028183"/>
                <a:gd name="connsiteY52" fmla="*/ 672313 h 1160647"/>
                <a:gd name="connsiteX53" fmla="*/ 464112 w 3028183"/>
                <a:gd name="connsiteY53" fmla="*/ 672313 h 1160647"/>
                <a:gd name="connsiteX54" fmla="*/ 464112 w 3028183"/>
                <a:gd name="connsiteY54" fmla="*/ 696093 h 1160647"/>
                <a:gd name="connsiteX55" fmla="*/ 465126 w 3028183"/>
                <a:gd name="connsiteY55" fmla="*/ 696093 h 1160647"/>
                <a:gd name="connsiteX56" fmla="*/ 472219 w 3028183"/>
                <a:gd name="connsiteY56" fmla="*/ 696093 h 1160647"/>
                <a:gd name="connsiteX57" fmla="*/ 472219 w 3028183"/>
                <a:gd name="connsiteY57" fmla="*/ 695012 h 1160647"/>
                <a:gd name="connsiteX58" fmla="*/ 472219 w 3028183"/>
                <a:gd name="connsiteY58" fmla="*/ 687446 h 1160647"/>
                <a:gd name="connsiteX59" fmla="*/ 473992 w 3028183"/>
                <a:gd name="connsiteY59" fmla="*/ 687446 h 1160647"/>
                <a:gd name="connsiteX60" fmla="*/ 486406 w 3028183"/>
                <a:gd name="connsiteY60" fmla="*/ 687446 h 1160647"/>
                <a:gd name="connsiteX61" fmla="*/ 486406 w 3028183"/>
                <a:gd name="connsiteY61" fmla="*/ 713387 h 1160647"/>
                <a:gd name="connsiteX62" fmla="*/ 488433 w 3028183"/>
                <a:gd name="connsiteY62" fmla="*/ 713387 h 1160647"/>
                <a:gd name="connsiteX63" fmla="*/ 502619 w 3028183"/>
                <a:gd name="connsiteY63" fmla="*/ 713387 h 1160647"/>
                <a:gd name="connsiteX64" fmla="*/ 502619 w 3028183"/>
                <a:gd name="connsiteY64" fmla="*/ 715008 h 1160647"/>
                <a:gd name="connsiteX65" fmla="*/ 502619 w 3028183"/>
                <a:gd name="connsiteY65" fmla="*/ 726358 h 1160647"/>
                <a:gd name="connsiteX66" fmla="*/ 503379 w 3028183"/>
                <a:gd name="connsiteY66" fmla="*/ 726358 h 1160647"/>
                <a:gd name="connsiteX67" fmla="*/ 508700 w 3028183"/>
                <a:gd name="connsiteY67" fmla="*/ 726358 h 1160647"/>
                <a:gd name="connsiteX68" fmla="*/ 508700 w 3028183"/>
                <a:gd name="connsiteY68" fmla="*/ 725547 h 1160647"/>
                <a:gd name="connsiteX69" fmla="*/ 508700 w 3028183"/>
                <a:gd name="connsiteY69" fmla="*/ 719872 h 1160647"/>
                <a:gd name="connsiteX70" fmla="*/ 539100 w 3028183"/>
                <a:gd name="connsiteY70" fmla="*/ 719872 h 1160647"/>
                <a:gd name="connsiteX71" fmla="*/ 539100 w 3028183"/>
                <a:gd name="connsiteY71" fmla="*/ 743652 h 1160647"/>
                <a:gd name="connsiteX72" fmla="*/ 540113 w 3028183"/>
                <a:gd name="connsiteY72" fmla="*/ 743652 h 1160647"/>
                <a:gd name="connsiteX73" fmla="*/ 547207 w 3028183"/>
                <a:gd name="connsiteY73" fmla="*/ 743652 h 1160647"/>
                <a:gd name="connsiteX74" fmla="*/ 547207 w 3028183"/>
                <a:gd name="connsiteY74" fmla="*/ 744733 h 1160647"/>
                <a:gd name="connsiteX75" fmla="*/ 547207 w 3028183"/>
                <a:gd name="connsiteY75" fmla="*/ 752299 h 1160647"/>
                <a:gd name="connsiteX76" fmla="*/ 547967 w 3028183"/>
                <a:gd name="connsiteY76" fmla="*/ 752299 h 1160647"/>
                <a:gd name="connsiteX77" fmla="*/ 553287 w 3028183"/>
                <a:gd name="connsiteY77" fmla="*/ 752299 h 1160647"/>
                <a:gd name="connsiteX78" fmla="*/ 553287 w 3028183"/>
                <a:gd name="connsiteY78" fmla="*/ 750137 h 1160647"/>
                <a:gd name="connsiteX79" fmla="*/ 553287 w 3028183"/>
                <a:gd name="connsiteY79" fmla="*/ 735005 h 1160647"/>
                <a:gd name="connsiteX80" fmla="*/ 554300 w 3028183"/>
                <a:gd name="connsiteY80" fmla="*/ 735005 h 1160647"/>
                <a:gd name="connsiteX81" fmla="*/ 561394 w 3028183"/>
                <a:gd name="connsiteY81" fmla="*/ 735005 h 1160647"/>
                <a:gd name="connsiteX82" fmla="*/ 561394 w 3028183"/>
                <a:gd name="connsiteY82" fmla="*/ 736086 h 1160647"/>
                <a:gd name="connsiteX83" fmla="*/ 561394 w 3028183"/>
                <a:gd name="connsiteY83" fmla="*/ 743652 h 1160647"/>
                <a:gd name="connsiteX84" fmla="*/ 566714 w 3028183"/>
                <a:gd name="connsiteY84" fmla="*/ 741659 h 1160647"/>
                <a:gd name="connsiteX85" fmla="*/ 567474 w 3028183"/>
                <a:gd name="connsiteY85" fmla="*/ 740679 h 1160647"/>
                <a:gd name="connsiteX86" fmla="*/ 567474 w 3028183"/>
                <a:gd name="connsiteY86" fmla="*/ 735005 h 1160647"/>
                <a:gd name="connsiteX87" fmla="*/ 605981 w 3028183"/>
                <a:gd name="connsiteY87" fmla="*/ 735005 h 1160647"/>
                <a:gd name="connsiteX88" fmla="*/ 605981 w 3028183"/>
                <a:gd name="connsiteY88" fmla="*/ 758784 h 1160647"/>
                <a:gd name="connsiteX89" fmla="*/ 608007 w 3028183"/>
                <a:gd name="connsiteY89" fmla="*/ 758784 h 1160647"/>
                <a:gd name="connsiteX90" fmla="*/ 622194 w 3028183"/>
                <a:gd name="connsiteY90" fmla="*/ 758784 h 1160647"/>
                <a:gd name="connsiteX91" fmla="*/ 622194 w 3028183"/>
                <a:gd name="connsiteY91" fmla="*/ 759865 h 1160647"/>
                <a:gd name="connsiteX92" fmla="*/ 622194 w 3028183"/>
                <a:gd name="connsiteY92" fmla="*/ 767431 h 1160647"/>
                <a:gd name="connsiteX93" fmla="*/ 623968 w 3028183"/>
                <a:gd name="connsiteY93" fmla="*/ 767431 h 1160647"/>
                <a:gd name="connsiteX94" fmla="*/ 636381 w 3028183"/>
                <a:gd name="connsiteY94" fmla="*/ 767431 h 1160647"/>
                <a:gd name="connsiteX95" fmla="*/ 636381 w 3028183"/>
                <a:gd name="connsiteY95" fmla="*/ 743652 h 1160647"/>
                <a:gd name="connsiteX96" fmla="*/ 637394 w 3028183"/>
                <a:gd name="connsiteY96" fmla="*/ 743652 h 1160647"/>
                <a:gd name="connsiteX97" fmla="*/ 644488 w 3028183"/>
                <a:gd name="connsiteY97" fmla="*/ 743652 h 1160647"/>
                <a:gd name="connsiteX98" fmla="*/ 644488 w 3028183"/>
                <a:gd name="connsiteY98" fmla="*/ 711225 h 1160647"/>
                <a:gd name="connsiteX99" fmla="*/ 645501 w 3028183"/>
                <a:gd name="connsiteY99" fmla="*/ 711225 h 1160647"/>
                <a:gd name="connsiteX100" fmla="*/ 652595 w 3028183"/>
                <a:gd name="connsiteY100" fmla="*/ 711225 h 1160647"/>
                <a:gd name="connsiteX101" fmla="*/ 652595 w 3028183"/>
                <a:gd name="connsiteY101" fmla="*/ 709334 h 1160647"/>
                <a:gd name="connsiteX102" fmla="*/ 652595 w 3028183"/>
                <a:gd name="connsiteY102" fmla="*/ 696093 h 1160647"/>
                <a:gd name="connsiteX103" fmla="*/ 651328 w 3028183"/>
                <a:gd name="connsiteY103" fmla="*/ 694471 h 1160647"/>
                <a:gd name="connsiteX104" fmla="*/ 656648 w 3028183"/>
                <a:gd name="connsiteY104" fmla="*/ 683122 h 1160647"/>
                <a:gd name="connsiteX105" fmla="*/ 664755 w 3028183"/>
                <a:gd name="connsiteY105" fmla="*/ 711225 h 1160647"/>
                <a:gd name="connsiteX106" fmla="*/ 665515 w 3028183"/>
                <a:gd name="connsiteY106" fmla="*/ 711225 h 1160647"/>
                <a:gd name="connsiteX107" fmla="*/ 670835 w 3028183"/>
                <a:gd name="connsiteY107" fmla="*/ 711225 h 1160647"/>
                <a:gd name="connsiteX108" fmla="*/ 670835 w 3028183"/>
                <a:gd name="connsiteY108" fmla="*/ 605298 h 1160647"/>
                <a:gd name="connsiteX109" fmla="*/ 672355 w 3028183"/>
                <a:gd name="connsiteY109" fmla="*/ 605298 h 1160647"/>
                <a:gd name="connsiteX110" fmla="*/ 682995 w 3028183"/>
                <a:gd name="connsiteY110" fmla="*/ 605298 h 1160647"/>
                <a:gd name="connsiteX111" fmla="*/ 682995 w 3028183"/>
                <a:gd name="connsiteY111" fmla="*/ 557739 h 1160647"/>
                <a:gd name="connsiteX112" fmla="*/ 709342 w 3028183"/>
                <a:gd name="connsiteY112" fmla="*/ 557739 h 1160647"/>
                <a:gd name="connsiteX113" fmla="*/ 709342 w 3028183"/>
                <a:gd name="connsiteY113" fmla="*/ 536121 h 1160647"/>
                <a:gd name="connsiteX114" fmla="*/ 743796 w 3028183"/>
                <a:gd name="connsiteY114" fmla="*/ 536121 h 1160647"/>
                <a:gd name="connsiteX115" fmla="*/ 743796 w 3028183"/>
                <a:gd name="connsiteY115" fmla="*/ 538553 h 1160647"/>
                <a:gd name="connsiteX116" fmla="*/ 743796 w 3028183"/>
                <a:gd name="connsiteY116" fmla="*/ 555577 h 1160647"/>
                <a:gd name="connsiteX117" fmla="*/ 746076 w 3028183"/>
                <a:gd name="connsiteY117" fmla="*/ 555577 h 1160647"/>
                <a:gd name="connsiteX118" fmla="*/ 762036 w 3028183"/>
                <a:gd name="connsiteY118" fmla="*/ 555577 h 1160647"/>
                <a:gd name="connsiteX119" fmla="*/ 762036 w 3028183"/>
                <a:gd name="connsiteY119" fmla="*/ 603136 h 1160647"/>
                <a:gd name="connsiteX120" fmla="*/ 763049 w 3028183"/>
                <a:gd name="connsiteY120" fmla="*/ 603136 h 1160647"/>
                <a:gd name="connsiteX121" fmla="*/ 770143 w 3028183"/>
                <a:gd name="connsiteY121" fmla="*/ 603136 h 1160647"/>
                <a:gd name="connsiteX122" fmla="*/ 784330 w 3028183"/>
                <a:gd name="connsiteY122" fmla="*/ 607460 h 1160647"/>
                <a:gd name="connsiteX123" fmla="*/ 784330 w 3028183"/>
                <a:gd name="connsiteY123" fmla="*/ 646372 h 1160647"/>
                <a:gd name="connsiteX124" fmla="*/ 785343 w 3028183"/>
                <a:gd name="connsiteY124" fmla="*/ 646372 h 1160647"/>
                <a:gd name="connsiteX125" fmla="*/ 792436 w 3028183"/>
                <a:gd name="connsiteY125" fmla="*/ 646372 h 1160647"/>
                <a:gd name="connsiteX126" fmla="*/ 792436 w 3028183"/>
                <a:gd name="connsiteY126" fmla="*/ 647993 h 1160647"/>
                <a:gd name="connsiteX127" fmla="*/ 792436 w 3028183"/>
                <a:gd name="connsiteY127" fmla="*/ 659342 h 1160647"/>
                <a:gd name="connsiteX128" fmla="*/ 794463 w 3028183"/>
                <a:gd name="connsiteY128" fmla="*/ 659342 h 1160647"/>
                <a:gd name="connsiteX129" fmla="*/ 808650 w 3028183"/>
                <a:gd name="connsiteY129" fmla="*/ 659342 h 1160647"/>
                <a:gd name="connsiteX130" fmla="*/ 814730 w 3028183"/>
                <a:gd name="connsiteY130" fmla="*/ 665828 h 1160647"/>
                <a:gd name="connsiteX131" fmla="*/ 814730 w 3028183"/>
                <a:gd name="connsiteY131" fmla="*/ 687446 h 1160647"/>
                <a:gd name="connsiteX132" fmla="*/ 817010 w 3028183"/>
                <a:gd name="connsiteY132" fmla="*/ 687446 h 1160647"/>
                <a:gd name="connsiteX133" fmla="*/ 832970 w 3028183"/>
                <a:gd name="connsiteY133" fmla="*/ 687446 h 1160647"/>
                <a:gd name="connsiteX134" fmla="*/ 832970 w 3028183"/>
                <a:gd name="connsiteY134" fmla="*/ 688526 h 1160647"/>
                <a:gd name="connsiteX135" fmla="*/ 832970 w 3028183"/>
                <a:gd name="connsiteY135" fmla="*/ 696093 h 1160647"/>
                <a:gd name="connsiteX136" fmla="*/ 834237 w 3028183"/>
                <a:gd name="connsiteY136" fmla="*/ 696093 h 1160647"/>
                <a:gd name="connsiteX137" fmla="*/ 843104 w 3028183"/>
                <a:gd name="connsiteY137" fmla="*/ 696093 h 1160647"/>
                <a:gd name="connsiteX138" fmla="*/ 843104 w 3028183"/>
                <a:gd name="connsiteY138" fmla="*/ 698254 h 1160647"/>
                <a:gd name="connsiteX139" fmla="*/ 843104 w 3028183"/>
                <a:gd name="connsiteY139" fmla="*/ 713387 h 1160647"/>
                <a:gd name="connsiteX140" fmla="*/ 847157 w 3028183"/>
                <a:gd name="connsiteY140" fmla="*/ 711495 h 1160647"/>
                <a:gd name="connsiteX141" fmla="*/ 847157 w 3028183"/>
                <a:gd name="connsiteY141" fmla="*/ 698254 h 1160647"/>
                <a:gd name="connsiteX142" fmla="*/ 848170 w 3028183"/>
                <a:gd name="connsiteY142" fmla="*/ 698254 h 1160647"/>
                <a:gd name="connsiteX143" fmla="*/ 855264 w 3028183"/>
                <a:gd name="connsiteY143" fmla="*/ 698254 h 1160647"/>
                <a:gd name="connsiteX144" fmla="*/ 855264 w 3028183"/>
                <a:gd name="connsiteY144" fmla="*/ 699876 h 1160647"/>
                <a:gd name="connsiteX145" fmla="*/ 855264 w 3028183"/>
                <a:gd name="connsiteY145" fmla="*/ 711225 h 1160647"/>
                <a:gd name="connsiteX146" fmla="*/ 856024 w 3028183"/>
                <a:gd name="connsiteY146" fmla="*/ 711225 h 1160647"/>
                <a:gd name="connsiteX147" fmla="*/ 861344 w 3028183"/>
                <a:gd name="connsiteY147" fmla="*/ 711225 h 1160647"/>
                <a:gd name="connsiteX148" fmla="*/ 909984 w 3028183"/>
                <a:gd name="connsiteY148" fmla="*/ 706902 h 1160647"/>
                <a:gd name="connsiteX149" fmla="*/ 909984 w 3028183"/>
                <a:gd name="connsiteY149" fmla="*/ 708253 h 1160647"/>
                <a:gd name="connsiteX150" fmla="*/ 909984 w 3028183"/>
                <a:gd name="connsiteY150" fmla="*/ 717710 h 1160647"/>
                <a:gd name="connsiteX151" fmla="*/ 910744 w 3028183"/>
                <a:gd name="connsiteY151" fmla="*/ 717710 h 1160647"/>
                <a:gd name="connsiteX152" fmla="*/ 916065 w 3028183"/>
                <a:gd name="connsiteY152" fmla="*/ 717710 h 1160647"/>
                <a:gd name="connsiteX153" fmla="*/ 916065 w 3028183"/>
                <a:gd name="connsiteY153" fmla="*/ 719872 h 1160647"/>
                <a:gd name="connsiteX154" fmla="*/ 916065 w 3028183"/>
                <a:gd name="connsiteY154" fmla="*/ 735005 h 1160647"/>
                <a:gd name="connsiteX155" fmla="*/ 918091 w 3028183"/>
                <a:gd name="connsiteY155" fmla="*/ 733654 h 1160647"/>
                <a:gd name="connsiteX156" fmla="*/ 932278 w 3028183"/>
                <a:gd name="connsiteY156" fmla="*/ 724196 h 1160647"/>
                <a:gd name="connsiteX157" fmla="*/ 938358 w 3028183"/>
                <a:gd name="connsiteY157" fmla="*/ 683122 h 1160647"/>
                <a:gd name="connsiteX158" fmla="*/ 939118 w 3028183"/>
                <a:gd name="connsiteY158" fmla="*/ 682852 h 1160647"/>
                <a:gd name="connsiteX159" fmla="*/ 944438 w 3028183"/>
                <a:gd name="connsiteY159" fmla="*/ 680960 h 1160647"/>
                <a:gd name="connsiteX160" fmla="*/ 946465 w 3028183"/>
                <a:gd name="connsiteY160" fmla="*/ 611783 h 1160647"/>
                <a:gd name="connsiteX161" fmla="*/ 948492 w 3028183"/>
                <a:gd name="connsiteY161" fmla="*/ 680960 h 1160647"/>
                <a:gd name="connsiteX162" fmla="*/ 949252 w 3028183"/>
                <a:gd name="connsiteY162" fmla="*/ 681230 h 1160647"/>
                <a:gd name="connsiteX163" fmla="*/ 954572 w 3028183"/>
                <a:gd name="connsiteY163" fmla="*/ 683122 h 1160647"/>
                <a:gd name="connsiteX164" fmla="*/ 954572 w 3028183"/>
                <a:gd name="connsiteY164" fmla="*/ 596651 h 1160647"/>
                <a:gd name="connsiteX165" fmla="*/ 958625 w 3028183"/>
                <a:gd name="connsiteY165" fmla="*/ 564224 h 1160647"/>
                <a:gd name="connsiteX166" fmla="*/ 997132 w 3028183"/>
                <a:gd name="connsiteY166" fmla="*/ 564224 h 1160647"/>
                <a:gd name="connsiteX167" fmla="*/ 997132 w 3028183"/>
                <a:gd name="connsiteY167" fmla="*/ 596651 h 1160647"/>
                <a:gd name="connsiteX168" fmla="*/ 997892 w 3028183"/>
                <a:gd name="connsiteY168" fmla="*/ 596651 h 1160647"/>
                <a:gd name="connsiteX169" fmla="*/ 1003212 w 3028183"/>
                <a:gd name="connsiteY169" fmla="*/ 596651 h 1160647"/>
                <a:gd name="connsiteX170" fmla="*/ 1003212 w 3028183"/>
                <a:gd name="connsiteY170" fmla="*/ 514503 h 1160647"/>
                <a:gd name="connsiteX171" fmla="*/ 1004986 w 3028183"/>
                <a:gd name="connsiteY171" fmla="*/ 514503 h 1160647"/>
                <a:gd name="connsiteX172" fmla="*/ 1017399 w 3028183"/>
                <a:gd name="connsiteY172" fmla="*/ 514503 h 1160647"/>
                <a:gd name="connsiteX173" fmla="*/ 1017399 w 3028183"/>
                <a:gd name="connsiteY173" fmla="*/ 512612 h 1160647"/>
                <a:gd name="connsiteX174" fmla="*/ 1017399 w 3028183"/>
                <a:gd name="connsiteY174" fmla="*/ 499371 h 1160647"/>
                <a:gd name="connsiteX175" fmla="*/ 1039693 w 3028183"/>
                <a:gd name="connsiteY175" fmla="*/ 499371 h 1160647"/>
                <a:gd name="connsiteX176" fmla="*/ 1039693 w 3028183"/>
                <a:gd name="connsiteY176" fmla="*/ 498290 h 1160647"/>
                <a:gd name="connsiteX177" fmla="*/ 1039693 w 3028183"/>
                <a:gd name="connsiteY177" fmla="*/ 490724 h 1160647"/>
                <a:gd name="connsiteX178" fmla="*/ 1041466 w 3028183"/>
                <a:gd name="connsiteY178" fmla="*/ 490724 h 1160647"/>
                <a:gd name="connsiteX179" fmla="*/ 1053880 w 3028183"/>
                <a:gd name="connsiteY179" fmla="*/ 490724 h 1160647"/>
                <a:gd name="connsiteX180" fmla="*/ 1053880 w 3028183"/>
                <a:gd name="connsiteY180" fmla="*/ 491805 h 1160647"/>
                <a:gd name="connsiteX181" fmla="*/ 1053880 w 3028183"/>
                <a:gd name="connsiteY181" fmla="*/ 499371 h 1160647"/>
                <a:gd name="connsiteX182" fmla="*/ 1054640 w 3028183"/>
                <a:gd name="connsiteY182" fmla="*/ 499371 h 1160647"/>
                <a:gd name="connsiteX183" fmla="*/ 1059960 w 3028183"/>
                <a:gd name="connsiteY183" fmla="*/ 499371 h 1160647"/>
                <a:gd name="connsiteX184" fmla="*/ 1070093 w 3028183"/>
                <a:gd name="connsiteY184" fmla="*/ 495047 h 1160647"/>
                <a:gd name="connsiteX185" fmla="*/ 1074146 w 3028183"/>
                <a:gd name="connsiteY185" fmla="*/ 498290 h 1160647"/>
                <a:gd name="connsiteX186" fmla="*/ 1074146 w 3028183"/>
                <a:gd name="connsiteY186" fmla="*/ 490724 h 1160647"/>
                <a:gd name="connsiteX187" fmla="*/ 1076426 w 3028183"/>
                <a:gd name="connsiteY187" fmla="*/ 490724 h 1160647"/>
                <a:gd name="connsiteX188" fmla="*/ 1092387 w 3028183"/>
                <a:gd name="connsiteY188" fmla="*/ 490724 h 1160647"/>
                <a:gd name="connsiteX189" fmla="*/ 1092387 w 3028183"/>
                <a:gd name="connsiteY189" fmla="*/ 491805 h 1160647"/>
                <a:gd name="connsiteX190" fmla="*/ 1092387 w 3028183"/>
                <a:gd name="connsiteY190" fmla="*/ 499371 h 1160647"/>
                <a:gd name="connsiteX191" fmla="*/ 1122787 w 3028183"/>
                <a:gd name="connsiteY191" fmla="*/ 499371 h 1160647"/>
                <a:gd name="connsiteX192" fmla="*/ 1122787 w 3028183"/>
                <a:gd name="connsiteY192" fmla="*/ 500992 h 1160647"/>
                <a:gd name="connsiteX193" fmla="*/ 1122787 w 3028183"/>
                <a:gd name="connsiteY193" fmla="*/ 512342 h 1160647"/>
                <a:gd name="connsiteX194" fmla="*/ 1149134 w 3028183"/>
                <a:gd name="connsiteY194" fmla="*/ 512342 h 1160647"/>
                <a:gd name="connsiteX195" fmla="*/ 1149134 w 3028183"/>
                <a:gd name="connsiteY195" fmla="*/ 542606 h 1160647"/>
                <a:gd name="connsiteX196" fmla="*/ 1149894 w 3028183"/>
                <a:gd name="connsiteY196" fmla="*/ 542606 h 1160647"/>
                <a:gd name="connsiteX197" fmla="*/ 1155214 w 3028183"/>
                <a:gd name="connsiteY197" fmla="*/ 542606 h 1160647"/>
                <a:gd name="connsiteX198" fmla="*/ 1155214 w 3028183"/>
                <a:gd name="connsiteY198" fmla="*/ 543687 h 1160647"/>
                <a:gd name="connsiteX199" fmla="*/ 1155214 w 3028183"/>
                <a:gd name="connsiteY199" fmla="*/ 551254 h 1160647"/>
                <a:gd name="connsiteX200" fmla="*/ 1159268 w 3028183"/>
                <a:gd name="connsiteY200" fmla="*/ 581518 h 1160647"/>
                <a:gd name="connsiteX201" fmla="*/ 1160028 w 3028183"/>
                <a:gd name="connsiteY201" fmla="*/ 581518 h 1160647"/>
                <a:gd name="connsiteX202" fmla="*/ 1165348 w 3028183"/>
                <a:gd name="connsiteY202" fmla="*/ 581518 h 1160647"/>
                <a:gd name="connsiteX203" fmla="*/ 1165348 w 3028183"/>
                <a:gd name="connsiteY203" fmla="*/ 582329 h 1160647"/>
                <a:gd name="connsiteX204" fmla="*/ 1165348 w 3028183"/>
                <a:gd name="connsiteY204" fmla="*/ 588004 h 1160647"/>
                <a:gd name="connsiteX205" fmla="*/ 1166361 w 3028183"/>
                <a:gd name="connsiteY205" fmla="*/ 588004 h 1160647"/>
                <a:gd name="connsiteX206" fmla="*/ 1173454 w 3028183"/>
                <a:gd name="connsiteY206" fmla="*/ 588004 h 1160647"/>
                <a:gd name="connsiteX207" fmla="*/ 1173454 w 3028183"/>
                <a:gd name="connsiteY207" fmla="*/ 618269 h 1160647"/>
                <a:gd name="connsiteX208" fmla="*/ 1175481 w 3028183"/>
                <a:gd name="connsiteY208" fmla="*/ 618269 h 1160647"/>
                <a:gd name="connsiteX209" fmla="*/ 1189668 w 3028183"/>
                <a:gd name="connsiteY209" fmla="*/ 618269 h 1160647"/>
                <a:gd name="connsiteX210" fmla="*/ 1189668 w 3028183"/>
                <a:gd name="connsiteY210" fmla="*/ 642048 h 1160647"/>
                <a:gd name="connsiteX211" fmla="*/ 1191695 w 3028183"/>
                <a:gd name="connsiteY211" fmla="*/ 643669 h 1160647"/>
                <a:gd name="connsiteX212" fmla="*/ 1191695 w 3028183"/>
                <a:gd name="connsiteY212" fmla="*/ 655019 h 1160647"/>
                <a:gd name="connsiteX213" fmla="*/ 1192455 w 3028183"/>
                <a:gd name="connsiteY213" fmla="*/ 655019 h 1160647"/>
                <a:gd name="connsiteX214" fmla="*/ 1197775 w 3028183"/>
                <a:gd name="connsiteY214" fmla="*/ 655019 h 1160647"/>
                <a:gd name="connsiteX215" fmla="*/ 1197775 w 3028183"/>
                <a:gd name="connsiteY215" fmla="*/ 678798 h 1160647"/>
                <a:gd name="connsiteX216" fmla="*/ 1199041 w 3028183"/>
                <a:gd name="connsiteY216" fmla="*/ 678798 h 1160647"/>
                <a:gd name="connsiteX217" fmla="*/ 1207908 w 3028183"/>
                <a:gd name="connsiteY217" fmla="*/ 678798 h 1160647"/>
                <a:gd name="connsiteX218" fmla="*/ 1209935 w 3028183"/>
                <a:gd name="connsiteY218" fmla="*/ 682852 h 1160647"/>
                <a:gd name="connsiteX219" fmla="*/ 1209935 w 3028183"/>
                <a:gd name="connsiteY219" fmla="*/ 696093 h 1160647"/>
                <a:gd name="connsiteX220" fmla="*/ 1211455 w 3028183"/>
                <a:gd name="connsiteY220" fmla="*/ 694201 h 1160647"/>
                <a:gd name="connsiteX221" fmla="*/ 1222095 w 3028183"/>
                <a:gd name="connsiteY221" fmla="*/ 680960 h 1160647"/>
                <a:gd name="connsiteX222" fmla="*/ 1250469 w 3028183"/>
                <a:gd name="connsiteY222" fmla="*/ 680960 h 1160647"/>
                <a:gd name="connsiteX223" fmla="*/ 1250469 w 3028183"/>
                <a:gd name="connsiteY223" fmla="*/ 767431 h 1160647"/>
                <a:gd name="connsiteX224" fmla="*/ 1251229 w 3028183"/>
                <a:gd name="connsiteY224" fmla="*/ 767431 h 1160647"/>
                <a:gd name="connsiteX225" fmla="*/ 1256549 w 3028183"/>
                <a:gd name="connsiteY225" fmla="*/ 767431 h 1160647"/>
                <a:gd name="connsiteX226" fmla="*/ 1257309 w 3028183"/>
                <a:gd name="connsiteY226" fmla="*/ 766080 h 1160647"/>
                <a:gd name="connsiteX227" fmla="*/ 1262629 w 3028183"/>
                <a:gd name="connsiteY227" fmla="*/ 756622 h 1160647"/>
                <a:gd name="connsiteX228" fmla="*/ 1262629 w 3028183"/>
                <a:gd name="connsiteY228" fmla="*/ 758514 h 1160647"/>
                <a:gd name="connsiteX229" fmla="*/ 1262629 w 3028183"/>
                <a:gd name="connsiteY229" fmla="*/ 771755 h 1160647"/>
                <a:gd name="connsiteX230" fmla="*/ 1266682 w 3028183"/>
                <a:gd name="connsiteY230" fmla="*/ 726358 h 1160647"/>
                <a:gd name="connsiteX231" fmla="*/ 1267442 w 3028183"/>
                <a:gd name="connsiteY231" fmla="*/ 726358 h 1160647"/>
                <a:gd name="connsiteX232" fmla="*/ 1272762 w 3028183"/>
                <a:gd name="connsiteY232" fmla="*/ 726358 h 1160647"/>
                <a:gd name="connsiteX233" fmla="*/ 1272762 w 3028183"/>
                <a:gd name="connsiteY233" fmla="*/ 661504 h 1160647"/>
                <a:gd name="connsiteX234" fmla="*/ 1273776 w 3028183"/>
                <a:gd name="connsiteY234" fmla="*/ 661504 h 1160647"/>
                <a:gd name="connsiteX235" fmla="*/ 1280869 w 3028183"/>
                <a:gd name="connsiteY235" fmla="*/ 661504 h 1160647"/>
                <a:gd name="connsiteX236" fmla="*/ 1293029 w 3028183"/>
                <a:gd name="connsiteY236" fmla="*/ 618269 h 1160647"/>
                <a:gd name="connsiteX237" fmla="*/ 1294296 w 3028183"/>
                <a:gd name="connsiteY237" fmla="*/ 618269 h 1160647"/>
                <a:gd name="connsiteX238" fmla="*/ 1303163 w 3028183"/>
                <a:gd name="connsiteY238" fmla="*/ 618269 h 1160647"/>
                <a:gd name="connsiteX239" fmla="*/ 1313296 w 3028183"/>
                <a:gd name="connsiteY239" fmla="*/ 661504 h 1160647"/>
                <a:gd name="connsiteX240" fmla="*/ 1314309 w 3028183"/>
                <a:gd name="connsiteY240" fmla="*/ 661504 h 1160647"/>
                <a:gd name="connsiteX241" fmla="*/ 1321403 w 3028183"/>
                <a:gd name="connsiteY241" fmla="*/ 661504 h 1160647"/>
                <a:gd name="connsiteX242" fmla="*/ 1321403 w 3028183"/>
                <a:gd name="connsiteY242" fmla="*/ 700416 h 1160647"/>
                <a:gd name="connsiteX243" fmla="*/ 1323176 w 3028183"/>
                <a:gd name="connsiteY243" fmla="*/ 700416 h 1160647"/>
                <a:gd name="connsiteX244" fmla="*/ 1335590 w 3028183"/>
                <a:gd name="connsiteY244" fmla="*/ 700416 h 1160647"/>
                <a:gd name="connsiteX245" fmla="*/ 1335590 w 3028183"/>
                <a:gd name="connsiteY245" fmla="*/ 702578 h 1160647"/>
                <a:gd name="connsiteX246" fmla="*/ 1335590 w 3028183"/>
                <a:gd name="connsiteY246" fmla="*/ 717710 h 1160647"/>
                <a:gd name="connsiteX247" fmla="*/ 1339643 w 3028183"/>
                <a:gd name="connsiteY247" fmla="*/ 715549 h 1160647"/>
                <a:gd name="connsiteX248" fmla="*/ 1339643 w 3028183"/>
                <a:gd name="connsiteY248" fmla="*/ 700416 h 1160647"/>
                <a:gd name="connsiteX249" fmla="*/ 1341163 w 3028183"/>
                <a:gd name="connsiteY249" fmla="*/ 700416 h 1160647"/>
                <a:gd name="connsiteX250" fmla="*/ 1351803 w 3028183"/>
                <a:gd name="connsiteY250" fmla="*/ 700416 h 1160647"/>
                <a:gd name="connsiteX251" fmla="*/ 1351803 w 3028183"/>
                <a:gd name="connsiteY251" fmla="*/ 702037 h 1160647"/>
                <a:gd name="connsiteX252" fmla="*/ 1351803 w 3028183"/>
                <a:gd name="connsiteY252" fmla="*/ 713387 h 1160647"/>
                <a:gd name="connsiteX253" fmla="*/ 1382204 w 3028183"/>
                <a:gd name="connsiteY253" fmla="*/ 713387 h 1160647"/>
                <a:gd name="connsiteX254" fmla="*/ 1382204 w 3028183"/>
                <a:gd name="connsiteY254" fmla="*/ 676637 h 1160647"/>
                <a:gd name="connsiteX255" fmla="*/ 1383470 w 3028183"/>
                <a:gd name="connsiteY255" fmla="*/ 676637 h 1160647"/>
                <a:gd name="connsiteX256" fmla="*/ 1392337 w 3028183"/>
                <a:gd name="connsiteY256" fmla="*/ 676637 h 1160647"/>
                <a:gd name="connsiteX257" fmla="*/ 1392337 w 3028183"/>
                <a:gd name="connsiteY257" fmla="*/ 698254 h 1160647"/>
                <a:gd name="connsiteX258" fmla="*/ 1394364 w 3028183"/>
                <a:gd name="connsiteY258" fmla="*/ 665828 h 1160647"/>
                <a:gd name="connsiteX259" fmla="*/ 1416657 w 3028183"/>
                <a:gd name="connsiteY259" fmla="*/ 665828 h 1160647"/>
                <a:gd name="connsiteX260" fmla="*/ 1416657 w 3028183"/>
                <a:gd name="connsiteY260" fmla="*/ 664206 h 1160647"/>
                <a:gd name="connsiteX261" fmla="*/ 1416657 w 3028183"/>
                <a:gd name="connsiteY261" fmla="*/ 652857 h 1160647"/>
                <a:gd name="connsiteX262" fmla="*/ 1417417 w 3028183"/>
                <a:gd name="connsiteY262" fmla="*/ 652857 h 1160647"/>
                <a:gd name="connsiteX263" fmla="*/ 1422737 w 3028183"/>
                <a:gd name="connsiteY263" fmla="*/ 652857 h 1160647"/>
                <a:gd name="connsiteX264" fmla="*/ 1422737 w 3028183"/>
                <a:gd name="connsiteY264" fmla="*/ 650966 h 1160647"/>
                <a:gd name="connsiteX265" fmla="*/ 1422737 w 3028183"/>
                <a:gd name="connsiteY265" fmla="*/ 637725 h 1160647"/>
                <a:gd name="connsiteX266" fmla="*/ 1426791 w 3028183"/>
                <a:gd name="connsiteY266" fmla="*/ 644210 h 1160647"/>
                <a:gd name="connsiteX267" fmla="*/ 1429071 w 3028183"/>
                <a:gd name="connsiteY267" fmla="*/ 644210 h 1160647"/>
                <a:gd name="connsiteX268" fmla="*/ 1445031 w 3028183"/>
                <a:gd name="connsiteY268" fmla="*/ 644210 h 1160647"/>
                <a:gd name="connsiteX269" fmla="*/ 1445031 w 3028183"/>
                <a:gd name="connsiteY269" fmla="*/ 643399 h 1160647"/>
                <a:gd name="connsiteX270" fmla="*/ 1445031 w 3028183"/>
                <a:gd name="connsiteY270" fmla="*/ 637725 h 1160647"/>
                <a:gd name="connsiteX271" fmla="*/ 1445791 w 3028183"/>
                <a:gd name="connsiteY271" fmla="*/ 637725 h 1160647"/>
                <a:gd name="connsiteX272" fmla="*/ 1451111 w 3028183"/>
                <a:gd name="connsiteY272" fmla="*/ 637725 h 1160647"/>
                <a:gd name="connsiteX273" fmla="*/ 1451111 w 3028183"/>
                <a:gd name="connsiteY273" fmla="*/ 639076 h 1160647"/>
                <a:gd name="connsiteX274" fmla="*/ 1451111 w 3028183"/>
                <a:gd name="connsiteY274" fmla="*/ 648534 h 1160647"/>
                <a:gd name="connsiteX275" fmla="*/ 1489618 w 3028183"/>
                <a:gd name="connsiteY275" fmla="*/ 648534 h 1160647"/>
                <a:gd name="connsiteX276" fmla="*/ 1489618 w 3028183"/>
                <a:gd name="connsiteY276" fmla="*/ 786887 h 1160647"/>
                <a:gd name="connsiteX277" fmla="*/ 1491138 w 3028183"/>
                <a:gd name="connsiteY277" fmla="*/ 786887 h 1160647"/>
                <a:gd name="connsiteX278" fmla="*/ 1501778 w 3028183"/>
                <a:gd name="connsiteY278" fmla="*/ 786887 h 1160647"/>
                <a:gd name="connsiteX279" fmla="*/ 1501778 w 3028183"/>
                <a:gd name="connsiteY279" fmla="*/ 773917 h 1160647"/>
                <a:gd name="connsiteX280" fmla="*/ 1505832 w 3028183"/>
                <a:gd name="connsiteY280" fmla="*/ 773917 h 1160647"/>
                <a:gd name="connsiteX281" fmla="*/ 1505832 w 3028183"/>
                <a:gd name="connsiteY281" fmla="*/ 786887 h 1160647"/>
                <a:gd name="connsiteX282" fmla="*/ 1536232 w 3028183"/>
                <a:gd name="connsiteY282" fmla="*/ 786887 h 1160647"/>
                <a:gd name="connsiteX283" fmla="*/ 1536232 w 3028183"/>
                <a:gd name="connsiteY283" fmla="*/ 756622 h 1160647"/>
                <a:gd name="connsiteX284" fmla="*/ 1548392 w 3028183"/>
                <a:gd name="connsiteY284" fmla="*/ 756622 h 1160647"/>
                <a:gd name="connsiteX285" fmla="*/ 1560552 w 3028183"/>
                <a:gd name="connsiteY285" fmla="*/ 754461 h 1160647"/>
                <a:gd name="connsiteX286" fmla="*/ 1564606 w 3028183"/>
                <a:gd name="connsiteY286" fmla="*/ 756622 h 1160647"/>
                <a:gd name="connsiteX287" fmla="*/ 1574739 w 3028183"/>
                <a:gd name="connsiteY287" fmla="*/ 756622 h 1160647"/>
                <a:gd name="connsiteX288" fmla="*/ 1574739 w 3028183"/>
                <a:gd name="connsiteY288" fmla="*/ 786887 h 1160647"/>
                <a:gd name="connsiteX289" fmla="*/ 1582846 w 3028183"/>
                <a:gd name="connsiteY289" fmla="*/ 786887 h 1160647"/>
                <a:gd name="connsiteX290" fmla="*/ 1582846 w 3028183"/>
                <a:gd name="connsiteY290" fmla="*/ 804182 h 1160647"/>
                <a:gd name="connsiteX291" fmla="*/ 1592182 w 3028183"/>
                <a:gd name="connsiteY291" fmla="*/ 805087 h 1160647"/>
                <a:gd name="connsiteX292" fmla="*/ 1605140 w 3028183"/>
                <a:gd name="connsiteY292" fmla="*/ 805087 h 1160647"/>
                <a:gd name="connsiteX293" fmla="*/ 1605140 w 3028183"/>
                <a:gd name="connsiteY293" fmla="*/ 789049 h 1160647"/>
                <a:gd name="connsiteX294" fmla="*/ 1673096 w 3028183"/>
                <a:gd name="connsiteY294" fmla="*/ 789049 h 1160647"/>
                <a:gd name="connsiteX295" fmla="*/ 1673096 w 3028183"/>
                <a:gd name="connsiteY295" fmla="*/ 703796 h 1160647"/>
                <a:gd name="connsiteX296" fmla="*/ 1745104 w 3028183"/>
                <a:gd name="connsiteY296" fmla="*/ 703796 h 1160647"/>
                <a:gd name="connsiteX297" fmla="*/ 1745104 w 3028183"/>
                <a:gd name="connsiteY297" fmla="*/ 782564 h 1160647"/>
                <a:gd name="connsiteX298" fmla="*/ 1747008 w 3028183"/>
                <a:gd name="connsiteY298" fmla="*/ 782564 h 1160647"/>
                <a:gd name="connsiteX299" fmla="*/ 1748250 w 3028183"/>
                <a:gd name="connsiteY299" fmla="*/ 805087 h 1160647"/>
                <a:gd name="connsiteX300" fmla="*/ 1757926 w 3028183"/>
                <a:gd name="connsiteY300" fmla="*/ 805087 h 1160647"/>
                <a:gd name="connsiteX301" fmla="*/ 1759168 w 3028183"/>
                <a:gd name="connsiteY301" fmla="*/ 782564 h 1160647"/>
                <a:gd name="connsiteX302" fmla="*/ 1765248 w 3028183"/>
                <a:gd name="connsiteY302" fmla="*/ 782564 h 1160647"/>
                <a:gd name="connsiteX303" fmla="*/ 1766490 w 3028183"/>
                <a:gd name="connsiteY303" fmla="*/ 805087 h 1160647"/>
                <a:gd name="connsiteX304" fmla="*/ 1817112 w 3028183"/>
                <a:gd name="connsiteY304" fmla="*/ 805087 h 1160647"/>
                <a:gd name="connsiteX305" fmla="*/ 1817112 w 3028183"/>
                <a:gd name="connsiteY305" fmla="*/ 642059 h 1160647"/>
                <a:gd name="connsiteX306" fmla="*/ 2014439 w 3028183"/>
                <a:gd name="connsiteY306" fmla="*/ 642059 h 1160647"/>
                <a:gd name="connsiteX307" fmla="*/ 2014439 w 3028183"/>
                <a:gd name="connsiteY307" fmla="*/ 805087 h 1160647"/>
                <a:gd name="connsiteX308" fmla="*/ 2033136 w 3028183"/>
                <a:gd name="connsiteY308" fmla="*/ 805087 h 1160647"/>
                <a:gd name="connsiteX309" fmla="*/ 2033136 w 3028183"/>
                <a:gd name="connsiteY309" fmla="*/ 722394 h 1160647"/>
                <a:gd name="connsiteX310" fmla="*/ 2128256 w 3028183"/>
                <a:gd name="connsiteY310" fmla="*/ 722394 h 1160647"/>
                <a:gd name="connsiteX311" fmla="*/ 2140186 w 3028183"/>
                <a:gd name="connsiteY311" fmla="*/ 404253 h 1160647"/>
                <a:gd name="connsiteX312" fmla="*/ 2128026 w 3028183"/>
                <a:gd name="connsiteY312" fmla="*/ 382635 h 1160647"/>
                <a:gd name="connsiteX313" fmla="*/ 2121946 w 3028183"/>
                <a:gd name="connsiteY313" fmla="*/ 378311 h 1160647"/>
                <a:gd name="connsiteX314" fmla="*/ 2130053 w 3028183"/>
                <a:gd name="connsiteY314" fmla="*/ 354532 h 1160647"/>
                <a:gd name="connsiteX315" fmla="*/ 2130053 w 3028183"/>
                <a:gd name="connsiteY315" fmla="*/ 337238 h 1160647"/>
                <a:gd name="connsiteX316" fmla="*/ 2144240 w 3028183"/>
                <a:gd name="connsiteY316" fmla="*/ 337238 h 1160647"/>
                <a:gd name="connsiteX317" fmla="*/ 2144240 w 3028183"/>
                <a:gd name="connsiteY317" fmla="*/ 315620 h 1160647"/>
                <a:gd name="connsiteX318" fmla="*/ 2146266 w 3028183"/>
                <a:gd name="connsiteY318" fmla="*/ 311296 h 1160647"/>
                <a:gd name="connsiteX319" fmla="*/ 2146266 w 3028183"/>
                <a:gd name="connsiteY319" fmla="*/ 233472 h 1160647"/>
                <a:gd name="connsiteX320" fmla="*/ 2144240 w 3028183"/>
                <a:gd name="connsiteY320" fmla="*/ 226987 h 1160647"/>
                <a:gd name="connsiteX321" fmla="*/ 2150320 w 3028183"/>
                <a:gd name="connsiteY321" fmla="*/ 220501 h 1160647"/>
                <a:gd name="connsiteX322" fmla="*/ 2150320 w 3028183"/>
                <a:gd name="connsiteY322" fmla="*/ 162133 h 1160647"/>
                <a:gd name="connsiteX323" fmla="*/ 2152346 w 3028183"/>
                <a:gd name="connsiteY323" fmla="*/ 157810 h 1160647"/>
                <a:gd name="connsiteX324" fmla="*/ 2152346 w 3028183"/>
                <a:gd name="connsiteY324" fmla="*/ 101604 h 1160647"/>
                <a:gd name="connsiteX325" fmla="*/ 2154373 w 3028183"/>
                <a:gd name="connsiteY325" fmla="*/ 82148 h 1160647"/>
                <a:gd name="connsiteX326" fmla="*/ 2158427 w 3028183"/>
                <a:gd name="connsiteY326" fmla="*/ 99442 h 1160647"/>
                <a:gd name="connsiteX327" fmla="*/ 2160453 w 3028183"/>
                <a:gd name="connsiteY327" fmla="*/ 157810 h 1160647"/>
                <a:gd name="connsiteX328" fmla="*/ 2162480 w 3028183"/>
                <a:gd name="connsiteY328" fmla="*/ 220501 h 1160647"/>
                <a:gd name="connsiteX329" fmla="*/ 2168560 w 3028183"/>
                <a:gd name="connsiteY329" fmla="*/ 226987 h 1160647"/>
                <a:gd name="connsiteX330" fmla="*/ 2166533 w 3028183"/>
                <a:gd name="connsiteY330" fmla="*/ 233472 h 1160647"/>
                <a:gd name="connsiteX331" fmla="*/ 2166533 w 3028183"/>
                <a:gd name="connsiteY331" fmla="*/ 311296 h 1160647"/>
                <a:gd name="connsiteX332" fmla="*/ 2168560 w 3028183"/>
                <a:gd name="connsiteY332" fmla="*/ 315620 h 1160647"/>
                <a:gd name="connsiteX333" fmla="*/ 2168560 w 3028183"/>
                <a:gd name="connsiteY333" fmla="*/ 337238 h 1160647"/>
                <a:gd name="connsiteX334" fmla="*/ 2182747 w 3028183"/>
                <a:gd name="connsiteY334" fmla="*/ 337238 h 1160647"/>
                <a:gd name="connsiteX335" fmla="*/ 2182747 w 3028183"/>
                <a:gd name="connsiteY335" fmla="*/ 354532 h 1160647"/>
                <a:gd name="connsiteX336" fmla="*/ 2190854 w 3028183"/>
                <a:gd name="connsiteY336" fmla="*/ 378311 h 1160647"/>
                <a:gd name="connsiteX337" fmla="*/ 2184774 w 3028183"/>
                <a:gd name="connsiteY337" fmla="*/ 382635 h 1160647"/>
                <a:gd name="connsiteX338" fmla="*/ 2172613 w 3028183"/>
                <a:gd name="connsiteY338" fmla="*/ 404253 h 1160647"/>
                <a:gd name="connsiteX339" fmla="*/ 2180720 w 3028183"/>
                <a:gd name="connsiteY339" fmla="*/ 657181 h 1160647"/>
                <a:gd name="connsiteX340" fmla="*/ 2245574 w 3028183"/>
                <a:gd name="connsiteY340" fmla="*/ 657181 h 1160647"/>
                <a:gd name="connsiteX341" fmla="*/ 2245574 w 3028183"/>
                <a:gd name="connsiteY341" fmla="*/ 732843 h 1160647"/>
                <a:gd name="connsiteX342" fmla="*/ 2253681 w 3028183"/>
                <a:gd name="connsiteY342" fmla="*/ 732843 h 1160647"/>
                <a:gd name="connsiteX343" fmla="*/ 2255708 w 3028183"/>
                <a:gd name="connsiteY343" fmla="*/ 726358 h 1160647"/>
                <a:gd name="connsiteX344" fmla="*/ 2261788 w 3028183"/>
                <a:gd name="connsiteY344" fmla="*/ 726358 h 1160647"/>
                <a:gd name="connsiteX345" fmla="*/ 2263815 w 3028183"/>
                <a:gd name="connsiteY345" fmla="*/ 735005 h 1160647"/>
                <a:gd name="connsiteX346" fmla="*/ 2275975 w 3028183"/>
                <a:gd name="connsiteY346" fmla="*/ 735005 h 1160647"/>
                <a:gd name="connsiteX347" fmla="*/ 2275975 w 3028183"/>
                <a:gd name="connsiteY347" fmla="*/ 728519 h 1160647"/>
                <a:gd name="connsiteX348" fmla="*/ 2298268 w 3028183"/>
                <a:gd name="connsiteY348" fmla="*/ 728519 h 1160647"/>
                <a:gd name="connsiteX349" fmla="*/ 2298268 w 3028183"/>
                <a:gd name="connsiteY349" fmla="*/ 735005 h 1160647"/>
                <a:gd name="connsiteX350" fmla="*/ 2318535 w 3028183"/>
                <a:gd name="connsiteY350" fmla="*/ 735005 h 1160647"/>
                <a:gd name="connsiteX351" fmla="*/ 2318535 w 3028183"/>
                <a:gd name="connsiteY351" fmla="*/ 780402 h 1160647"/>
                <a:gd name="connsiteX352" fmla="*/ 2332722 w 3028183"/>
                <a:gd name="connsiteY352" fmla="*/ 780402 h 1160647"/>
                <a:gd name="connsiteX353" fmla="*/ 2332722 w 3028183"/>
                <a:gd name="connsiteY353" fmla="*/ 767431 h 1160647"/>
                <a:gd name="connsiteX354" fmla="*/ 2348936 w 3028183"/>
                <a:gd name="connsiteY354" fmla="*/ 767431 h 1160647"/>
                <a:gd name="connsiteX355" fmla="*/ 2348936 w 3028183"/>
                <a:gd name="connsiteY355" fmla="*/ 588004 h 1160647"/>
                <a:gd name="connsiteX356" fmla="*/ 2355016 w 3028183"/>
                <a:gd name="connsiteY356" fmla="*/ 581518 h 1160647"/>
                <a:gd name="connsiteX357" fmla="*/ 2427977 w 3028183"/>
                <a:gd name="connsiteY357" fmla="*/ 581518 h 1160647"/>
                <a:gd name="connsiteX358" fmla="*/ 2427977 w 3028183"/>
                <a:gd name="connsiteY358" fmla="*/ 590166 h 1160647"/>
                <a:gd name="connsiteX359" fmla="*/ 2438110 w 3028183"/>
                <a:gd name="connsiteY359" fmla="*/ 590166 h 1160647"/>
                <a:gd name="connsiteX360" fmla="*/ 2438110 w 3028183"/>
                <a:gd name="connsiteY360" fmla="*/ 704740 h 1160647"/>
                <a:gd name="connsiteX361" fmla="*/ 2460404 w 3028183"/>
                <a:gd name="connsiteY361" fmla="*/ 704740 h 1160647"/>
                <a:gd name="connsiteX362" fmla="*/ 2460404 w 3028183"/>
                <a:gd name="connsiteY362" fmla="*/ 637725 h 1160647"/>
                <a:gd name="connsiteX363" fmla="*/ 2486751 w 3028183"/>
                <a:gd name="connsiteY363" fmla="*/ 637725 h 1160647"/>
                <a:gd name="connsiteX364" fmla="*/ 2490804 w 3028183"/>
                <a:gd name="connsiteY364" fmla="*/ 633401 h 1160647"/>
                <a:gd name="connsiteX365" fmla="*/ 2498911 w 3028183"/>
                <a:gd name="connsiteY365" fmla="*/ 633401 h 1160647"/>
                <a:gd name="connsiteX366" fmla="*/ 2502964 w 3028183"/>
                <a:gd name="connsiteY366" fmla="*/ 637725 h 1160647"/>
                <a:gd name="connsiteX367" fmla="*/ 2525258 w 3028183"/>
                <a:gd name="connsiteY367" fmla="*/ 637725 h 1160647"/>
                <a:gd name="connsiteX368" fmla="*/ 2525258 w 3028183"/>
                <a:gd name="connsiteY368" fmla="*/ 520989 h 1160647"/>
                <a:gd name="connsiteX369" fmla="*/ 2582005 w 3028183"/>
                <a:gd name="connsiteY369" fmla="*/ 510180 h 1160647"/>
                <a:gd name="connsiteX370" fmla="*/ 2582005 w 3028183"/>
                <a:gd name="connsiteY370" fmla="*/ 511261 h 1160647"/>
                <a:gd name="connsiteX371" fmla="*/ 2582005 w 3028183"/>
                <a:gd name="connsiteY371" fmla="*/ 518827 h 1160647"/>
                <a:gd name="connsiteX372" fmla="*/ 2608352 w 3028183"/>
                <a:gd name="connsiteY372" fmla="*/ 518827 h 1160647"/>
                <a:gd name="connsiteX373" fmla="*/ 2608352 w 3028183"/>
                <a:gd name="connsiteY373" fmla="*/ 773917 h 1160647"/>
                <a:gd name="connsiteX374" fmla="*/ 2630646 w 3028183"/>
                <a:gd name="connsiteY374" fmla="*/ 773917 h 1160647"/>
                <a:gd name="connsiteX375" fmla="*/ 2630646 w 3028183"/>
                <a:gd name="connsiteY375" fmla="*/ 769593 h 1160647"/>
                <a:gd name="connsiteX376" fmla="*/ 2642806 w 3028183"/>
                <a:gd name="connsiteY376" fmla="*/ 769593 h 1160647"/>
                <a:gd name="connsiteX377" fmla="*/ 2642806 w 3028183"/>
                <a:gd name="connsiteY377" fmla="*/ 773917 h 1160647"/>
                <a:gd name="connsiteX378" fmla="*/ 2667126 w 3028183"/>
                <a:gd name="connsiteY378" fmla="*/ 773917 h 1160647"/>
                <a:gd name="connsiteX379" fmla="*/ 2667126 w 3028183"/>
                <a:gd name="connsiteY379" fmla="*/ 760946 h 1160647"/>
                <a:gd name="connsiteX380" fmla="*/ 2695500 w 3028183"/>
                <a:gd name="connsiteY380" fmla="*/ 760946 h 1160647"/>
                <a:gd name="connsiteX381" fmla="*/ 2707660 w 3028183"/>
                <a:gd name="connsiteY381" fmla="*/ 756622 h 1160647"/>
                <a:gd name="connsiteX382" fmla="*/ 2727927 w 3028183"/>
                <a:gd name="connsiteY382" fmla="*/ 760946 h 1160647"/>
                <a:gd name="connsiteX383" fmla="*/ 2727927 w 3028183"/>
                <a:gd name="connsiteY383" fmla="*/ 743652 h 1160647"/>
                <a:gd name="connsiteX384" fmla="*/ 2736034 w 3028183"/>
                <a:gd name="connsiteY384" fmla="*/ 743652 h 1160647"/>
                <a:gd name="connsiteX385" fmla="*/ 2736034 w 3028183"/>
                <a:gd name="connsiteY385" fmla="*/ 730681 h 1160647"/>
                <a:gd name="connsiteX386" fmla="*/ 2792781 w 3028183"/>
                <a:gd name="connsiteY386" fmla="*/ 730681 h 1160647"/>
                <a:gd name="connsiteX387" fmla="*/ 2792781 w 3028183"/>
                <a:gd name="connsiteY387" fmla="*/ 700416 h 1160647"/>
                <a:gd name="connsiteX388" fmla="*/ 2811021 w 3028183"/>
                <a:gd name="connsiteY388" fmla="*/ 700416 h 1160647"/>
                <a:gd name="connsiteX389" fmla="*/ 2811021 w 3028183"/>
                <a:gd name="connsiteY389" fmla="*/ 693931 h 1160647"/>
                <a:gd name="connsiteX390" fmla="*/ 2823181 w 3028183"/>
                <a:gd name="connsiteY390" fmla="*/ 693931 h 1160647"/>
                <a:gd name="connsiteX391" fmla="*/ 2823181 w 3028183"/>
                <a:gd name="connsiteY391" fmla="*/ 700416 h 1160647"/>
                <a:gd name="connsiteX392" fmla="*/ 2839395 w 3028183"/>
                <a:gd name="connsiteY392" fmla="*/ 700416 h 1160647"/>
                <a:gd name="connsiteX393" fmla="*/ 2839395 w 3028183"/>
                <a:gd name="connsiteY393" fmla="*/ 750137 h 1160647"/>
                <a:gd name="connsiteX394" fmla="*/ 2871822 w 3028183"/>
                <a:gd name="connsiteY394" fmla="*/ 750137 h 1160647"/>
                <a:gd name="connsiteX395" fmla="*/ 2871822 w 3028183"/>
                <a:gd name="connsiteY395" fmla="*/ 724196 h 1160647"/>
                <a:gd name="connsiteX396" fmla="*/ 2910329 w 3028183"/>
                <a:gd name="connsiteY396" fmla="*/ 724196 h 1160647"/>
                <a:gd name="connsiteX397" fmla="*/ 2910329 w 3028183"/>
                <a:gd name="connsiteY397" fmla="*/ 693931 h 1160647"/>
                <a:gd name="connsiteX398" fmla="*/ 2958970 w 3028183"/>
                <a:gd name="connsiteY398" fmla="*/ 693931 h 1160647"/>
                <a:gd name="connsiteX399" fmla="*/ 2958970 w 3028183"/>
                <a:gd name="connsiteY399" fmla="*/ 805087 h 1160647"/>
                <a:gd name="connsiteX400" fmla="*/ 2958970 w 3028183"/>
                <a:gd name="connsiteY400" fmla="*/ 818866 h 1160647"/>
                <a:gd name="connsiteX401" fmla="*/ 3024845 w 3028183"/>
                <a:gd name="connsiteY401" fmla="*/ 818866 h 1160647"/>
                <a:gd name="connsiteX402" fmla="*/ 3028183 w 3028183"/>
                <a:gd name="connsiteY402" fmla="*/ 1160647 h 1160647"/>
                <a:gd name="connsiteX403" fmla="*/ 2054 w 3028183"/>
                <a:gd name="connsiteY403" fmla="*/ 1158314 h 1160647"/>
                <a:gd name="connsiteX404" fmla="*/ 0 w 3028183"/>
                <a:gd name="connsiteY404" fmla="*/ 724196 h 1160647"/>
                <a:gd name="connsiteX405" fmla="*/ 20267 w 3028183"/>
                <a:gd name="connsiteY405" fmla="*/ 724196 h 1160647"/>
                <a:gd name="connsiteX406" fmla="*/ 20774 w 3028183"/>
                <a:gd name="connsiteY406" fmla="*/ 723115 h 1160647"/>
                <a:gd name="connsiteX407" fmla="*/ 24320 w 3028183"/>
                <a:gd name="connsiteY407" fmla="*/ 715549 h 1160647"/>
                <a:gd name="connsiteX408" fmla="*/ 26094 w 3028183"/>
                <a:gd name="connsiteY408" fmla="*/ 715819 h 1160647"/>
                <a:gd name="connsiteX409" fmla="*/ 38507 w 3028183"/>
                <a:gd name="connsiteY409" fmla="*/ 717710 h 1160647"/>
                <a:gd name="connsiteX410" fmla="*/ 39014 w 3028183"/>
                <a:gd name="connsiteY410" fmla="*/ 719062 h 1160647"/>
                <a:gd name="connsiteX411" fmla="*/ 42560 w 3028183"/>
                <a:gd name="connsiteY411" fmla="*/ 728519 h 1160647"/>
                <a:gd name="connsiteX412" fmla="*/ 68907 w 3028183"/>
                <a:gd name="connsiteY412" fmla="*/ 730681 h 1160647"/>
                <a:gd name="connsiteX413" fmla="*/ 68907 w 3028183"/>
                <a:gd name="connsiteY413" fmla="*/ 607460 h 1160647"/>
                <a:gd name="connsiteX414" fmla="*/ 70934 w 3028183"/>
                <a:gd name="connsiteY414" fmla="*/ 607460 h 1160647"/>
                <a:gd name="connsiteX415" fmla="*/ 85121 w 3028183"/>
                <a:gd name="connsiteY415" fmla="*/ 607460 h 1160647"/>
                <a:gd name="connsiteX416" fmla="*/ 85121 w 3028183"/>
                <a:gd name="connsiteY416" fmla="*/ 471268 h 1160647"/>
                <a:gd name="connsiteX417" fmla="*/ 86894 w 3028183"/>
                <a:gd name="connsiteY417" fmla="*/ 471268 h 1160647"/>
                <a:gd name="connsiteX418" fmla="*/ 99308 w 3028183"/>
                <a:gd name="connsiteY418" fmla="*/ 471268 h 1160647"/>
                <a:gd name="connsiteX419" fmla="*/ 99308 w 3028183"/>
                <a:gd name="connsiteY419" fmla="*/ 356694 h 1160647"/>
                <a:gd name="connsiteX420" fmla="*/ 103361 w 3028183"/>
                <a:gd name="connsiteY420" fmla="*/ 328590 h 1160647"/>
                <a:gd name="connsiteX421" fmla="*/ 105388 w 3028183"/>
                <a:gd name="connsiteY421" fmla="*/ 328590 h 1160647"/>
                <a:gd name="connsiteX422" fmla="*/ 119575 w 3028183"/>
                <a:gd name="connsiteY422" fmla="*/ 328590 h 1160647"/>
                <a:gd name="connsiteX423" fmla="*/ 156055 w 3028183"/>
                <a:gd name="connsiteY423" fmla="*/ 246443 h 1160647"/>
                <a:gd name="connsiteX424" fmla="*/ 160109 w 3028183"/>
                <a:gd name="connsiteY424" fmla="*/ 0 h 1160647"/>
                <a:gd name="connsiteX0" fmla="*/ 160109 w 3028183"/>
                <a:gd name="connsiteY0" fmla="*/ 0 h 1160647"/>
                <a:gd name="connsiteX1" fmla="*/ 162135 w 3028183"/>
                <a:gd name="connsiteY1" fmla="*/ 246443 h 1160647"/>
                <a:gd name="connsiteX2" fmla="*/ 200642 w 3028183"/>
                <a:gd name="connsiteY2" fmla="*/ 326429 h 1160647"/>
                <a:gd name="connsiteX3" fmla="*/ 202669 w 3028183"/>
                <a:gd name="connsiteY3" fmla="*/ 326429 h 1160647"/>
                <a:gd name="connsiteX4" fmla="*/ 216856 w 3028183"/>
                <a:gd name="connsiteY4" fmla="*/ 326429 h 1160647"/>
                <a:gd name="connsiteX5" fmla="*/ 216856 w 3028183"/>
                <a:gd name="connsiteY5" fmla="*/ 350208 h 1160647"/>
                <a:gd name="connsiteX6" fmla="*/ 217363 w 3028183"/>
                <a:gd name="connsiteY6" fmla="*/ 351019 h 1160647"/>
                <a:gd name="connsiteX7" fmla="*/ 220909 w 3028183"/>
                <a:gd name="connsiteY7" fmla="*/ 356694 h 1160647"/>
                <a:gd name="connsiteX8" fmla="*/ 220909 w 3028183"/>
                <a:gd name="connsiteY8" fmla="*/ 471268 h 1160647"/>
                <a:gd name="connsiteX9" fmla="*/ 223189 w 3028183"/>
                <a:gd name="connsiteY9" fmla="*/ 471268 h 1160647"/>
                <a:gd name="connsiteX10" fmla="*/ 239150 w 3028183"/>
                <a:gd name="connsiteY10" fmla="*/ 471268 h 1160647"/>
                <a:gd name="connsiteX11" fmla="*/ 239150 w 3028183"/>
                <a:gd name="connsiteY11" fmla="*/ 611783 h 1160647"/>
                <a:gd name="connsiteX12" fmla="*/ 240670 w 3028183"/>
                <a:gd name="connsiteY12" fmla="*/ 611513 h 1160647"/>
                <a:gd name="connsiteX13" fmla="*/ 251310 w 3028183"/>
                <a:gd name="connsiteY13" fmla="*/ 609622 h 1160647"/>
                <a:gd name="connsiteX14" fmla="*/ 249283 w 3028183"/>
                <a:gd name="connsiteY14" fmla="*/ 698254 h 1160647"/>
                <a:gd name="connsiteX15" fmla="*/ 250803 w 3028183"/>
                <a:gd name="connsiteY15" fmla="*/ 698525 h 1160647"/>
                <a:gd name="connsiteX16" fmla="*/ 261443 w 3028183"/>
                <a:gd name="connsiteY16" fmla="*/ 700416 h 1160647"/>
                <a:gd name="connsiteX17" fmla="*/ 261696 w 3028183"/>
                <a:gd name="connsiteY17" fmla="*/ 701227 h 1160647"/>
                <a:gd name="connsiteX18" fmla="*/ 263470 w 3028183"/>
                <a:gd name="connsiteY18" fmla="*/ 706902 h 1160647"/>
                <a:gd name="connsiteX19" fmla="*/ 264230 w 3028183"/>
                <a:gd name="connsiteY19" fmla="*/ 704470 h 1160647"/>
                <a:gd name="connsiteX20" fmla="*/ 269550 w 3028183"/>
                <a:gd name="connsiteY20" fmla="*/ 687446 h 1160647"/>
                <a:gd name="connsiteX21" fmla="*/ 271323 w 3028183"/>
                <a:gd name="connsiteY21" fmla="*/ 687446 h 1160647"/>
                <a:gd name="connsiteX22" fmla="*/ 283737 w 3028183"/>
                <a:gd name="connsiteY22" fmla="*/ 687446 h 1160647"/>
                <a:gd name="connsiteX23" fmla="*/ 283737 w 3028183"/>
                <a:gd name="connsiteY23" fmla="*/ 719872 h 1160647"/>
                <a:gd name="connsiteX24" fmla="*/ 284750 w 3028183"/>
                <a:gd name="connsiteY24" fmla="*/ 720413 h 1160647"/>
                <a:gd name="connsiteX25" fmla="*/ 291844 w 3028183"/>
                <a:gd name="connsiteY25" fmla="*/ 724196 h 1160647"/>
                <a:gd name="connsiteX26" fmla="*/ 291844 w 3028183"/>
                <a:gd name="connsiteY26" fmla="*/ 725547 h 1160647"/>
                <a:gd name="connsiteX27" fmla="*/ 291844 w 3028183"/>
                <a:gd name="connsiteY27" fmla="*/ 735005 h 1160647"/>
                <a:gd name="connsiteX28" fmla="*/ 336431 w 3028183"/>
                <a:gd name="connsiteY28" fmla="*/ 735005 h 1160647"/>
                <a:gd name="connsiteX29" fmla="*/ 336431 w 3028183"/>
                <a:gd name="connsiteY29" fmla="*/ 736086 h 1160647"/>
                <a:gd name="connsiteX30" fmla="*/ 336431 w 3028183"/>
                <a:gd name="connsiteY30" fmla="*/ 743652 h 1160647"/>
                <a:gd name="connsiteX31" fmla="*/ 338457 w 3028183"/>
                <a:gd name="connsiteY31" fmla="*/ 743652 h 1160647"/>
                <a:gd name="connsiteX32" fmla="*/ 352644 w 3028183"/>
                <a:gd name="connsiteY32" fmla="*/ 743652 h 1160647"/>
                <a:gd name="connsiteX33" fmla="*/ 352644 w 3028183"/>
                <a:gd name="connsiteY33" fmla="*/ 713387 h 1160647"/>
                <a:gd name="connsiteX34" fmla="*/ 397231 w 3028183"/>
                <a:gd name="connsiteY34" fmla="*/ 713387 h 1160647"/>
                <a:gd name="connsiteX35" fmla="*/ 397231 w 3028183"/>
                <a:gd name="connsiteY35" fmla="*/ 712036 h 1160647"/>
                <a:gd name="connsiteX36" fmla="*/ 397231 w 3028183"/>
                <a:gd name="connsiteY36" fmla="*/ 702578 h 1160647"/>
                <a:gd name="connsiteX37" fmla="*/ 398245 w 3028183"/>
                <a:gd name="connsiteY37" fmla="*/ 702578 h 1160647"/>
                <a:gd name="connsiteX38" fmla="*/ 405338 w 3028183"/>
                <a:gd name="connsiteY38" fmla="*/ 702578 h 1160647"/>
                <a:gd name="connsiteX39" fmla="*/ 405338 w 3028183"/>
                <a:gd name="connsiteY39" fmla="*/ 700687 h 1160647"/>
                <a:gd name="connsiteX40" fmla="*/ 405338 w 3028183"/>
                <a:gd name="connsiteY40" fmla="*/ 687446 h 1160647"/>
                <a:gd name="connsiteX41" fmla="*/ 406098 w 3028183"/>
                <a:gd name="connsiteY41" fmla="*/ 687446 h 1160647"/>
                <a:gd name="connsiteX42" fmla="*/ 411418 w 3028183"/>
                <a:gd name="connsiteY42" fmla="*/ 687446 h 1160647"/>
                <a:gd name="connsiteX43" fmla="*/ 411418 w 3028183"/>
                <a:gd name="connsiteY43" fmla="*/ 686365 h 1160647"/>
                <a:gd name="connsiteX44" fmla="*/ 411418 w 3028183"/>
                <a:gd name="connsiteY44" fmla="*/ 678798 h 1160647"/>
                <a:gd name="connsiteX45" fmla="*/ 413445 w 3028183"/>
                <a:gd name="connsiteY45" fmla="*/ 678798 h 1160647"/>
                <a:gd name="connsiteX46" fmla="*/ 427632 w 3028183"/>
                <a:gd name="connsiteY46" fmla="*/ 678798 h 1160647"/>
                <a:gd name="connsiteX47" fmla="*/ 427632 w 3028183"/>
                <a:gd name="connsiteY47" fmla="*/ 679879 h 1160647"/>
                <a:gd name="connsiteX48" fmla="*/ 427632 w 3028183"/>
                <a:gd name="connsiteY48" fmla="*/ 687446 h 1160647"/>
                <a:gd name="connsiteX49" fmla="*/ 449925 w 3028183"/>
                <a:gd name="connsiteY49" fmla="*/ 687446 h 1160647"/>
                <a:gd name="connsiteX50" fmla="*/ 449925 w 3028183"/>
                <a:gd name="connsiteY50" fmla="*/ 685554 h 1160647"/>
                <a:gd name="connsiteX51" fmla="*/ 449925 w 3028183"/>
                <a:gd name="connsiteY51" fmla="*/ 672313 h 1160647"/>
                <a:gd name="connsiteX52" fmla="*/ 451699 w 3028183"/>
                <a:gd name="connsiteY52" fmla="*/ 672313 h 1160647"/>
                <a:gd name="connsiteX53" fmla="*/ 464112 w 3028183"/>
                <a:gd name="connsiteY53" fmla="*/ 672313 h 1160647"/>
                <a:gd name="connsiteX54" fmla="*/ 464112 w 3028183"/>
                <a:gd name="connsiteY54" fmla="*/ 696093 h 1160647"/>
                <a:gd name="connsiteX55" fmla="*/ 465126 w 3028183"/>
                <a:gd name="connsiteY55" fmla="*/ 696093 h 1160647"/>
                <a:gd name="connsiteX56" fmla="*/ 472219 w 3028183"/>
                <a:gd name="connsiteY56" fmla="*/ 696093 h 1160647"/>
                <a:gd name="connsiteX57" fmla="*/ 472219 w 3028183"/>
                <a:gd name="connsiteY57" fmla="*/ 695012 h 1160647"/>
                <a:gd name="connsiteX58" fmla="*/ 472219 w 3028183"/>
                <a:gd name="connsiteY58" fmla="*/ 687446 h 1160647"/>
                <a:gd name="connsiteX59" fmla="*/ 473992 w 3028183"/>
                <a:gd name="connsiteY59" fmla="*/ 687446 h 1160647"/>
                <a:gd name="connsiteX60" fmla="*/ 486406 w 3028183"/>
                <a:gd name="connsiteY60" fmla="*/ 687446 h 1160647"/>
                <a:gd name="connsiteX61" fmla="*/ 486406 w 3028183"/>
                <a:gd name="connsiteY61" fmla="*/ 713387 h 1160647"/>
                <a:gd name="connsiteX62" fmla="*/ 488433 w 3028183"/>
                <a:gd name="connsiteY62" fmla="*/ 713387 h 1160647"/>
                <a:gd name="connsiteX63" fmla="*/ 502619 w 3028183"/>
                <a:gd name="connsiteY63" fmla="*/ 713387 h 1160647"/>
                <a:gd name="connsiteX64" fmla="*/ 502619 w 3028183"/>
                <a:gd name="connsiteY64" fmla="*/ 715008 h 1160647"/>
                <a:gd name="connsiteX65" fmla="*/ 502619 w 3028183"/>
                <a:gd name="connsiteY65" fmla="*/ 726358 h 1160647"/>
                <a:gd name="connsiteX66" fmla="*/ 503379 w 3028183"/>
                <a:gd name="connsiteY66" fmla="*/ 726358 h 1160647"/>
                <a:gd name="connsiteX67" fmla="*/ 508700 w 3028183"/>
                <a:gd name="connsiteY67" fmla="*/ 726358 h 1160647"/>
                <a:gd name="connsiteX68" fmla="*/ 508700 w 3028183"/>
                <a:gd name="connsiteY68" fmla="*/ 725547 h 1160647"/>
                <a:gd name="connsiteX69" fmla="*/ 508700 w 3028183"/>
                <a:gd name="connsiteY69" fmla="*/ 719872 h 1160647"/>
                <a:gd name="connsiteX70" fmla="*/ 539100 w 3028183"/>
                <a:gd name="connsiteY70" fmla="*/ 719872 h 1160647"/>
                <a:gd name="connsiteX71" fmla="*/ 539100 w 3028183"/>
                <a:gd name="connsiteY71" fmla="*/ 743652 h 1160647"/>
                <a:gd name="connsiteX72" fmla="*/ 540113 w 3028183"/>
                <a:gd name="connsiteY72" fmla="*/ 743652 h 1160647"/>
                <a:gd name="connsiteX73" fmla="*/ 547207 w 3028183"/>
                <a:gd name="connsiteY73" fmla="*/ 743652 h 1160647"/>
                <a:gd name="connsiteX74" fmla="*/ 547207 w 3028183"/>
                <a:gd name="connsiteY74" fmla="*/ 744733 h 1160647"/>
                <a:gd name="connsiteX75" fmla="*/ 547207 w 3028183"/>
                <a:gd name="connsiteY75" fmla="*/ 752299 h 1160647"/>
                <a:gd name="connsiteX76" fmla="*/ 547967 w 3028183"/>
                <a:gd name="connsiteY76" fmla="*/ 752299 h 1160647"/>
                <a:gd name="connsiteX77" fmla="*/ 553287 w 3028183"/>
                <a:gd name="connsiteY77" fmla="*/ 752299 h 1160647"/>
                <a:gd name="connsiteX78" fmla="*/ 553287 w 3028183"/>
                <a:gd name="connsiteY78" fmla="*/ 750137 h 1160647"/>
                <a:gd name="connsiteX79" fmla="*/ 553287 w 3028183"/>
                <a:gd name="connsiteY79" fmla="*/ 735005 h 1160647"/>
                <a:gd name="connsiteX80" fmla="*/ 554300 w 3028183"/>
                <a:gd name="connsiteY80" fmla="*/ 735005 h 1160647"/>
                <a:gd name="connsiteX81" fmla="*/ 561394 w 3028183"/>
                <a:gd name="connsiteY81" fmla="*/ 735005 h 1160647"/>
                <a:gd name="connsiteX82" fmla="*/ 561394 w 3028183"/>
                <a:gd name="connsiteY82" fmla="*/ 736086 h 1160647"/>
                <a:gd name="connsiteX83" fmla="*/ 561394 w 3028183"/>
                <a:gd name="connsiteY83" fmla="*/ 743652 h 1160647"/>
                <a:gd name="connsiteX84" fmla="*/ 566714 w 3028183"/>
                <a:gd name="connsiteY84" fmla="*/ 741659 h 1160647"/>
                <a:gd name="connsiteX85" fmla="*/ 567474 w 3028183"/>
                <a:gd name="connsiteY85" fmla="*/ 740679 h 1160647"/>
                <a:gd name="connsiteX86" fmla="*/ 567474 w 3028183"/>
                <a:gd name="connsiteY86" fmla="*/ 735005 h 1160647"/>
                <a:gd name="connsiteX87" fmla="*/ 605981 w 3028183"/>
                <a:gd name="connsiteY87" fmla="*/ 735005 h 1160647"/>
                <a:gd name="connsiteX88" fmla="*/ 605981 w 3028183"/>
                <a:gd name="connsiteY88" fmla="*/ 758784 h 1160647"/>
                <a:gd name="connsiteX89" fmla="*/ 608007 w 3028183"/>
                <a:gd name="connsiteY89" fmla="*/ 758784 h 1160647"/>
                <a:gd name="connsiteX90" fmla="*/ 622194 w 3028183"/>
                <a:gd name="connsiteY90" fmla="*/ 758784 h 1160647"/>
                <a:gd name="connsiteX91" fmla="*/ 622194 w 3028183"/>
                <a:gd name="connsiteY91" fmla="*/ 759865 h 1160647"/>
                <a:gd name="connsiteX92" fmla="*/ 622194 w 3028183"/>
                <a:gd name="connsiteY92" fmla="*/ 767431 h 1160647"/>
                <a:gd name="connsiteX93" fmla="*/ 623968 w 3028183"/>
                <a:gd name="connsiteY93" fmla="*/ 767431 h 1160647"/>
                <a:gd name="connsiteX94" fmla="*/ 636381 w 3028183"/>
                <a:gd name="connsiteY94" fmla="*/ 767431 h 1160647"/>
                <a:gd name="connsiteX95" fmla="*/ 636381 w 3028183"/>
                <a:gd name="connsiteY95" fmla="*/ 743652 h 1160647"/>
                <a:gd name="connsiteX96" fmla="*/ 637394 w 3028183"/>
                <a:gd name="connsiteY96" fmla="*/ 743652 h 1160647"/>
                <a:gd name="connsiteX97" fmla="*/ 644488 w 3028183"/>
                <a:gd name="connsiteY97" fmla="*/ 743652 h 1160647"/>
                <a:gd name="connsiteX98" fmla="*/ 644488 w 3028183"/>
                <a:gd name="connsiteY98" fmla="*/ 711225 h 1160647"/>
                <a:gd name="connsiteX99" fmla="*/ 645501 w 3028183"/>
                <a:gd name="connsiteY99" fmla="*/ 711225 h 1160647"/>
                <a:gd name="connsiteX100" fmla="*/ 652595 w 3028183"/>
                <a:gd name="connsiteY100" fmla="*/ 711225 h 1160647"/>
                <a:gd name="connsiteX101" fmla="*/ 652595 w 3028183"/>
                <a:gd name="connsiteY101" fmla="*/ 709334 h 1160647"/>
                <a:gd name="connsiteX102" fmla="*/ 652595 w 3028183"/>
                <a:gd name="connsiteY102" fmla="*/ 696093 h 1160647"/>
                <a:gd name="connsiteX103" fmla="*/ 651328 w 3028183"/>
                <a:gd name="connsiteY103" fmla="*/ 694471 h 1160647"/>
                <a:gd name="connsiteX104" fmla="*/ 656648 w 3028183"/>
                <a:gd name="connsiteY104" fmla="*/ 683122 h 1160647"/>
                <a:gd name="connsiteX105" fmla="*/ 664755 w 3028183"/>
                <a:gd name="connsiteY105" fmla="*/ 711225 h 1160647"/>
                <a:gd name="connsiteX106" fmla="*/ 665515 w 3028183"/>
                <a:gd name="connsiteY106" fmla="*/ 711225 h 1160647"/>
                <a:gd name="connsiteX107" fmla="*/ 670835 w 3028183"/>
                <a:gd name="connsiteY107" fmla="*/ 711225 h 1160647"/>
                <a:gd name="connsiteX108" fmla="*/ 670835 w 3028183"/>
                <a:gd name="connsiteY108" fmla="*/ 605298 h 1160647"/>
                <a:gd name="connsiteX109" fmla="*/ 672355 w 3028183"/>
                <a:gd name="connsiteY109" fmla="*/ 605298 h 1160647"/>
                <a:gd name="connsiteX110" fmla="*/ 682995 w 3028183"/>
                <a:gd name="connsiteY110" fmla="*/ 605298 h 1160647"/>
                <a:gd name="connsiteX111" fmla="*/ 682995 w 3028183"/>
                <a:gd name="connsiteY111" fmla="*/ 557739 h 1160647"/>
                <a:gd name="connsiteX112" fmla="*/ 709342 w 3028183"/>
                <a:gd name="connsiteY112" fmla="*/ 557739 h 1160647"/>
                <a:gd name="connsiteX113" fmla="*/ 709342 w 3028183"/>
                <a:gd name="connsiteY113" fmla="*/ 536121 h 1160647"/>
                <a:gd name="connsiteX114" fmla="*/ 743796 w 3028183"/>
                <a:gd name="connsiteY114" fmla="*/ 536121 h 1160647"/>
                <a:gd name="connsiteX115" fmla="*/ 743796 w 3028183"/>
                <a:gd name="connsiteY115" fmla="*/ 538553 h 1160647"/>
                <a:gd name="connsiteX116" fmla="*/ 743796 w 3028183"/>
                <a:gd name="connsiteY116" fmla="*/ 555577 h 1160647"/>
                <a:gd name="connsiteX117" fmla="*/ 746076 w 3028183"/>
                <a:gd name="connsiteY117" fmla="*/ 555577 h 1160647"/>
                <a:gd name="connsiteX118" fmla="*/ 762036 w 3028183"/>
                <a:gd name="connsiteY118" fmla="*/ 555577 h 1160647"/>
                <a:gd name="connsiteX119" fmla="*/ 762036 w 3028183"/>
                <a:gd name="connsiteY119" fmla="*/ 603136 h 1160647"/>
                <a:gd name="connsiteX120" fmla="*/ 763049 w 3028183"/>
                <a:gd name="connsiteY120" fmla="*/ 603136 h 1160647"/>
                <a:gd name="connsiteX121" fmla="*/ 770143 w 3028183"/>
                <a:gd name="connsiteY121" fmla="*/ 603136 h 1160647"/>
                <a:gd name="connsiteX122" fmla="*/ 784330 w 3028183"/>
                <a:gd name="connsiteY122" fmla="*/ 607460 h 1160647"/>
                <a:gd name="connsiteX123" fmla="*/ 784330 w 3028183"/>
                <a:gd name="connsiteY123" fmla="*/ 646372 h 1160647"/>
                <a:gd name="connsiteX124" fmla="*/ 785343 w 3028183"/>
                <a:gd name="connsiteY124" fmla="*/ 646372 h 1160647"/>
                <a:gd name="connsiteX125" fmla="*/ 792436 w 3028183"/>
                <a:gd name="connsiteY125" fmla="*/ 646372 h 1160647"/>
                <a:gd name="connsiteX126" fmla="*/ 792436 w 3028183"/>
                <a:gd name="connsiteY126" fmla="*/ 647993 h 1160647"/>
                <a:gd name="connsiteX127" fmla="*/ 792436 w 3028183"/>
                <a:gd name="connsiteY127" fmla="*/ 659342 h 1160647"/>
                <a:gd name="connsiteX128" fmla="*/ 794463 w 3028183"/>
                <a:gd name="connsiteY128" fmla="*/ 659342 h 1160647"/>
                <a:gd name="connsiteX129" fmla="*/ 808650 w 3028183"/>
                <a:gd name="connsiteY129" fmla="*/ 659342 h 1160647"/>
                <a:gd name="connsiteX130" fmla="*/ 814730 w 3028183"/>
                <a:gd name="connsiteY130" fmla="*/ 665828 h 1160647"/>
                <a:gd name="connsiteX131" fmla="*/ 814730 w 3028183"/>
                <a:gd name="connsiteY131" fmla="*/ 687446 h 1160647"/>
                <a:gd name="connsiteX132" fmla="*/ 817010 w 3028183"/>
                <a:gd name="connsiteY132" fmla="*/ 687446 h 1160647"/>
                <a:gd name="connsiteX133" fmla="*/ 832970 w 3028183"/>
                <a:gd name="connsiteY133" fmla="*/ 687446 h 1160647"/>
                <a:gd name="connsiteX134" fmla="*/ 832970 w 3028183"/>
                <a:gd name="connsiteY134" fmla="*/ 688526 h 1160647"/>
                <a:gd name="connsiteX135" fmla="*/ 832970 w 3028183"/>
                <a:gd name="connsiteY135" fmla="*/ 696093 h 1160647"/>
                <a:gd name="connsiteX136" fmla="*/ 834237 w 3028183"/>
                <a:gd name="connsiteY136" fmla="*/ 696093 h 1160647"/>
                <a:gd name="connsiteX137" fmla="*/ 843104 w 3028183"/>
                <a:gd name="connsiteY137" fmla="*/ 696093 h 1160647"/>
                <a:gd name="connsiteX138" fmla="*/ 843104 w 3028183"/>
                <a:gd name="connsiteY138" fmla="*/ 698254 h 1160647"/>
                <a:gd name="connsiteX139" fmla="*/ 843104 w 3028183"/>
                <a:gd name="connsiteY139" fmla="*/ 713387 h 1160647"/>
                <a:gd name="connsiteX140" fmla="*/ 847157 w 3028183"/>
                <a:gd name="connsiteY140" fmla="*/ 711495 h 1160647"/>
                <a:gd name="connsiteX141" fmla="*/ 847157 w 3028183"/>
                <a:gd name="connsiteY141" fmla="*/ 698254 h 1160647"/>
                <a:gd name="connsiteX142" fmla="*/ 848170 w 3028183"/>
                <a:gd name="connsiteY142" fmla="*/ 698254 h 1160647"/>
                <a:gd name="connsiteX143" fmla="*/ 855264 w 3028183"/>
                <a:gd name="connsiteY143" fmla="*/ 698254 h 1160647"/>
                <a:gd name="connsiteX144" fmla="*/ 855264 w 3028183"/>
                <a:gd name="connsiteY144" fmla="*/ 699876 h 1160647"/>
                <a:gd name="connsiteX145" fmla="*/ 855264 w 3028183"/>
                <a:gd name="connsiteY145" fmla="*/ 711225 h 1160647"/>
                <a:gd name="connsiteX146" fmla="*/ 856024 w 3028183"/>
                <a:gd name="connsiteY146" fmla="*/ 711225 h 1160647"/>
                <a:gd name="connsiteX147" fmla="*/ 861344 w 3028183"/>
                <a:gd name="connsiteY147" fmla="*/ 711225 h 1160647"/>
                <a:gd name="connsiteX148" fmla="*/ 909984 w 3028183"/>
                <a:gd name="connsiteY148" fmla="*/ 706902 h 1160647"/>
                <a:gd name="connsiteX149" fmla="*/ 909984 w 3028183"/>
                <a:gd name="connsiteY149" fmla="*/ 708253 h 1160647"/>
                <a:gd name="connsiteX150" fmla="*/ 909984 w 3028183"/>
                <a:gd name="connsiteY150" fmla="*/ 717710 h 1160647"/>
                <a:gd name="connsiteX151" fmla="*/ 910744 w 3028183"/>
                <a:gd name="connsiteY151" fmla="*/ 717710 h 1160647"/>
                <a:gd name="connsiteX152" fmla="*/ 916065 w 3028183"/>
                <a:gd name="connsiteY152" fmla="*/ 717710 h 1160647"/>
                <a:gd name="connsiteX153" fmla="*/ 916065 w 3028183"/>
                <a:gd name="connsiteY153" fmla="*/ 719872 h 1160647"/>
                <a:gd name="connsiteX154" fmla="*/ 916065 w 3028183"/>
                <a:gd name="connsiteY154" fmla="*/ 735005 h 1160647"/>
                <a:gd name="connsiteX155" fmla="*/ 918091 w 3028183"/>
                <a:gd name="connsiteY155" fmla="*/ 733654 h 1160647"/>
                <a:gd name="connsiteX156" fmla="*/ 932278 w 3028183"/>
                <a:gd name="connsiteY156" fmla="*/ 724196 h 1160647"/>
                <a:gd name="connsiteX157" fmla="*/ 938358 w 3028183"/>
                <a:gd name="connsiteY157" fmla="*/ 683122 h 1160647"/>
                <a:gd name="connsiteX158" fmla="*/ 939118 w 3028183"/>
                <a:gd name="connsiteY158" fmla="*/ 682852 h 1160647"/>
                <a:gd name="connsiteX159" fmla="*/ 944438 w 3028183"/>
                <a:gd name="connsiteY159" fmla="*/ 680960 h 1160647"/>
                <a:gd name="connsiteX160" fmla="*/ 946465 w 3028183"/>
                <a:gd name="connsiteY160" fmla="*/ 611783 h 1160647"/>
                <a:gd name="connsiteX161" fmla="*/ 948492 w 3028183"/>
                <a:gd name="connsiteY161" fmla="*/ 680960 h 1160647"/>
                <a:gd name="connsiteX162" fmla="*/ 949252 w 3028183"/>
                <a:gd name="connsiteY162" fmla="*/ 681230 h 1160647"/>
                <a:gd name="connsiteX163" fmla="*/ 954572 w 3028183"/>
                <a:gd name="connsiteY163" fmla="*/ 683122 h 1160647"/>
                <a:gd name="connsiteX164" fmla="*/ 954572 w 3028183"/>
                <a:gd name="connsiteY164" fmla="*/ 596651 h 1160647"/>
                <a:gd name="connsiteX165" fmla="*/ 958625 w 3028183"/>
                <a:gd name="connsiteY165" fmla="*/ 564224 h 1160647"/>
                <a:gd name="connsiteX166" fmla="*/ 997132 w 3028183"/>
                <a:gd name="connsiteY166" fmla="*/ 564224 h 1160647"/>
                <a:gd name="connsiteX167" fmla="*/ 997132 w 3028183"/>
                <a:gd name="connsiteY167" fmla="*/ 596651 h 1160647"/>
                <a:gd name="connsiteX168" fmla="*/ 997892 w 3028183"/>
                <a:gd name="connsiteY168" fmla="*/ 596651 h 1160647"/>
                <a:gd name="connsiteX169" fmla="*/ 1003212 w 3028183"/>
                <a:gd name="connsiteY169" fmla="*/ 596651 h 1160647"/>
                <a:gd name="connsiteX170" fmla="*/ 1003212 w 3028183"/>
                <a:gd name="connsiteY170" fmla="*/ 514503 h 1160647"/>
                <a:gd name="connsiteX171" fmla="*/ 1004986 w 3028183"/>
                <a:gd name="connsiteY171" fmla="*/ 514503 h 1160647"/>
                <a:gd name="connsiteX172" fmla="*/ 1017399 w 3028183"/>
                <a:gd name="connsiteY172" fmla="*/ 514503 h 1160647"/>
                <a:gd name="connsiteX173" fmla="*/ 1017399 w 3028183"/>
                <a:gd name="connsiteY173" fmla="*/ 512612 h 1160647"/>
                <a:gd name="connsiteX174" fmla="*/ 1017399 w 3028183"/>
                <a:gd name="connsiteY174" fmla="*/ 499371 h 1160647"/>
                <a:gd name="connsiteX175" fmla="*/ 1039693 w 3028183"/>
                <a:gd name="connsiteY175" fmla="*/ 499371 h 1160647"/>
                <a:gd name="connsiteX176" fmla="*/ 1039693 w 3028183"/>
                <a:gd name="connsiteY176" fmla="*/ 498290 h 1160647"/>
                <a:gd name="connsiteX177" fmla="*/ 1039693 w 3028183"/>
                <a:gd name="connsiteY177" fmla="*/ 490724 h 1160647"/>
                <a:gd name="connsiteX178" fmla="*/ 1041466 w 3028183"/>
                <a:gd name="connsiteY178" fmla="*/ 490724 h 1160647"/>
                <a:gd name="connsiteX179" fmla="*/ 1053880 w 3028183"/>
                <a:gd name="connsiteY179" fmla="*/ 490724 h 1160647"/>
                <a:gd name="connsiteX180" fmla="*/ 1053880 w 3028183"/>
                <a:gd name="connsiteY180" fmla="*/ 491805 h 1160647"/>
                <a:gd name="connsiteX181" fmla="*/ 1053880 w 3028183"/>
                <a:gd name="connsiteY181" fmla="*/ 499371 h 1160647"/>
                <a:gd name="connsiteX182" fmla="*/ 1054640 w 3028183"/>
                <a:gd name="connsiteY182" fmla="*/ 499371 h 1160647"/>
                <a:gd name="connsiteX183" fmla="*/ 1059960 w 3028183"/>
                <a:gd name="connsiteY183" fmla="*/ 499371 h 1160647"/>
                <a:gd name="connsiteX184" fmla="*/ 1070093 w 3028183"/>
                <a:gd name="connsiteY184" fmla="*/ 495047 h 1160647"/>
                <a:gd name="connsiteX185" fmla="*/ 1074146 w 3028183"/>
                <a:gd name="connsiteY185" fmla="*/ 498290 h 1160647"/>
                <a:gd name="connsiteX186" fmla="*/ 1074146 w 3028183"/>
                <a:gd name="connsiteY186" fmla="*/ 490724 h 1160647"/>
                <a:gd name="connsiteX187" fmla="*/ 1076426 w 3028183"/>
                <a:gd name="connsiteY187" fmla="*/ 490724 h 1160647"/>
                <a:gd name="connsiteX188" fmla="*/ 1092387 w 3028183"/>
                <a:gd name="connsiteY188" fmla="*/ 490724 h 1160647"/>
                <a:gd name="connsiteX189" fmla="*/ 1092387 w 3028183"/>
                <a:gd name="connsiteY189" fmla="*/ 491805 h 1160647"/>
                <a:gd name="connsiteX190" fmla="*/ 1092387 w 3028183"/>
                <a:gd name="connsiteY190" fmla="*/ 499371 h 1160647"/>
                <a:gd name="connsiteX191" fmla="*/ 1122787 w 3028183"/>
                <a:gd name="connsiteY191" fmla="*/ 499371 h 1160647"/>
                <a:gd name="connsiteX192" fmla="*/ 1122787 w 3028183"/>
                <a:gd name="connsiteY192" fmla="*/ 500992 h 1160647"/>
                <a:gd name="connsiteX193" fmla="*/ 1122787 w 3028183"/>
                <a:gd name="connsiteY193" fmla="*/ 512342 h 1160647"/>
                <a:gd name="connsiteX194" fmla="*/ 1149134 w 3028183"/>
                <a:gd name="connsiteY194" fmla="*/ 512342 h 1160647"/>
                <a:gd name="connsiteX195" fmla="*/ 1149134 w 3028183"/>
                <a:gd name="connsiteY195" fmla="*/ 542606 h 1160647"/>
                <a:gd name="connsiteX196" fmla="*/ 1149894 w 3028183"/>
                <a:gd name="connsiteY196" fmla="*/ 542606 h 1160647"/>
                <a:gd name="connsiteX197" fmla="*/ 1155214 w 3028183"/>
                <a:gd name="connsiteY197" fmla="*/ 542606 h 1160647"/>
                <a:gd name="connsiteX198" fmla="*/ 1155214 w 3028183"/>
                <a:gd name="connsiteY198" fmla="*/ 543687 h 1160647"/>
                <a:gd name="connsiteX199" fmla="*/ 1155214 w 3028183"/>
                <a:gd name="connsiteY199" fmla="*/ 551254 h 1160647"/>
                <a:gd name="connsiteX200" fmla="*/ 1159268 w 3028183"/>
                <a:gd name="connsiteY200" fmla="*/ 581518 h 1160647"/>
                <a:gd name="connsiteX201" fmla="*/ 1160028 w 3028183"/>
                <a:gd name="connsiteY201" fmla="*/ 581518 h 1160647"/>
                <a:gd name="connsiteX202" fmla="*/ 1165348 w 3028183"/>
                <a:gd name="connsiteY202" fmla="*/ 581518 h 1160647"/>
                <a:gd name="connsiteX203" fmla="*/ 1165348 w 3028183"/>
                <a:gd name="connsiteY203" fmla="*/ 582329 h 1160647"/>
                <a:gd name="connsiteX204" fmla="*/ 1165348 w 3028183"/>
                <a:gd name="connsiteY204" fmla="*/ 588004 h 1160647"/>
                <a:gd name="connsiteX205" fmla="*/ 1166361 w 3028183"/>
                <a:gd name="connsiteY205" fmla="*/ 588004 h 1160647"/>
                <a:gd name="connsiteX206" fmla="*/ 1173454 w 3028183"/>
                <a:gd name="connsiteY206" fmla="*/ 588004 h 1160647"/>
                <a:gd name="connsiteX207" fmla="*/ 1173454 w 3028183"/>
                <a:gd name="connsiteY207" fmla="*/ 618269 h 1160647"/>
                <a:gd name="connsiteX208" fmla="*/ 1175481 w 3028183"/>
                <a:gd name="connsiteY208" fmla="*/ 618269 h 1160647"/>
                <a:gd name="connsiteX209" fmla="*/ 1189668 w 3028183"/>
                <a:gd name="connsiteY209" fmla="*/ 618269 h 1160647"/>
                <a:gd name="connsiteX210" fmla="*/ 1189668 w 3028183"/>
                <a:gd name="connsiteY210" fmla="*/ 642048 h 1160647"/>
                <a:gd name="connsiteX211" fmla="*/ 1191695 w 3028183"/>
                <a:gd name="connsiteY211" fmla="*/ 643669 h 1160647"/>
                <a:gd name="connsiteX212" fmla="*/ 1191695 w 3028183"/>
                <a:gd name="connsiteY212" fmla="*/ 655019 h 1160647"/>
                <a:gd name="connsiteX213" fmla="*/ 1192455 w 3028183"/>
                <a:gd name="connsiteY213" fmla="*/ 655019 h 1160647"/>
                <a:gd name="connsiteX214" fmla="*/ 1197775 w 3028183"/>
                <a:gd name="connsiteY214" fmla="*/ 655019 h 1160647"/>
                <a:gd name="connsiteX215" fmla="*/ 1197775 w 3028183"/>
                <a:gd name="connsiteY215" fmla="*/ 678798 h 1160647"/>
                <a:gd name="connsiteX216" fmla="*/ 1199041 w 3028183"/>
                <a:gd name="connsiteY216" fmla="*/ 678798 h 1160647"/>
                <a:gd name="connsiteX217" fmla="*/ 1207908 w 3028183"/>
                <a:gd name="connsiteY217" fmla="*/ 678798 h 1160647"/>
                <a:gd name="connsiteX218" fmla="*/ 1209935 w 3028183"/>
                <a:gd name="connsiteY218" fmla="*/ 682852 h 1160647"/>
                <a:gd name="connsiteX219" fmla="*/ 1209935 w 3028183"/>
                <a:gd name="connsiteY219" fmla="*/ 696093 h 1160647"/>
                <a:gd name="connsiteX220" fmla="*/ 1211455 w 3028183"/>
                <a:gd name="connsiteY220" fmla="*/ 694201 h 1160647"/>
                <a:gd name="connsiteX221" fmla="*/ 1222095 w 3028183"/>
                <a:gd name="connsiteY221" fmla="*/ 680960 h 1160647"/>
                <a:gd name="connsiteX222" fmla="*/ 1250469 w 3028183"/>
                <a:gd name="connsiteY222" fmla="*/ 680960 h 1160647"/>
                <a:gd name="connsiteX223" fmla="*/ 1250469 w 3028183"/>
                <a:gd name="connsiteY223" fmla="*/ 767431 h 1160647"/>
                <a:gd name="connsiteX224" fmla="*/ 1251229 w 3028183"/>
                <a:gd name="connsiteY224" fmla="*/ 767431 h 1160647"/>
                <a:gd name="connsiteX225" fmla="*/ 1256549 w 3028183"/>
                <a:gd name="connsiteY225" fmla="*/ 767431 h 1160647"/>
                <a:gd name="connsiteX226" fmla="*/ 1257309 w 3028183"/>
                <a:gd name="connsiteY226" fmla="*/ 766080 h 1160647"/>
                <a:gd name="connsiteX227" fmla="*/ 1262629 w 3028183"/>
                <a:gd name="connsiteY227" fmla="*/ 756622 h 1160647"/>
                <a:gd name="connsiteX228" fmla="*/ 1262629 w 3028183"/>
                <a:gd name="connsiteY228" fmla="*/ 758514 h 1160647"/>
                <a:gd name="connsiteX229" fmla="*/ 1262629 w 3028183"/>
                <a:gd name="connsiteY229" fmla="*/ 771755 h 1160647"/>
                <a:gd name="connsiteX230" fmla="*/ 1266682 w 3028183"/>
                <a:gd name="connsiteY230" fmla="*/ 726358 h 1160647"/>
                <a:gd name="connsiteX231" fmla="*/ 1267442 w 3028183"/>
                <a:gd name="connsiteY231" fmla="*/ 726358 h 1160647"/>
                <a:gd name="connsiteX232" fmla="*/ 1272762 w 3028183"/>
                <a:gd name="connsiteY232" fmla="*/ 726358 h 1160647"/>
                <a:gd name="connsiteX233" fmla="*/ 1272762 w 3028183"/>
                <a:gd name="connsiteY233" fmla="*/ 661504 h 1160647"/>
                <a:gd name="connsiteX234" fmla="*/ 1273776 w 3028183"/>
                <a:gd name="connsiteY234" fmla="*/ 661504 h 1160647"/>
                <a:gd name="connsiteX235" fmla="*/ 1280869 w 3028183"/>
                <a:gd name="connsiteY235" fmla="*/ 661504 h 1160647"/>
                <a:gd name="connsiteX236" fmla="*/ 1293029 w 3028183"/>
                <a:gd name="connsiteY236" fmla="*/ 618269 h 1160647"/>
                <a:gd name="connsiteX237" fmla="*/ 1294296 w 3028183"/>
                <a:gd name="connsiteY237" fmla="*/ 618269 h 1160647"/>
                <a:gd name="connsiteX238" fmla="*/ 1303163 w 3028183"/>
                <a:gd name="connsiteY238" fmla="*/ 618269 h 1160647"/>
                <a:gd name="connsiteX239" fmla="*/ 1313296 w 3028183"/>
                <a:gd name="connsiteY239" fmla="*/ 661504 h 1160647"/>
                <a:gd name="connsiteX240" fmla="*/ 1314309 w 3028183"/>
                <a:gd name="connsiteY240" fmla="*/ 661504 h 1160647"/>
                <a:gd name="connsiteX241" fmla="*/ 1321403 w 3028183"/>
                <a:gd name="connsiteY241" fmla="*/ 661504 h 1160647"/>
                <a:gd name="connsiteX242" fmla="*/ 1321403 w 3028183"/>
                <a:gd name="connsiteY242" fmla="*/ 700416 h 1160647"/>
                <a:gd name="connsiteX243" fmla="*/ 1323176 w 3028183"/>
                <a:gd name="connsiteY243" fmla="*/ 700416 h 1160647"/>
                <a:gd name="connsiteX244" fmla="*/ 1335590 w 3028183"/>
                <a:gd name="connsiteY244" fmla="*/ 700416 h 1160647"/>
                <a:gd name="connsiteX245" fmla="*/ 1335590 w 3028183"/>
                <a:gd name="connsiteY245" fmla="*/ 702578 h 1160647"/>
                <a:gd name="connsiteX246" fmla="*/ 1335590 w 3028183"/>
                <a:gd name="connsiteY246" fmla="*/ 717710 h 1160647"/>
                <a:gd name="connsiteX247" fmla="*/ 1339643 w 3028183"/>
                <a:gd name="connsiteY247" fmla="*/ 715549 h 1160647"/>
                <a:gd name="connsiteX248" fmla="*/ 1339643 w 3028183"/>
                <a:gd name="connsiteY248" fmla="*/ 700416 h 1160647"/>
                <a:gd name="connsiteX249" fmla="*/ 1341163 w 3028183"/>
                <a:gd name="connsiteY249" fmla="*/ 700416 h 1160647"/>
                <a:gd name="connsiteX250" fmla="*/ 1351803 w 3028183"/>
                <a:gd name="connsiteY250" fmla="*/ 700416 h 1160647"/>
                <a:gd name="connsiteX251" fmla="*/ 1351803 w 3028183"/>
                <a:gd name="connsiteY251" fmla="*/ 702037 h 1160647"/>
                <a:gd name="connsiteX252" fmla="*/ 1351803 w 3028183"/>
                <a:gd name="connsiteY252" fmla="*/ 713387 h 1160647"/>
                <a:gd name="connsiteX253" fmla="*/ 1382204 w 3028183"/>
                <a:gd name="connsiteY253" fmla="*/ 713387 h 1160647"/>
                <a:gd name="connsiteX254" fmla="*/ 1382204 w 3028183"/>
                <a:gd name="connsiteY254" fmla="*/ 676637 h 1160647"/>
                <a:gd name="connsiteX255" fmla="*/ 1383470 w 3028183"/>
                <a:gd name="connsiteY255" fmla="*/ 676637 h 1160647"/>
                <a:gd name="connsiteX256" fmla="*/ 1392337 w 3028183"/>
                <a:gd name="connsiteY256" fmla="*/ 676637 h 1160647"/>
                <a:gd name="connsiteX257" fmla="*/ 1392337 w 3028183"/>
                <a:gd name="connsiteY257" fmla="*/ 698254 h 1160647"/>
                <a:gd name="connsiteX258" fmla="*/ 1394364 w 3028183"/>
                <a:gd name="connsiteY258" fmla="*/ 665828 h 1160647"/>
                <a:gd name="connsiteX259" fmla="*/ 1416657 w 3028183"/>
                <a:gd name="connsiteY259" fmla="*/ 665828 h 1160647"/>
                <a:gd name="connsiteX260" fmla="*/ 1416657 w 3028183"/>
                <a:gd name="connsiteY260" fmla="*/ 664206 h 1160647"/>
                <a:gd name="connsiteX261" fmla="*/ 1416657 w 3028183"/>
                <a:gd name="connsiteY261" fmla="*/ 652857 h 1160647"/>
                <a:gd name="connsiteX262" fmla="*/ 1417417 w 3028183"/>
                <a:gd name="connsiteY262" fmla="*/ 652857 h 1160647"/>
                <a:gd name="connsiteX263" fmla="*/ 1422737 w 3028183"/>
                <a:gd name="connsiteY263" fmla="*/ 652857 h 1160647"/>
                <a:gd name="connsiteX264" fmla="*/ 1422737 w 3028183"/>
                <a:gd name="connsiteY264" fmla="*/ 650966 h 1160647"/>
                <a:gd name="connsiteX265" fmla="*/ 1422737 w 3028183"/>
                <a:gd name="connsiteY265" fmla="*/ 637725 h 1160647"/>
                <a:gd name="connsiteX266" fmla="*/ 1426791 w 3028183"/>
                <a:gd name="connsiteY266" fmla="*/ 644210 h 1160647"/>
                <a:gd name="connsiteX267" fmla="*/ 1429071 w 3028183"/>
                <a:gd name="connsiteY267" fmla="*/ 644210 h 1160647"/>
                <a:gd name="connsiteX268" fmla="*/ 1445031 w 3028183"/>
                <a:gd name="connsiteY268" fmla="*/ 644210 h 1160647"/>
                <a:gd name="connsiteX269" fmla="*/ 1445031 w 3028183"/>
                <a:gd name="connsiteY269" fmla="*/ 643399 h 1160647"/>
                <a:gd name="connsiteX270" fmla="*/ 1445031 w 3028183"/>
                <a:gd name="connsiteY270" fmla="*/ 637725 h 1160647"/>
                <a:gd name="connsiteX271" fmla="*/ 1445791 w 3028183"/>
                <a:gd name="connsiteY271" fmla="*/ 637725 h 1160647"/>
                <a:gd name="connsiteX272" fmla="*/ 1451111 w 3028183"/>
                <a:gd name="connsiteY272" fmla="*/ 637725 h 1160647"/>
                <a:gd name="connsiteX273" fmla="*/ 1451111 w 3028183"/>
                <a:gd name="connsiteY273" fmla="*/ 639076 h 1160647"/>
                <a:gd name="connsiteX274" fmla="*/ 1451111 w 3028183"/>
                <a:gd name="connsiteY274" fmla="*/ 648534 h 1160647"/>
                <a:gd name="connsiteX275" fmla="*/ 1489618 w 3028183"/>
                <a:gd name="connsiteY275" fmla="*/ 648534 h 1160647"/>
                <a:gd name="connsiteX276" fmla="*/ 1489618 w 3028183"/>
                <a:gd name="connsiteY276" fmla="*/ 786887 h 1160647"/>
                <a:gd name="connsiteX277" fmla="*/ 1491138 w 3028183"/>
                <a:gd name="connsiteY277" fmla="*/ 786887 h 1160647"/>
                <a:gd name="connsiteX278" fmla="*/ 1501778 w 3028183"/>
                <a:gd name="connsiteY278" fmla="*/ 786887 h 1160647"/>
                <a:gd name="connsiteX279" fmla="*/ 1501778 w 3028183"/>
                <a:gd name="connsiteY279" fmla="*/ 773917 h 1160647"/>
                <a:gd name="connsiteX280" fmla="*/ 1505832 w 3028183"/>
                <a:gd name="connsiteY280" fmla="*/ 773917 h 1160647"/>
                <a:gd name="connsiteX281" fmla="*/ 1505832 w 3028183"/>
                <a:gd name="connsiteY281" fmla="*/ 786887 h 1160647"/>
                <a:gd name="connsiteX282" fmla="*/ 1536232 w 3028183"/>
                <a:gd name="connsiteY282" fmla="*/ 786887 h 1160647"/>
                <a:gd name="connsiteX283" fmla="*/ 1536232 w 3028183"/>
                <a:gd name="connsiteY283" fmla="*/ 756622 h 1160647"/>
                <a:gd name="connsiteX284" fmla="*/ 1548392 w 3028183"/>
                <a:gd name="connsiteY284" fmla="*/ 756622 h 1160647"/>
                <a:gd name="connsiteX285" fmla="*/ 1560552 w 3028183"/>
                <a:gd name="connsiteY285" fmla="*/ 754461 h 1160647"/>
                <a:gd name="connsiteX286" fmla="*/ 1564606 w 3028183"/>
                <a:gd name="connsiteY286" fmla="*/ 756622 h 1160647"/>
                <a:gd name="connsiteX287" fmla="*/ 1574739 w 3028183"/>
                <a:gd name="connsiteY287" fmla="*/ 756622 h 1160647"/>
                <a:gd name="connsiteX288" fmla="*/ 1574739 w 3028183"/>
                <a:gd name="connsiteY288" fmla="*/ 786887 h 1160647"/>
                <a:gd name="connsiteX289" fmla="*/ 1582846 w 3028183"/>
                <a:gd name="connsiteY289" fmla="*/ 786887 h 1160647"/>
                <a:gd name="connsiteX290" fmla="*/ 1582846 w 3028183"/>
                <a:gd name="connsiteY290" fmla="*/ 804182 h 1160647"/>
                <a:gd name="connsiteX291" fmla="*/ 1592182 w 3028183"/>
                <a:gd name="connsiteY291" fmla="*/ 805087 h 1160647"/>
                <a:gd name="connsiteX292" fmla="*/ 1605140 w 3028183"/>
                <a:gd name="connsiteY292" fmla="*/ 805087 h 1160647"/>
                <a:gd name="connsiteX293" fmla="*/ 1605140 w 3028183"/>
                <a:gd name="connsiteY293" fmla="*/ 789049 h 1160647"/>
                <a:gd name="connsiteX294" fmla="*/ 1673096 w 3028183"/>
                <a:gd name="connsiteY294" fmla="*/ 789049 h 1160647"/>
                <a:gd name="connsiteX295" fmla="*/ 1673096 w 3028183"/>
                <a:gd name="connsiteY295" fmla="*/ 703796 h 1160647"/>
                <a:gd name="connsiteX296" fmla="*/ 1745104 w 3028183"/>
                <a:gd name="connsiteY296" fmla="*/ 703796 h 1160647"/>
                <a:gd name="connsiteX297" fmla="*/ 1745104 w 3028183"/>
                <a:gd name="connsiteY297" fmla="*/ 782564 h 1160647"/>
                <a:gd name="connsiteX298" fmla="*/ 1747008 w 3028183"/>
                <a:gd name="connsiteY298" fmla="*/ 782564 h 1160647"/>
                <a:gd name="connsiteX299" fmla="*/ 1748250 w 3028183"/>
                <a:gd name="connsiteY299" fmla="*/ 805087 h 1160647"/>
                <a:gd name="connsiteX300" fmla="*/ 1757926 w 3028183"/>
                <a:gd name="connsiteY300" fmla="*/ 805087 h 1160647"/>
                <a:gd name="connsiteX301" fmla="*/ 1759168 w 3028183"/>
                <a:gd name="connsiteY301" fmla="*/ 782564 h 1160647"/>
                <a:gd name="connsiteX302" fmla="*/ 1765248 w 3028183"/>
                <a:gd name="connsiteY302" fmla="*/ 782564 h 1160647"/>
                <a:gd name="connsiteX303" fmla="*/ 1766490 w 3028183"/>
                <a:gd name="connsiteY303" fmla="*/ 805087 h 1160647"/>
                <a:gd name="connsiteX304" fmla="*/ 1817112 w 3028183"/>
                <a:gd name="connsiteY304" fmla="*/ 805087 h 1160647"/>
                <a:gd name="connsiteX305" fmla="*/ 1817112 w 3028183"/>
                <a:gd name="connsiteY305" fmla="*/ 642059 h 1160647"/>
                <a:gd name="connsiteX306" fmla="*/ 2014439 w 3028183"/>
                <a:gd name="connsiteY306" fmla="*/ 642059 h 1160647"/>
                <a:gd name="connsiteX307" fmla="*/ 2014439 w 3028183"/>
                <a:gd name="connsiteY307" fmla="*/ 805087 h 1160647"/>
                <a:gd name="connsiteX308" fmla="*/ 2033136 w 3028183"/>
                <a:gd name="connsiteY308" fmla="*/ 805087 h 1160647"/>
                <a:gd name="connsiteX309" fmla="*/ 2033136 w 3028183"/>
                <a:gd name="connsiteY309" fmla="*/ 722394 h 1160647"/>
                <a:gd name="connsiteX310" fmla="*/ 2128256 w 3028183"/>
                <a:gd name="connsiteY310" fmla="*/ 722394 h 1160647"/>
                <a:gd name="connsiteX311" fmla="*/ 2140186 w 3028183"/>
                <a:gd name="connsiteY311" fmla="*/ 404253 h 1160647"/>
                <a:gd name="connsiteX312" fmla="*/ 2128026 w 3028183"/>
                <a:gd name="connsiteY312" fmla="*/ 382635 h 1160647"/>
                <a:gd name="connsiteX313" fmla="*/ 2121946 w 3028183"/>
                <a:gd name="connsiteY313" fmla="*/ 378311 h 1160647"/>
                <a:gd name="connsiteX314" fmla="*/ 2130053 w 3028183"/>
                <a:gd name="connsiteY314" fmla="*/ 354532 h 1160647"/>
                <a:gd name="connsiteX315" fmla="*/ 2130053 w 3028183"/>
                <a:gd name="connsiteY315" fmla="*/ 337238 h 1160647"/>
                <a:gd name="connsiteX316" fmla="*/ 2144240 w 3028183"/>
                <a:gd name="connsiteY316" fmla="*/ 337238 h 1160647"/>
                <a:gd name="connsiteX317" fmla="*/ 2144240 w 3028183"/>
                <a:gd name="connsiteY317" fmla="*/ 315620 h 1160647"/>
                <a:gd name="connsiteX318" fmla="*/ 2146266 w 3028183"/>
                <a:gd name="connsiteY318" fmla="*/ 311296 h 1160647"/>
                <a:gd name="connsiteX319" fmla="*/ 2146266 w 3028183"/>
                <a:gd name="connsiteY319" fmla="*/ 233472 h 1160647"/>
                <a:gd name="connsiteX320" fmla="*/ 2144240 w 3028183"/>
                <a:gd name="connsiteY320" fmla="*/ 226987 h 1160647"/>
                <a:gd name="connsiteX321" fmla="*/ 2150320 w 3028183"/>
                <a:gd name="connsiteY321" fmla="*/ 220501 h 1160647"/>
                <a:gd name="connsiteX322" fmla="*/ 2150320 w 3028183"/>
                <a:gd name="connsiteY322" fmla="*/ 162133 h 1160647"/>
                <a:gd name="connsiteX323" fmla="*/ 2152346 w 3028183"/>
                <a:gd name="connsiteY323" fmla="*/ 157810 h 1160647"/>
                <a:gd name="connsiteX324" fmla="*/ 2152346 w 3028183"/>
                <a:gd name="connsiteY324" fmla="*/ 101604 h 1160647"/>
                <a:gd name="connsiteX325" fmla="*/ 2154373 w 3028183"/>
                <a:gd name="connsiteY325" fmla="*/ 82148 h 1160647"/>
                <a:gd name="connsiteX326" fmla="*/ 2158427 w 3028183"/>
                <a:gd name="connsiteY326" fmla="*/ 99442 h 1160647"/>
                <a:gd name="connsiteX327" fmla="*/ 2160453 w 3028183"/>
                <a:gd name="connsiteY327" fmla="*/ 157810 h 1160647"/>
                <a:gd name="connsiteX328" fmla="*/ 2162480 w 3028183"/>
                <a:gd name="connsiteY328" fmla="*/ 220501 h 1160647"/>
                <a:gd name="connsiteX329" fmla="*/ 2168560 w 3028183"/>
                <a:gd name="connsiteY329" fmla="*/ 226987 h 1160647"/>
                <a:gd name="connsiteX330" fmla="*/ 2166533 w 3028183"/>
                <a:gd name="connsiteY330" fmla="*/ 233472 h 1160647"/>
                <a:gd name="connsiteX331" fmla="*/ 2166533 w 3028183"/>
                <a:gd name="connsiteY331" fmla="*/ 311296 h 1160647"/>
                <a:gd name="connsiteX332" fmla="*/ 2168560 w 3028183"/>
                <a:gd name="connsiteY332" fmla="*/ 315620 h 1160647"/>
                <a:gd name="connsiteX333" fmla="*/ 2168560 w 3028183"/>
                <a:gd name="connsiteY333" fmla="*/ 337238 h 1160647"/>
                <a:gd name="connsiteX334" fmla="*/ 2182747 w 3028183"/>
                <a:gd name="connsiteY334" fmla="*/ 337238 h 1160647"/>
                <a:gd name="connsiteX335" fmla="*/ 2182747 w 3028183"/>
                <a:gd name="connsiteY335" fmla="*/ 354532 h 1160647"/>
                <a:gd name="connsiteX336" fmla="*/ 2190854 w 3028183"/>
                <a:gd name="connsiteY336" fmla="*/ 378311 h 1160647"/>
                <a:gd name="connsiteX337" fmla="*/ 2184774 w 3028183"/>
                <a:gd name="connsiteY337" fmla="*/ 382635 h 1160647"/>
                <a:gd name="connsiteX338" fmla="*/ 2172613 w 3028183"/>
                <a:gd name="connsiteY338" fmla="*/ 404253 h 1160647"/>
                <a:gd name="connsiteX339" fmla="*/ 2180720 w 3028183"/>
                <a:gd name="connsiteY339" fmla="*/ 657181 h 1160647"/>
                <a:gd name="connsiteX340" fmla="*/ 2245574 w 3028183"/>
                <a:gd name="connsiteY340" fmla="*/ 657181 h 1160647"/>
                <a:gd name="connsiteX341" fmla="*/ 2245574 w 3028183"/>
                <a:gd name="connsiteY341" fmla="*/ 732843 h 1160647"/>
                <a:gd name="connsiteX342" fmla="*/ 2253681 w 3028183"/>
                <a:gd name="connsiteY342" fmla="*/ 732843 h 1160647"/>
                <a:gd name="connsiteX343" fmla="*/ 2255708 w 3028183"/>
                <a:gd name="connsiteY343" fmla="*/ 726358 h 1160647"/>
                <a:gd name="connsiteX344" fmla="*/ 2261788 w 3028183"/>
                <a:gd name="connsiteY344" fmla="*/ 726358 h 1160647"/>
                <a:gd name="connsiteX345" fmla="*/ 2263815 w 3028183"/>
                <a:gd name="connsiteY345" fmla="*/ 735005 h 1160647"/>
                <a:gd name="connsiteX346" fmla="*/ 2275975 w 3028183"/>
                <a:gd name="connsiteY346" fmla="*/ 735005 h 1160647"/>
                <a:gd name="connsiteX347" fmla="*/ 2275975 w 3028183"/>
                <a:gd name="connsiteY347" fmla="*/ 728519 h 1160647"/>
                <a:gd name="connsiteX348" fmla="*/ 2298268 w 3028183"/>
                <a:gd name="connsiteY348" fmla="*/ 728519 h 1160647"/>
                <a:gd name="connsiteX349" fmla="*/ 2298268 w 3028183"/>
                <a:gd name="connsiteY349" fmla="*/ 735005 h 1160647"/>
                <a:gd name="connsiteX350" fmla="*/ 2318535 w 3028183"/>
                <a:gd name="connsiteY350" fmla="*/ 735005 h 1160647"/>
                <a:gd name="connsiteX351" fmla="*/ 2318535 w 3028183"/>
                <a:gd name="connsiteY351" fmla="*/ 780402 h 1160647"/>
                <a:gd name="connsiteX352" fmla="*/ 2332722 w 3028183"/>
                <a:gd name="connsiteY352" fmla="*/ 780402 h 1160647"/>
                <a:gd name="connsiteX353" fmla="*/ 2332722 w 3028183"/>
                <a:gd name="connsiteY353" fmla="*/ 767431 h 1160647"/>
                <a:gd name="connsiteX354" fmla="*/ 2348936 w 3028183"/>
                <a:gd name="connsiteY354" fmla="*/ 767431 h 1160647"/>
                <a:gd name="connsiteX355" fmla="*/ 2348936 w 3028183"/>
                <a:gd name="connsiteY355" fmla="*/ 588004 h 1160647"/>
                <a:gd name="connsiteX356" fmla="*/ 2355016 w 3028183"/>
                <a:gd name="connsiteY356" fmla="*/ 581518 h 1160647"/>
                <a:gd name="connsiteX357" fmla="*/ 2427977 w 3028183"/>
                <a:gd name="connsiteY357" fmla="*/ 581518 h 1160647"/>
                <a:gd name="connsiteX358" fmla="*/ 2427977 w 3028183"/>
                <a:gd name="connsiteY358" fmla="*/ 590166 h 1160647"/>
                <a:gd name="connsiteX359" fmla="*/ 2438110 w 3028183"/>
                <a:gd name="connsiteY359" fmla="*/ 590166 h 1160647"/>
                <a:gd name="connsiteX360" fmla="*/ 2438110 w 3028183"/>
                <a:gd name="connsiteY360" fmla="*/ 704740 h 1160647"/>
                <a:gd name="connsiteX361" fmla="*/ 2460404 w 3028183"/>
                <a:gd name="connsiteY361" fmla="*/ 704740 h 1160647"/>
                <a:gd name="connsiteX362" fmla="*/ 2460404 w 3028183"/>
                <a:gd name="connsiteY362" fmla="*/ 637725 h 1160647"/>
                <a:gd name="connsiteX363" fmla="*/ 2486751 w 3028183"/>
                <a:gd name="connsiteY363" fmla="*/ 637725 h 1160647"/>
                <a:gd name="connsiteX364" fmla="*/ 2490804 w 3028183"/>
                <a:gd name="connsiteY364" fmla="*/ 633401 h 1160647"/>
                <a:gd name="connsiteX365" fmla="*/ 2498911 w 3028183"/>
                <a:gd name="connsiteY365" fmla="*/ 633401 h 1160647"/>
                <a:gd name="connsiteX366" fmla="*/ 2502964 w 3028183"/>
                <a:gd name="connsiteY366" fmla="*/ 637725 h 1160647"/>
                <a:gd name="connsiteX367" fmla="*/ 2525258 w 3028183"/>
                <a:gd name="connsiteY367" fmla="*/ 637725 h 1160647"/>
                <a:gd name="connsiteX368" fmla="*/ 2525258 w 3028183"/>
                <a:gd name="connsiteY368" fmla="*/ 520989 h 1160647"/>
                <a:gd name="connsiteX369" fmla="*/ 2582005 w 3028183"/>
                <a:gd name="connsiteY369" fmla="*/ 510180 h 1160647"/>
                <a:gd name="connsiteX370" fmla="*/ 2582005 w 3028183"/>
                <a:gd name="connsiteY370" fmla="*/ 511261 h 1160647"/>
                <a:gd name="connsiteX371" fmla="*/ 2582005 w 3028183"/>
                <a:gd name="connsiteY371" fmla="*/ 518827 h 1160647"/>
                <a:gd name="connsiteX372" fmla="*/ 2608352 w 3028183"/>
                <a:gd name="connsiteY372" fmla="*/ 518827 h 1160647"/>
                <a:gd name="connsiteX373" fmla="*/ 2608352 w 3028183"/>
                <a:gd name="connsiteY373" fmla="*/ 773917 h 1160647"/>
                <a:gd name="connsiteX374" fmla="*/ 2630646 w 3028183"/>
                <a:gd name="connsiteY374" fmla="*/ 773917 h 1160647"/>
                <a:gd name="connsiteX375" fmla="*/ 2630646 w 3028183"/>
                <a:gd name="connsiteY375" fmla="*/ 769593 h 1160647"/>
                <a:gd name="connsiteX376" fmla="*/ 2642806 w 3028183"/>
                <a:gd name="connsiteY376" fmla="*/ 769593 h 1160647"/>
                <a:gd name="connsiteX377" fmla="*/ 2642806 w 3028183"/>
                <a:gd name="connsiteY377" fmla="*/ 773917 h 1160647"/>
                <a:gd name="connsiteX378" fmla="*/ 2667126 w 3028183"/>
                <a:gd name="connsiteY378" fmla="*/ 773917 h 1160647"/>
                <a:gd name="connsiteX379" fmla="*/ 2667126 w 3028183"/>
                <a:gd name="connsiteY379" fmla="*/ 760946 h 1160647"/>
                <a:gd name="connsiteX380" fmla="*/ 2695500 w 3028183"/>
                <a:gd name="connsiteY380" fmla="*/ 760946 h 1160647"/>
                <a:gd name="connsiteX381" fmla="*/ 2707660 w 3028183"/>
                <a:gd name="connsiteY381" fmla="*/ 756622 h 1160647"/>
                <a:gd name="connsiteX382" fmla="*/ 2727927 w 3028183"/>
                <a:gd name="connsiteY382" fmla="*/ 760946 h 1160647"/>
                <a:gd name="connsiteX383" fmla="*/ 2727927 w 3028183"/>
                <a:gd name="connsiteY383" fmla="*/ 743652 h 1160647"/>
                <a:gd name="connsiteX384" fmla="*/ 2736034 w 3028183"/>
                <a:gd name="connsiteY384" fmla="*/ 743652 h 1160647"/>
                <a:gd name="connsiteX385" fmla="*/ 2736034 w 3028183"/>
                <a:gd name="connsiteY385" fmla="*/ 730681 h 1160647"/>
                <a:gd name="connsiteX386" fmla="*/ 2792781 w 3028183"/>
                <a:gd name="connsiteY386" fmla="*/ 730681 h 1160647"/>
                <a:gd name="connsiteX387" fmla="*/ 2792781 w 3028183"/>
                <a:gd name="connsiteY387" fmla="*/ 700416 h 1160647"/>
                <a:gd name="connsiteX388" fmla="*/ 2811021 w 3028183"/>
                <a:gd name="connsiteY388" fmla="*/ 700416 h 1160647"/>
                <a:gd name="connsiteX389" fmla="*/ 2811021 w 3028183"/>
                <a:gd name="connsiteY389" fmla="*/ 693931 h 1160647"/>
                <a:gd name="connsiteX390" fmla="*/ 2823181 w 3028183"/>
                <a:gd name="connsiteY390" fmla="*/ 693931 h 1160647"/>
                <a:gd name="connsiteX391" fmla="*/ 2823181 w 3028183"/>
                <a:gd name="connsiteY391" fmla="*/ 700416 h 1160647"/>
                <a:gd name="connsiteX392" fmla="*/ 2839395 w 3028183"/>
                <a:gd name="connsiteY392" fmla="*/ 700416 h 1160647"/>
                <a:gd name="connsiteX393" fmla="*/ 2839395 w 3028183"/>
                <a:gd name="connsiteY393" fmla="*/ 750137 h 1160647"/>
                <a:gd name="connsiteX394" fmla="*/ 2871822 w 3028183"/>
                <a:gd name="connsiteY394" fmla="*/ 750137 h 1160647"/>
                <a:gd name="connsiteX395" fmla="*/ 2871822 w 3028183"/>
                <a:gd name="connsiteY395" fmla="*/ 724196 h 1160647"/>
                <a:gd name="connsiteX396" fmla="*/ 2910329 w 3028183"/>
                <a:gd name="connsiteY396" fmla="*/ 724196 h 1160647"/>
                <a:gd name="connsiteX397" fmla="*/ 2910329 w 3028183"/>
                <a:gd name="connsiteY397" fmla="*/ 693931 h 1160647"/>
                <a:gd name="connsiteX398" fmla="*/ 2958970 w 3028183"/>
                <a:gd name="connsiteY398" fmla="*/ 693931 h 1160647"/>
                <a:gd name="connsiteX399" fmla="*/ 2958970 w 3028183"/>
                <a:gd name="connsiteY399" fmla="*/ 805087 h 1160647"/>
                <a:gd name="connsiteX400" fmla="*/ 2958970 w 3028183"/>
                <a:gd name="connsiteY400" fmla="*/ 818866 h 1160647"/>
                <a:gd name="connsiteX401" fmla="*/ 3024845 w 3028183"/>
                <a:gd name="connsiteY401" fmla="*/ 818866 h 1160647"/>
                <a:gd name="connsiteX402" fmla="*/ 3028183 w 3028183"/>
                <a:gd name="connsiteY402" fmla="*/ 1160647 h 1160647"/>
                <a:gd name="connsiteX403" fmla="*/ 2054 w 3028183"/>
                <a:gd name="connsiteY403" fmla="*/ 1158314 h 1160647"/>
                <a:gd name="connsiteX404" fmla="*/ 0 w 3028183"/>
                <a:gd name="connsiteY404" fmla="*/ 724196 h 1160647"/>
                <a:gd name="connsiteX405" fmla="*/ 20267 w 3028183"/>
                <a:gd name="connsiteY405" fmla="*/ 724196 h 1160647"/>
                <a:gd name="connsiteX406" fmla="*/ 20774 w 3028183"/>
                <a:gd name="connsiteY406" fmla="*/ 723115 h 1160647"/>
                <a:gd name="connsiteX407" fmla="*/ 24320 w 3028183"/>
                <a:gd name="connsiteY407" fmla="*/ 715549 h 1160647"/>
                <a:gd name="connsiteX408" fmla="*/ 26094 w 3028183"/>
                <a:gd name="connsiteY408" fmla="*/ 715819 h 1160647"/>
                <a:gd name="connsiteX409" fmla="*/ 38507 w 3028183"/>
                <a:gd name="connsiteY409" fmla="*/ 717710 h 1160647"/>
                <a:gd name="connsiteX410" fmla="*/ 39014 w 3028183"/>
                <a:gd name="connsiteY410" fmla="*/ 719062 h 1160647"/>
                <a:gd name="connsiteX411" fmla="*/ 42560 w 3028183"/>
                <a:gd name="connsiteY411" fmla="*/ 728519 h 1160647"/>
                <a:gd name="connsiteX412" fmla="*/ 68907 w 3028183"/>
                <a:gd name="connsiteY412" fmla="*/ 730681 h 1160647"/>
                <a:gd name="connsiteX413" fmla="*/ 68907 w 3028183"/>
                <a:gd name="connsiteY413" fmla="*/ 607460 h 1160647"/>
                <a:gd name="connsiteX414" fmla="*/ 70934 w 3028183"/>
                <a:gd name="connsiteY414" fmla="*/ 607460 h 1160647"/>
                <a:gd name="connsiteX415" fmla="*/ 85121 w 3028183"/>
                <a:gd name="connsiteY415" fmla="*/ 607460 h 1160647"/>
                <a:gd name="connsiteX416" fmla="*/ 85121 w 3028183"/>
                <a:gd name="connsiteY416" fmla="*/ 471268 h 1160647"/>
                <a:gd name="connsiteX417" fmla="*/ 86894 w 3028183"/>
                <a:gd name="connsiteY417" fmla="*/ 471268 h 1160647"/>
                <a:gd name="connsiteX418" fmla="*/ 99308 w 3028183"/>
                <a:gd name="connsiteY418" fmla="*/ 471268 h 1160647"/>
                <a:gd name="connsiteX419" fmla="*/ 99308 w 3028183"/>
                <a:gd name="connsiteY419" fmla="*/ 356694 h 1160647"/>
                <a:gd name="connsiteX420" fmla="*/ 103361 w 3028183"/>
                <a:gd name="connsiteY420" fmla="*/ 328590 h 1160647"/>
                <a:gd name="connsiteX421" fmla="*/ 105388 w 3028183"/>
                <a:gd name="connsiteY421" fmla="*/ 328590 h 1160647"/>
                <a:gd name="connsiteX422" fmla="*/ 119575 w 3028183"/>
                <a:gd name="connsiteY422" fmla="*/ 328590 h 1160647"/>
                <a:gd name="connsiteX423" fmla="*/ 156055 w 3028183"/>
                <a:gd name="connsiteY423" fmla="*/ 246443 h 1160647"/>
                <a:gd name="connsiteX424" fmla="*/ 160109 w 3028183"/>
                <a:gd name="connsiteY424" fmla="*/ 0 h 1160647"/>
                <a:gd name="connsiteX0" fmla="*/ 160109 w 3031519"/>
                <a:gd name="connsiteY0" fmla="*/ 0 h 1160647"/>
                <a:gd name="connsiteX1" fmla="*/ 162135 w 3031519"/>
                <a:gd name="connsiteY1" fmla="*/ 246443 h 1160647"/>
                <a:gd name="connsiteX2" fmla="*/ 200642 w 3031519"/>
                <a:gd name="connsiteY2" fmla="*/ 326429 h 1160647"/>
                <a:gd name="connsiteX3" fmla="*/ 202669 w 3031519"/>
                <a:gd name="connsiteY3" fmla="*/ 326429 h 1160647"/>
                <a:gd name="connsiteX4" fmla="*/ 216856 w 3031519"/>
                <a:gd name="connsiteY4" fmla="*/ 326429 h 1160647"/>
                <a:gd name="connsiteX5" fmla="*/ 216856 w 3031519"/>
                <a:gd name="connsiteY5" fmla="*/ 350208 h 1160647"/>
                <a:gd name="connsiteX6" fmla="*/ 217363 w 3031519"/>
                <a:gd name="connsiteY6" fmla="*/ 351019 h 1160647"/>
                <a:gd name="connsiteX7" fmla="*/ 220909 w 3031519"/>
                <a:gd name="connsiteY7" fmla="*/ 356694 h 1160647"/>
                <a:gd name="connsiteX8" fmla="*/ 220909 w 3031519"/>
                <a:gd name="connsiteY8" fmla="*/ 471268 h 1160647"/>
                <a:gd name="connsiteX9" fmla="*/ 223189 w 3031519"/>
                <a:gd name="connsiteY9" fmla="*/ 471268 h 1160647"/>
                <a:gd name="connsiteX10" fmla="*/ 239150 w 3031519"/>
                <a:gd name="connsiteY10" fmla="*/ 471268 h 1160647"/>
                <a:gd name="connsiteX11" fmla="*/ 239150 w 3031519"/>
                <a:gd name="connsiteY11" fmla="*/ 611783 h 1160647"/>
                <a:gd name="connsiteX12" fmla="*/ 240670 w 3031519"/>
                <a:gd name="connsiteY12" fmla="*/ 611513 h 1160647"/>
                <a:gd name="connsiteX13" fmla="*/ 251310 w 3031519"/>
                <a:gd name="connsiteY13" fmla="*/ 609622 h 1160647"/>
                <a:gd name="connsiteX14" fmla="*/ 249283 w 3031519"/>
                <a:gd name="connsiteY14" fmla="*/ 698254 h 1160647"/>
                <a:gd name="connsiteX15" fmla="*/ 250803 w 3031519"/>
                <a:gd name="connsiteY15" fmla="*/ 698525 h 1160647"/>
                <a:gd name="connsiteX16" fmla="*/ 261443 w 3031519"/>
                <a:gd name="connsiteY16" fmla="*/ 700416 h 1160647"/>
                <a:gd name="connsiteX17" fmla="*/ 261696 w 3031519"/>
                <a:gd name="connsiteY17" fmla="*/ 701227 h 1160647"/>
                <a:gd name="connsiteX18" fmla="*/ 263470 w 3031519"/>
                <a:gd name="connsiteY18" fmla="*/ 706902 h 1160647"/>
                <a:gd name="connsiteX19" fmla="*/ 264230 w 3031519"/>
                <a:gd name="connsiteY19" fmla="*/ 704470 h 1160647"/>
                <a:gd name="connsiteX20" fmla="*/ 269550 w 3031519"/>
                <a:gd name="connsiteY20" fmla="*/ 687446 h 1160647"/>
                <a:gd name="connsiteX21" fmla="*/ 271323 w 3031519"/>
                <a:gd name="connsiteY21" fmla="*/ 687446 h 1160647"/>
                <a:gd name="connsiteX22" fmla="*/ 283737 w 3031519"/>
                <a:gd name="connsiteY22" fmla="*/ 687446 h 1160647"/>
                <a:gd name="connsiteX23" fmla="*/ 283737 w 3031519"/>
                <a:gd name="connsiteY23" fmla="*/ 719872 h 1160647"/>
                <a:gd name="connsiteX24" fmla="*/ 284750 w 3031519"/>
                <a:gd name="connsiteY24" fmla="*/ 720413 h 1160647"/>
                <a:gd name="connsiteX25" fmla="*/ 291844 w 3031519"/>
                <a:gd name="connsiteY25" fmla="*/ 724196 h 1160647"/>
                <a:gd name="connsiteX26" fmla="*/ 291844 w 3031519"/>
                <a:gd name="connsiteY26" fmla="*/ 725547 h 1160647"/>
                <a:gd name="connsiteX27" fmla="*/ 291844 w 3031519"/>
                <a:gd name="connsiteY27" fmla="*/ 735005 h 1160647"/>
                <a:gd name="connsiteX28" fmla="*/ 336431 w 3031519"/>
                <a:gd name="connsiteY28" fmla="*/ 735005 h 1160647"/>
                <a:gd name="connsiteX29" fmla="*/ 336431 w 3031519"/>
                <a:gd name="connsiteY29" fmla="*/ 736086 h 1160647"/>
                <a:gd name="connsiteX30" fmla="*/ 336431 w 3031519"/>
                <a:gd name="connsiteY30" fmla="*/ 743652 h 1160647"/>
                <a:gd name="connsiteX31" fmla="*/ 338457 w 3031519"/>
                <a:gd name="connsiteY31" fmla="*/ 743652 h 1160647"/>
                <a:gd name="connsiteX32" fmla="*/ 352644 w 3031519"/>
                <a:gd name="connsiteY32" fmla="*/ 743652 h 1160647"/>
                <a:gd name="connsiteX33" fmla="*/ 352644 w 3031519"/>
                <a:gd name="connsiteY33" fmla="*/ 713387 h 1160647"/>
                <a:gd name="connsiteX34" fmla="*/ 397231 w 3031519"/>
                <a:gd name="connsiteY34" fmla="*/ 713387 h 1160647"/>
                <a:gd name="connsiteX35" fmla="*/ 397231 w 3031519"/>
                <a:gd name="connsiteY35" fmla="*/ 712036 h 1160647"/>
                <a:gd name="connsiteX36" fmla="*/ 397231 w 3031519"/>
                <a:gd name="connsiteY36" fmla="*/ 702578 h 1160647"/>
                <a:gd name="connsiteX37" fmla="*/ 398245 w 3031519"/>
                <a:gd name="connsiteY37" fmla="*/ 702578 h 1160647"/>
                <a:gd name="connsiteX38" fmla="*/ 405338 w 3031519"/>
                <a:gd name="connsiteY38" fmla="*/ 702578 h 1160647"/>
                <a:gd name="connsiteX39" fmla="*/ 405338 w 3031519"/>
                <a:gd name="connsiteY39" fmla="*/ 700687 h 1160647"/>
                <a:gd name="connsiteX40" fmla="*/ 405338 w 3031519"/>
                <a:gd name="connsiteY40" fmla="*/ 687446 h 1160647"/>
                <a:gd name="connsiteX41" fmla="*/ 406098 w 3031519"/>
                <a:gd name="connsiteY41" fmla="*/ 687446 h 1160647"/>
                <a:gd name="connsiteX42" fmla="*/ 411418 w 3031519"/>
                <a:gd name="connsiteY42" fmla="*/ 687446 h 1160647"/>
                <a:gd name="connsiteX43" fmla="*/ 411418 w 3031519"/>
                <a:gd name="connsiteY43" fmla="*/ 686365 h 1160647"/>
                <a:gd name="connsiteX44" fmla="*/ 411418 w 3031519"/>
                <a:gd name="connsiteY44" fmla="*/ 678798 h 1160647"/>
                <a:gd name="connsiteX45" fmla="*/ 413445 w 3031519"/>
                <a:gd name="connsiteY45" fmla="*/ 678798 h 1160647"/>
                <a:gd name="connsiteX46" fmla="*/ 427632 w 3031519"/>
                <a:gd name="connsiteY46" fmla="*/ 678798 h 1160647"/>
                <a:gd name="connsiteX47" fmla="*/ 427632 w 3031519"/>
                <a:gd name="connsiteY47" fmla="*/ 679879 h 1160647"/>
                <a:gd name="connsiteX48" fmla="*/ 427632 w 3031519"/>
                <a:gd name="connsiteY48" fmla="*/ 687446 h 1160647"/>
                <a:gd name="connsiteX49" fmla="*/ 449925 w 3031519"/>
                <a:gd name="connsiteY49" fmla="*/ 687446 h 1160647"/>
                <a:gd name="connsiteX50" fmla="*/ 449925 w 3031519"/>
                <a:gd name="connsiteY50" fmla="*/ 685554 h 1160647"/>
                <a:gd name="connsiteX51" fmla="*/ 449925 w 3031519"/>
                <a:gd name="connsiteY51" fmla="*/ 672313 h 1160647"/>
                <a:gd name="connsiteX52" fmla="*/ 451699 w 3031519"/>
                <a:gd name="connsiteY52" fmla="*/ 672313 h 1160647"/>
                <a:gd name="connsiteX53" fmla="*/ 464112 w 3031519"/>
                <a:gd name="connsiteY53" fmla="*/ 672313 h 1160647"/>
                <a:gd name="connsiteX54" fmla="*/ 464112 w 3031519"/>
                <a:gd name="connsiteY54" fmla="*/ 696093 h 1160647"/>
                <a:gd name="connsiteX55" fmla="*/ 465126 w 3031519"/>
                <a:gd name="connsiteY55" fmla="*/ 696093 h 1160647"/>
                <a:gd name="connsiteX56" fmla="*/ 472219 w 3031519"/>
                <a:gd name="connsiteY56" fmla="*/ 696093 h 1160647"/>
                <a:gd name="connsiteX57" fmla="*/ 472219 w 3031519"/>
                <a:gd name="connsiteY57" fmla="*/ 695012 h 1160647"/>
                <a:gd name="connsiteX58" fmla="*/ 472219 w 3031519"/>
                <a:gd name="connsiteY58" fmla="*/ 687446 h 1160647"/>
                <a:gd name="connsiteX59" fmla="*/ 473992 w 3031519"/>
                <a:gd name="connsiteY59" fmla="*/ 687446 h 1160647"/>
                <a:gd name="connsiteX60" fmla="*/ 486406 w 3031519"/>
                <a:gd name="connsiteY60" fmla="*/ 687446 h 1160647"/>
                <a:gd name="connsiteX61" fmla="*/ 486406 w 3031519"/>
                <a:gd name="connsiteY61" fmla="*/ 713387 h 1160647"/>
                <a:gd name="connsiteX62" fmla="*/ 488433 w 3031519"/>
                <a:gd name="connsiteY62" fmla="*/ 713387 h 1160647"/>
                <a:gd name="connsiteX63" fmla="*/ 502619 w 3031519"/>
                <a:gd name="connsiteY63" fmla="*/ 713387 h 1160647"/>
                <a:gd name="connsiteX64" fmla="*/ 502619 w 3031519"/>
                <a:gd name="connsiteY64" fmla="*/ 715008 h 1160647"/>
                <a:gd name="connsiteX65" fmla="*/ 502619 w 3031519"/>
                <a:gd name="connsiteY65" fmla="*/ 726358 h 1160647"/>
                <a:gd name="connsiteX66" fmla="*/ 503379 w 3031519"/>
                <a:gd name="connsiteY66" fmla="*/ 726358 h 1160647"/>
                <a:gd name="connsiteX67" fmla="*/ 508700 w 3031519"/>
                <a:gd name="connsiteY67" fmla="*/ 726358 h 1160647"/>
                <a:gd name="connsiteX68" fmla="*/ 508700 w 3031519"/>
                <a:gd name="connsiteY68" fmla="*/ 725547 h 1160647"/>
                <a:gd name="connsiteX69" fmla="*/ 508700 w 3031519"/>
                <a:gd name="connsiteY69" fmla="*/ 719872 h 1160647"/>
                <a:gd name="connsiteX70" fmla="*/ 539100 w 3031519"/>
                <a:gd name="connsiteY70" fmla="*/ 719872 h 1160647"/>
                <a:gd name="connsiteX71" fmla="*/ 539100 w 3031519"/>
                <a:gd name="connsiteY71" fmla="*/ 743652 h 1160647"/>
                <a:gd name="connsiteX72" fmla="*/ 540113 w 3031519"/>
                <a:gd name="connsiteY72" fmla="*/ 743652 h 1160647"/>
                <a:gd name="connsiteX73" fmla="*/ 547207 w 3031519"/>
                <a:gd name="connsiteY73" fmla="*/ 743652 h 1160647"/>
                <a:gd name="connsiteX74" fmla="*/ 547207 w 3031519"/>
                <a:gd name="connsiteY74" fmla="*/ 744733 h 1160647"/>
                <a:gd name="connsiteX75" fmla="*/ 547207 w 3031519"/>
                <a:gd name="connsiteY75" fmla="*/ 752299 h 1160647"/>
                <a:gd name="connsiteX76" fmla="*/ 547967 w 3031519"/>
                <a:gd name="connsiteY76" fmla="*/ 752299 h 1160647"/>
                <a:gd name="connsiteX77" fmla="*/ 553287 w 3031519"/>
                <a:gd name="connsiteY77" fmla="*/ 752299 h 1160647"/>
                <a:gd name="connsiteX78" fmla="*/ 553287 w 3031519"/>
                <a:gd name="connsiteY78" fmla="*/ 750137 h 1160647"/>
                <a:gd name="connsiteX79" fmla="*/ 553287 w 3031519"/>
                <a:gd name="connsiteY79" fmla="*/ 735005 h 1160647"/>
                <a:gd name="connsiteX80" fmla="*/ 554300 w 3031519"/>
                <a:gd name="connsiteY80" fmla="*/ 735005 h 1160647"/>
                <a:gd name="connsiteX81" fmla="*/ 561394 w 3031519"/>
                <a:gd name="connsiteY81" fmla="*/ 735005 h 1160647"/>
                <a:gd name="connsiteX82" fmla="*/ 561394 w 3031519"/>
                <a:gd name="connsiteY82" fmla="*/ 736086 h 1160647"/>
                <a:gd name="connsiteX83" fmla="*/ 561394 w 3031519"/>
                <a:gd name="connsiteY83" fmla="*/ 743652 h 1160647"/>
                <a:gd name="connsiteX84" fmla="*/ 566714 w 3031519"/>
                <a:gd name="connsiteY84" fmla="*/ 741659 h 1160647"/>
                <a:gd name="connsiteX85" fmla="*/ 567474 w 3031519"/>
                <a:gd name="connsiteY85" fmla="*/ 740679 h 1160647"/>
                <a:gd name="connsiteX86" fmla="*/ 567474 w 3031519"/>
                <a:gd name="connsiteY86" fmla="*/ 735005 h 1160647"/>
                <a:gd name="connsiteX87" fmla="*/ 605981 w 3031519"/>
                <a:gd name="connsiteY87" fmla="*/ 735005 h 1160647"/>
                <a:gd name="connsiteX88" fmla="*/ 605981 w 3031519"/>
                <a:gd name="connsiteY88" fmla="*/ 758784 h 1160647"/>
                <a:gd name="connsiteX89" fmla="*/ 608007 w 3031519"/>
                <a:gd name="connsiteY89" fmla="*/ 758784 h 1160647"/>
                <a:gd name="connsiteX90" fmla="*/ 622194 w 3031519"/>
                <a:gd name="connsiteY90" fmla="*/ 758784 h 1160647"/>
                <a:gd name="connsiteX91" fmla="*/ 622194 w 3031519"/>
                <a:gd name="connsiteY91" fmla="*/ 759865 h 1160647"/>
                <a:gd name="connsiteX92" fmla="*/ 622194 w 3031519"/>
                <a:gd name="connsiteY92" fmla="*/ 767431 h 1160647"/>
                <a:gd name="connsiteX93" fmla="*/ 623968 w 3031519"/>
                <a:gd name="connsiteY93" fmla="*/ 767431 h 1160647"/>
                <a:gd name="connsiteX94" fmla="*/ 636381 w 3031519"/>
                <a:gd name="connsiteY94" fmla="*/ 767431 h 1160647"/>
                <a:gd name="connsiteX95" fmla="*/ 636381 w 3031519"/>
                <a:gd name="connsiteY95" fmla="*/ 743652 h 1160647"/>
                <a:gd name="connsiteX96" fmla="*/ 637394 w 3031519"/>
                <a:gd name="connsiteY96" fmla="*/ 743652 h 1160647"/>
                <a:gd name="connsiteX97" fmla="*/ 644488 w 3031519"/>
                <a:gd name="connsiteY97" fmla="*/ 743652 h 1160647"/>
                <a:gd name="connsiteX98" fmla="*/ 644488 w 3031519"/>
                <a:gd name="connsiteY98" fmla="*/ 711225 h 1160647"/>
                <a:gd name="connsiteX99" fmla="*/ 645501 w 3031519"/>
                <a:gd name="connsiteY99" fmla="*/ 711225 h 1160647"/>
                <a:gd name="connsiteX100" fmla="*/ 652595 w 3031519"/>
                <a:gd name="connsiteY100" fmla="*/ 711225 h 1160647"/>
                <a:gd name="connsiteX101" fmla="*/ 652595 w 3031519"/>
                <a:gd name="connsiteY101" fmla="*/ 709334 h 1160647"/>
                <a:gd name="connsiteX102" fmla="*/ 652595 w 3031519"/>
                <a:gd name="connsiteY102" fmla="*/ 696093 h 1160647"/>
                <a:gd name="connsiteX103" fmla="*/ 651328 w 3031519"/>
                <a:gd name="connsiteY103" fmla="*/ 694471 h 1160647"/>
                <a:gd name="connsiteX104" fmla="*/ 656648 w 3031519"/>
                <a:gd name="connsiteY104" fmla="*/ 683122 h 1160647"/>
                <a:gd name="connsiteX105" fmla="*/ 664755 w 3031519"/>
                <a:gd name="connsiteY105" fmla="*/ 711225 h 1160647"/>
                <a:gd name="connsiteX106" fmla="*/ 665515 w 3031519"/>
                <a:gd name="connsiteY106" fmla="*/ 711225 h 1160647"/>
                <a:gd name="connsiteX107" fmla="*/ 670835 w 3031519"/>
                <a:gd name="connsiteY107" fmla="*/ 711225 h 1160647"/>
                <a:gd name="connsiteX108" fmla="*/ 670835 w 3031519"/>
                <a:gd name="connsiteY108" fmla="*/ 605298 h 1160647"/>
                <a:gd name="connsiteX109" fmla="*/ 672355 w 3031519"/>
                <a:gd name="connsiteY109" fmla="*/ 605298 h 1160647"/>
                <a:gd name="connsiteX110" fmla="*/ 682995 w 3031519"/>
                <a:gd name="connsiteY110" fmla="*/ 605298 h 1160647"/>
                <a:gd name="connsiteX111" fmla="*/ 682995 w 3031519"/>
                <a:gd name="connsiteY111" fmla="*/ 557739 h 1160647"/>
                <a:gd name="connsiteX112" fmla="*/ 709342 w 3031519"/>
                <a:gd name="connsiteY112" fmla="*/ 557739 h 1160647"/>
                <a:gd name="connsiteX113" fmla="*/ 709342 w 3031519"/>
                <a:gd name="connsiteY113" fmla="*/ 536121 h 1160647"/>
                <a:gd name="connsiteX114" fmla="*/ 743796 w 3031519"/>
                <a:gd name="connsiteY114" fmla="*/ 536121 h 1160647"/>
                <a:gd name="connsiteX115" fmla="*/ 743796 w 3031519"/>
                <a:gd name="connsiteY115" fmla="*/ 538553 h 1160647"/>
                <a:gd name="connsiteX116" fmla="*/ 743796 w 3031519"/>
                <a:gd name="connsiteY116" fmla="*/ 555577 h 1160647"/>
                <a:gd name="connsiteX117" fmla="*/ 746076 w 3031519"/>
                <a:gd name="connsiteY117" fmla="*/ 555577 h 1160647"/>
                <a:gd name="connsiteX118" fmla="*/ 762036 w 3031519"/>
                <a:gd name="connsiteY118" fmla="*/ 555577 h 1160647"/>
                <a:gd name="connsiteX119" fmla="*/ 762036 w 3031519"/>
                <a:gd name="connsiteY119" fmla="*/ 603136 h 1160647"/>
                <a:gd name="connsiteX120" fmla="*/ 763049 w 3031519"/>
                <a:gd name="connsiteY120" fmla="*/ 603136 h 1160647"/>
                <a:gd name="connsiteX121" fmla="*/ 770143 w 3031519"/>
                <a:gd name="connsiteY121" fmla="*/ 603136 h 1160647"/>
                <a:gd name="connsiteX122" fmla="*/ 784330 w 3031519"/>
                <a:gd name="connsiteY122" fmla="*/ 607460 h 1160647"/>
                <a:gd name="connsiteX123" fmla="*/ 784330 w 3031519"/>
                <a:gd name="connsiteY123" fmla="*/ 646372 h 1160647"/>
                <a:gd name="connsiteX124" fmla="*/ 785343 w 3031519"/>
                <a:gd name="connsiteY124" fmla="*/ 646372 h 1160647"/>
                <a:gd name="connsiteX125" fmla="*/ 792436 w 3031519"/>
                <a:gd name="connsiteY125" fmla="*/ 646372 h 1160647"/>
                <a:gd name="connsiteX126" fmla="*/ 792436 w 3031519"/>
                <a:gd name="connsiteY126" fmla="*/ 647993 h 1160647"/>
                <a:gd name="connsiteX127" fmla="*/ 792436 w 3031519"/>
                <a:gd name="connsiteY127" fmla="*/ 659342 h 1160647"/>
                <a:gd name="connsiteX128" fmla="*/ 794463 w 3031519"/>
                <a:gd name="connsiteY128" fmla="*/ 659342 h 1160647"/>
                <a:gd name="connsiteX129" fmla="*/ 808650 w 3031519"/>
                <a:gd name="connsiteY129" fmla="*/ 659342 h 1160647"/>
                <a:gd name="connsiteX130" fmla="*/ 814730 w 3031519"/>
                <a:gd name="connsiteY130" fmla="*/ 665828 h 1160647"/>
                <a:gd name="connsiteX131" fmla="*/ 814730 w 3031519"/>
                <a:gd name="connsiteY131" fmla="*/ 687446 h 1160647"/>
                <a:gd name="connsiteX132" fmla="*/ 817010 w 3031519"/>
                <a:gd name="connsiteY132" fmla="*/ 687446 h 1160647"/>
                <a:gd name="connsiteX133" fmla="*/ 832970 w 3031519"/>
                <a:gd name="connsiteY133" fmla="*/ 687446 h 1160647"/>
                <a:gd name="connsiteX134" fmla="*/ 832970 w 3031519"/>
                <a:gd name="connsiteY134" fmla="*/ 688526 h 1160647"/>
                <a:gd name="connsiteX135" fmla="*/ 832970 w 3031519"/>
                <a:gd name="connsiteY135" fmla="*/ 696093 h 1160647"/>
                <a:gd name="connsiteX136" fmla="*/ 834237 w 3031519"/>
                <a:gd name="connsiteY136" fmla="*/ 696093 h 1160647"/>
                <a:gd name="connsiteX137" fmla="*/ 843104 w 3031519"/>
                <a:gd name="connsiteY137" fmla="*/ 696093 h 1160647"/>
                <a:gd name="connsiteX138" fmla="*/ 843104 w 3031519"/>
                <a:gd name="connsiteY138" fmla="*/ 698254 h 1160647"/>
                <a:gd name="connsiteX139" fmla="*/ 843104 w 3031519"/>
                <a:gd name="connsiteY139" fmla="*/ 713387 h 1160647"/>
                <a:gd name="connsiteX140" fmla="*/ 847157 w 3031519"/>
                <a:gd name="connsiteY140" fmla="*/ 711495 h 1160647"/>
                <a:gd name="connsiteX141" fmla="*/ 847157 w 3031519"/>
                <a:gd name="connsiteY141" fmla="*/ 698254 h 1160647"/>
                <a:gd name="connsiteX142" fmla="*/ 848170 w 3031519"/>
                <a:gd name="connsiteY142" fmla="*/ 698254 h 1160647"/>
                <a:gd name="connsiteX143" fmla="*/ 855264 w 3031519"/>
                <a:gd name="connsiteY143" fmla="*/ 698254 h 1160647"/>
                <a:gd name="connsiteX144" fmla="*/ 855264 w 3031519"/>
                <a:gd name="connsiteY144" fmla="*/ 699876 h 1160647"/>
                <a:gd name="connsiteX145" fmla="*/ 855264 w 3031519"/>
                <a:gd name="connsiteY145" fmla="*/ 711225 h 1160647"/>
                <a:gd name="connsiteX146" fmla="*/ 856024 w 3031519"/>
                <a:gd name="connsiteY146" fmla="*/ 711225 h 1160647"/>
                <a:gd name="connsiteX147" fmla="*/ 861344 w 3031519"/>
                <a:gd name="connsiteY147" fmla="*/ 711225 h 1160647"/>
                <a:gd name="connsiteX148" fmla="*/ 909984 w 3031519"/>
                <a:gd name="connsiteY148" fmla="*/ 706902 h 1160647"/>
                <a:gd name="connsiteX149" fmla="*/ 909984 w 3031519"/>
                <a:gd name="connsiteY149" fmla="*/ 708253 h 1160647"/>
                <a:gd name="connsiteX150" fmla="*/ 909984 w 3031519"/>
                <a:gd name="connsiteY150" fmla="*/ 717710 h 1160647"/>
                <a:gd name="connsiteX151" fmla="*/ 910744 w 3031519"/>
                <a:gd name="connsiteY151" fmla="*/ 717710 h 1160647"/>
                <a:gd name="connsiteX152" fmla="*/ 916065 w 3031519"/>
                <a:gd name="connsiteY152" fmla="*/ 717710 h 1160647"/>
                <a:gd name="connsiteX153" fmla="*/ 916065 w 3031519"/>
                <a:gd name="connsiteY153" fmla="*/ 719872 h 1160647"/>
                <a:gd name="connsiteX154" fmla="*/ 916065 w 3031519"/>
                <a:gd name="connsiteY154" fmla="*/ 735005 h 1160647"/>
                <a:gd name="connsiteX155" fmla="*/ 918091 w 3031519"/>
                <a:gd name="connsiteY155" fmla="*/ 733654 h 1160647"/>
                <a:gd name="connsiteX156" fmla="*/ 932278 w 3031519"/>
                <a:gd name="connsiteY156" fmla="*/ 724196 h 1160647"/>
                <a:gd name="connsiteX157" fmla="*/ 938358 w 3031519"/>
                <a:gd name="connsiteY157" fmla="*/ 683122 h 1160647"/>
                <a:gd name="connsiteX158" fmla="*/ 939118 w 3031519"/>
                <a:gd name="connsiteY158" fmla="*/ 682852 h 1160647"/>
                <a:gd name="connsiteX159" fmla="*/ 944438 w 3031519"/>
                <a:gd name="connsiteY159" fmla="*/ 680960 h 1160647"/>
                <a:gd name="connsiteX160" fmla="*/ 946465 w 3031519"/>
                <a:gd name="connsiteY160" fmla="*/ 611783 h 1160647"/>
                <a:gd name="connsiteX161" fmla="*/ 948492 w 3031519"/>
                <a:gd name="connsiteY161" fmla="*/ 680960 h 1160647"/>
                <a:gd name="connsiteX162" fmla="*/ 949252 w 3031519"/>
                <a:gd name="connsiteY162" fmla="*/ 681230 h 1160647"/>
                <a:gd name="connsiteX163" fmla="*/ 954572 w 3031519"/>
                <a:gd name="connsiteY163" fmla="*/ 683122 h 1160647"/>
                <a:gd name="connsiteX164" fmla="*/ 954572 w 3031519"/>
                <a:gd name="connsiteY164" fmla="*/ 596651 h 1160647"/>
                <a:gd name="connsiteX165" fmla="*/ 958625 w 3031519"/>
                <a:gd name="connsiteY165" fmla="*/ 564224 h 1160647"/>
                <a:gd name="connsiteX166" fmla="*/ 997132 w 3031519"/>
                <a:gd name="connsiteY166" fmla="*/ 564224 h 1160647"/>
                <a:gd name="connsiteX167" fmla="*/ 997132 w 3031519"/>
                <a:gd name="connsiteY167" fmla="*/ 596651 h 1160647"/>
                <a:gd name="connsiteX168" fmla="*/ 997892 w 3031519"/>
                <a:gd name="connsiteY168" fmla="*/ 596651 h 1160647"/>
                <a:gd name="connsiteX169" fmla="*/ 1003212 w 3031519"/>
                <a:gd name="connsiteY169" fmla="*/ 596651 h 1160647"/>
                <a:gd name="connsiteX170" fmla="*/ 1003212 w 3031519"/>
                <a:gd name="connsiteY170" fmla="*/ 514503 h 1160647"/>
                <a:gd name="connsiteX171" fmla="*/ 1004986 w 3031519"/>
                <a:gd name="connsiteY171" fmla="*/ 514503 h 1160647"/>
                <a:gd name="connsiteX172" fmla="*/ 1017399 w 3031519"/>
                <a:gd name="connsiteY172" fmla="*/ 514503 h 1160647"/>
                <a:gd name="connsiteX173" fmla="*/ 1017399 w 3031519"/>
                <a:gd name="connsiteY173" fmla="*/ 512612 h 1160647"/>
                <a:gd name="connsiteX174" fmla="*/ 1017399 w 3031519"/>
                <a:gd name="connsiteY174" fmla="*/ 499371 h 1160647"/>
                <a:gd name="connsiteX175" fmla="*/ 1039693 w 3031519"/>
                <a:gd name="connsiteY175" fmla="*/ 499371 h 1160647"/>
                <a:gd name="connsiteX176" fmla="*/ 1039693 w 3031519"/>
                <a:gd name="connsiteY176" fmla="*/ 498290 h 1160647"/>
                <a:gd name="connsiteX177" fmla="*/ 1039693 w 3031519"/>
                <a:gd name="connsiteY177" fmla="*/ 490724 h 1160647"/>
                <a:gd name="connsiteX178" fmla="*/ 1041466 w 3031519"/>
                <a:gd name="connsiteY178" fmla="*/ 490724 h 1160647"/>
                <a:gd name="connsiteX179" fmla="*/ 1053880 w 3031519"/>
                <a:gd name="connsiteY179" fmla="*/ 490724 h 1160647"/>
                <a:gd name="connsiteX180" fmla="*/ 1053880 w 3031519"/>
                <a:gd name="connsiteY180" fmla="*/ 491805 h 1160647"/>
                <a:gd name="connsiteX181" fmla="*/ 1053880 w 3031519"/>
                <a:gd name="connsiteY181" fmla="*/ 499371 h 1160647"/>
                <a:gd name="connsiteX182" fmla="*/ 1054640 w 3031519"/>
                <a:gd name="connsiteY182" fmla="*/ 499371 h 1160647"/>
                <a:gd name="connsiteX183" fmla="*/ 1059960 w 3031519"/>
                <a:gd name="connsiteY183" fmla="*/ 499371 h 1160647"/>
                <a:gd name="connsiteX184" fmla="*/ 1070093 w 3031519"/>
                <a:gd name="connsiteY184" fmla="*/ 495047 h 1160647"/>
                <a:gd name="connsiteX185" fmla="*/ 1074146 w 3031519"/>
                <a:gd name="connsiteY185" fmla="*/ 498290 h 1160647"/>
                <a:gd name="connsiteX186" fmla="*/ 1074146 w 3031519"/>
                <a:gd name="connsiteY186" fmla="*/ 490724 h 1160647"/>
                <a:gd name="connsiteX187" fmla="*/ 1076426 w 3031519"/>
                <a:gd name="connsiteY187" fmla="*/ 490724 h 1160647"/>
                <a:gd name="connsiteX188" fmla="*/ 1092387 w 3031519"/>
                <a:gd name="connsiteY188" fmla="*/ 490724 h 1160647"/>
                <a:gd name="connsiteX189" fmla="*/ 1092387 w 3031519"/>
                <a:gd name="connsiteY189" fmla="*/ 491805 h 1160647"/>
                <a:gd name="connsiteX190" fmla="*/ 1092387 w 3031519"/>
                <a:gd name="connsiteY190" fmla="*/ 499371 h 1160647"/>
                <a:gd name="connsiteX191" fmla="*/ 1122787 w 3031519"/>
                <a:gd name="connsiteY191" fmla="*/ 499371 h 1160647"/>
                <a:gd name="connsiteX192" fmla="*/ 1122787 w 3031519"/>
                <a:gd name="connsiteY192" fmla="*/ 500992 h 1160647"/>
                <a:gd name="connsiteX193" fmla="*/ 1122787 w 3031519"/>
                <a:gd name="connsiteY193" fmla="*/ 512342 h 1160647"/>
                <a:gd name="connsiteX194" fmla="*/ 1149134 w 3031519"/>
                <a:gd name="connsiteY194" fmla="*/ 512342 h 1160647"/>
                <a:gd name="connsiteX195" fmla="*/ 1149134 w 3031519"/>
                <a:gd name="connsiteY195" fmla="*/ 542606 h 1160647"/>
                <a:gd name="connsiteX196" fmla="*/ 1149894 w 3031519"/>
                <a:gd name="connsiteY196" fmla="*/ 542606 h 1160647"/>
                <a:gd name="connsiteX197" fmla="*/ 1155214 w 3031519"/>
                <a:gd name="connsiteY197" fmla="*/ 542606 h 1160647"/>
                <a:gd name="connsiteX198" fmla="*/ 1155214 w 3031519"/>
                <a:gd name="connsiteY198" fmla="*/ 543687 h 1160647"/>
                <a:gd name="connsiteX199" fmla="*/ 1155214 w 3031519"/>
                <a:gd name="connsiteY199" fmla="*/ 551254 h 1160647"/>
                <a:gd name="connsiteX200" fmla="*/ 1159268 w 3031519"/>
                <a:gd name="connsiteY200" fmla="*/ 581518 h 1160647"/>
                <a:gd name="connsiteX201" fmla="*/ 1160028 w 3031519"/>
                <a:gd name="connsiteY201" fmla="*/ 581518 h 1160647"/>
                <a:gd name="connsiteX202" fmla="*/ 1165348 w 3031519"/>
                <a:gd name="connsiteY202" fmla="*/ 581518 h 1160647"/>
                <a:gd name="connsiteX203" fmla="*/ 1165348 w 3031519"/>
                <a:gd name="connsiteY203" fmla="*/ 582329 h 1160647"/>
                <a:gd name="connsiteX204" fmla="*/ 1165348 w 3031519"/>
                <a:gd name="connsiteY204" fmla="*/ 588004 h 1160647"/>
                <a:gd name="connsiteX205" fmla="*/ 1166361 w 3031519"/>
                <a:gd name="connsiteY205" fmla="*/ 588004 h 1160647"/>
                <a:gd name="connsiteX206" fmla="*/ 1173454 w 3031519"/>
                <a:gd name="connsiteY206" fmla="*/ 588004 h 1160647"/>
                <a:gd name="connsiteX207" fmla="*/ 1173454 w 3031519"/>
                <a:gd name="connsiteY207" fmla="*/ 618269 h 1160647"/>
                <a:gd name="connsiteX208" fmla="*/ 1175481 w 3031519"/>
                <a:gd name="connsiteY208" fmla="*/ 618269 h 1160647"/>
                <a:gd name="connsiteX209" fmla="*/ 1189668 w 3031519"/>
                <a:gd name="connsiteY209" fmla="*/ 618269 h 1160647"/>
                <a:gd name="connsiteX210" fmla="*/ 1189668 w 3031519"/>
                <a:gd name="connsiteY210" fmla="*/ 642048 h 1160647"/>
                <a:gd name="connsiteX211" fmla="*/ 1191695 w 3031519"/>
                <a:gd name="connsiteY211" fmla="*/ 643669 h 1160647"/>
                <a:gd name="connsiteX212" fmla="*/ 1191695 w 3031519"/>
                <a:gd name="connsiteY212" fmla="*/ 655019 h 1160647"/>
                <a:gd name="connsiteX213" fmla="*/ 1192455 w 3031519"/>
                <a:gd name="connsiteY213" fmla="*/ 655019 h 1160647"/>
                <a:gd name="connsiteX214" fmla="*/ 1197775 w 3031519"/>
                <a:gd name="connsiteY214" fmla="*/ 655019 h 1160647"/>
                <a:gd name="connsiteX215" fmla="*/ 1197775 w 3031519"/>
                <a:gd name="connsiteY215" fmla="*/ 678798 h 1160647"/>
                <a:gd name="connsiteX216" fmla="*/ 1199041 w 3031519"/>
                <a:gd name="connsiteY216" fmla="*/ 678798 h 1160647"/>
                <a:gd name="connsiteX217" fmla="*/ 1207908 w 3031519"/>
                <a:gd name="connsiteY217" fmla="*/ 678798 h 1160647"/>
                <a:gd name="connsiteX218" fmla="*/ 1209935 w 3031519"/>
                <a:gd name="connsiteY218" fmla="*/ 682852 h 1160647"/>
                <a:gd name="connsiteX219" fmla="*/ 1209935 w 3031519"/>
                <a:gd name="connsiteY219" fmla="*/ 696093 h 1160647"/>
                <a:gd name="connsiteX220" fmla="*/ 1211455 w 3031519"/>
                <a:gd name="connsiteY220" fmla="*/ 694201 h 1160647"/>
                <a:gd name="connsiteX221" fmla="*/ 1222095 w 3031519"/>
                <a:gd name="connsiteY221" fmla="*/ 680960 h 1160647"/>
                <a:gd name="connsiteX222" fmla="*/ 1250469 w 3031519"/>
                <a:gd name="connsiteY222" fmla="*/ 680960 h 1160647"/>
                <a:gd name="connsiteX223" fmla="*/ 1250469 w 3031519"/>
                <a:gd name="connsiteY223" fmla="*/ 767431 h 1160647"/>
                <a:gd name="connsiteX224" fmla="*/ 1251229 w 3031519"/>
                <a:gd name="connsiteY224" fmla="*/ 767431 h 1160647"/>
                <a:gd name="connsiteX225" fmla="*/ 1256549 w 3031519"/>
                <a:gd name="connsiteY225" fmla="*/ 767431 h 1160647"/>
                <a:gd name="connsiteX226" fmla="*/ 1257309 w 3031519"/>
                <a:gd name="connsiteY226" fmla="*/ 766080 h 1160647"/>
                <a:gd name="connsiteX227" fmla="*/ 1262629 w 3031519"/>
                <a:gd name="connsiteY227" fmla="*/ 756622 h 1160647"/>
                <a:gd name="connsiteX228" fmla="*/ 1262629 w 3031519"/>
                <a:gd name="connsiteY228" fmla="*/ 758514 h 1160647"/>
                <a:gd name="connsiteX229" fmla="*/ 1262629 w 3031519"/>
                <a:gd name="connsiteY229" fmla="*/ 771755 h 1160647"/>
                <a:gd name="connsiteX230" fmla="*/ 1266682 w 3031519"/>
                <a:gd name="connsiteY230" fmla="*/ 726358 h 1160647"/>
                <a:gd name="connsiteX231" fmla="*/ 1267442 w 3031519"/>
                <a:gd name="connsiteY231" fmla="*/ 726358 h 1160647"/>
                <a:gd name="connsiteX232" fmla="*/ 1272762 w 3031519"/>
                <a:gd name="connsiteY232" fmla="*/ 726358 h 1160647"/>
                <a:gd name="connsiteX233" fmla="*/ 1272762 w 3031519"/>
                <a:gd name="connsiteY233" fmla="*/ 661504 h 1160647"/>
                <a:gd name="connsiteX234" fmla="*/ 1273776 w 3031519"/>
                <a:gd name="connsiteY234" fmla="*/ 661504 h 1160647"/>
                <a:gd name="connsiteX235" fmla="*/ 1280869 w 3031519"/>
                <a:gd name="connsiteY235" fmla="*/ 661504 h 1160647"/>
                <a:gd name="connsiteX236" fmla="*/ 1293029 w 3031519"/>
                <a:gd name="connsiteY236" fmla="*/ 618269 h 1160647"/>
                <a:gd name="connsiteX237" fmla="*/ 1294296 w 3031519"/>
                <a:gd name="connsiteY237" fmla="*/ 618269 h 1160647"/>
                <a:gd name="connsiteX238" fmla="*/ 1303163 w 3031519"/>
                <a:gd name="connsiteY238" fmla="*/ 618269 h 1160647"/>
                <a:gd name="connsiteX239" fmla="*/ 1313296 w 3031519"/>
                <a:gd name="connsiteY239" fmla="*/ 661504 h 1160647"/>
                <a:gd name="connsiteX240" fmla="*/ 1314309 w 3031519"/>
                <a:gd name="connsiteY240" fmla="*/ 661504 h 1160647"/>
                <a:gd name="connsiteX241" fmla="*/ 1321403 w 3031519"/>
                <a:gd name="connsiteY241" fmla="*/ 661504 h 1160647"/>
                <a:gd name="connsiteX242" fmla="*/ 1321403 w 3031519"/>
                <a:gd name="connsiteY242" fmla="*/ 700416 h 1160647"/>
                <a:gd name="connsiteX243" fmla="*/ 1323176 w 3031519"/>
                <a:gd name="connsiteY243" fmla="*/ 700416 h 1160647"/>
                <a:gd name="connsiteX244" fmla="*/ 1335590 w 3031519"/>
                <a:gd name="connsiteY244" fmla="*/ 700416 h 1160647"/>
                <a:gd name="connsiteX245" fmla="*/ 1335590 w 3031519"/>
                <a:gd name="connsiteY245" fmla="*/ 702578 h 1160647"/>
                <a:gd name="connsiteX246" fmla="*/ 1335590 w 3031519"/>
                <a:gd name="connsiteY246" fmla="*/ 717710 h 1160647"/>
                <a:gd name="connsiteX247" fmla="*/ 1339643 w 3031519"/>
                <a:gd name="connsiteY247" fmla="*/ 715549 h 1160647"/>
                <a:gd name="connsiteX248" fmla="*/ 1339643 w 3031519"/>
                <a:gd name="connsiteY248" fmla="*/ 700416 h 1160647"/>
                <a:gd name="connsiteX249" fmla="*/ 1341163 w 3031519"/>
                <a:gd name="connsiteY249" fmla="*/ 700416 h 1160647"/>
                <a:gd name="connsiteX250" fmla="*/ 1351803 w 3031519"/>
                <a:gd name="connsiteY250" fmla="*/ 700416 h 1160647"/>
                <a:gd name="connsiteX251" fmla="*/ 1351803 w 3031519"/>
                <a:gd name="connsiteY251" fmla="*/ 702037 h 1160647"/>
                <a:gd name="connsiteX252" fmla="*/ 1351803 w 3031519"/>
                <a:gd name="connsiteY252" fmla="*/ 713387 h 1160647"/>
                <a:gd name="connsiteX253" fmla="*/ 1382204 w 3031519"/>
                <a:gd name="connsiteY253" fmla="*/ 713387 h 1160647"/>
                <a:gd name="connsiteX254" fmla="*/ 1382204 w 3031519"/>
                <a:gd name="connsiteY254" fmla="*/ 676637 h 1160647"/>
                <a:gd name="connsiteX255" fmla="*/ 1383470 w 3031519"/>
                <a:gd name="connsiteY255" fmla="*/ 676637 h 1160647"/>
                <a:gd name="connsiteX256" fmla="*/ 1392337 w 3031519"/>
                <a:gd name="connsiteY256" fmla="*/ 676637 h 1160647"/>
                <a:gd name="connsiteX257" fmla="*/ 1392337 w 3031519"/>
                <a:gd name="connsiteY257" fmla="*/ 698254 h 1160647"/>
                <a:gd name="connsiteX258" fmla="*/ 1394364 w 3031519"/>
                <a:gd name="connsiteY258" fmla="*/ 665828 h 1160647"/>
                <a:gd name="connsiteX259" fmla="*/ 1416657 w 3031519"/>
                <a:gd name="connsiteY259" fmla="*/ 665828 h 1160647"/>
                <a:gd name="connsiteX260" fmla="*/ 1416657 w 3031519"/>
                <a:gd name="connsiteY260" fmla="*/ 664206 h 1160647"/>
                <a:gd name="connsiteX261" fmla="*/ 1416657 w 3031519"/>
                <a:gd name="connsiteY261" fmla="*/ 652857 h 1160647"/>
                <a:gd name="connsiteX262" fmla="*/ 1417417 w 3031519"/>
                <a:gd name="connsiteY262" fmla="*/ 652857 h 1160647"/>
                <a:gd name="connsiteX263" fmla="*/ 1422737 w 3031519"/>
                <a:gd name="connsiteY263" fmla="*/ 652857 h 1160647"/>
                <a:gd name="connsiteX264" fmla="*/ 1422737 w 3031519"/>
                <a:gd name="connsiteY264" fmla="*/ 650966 h 1160647"/>
                <a:gd name="connsiteX265" fmla="*/ 1422737 w 3031519"/>
                <a:gd name="connsiteY265" fmla="*/ 637725 h 1160647"/>
                <a:gd name="connsiteX266" fmla="*/ 1426791 w 3031519"/>
                <a:gd name="connsiteY266" fmla="*/ 644210 h 1160647"/>
                <a:gd name="connsiteX267" fmla="*/ 1429071 w 3031519"/>
                <a:gd name="connsiteY267" fmla="*/ 644210 h 1160647"/>
                <a:gd name="connsiteX268" fmla="*/ 1445031 w 3031519"/>
                <a:gd name="connsiteY268" fmla="*/ 644210 h 1160647"/>
                <a:gd name="connsiteX269" fmla="*/ 1445031 w 3031519"/>
                <a:gd name="connsiteY269" fmla="*/ 643399 h 1160647"/>
                <a:gd name="connsiteX270" fmla="*/ 1445031 w 3031519"/>
                <a:gd name="connsiteY270" fmla="*/ 637725 h 1160647"/>
                <a:gd name="connsiteX271" fmla="*/ 1445791 w 3031519"/>
                <a:gd name="connsiteY271" fmla="*/ 637725 h 1160647"/>
                <a:gd name="connsiteX272" fmla="*/ 1451111 w 3031519"/>
                <a:gd name="connsiteY272" fmla="*/ 637725 h 1160647"/>
                <a:gd name="connsiteX273" fmla="*/ 1451111 w 3031519"/>
                <a:gd name="connsiteY273" fmla="*/ 639076 h 1160647"/>
                <a:gd name="connsiteX274" fmla="*/ 1451111 w 3031519"/>
                <a:gd name="connsiteY274" fmla="*/ 648534 h 1160647"/>
                <a:gd name="connsiteX275" fmla="*/ 1489618 w 3031519"/>
                <a:gd name="connsiteY275" fmla="*/ 648534 h 1160647"/>
                <a:gd name="connsiteX276" fmla="*/ 1489618 w 3031519"/>
                <a:gd name="connsiteY276" fmla="*/ 786887 h 1160647"/>
                <a:gd name="connsiteX277" fmla="*/ 1491138 w 3031519"/>
                <a:gd name="connsiteY277" fmla="*/ 786887 h 1160647"/>
                <a:gd name="connsiteX278" fmla="*/ 1501778 w 3031519"/>
                <a:gd name="connsiteY278" fmla="*/ 786887 h 1160647"/>
                <a:gd name="connsiteX279" fmla="*/ 1501778 w 3031519"/>
                <a:gd name="connsiteY279" fmla="*/ 773917 h 1160647"/>
                <a:gd name="connsiteX280" fmla="*/ 1505832 w 3031519"/>
                <a:gd name="connsiteY280" fmla="*/ 773917 h 1160647"/>
                <a:gd name="connsiteX281" fmla="*/ 1505832 w 3031519"/>
                <a:gd name="connsiteY281" fmla="*/ 786887 h 1160647"/>
                <a:gd name="connsiteX282" fmla="*/ 1536232 w 3031519"/>
                <a:gd name="connsiteY282" fmla="*/ 786887 h 1160647"/>
                <a:gd name="connsiteX283" fmla="*/ 1536232 w 3031519"/>
                <a:gd name="connsiteY283" fmla="*/ 756622 h 1160647"/>
                <a:gd name="connsiteX284" fmla="*/ 1548392 w 3031519"/>
                <a:gd name="connsiteY284" fmla="*/ 756622 h 1160647"/>
                <a:gd name="connsiteX285" fmla="*/ 1560552 w 3031519"/>
                <a:gd name="connsiteY285" fmla="*/ 754461 h 1160647"/>
                <a:gd name="connsiteX286" fmla="*/ 1564606 w 3031519"/>
                <a:gd name="connsiteY286" fmla="*/ 756622 h 1160647"/>
                <a:gd name="connsiteX287" fmla="*/ 1574739 w 3031519"/>
                <a:gd name="connsiteY287" fmla="*/ 756622 h 1160647"/>
                <a:gd name="connsiteX288" fmla="*/ 1574739 w 3031519"/>
                <a:gd name="connsiteY288" fmla="*/ 786887 h 1160647"/>
                <a:gd name="connsiteX289" fmla="*/ 1582846 w 3031519"/>
                <a:gd name="connsiteY289" fmla="*/ 786887 h 1160647"/>
                <a:gd name="connsiteX290" fmla="*/ 1582846 w 3031519"/>
                <a:gd name="connsiteY290" fmla="*/ 804182 h 1160647"/>
                <a:gd name="connsiteX291" fmla="*/ 1592182 w 3031519"/>
                <a:gd name="connsiteY291" fmla="*/ 805087 h 1160647"/>
                <a:gd name="connsiteX292" fmla="*/ 1605140 w 3031519"/>
                <a:gd name="connsiteY292" fmla="*/ 805087 h 1160647"/>
                <a:gd name="connsiteX293" fmla="*/ 1605140 w 3031519"/>
                <a:gd name="connsiteY293" fmla="*/ 789049 h 1160647"/>
                <a:gd name="connsiteX294" fmla="*/ 1673096 w 3031519"/>
                <a:gd name="connsiteY294" fmla="*/ 789049 h 1160647"/>
                <a:gd name="connsiteX295" fmla="*/ 1673096 w 3031519"/>
                <a:gd name="connsiteY295" fmla="*/ 703796 h 1160647"/>
                <a:gd name="connsiteX296" fmla="*/ 1745104 w 3031519"/>
                <a:gd name="connsiteY296" fmla="*/ 703796 h 1160647"/>
                <a:gd name="connsiteX297" fmla="*/ 1745104 w 3031519"/>
                <a:gd name="connsiteY297" fmla="*/ 782564 h 1160647"/>
                <a:gd name="connsiteX298" fmla="*/ 1747008 w 3031519"/>
                <a:gd name="connsiteY298" fmla="*/ 782564 h 1160647"/>
                <a:gd name="connsiteX299" fmla="*/ 1748250 w 3031519"/>
                <a:gd name="connsiteY299" fmla="*/ 805087 h 1160647"/>
                <a:gd name="connsiteX300" fmla="*/ 1757926 w 3031519"/>
                <a:gd name="connsiteY300" fmla="*/ 805087 h 1160647"/>
                <a:gd name="connsiteX301" fmla="*/ 1759168 w 3031519"/>
                <a:gd name="connsiteY301" fmla="*/ 782564 h 1160647"/>
                <a:gd name="connsiteX302" fmla="*/ 1765248 w 3031519"/>
                <a:gd name="connsiteY302" fmla="*/ 782564 h 1160647"/>
                <a:gd name="connsiteX303" fmla="*/ 1766490 w 3031519"/>
                <a:gd name="connsiteY303" fmla="*/ 805087 h 1160647"/>
                <a:gd name="connsiteX304" fmla="*/ 1817112 w 3031519"/>
                <a:gd name="connsiteY304" fmla="*/ 805087 h 1160647"/>
                <a:gd name="connsiteX305" fmla="*/ 1817112 w 3031519"/>
                <a:gd name="connsiteY305" fmla="*/ 642059 h 1160647"/>
                <a:gd name="connsiteX306" fmla="*/ 2014439 w 3031519"/>
                <a:gd name="connsiteY306" fmla="*/ 642059 h 1160647"/>
                <a:gd name="connsiteX307" fmla="*/ 2014439 w 3031519"/>
                <a:gd name="connsiteY307" fmla="*/ 805087 h 1160647"/>
                <a:gd name="connsiteX308" fmla="*/ 2033136 w 3031519"/>
                <a:gd name="connsiteY308" fmla="*/ 805087 h 1160647"/>
                <a:gd name="connsiteX309" fmla="*/ 2033136 w 3031519"/>
                <a:gd name="connsiteY309" fmla="*/ 722394 h 1160647"/>
                <a:gd name="connsiteX310" fmla="*/ 2128256 w 3031519"/>
                <a:gd name="connsiteY310" fmla="*/ 722394 h 1160647"/>
                <a:gd name="connsiteX311" fmla="*/ 2140186 w 3031519"/>
                <a:gd name="connsiteY311" fmla="*/ 404253 h 1160647"/>
                <a:gd name="connsiteX312" fmla="*/ 2128026 w 3031519"/>
                <a:gd name="connsiteY312" fmla="*/ 382635 h 1160647"/>
                <a:gd name="connsiteX313" fmla="*/ 2121946 w 3031519"/>
                <a:gd name="connsiteY313" fmla="*/ 378311 h 1160647"/>
                <a:gd name="connsiteX314" fmla="*/ 2130053 w 3031519"/>
                <a:gd name="connsiteY314" fmla="*/ 354532 h 1160647"/>
                <a:gd name="connsiteX315" fmla="*/ 2130053 w 3031519"/>
                <a:gd name="connsiteY315" fmla="*/ 337238 h 1160647"/>
                <a:gd name="connsiteX316" fmla="*/ 2144240 w 3031519"/>
                <a:gd name="connsiteY316" fmla="*/ 337238 h 1160647"/>
                <a:gd name="connsiteX317" fmla="*/ 2144240 w 3031519"/>
                <a:gd name="connsiteY317" fmla="*/ 315620 h 1160647"/>
                <a:gd name="connsiteX318" fmla="*/ 2146266 w 3031519"/>
                <a:gd name="connsiteY318" fmla="*/ 311296 h 1160647"/>
                <a:gd name="connsiteX319" fmla="*/ 2146266 w 3031519"/>
                <a:gd name="connsiteY319" fmla="*/ 233472 h 1160647"/>
                <a:gd name="connsiteX320" fmla="*/ 2144240 w 3031519"/>
                <a:gd name="connsiteY320" fmla="*/ 226987 h 1160647"/>
                <a:gd name="connsiteX321" fmla="*/ 2150320 w 3031519"/>
                <a:gd name="connsiteY321" fmla="*/ 220501 h 1160647"/>
                <a:gd name="connsiteX322" fmla="*/ 2150320 w 3031519"/>
                <a:gd name="connsiteY322" fmla="*/ 162133 h 1160647"/>
                <a:gd name="connsiteX323" fmla="*/ 2152346 w 3031519"/>
                <a:gd name="connsiteY323" fmla="*/ 157810 h 1160647"/>
                <a:gd name="connsiteX324" fmla="*/ 2152346 w 3031519"/>
                <a:gd name="connsiteY324" fmla="*/ 101604 h 1160647"/>
                <a:gd name="connsiteX325" fmla="*/ 2154373 w 3031519"/>
                <a:gd name="connsiteY325" fmla="*/ 82148 h 1160647"/>
                <a:gd name="connsiteX326" fmla="*/ 2158427 w 3031519"/>
                <a:gd name="connsiteY326" fmla="*/ 99442 h 1160647"/>
                <a:gd name="connsiteX327" fmla="*/ 2160453 w 3031519"/>
                <a:gd name="connsiteY327" fmla="*/ 157810 h 1160647"/>
                <a:gd name="connsiteX328" fmla="*/ 2162480 w 3031519"/>
                <a:gd name="connsiteY328" fmla="*/ 220501 h 1160647"/>
                <a:gd name="connsiteX329" fmla="*/ 2168560 w 3031519"/>
                <a:gd name="connsiteY329" fmla="*/ 226987 h 1160647"/>
                <a:gd name="connsiteX330" fmla="*/ 2166533 w 3031519"/>
                <a:gd name="connsiteY330" fmla="*/ 233472 h 1160647"/>
                <a:gd name="connsiteX331" fmla="*/ 2166533 w 3031519"/>
                <a:gd name="connsiteY331" fmla="*/ 311296 h 1160647"/>
                <a:gd name="connsiteX332" fmla="*/ 2168560 w 3031519"/>
                <a:gd name="connsiteY332" fmla="*/ 315620 h 1160647"/>
                <a:gd name="connsiteX333" fmla="*/ 2168560 w 3031519"/>
                <a:gd name="connsiteY333" fmla="*/ 337238 h 1160647"/>
                <a:gd name="connsiteX334" fmla="*/ 2182747 w 3031519"/>
                <a:gd name="connsiteY334" fmla="*/ 337238 h 1160647"/>
                <a:gd name="connsiteX335" fmla="*/ 2182747 w 3031519"/>
                <a:gd name="connsiteY335" fmla="*/ 354532 h 1160647"/>
                <a:gd name="connsiteX336" fmla="*/ 2190854 w 3031519"/>
                <a:gd name="connsiteY336" fmla="*/ 378311 h 1160647"/>
                <a:gd name="connsiteX337" fmla="*/ 2184774 w 3031519"/>
                <a:gd name="connsiteY337" fmla="*/ 382635 h 1160647"/>
                <a:gd name="connsiteX338" fmla="*/ 2172613 w 3031519"/>
                <a:gd name="connsiteY338" fmla="*/ 404253 h 1160647"/>
                <a:gd name="connsiteX339" fmla="*/ 2180720 w 3031519"/>
                <a:gd name="connsiteY339" fmla="*/ 657181 h 1160647"/>
                <a:gd name="connsiteX340" fmla="*/ 2245574 w 3031519"/>
                <a:gd name="connsiteY340" fmla="*/ 657181 h 1160647"/>
                <a:gd name="connsiteX341" fmla="*/ 2245574 w 3031519"/>
                <a:gd name="connsiteY341" fmla="*/ 732843 h 1160647"/>
                <a:gd name="connsiteX342" fmla="*/ 2253681 w 3031519"/>
                <a:gd name="connsiteY342" fmla="*/ 732843 h 1160647"/>
                <a:gd name="connsiteX343" fmla="*/ 2255708 w 3031519"/>
                <a:gd name="connsiteY343" fmla="*/ 726358 h 1160647"/>
                <a:gd name="connsiteX344" fmla="*/ 2261788 w 3031519"/>
                <a:gd name="connsiteY344" fmla="*/ 726358 h 1160647"/>
                <a:gd name="connsiteX345" fmla="*/ 2263815 w 3031519"/>
                <a:gd name="connsiteY345" fmla="*/ 735005 h 1160647"/>
                <a:gd name="connsiteX346" fmla="*/ 2275975 w 3031519"/>
                <a:gd name="connsiteY346" fmla="*/ 735005 h 1160647"/>
                <a:gd name="connsiteX347" fmla="*/ 2275975 w 3031519"/>
                <a:gd name="connsiteY347" fmla="*/ 728519 h 1160647"/>
                <a:gd name="connsiteX348" fmla="*/ 2298268 w 3031519"/>
                <a:gd name="connsiteY348" fmla="*/ 728519 h 1160647"/>
                <a:gd name="connsiteX349" fmla="*/ 2298268 w 3031519"/>
                <a:gd name="connsiteY349" fmla="*/ 735005 h 1160647"/>
                <a:gd name="connsiteX350" fmla="*/ 2318535 w 3031519"/>
                <a:gd name="connsiteY350" fmla="*/ 735005 h 1160647"/>
                <a:gd name="connsiteX351" fmla="*/ 2318535 w 3031519"/>
                <a:gd name="connsiteY351" fmla="*/ 780402 h 1160647"/>
                <a:gd name="connsiteX352" fmla="*/ 2332722 w 3031519"/>
                <a:gd name="connsiteY352" fmla="*/ 780402 h 1160647"/>
                <a:gd name="connsiteX353" fmla="*/ 2332722 w 3031519"/>
                <a:gd name="connsiteY353" fmla="*/ 767431 h 1160647"/>
                <a:gd name="connsiteX354" fmla="*/ 2348936 w 3031519"/>
                <a:gd name="connsiteY354" fmla="*/ 767431 h 1160647"/>
                <a:gd name="connsiteX355" fmla="*/ 2348936 w 3031519"/>
                <a:gd name="connsiteY355" fmla="*/ 588004 h 1160647"/>
                <a:gd name="connsiteX356" fmla="*/ 2355016 w 3031519"/>
                <a:gd name="connsiteY356" fmla="*/ 581518 h 1160647"/>
                <a:gd name="connsiteX357" fmla="*/ 2427977 w 3031519"/>
                <a:gd name="connsiteY357" fmla="*/ 581518 h 1160647"/>
                <a:gd name="connsiteX358" fmla="*/ 2427977 w 3031519"/>
                <a:gd name="connsiteY358" fmla="*/ 590166 h 1160647"/>
                <a:gd name="connsiteX359" fmla="*/ 2438110 w 3031519"/>
                <a:gd name="connsiteY359" fmla="*/ 590166 h 1160647"/>
                <a:gd name="connsiteX360" fmla="*/ 2438110 w 3031519"/>
                <a:gd name="connsiteY360" fmla="*/ 704740 h 1160647"/>
                <a:gd name="connsiteX361" fmla="*/ 2460404 w 3031519"/>
                <a:gd name="connsiteY361" fmla="*/ 704740 h 1160647"/>
                <a:gd name="connsiteX362" fmla="*/ 2460404 w 3031519"/>
                <a:gd name="connsiteY362" fmla="*/ 637725 h 1160647"/>
                <a:gd name="connsiteX363" fmla="*/ 2486751 w 3031519"/>
                <a:gd name="connsiteY363" fmla="*/ 637725 h 1160647"/>
                <a:gd name="connsiteX364" fmla="*/ 2490804 w 3031519"/>
                <a:gd name="connsiteY364" fmla="*/ 633401 h 1160647"/>
                <a:gd name="connsiteX365" fmla="*/ 2498911 w 3031519"/>
                <a:gd name="connsiteY365" fmla="*/ 633401 h 1160647"/>
                <a:gd name="connsiteX366" fmla="*/ 2502964 w 3031519"/>
                <a:gd name="connsiteY366" fmla="*/ 637725 h 1160647"/>
                <a:gd name="connsiteX367" fmla="*/ 2525258 w 3031519"/>
                <a:gd name="connsiteY367" fmla="*/ 637725 h 1160647"/>
                <a:gd name="connsiteX368" fmla="*/ 2525258 w 3031519"/>
                <a:gd name="connsiteY368" fmla="*/ 520989 h 1160647"/>
                <a:gd name="connsiteX369" fmla="*/ 2582005 w 3031519"/>
                <a:gd name="connsiteY369" fmla="*/ 510180 h 1160647"/>
                <a:gd name="connsiteX370" fmla="*/ 2582005 w 3031519"/>
                <a:gd name="connsiteY370" fmla="*/ 511261 h 1160647"/>
                <a:gd name="connsiteX371" fmla="*/ 2582005 w 3031519"/>
                <a:gd name="connsiteY371" fmla="*/ 518827 h 1160647"/>
                <a:gd name="connsiteX372" fmla="*/ 2608352 w 3031519"/>
                <a:gd name="connsiteY372" fmla="*/ 518827 h 1160647"/>
                <a:gd name="connsiteX373" fmla="*/ 2608352 w 3031519"/>
                <a:gd name="connsiteY373" fmla="*/ 773917 h 1160647"/>
                <a:gd name="connsiteX374" fmla="*/ 2630646 w 3031519"/>
                <a:gd name="connsiteY374" fmla="*/ 773917 h 1160647"/>
                <a:gd name="connsiteX375" fmla="*/ 2630646 w 3031519"/>
                <a:gd name="connsiteY375" fmla="*/ 769593 h 1160647"/>
                <a:gd name="connsiteX376" fmla="*/ 2642806 w 3031519"/>
                <a:gd name="connsiteY376" fmla="*/ 769593 h 1160647"/>
                <a:gd name="connsiteX377" fmla="*/ 2642806 w 3031519"/>
                <a:gd name="connsiteY377" fmla="*/ 773917 h 1160647"/>
                <a:gd name="connsiteX378" fmla="*/ 2667126 w 3031519"/>
                <a:gd name="connsiteY378" fmla="*/ 773917 h 1160647"/>
                <a:gd name="connsiteX379" fmla="*/ 2667126 w 3031519"/>
                <a:gd name="connsiteY379" fmla="*/ 760946 h 1160647"/>
                <a:gd name="connsiteX380" fmla="*/ 2695500 w 3031519"/>
                <a:gd name="connsiteY380" fmla="*/ 760946 h 1160647"/>
                <a:gd name="connsiteX381" fmla="*/ 2707660 w 3031519"/>
                <a:gd name="connsiteY381" fmla="*/ 756622 h 1160647"/>
                <a:gd name="connsiteX382" fmla="*/ 2727927 w 3031519"/>
                <a:gd name="connsiteY382" fmla="*/ 760946 h 1160647"/>
                <a:gd name="connsiteX383" fmla="*/ 2727927 w 3031519"/>
                <a:gd name="connsiteY383" fmla="*/ 743652 h 1160647"/>
                <a:gd name="connsiteX384" fmla="*/ 2736034 w 3031519"/>
                <a:gd name="connsiteY384" fmla="*/ 743652 h 1160647"/>
                <a:gd name="connsiteX385" fmla="*/ 2736034 w 3031519"/>
                <a:gd name="connsiteY385" fmla="*/ 730681 h 1160647"/>
                <a:gd name="connsiteX386" fmla="*/ 2792781 w 3031519"/>
                <a:gd name="connsiteY386" fmla="*/ 730681 h 1160647"/>
                <a:gd name="connsiteX387" fmla="*/ 2792781 w 3031519"/>
                <a:gd name="connsiteY387" fmla="*/ 700416 h 1160647"/>
                <a:gd name="connsiteX388" fmla="*/ 2811021 w 3031519"/>
                <a:gd name="connsiteY388" fmla="*/ 700416 h 1160647"/>
                <a:gd name="connsiteX389" fmla="*/ 2811021 w 3031519"/>
                <a:gd name="connsiteY389" fmla="*/ 693931 h 1160647"/>
                <a:gd name="connsiteX390" fmla="*/ 2823181 w 3031519"/>
                <a:gd name="connsiteY390" fmla="*/ 693931 h 1160647"/>
                <a:gd name="connsiteX391" fmla="*/ 2823181 w 3031519"/>
                <a:gd name="connsiteY391" fmla="*/ 700416 h 1160647"/>
                <a:gd name="connsiteX392" fmla="*/ 2839395 w 3031519"/>
                <a:gd name="connsiteY392" fmla="*/ 700416 h 1160647"/>
                <a:gd name="connsiteX393" fmla="*/ 2839395 w 3031519"/>
                <a:gd name="connsiteY393" fmla="*/ 750137 h 1160647"/>
                <a:gd name="connsiteX394" fmla="*/ 2871822 w 3031519"/>
                <a:gd name="connsiteY394" fmla="*/ 750137 h 1160647"/>
                <a:gd name="connsiteX395" fmla="*/ 2871822 w 3031519"/>
                <a:gd name="connsiteY395" fmla="*/ 724196 h 1160647"/>
                <a:gd name="connsiteX396" fmla="*/ 2910329 w 3031519"/>
                <a:gd name="connsiteY396" fmla="*/ 724196 h 1160647"/>
                <a:gd name="connsiteX397" fmla="*/ 2910329 w 3031519"/>
                <a:gd name="connsiteY397" fmla="*/ 693931 h 1160647"/>
                <a:gd name="connsiteX398" fmla="*/ 2958970 w 3031519"/>
                <a:gd name="connsiteY398" fmla="*/ 693931 h 1160647"/>
                <a:gd name="connsiteX399" fmla="*/ 2958970 w 3031519"/>
                <a:gd name="connsiteY399" fmla="*/ 805087 h 1160647"/>
                <a:gd name="connsiteX400" fmla="*/ 2958970 w 3031519"/>
                <a:gd name="connsiteY400" fmla="*/ 818866 h 1160647"/>
                <a:gd name="connsiteX401" fmla="*/ 3031519 w 3031519"/>
                <a:gd name="connsiteY401" fmla="*/ 818866 h 1160647"/>
                <a:gd name="connsiteX402" fmla="*/ 3028183 w 3031519"/>
                <a:gd name="connsiteY402" fmla="*/ 1160647 h 1160647"/>
                <a:gd name="connsiteX403" fmla="*/ 2054 w 3031519"/>
                <a:gd name="connsiteY403" fmla="*/ 1158314 h 1160647"/>
                <a:gd name="connsiteX404" fmla="*/ 0 w 3031519"/>
                <a:gd name="connsiteY404" fmla="*/ 724196 h 1160647"/>
                <a:gd name="connsiteX405" fmla="*/ 20267 w 3031519"/>
                <a:gd name="connsiteY405" fmla="*/ 724196 h 1160647"/>
                <a:gd name="connsiteX406" fmla="*/ 20774 w 3031519"/>
                <a:gd name="connsiteY406" fmla="*/ 723115 h 1160647"/>
                <a:gd name="connsiteX407" fmla="*/ 24320 w 3031519"/>
                <a:gd name="connsiteY407" fmla="*/ 715549 h 1160647"/>
                <a:gd name="connsiteX408" fmla="*/ 26094 w 3031519"/>
                <a:gd name="connsiteY408" fmla="*/ 715819 h 1160647"/>
                <a:gd name="connsiteX409" fmla="*/ 38507 w 3031519"/>
                <a:gd name="connsiteY409" fmla="*/ 717710 h 1160647"/>
                <a:gd name="connsiteX410" fmla="*/ 39014 w 3031519"/>
                <a:gd name="connsiteY410" fmla="*/ 719062 h 1160647"/>
                <a:gd name="connsiteX411" fmla="*/ 42560 w 3031519"/>
                <a:gd name="connsiteY411" fmla="*/ 728519 h 1160647"/>
                <a:gd name="connsiteX412" fmla="*/ 68907 w 3031519"/>
                <a:gd name="connsiteY412" fmla="*/ 730681 h 1160647"/>
                <a:gd name="connsiteX413" fmla="*/ 68907 w 3031519"/>
                <a:gd name="connsiteY413" fmla="*/ 607460 h 1160647"/>
                <a:gd name="connsiteX414" fmla="*/ 70934 w 3031519"/>
                <a:gd name="connsiteY414" fmla="*/ 607460 h 1160647"/>
                <a:gd name="connsiteX415" fmla="*/ 85121 w 3031519"/>
                <a:gd name="connsiteY415" fmla="*/ 607460 h 1160647"/>
                <a:gd name="connsiteX416" fmla="*/ 85121 w 3031519"/>
                <a:gd name="connsiteY416" fmla="*/ 471268 h 1160647"/>
                <a:gd name="connsiteX417" fmla="*/ 86894 w 3031519"/>
                <a:gd name="connsiteY417" fmla="*/ 471268 h 1160647"/>
                <a:gd name="connsiteX418" fmla="*/ 99308 w 3031519"/>
                <a:gd name="connsiteY418" fmla="*/ 471268 h 1160647"/>
                <a:gd name="connsiteX419" fmla="*/ 99308 w 3031519"/>
                <a:gd name="connsiteY419" fmla="*/ 356694 h 1160647"/>
                <a:gd name="connsiteX420" fmla="*/ 103361 w 3031519"/>
                <a:gd name="connsiteY420" fmla="*/ 328590 h 1160647"/>
                <a:gd name="connsiteX421" fmla="*/ 105388 w 3031519"/>
                <a:gd name="connsiteY421" fmla="*/ 328590 h 1160647"/>
                <a:gd name="connsiteX422" fmla="*/ 119575 w 3031519"/>
                <a:gd name="connsiteY422" fmla="*/ 328590 h 1160647"/>
                <a:gd name="connsiteX423" fmla="*/ 156055 w 3031519"/>
                <a:gd name="connsiteY423" fmla="*/ 246443 h 1160647"/>
                <a:gd name="connsiteX424" fmla="*/ 160109 w 3031519"/>
                <a:gd name="connsiteY424" fmla="*/ 0 h 1160647"/>
                <a:gd name="connsiteX0" fmla="*/ 160109 w 3031520"/>
                <a:gd name="connsiteY0" fmla="*/ 0 h 1160647"/>
                <a:gd name="connsiteX1" fmla="*/ 162135 w 3031520"/>
                <a:gd name="connsiteY1" fmla="*/ 246443 h 1160647"/>
                <a:gd name="connsiteX2" fmla="*/ 200642 w 3031520"/>
                <a:gd name="connsiteY2" fmla="*/ 326429 h 1160647"/>
                <a:gd name="connsiteX3" fmla="*/ 202669 w 3031520"/>
                <a:gd name="connsiteY3" fmla="*/ 326429 h 1160647"/>
                <a:gd name="connsiteX4" fmla="*/ 216856 w 3031520"/>
                <a:gd name="connsiteY4" fmla="*/ 326429 h 1160647"/>
                <a:gd name="connsiteX5" fmla="*/ 216856 w 3031520"/>
                <a:gd name="connsiteY5" fmla="*/ 350208 h 1160647"/>
                <a:gd name="connsiteX6" fmla="*/ 217363 w 3031520"/>
                <a:gd name="connsiteY6" fmla="*/ 351019 h 1160647"/>
                <a:gd name="connsiteX7" fmla="*/ 220909 w 3031520"/>
                <a:gd name="connsiteY7" fmla="*/ 356694 h 1160647"/>
                <a:gd name="connsiteX8" fmla="*/ 220909 w 3031520"/>
                <a:gd name="connsiteY8" fmla="*/ 471268 h 1160647"/>
                <a:gd name="connsiteX9" fmla="*/ 223189 w 3031520"/>
                <a:gd name="connsiteY9" fmla="*/ 471268 h 1160647"/>
                <a:gd name="connsiteX10" fmla="*/ 239150 w 3031520"/>
                <a:gd name="connsiteY10" fmla="*/ 471268 h 1160647"/>
                <a:gd name="connsiteX11" fmla="*/ 239150 w 3031520"/>
                <a:gd name="connsiteY11" fmla="*/ 611783 h 1160647"/>
                <a:gd name="connsiteX12" fmla="*/ 240670 w 3031520"/>
                <a:gd name="connsiteY12" fmla="*/ 611513 h 1160647"/>
                <a:gd name="connsiteX13" fmla="*/ 251310 w 3031520"/>
                <a:gd name="connsiteY13" fmla="*/ 609622 h 1160647"/>
                <a:gd name="connsiteX14" fmla="*/ 249283 w 3031520"/>
                <a:gd name="connsiteY14" fmla="*/ 698254 h 1160647"/>
                <a:gd name="connsiteX15" fmla="*/ 250803 w 3031520"/>
                <a:gd name="connsiteY15" fmla="*/ 698525 h 1160647"/>
                <a:gd name="connsiteX16" fmla="*/ 261443 w 3031520"/>
                <a:gd name="connsiteY16" fmla="*/ 700416 h 1160647"/>
                <a:gd name="connsiteX17" fmla="*/ 261696 w 3031520"/>
                <a:gd name="connsiteY17" fmla="*/ 701227 h 1160647"/>
                <a:gd name="connsiteX18" fmla="*/ 263470 w 3031520"/>
                <a:gd name="connsiteY18" fmla="*/ 706902 h 1160647"/>
                <a:gd name="connsiteX19" fmla="*/ 264230 w 3031520"/>
                <a:gd name="connsiteY19" fmla="*/ 704470 h 1160647"/>
                <a:gd name="connsiteX20" fmla="*/ 269550 w 3031520"/>
                <a:gd name="connsiteY20" fmla="*/ 687446 h 1160647"/>
                <a:gd name="connsiteX21" fmla="*/ 271323 w 3031520"/>
                <a:gd name="connsiteY21" fmla="*/ 687446 h 1160647"/>
                <a:gd name="connsiteX22" fmla="*/ 283737 w 3031520"/>
                <a:gd name="connsiteY22" fmla="*/ 687446 h 1160647"/>
                <a:gd name="connsiteX23" fmla="*/ 283737 w 3031520"/>
                <a:gd name="connsiteY23" fmla="*/ 719872 h 1160647"/>
                <a:gd name="connsiteX24" fmla="*/ 284750 w 3031520"/>
                <a:gd name="connsiteY24" fmla="*/ 720413 h 1160647"/>
                <a:gd name="connsiteX25" fmla="*/ 291844 w 3031520"/>
                <a:gd name="connsiteY25" fmla="*/ 724196 h 1160647"/>
                <a:gd name="connsiteX26" fmla="*/ 291844 w 3031520"/>
                <a:gd name="connsiteY26" fmla="*/ 725547 h 1160647"/>
                <a:gd name="connsiteX27" fmla="*/ 291844 w 3031520"/>
                <a:gd name="connsiteY27" fmla="*/ 735005 h 1160647"/>
                <a:gd name="connsiteX28" fmla="*/ 336431 w 3031520"/>
                <a:gd name="connsiteY28" fmla="*/ 735005 h 1160647"/>
                <a:gd name="connsiteX29" fmla="*/ 336431 w 3031520"/>
                <a:gd name="connsiteY29" fmla="*/ 736086 h 1160647"/>
                <a:gd name="connsiteX30" fmla="*/ 336431 w 3031520"/>
                <a:gd name="connsiteY30" fmla="*/ 743652 h 1160647"/>
                <a:gd name="connsiteX31" fmla="*/ 338457 w 3031520"/>
                <a:gd name="connsiteY31" fmla="*/ 743652 h 1160647"/>
                <a:gd name="connsiteX32" fmla="*/ 352644 w 3031520"/>
                <a:gd name="connsiteY32" fmla="*/ 743652 h 1160647"/>
                <a:gd name="connsiteX33" fmla="*/ 352644 w 3031520"/>
                <a:gd name="connsiteY33" fmla="*/ 713387 h 1160647"/>
                <a:gd name="connsiteX34" fmla="*/ 397231 w 3031520"/>
                <a:gd name="connsiteY34" fmla="*/ 713387 h 1160647"/>
                <a:gd name="connsiteX35" fmla="*/ 397231 w 3031520"/>
                <a:gd name="connsiteY35" fmla="*/ 712036 h 1160647"/>
                <a:gd name="connsiteX36" fmla="*/ 397231 w 3031520"/>
                <a:gd name="connsiteY36" fmla="*/ 702578 h 1160647"/>
                <a:gd name="connsiteX37" fmla="*/ 398245 w 3031520"/>
                <a:gd name="connsiteY37" fmla="*/ 702578 h 1160647"/>
                <a:gd name="connsiteX38" fmla="*/ 405338 w 3031520"/>
                <a:gd name="connsiteY38" fmla="*/ 702578 h 1160647"/>
                <a:gd name="connsiteX39" fmla="*/ 405338 w 3031520"/>
                <a:gd name="connsiteY39" fmla="*/ 700687 h 1160647"/>
                <a:gd name="connsiteX40" fmla="*/ 405338 w 3031520"/>
                <a:gd name="connsiteY40" fmla="*/ 687446 h 1160647"/>
                <a:gd name="connsiteX41" fmla="*/ 406098 w 3031520"/>
                <a:gd name="connsiteY41" fmla="*/ 687446 h 1160647"/>
                <a:gd name="connsiteX42" fmla="*/ 411418 w 3031520"/>
                <a:gd name="connsiteY42" fmla="*/ 687446 h 1160647"/>
                <a:gd name="connsiteX43" fmla="*/ 411418 w 3031520"/>
                <a:gd name="connsiteY43" fmla="*/ 686365 h 1160647"/>
                <a:gd name="connsiteX44" fmla="*/ 411418 w 3031520"/>
                <a:gd name="connsiteY44" fmla="*/ 678798 h 1160647"/>
                <a:gd name="connsiteX45" fmla="*/ 413445 w 3031520"/>
                <a:gd name="connsiteY45" fmla="*/ 678798 h 1160647"/>
                <a:gd name="connsiteX46" fmla="*/ 427632 w 3031520"/>
                <a:gd name="connsiteY46" fmla="*/ 678798 h 1160647"/>
                <a:gd name="connsiteX47" fmla="*/ 427632 w 3031520"/>
                <a:gd name="connsiteY47" fmla="*/ 679879 h 1160647"/>
                <a:gd name="connsiteX48" fmla="*/ 427632 w 3031520"/>
                <a:gd name="connsiteY48" fmla="*/ 687446 h 1160647"/>
                <a:gd name="connsiteX49" fmla="*/ 449925 w 3031520"/>
                <a:gd name="connsiteY49" fmla="*/ 687446 h 1160647"/>
                <a:gd name="connsiteX50" fmla="*/ 449925 w 3031520"/>
                <a:gd name="connsiteY50" fmla="*/ 685554 h 1160647"/>
                <a:gd name="connsiteX51" fmla="*/ 449925 w 3031520"/>
                <a:gd name="connsiteY51" fmla="*/ 672313 h 1160647"/>
                <a:gd name="connsiteX52" fmla="*/ 451699 w 3031520"/>
                <a:gd name="connsiteY52" fmla="*/ 672313 h 1160647"/>
                <a:gd name="connsiteX53" fmla="*/ 464112 w 3031520"/>
                <a:gd name="connsiteY53" fmla="*/ 672313 h 1160647"/>
                <a:gd name="connsiteX54" fmla="*/ 464112 w 3031520"/>
                <a:gd name="connsiteY54" fmla="*/ 696093 h 1160647"/>
                <a:gd name="connsiteX55" fmla="*/ 465126 w 3031520"/>
                <a:gd name="connsiteY55" fmla="*/ 696093 h 1160647"/>
                <a:gd name="connsiteX56" fmla="*/ 472219 w 3031520"/>
                <a:gd name="connsiteY56" fmla="*/ 696093 h 1160647"/>
                <a:gd name="connsiteX57" fmla="*/ 472219 w 3031520"/>
                <a:gd name="connsiteY57" fmla="*/ 695012 h 1160647"/>
                <a:gd name="connsiteX58" fmla="*/ 472219 w 3031520"/>
                <a:gd name="connsiteY58" fmla="*/ 687446 h 1160647"/>
                <a:gd name="connsiteX59" fmla="*/ 473992 w 3031520"/>
                <a:gd name="connsiteY59" fmla="*/ 687446 h 1160647"/>
                <a:gd name="connsiteX60" fmla="*/ 486406 w 3031520"/>
                <a:gd name="connsiteY60" fmla="*/ 687446 h 1160647"/>
                <a:gd name="connsiteX61" fmla="*/ 486406 w 3031520"/>
                <a:gd name="connsiteY61" fmla="*/ 713387 h 1160647"/>
                <a:gd name="connsiteX62" fmla="*/ 488433 w 3031520"/>
                <a:gd name="connsiteY62" fmla="*/ 713387 h 1160647"/>
                <a:gd name="connsiteX63" fmla="*/ 502619 w 3031520"/>
                <a:gd name="connsiteY63" fmla="*/ 713387 h 1160647"/>
                <a:gd name="connsiteX64" fmla="*/ 502619 w 3031520"/>
                <a:gd name="connsiteY64" fmla="*/ 715008 h 1160647"/>
                <a:gd name="connsiteX65" fmla="*/ 502619 w 3031520"/>
                <a:gd name="connsiteY65" fmla="*/ 726358 h 1160647"/>
                <a:gd name="connsiteX66" fmla="*/ 503379 w 3031520"/>
                <a:gd name="connsiteY66" fmla="*/ 726358 h 1160647"/>
                <a:gd name="connsiteX67" fmla="*/ 508700 w 3031520"/>
                <a:gd name="connsiteY67" fmla="*/ 726358 h 1160647"/>
                <a:gd name="connsiteX68" fmla="*/ 508700 w 3031520"/>
                <a:gd name="connsiteY68" fmla="*/ 725547 h 1160647"/>
                <a:gd name="connsiteX69" fmla="*/ 508700 w 3031520"/>
                <a:gd name="connsiteY69" fmla="*/ 719872 h 1160647"/>
                <a:gd name="connsiteX70" fmla="*/ 539100 w 3031520"/>
                <a:gd name="connsiteY70" fmla="*/ 719872 h 1160647"/>
                <a:gd name="connsiteX71" fmla="*/ 539100 w 3031520"/>
                <a:gd name="connsiteY71" fmla="*/ 743652 h 1160647"/>
                <a:gd name="connsiteX72" fmla="*/ 540113 w 3031520"/>
                <a:gd name="connsiteY72" fmla="*/ 743652 h 1160647"/>
                <a:gd name="connsiteX73" fmla="*/ 547207 w 3031520"/>
                <a:gd name="connsiteY73" fmla="*/ 743652 h 1160647"/>
                <a:gd name="connsiteX74" fmla="*/ 547207 w 3031520"/>
                <a:gd name="connsiteY74" fmla="*/ 744733 h 1160647"/>
                <a:gd name="connsiteX75" fmla="*/ 547207 w 3031520"/>
                <a:gd name="connsiteY75" fmla="*/ 752299 h 1160647"/>
                <a:gd name="connsiteX76" fmla="*/ 547967 w 3031520"/>
                <a:gd name="connsiteY76" fmla="*/ 752299 h 1160647"/>
                <a:gd name="connsiteX77" fmla="*/ 553287 w 3031520"/>
                <a:gd name="connsiteY77" fmla="*/ 752299 h 1160647"/>
                <a:gd name="connsiteX78" fmla="*/ 553287 w 3031520"/>
                <a:gd name="connsiteY78" fmla="*/ 750137 h 1160647"/>
                <a:gd name="connsiteX79" fmla="*/ 553287 w 3031520"/>
                <a:gd name="connsiteY79" fmla="*/ 735005 h 1160647"/>
                <a:gd name="connsiteX80" fmla="*/ 554300 w 3031520"/>
                <a:gd name="connsiteY80" fmla="*/ 735005 h 1160647"/>
                <a:gd name="connsiteX81" fmla="*/ 561394 w 3031520"/>
                <a:gd name="connsiteY81" fmla="*/ 735005 h 1160647"/>
                <a:gd name="connsiteX82" fmla="*/ 561394 w 3031520"/>
                <a:gd name="connsiteY82" fmla="*/ 736086 h 1160647"/>
                <a:gd name="connsiteX83" fmla="*/ 561394 w 3031520"/>
                <a:gd name="connsiteY83" fmla="*/ 743652 h 1160647"/>
                <a:gd name="connsiteX84" fmla="*/ 566714 w 3031520"/>
                <a:gd name="connsiteY84" fmla="*/ 741659 h 1160647"/>
                <a:gd name="connsiteX85" fmla="*/ 567474 w 3031520"/>
                <a:gd name="connsiteY85" fmla="*/ 740679 h 1160647"/>
                <a:gd name="connsiteX86" fmla="*/ 567474 w 3031520"/>
                <a:gd name="connsiteY86" fmla="*/ 735005 h 1160647"/>
                <a:gd name="connsiteX87" fmla="*/ 605981 w 3031520"/>
                <a:gd name="connsiteY87" fmla="*/ 735005 h 1160647"/>
                <a:gd name="connsiteX88" fmla="*/ 605981 w 3031520"/>
                <a:gd name="connsiteY88" fmla="*/ 758784 h 1160647"/>
                <a:gd name="connsiteX89" fmla="*/ 608007 w 3031520"/>
                <a:gd name="connsiteY89" fmla="*/ 758784 h 1160647"/>
                <a:gd name="connsiteX90" fmla="*/ 622194 w 3031520"/>
                <a:gd name="connsiteY90" fmla="*/ 758784 h 1160647"/>
                <a:gd name="connsiteX91" fmla="*/ 622194 w 3031520"/>
                <a:gd name="connsiteY91" fmla="*/ 759865 h 1160647"/>
                <a:gd name="connsiteX92" fmla="*/ 622194 w 3031520"/>
                <a:gd name="connsiteY92" fmla="*/ 767431 h 1160647"/>
                <a:gd name="connsiteX93" fmla="*/ 623968 w 3031520"/>
                <a:gd name="connsiteY93" fmla="*/ 767431 h 1160647"/>
                <a:gd name="connsiteX94" fmla="*/ 636381 w 3031520"/>
                <a:gd name="connsiteY94" fmla="*/ 767431 h 1160647"/>
                <a:gd name="connsiteX95" fmla="*/ 636381 w 3031520"/>
                <a:gd name="connsiteY95" fmla="*/ 743652 h 1160647"/>
                <a:gd name="connsiteX96" fmla="*/ 637394 w 3031520"/>
                <a:gd name="connsiteY96" fmla="*/ 743652 h 1160647"/>
                <a:gd name="connsiteX97" fmla="*/ 644488 w 3031520"/>
                <a:gd name="connsiteY97" fmla="*/ 743652 h 1160647"/>
                <a:gd name="connsiteX98" fmla="*/ 644488 w 3031520"/>
                <a:gd name="connsiteY98" fmla="*/ 711225 h 1160647"/>
                <a:gd name="connsiteX99" fmla="*/ 645501 w 3031520"/>
                <a:gd name="connsiteY99" fmla="*/ 711225 h 1160647"/>
                <a:gd name="connsiteX100" fmla="*/ 652595 w 3031520"/>
                <a:gd name="connsiteY100" fmla="*/ 711225 h 1160647"/>
                <a:gd name="connsiteX101" fmla="*/ 652595 w 3031520"/>
                <a:gd name="connsiteY101" fmla="*/ 709334 h 1160647"/>
                <a:gd name="connsiteX102" fmla="*/ 652595 w 3031520"/>
                <a:gd name="connsiteY102" fmla="*/ 696093 h 1160647"/>
                <a:gd name="connsiteX103" fmla="*/ 651328 w 3031520"/>
                <a:gd name="connsiteY103" fmla="*/ 694471 h 1160647"/>
                <a:gd name="connsiteX104" fmla="*/ 656648 w 3031520"/>
                <a:gd name="connsiteY104" fmla="*/ 683122 h 1160647"/>
                <a:gd name="connsiteX105" fmla="*/ 664755 w 3031520"/>
                <a:gd name="connsiteY105" fmla="*/ 711225 h 1160647"/>
                <a:gd name="connsiteX106" fmla="*/ 665515 w 3031520"/>
                <a:gd name="connsiteY106" fmla="*/ 711225 h 1160647"/>
                <a:gd name="connsiteX107" fmla="*/ 670835 w 3031520"/>
                <a:gd name="connsiteY107" fmla="*/ 711225 h 1160647"/>
                <a:gd name="connsiteX108" fmla="*/ 670835 w 3031520"/>
                <a:gd name="connsiteY108" fmla="*/ 605298 h 1160647"/>
                <a:gd name="connsiteX109" fmla="*/ 672355 w 3031520"/>
                <a:gd name="connsiteY109" fmla="*/ 605298 h 1160647"/>
                <a:gd name="connsiteX110" fmla="*/ 682995 w 3031520"/>
                <a:gd name="connsiteY110" fmla="*/ 605298 h 1160647"/>
                <a:gd name="connsiteX111" fmla="*/ 682995 w 3031520"/>
                <a:gd name="connsiteY111" fmla="*/ 557739 h 1160647"/>
                <a:gd name="connsiteX112" fmla="*/ 709342 w 3031520"/>
                <a:gd name="connsiteY112" fmla="*/ 557739 h 1160647"/>
                <a:gd name="connsiteX113" fmla="*/ 709342 w 3031520"/>
                <a:gd name="connsiteY113" fmla="*/ 536121 h 1160647"/>
                <a:gd name="connsiteX114" fmla="*/ 743796 w 3031520"/>
                <a:gd name="connsiteY114" fmla="*/ 536121 h 1160647"/>
                <a:gd name="connsiteX115" fmla="*/ 743796 w 3031520"/>
                <a:gd name="connsiteY115" fmla="*/ 538553 h 1160647"/>
                <a:gd name="connsiteX116" fmla="*/ 743796 w 3031520"/>
                <a:gd name="connsiteY116" fmla="*/ 555577 h 1160647"/>
                <a:gd name="connsiteX117" fmla="*/ 746076 w 3031520"/>
                <a:gd name="connsiteY117" fmla="*/ 555577 h 1160647"/>
                <a:gd name="connsiteX118" fmla="*/ 762036 w 3031520"/>
                <a:gd name="connsiteY118" fmla="*/ 555577 h 1160647"/>
                <a:gd name="connsiteX119" fmla="*/ 762036 w 3031520"/>
                <a:gd name="connsiteY119" fmla="*/ 603136 h 1160647"/>
                <a:gd name="connsiteX120" fmla="*/ 763049 w 3031520"/>
                <a:gd name="connsiteY120" fmla="*/ 603136 h 1160647"/>
                <a:gd name="connsiteX121" fmla="*/ 770143 w 3031520"/>
                <a:gd name="connsiteY121" fmla="*/ 603136 h 1160647"/>
                <a:gd name="connsiteX122" fmla="*/ 784330 w 3031520"/>
                <a:gd name="connsiteY122" fmla="*/ 607460 h 1160647"/>
                <a:gd name="connsiteX123" fmla="*/ 784330 w 3031520"/>
                <a:gd name="connsiteY123" fmla="*/ 646372 h 1160647"/>
                <a:gd name="connsiteX124" fmla="*/ 785343 w 3031520"/>
                <a:gd name="connsiteY124" fmla="*/ 646372 h 1160647"/>
                <a:gd name="connsiteX125" fmla="*/ 792436 w 3031520"/>
                <a:gd name="connsiteY125" fmla="*/ 646372 h 1160647"/>
                <a:gd name="connsiteX126" fmla="*/ 792436 w 3031520"/>
                <a:gd name="connsiteY126" fmla="*/ 647993 h 1160647"/>
                <a:gd name="connsiteX127" fmla="*/ 792436 w 3031520"/>
                <a:gd name="connsiteY127" fmla="*/ 659342 h 1160647"/>
                <a:gd name="connsiteX128" fmla="*/ 794463 w 3031520"/>
                <a:gd name="connsiteY128" fmla="*/ 659342 h 1160647"/>
                <a:gd name="connsiteX129" fmla="*/ 808650 w 3031520"/>
                <a:gd name="connsiteY129" fmla="*/ 659342 h 1160647"/>
                <a:gd name="connsiteX130" fmla="*/ 814730 w 3031520"/>
                <a:gd name="connsiteY130" fmla="*/ 665828 h 1160647"/>
                <a:gd name="connsiteX131" fmla="*/ 814730 w 3031520"/>
                <a:gd name="connsiteY131" fmla="*/ 687446 h 1160647"/>
                <a:gd name="connsiteX132" fmla="*/ 817010 w 3031520"/>
                <a:gd name="connsiteY132" fmla="*/ 687446 h 1160647"/>
                <a:gd name="connsiteX133" fmla="*/ 832970 w 3031520"/>
                <a:gd name="connsiteY133" fmla="*/ 687446 h 1160647"/>
                <a:gd name="connsiteX134" fmla="*/ 832970 w 3031520"/>
                <a:gd name="connsiteY134" fmla="*/ 688526 h 1160647"/>
                <a:gd name="connsiteX135" fmla="*/ 832970 w 3031520"/>
                <a:gd name="connsiteY135" fmla="*/ 696093 h 1160647"/>
                <a:gd name="connsiteX136" fmla="*/ 834237 w 3031520"/>
                <a:gd name="connsiteY136" fmla="*/ 696093 h 1160647"/>
                <a:gd name="connsiteX137" fmla="*/ 843104 w 3031520"/>
                <a:gd name="connsiteY137" fmla="*/ 696093 h 1160647"/>
                <a:gd name="connsiteX138" fmla="*/ 843104 w 3031520"/>
                <a:gd name="connsiteY138" fmla="*/ 698254 h 1160647"/>
                <a:gd name="connsiteX139" fmla="*/ 843104 w 3031520"/>
                <a:gd name="connsiteY139" fmla="*/ 713387 h 1160647"/>
                <a:gd name="connsiteX140" fmla="*/ 847157 w 3031520"/>
                <a:gd name="connsiteY140" fmla="*/ 711495 h 1160647"/>
                <a:gd name="connsiteX141" fmla="*/ 847157 w 3031520"/>
                <a:gd name="connsiteY141" fmla="*/ 698254 h 1160647"/>
                <a:gd name="connsiteX142" fmla="*/ 848170 w 3031520"/>
                <a:gd name="connsiteY142" fmla="*/ 698254 h 1160647"/>
                <a:gd name="connsiteX143" fmla="*/ 855264 w 3031520"/>
                <a:gd name="connsiteY143" fmla="*/ 698254 h 1160647"/>
                <a:gd name="connsiteX144" fmla="*/ 855264 w 3031520"/>
                <a:gd name="connsiteY144" fmla="*/ 699876 h 1160647"/>
                <a:gd name="connsiteX145" fmla="*/ 855264 w 3031520"/>
                <a:gd name="connsiteY145" fmla="*/ 711225 h 1160647"/>
                <a:gd name="connsiteX146" fmla="*/ 856024 w 3031520"/>
                <a:gd name="connsiteY146" fmla="*/ 711225 h 1160647"/>
                <a:gd name="connsiteX147" fmla="*/ 861344 w 3031520"/>
                <a:gd name="connsiteY147" fmla="*/ 711225 h 1160647"/>
                <a:gd name="connsiteX148" fmla="*/ 909984 w 3031520"/>
                <a:gd name="connsiteY148" fmla="*/ 706902 h 1160647"/>
                <a:gd name="connsiteX149" fmla="*/ 909984 w 3031520"/>
                <a:gd name="connsiteY149" fmla="*/ 708253 h 1160647"/>
                <a:gd name="connsiteX150" fmla="*/ 909984 w 3031520"/>
                <a:gd name="connsiteY150" fmla="*/ 717710 h 1160647"/>
                <a:gd name="connsiteX151" fmla="*/ 910744 w 3031520"/>
                <a:gd name="connsiteY151" fmla="*/ 717710 h 1160647"/>
                <a:gd name="connsiteX152" fmla="*/ 916065 w 3031520"/>
                <a:gd name="connsiteY152" fmla="*/ 717710 h 1160647"/>
                <a:gd name="connsiteX153" fmla="*/ 916065 w 3031520"/>
                <a:gd name="connsiteY153" fmla="*/ 719872 h 1160647"/>
                <a:gd name="connsiteX154" fmla="*/ 916065 w 3031520"/>
                <a:gd name="connsiteY154" fmla="*/ 735005 h 1160647"/>
                <a:gd name="connsiteX155" fmla="*/ 918091 w 3031520"/>
                <a:gd name="connsiteY155" fmla="*/ 733654 h 1160647"/>
                <a:gd name="connsiteX156" fmla="*/ 932278 w 3031520"/>
                <a:gd name="connsiteY156" fmla="*/ 724196 h 1160647"/>
                <a:gd name="connsiteX157" fmla="*/ 938358 w 3031520"/>
                <a:gd name="connsiteY157" fmla="*/ 683122 h 1160647"/>
                <a:gd name="connsiteX158" fmla="*/ 939118 w 3031520"/>
                <a:gd name="connsiteY158" fmla="*/ 682852 h 1160647"/>
                <a:gd name="connsiteX159" fmla="*/ 944438 w 3031520"/>
                <a:gd name="connsiteY159" fmla="*/ 680960 h 1160647"/>
                <a:gd name="connsiteX160" fmla="*/ 946465 w 3031520"/>
                <a:gd name="connsiteY160" fmla="*/ 611783 h 1160647"/>
                <a:gd name="connsiteX161" fmla="*/ 948492 w 3031520"/>
                <a:gd name="connsiteY161" fmla="*/ 680960 h 1160647"/>
                <a:gd name="connsiteX162" fmla="*/ 949252 w 3031520"/>
                <a:gd name="connsiteY162" fmla="*/ 681230 h 1160647"/>
                <a:gd name="connsiteX163" fmla="*/ 954572 w 3031520"/>
                <a:gd name="connsiteY163" fmla="*/ 683122 h 1160647"/>
                <a:gd name="connsiteX164" fmla="*/ 954572 w 3031520"/>
                <a:gd name="connsiteY164" fmla="*/ 596651 h 1160647"/>
                <a:gd name="connsiteX165" fmla="*/ 958625 w 3031520"/>
                <a:gd name="connsiteY165" fmla="*/ 564224 h 1160647"/>
                <a:gd name="connsiteX166" fmla="*/ 997132 w 3031520"/>
                <a:gd name="connsiteY166" fmla="*/ 564224 h 1160647"/>
                <a:gd name="connsiteX167" fmla="*/ 997132 w 3031520"/>
                <a:gd name="connsiteY167" fmla="*/ 596651 h 1160647"/>
                <a:gd name="connsiteX168" fmla="*/ 997892 w 3031520"/>
                <a:gd name="connsiteY168" fmla="*/ 596651 h 1160647"/>
                <a:gd name="connsiteX169" fmla="*/ 1003212 w 3031520"/>
                <a:gd name="connsiteY169" fmla="*/ 596651 h 1160647"/>
                <a:gd name="connsiteX170" fmla="*/ 1003212 w 3031520"/>
                <a:gd name="connsiteY170" fmla="*/ 514503 h 1160647"/>
                <a:gd name="connsiteX171" fmla="*/ 1004986 w 3031520"/>
                <a:gd name="connsiteY171" fmla="*/ 514503 h 1160647"/>
                <a:gd name="connsiteX172" fmla="*/ 1017399 w 3031520"/>
                <a:gd name="connsiteY172" fmla="*/ 514503 h 1160647"/>
                <a:gd name="connsiteX173" fmla="*/ 1017399 w 3031520"/>
                <a:gd name="connsiteY173" fmla="*/ 512612 h 1160647"/>
                <a:gd name="connsiteX174" fmla="*/ 1017399 w 3031520"/>
                <a:gd name="connsiteY174" fmla="*/ 499371 h 1160647"/>
                <a:gd name="connsiteX175" fmla="*/ 1039693 w 3031520"/>
                <a:gd name="connsiteY175" fmla="*/ 499371 h 1160647"/>
                <a:gd name="connsiteX176" fmla="*/ 1039693 w 3031520"/>
                <a:gd name="connsiteY176" fmla="*/ 498290 h 1160647"/>
                <a:gd name="connsiteX177" fmla="*/ 1039693 w 3031520"/>
                <a:gd name="connsiteY177" fmla="*/ 490724 h 1160647"/>
                <a:gd name="connsiteX178" fmla="*/ 1041466 w 3031520"/>
                <a:gd name="connsiteY178" fmla="*/ 490724 h 1160647"/>
                <a:gd name="connsiteX179" fmla="*/ 1053880 w 3031520"/>
                <a:gd name="connsiteY179" fmla="*/ 490724 h 1160647"/>
                <a:gd name="connsiteX180" fmla="*/ 1053880 w 3031520"/>
                <a:gd name="connsiteY180" fmla="*/ 491805 h 1160647"/>
                <a:gd name="connsiteX181" fmla="*/ 1053880 w 3031520"/>
                <a:gd name="connsiteY181" fmla="*/ 499371 h 1160647"/>
                <a:gd name="connsiteX182" fmla="*/ 1054640 w 3031520"/>
                <a:gd name="connsiteY182" fmla="*/ 499371 h 1160647"/>
                <a:gd name="connsiteX183" fmla="*/ 1059960 w 3031520"/>
                <a:gd name="connsiteY183" fmla="*/ 499371 h 1160647"/>
                <a:gd name="connsiteX184" fmla="*/ 1070093 w 3031520"/>
                <a:gd name="connsiteY184" fmla="*/ 495047 h 1160647"/>
                <a:gd name="connsiteX185" fmla="*/ 1074146 w 3031520"/>
                <a:gd name="connsiteY185" fmla="*/ 498290 h 1160647"/>
                <a:gd name="connsiteX186" fmla="*/ 1074146 w 3031520"/>
                <a:gd name="connsiteY186" fmla="*/ 490724 h 1160647"/>
                <a:gd name="connsiteX187" fmla="*/ 1076426 w 3031520"/>
                <a:gd name="connsiteY187" fmla="*/ 490724 h 1160647"/>
                <a:gd name="connsiteX188" fmla="*/ 1092387 w 3031520"/>
                <a:gd name="connsiteY188" fmla="*/ 490724 h 1160647"/>
                <a:gd name="connsiteX189" fmla="*/ 1092387 w 3031520"/>
                <a:gd name="connsiteY189" fmla="*/ 491805 h 1160647"/>
                <a:gd name="connsiteX190" fmla="*/ 1092387 w 3031520"/>
                <a:gd name="connsiteY190" fmla="*/ 499371 h 1160647"/>
                <a:gd name="connsiteX191" fmla="*/ 1122787 w 3031520"/>
                <a:gd name="connsiteY191" fmla="*/ 499371 h 1160647"/>
                <a:gd name="connsiteX192" fmla="*/ 1122787 w 3031520"/>
                <a:gd name="connsiteY192" fmla="*/ 500992 h 1160647"/>
                <a:gd name="connsiteX193" fmla="*/ 1122787 w 3031520"/>
                <a:gd name="connsiteY193" fmla="*/ 512342 h 1160647"/>
                <a:gd name="connsiteX194" fmla="*/ 1149134 w 3031520"/>
                <a:gd name="connsiteY194" fmla="*/ 512342 h 1160647"/>
                <a:gd name="connsiteX195" fmla="*/ 1149134 w 3031520"/>
                <a:gd name="connsiteY195" fmla="*/ 542606 h 1160647"/>
                <a:gd name="connsiteX196" fmla="*/ 1149894 w 3031520"/>
                <a:gd name="connsiteY196" fmla="*/ 542606 h 1160647"/>
                <a:gd name="connsiteX197" fmla="*/ 1155214 w 3031520"/>
                <a:gd name="connsiteY197" fmla="*/ 542606 h 1160647"/>
                <a:gd name="connsiteX198" fmla="*/ 1155214 w 3031520"/>
                <a:gd name="connsiteY198" fmla="*/ 543687 h 1160647"/>
                <a:gd name="connsiteX199" fmla="*/ 1155214 w 3031520"/>
                <a:gd name="connsiteY199" fmla="*/ 551254 h 1160647"/>
                <a:gd name="connsiteX200" fmla="*/ 1159268 w 3031520"/>
                <a:gd name="connsiteY200" fmla="*/ 581518 h 1160647"/>
                <a:gd name="connsiteX201" fmla="*/ 1160028 w 3031520"/>
                <a:gd name="connsiteY201" fmla="*/ 581518 h 1160647"/>
                <a:gd name="connsiteX202" fmla="*/ 1165348 w 3031520"/>
                <a:gd name="connsiteY202" fmla="*/ 581518 h 1160647"/>
                <a:gd name="connsiteX203" fmla="*/ 1165348 w 3031520"/>
                <a:gd name="connsiteY203" fmla="*/ 582329 h 1160647"/>
                <a:gd name="connsiteX204" fmla="*/ 1165348 w 3031520"/>
                <a:gd name="connsiteY204" fmla="*/ 588004 h 1160647"/>
                <a:gd name="connsiteX205" fmla="*/ 1166361 w 3031520"/>
                <a:gd name="connsiteY205" fmla="*/ 588004 h 1160647"/>
                <a:gd name="connsiteX206" fmla="*/ 1173454 w 3031520"/>
                <a:gd name="connsiteY206" fmla="*/ 588004 h 1160647"/>
                <a:gd name="connsiteX207" fmla="*/ 1173454 w 3031520"/>
                <a:gd name="connsiteY207" fmla="*/ 618269 h 1160647"/>
                <a:gd name="connsiteX208" fmla="*/ 1175481 w 3031520"/>
                <a:gd name="connsiteY208" fmla="*/ 618269 h 1160647"/>
                <a:gd name="connsiteX209" fmla="*/ 1189668 w 3031520"/>
                <a:gd name="connsiteY209" fmla="*/ 618269 h 1160647"/>
                <a:gd name="connsiteX210" fmla="*/ 1189668 w 3031520"/>
                <a:gd name="connsiteY210" fmla="*/ 642048 h 1160647"/>
                <a:gd name="connsiteX211" fmla="*/ 1191695 w 3031520"/>
                <a:gd name="connsiteY211" fmla="*/ 643669 h 1160647"/>
                <a:gd name="connsiteX212" fmla="*/ 1191695 w 3031520"/>
                <a:gd name="connsiteY212" fmla="*/ 655019 h 1160647"/>
                <a:gd name="connsiteX213" fmla="*/ 1192455 w 3031520"/>
                <a:gd name="connsiteY213" fmla="*/ 655019 h 1160647"/>
                <a:gd name="connsiteX214" fmla="*/ 1197775 w 3031520"/>
                <a:gd name="connsiteY214" fmla="*/ 655019 h 1160647"/>
                <a:gd name="connsiteX215" fmla="*/ 1197775 w 3031520"/>
                <a:gd name="connsiteY215" fmla="*/ 678798 h 1160647"/>
                <a:gd name="connsiteX216" fmla="*/ 1199041 w 3031520"/>
                <a:gd name="connsiteY216" fmla="*/ 678798 h 1160647"/>
                <a:gd name="connsiteX217" fmla="*/ 1207908 w 3031520"/>
                <a:gd name="connsiteY217" fmla="*/ 678798 h 1160647"/>
                <a:gd name="connsiteX218" fmla="*/ 1209935 w 3031520"/>
                <a:gd name="connsiteY218" fmla="*/ 682852 h 1160647"/>
                <a:gd name="connsiteX219" fmla="*/ 1209935 w 3031520"/>
                <a:gd name="connsiteY219" fmla="*/ 696093 h 1160647"/>
                <a:gd name="connsiteX220" fmla="*/ 1211455 w 3031520"/>
                <a:gd name="connsiteY220" fmla="*/ 694201 h 1160647"/>
                <a:gd name="connsiteX221" fmla="*/ 1222095 w 3031520"/>
                <a:gd name="connsiteY221" fmla="*/ 680960 h 1160647"/>
                <a:gd name="connsiteX222" fmla="*/ 1250469 w 3031520"/>
                <a:gd name="connsiteY222" fmla="*/ 680960 h 1160647"/>
                <a:gd name="connsiteX223" fmla="*/ 1250469 w 3031520"/>
                <a:gd name="connsiteY223" fmla="*/ 767431 h 1160647"/>
                <a:gd name="connsiteX224" fmla="*/ 1251229 w 3031520"/>
                <a:gd name="connsiteY224" fmla="*/ 767431 h 1160647"/>
                <a:gd name="connsiteX225" fmla="*/ 1256549 w 3031520"/>
                <a:gd name="connsiteY225" fmla="*/ 767431 h 1160647"/>
                <a:gd name="connsiteX226" fmla="*/ 1257309 w 3031520"/>
                <a:gd name="connsiteY226" fmla="*/ 766080 h 1160647"/>
                <a:gd name="connsiteX227" fmla="*/ 1262629 w 3031520"/>
                <a:gd name="connsiteY227" fmla="*/ 756622 h 1160647"/>
                <a:gd name="connsiteX228" fmla="*/ 1262629 w 3031520"/>
                <a:gd name="connsiteY228" fmla="*/ 758514 h 1160647"/>
                <a:gd name="connsiteX229" fmla="*/ 1262629 w 3031520"/>
                <a:gd name="connsiteY229" fmla="*/ 771755 h 1160647"/>
                <a:gd name="connsiteX230" fmla="*/ 1266682 w 3031520"/>
                <a:gd name="connsiteY230" fmla="*/ 726358 h 1160647"/>
                <a:gd name="connsiteX231" fmla="*/ 1267442 w 3031520"/>
                <a:gd name="connsiteY231" fmla="*/ 726358 h 1160647"/>
                <a:gd name="connsiteX232" fmla="*/ 1272762 w 3031520"/>
                <a:gd name="connsiteY232" fmla="*/ 726358 h 1160647"/>
                <a:gd name="connsiteX233" fmla="*/ 1272762 w 3031520"/>
                <a:gd name="connsiteY233" fmla="*/ 661504 h 1160647"/>
                <a:gd name="connsiteX234" fmla="*/ 1273776 w 3031520"/>
                <a:gd name="connsiteY234" fmla="*/ 661504 h 1160647"/>
                <a:gd name="connsiteX235" fmla="*/ 1280869 w 3031520"/>
                <a:gd name="connsiteY235" fmla="*/ 661504 h 1160647"/>
                <a:gd name="connsiteX236" fmla="*/ 1293029 w 3031520"/>
                <a:gd name="connsiteY236" fmla="*/ 618269 h 1160647"/>
                <a:gd name="connsiteX237" fmla="*/ 1294296 w 3031520"/>
                <a:gd name="connsiteY237" fmla="*/ 618269 h 1160647"/>
                <a:gd name="connsiteX238" fmla="*/ 1303163 w 3031520"/>
                <a:gd name="connsiteY238" fmla="*/ 618269 h 1160647"/>
                <a:gd name="connsiteX239" fmla="*/ 1313296 w 3031520"/>
                <a:gd name="connsiteY239" fmla="*/ 661504 h 1160647"/>
                <a:gd name="connsiteX240" fmla="*/ 1314309 w 3031520"/>
                <a:gd name="connsiteY240" fmla="*/ 661504 h 1160647"/>
                <a:gd name="connsiteX241" fmla="*/ 1321403 w 3031520"/>
                <a:gd name="connsiteY241" fmla="*/ 661504 h 1160647"/>
                <a:gd name="connsiteX242" fmla="*/ 1321403 w 3031520"/>
                <a:gd name="connsiteY242" fmla="*/ 700416 h 1160647"/>
                <a:gd name="connsiteX243" fmla="*/ 1323176 w 3031520"/>
                <a:gd name="connsiteY243" fmla="*/ 700416 h 1160647"/>
                <a:gd name="connsiteX244" fmla="*/ 1335590 w 3031520"/>
                <a:gd name="connsiteY244" fmla="*/ 700416 h 1160647"/>
                <a:gd name="connsiteX245" fmla="*/ 1335590 w 3031520"/>
                <a:gd name="connsiteY245" fmla="*/ 702578 h 1160647"/>
                <a:gd name="connsiteX246" fmla="*/ 1335590 w 3031520"/>
                <a:gd name="connsiteY246" fmla="*/ 717710 h 1160647"/>
                <a:gd name="connsiteX247" fmla="*/ 1339643 w 3031520"/>
                <a:gd name="connsiteY247" fmla="*/ 715549 h 1160647"/>
                <a:gd name="connsiteX248" fmla="*/ 1339643 w 3031520"/>
                <a:gd name="connsiteY248" fmla="*/ 700416 h 1160647"/>
                <a:gd name="connsiteX249" fmla="*/ 1341163 w 3031520"/>
                <a:gd name="connsiteY249" fmla="*/ 700416 h 1160647"/>
                <a:gd name="connsiteX250" fmla="*/ 1351803 w 3031520"/>
                <a:gd name="connsiteY250" fmla="*/ 700416 h 1160647"/>
                <a:gd name="connsiteX251" fmla="*/ 1351803 w 3031520"/>
                <a:gd name="connsiteY251" fmla="*/ 702037 h 1160647"/>
                <a:gd name="connsiteX252" fmla="*/ 1351803 w 3031520"/>
                <a:gd name="connsiteY252" fmla="*/ 713387 h 1160647"/>
                <a:gd name="connsiteX253" fmla="*/ 1382204 w 3031520"/>
                <a:gd name="connsiteY253" fmla="*/ 713387 h 1160647"/>
                <a:gd name="connsiteX254" fmla="*/ 1382204 w 3031520"/>
                <a:gd name="connsiteY254" fmla="*/ 676637 h 1160647"/>
                <a:gd name="connsiteX255" fmla="*/ 1383470 w 3031520"/>
                <a:gd name="connsiteY255" fmla="*/ 676637 h 1160647"/>
                <a:gd name="connsiteX256" fmla="*/ 1392337 w 3031520"/>
                <a:gd name="connsiteY256" fmla="*/ 676637 h 1160647"/>
                <a:gd name="connsiteX257" fmla="*/ 1392337 w 3031520"/>
                <a:gd name="connsiteY257" fmla="*/ 698254 h 1160647"/>
                <a:gd name="connsiteX258" fmla="*/ 1394364 w 3031520"/>
                <a:gd name="connsiteY258" fmla="*/ 665828 h 1160647"/>
                <a:gd name="connsiteX259" fmla="*/ 1416657 w 3031520"/>
                <a:gd name="connsiteY259" fmla="*/ 665828 h 1160647"/>
                <a:gd name="connsiteX260" fmla="*/ 1416657 w 3031520"/>
                <a:gd name="connsiteY260" fmla="*/ 664206 h 1160647"/>
                <a:gd name="connsiteX261" fmla="*/ 1416657 w 3031520"/>
                <a:gd name="connsiteY261" fmla="*/ 652857 h 1160647"/>
                <a:gd name="connsiteX262" fmla="*/ 1417417 w 3031520"/>
                <a:gd name="connsiteY262" fmla="*/ 652857 h 1160647"/>
                <a:gd name="connsiteX263" fmla="*/ 1422737 w 3031520"/>
                <a:gd name="connsiteY263" fmla="*/ 652857 h 1160647"/>
                <a:gd name="connsiteX264" fmla="*/ 1422737 w 3031520"/>
                <a:gd name="connsiteY264" fmla="*/ 650966 h 1160647"/>
                <a:gd name="connsiteX265" fmla="*/ 1422737 w 3031520"/>
                <a:gd name="connsiteY265" fmla="*/ 637725 h 1160647"/>
                <a:gd name="connsiteX266" fmla="*/ 1426791 w 3031520"/>
                <a:gd name="connsiteY266" fmla="*/ 644210 h 1160647"/>
                <a:gd name="connsiteX267" fmla="*/ 1429071 w 3031520"/>
                <a:gd name="connsiteY267" fmla="*/ 644210 h 1160647"/>
                <a:gd name="connsiteX268" fmla="*/ 1445031 w 3031520"/>
                <a:gd name="connsiteY268" fmla="*/ 644210 h 1160647"/>
                <a:gd name="connsiteX269" fmla="*/ 1445031 w 3031520"/>
                <a:gd name="connsiteY269" fmla="*/ 643399 h 1160647"/>
                <a:gd name="connsiteX270" fmla="*/ 1445031 w 3031520"/>
                <a:gd name="connsiteY270" fmla="*/ 637725 h 1160647"/>
                <a:gd name="connsiteX271" fmla="*/ 1445791 w 3031520"/>
                <a:gd name="connsiteY271" fmla="*/ 637725 h 1160647"/>
                <a:gd name="connsiteX272" fmla="*/ 1451111 w 3031520"/>
                <a:gd name="connsiteY272" fmla="*/ 637725 h 1160647"/>
                <a:gd name="connsiteX273" fmla="*/ 1451111 w 3031520"/>
                <a:gd name="connsiteY273" fmla="*/ 639076 h 1160647"/>
                <a:gd name="connsiteX274" fmla="*/ 1451111 w 3031520"/>
                <a:gd name="connsiteY274" fmla="*/ 648534 h 1160647"/>
                <a:gd name="connsiteX275" fmla="*/ 1489618 w 3031520"/>
                <a:gd name="connsiteY275" fmla="*/ 648534 h 1160647"/>
                <a:gd name="connsiteX276" fmla="*/ 1489618 w 3031520"/>
                <a:gd name="connsiteY276" fmla="*/ 786887 h 1160647"/>
                <a:gd name="connsiteX277" fmla="*/ 1491138 w 3031520"/>
                <a:gd name="connsiteY277" fmla="*/ 786887 h 1160647"/>
                <a:gd name="connsiteX278" fmla="*/ 1501778 w 3031520"/>
                <a:gd name="connsiteY278" fmla="*/ 786887 h 1160647"/>
                <a:gd name="connsiteX279" fmla="*/ 1501778 w 3031520"/>
                <a:gd name="connsiteY279" fmla="*/ 773917 h 1160647"/>
                <a:gd name="connsiteX280" fmla="*/ 1505832 w 3031520"/>
                <a:gd name="connsiteY280" fmla="*/ 773917 h 1160647"/>
                <a:gd name="connsiteX281" fmla="*/ 1505832 w 3031520"/>
                <a:gd name="connsiteY281" fmla="*/ 786887 h 1160647"/>
                <a:gd name="connsiteX282" fmla="*/ 1536232 w 3031520"/>
                <a:gd name="connsiteY282" fmla="*/ 786887 h 1160647"/>
                <a:gd name="connsiteX283" fmla="*/ 1536232 w 3031520"/>
                <a:gd name="connsiteY283" fmla="*/ 756622 h 1160647"/>
                <a:gd name="connsiteX284" fmla="*/ 1548392 w 3031520"/>
                <a:gd name="connsiteY284" fmla="*/ 756622 h 1160647"/>
                <a:gd name="connsiteX285" fmla="*/ 1560552 w 3031520"/>
                <a:gd name="connsiteY285" fmla="*/ 754461 h 1160647"/>
                <a:gd name="connsiteX286" fmla="*/ 1564606 w 3031520"/>
                <a:gd name="connsiteY286" fmla="*/ 756622 h 1160647"/>
                <a:gd name="connsiteX287" fmla="*/ 1574739 w 3031520"/>
                <a:gd name="connsiteY287" fmla="*/ 756622 h 1160647"/>
                <a:gd name="connsiteX288" fmla="*/ 1574739 w 3031520"/>
                <a:gd name="connsiteY288" fmla="*/ 786887 h 1160647"/>
                <a:gd name="connsiteX289" fmla="*/ 1582846 w 3031520"/>
                <a:gd name="connsiteY289" fmla="*/ 786887 h 1160647"/>
                <a:gd name="connsiteX290" fmla="*/ 1582846 w 3031520"/>
                <a:gd name="connsiteY290" fmla="*/ 804182 h 1160647"/>
                <a:gd name="connsiteX291" fmla="*/ 1592182 w 3031520"/>
                <a:gd name="connsiteY291" fmla="*/ 805087 h 1160647"/>
                <a:gd name="connsiteX292" fmla="*/ 1605140 w 3031520"/>
                <a:gd name="connsiteY292" fmla="*/ 805087 h 1160647"/>
                <a:gd name="connsiteX293" fmla="*/ 1605140 w 3031520"/>
                <a:gd name="connsiteY293" fmla="*/ 789049 h 1160647"/>
                <a:gd name="connsiteX294" fmla="*/ 1673096 w 3031520"/>
                <a:gd name="connsiteY294" fmla="*/ 789049 h 1160647"/>
                <a:gd name="connsiteX295" fmla="*/ 1673096 w 3031520"/>
                <a:gd name="connsiteY295" fmla="*/ 703796 h 1160647"/>
                <a:gd name="connsiteX296" fmla="*/ 1745104 w 3031520"/>
                <a:gd name="connsiteY296" fmla="*/ 703796 h 1160647"/>
                <a:gd name="connsiteX297" fmla="*/ 1745104 w 3031520"/>
                <a:gd name="connsiteY297" fmla="*/ 782564 h 1160647"/>
                <a:gd name="connsiteX298" fmla="*/ 1747008 w 3031520"/>
                <a:gd name="connsiteY298" fmla="*/ 782564 h 1160647"/>
                <a:gd name="connsiteX299" fmla="*/ 1748250 w 3031520"/>
                <a:gd name="connsiteY299" fmla="*/ 805087 h 1160647"/>
                <a:gd name="connsiteX300" fmla="*/ 1757926 w 3031520"/>
                <a:gd name="connsiteY300" fmla="*/ 805087 h 1160647"/>
                <a:gd name="connsiteX301" fmla="*/ 1759168 w 3031520"/>
                <a:gd name="connsiteY301" fmla="*/ 782564 h 1160647"/>
                <a:gd name="connsiteX302" fmla="*/ 1765248 w 3031520"/>
                <a:gd name="connsiteY302" fmla="*/ 782564 h 1160647"/>
                <a:gd name="connsiteX303" fmla="*/ 1766490 w 3031520"/>
                <a:gd name="connsiteY303" fmla="*/ 805087 h 1160647"/>
                <a:gd name="connsiteX304" fmla="*/ 1817112 w 3031520"/>
                <a:gd name="connsiteY304" fmla="*/ 805087 h 1160647"/>
                <a:gd name="connsiteX305" fmla="*/ 1817112 w 3031520"/>
                <a:gd name="connsiteY305" fmla="*/ 642059 h 1160647"/>
                <a:gd name="connsiteX306" fmla="*/ 2014439 w 3031520"/>
                <a:gd name="connsiteY306" fmla="*/ 642059 h 1160647"/>
                <a:gd name="connsiteX307" fmla="*/ 2014439 w 3031520"/>
                <a:gd name="connsiteY307" fmla="*/ 805087 h 1160647"/>
                <a:gd name="connsiteX308" fmla="*/ 2033136 w 3031520"/>
                <a:gd name="connsiteY308" fmla="*/ 805087 h 1160647"/>
                <a:gd name="connsiteX309" fmla="*/ 2033136 w 3031520"/>
                <a:gd name="connsiteY309" fmla="*/ 722394 h 1160647"/>
                <a:gd name="connsiteX310" fmla="*/ 2128256 w 3031520"/>
                <a:gd name="connsiteY310" fmla="*/ 722394 h 1160647"/>
                <a:gd name="connsiteX311" fmla="*/ 2140186 w 3031520"/>
                <a:gd name="connsiteY311" fmla="*/ 404253 h 1160647"/>
                <a:gd name="connsiteX312" fmla="*/ 2128026 w 3031520"/>
                <a:gd name="connsiteY312" fmla="*/ 382635 h 1160647"/>
                <a:gd name="connsiteX313" fmla="*/ 2121946 w 3031520"/>
                <a:gd name="connsiteY313" fmla="*/ 378311 h 1160647"/>
                <a:gd name="connsiteX314" fmla="*/ 2130053 w 3031520"/>
                <a:gd name="connsiteY314" fmla="*/ 354532 h 1160647"/>
                <a:gd name="connsiteX315" fmla="*/ 2130053 w 3031520"/>
                <a:gd name="connsiteY315" fmla="*/ 337238 h 1160647"/>
                <a:gd name="connsiteX316" fmla="*/ 2144240 w 3031520"/>
                <a:gd name="connsiteY316" fmla="*/ 337238 h 1160647"/>
                <a:gd name="connsiteX317" fmla="*/ 2144240 w 3031520"/>
                <a:gd name="connsiteY317" fmla="*/ 315620 h 1160647"/>
                <a:gd name="connsiteX318" fmla="*/ 2146266 w 3031520"/>
                <a:gd name="connsiteY318" fmla="*/ 311296 h 1160647"/>
                <a:gd name="connsiteX319" fmla="*/ 2146266 w 3031520"/>
                <a:gd name="connsiteY319" fmla="*/ 233472 h 1160647"/>
                <a:gd name="connsiteX320" fmla="*/ 2144240 w 3031520"/>
                <a:gd name="connsiteY320" fmla="*/ 226987 h 1160647"/>
                <a:gd name="connsiteX321" fmla="*/ 2150320 w 3031520"/>
                <a:gd name="connsiteY321" fmla="*/ 220501 h 1160647"/>
                <a:gd name="connsiteX322" fmla="*/ 2150320 w 3031520"/>
                <a:gd name="connsiteY322" fmla="*/ 162133 h 1160647"/>
                <a:gd name="connsiteX323" fmla="*/ 2152346 w 3031520"/>
                <a:gd name="connsiteY323" fmla="*/ 157810 h 1160647"/>
                <a:gd name="connsiteX324" fmla="*/ 2152346 w 3031520"/>
                <a:gd name="connsiteY324" fmla="*/ 101604 h 1160647"/>
                <a:gd name="connsiteX325" fmla="*/ 2154373 w 3031520"/>
                <a:gd name="connsiteY325" fmla="*/ 82148 h 1160647"/>
                <a:gd name="connsiteX326" fmla="*/ 2158427 w 3031520"/>
                <a:gd name="connsiteY326" fmla="*/ 99442 h 1160647"/>
                <a:gd name="connsiteX327" fmla="*/ 2160453 w 3031520"/>
                <a:gd name="connsiteY327" fmla="*/ 157810 h 1160647"/>
                <a:gd name="connsiteX328" fmla="*/ 2162480 w 3031520"/>
                <a:gd name="connsiteY328" fmla="*/ 220501 h 1160647"/>
                <a:gd name="connsiteX329" fmla="*/ 2168560 w 3031520"/>
                <a:gd name="connsiteY329" fmla="*/ 226987 h 1160647"/>
                <a:gd name="connsiteX330" fmla="*/ 2166533 w 3031520"/>
                <a:gd name="connsiteY330" fmla="*/ 233472 h 1160647"/>
                <a:gd name="connsiteX331" fmla="*/ 2166533 w 3031520"/>
                <a:gd name="connsiteY331" fmla="*/ 311296 h 1160647"/>
                <a:gd name="connsiteX332" fmla="*/ 2168560 w 3031520"/>
                <a:gd name="connsiteY332" fmla="*/ 315620 h 1160647"/>
                <a:gd name="connsiteX333" fmla="*/ 2168560 w 3031520"/>
                <a:gd name="connsiteY333" fmla="*/ 337238 h 1160647"/>
                <a:gd name="connsiteX334" fmla="*/ 2182747 w 3031520"/>
                <a:gd name="connsiteY334" fmla="*/ 337238 h 1160647"/>
                <a:gd name="connsiteX335" fmla="*/ 2182747 w 3031520"/>
                <a:gd name="connsiteY335" fmla="*/ 354532 h 1160647"/>
                <a:gd name="connsiteX336" fmla="*/ 2190854 w 3031520"/>
                <a:gd name="connsiteY336" fmla="*/ 378311 h 1160647"/>
                <a:gd name="connsiteX337" fmla="*/ 2184774 w 3031520"/>
                <a:gd name="connsiteY337" fmla="*/ 382635 h 1160647"/>
                <a:gd name="connsiteX338" fmla="*/ 2172613 w 3031520"/>
                <a:gd name="connsiteY338" fmla="*/ 404253 h 1160647"/>
                <a:gd name="connsiteX339" fmla="*/ 2180720 w 3031520"/>
                <a:gd name="connsiteY339" fmla="*/ 657181 h 1160647"/>
                <a:gd name="connsiteX340" fmla="*/ 2245574 w 3031520"/>
                <a:gd name="connsiteY340" fmla="*/ 657181 h 1160647"/>
                <a:gd name="connsiteX341" fmla="*/ 2245574 w 3031520"/>
                <a:gd name="connsiteY341" fmla="*/ 732843 h 1160647"/>
                <a:gd name="connsiteX342" fmla="*/ 2253681 w 3031520"/>
                <a:gd name="connsiteY342" fmla="*/ 732843 h 1160647"/>
                <a:gd name="connsiteX343" fmla="*/ 2255708 w 3031520"/>
                <a:gd name="connsiteY343" fmla="*/ 726358 h 1160647"/>
                <a:gd name="connsiteX344" fmla="*/ 2261788 w 3031520"/>
                <a:gd name="connsiteY344" fmla="*/ 726358 h 1160647"/>
                <a:gd name="connsiteX345" fmla="*/ 2263815 w 3031520"/>
                <a:gd name="connsiteY345" fmla="*/ 735005 h 1160647"/>
                <a:gd name="connsiteX346" fmla="*/ 2275975 w 3031520"/>
                <a:gd name="connsiteY346" fmla="*/ 735005 h 1160647"/>
                <a:gd name="connsiteX347" fmla="*/ 2275975 w 3031520"/>
                <a:gd name="connsiteY347" fmla="*/ 728519 h 1160647"/>
                <a:gd name="connsiteX348" fmla="*/ 2298268 w 3031520"/>
                <a:gd name="connsiteY348" fmla="*/ 728519 h 1160647"/>
                <a:gd name="connsiteX349" fmla="*/ 2298268 w 3031520"/>
                <a:gd name="connsiteY349" fmla="*/ 735005 h 1160647"/>
                <a:gd name="connsiteX350" fmla="*/ 2318535 w 3031520"/>
                <a:gd name="connsiteY350" fmla="*/ 735005 h 1160647"/>
                <a:gd name="connsiteX351" fmla="*/ 2318535 w 3031520"/>
                <a:gd name="connsiteY351" fmla="*/ 780402 h 1160647"/>
                <a:gd name="connsiteX352" fmla="*/ 2332722 w 3031520"/>
                <a:gd name="connsiteY352" fmla="*/ 780402 h 1160647"/>
                <a:gd name="connsiteX353" fmla="*/ 2332722 w 3031520"/>
                <a:gd name="connsiteY353" fmla="*/ 767431 h 1160647"/>
                <a:gd name="connsiteX354" fmla="*/ 2348936 w 3031520"/>
                <a:gd name="connsiteY354" fmla="*/ 767431 h 1160647"/>
                <a:gd name="connsiteX355" fmla="*/ 2348936 w 3031520"/>
                <a:gd name="connsiteY355" fmla="*/ 588004 h 1160647"/>
                <a:gd name="connsiteX356" fmla="*/ 2355016 w 3031520"/>
                <a:gd name="connsiteY356" fmla="*/ 581518 h 1160647"/>
                <a:gd name="connsiteX357" fmla="*/ 2427977 w 3031520"/>
                <a:gd name="connsiteY357" fmla="*/ 581518 h 1160647"/>
                <a:gd name="connsiteX358" fmla="*/ 2427977 w 3031520"/>
                <a:gd name="connsiteY358" fmla="*/ 590166 h 1160647"/>
                <a:gd name="connsiteX359" fmla="*/ 2438110 w 3031520"/>
                <a:gd name="connsiteY359" fmla="*/ 590166 h 1160647"/>
                <a:gd name="connsiteX360" fmla="*/ 2438110 w 3031520"/>
                <a:gd name="connsiteY360" fmla="*/ 704740 h 1160647"/>
                <a:gd name="connsiteX361" fmla="*/ 2460404 w 3031520"/>
                <a:gd name="connsiteY361" fmla="*/ 704740 h 1160647"/>
                <a:gd name="connsiteX362" fmla="*/ 2460404 w 3031520"/>
                <a:gd name="connsiteY362" fmla="*/ 637725 h 1160647"/>
                <a:gd name="connsiteX363" fmla="*/ 2486751 w 3031520"/>
                <a:gd name="connsiteY363" fmla="*/ 637725 h 1160647"/>
                <a:gd name="connsiteX364" fmla="*/ 2490804 w 3031520"/>
                <a:gd name="connsiteY364" fmla="*/ 633401 h 1160647"/>
                <a:gd name="connsiteX365" fmla="*/ 2498911 w 3031520"/>
                <a:gd name="connsiteY365" fmla="*/ 633401 h 1160647"/>
                <a:gd name="connsiteX366" fmla="*/ 2502964 w 3031520"/>
                <a:gd name="connsiteY366" fmla="*/ 637725 h 1160647"/>
                <a:gd name="connsiteX367" fmla="*/ 2525258 w 3031520"/>
                <a:gd name="connsiteY367" fmla="*/ 637725 h 1160647"/>
                <a:gd name="connsiteX368" fmla="*/ 2525258 w 3031520"/>
                <a:gd name="connsiteY368" fmla="*/ 520989 h 1160647"/>
                <a:gd name="connsiteX369" fmla="*/ 2582005 w 3031520"/>
                <a:gd name="connsiteY369" fmla="*/ 510180 h 1160647"/>
                <a:gd name="connsiteX370" fmla="*/ 2582005 w 3031520"/>
                <a:gd name="connsiteY370" fmla="*/ 511261 h 1160647"/>
                <a:gd name="connsiteX371" fmla="*/ 2582005 w 3031520"/>
                <a:gd name="connsiteY371" fmla="*/ 518827 h 1160647"/>
                <a:gd name="connsiteX372" fmla="*/ 2608352 w 3031520"/>
                <a:gd name="connsiteY372" fmla="*/ 518827 h 1160647"/>
                <a:gd name="connsiteX373" fmla="*/ 2608352 w 3031520"/>
                <a:gd name="connsiteY373" fmla="*/ 773917 h 1160647"/>
                <a:gd name="connsiteX374" fmla="*/ 2630646 w 3031520"/>
                <a:gd name="connsiteY374" fmla="*/ 773917 h 1160647"/>
                <a:gd name="connsiteX375" fmla="*/ 2630646 w 3031520"/>
                <a:gd name="connsiteY375" fmla="*/ 769593 h 1160647"/>
                <a:gd name="connsiteX376" fmla="*/ 2642806 w 3031520"/>
                <a:gd name="connsiteY376" fmla="*/ 769593 h 1160647"/>
                <a:gd name="connsiteX377" fmla="*/ 2642806 w 3031520"/>
                <a:gd name="connsiteY377" fmla="*/ 773917 h 1160647"/>
                <a:gd name="connsiteX378" fmla="*/ 2667126 w 3031520"/>
                <a:gd name="connsiteY378" fmla="*/ 773917 h 1160647"/>
                <a:gd name="connsiteX379" fmla="*/ 2667126 w 3031520"/>
                <a:gd name="connsiteY379" fmla="*/ 760946 h 1160647"/>
                <a:gd name="connsiteX380" fmla="*/ 2695500 w 3031520"/>
                <a:gd name="connsiteY380" fmla="*/ 760946 h 1160647"/>
                <a:gd name="connsiteX381" fmla="*/ 2707660 w 3031520"/>
                <a:gd name="connsiteY381" fmla="*/ 756622 h 1160647"/>
                <a:gd name="connsiteX382" fmla="*/ 2727927 w 3031520"/>
                <a:gd name="connsiteY382" fmla="*/ 760946 h 1160647"/>
                <a:gd name="connsiteX383" fmla="*/ 2727927 w 3031520"/>
                <a:gd name="connsiteY383" fmla="*/ 743652 h 1160647"/>
                <a:gd name="connsiteX384" fmla="*/ 2736034 w 3031520"/>
                <a:gd name="connsiteY384" fmla="*/ 743652 h 1160647"/>
                <a:gd name="connsiteX385" fmla="*/ 2736034 w 3031520"/>
                <a:gd name="connsiteY385" fmla="*/ 730681 h 1160647"/>
                <a:gd name="connsiteX386" fmla="*/ 2792781 w 3031520"/>
                <a:gd name="connsiteY386" fmla="*/ 730681 h 1160647"/>
                <a:gd name="connsiteX387" fmla="*/ 2792781 w 3031520"/>
                <a:gd name="connsiteY387" fmla="*/ 700416 h 1160647"/>
                <a:gd name="connsiteX388" fmla="*/ 2811021 w 3031520"/>
                <a:gd name="connsiteY388" fmla="*/ 700416 h 1160647"/>
                <a:gd name="connsiteX389" fmla="*/ 2811021 w 3031520"/>
                <a:gd name="connsiteY389" fmla="*/ 693931 h 1160647"/>
                <a:gd name="connsiteX390" fmla="*/ 2823181 w 3031520"/>
                <a:gd name="connsiteY390" fmla="*/ 693931 h 1160647"/>
                <a:gd name="connsiteX391" fmla="*/ 2823181 w 3031520"/>
                <a:gd name="connsiteY391" fmla="*/ 700416 h 1160647"/>
                <a:gd name="connsiteX392" fmla="*/ 2839395 w 3031520"/>
                <a:gd name="connsiteY392" fmla="*/ 700416 h 1160647"/>
                <a:gd name="connsiteX393" fmla="*/ 2839395 w 3031520"/>
                <a:gd name="connsiteY393" fmla="*/ 750137 h 1160647"/>
                <a:gd name="connsiteX394" fmla="*/ 2871822 w 3031520"/>
                <a:gd name="connsiteY394" fmla="*/ 750137 h 1160647"/>
                <a:gd name="connsiteX395" fmla="*/ 2871822 w 3031520"/>
                <a:gd name="connsiteY395" fmla="*/ 724196 h 1160647"/>
                <a:gd name="connsiteX396" fmla="*/ 2910329 w 3031520"/>
                <a:gd name="connsiteY396" fmla="*/ 724196 h 1160647"/>
                <a:gd name="connsiteX397" fmla="*/ 2910329 w 3031520"/>
                <a:gd name="connsiteY397" fmla="*/ 693931 h 1160647"/>
                <a:gd name="connsiteX398" fmla="*/ 2958970 w 3031520"/>
                <a:gd name="connsiteY398" fmla="*/ 693931 h 1160647"/>
                <a:gd name="connsiteX399" fmla="*/ 2958970 w 3031520"/>
                <a:gd name="connsiteY399" fmla="*/ 805087 h 1160647"/>
                <a:gd name="connsiteX400" fmla="*/ 2958970 w 3031520"/>
                <a:gd name="connsiteY400" fmla="*/ 818866 h 1160647"/>
                <a:gd name="connsiteX401" fmla="*/ 3031519 w 3031520"/>
                <a:gd name="connsiteY401" fmla="*/ 818866 h 1160647"/>
                <a:gd name="connsiteX402" fmla="*/ 3031520 w 3031520"/>
                <a:gd name="connsiteY402" fmla="*/ 1160647 h 1160647"/>
                <a:gd name="connsiteX403" fmla="*/ 2054 w 3031520"/>
                <a:gd name="connsiteY403" fmla="*/ 1158314 h 1160647"/>
                <a:gd name="connsiteX404" fmla="*/ 0 w 3031520"/>
                <a:gd name="connsiteY404" fmla="*/ 724196 h 1160647"/>
                <a:gd name="connsiteX405" fmla="*/ 20267 w 3031520"/>
                <a:gd name="connsiteY405" fmla="*/ 724196 h 1160647"/>
                <a:gd name="connsiteX406" fmla="*/ 20774 w 3031520"/>
                <a:gd name="connsiteY406" fmla="*/ 723115 h 1160647"/>
                <a:gd name="connsiteX407" fmla="*/ 24320 w 3031520"/>
                <a:gd name="connsiteY407" fmla="*/ 715549 h 1160647"/>
                <a:gd name="connsiteX408" fmla="*/ 26094 w 3031520"/>
                <a:gd name="connsiteY408" fmla="*/ 715819 h 1160647"/>
                <a:gd name="connsiteX409" fmla="*/ 38507 w 3031520"/>
                <a:gd name="connsiteY409" fmla="*/ 717710 h 1160647"/>
                <a:gd name="connsiteX410" fmla="*/ 39014 w 3031520"/>
                <a:gd name="connsiteY410" fmla="*/ 719062 h 1160647"/>
                <a:gd name="connsiteX411" fmla="*/ 42560 w 3031520"/>
                <a:gd name="connsiteY411" fmla="*/ 728519 h 1160647"/>
                <a:gd name="connsiteX412" fmla="*/ 68907 w 3031520"/>
                <a:gd name="connsiteY412" fmla="*/ 730681 h 1160647"/>
                <a:gd name="connsiteX413" fmla="*/ 68907 w 3031520"/>
                <a:gd name="connsiteY413" fmla="*/ 607460 h 1160647"/>
                <a:gd name="connsiteX414" fmla="*/ 70934 w 3031520"/>
                <a:gd name="connsiteY414" fmla="*/ 607460 h 1160647"/>
                <a:gd name="connsiteX415" fmla="*/ 85121 w 3031520"/>
                <a:gd name="connsiteY415" fmla="*/ 607460 h 1160647"/>
                <a:gd name="connsiteX416" fmla="*/ 85121 w 3031520"/>
                <a:gd name="connsiteY416" fmla="*/ 471268 h 1160647"/>
                <a:gd name="connsiteX417" fmla="*/ 86894 w 3031520"/>
                <a:gd name="connsiteY417" fmla="*/ 471268 h 1160647"/>
                <a:gd name="connsiteX418" fmla="*/ 99308 w 3031520"/>
                <a:gd name="connsiteY418" fmla="*/ 471268 h 1160647"/>
                <a:gd name="connsiteX419" fmla="*/ 99308 w 3031520"/>
                <a:gd name="connsiteY419" fmla="*/ 356694 h 1160647"/>
                <a:gd name="connsiteX420" fmla="*/ 103361 w 3031520"/>
                <a:gd name="connsiteY420" fmla="*/ 328590 h 1160647"/>
                <a:gd name="connsiteX421" fmla="*/ 105388 w 3031520"/>
                <a:gd name="connsiteY421" fmla="*/ 328590 h 1160647"/>
                <a:gd name="connsiteX422" fmla="*/ 119575 w 3031520"/>
                <a:gd name="connsiteY422" fmla="*/ 328590 h 1160647"/>
                <a:gd name="connsiteX423" fmla="*/ 156055 w 3031520"/>
                <a:gd name="connsiteY423" fmla="*/ 246443 h 1160647"/>
                <a:gd name="connsiteX424" fmla="*/ 160109 w 3031520"/>
                <a:gd name="connsiteY424" fmla="*/ 0 h 1160647"/>
                <a:gd name="connsiteX0" fmla="*/ 160109 w 3032161"/>
                <a:gd name="connsiteY0" fmla="*/ 0 h 1160647"/>
                <a:gd name="connsiteX1" fmla="*/ 162135 w 3032161"/>
                <a:gd name="connsiteY1" fmla="*/ 246443 h 1160647"/>
                <a:gd name="connsiteX2" fmla="*/ 200642 w 3032161"/>
                <a:gd name="connsiteY2" fmla="*/ 326429 h 1160647"/>
                <a:gd name="connsiteX3" fmla="*/ 202669 w 3032161"/>
                <a:gd name="connsiteY3" fmla="*/ 326429 h 1160647"/>
                <a:gd name="connsiteX4" fmla="*/ 216856 w 3032161"/>
                <a:gd name="connsiteY4" fmla="*/ 326429 h 1160647"/>
                <a:gd name="connsiteX5" fmla="*/ 216856 w 3032161"/>
                <a:gd name="connsiteY5" fmla="*/ 350208 h 1160647"/>
                <a:gd name="connsiteX6" fmla="*/ 217363 w 3032161"/>
                <a:gd name="connsiteY6" fmla="*/ 351019 h 1160647"/>
                <a:gd name="connsiteX7" fmla="*/ 220909 w 3032161"/>
                <a:gd name="connsiteY7" fmla="*/ 356694 h 1160647"/>
                <a:gd name="connsiteX8" fmla="*/ 220909 w 3032161"/>
                <a:gd name="connsiteY8" fmla="*/ 471268 h 1160647"/>
                <a:gd name="connsiteX9" fmla="*/ 223189 w 3032161"/>
                <a:gd name="connsiteY9" fmla="*/ 471268 h 1160647"/>
                <a:gd name="connsiteX10" fmla="*/ 239150 w 3032161"/>
                <a:gd name="connsiteY10" fmla="*/ 471268 h 1160647"/>
                <a:gd name="connsiteX11" fmla="*/ 239150 w 3032161"/>
                <a:gd name="connsiteY11" fmla="*/ 611783 h 1160647"/>
                <a:gd name="connsiteX12" fmla="*/ 240670 w 3032161"/>
                <a:gd name="connsiteY12" fmla="*/ 611513 h 1160647"/>
                <a:gd name="connsiteX13" fmla="*/ 251310 w 3032161"/>
                <a:gd name="connsiteY13" fmla="*/ 609622 h 1160647"/>
                <a:gd name="connsiteX14" fmla="*/ 249283 w 3032161"/>
                <a:gd name="connsiteY14" fmla="*/ 698254 h 1160647"/>
                <a:gd name="connsiteX15" fmla="*/ 250803 w 3032161"/>
                <a:gd name="connsiteY15" fmla="*/ 698525 h 1160647"/>
                <a:gd name="connsiteX16" fmla="*/ 261443 w 3032161"/>
                <a:gd name="connsiteY16" fmla="*/ 700416 h 1160647"/>
                <a:gd name="connsiteX17" fmla="*/ 261696 w 3032161"/>
                <a:gd name="connsiteY17" fmla="*/ 701227 h 1160647"/>
                <a:gd name="connsiteX18" fmla="*/ 263470 w 3032161"/>
                <a:gd name="connsiteY18" fmla="*/ 706902 h 1160647"/>
                <a:gd name="connsiteX19" fmla="*/ 264230 w 3032161"/>
                <a:gd name="connsiteY19" fmla="*/ 704470 h 1160647"/>
                <a:gd name="connsiteX20" fmla="*/ 269550 w 3032161"/>
                <a:gd name="connsiteY20" fmla="*/ 687446 h 1160647"/>
                <a:gd name="connsiteX21" fmla="*/ 271323 w 3032161"/>
                <a:gd name="connsiteY21" fmla="*/ 687446 h 1160647"/>
                <a:gd name="connsiteX22" fmla="*/ 283737 w 3032161"/>
                <a:gd name="connsiteY22" fmla="*/ 687446 h 1160647"/>
                <a:gd name="connsiteX23" fmla="*/ 283737 w 3032161"/>
                <a:gd name="connsiteY23" fmla="*/ 719872 h 1160647"/>
                <a:gd name="connsiteX24" fmla="*/ 284750 w 3032161"/>
                <a:gd name="connsiteY24" fmla="*/ 720413 h 1160647"/>
                <a:gd name="connsiteX25" fmla="*/ 291844 w 3032161"/>
                <a:gd name="connsiteY25" fmla="*/ 724196 h 1160647"/>
                <a:gd name="connsiteX26" fmla="*/ 291844 w 3032161"/>
                <a:gd name="connsiteY26" fmla="*/ 725547 h 1160647"/>
                <a:gd name="connsiteX27" fmla="*/ 291844 w 3032161"/>
                <a:gd name="connsiteY27" fmla="*/ 735005 h 1160647"/>
                <a:gd name="connsiteX28" fmla="*/ 336431 w 3032161"/>
                <a:gd name="connsiteY28" fmla="*/ 735005 h 1160647"/>
                <a:gd name="connsiteX29" fmla="*/ 336431 w 3032161"/>
                <a:gd name="connsiteY29" fmla="*/ 736086 h 1160647"/>
                <a:gd name="connsiteX30" fmla="*/ 336431 w 3032161"/>
                <a:gd name="connsiteY30" fmla="*/ 743652 h 1160647"/>
                <a:gd name="connsiteX31" fmla="*/ 338457 w 3032161"/>
                <a:gd name="connsiteY31" fmla="*/ 743652 h 1160647"/>
                <a:gd name="connsiteX32" fmla="*/ 352644 w 3032161"/>
                <a:gd name="connsiteY32" fmla="*/ 743652 h 1160647"/>
                <a:gd name="connsiteX33" fmla="*/ 352644 w 3032161"/>
                <a:gd name="connsiteY33" fmla="*/ 713387 h 1160647"/>
                <a:gd name="connsiteX34" fmla="*/ 397231 w 3032161"/>
                <a:gd name="connsiteY34" fmla="*/ 713387 h 1160647"/>
                <a:gd name="connsiteX35" fmla="*/ 397231 w 3032161"/>
                <a:gd name="connsiteY35" fmla="*/ 712036 h 1160647"/>
                <a:gd name="connsiteX36" fmla="*/ 397231 w 3032161"/>
                <a:gd name="connsiteY36" fmla="*/ 702578 h 1160647"/>
                <a:gd name="connsiteX37" fmla="*/ 398245 w 3032161"/>
                <a:gd name="connsiteY37" fmla="*/ 702578 h 1160647"/>
                <a:gd name="connsiteX38" fmla="*/ 405338 w 3032161"/>
                <a:gd name="connsiteY38" fmla="*/ 702578 h 1160647"/>
                <a:gd name="connsiteX39" fmla="*/ 405338 w 3032161"/>
                <a:gd name="connsiteY39" fmla="*/ 700687 h 1160647"/>
                <a:gd name="connsiteX40" fmla="*/ 405338 w 3032161"/>
                <a:gd name="connsiteY40" fmla="*/ 687446 h 1160647"/>
                <a:gd name="connsiteX41" fmla="*/ 406098 w 3032161"/>
                <a:gd name="connsiteY41" fmla="*/ 687446 h 1160647"/>
                <a:gd name="connsiteX42" fmla="*/ 411418 w 3032161"/>
                <a:gd name="connsiteY42" fmla="*/ 687446 h 1160647"/>
                <a:gd name="connsiteX43" fmla="*/ 411418 w 3032161"/>
                <a:gd name="connsiteY43" fmla="*/ 686365 h 1160647"/>
                <a:gd name="connsiteX44" fmla="*/ 411418 w 3032161"/>
                <a:gd name="connsiteY44" fmla="*/ 678798 h 1160647"/>
                <a:gd name="connsiteX45" fmla="*/ 413445 w 3032161"/>
                <a:gd name="connsiteY45" fmla="*/ 678798 h 1160647"/>
                <a:gd name="connsiteX46" fmla="*/ 427632 w 3032161"/>
                <a:gd name="connsiteY46" fmla="*/ 678798 h 1160647"/>
                <a:gd name="connsiteX47" fmla="*/ 427632 w 3032161"/>
                <a:gd name="connsiteY47" fmla="*/ 679879 h 1160647"/>
                <a:gd name="connsiteX48" fmla="*/ 427632 w 3032161"/>
                <a:gd name="connsiteY48" fmla="*/ 687446 h 1160647"/>
                <a:gd name="connsiteX49" fmla="*/ 449925 w 3032161"/>
                <a:gd name="connsiteY49" fmla="*/ 687446 h 1160647"/>
                <a:gd name="connsiteX50" fmla="*/ 449925 w 3032161"/>
                <a:gd name="connsiteY50" fmla="*/ 685554 h 1160647"/>
                <a:gd name="connsiteX51" fmla="*/ 449925 w 3032161"/>
                <a:gd name="connsiteY51" fmla="*/ 672313 h 1160647"/>
                <a:gd name="connsiteX52" fmla="*/ 451699 w 3032161"/>
                <a:gd name="connsiteY52" fmla="*/ 672313 h 1160647"/>
                <a:gd name="connsiteX53" fmla="*/ 464112 w 3032161"/>
                <a:gd name="connsiteY53" fmla="*/ 672313 h 1160647"/>
                <a:gd name="connsiteX54" fmla="*/ 464112 w 3032161"/>
                <a:gd name="connsiteY54" fmla="*/ 696093 h 1160647"/>
                <a:gd name="connsiteX55" fmla="*/ 465126 w 3032161"/>
                <a:gd name="connsiteY55" fmla="*/ 696093 h 1160647"/>
                <a:gd name="connsiteX56" fmla="*/ 472219 w 3032161"/>
                <a:gd name="connsiteY56" fmla="*/ 696093 h 1160647"/>
                <a:gd name="connsiteX57" fmla="*/ 472219 w 3032161"/>
                <a:gd name="connsiteY57" fmla="*/ 695012 h 1160647"/>
                <a:gd name="connsiteX58" fmla="*/ 472219 w 3032161"/>
                <a:gd name="connsiteY58" fmla="*/ 687446 h 1160647"/>
                <a:gd name="connsiteX59" fmla="*/ 473992 w 3032161"/>
                <a:gd name="connsiteY59" fmla="*/ 687446 h 1160647"/>
                <a:gd name="connsiteX60" fmla="*/ 486406 w 3032161"/>
                <a:gd name="connsiteY60" fmla="*/ 687446 h 1160647"/>
                <a:gd name="connsiteX61" fmla="*/ 486406 w 3032161"/>
                <a:gd name="connsiteY61" fmla="*/ 713387 h 1160647"/>
                <a:gd name="connsiteX62" fmla="*/ 488433 w 3032161"/>
                <a:gd name="connsiteY62" fmla="*/ 713387 h 1160647"/>
                <a:gd name="connsiteX63" fmla="*/ 502619 w 3032161"/>
                <a:gd name="connsiteY63" fmla="*/ 713387 h 1160647"/>
                <a:gd name="connsiteX64" fmla="*/ 502619 w 3032161"/>
                <a:gd name="connsiteY64" fmla="*/ 715008 h 1160647"/>
                <a:gd name="connsiteX65" fmla="*/ 502619 w 3032161"/>
                <a:gd name="connsiteY65" fmla="*/ 726358 h 1160647"/>
                <a:gd name="connsiteX66" fmla="*/ 503379 w 3032161"/>
                <a:gd name="connsiteY66" fmla="*/ 726358 h 1160647"/>
                <a:gd name="connsiteX67" fmla="*/ 508700 w 3032161"/>
                <a:gd name="connsiteY67" fmla="*/ 726358 h 1160647"/>
                <a:gd name="connsiteX68" fmla="*/ 508700 w 3032161"/>
                <a:gd name="connsiteY68" fmla="*/ 725547 h 1160647"/>
                <a:gd name="connsiteX69" fmla="*/ 508700 w 3032161"/>
                <a:gd name="connsiteY69" fmla="*/ 719872 h 1160647"/>
                <a:gd name="connsiteX70" fmla="*/ 539100 w 3032161"/>
                <a:gd name="connsiteY70" fmla="*/ 719872 h 1160647"/>
                <a:gd name="connsiteX71" fmla="*/ 539100 w 3032161"/>
                <a:gd name="connsiteY71" fmla="*/ 743652 h 1160647"/>
                <a:gd name="connsiteX72" fmla="*/ 540113 w 3032161"/>
                <a:gd name="connsiteY72" fmla="*/ 743652 h 1160647"/>
                <a:gd name="connsiteX73" fmla="*/ 547207 w 3032161"/>
                <a:gd name="connsiteY73" fmla="*/ 743652 h 1160647"/>
                <a:gd name="connsiteX74" fmla="*/ 547207 w 3032161"/>
                <a:gd name="connsiteY74" fmla="*/ 744733 h 1160647"/>
                <a:gd name="connsiteX75" fmla="*/ 547207 w 3032161"/>
                <a:gd name="connsiteY75" fmla="*/ 752299 h 1160647"/>
                <a:gd name="connsiteX76" fmla="*/ 547967 w 3032161"/>
                <a:gd name="connsiteY76" fmla="*/ 752299 h 1160647"/>
                <a:gd name="connsiteX77" fmla="*/ 553287 w 3032161"/>
                <a:gd name="connsiteY77" fmla="*/ 752299 h 1160647"/>
                <a:gd name="connsiteX78" fmla="*/ 553287 w 3032161"/>
                <a:gd name="connsiteY78" fmla="*/ 750137 h 1160647"/>
                <a:gd name="connsiteX79" fmla="*/ 553287 w 3032161"/>
                <a:gd name="connsiteY79" fmla="*/ 735005 h 1160647"/>
                <a:gd name="connsiteX80" fmla="*/ 554300 w 3032161"/>
                <a:gd name="connsiteY80" fmla="*/ 735005 h 1160647"/>
                <a:gd name="connsiteX81" fmla="*/ 561394 w 3032161"/>
                <a:gd name="connsiteY81" fmla="*/ 735005 h 1160647"/>
                <a:gd name="connsiteX82" fmla="*/ 561394 w 3032161"/>
                <a:gd name="connsiteY82" fmla="*/ 736086 h 1160647"/>
                <a:gd name="connsiteX83" fmla="*/ 561394 w 3032161"/>
                <a:gd name="connsiteY83" fmla="*/ 743652 h 1160647"/>
                <a:gd name="connsiteX84" fmla="*/ 566714 w 3032161"/>
                <a:gd name="connsiteY84" fmla="*/ 741659 h 1160647"/>
                <a:gd name="connsiteX85" fmla="*/ 567474 w 3032161"/>
                <a:gd name="connsiteY85" fmla="*/ 740679 h 1160647"/>
                <a:gd name="connsiteX86" fmla="*/ 567474 w 3032161"/>
                <a:gd name="connsiteY86" fmla="*/ 735005 h 1160647"/>
                <a:gd name="connsiteX87" fmla="*/ 605981 w 3032161"/>
                <a:gd name="connsiteY87" fmla="*/ 735005 h 1160647"/>
                <a:gd name="connsiteX88" fmla="*/ 605981 w 3032161"/>
                <a:gd name="connsiteY88" fmla="*/ 758784 h 1160647"/>
                <a:gd name="connsiteX89" fmla="*/ 608007 w 3032161"/>
                <a:gd name="connsiteY89" fmla="*/ 758784 h 1160647"/>
                <a:gd name="connsiteX90" fmla="*/ 622194 w 3032161"/>
                <a:gd name="connsiteY90" fmla="*/ 758784 h 1160647"/>
                <a:gd name="connsiteX91" fmla="*/ 622194 w 3032161"/>
                <a:gd name="connsiteY91" fmla="*/ 759865 h 1160647"/>
                <a:gd name="connsiteX92" fmla="*/ 622194 w 3032161"/>
                <a:gd name="connsiteY92" fmla="*/ 767431 h 1160647"/>
                <a:gd name="connsiteX93" fmla="*/ 623968 w 3032161"/>
                <a:gd name="connsiteY93" fmla="*/ 767431 h 1160647"/>
                <a:gd name="connsiteX94" fmla="*/ 636381 w 3032161"/>
                <a:gd name="connsiteY94" fmla="*/ 767431 h 1160647"/>
                <a:gd name="connsiteX95" fmla="*/ 636381 w 3032161"/>
                <a:gd name="connsiteY95" fmla="*/ 743652 h 1160647"/>
                <a:gd name="connsiteX96" fmla="*/ 637394 w 3032161"/>
                <a:gd name="connsiteY96" fmla="*/ 743652 h 1160647"/>
                <a:gd name="connsiteX97" fmla="*/ 644488 w 3032161"/>
                <a:gd name="connsiteY97" fmla="*/ 743652 h 1160647"/>
                <a:gd name="connsiteX98" fmla="*/ 644488 w 3032161"/>
                <a:gd name="connsiteY98" fmla="*/ 711225 h 1160647"/>
                <a:gd name="connsiteX99" fmla="*/ 645501 w 3032161"/>
                <a:gd name="connsiteY99" fmla="*/ 711225 h 1160647"/>
                <a:gd name="connsiteX100" fmla="*/ 652595 w 3032161"/>
                <a:gd name="connsiteY100" fmla="*/ 711225 h 1160647"/>
                <a:gd name="connsiteX101" fmla="*/ 652595 w 3032161"/>
                <a:gd name="connsiteY101" fmla="*/ 709334 h 1160647"/>
                <a:gd name="connsiteX102" fmla="*/ 652595 w 3032161"/>
                <a:gd name="connsiteY102" fmla="*/ 696093 h 1160647"/>
                <a:gd name="connsiteX103" fmla="*/ 651328 w 3032161"/>
                <a:gd name="connsiteY103" fmla="*/ 694471 h 1160647"/>
                <a:gd name="connsiteX104" fmla="*/ 656648 w 3032161"/>
                <a:gd name="connsiteY104" fmla="*/ 683122 h 1160647"/>
                <a:gd name="connsiteX105" fmla="*/ 664755 w 3032161"/>
                <a:gd name="connsiteY105" fmla="*/ 711225 h 1160647"/>
                <a:gd name="connsiteX106" fmla="*/ 665515 w 3032161"/>
                <a:gd name="connsiteY106" fmla="*/ 711225 h 1160647"/>
                <a:gd name="connsiteX107" fmla="*/ 670835 w 3032161"/>
                <a:gd name="connsiteY107" fmla="*/ 711225 h 1160647"/>
                <a:gd name="connsiteX108" fmla="*/ 670835 w 3032161"/>
                <a:gd name="connsiteY108" fmla="*/ 605298 h 1160647"/>
                <a:gd name="connsiteX109" fmla="*/ 672355 w 3032161"/>
                <a:gd name="connsiteY109" fmla="*/ 605298 h 1160647"/>
                <a:gd name="connsiteX110" fmla="*/ 682995 w 3032161"/>
                <a:gd name="connsiteY110" fmla="*/ 605298 h 1160647"/>
                <a:gd name="connsiteX111" fmla="*/ 682995 w 3032161"/>
                <a:gd name="connsiteY111" fmla="*/ 557739 h 1160647"/>
                <a:gd name="connsiteX112" fmla="*/ 709342 w 3032161"/>
                <a:gd name="connsiteY112" fmla="*/ 557739 h 1160647"/>
                <a:gd name="connsiteX113" fmla="*/ 709342 w 3032161"/>
                <a:gd name="connsiteY113" fmla="*/ 536121 h 1160647"/>
                <a:gd name="connsiteX114" fmla="*/ 743796 w 3032161"/>
                <a:gd name="connsiteY114" fmla="*/ 536121 h 1160647"/>
                <a:gd name="connsiteX115" fmla="*/ 743796 w 3032161"/>
                <a:gd name="connsiteY115" fmla="*/ 538553 h 1160647"/>
                <a:gd name="connsiteX116" fmla="*/ 743796 w 3032161"/>
                <a:gd name="connsiteY116" fmla="*/ 555577 h 1160647"/>
                <a:gd name="connsiteX117" fmla="*/ 746076 w 3032161"/>
                <a:gd name="connsiteY117" fmla="*/ 555577 h 1160647"/>
                <a:gd name="connsiteX118" fmla="*/ 762036 w 3032161"/>
                <a:gd name="connsiteY118" fmla="*/ 555577 h 1160647"/>
                <a:gd name="connsiteX119" fmla="*/ 762036 w 3032161"/>
                <a:gd name="connsiteY119" fmla="*/ 603136 h 1160647"/>
                <a:gd name="connsiteX120" fmla="*/ 763049 w 3032161"/>
                <a:gd name="connsiteY120" fmla="*/ 603136 h 1160647"/>
                <a:gd name="connsiteX121" fmla="*/ 770143 w 3032161"/>
                <a:gd name="connsiteY121" fmla="*/ 603136 h 1160647"/>
                <a:gd name="connsiteX122" fmla="*/ 784330 w 3032161"/>
                <a:gd name="connsiteY122" fmla="*/ 607460 h 1160647"/>
                <a:gd name="connsiteX123" fmla="*/ 784330 w 3032161"/>
                <a:gd name="connsiteY123" fmla="*/ 646372 h 1160647"/>
                <a:gd name="connsiteX124" fmla="*/ 785343 w 3032161"/>
                <a:gd name="connsiteY124" fmla="*/ 646372 h 1160647"/>
                <a:gd name="connsiteX125" fmla="*/ 792436 w 3032161"/>
                <a:gd name="connsiteY125" fmla="*/ 646372 h 1160647"/>
                <a:gd name="connsiteX126" fmla="*/ 792436 w 3032161"/>
                <a:gd name="connsiteY126" fmla="*/ 647993 h 1160647"/>
                <a:gd name="connsiteX127" fmla="*/ 792436 w 3032161"/>
                <a:gd name="connsiteY127" fmla="*/ 659342 h 1160647"/>
                <a:gd name="connsiteX128" fmla="*/ 794463 w 3032161"/>
                <a:gd name="connsiteY128" fmla="*/ 659342 h 1160647"/>
                <a:gd name="connsiteX129" fmla="*/ 808650 w 3032161"/>
                <a:gd name="connsiteY129" fmla="*/ 659342 h 1160647"/>
                <a:gd name="connsiteX130" fmla="*/ 814730 w 3032161"/>
                <a:gd name="connsiteY130" fmla="*/ 665828 h 1160647"/>
                <a:gd name="connsiteX131" fmla="*/ 814730 w 3032161"/>
                <a:gd name="connsiteY131" fmla="*/ 687446 h 1160647"/>
                <a:gd name="connsiteX132" fmla="*/ 817010 w 3032161"/>
                <a:gd name="connsiteY132" fmla="*/ 687446 h 1160647"/>
                <a:gd name="connsiteX133" fmla="*/ 832970 w 3032161"/>
                <a:gd name="connsiteY133" fmla="*/ 687446 h 1160647"/>
                <a:gd name="connsiteX134" fmla="*/ 832970 w 3032161"/>
                <a:gd name="connsiteY134" fmla="*/ 688526 h 1160647"/>
                <a:gd name="connsiteX135" fmla="*/ 832970 w 3032161"/>
                <a:gd name="connsiteY135" fmla="*/ 696093 h 1160647"/>
                <a:gd name="connsiteX136" fmla="*/ 834237 w 3032161"/>
                <a:gd name="connsiteY136" fmla="*/ 696093 h 1160647"/>
                <a:gd name="connsiteX137" fmla="*/ 843104 w 3032161"/>
                <a:gd name="connsiteY137" fmla="*/ 696093 h 1160647"/>
                <a:gd name="connsiteX138" fmla="*/ 843104 w 3032161"/>
                <a:gd name="connsiteY138" fmla="*/ 698254 h 1160647"/>
                <a:gd name="connsiteX139" fmla="*/ 843104 w 3032161"/>
                <a:gd name="connsiteY139" fmla="*/ 713387 h 1160647"/>
                <a:gd name="connsiteX140" fmla="*/ 847157 w 3032161"/>
                <a:gd name="connsiteY140" fmla="*/ 711495 h 1160647"/>
                <a:gd name="connsiteX141" fmla="*/ 847157 w 3032161"/>
                <a:gd name="connsiteY141" fmla="*/ 698254 h 1160647"/>
                <a:gd name="connsiteX142" fmla="*/ 848170 w 3032161"/>
                <a:gd name="connsiteY142" fmla="*/ 698254 h 1160647"/>
                <a:gd name="connsiteX143" fmla="*/ 855264 w 3032161"/>
                <a:gd name="connsiteY143" fmla="*/ 698254 h 1160647"/>
                <a:gd name="connsiteX144" fmla="*/ 855264 w 3032161"/>
                <a:gd name="connsiteY144" fmla="*/ 699876 h 1160647"/>
                <a:gd name="connsiteX145" fmla="*/ 855264 w 3032161"/>
                <a:gd name="connsiteY145" fmla="*/ 711225 h 1160647"/>
                <a:gd name="connsiteX146" fmla="*/ 856024 w 3032161"/>
                <a:gd name="connsiteY146" fmla="*/ 711225 h 1160647"/>
                <a:gd name="connsiteX147" fmla="*/ 861344 w 3032161"/>
                <a:gd name="connsiteY147" fmla="*/ 711225 h 1160647"/>
                <a:gd name="connsiteX148" fmla="*/ 909984 w 3032161"/>
                <a:gd name="connsiteY148" fmla="*/ 706902 h 1160647"/>
                <a:gd name="connsiteX149" fmla="*/ 909984 w 3032161"/>
                <a:gd name="connsiteY149" fmla="*/ 708253 h 1160647"/>
                <a:gd name="connsiteX150" fmla="*/ 909984 w 3032161"/>
                <a:gd name="connsiteY150" fmla="*/ 717710 h 1160647"/>
                <a:gd name="connsiteX151" fmla="*/ 910744 w 3032161"/>
                <a:gd name="connsiteY151" fmla="*/ 717710 h 1160647"/>
                <a:gd name="connsiteX152" fmla="*/ 916065 w 3032161"/>
                <a:gd name="connsiteY152" fmla="*/ 717710 h 1160647"/>
                <a:gd name="connsiteX153" fmla="*/ 916065 w 3032161"/>
                <a:gd name="connsiteY153" fmla="*/ 719872 h 1160647"/>
                <a:gd name="connsiteX154" fmla="*/ 916065 w 3032161"/>
                <a:gd name="connsiteY154" fmla="*/ 735005 h 1160647"/>
                <a:gd name="connsiteX155" fmla="*/ 918091 w 3032161"/>
                <a:gd name="connsiteY155" fmla="*/ 733654 h 1160647"/>
                <a:gd name="connsiteX156" fmla="*/ 932278 w 3032161"/>
                <a:gd name="connsiteY156" fmla="*/ 724196 h 1160647"/>
                <a:gd name="connsiteX157" fmla="*/ 938358 w 3032161"/>
                <a:gd name="connsiteY157" fmla="*/ 683122 h 1160647"/>
                <a:gd name="connsiteX158" fmla="*/ 939118 w 3032161"/>
                <a:gd name="connsiteY158" fmla="*/ 682852 h 1160647"/>
                <a:gd name="connsiteX159" fmla="*/ 944438 w 3032161"/>
                <a:gd name="connsiteY159" fmla="*/ 680960 h 1160647"/>
                <a:gd name="connsiteX160" fmla="*/ 946465 w 3032161"/>
                <a:gd name="connsiteY160" fmla="*/ 611783 h 1160647"/>
                <a:gd name="connsiteX161" fmla="*/ 948492 w 3032161"/>
                <a:gd name="connsiteY161" fmla="*/ 680960 h 1160647"/>
                <a:gd name="connsiteX162" fmla="*/ 949252 w 3032161"/>
                <a:gd name="connsiteY162" fmla="*/ 681230 h 1160647"/>
                <a:gd name="connsiteX163" fmla="*/ 954572 w 3032161"/>
                <a:gd name="connsiteY163" fmla="*/ 683122 h 1160647"/>
                <a:gd name="connsiteX164" fmla="*/ 954572 w 3032161"/>
                <a:gd name="connsiteY164" fmla="*/ 596651 h 1160647"/>
                <a:gd name="connsiteX165" fmla="*/ 958625 w 3032161"/>
                <a:gd name="connsiteY165" fmla="*/ 564224 h 1160647"/>
                <a:gd name="connsiteX166" fmla="*/ 997132 w 3032161"/>
                <a:gd name="connsiteY166" fmla="*/ 564224 h 1160647"/>
                <a:gd name="connsiteX167" fmla="*/ 997132 w 3032161"/>
                <a:gd name="connsiteY167" fmla="*/ 596651 h 1160647"/>
                <a:gd name="connsiteX168" fmla="*/ 997892 w 3032161"/>
                <a:gd name="connsiteY168" fmla="*/ 596651 h 1160647"/>
                <a:gd name="connsiteX169" fmla="*/ 1003212 w 3032161"/>
                <a:gd name="connsiteY169" fmla="*/ 596651 h 1160647"/>
                <a:gd name="connsiteX170" fmla="*/ 1003212 w 3032161"/>
                <a:gd name="connsiteY170" fmla="*/ 514503 h 1160647"/>
                <a:gd name="connsiteX171" fmla="*/ 1004986 w 3032161"/>
                <a:gd name="connsiteY171" fmla="*/ 514503 h 1160647"/>
                <a:gd name="connsiteX172" fmla="*/ 1017399 w 3032161"/>
                <a:gd name="connsiteY172" fmla="*/ 514503 h 1160647"/>
                <a:gd name="connsiteX173" fmla="*/ 1017399 w 3032161"/>
                <a:gd name="connsiteY173" fmla="*/ 512612 h 1160647"/>
                <a:gd name="connsiteX174" fmla="*/ 1017399 w 3032161"/>
                <a:gd name="connsiteY174" fmla="*/ 499371 h 1160647"/>
                <a:gd name="connsiteX175" fmla="*/ 1039693 w 3032161"/>
                <a:gd name="connsiteY175" fmla="*/ 499371 h 1160647"/>
                <a:gd name="connsiteX176" fmla="*/ 1039693 w 3032161"/>
                <a:gd name="connsiteY176" fmla="*/ 498290 h 1160647"/>
                <a:gd name="connsiteX177" fmla="*/ 1039693 w 3032161"/>
                <a:gd name="connsiteY177" fmla="*/ 490724 h 1160647"/>
                <a:gd name="connsiteX178" fmla="*/ 1041466 w 3032161"/>
                <a:gd name="connsiteY178" fmla="*/ 490724 h 1160647"/>
                <a:gd name="connsiteX179" fmla="*/ 1053880 w 3032161"/>
                <a:gd name="connsiteY179" fmla="*/ 490724 h 1160647"/>
                <a:gd name="connsiteX180" fmla="*/ 1053880 w 3032161"/>
                <a:gd name="connsiteY180" fmla="*/ 491805 h 1160647"/>
                <a:gd name="connsiteX181" fmla="*/ 1053880 w 3032161"/>
                <a:gd name="connsiteY181" fmla="*/ 499371 h 1160647"/>
                <a:gd name="connsiteX182" fmla="*/ 1054640 w 3032161"/>
                <a:gd name="connsiteY182" fmla="*/ 499371 h 1160647"/>
                <a:gd name="connsiteX183" fmla="*/ 1059960 w 3032161"/>
                <a:gd name="connsiteY183" fmla="*/ 499371 h 1160647"/>
                <a:gd name="connsiteX184" fmla="*/ 1070093 w 3032161"/>
                <a:gd name="connsiteY184" fmla="*/ 495047 h 1160647"/>
                <a:gd name="connsiteX185" fmla="*/ 1074146 w 3032161"/>
                <a:gd name="connsiteY185" fmla="*/ 498290 h 1160647"/>
                <a:gd name="connsiteX186" fmla="*/ 1074146 w 3032161"/>
                <a:gd name="connsiteY186" fmla="*/ 490724 h 1160647"/>
                <a:gd name="connsiteX187" fmla="*/ 1076426 w 3032161"/>
                <a:gd name="connsiteY187" fmla="*/ 490724 h 1160647"/>
                <a:gd name="connsiteX188" fmla="*/ 1092387 w 3032161"/>
                <a:gd name="connsiteY188" fmla="*/ 490724 h 1160647"/>
                <a:gd name="connsiteX189" fmla="*/ 1092387 w 3032161"/>
                <a:gd name="connsiteY189" fmla="*/ 491805 h 1160647"/>
                <a:gd name="connsiteX190" fmla="*/ 1092387 w 3032161"/>
                <a:gd name="connsiteY190" fmla="*/ 499371 h 1160647"/>
                <a:gd name="connsiteX191" fmla="*/ 1122787 w 3032161"/>
                <a:gd name="connsiteY191" fmla="*/ 499371 h 1160647"/>
                <a:gd name="connsiteX192" fmla="*/ 1122787 w 3032161"/>
                <a:gd name="connsiteY192" fmla="*/ 500992 h 1160647"/>
                <a:gd name="connsiteX193" fmla="*/ 1122787 w 3032161"/>
                <a:gd name="connsiteY193" fmla="*/ 512342 h 1160647"/>
                <a:gd name="connsiteX194" fmla="*/ 1149134 w 3032161"/>
                <a:gd name="connsiteY194" fmla="*/ 512342 h 1160647"/>
                <a:gd name="connsiteX195" fmla="*/ 1149134 w 3032161"/>
                <a:gd name="connsiteY195" fmla="*/ 542606 h 1160647"/>
                <a:gd name="connsiteX196" fmla="*/ 1149894 w 3032161"/>
                <a:gd name="connsiteY196" fmla="*/ 542606 h 1160647"/>
                <a:gd name="connsiteX197" fmla="*/ 1155214 w 3032161"/>
                <a:gd name="connsiteY197" fmla="*/ 542606 h 1160647"/>
                <a:gd name="connsiteX198" fmla="*/ 1155214 w 3032161"/>
                <a:gd name="connsiteY198" fmla="*/ 543687 h 1160647"/>
                <a:gd name="connsiteX199" fmla="*/ 1155214 w 3032161"/>
                <a:gd name="connsiteY199" fmla="*/ 551254 h 1160647"/>
                <a:gd name="connsiteX200" fmla="*/ 1159268 w 3032161"/>
                <a:gd name="connsiteY200" fmla="*/ 581518 h 1160647"/>
                <a:gd name="connsiteX201" fmla="*/ 1160028 w 3032161"/>
                <a:gd name="connsiteY201" fmla="*/ 581518 h 1160647"/>
                <a:gd name="connsiteX202" fmla="*/ 1165348 w 3032161"/>
                <a:gd name="connsiteY202" fmla="*/ 581518 h 1160647"/>
                <a:gd name="connsiteX203" fmla="*/ 1165348 w 3032161"/>
                <a:gd name="connsiteY203" fmla="*/ 582329 h 1160647"/>
                <a:gd name="connsiteX204" fmla="*/ 1165348 w 3032161"/>
                <a:gd name="connsiteY204" fmla="*/ 588004 h 1160647"/>
                <a:gd name="connsiteX205" fmla="*/ 1166361 w 3032161"/>
                <a:gd name="connsiteY205" fmla="*/ 588004 h 1160647"/>
                <a:gd name="connsiteX206" fmla="*/ 1173454 w 3032161"/>
                <a:gd name="connsiteY206" fmla="*/ 588004 h 1160647"/>
                <a:gd name="connsiteX207" fmla="*/ 1173454 w 3032161"/>
                <a:gd name="connsiteY207" fmla="*/ 618269 h 1160647"/>
                <a:gd name="connsiteX208" fmla="*/ 1175481 w 3032161"/>
                <a:gd name="connsiteY208" fmla="*/ 618269 h 1160647"/>
                <a:gd name="connsiteX209" fmla="*/ 1189668 w 3032161"/>
                <a:gd name="connsiteY209" fmla="*/ 618269 h 1160647"/>
                <a:gd name="connsiteX210" fmla="*/ 1189668 w 3032161"/>
                <a:gd name="connsiteY210" fmla="*/ 642048 h 1160647"/>
                <a:gd name="connsiteX211" fmla="*/ 1191695 w 3032161"/>
                <a:gd name="connsiteY211" fmla="*/ 643669 h 1160647"/>
                <a:gd name="connsiteX212" fmla="*/ 1191695 w 3032161"/>
                <a:gd name="connsiteY212" fmla="*/ 655019 h 1160647"/>
                <a:gd name="connsiteX213" fmla="*/ 1192455 w 3032161"/>
                <a:gd name="connsiteY213" fmla="*/ 655019 h 1160647"/>
                <a:gd name="connsiteX214" fmla="*/ 1197775 w 3032161"/>
                <a:gd name="connsiteY214" fmla="*/ 655019 h 1160647"/>
                <a:gd name="connsiteX215" fmla="*/ 1197775 w 3032161"/>
                <a:gd name="connsiteY215" fmla="*/ 678798 h 1160647"/>
                <a:gd name="connsiteX216" fmla="*/ 1199041 w 3032161"/>
                <a:gd name="connsiteY216" fmla="*/ 678798 h 1160647"/>
                <a:gd name="connsiteX217" fmla="*/ 1207908 w 3032161"/>
                <a:gd name="connsiteY217" fmla="*/ 678798 h 1160647"/>
                <a:gd name="connsiteX218" fmla="*/ 1209935 w 3032161"/>
                <a:gd name="connsiteY218" fmla="*/ 682852 h 1160647"/>
                <a:gd name="connsiteX219" fmla="*/ 1209935 w 3032161"/>
                <a:gd name="connsiteY219" fmla="*/ 696093 h 1160647"/>
                <a:gd name="connsiteX220" fmla="*/ 1211455 w 3032161"/>
                <a:gd name="connsiteY220" fmla="*/ 694201 h 1160647"/>
                <a:gd name="connsiteX221" fmla="*/ 1222095 w 3032161"/>
                <a:gd name="connsiteY221" fmla="*/ 680960 h 1160647"/>
                <a:gd name="connsiteX222" fmla="*/ 1250469 w 3032161"/>
                <a:gd name="connsiteY222" fmla="*/ 680960 h 1160647"/>
                <a:gd name="connsiteX223" fmla="*/ 1250469 w 3032161"/>
                <a:gd name="connsiteY223" fmla="*/ 767431 h 1160647"/>
                <a:gd name="connsiteX224" fmla="*/ 1251229 w 3032161"/>
                <a:gd name="connsiteY224" fmla="*/ 767431 h 1160647"/>
                <a:gd name="connsiteX225" fmla="*/ 1256549 w 3032161"/>
                <a:gd name="connsiteY225" fmla="*/ 767431 h 1160647"/>
                <a:gd name="connsiteX226" fmla="*/ 1257309 w 3032161"/>
                <a:gd name="connsiteY226" fmla="*/ 766080 h 1160647"/>
                <a:gd name="connsiteX227" fmla="*/ 1262629 w 3032161"/>
                <a:gd name="connsiteY227" fmla="*/ 756622 h 1160647"/>
                <a:gd name="connsiteX228" fmla="*/ 1262629 w 3032161"/>
                <a:gd name="connsiteY228" fmla="*/ 758514 h 1160647"/>
                <a:gd name="connsiteX229" fmla="*/ 1262629 w 3032161"/>
                <a:gd name="connsiteY229" fmla="*/ 771755 h 1160647"/>
                <a:gd name="connsiteX230" fmla="*/ 1266682 w 3032161"/>
                <a:gd name="connsiteY230" fmla="*/ 726358 h 1160647"/>
                <a:gd name="connsiteX231" fmla="*/ 1267442 w 3032161"/>
                <a:gd name="connsiteY231" fmla="*/ 726358 h 1160647"/>
                <a:gd name="connsiteX232" fmla="*/ 1272762 w 3032161"/>
                <a:gd name="connsiteY232" fmla="*/ 726358 h 1160647"/>
                <a:gd name="connsiteX233" fmla="*/ 1272762 w 3032161"/>
                <a:gd name="connsiteY233" fmla="*/ 661504 h 1160647"/>
                <a:gd name="connsiteX234" fmla="*/ 1273776 w 3032161"/>
                <a:gd name="connsiteY234" fmla="*/ 661504 h 1160647"/>
                <a:gd name="connsiteX235" fmla="*/ 1280869 w 3032161"/>
                <a:gd name="connsiteY235" fmla="*/ 661504 h 1160647"/>
                <a:gd name="connsiteX236" fmla="*/ 1293029 w 3032161"/>
                <a:gd name="connsiteY236" fmla="*/ 618269 h 1160647"/>
                <a:gd name="connsiteX237" fmla="*/ 1294296 w 3032161"/>
                <a:gd name="connsiteY237" fmla="*/ 618269 h 1160647"/>
                <a:gd name="connsiteX238" fmla="*/ 1303163 w 3032161"/>
                <a:gd name="connsiteY238" fmla="*/ 618269 h 1160647"/>
                <a:gd name="connsiteX239" fmla="*/ 1313296 w 3032161"/>
                <a:gd name="connsiteY239" fmla="*/ 661504 h 1160647"/>
                <a:gd name="connsiteX240" fmla="*/ 1314309 w 3032161"/>
                <a:gd name="connsiteY240" fmla="*/ 661504 h 1160647"/>
                <a:gd name="connsiteX241" fmla="*/ 1321403 w 3032161"/>
                <a:gd name="connsiteY241" fmla="*/ 661504 h 1160647"/>
                <a:gd name="connsiteX242" fmla="*/ 1321403 w 3032161"/>
                <a:gd name="connsiteY242" fmla="*/ 700416 h 1160647"/>
                <a:gd name="connsiteX243" fmla="*/ 1323176 w 3032161"/>
                <a:gd name="connsiteY243" fmla="*/ 700416 h 1160647"/>
                <a:gd name="connsiteX244" fmla="*/ 1335590 w 3032161"/>
                <a:gd name="connsiteY244" fmla="*/ 700416 h 1160647"/>
                <a:gd name="connsiteX245" fmla="*/ 1335590 w 3032161"/>
                <a:gd name="connsiteY245" fmla="*/ 702578 h 1160647"/>
                <a:gd name="connsiteX246" fmla="*/ 1335590 w 3032161"/>
                <a:gd name="connsiteY246" fmla="*/ 717710 h 1160647"/>
                <a:gd name="connsiteX247" fmla="*/ 1339643 w 3032161"/>
                <a:gd name="connsiteY247" fmla="*/ 715549 h 1160647"/>
                <a:gd name="connsiteX248" fmla="*/ 1339643 w 3032161"/>
                <a:gd name="connsiteY248" fmla="*/ 700416 h 1160647"/>
                <a:gd name="connsiteX249" fmla="*/ 1341163 w 3032161"/>
                <a:gd name="connsiteY249" fmla="*/ 700416 h 1160647"/>
                <a:gd name="connsiteX250" fmla="*/ 1351803 w 3032161"/>
                <a:gd name="connsiteY250" fmla="*/ 700416 h 1160647"/>
                <a:gd name="connsiteX251" fmla="*/ 1351803 w 3032161"/>
                <a:gd name="connsiteY251" fmla="*/ 702037 h 1160647"/>
                <a:gd name="connsiteX252" fmla="*/ 1351803 w 3032161"/>
                <a:gd name="connsiteY252" fmla="*/ 713387 h 1160647"/>
                <a:gd name="connsiteX253" fmla="*/ 1382204 w 3032161"/>
                <a:gd name="connsiteY253" fmla="*/ 713387 h 1160647"/>
                <a:gd name="connsiteX254" fmla="*/ 1382204 w 3032161"/>
                <a:gd name="connsiteY254" fmla="*/ 676637 h 1160647"/>
                <a:gd name="connsiteX255" fmla="*/ 1383470 w 3032161"/>
                <a:gd name="connsiteY255" fmla="*/ 676637 h 1160647"/>
                <a:gd name="connsiteX256" fmla="*/ 1392337 w 3032161"/>
                <a:gd name="connsiteY256" fmla="*/ 676637 h 1160647"/>
                <a:gd name="connsiteX257" fmla="*/ 1392337 w 3032161"/>
                <a:gd name="connsiteY257" fmla="*/ 698254 h 1160647"/>
                <a:gd name="connsiteX258" fmla="*/ 1394364 w 3032161"/>
                <a:gd name="connsiteY258" fmla="*/ 665828 h 1160647"/>
                <a:gd name="connsiteX259" fmla="*/ 1416657 w 3032161"/>
                <a:gd name="connsiteY259" fmla="*/ 665828 h 1160647"/>
                <a:gd name="connsiteX260" fmla="*/ 1416657 w 3032161"/>
                <a:gd name="connsiteY260" fmla="*/ 664206 h 1160647"/>
                <a:gd name="connsiteX261" fmla="*/ 1416657 w 3032161"/>
                <a:gd name="connsiteY261" fmla="*/ 652857 h 1160647"/>
                <a:gd name="connsiteX262" fmla="*/ 1417417 w 3032161"/>
                <a:gd name="connsiteY262" fmla="*/ 652857 h 1160647"/>
                <a:gd name="connsiteX263" fmla="*/ 1422737 w 3032161"/>
                <a:gd name="connsiteY263" fmla="*/ 652857 h 1160647"/>
                <a:gd name="connsiteX264" fmla="*/ 1422737 w 3032161"/>
                <a:gd name="connsiteY264" fmla="*/ 650966 h 1160647"/>
                <a:gd name="connsiteX265" fmla="*/ 1422737 w 3032161"/>
                <a:gd name="connsiteY265" fmla="*/ 637725 h 1160647"/>
                <a:gd name="connsiteX266" fmla="*/ 1426791 w 3032161"/>
                <a:gd name="connsiteY266" fmla="*/ 644210 h 1160647"/>
                <a:gd name="connsiteX267" fmla="*/ 1429071 w 3032161"/>
                <a:gd name="connsiteY267" fmla="*/ 644210 h 1160647"/>
                <a:gd name="connsiteX268" fmla="*/ 1445031 w 3032161"/>
                <a:gd name="connsiteY268" fmla="*/ 644210 h 1160647"/>
                <a:gd name="connsiteX269" fmla="*/ 1445031 w 3032161"/>
                <a:gd name="connsiteY269" fmla="*/ 643399 h 1160647"/>
                <a:gd name="connsiteX270" fmla="*/ 1445031 w 3032161"/>
                <a:gd name="connsiteY270" fmla="*/ 637725 h 1160647"/>
                <a:gd name="connsiteX271" fmla="*/ 1445791 w 3032161"/>
                <a:gd name="connsiteY271" fmla="*/ 637725 h 1160647"/>
                <a:gd name="connsiteX272" fmla="*/ 1451111 w 3032161"/>
                <a:gd name="connsiteY272" fmla="*/ 637725 h 1160647"/>
                <a:gd name="connsiteX273" fmla="*/ 1451111 w 3032161"/>
                <a:gd name="connsiteY273" fmla="*/ 639076 h 1160647"/>
                <a:gd name="connsiteX274" fmla="*/ 1451111 w 3032161"/>
                <a:gd name="connsiteY274" fmla="*/ 648534 h 1160647"/>
                <a:gd name="connsiteX275" fmla="*/ 1489618 w 3032161"/>
                <a:gd name="connsiteY275" fmla="*/ 648534 h 1160647"/>
                <a:gd name="connsiteX276" fmla="*/ 1489618 w 3032161"/>
                <a:gd name="connsiteY276" fmla="*/ 786887 h 1160647"/>
                <a:gd name="connsiteX277" fmla="*/ 1491138 w 3032161"/>
                <a:gd name="connsiteY277" fmla="*/ 786887 h 1160647"/>
                <a:gd name="connsiteX278" fmla="*/ 1501778 w 3032161"/>
                <a:gd name="connsiteY278" fmla="*/ 786887 h 1160647"/>
                <a:gd name="connsiteX279" fmla="*/ 1501778 w 3032161"/>
                <a:gd name="connsiteY279" fmla="*/ 773917 h 1160647"/>
                <a:gd name="connsiteX280" fmla="*/ 1505832 w 3032161"/>
                <a:gd name="connsiteY280" fmla="*/ 773917 h 1160647"/>
                <a:gd name="connsiteX281" fmla="*/ 1505832 w 3032161"/>
                <a:gd name="connsiteY281" fmla="*/ 786887 h 1160647"/>
                <a:gd name="connsiteX282" fmla="*/ 1536232 w 3032161"/>
                <a:gd name="connsiteY282" fmla="*/ 786887 h 1160647"/>
                <a:gd name="connsiteX283" fmla="*/ 1536232 w 3032161"/>
                <a:gd name="connsiteY283" fmla="*/ 756622 h 1160647"/>
                <a:gd name="connsiteX284" fmla="*/ 1548392 w 3032161"/>
                <a:gd name="connsiteY284" fmla="*/ 756622 h 1160647"/>
                <a:gd name="connsiteX285" fmla="*/ 1560552 w 3032161"/>
                <a:gd name="connsiteY285" fmla="*/ 754461 h 1160647"/>
                <a:gd name="connsiteX286" fmla="*/ 1564606 w 3032161"/>
                <a:gd name="connsiteY286" fmla="*/ 756622 h 1160647"/>
                <a:gd name="connsiteX287" fmla="*/ 1574739 w 3032161"/>
                <a:gd name="connsiteY287" fmla="*/ 756622 h 1160647"/>
                <a:gd name="connsiteX288" fmla="*/ 1574739 w 3032161"/>
                <a:gd name="connsiteY288" fmla="*/ 786887 h 1160647"/>
                <a:gd name="connsiteX289" fmla="*/ 1582846 w 3032161"/>
                <a:gd name="connsiteY289" fmla="*/ 786887 h 1160647"/>
                <a:gd name="connsiteX290" fmla="*/ 1582846 w 3032161"/>
                <a:gd name="connsiteY290" fmla="*/ 804182 h 1160647"/>
                <a:gd name="connsiteX291" fmla="*/ 1592182 w 3032161"/>
                <a:gd name="connsiteY291" fmla="*/ 805087 h 1160647"/>
                <a:gd name="connsiteX292" fmla="*/ 1605140 w 3032161"/>
                <a:gd name="connsiteY292" fmla="*/ 805087 h 1160647"/>
                <a:gd name="connsiteX293" fmla="*/ 1605140 w 3032161"/>
                <a:gd name="connsiteY293" fmla="*/ 789049 h 1160647"/>
                <a:gd name="connsiteX294" fmla="*/ 1673096 w 3032161"/>
                <a:gd name="connsiteY294" fmla="*/ 789049 h 1160647"/>
                <a:gd name="connsiteX295" fmla="*/ 1673096 w 3032161"/>
                <a:gd name="connsiteY295" fmla="*/ 703796 h 1160647"/>
                <a:gd name="connsiteX296" fmla="*/ 1745104 w 3032161"/>
                <a:gd name="connsiteY296" fmla="*/ 703796 h 1160647"/>
                <a:gd name="connsiteX297" fmla="*/ 1745104 w 3032161"/>
                <a:gd name="connsiteY297" fmla="*/ 782564 h 1160647"/>
                <a:gd name="connsiteX298" fmla="*/ 1747008 w 3032161"/>
                <a:gd name="connsiteY298" fmla="*/ 782564 h 1160647"/>
                <a:gd name="connsiteX299" fmla="*/ 1748250 w 3032161"/>
                <a:gd name="connsiteY299" fmla="*/ 805087 h 1160647"/>
                <a:gd name="connsiteX300" fmla="*/ 1757926 w 3032161"/>
                <a:gd name="connsiteY300" fmla="*/ 805087 h 1160647"/>
                <a:gd name="connsiteX301" fmla="*/ 1759168 w 3032161"/>
                <a:gd name="connsiteY301" fmla="*/ 782564 h 1160647"/>
                <a:gd name="connsiteX302" fmla="*/ 1765248 w 3032161"/>
                <a:gd name="connsiteY302" fmla="*/ 782564 h 1160647"/>
                <a:gd name="connsiteX303" fmla="*/ 1766490 w 3032161"/>
                <a:gd name="connsiteY303" fmla="*/ 805087 h 1160647"/>
                <a:gd name="connsiteX304" fmla="*/ 1817112 w 3032161"/>
                <a:gd name="connsiteY304" fmla="*/ 805087 h 1160647"/>
                <a:gd name="connsiteX305" fmla="*/ 1817112 w 3032161"/>
                <a:gd name="connsiteY305" fmla="*/ 642059 h 1160647"/>
                <a:gd name="connsiteX306" fmla="*/ 2014439 w 3032161"/>
                <a:gd name="connsiteY306" fmla="*/ 642059 h 1160647"/>
                <a:gd name="connsiteX307" fmla="*/ 2014439 w 3032161"/>
                <a:gd name="connsiteY307" fmla="*/ 805087 h 1160647"/>
                <a:gd name="connsiteX308" fmla="*/ 2033136 w 3032161"/>
                <a:gd name="connsiteY308" fmla="*/ 805087 h 1160647"/>
                <a:gd name="connsiteX309" fmla="*/ 2033136 w 3032161"/>
                <a:gd name="connsiteY309" fmla="*/ 722394 h 1160647"/>
                <a:gd name="connsiteX310" fmla="*/ 2128256 w 3032161"/>
                <a:gd name="connsiteY310" fmla="*/ 722394 h 1160647"/>
                <a:gd name="connsiteX311" fmla="*/ 2140186 w 3032161"/>
                <a:gd name="connsiteY311" fmla="*/ 404253 h 1160647"/>
                <a:gd name="connsiteX312" fmla="*/ 2128026 w 3032161"/>
                <a:gd name="connsiteY312" fmla="*/ 382635 h 1160647"/>
                <a:gd name="connsiteX313" fmla="*/ 2121946 w 3032161"/>
                <a:gd name="connsiteY313" fmla="*/ 378311 h 1160647"/>
                <a:gd name="connsiteX314" fmla="*/ 2130053 w 3032161"/>
                <a:gd name="connsiteY314" fmla="*/ 354532 h 1160647"/>
                <a:gd name="connsiteX315" fmla="*/ 2130053 w 3032161"/>
                <a:gd name="connsiteY315" fmla="*/ 337238 h 1160647"/>
                <a:gd name="connsiteX316" fmla="*/ 2144240 w 3032161"/>
                <a:gd name="connsiteY316" fmla="*/ 337238 h 1160647"/>
                <a:gd name="connsiteX317" fmla="*/ 2144240 w 3032161"/>
                <a:gd name="connsiteY317" fmla="*/ 315620 h 1160647"/>
                <a:gd name="connsiteX318" fmla="*/ 2146266 w 3032161"/>
                <a:gd name="connsiteY318" fmla="*/ 311296 h 1160647"/>
                <a:gd name="connsiteX319" fmla="*/ 2146266 w 3032161"/>
                <a:gd name="connsiteY319" fmla="*/ 233472 h 1160647"/>
                <a:gd name="connsiteX320" fmla="*/ 2144240 w 3032161"/>
                <a:gd name="connsiteY320" fmla="*/ 226987 h 1160647"/>
                <a:gd name="connsiteX321" fmla="*/ 2150320 w 3032161"/>
                <a:gd name="connsiteY321" fmla="*/ 220501 h 1160647"/>
                <a:gd name="connsiteX322" fmla="*/ 2150320 w 3032161"/>
                <a:gd name="connsiteY322" fmla="*/ 162133 h 1160647"/>
                <a:gd name="connsiteX323" fmla="*/ 2152346 w 3032161"/>
                <a:gd name="connsiteY323" fmla="*/ 157810 h 1160647"/>
                <a:gd name="connsiteX324" fmla="*/ 2152346 w 3032161"/>
                <a:gd name="connsiteY324" fmla="*/ 101604 h 1160647"/>
                <a:gd name="connsiteX325" fmla="*/ 2154373 w 3032161"/>
                <a:gd name="connsiteY325" fmla="*/ 82148 h 1160647"/>
                <a:gd name="connsiteX326" fmla="*/ 2158427 w 3032161"/>
                <a:gd name="connsiteY326" fmla="*/ 99442 h 1160647"/>
                <a:gd name="connsiteX327" fmla="*/ 2160453 w 3032161"/>
                <a:gd name="connsiteY327" fmla="*/ 157810 h 1160647"/>
                <a:gd name="connsiteX328" fmla="*/ 2162480 w 3032161"/>
                <a:gd name="connsiteY328" fmla="*/ 220501 h 1160647"/>
                <a:gd name="connsiteX329" fmla="*/ 2168560 w 3032161"/>
                <a:gd name="connsiteY329" fmla="*/ 226987 h 1160647"/>
                <a:gd name="connsiteX330" fmla="*/ 2166533 w 3032161"/>
                <a:gd name="connsiteY330" fmla="*/ 233472 h 1160647"/>
                <a:gd name="connsiteX331" fmla="*/ 2166533 w 3032161"/>
                <a:gd name="connsiteY331" fmla="*/ 311296 h 1160647"/>
                <a:gd name="connsiteX332" fmla="*/ 2168560 w 3032161"/>
                <a:gd name="connsiteY332" fmla="*/ 315620 h 1160647"/>
                <a:gd name="connsiteX333" fmla="*/ 2168560 w 3032161"/>
                <a:gd name="connsiteY333" fmla="*/ 337238 h 1160647"/>
                <a:gd name="connsiteX334" fmla="*/ 2182747 w 3032161"/>
                <a:gd name="connsiteY334" fmla="*/ 337238 h 1160647"/>
                <a:gd name="connsiteX335" fmla="*/ 2182747 w 3032161"/>
                <a:gd name="connsiteY335" fmla="*/ 354532 h 1160647"/>
                <a:gd name="connsiteX336" fmla="*/ 2190854 w 3032161"/>
                <a:gd name="connsiteY336" fmla="*/ 378311 h 1160647"/>
                <a:gd name="connsiteX337" fmla="*/ 2184774 w 3032161"/>
                <a:gd name="connsiteY337" fmla="*/ 382635 h 1160647"/>
                <a:gd name="connsiteX338" fmla="*/ 2172613 w 3032161"/>
                <a:gd name="connsiteY338" fmla="*/ 404253 h 1160647"/>
                <a:gd name="connsiteX339" fmla="*/ 2180720 w 3032161"/>
                <a:gd name="connsiteY339" fmla="*/ 657181 h 1160647"/>
                <a:gd name="connsiteX340" fmla="*/ 2245574 w 3032161"/>
                <a:gd name="connsiteY340" fmla="*/ 657181 h 1160647"/>
                <a:gd name="connsiteX341" fmla="*/ 2245574 w 3032161"/>
                <a:gd name="connsiteY341" fmla="*/ 732843 h 1160647"/>
                <a:gd name="connsiteX342" fmla="*/ 2253681 w 3032161"/>
                <a:gd name="connsiteY342" fmla="*/ 732843 h 1160647"/>
                <a:gd name="connsiteX343" fmla="*/ 2255708 w 3032161"/>
                <a:gd name="connsiteY343" fmla="*/ 726358 h 1160647"/>
                <a:gd name="connsiteX344" fmla="*/ 2261788 w 3032161"/>
                <a:gd name="connsiteY344" fmla="*/ 726358 h 1160647"/>
                <a:gd name="connsiteX345" fmla="*/ 2263815 w 3032161"/>
                <a:gd name="connsiteY345" fmla="*/ 735005 h 1160647"/>
                <a:gd name="connsiteX346" fmla="*/ 2275975 w 3032161"/>
                <a:gd name="connsiteY346" fmla="*/ 735005 h 1160647"/>
                <a:gd name="connsiteX347" fmla="*/ 2275975 w 3032161"/>
                <a:gd name="connsiteY347" fmla="*/ 728519 h 1160647"/>
                <a:gd name="connsiteX348" fmla="*/ 2298268 w 3032161"/>
                <a:gd name="connsiteY348" fmla="*/ 728519 h 1160647"/>
                <a:gd name="connsiteX349" fmla="*/ 2298268 w 3032161"/>
                <a:gd name="connsiteY349" fmla="*/ 735005 h 1160647"/>
                <a:gd name="connsiteX350" fmla="*/ 2318535 w 3032161"/>
                <a:gd name="connsiteY350" fmla="*/ 735005 h 1160647"/>
                <a:gd name="connsiteX351" fmla="*/ 2318535 w 3032161"/>
                <a:gd name="connsiteY351" fmla="*/ 780402 h 1160647"/>
                <a:gd name="connsiteX352" fmla="*/ 2332722 w 3032161"/>
                <a:gd name="connsiteY352" fmla="*/ 780402 h 1160647"/>
                <a:gd name="connsiteX353" fmla="*/ 2332722 w 3032161"/>
                <a:gd name="connsiteY353" fmla="*/ 767431 h 1160647"/>
                <a:gd name="connsiteX354" fmla="*/ 2348936 w 3032161"/>
                <a:gd name="connsiteY354" fmla="*/ 767431 h 1160647"/>
                <a:gd name="connsiteX355" fmla="*/ 2348936 w 3032161"/>
                <a:gd name="connsiteY355" fmla="*/ 588004 h 1160647"/>
                <a:gd name="connsiteX356" fmla="*/ 2355016 w 3032161"/>
                <a:gd name="connsiteY356" fmla="*/ 581518 h 1160647"/>
                <a:gd name="connsiteX357" fmla="*/ 2427977 w 3032161"/>
                <a:gd name="connsiteY357" fmla="*/ 581518 h 1160647"/>
                <a:gd name="connsiteX358" fmla="*/ 2427977 w 3032161"/>
                <a:gd name="connsiteY358" fmla="*/ 590166 h 1160647"/>
                <a:gd name="connsiteX359" fmla="*/ 2438110 w 3032161"/>
                <a:gd name="connsiteY359" fmla="*/ 590166 h 1160647"/>
                <a:gd name="connsiteX360" fmla="*/ 2438110 w 3032161"/>
                <a:gd name="connsiteY360" fmla="*/ 704740 h 1160647"/>
                <a:gd name="connsiteX361" fmla="*/ 2460404 w 3032161"/>
                <a:gd name="connsiteY361" fmla="*/ 704740 h 1160647"/>
                <a:gd name="connsiteX362" fmla="*/ 2460404 w 3032161"/>
                <a:gd name="connsiteY362" fmla="*/ 637725 h 1160647"/>
                <a:gd name="connsiteX363" fmla="*/ 2486751 w 3032161"/>
                <a:gd name="connsiteY363" fmla="*/ 637725 h 1160647"/>
                <a:gd name="connsiteX364" fmla="*/ 2490804 w 3032161"/>
                <a:gd name="connsiteY364" fmla="*/ 633401 h 1160647"/>
                <a:gd name="connsiteX365" fmla="*/ 2498911 w 3032161"/>
                <a:gd name="connsiteY365" fmla="*/ 633401 h 1160647"/>
                <a:gd name="connsiteX366" fmla="*/ 2502964 w 3032161"/>
                <a:gd name="connsiteY366" fmla="*/ 637725 h 1160647"/>
                <a:gd name="connsiteX367" fmla="*/ 2525258 w 3032161"/>
                <a:gd name="connsiteY367" fmla="*/ 637725 h 1160647"/>
                <a:gd name="connsiteX368" fmla="*/ 2525258 w 3032161"/>
                <a:gd name="connsiteY368" fmla="*/ 520989 h 1160647"/>
                <a:gd name="connsiteX369" fmla="*/ 2582005 w 3032161"/>
                <a:gd name="connsiteY369" fmla="*/ 510180 h 1160647"/>
                <a:gd name="connsiteX370" fmla="*/ 2582005 w 3032161"/>
                <a:gd name="connsiteY370" fmla="*/ 511261 h 1160647"/>
                <a:gd name="connsiteX371" fmla="*/ 2582005 w 3032161"/>
                <a:gd name="connsiteY371" fmla="*/ 518827 h 1160647"/>
                <a:gd name="connsiteX372" fmla="*/ 2608352 w 3032161"/>
                <a:gd name="connsiteY372" fmla="*/ 518827 h 1160647"/>
                <a:gd name="connsiteX373" fmla="*/ 2608352 w 3032161"/>
                <a:gd name="connsiteY373" fmla="*/ 773917 h 1160647"/>
                <a:gd name="connsiteX374" fmla="*/ 2630646 w 3032161"/>
                <a:gd name="connsiteY374" fmla="*/ 773917 h 1160647"/>
                <a:gd name="connsiteX375" fmla="*/ 2630646 w 3032161"/>
                <a:gd name="connsiteY375" fmla="*/ 769593 h 1160647"/>
                <a:gd name="connsiteX376" fmla="*/ 2642806 w 3032161"/>
                <a:gd name="connsiteY376" fmla="*/ 769593 h 1160647"/>
                <a:gd name="connsiteX377" fmla="*/ 2642806 w 3032161"/>
                <a:gd name="connsiteY377" fmla="*/ 773917 h 1160647"/>
                <a:gd name="connsiteX378" fmla="*/ 2667126 w 3032161"/>
                <a:gd name="connsiteY378" fmla="*/ 773917 h 1160647"/>
                <a:gd name="connsiteX379" fmla="*/ 2667126 w 3032161"/>
                <a:gd name="connsiteY379" fmla="*/ 760946 h 1160647"/>
                <a:gd name="connsiteX380" fmla="*/ 2695500 w 3032161"/>
                <a:gd name="connsiteY380" fmla="*/ 760946 h 1160647"/>
                <a:gd name="connsiteX381" fmla="*/ 2707660 w 3032161"/>
                <a:gd name="connsiteY381" fmla="*/ 756622 h 1160647"/>
                <a:gd name="connsiteX382" fmla="*/ 2727927 w 3032161"/>
                <a:gd name="connsiteY382" fmla="*/ 760946 h 1160647"/>
                <a:gd name="connsiteX383" fmla="*/ 2727927 w 3032161"/>
                <a:gd name="connsiteY383" fmla="*/ 743652 h 1160647"/>
                <a:gd name="connsiteX384" fmla="*/ 2736034 w 3032161"/>
                <a:gd name="connsiteY384" fmla="*/ 743652 h 1160647"/>
                <a:gd name="connsiteX385" fmla="*/ 2736034 w 3032161"/>
                <a:gd name="connsiteY385" fmla="*/ 730681 h 1160647"/>
                <a:gd name="connsiteX386" fmla="*/ 2792781 w 3032161"/>
                <a:gd name="connsiteY386" fmla="*/ 730681 h 1160647"/>
                <a:gd name="connsiteX387" fmla="*/ 2792781 w 3032161"/>
                <a:gd name="connsiteY387" fmla="*/ 700416 h 1160647"/>
                <a:gd name="connsiteX388" fmla="*/ 2811021 w 3032161"/>
                <a:gd name="connsiteY388" fmla="*/ 700416 h 1160647"/>
                <a:gd name="connsiteX389" fmla="*/ 2811021 w 3032161"/>
                <a:gd name="connsiteY389" fmla="*/ 693931 h 1160647"/>
                <a:gd name="connsiteX390" fmla="*/ 2823181 w 3032161"/>
                <a:gd name="connsiteY390" fmla="*/ 693931 h 1160647"/>
                <a:gd name="connsiteX391" fmla="*/ 2823181 w 3032161"/>
                <a:gd name="connsiteY391" fmla="*/ 700416 h 1160647"/>
                <a:gd name="connsiteX392" fmla="*/ 2839395 w 3032161"/>
                <a:gd name="connsiteY392" fmla="*/ 700416 h 1160647"/>
                <a:gd name="connsiteX393" fmla="*/ 2839395 w 3032161"/>
                <a:gd name="connsiteY393" fmla="*/ 750137 h 1160647"/>
                <a:gd name="connsiteX394" fmla="*/ 2871822 w 3032161"/>
                <a:gd name="connsiteY394" fmla="*/ 750137 h 1160647"/>
                <a:gd name="connsiteX395" fmla="*/ 2871822 w 3032161"/>
                <a:gd name="connsiteY395" fmla="*/ 724196 h 1160647"/>
                <a:gd name="connsiteX396" fmla="*/ 2910329 w 3032161"/>
                <a:gd name="connsiteY396" fmla="*/ 724196 h 1160647"/>
                <a:gd name="connsiteX397" fmla="*/ 2910329 w 3032161"/>
                <a:gd name="connsiteY397" fmla="*/ 693931 h 1160647"/>
                <a:gd name="connsiteX398" fmla="*/ 2958970 w 3032161"/>
                <a:gd name="connsiteY398" fmla="*/ 693931 h 1160647"/>
                <a:gd name="connsiteX399" fmla="*/ 2958970 w 3032161"/>
                <a:gd name="connsiteY399" fmla="*/ 805087 h 1160647"/>
                <a:gd name="connsiteX400" fmla="*/ 2958970 w 3032161"/>
                <a:gd name="connsiteY400" fmla="*/ 818866 h 1160647"/>
                <a:gd name="connsiteX401" fmla="*/ 3031519 w 3032161"/>
                <a:gd name="connsiteY401" fmla="*/ 818866 h 1160647"/>
                <a:gd name="connsiteX402" fmla="*/ 3031520 w 3032161"/>
                <a:gd name="connsiteY402" fmla="*/ 1160647 h 1160647"/>
                <a:gd name="connsiteX403" fmla="*/ 2054 w 3032161"/>
                <a:gd name="connsiteY403" fmla="*/ 1158314 h 1160647"/>
                <a:gd name="connsiteX404" fmla="*/ 0 w 3032161"/>
                <a:gd name="connsiteY404" fmla="*/ 724196 h 1160647"/>
                <a:gd name="connsiteX405" fmla="*/ 20267 w 3032161"/>
                <a:gd name="connsiteY405" fmla="*/ 724196 h 1160647"/>
                <a:gd name="connsiteX406" fmla="*/ 20774 w 3032161"/>
                <a:gd name="connsiteY406" fmla="*/ 723115 h 1160647"/>
                <a:gd name="connsiteX407" fmla="*/ 24320 w 3032161"/>
                <a:gd name="connsiteY407" fmla="*/ 715549 h 1160647"/>
                <a:gd name="connsiteX408" fmla="*/ 26094 w 3032161"/>
                <a:gd name="connsiteY408" fmla="*/ 715819 h 1160647"/>
                <a:gd name="connsiteX409" fmla="*/ 38507 w 3032161"/>
                <a:gd name="connsiteY409" fmla="*/ 717710 h 1160647"/>
                <a:gd name="connsiteX410" fmla="*/ 39014 w 3032161"/>
                <a:gd name="connsiteY410" fmla="*/ 719062 h 1160647"/>
                <a:gd name="connsiteX411" fmla="*/ 42560 w 3032161"/>
                <a:gd name="connsiteY411" fmla="*/ 728519 h 1160647"/>
                <a:gd name="connsiteX412" fmla="*/ 68907 w 3032161"/>
                <a:gd name="connsiteY412" fmla="*/ 730681 h 1160647"/>
                <a:gd name="connsiteX413" fmla="*/ 68907 w 3032161"/>
                <a:gd name="connsiteY413" fmla="*/ 607460 h 1160647"/>
                <a:gd name="connsiteX414" fmla="*/ 70934 w 3032161"/>
                <a:gd name="connsiteY414" fmla="*/ 607460 h 1160647"/>
                <a:gd name="connsiteX415" fmla="*/ 85121 w 3032161"/>
                <a:gd name="connsiteY415" fmla="*/ 607460 h 1160647"/>
                <a:gd name="connsiteX416" fmla="*/ 85121 w 3032161"/>
                <a:gd name="connsiteY416" fmla="*/ 471268 h 1160647"/>
                <a:gd name="connsiteX417" fmla="*/ 86894 w 3032161"/>
                <a:gd name="connsiteY417" fmla="*/ 471268 h 1160647"/>
                <a:gd name="connsiteX418" fmla="*/ 99308 w 3032161"/>
                <a:gd name="connsiteY418" fmla="*/ 471268 h 1160647"/>
                <a:gd name="connsiteX419" fmla="*/ 99308 w 3032161"/>
                <a:gd name="connsiteY419" fmla="*/ 356694 h 1160647"/>
                <a:gd name="connsiteX420" fmla="*/ 103361 w 3032161"/>
                <a:gd name="connsiteY420" fmla="*/ 328590 h 1160647"/>
                <a:gd name="connsiteX421" fmla="*/ 105388 w 3032161"/>
                <a:gd name="connsiteY421" fmla="*/ 328590 h 1160647"/>
                <a:gd name="connsiteX422" fmla="*/ 119575 w 3032161"/>
                <a:gd name="connsiteY422" fmla="*/ 328590 h 1160647"/>
                <a:gd name="connsiteX423" fmla="*/ 156055 w 3032161"/>
                <a:gd name="connsiteY423" fmla="*/ 246443 h 1160647"/>
                <a:gd name="connsiteX424" fmla="*/ 160109 w 3032161"/>
                <a:gd name="connsiteY424" fmla="*/ 0 h 116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</a:cxnLst>
              <a:rect l="l" t="t" r="r" b="b"/>
              <a:pathLst>
                <a:path w="3032161" h="1160647">
                  <a:moveTo>
                    <a:pt x="160109" y="0"/>
                  </a:moveTo>
                  <a:cubicBezTo>
                    <a:pt x="160109" y="18"/>
                    <a:pt x="160125" y="2040"/>
                    <a:pt x="162135" y="246443"/>
                  </a:cubicBezTo>
                  <a:cubicBezTo>
                    <a:pt x="162147" y="246467"/>
                    <a:pt x="162792" y="247808"/>
                    <a:pt x="200642" y="326429"/>
                  </a:cubicBezTo>
                  <a:lnTo>
                    <a:pt x="202669" y="326429"/>
                  </a:lnTo>
                  <a:lnTo>
                    <a:pt x="216856" y="326429"/>
                  </a:lnTo>
                  <a:lnTo>
                    <a:pt x="216856" y="350208"/>
                  </a:lnTo>
                  <a:cubicBezTo>
                    <a:pt x="216858" y="350214"/>
                    <a:pt x="216896" y="350272"/>
                    <a:pt x="217363" y="351019"/>
                  </a:cubicBezTo>
                  <a:lnTo>
                    <a:pt x="220909" y="356694"/>
                  </a:lnTo>
                  <a:lnTo>
                    <a:pt x="220909" y="471268"/>
                  </a:lnTo>
                  <a:lnTo>
                    <a:pt x="223189" y="471268"/>
                  </a:lnTo>
                  <a:lnTo>
                    <a:pt x="239150" y="471268"/>
                  </a:lnTo>
                  <a:lnTo>
                    <a:pt x="239150" y="611783"/>
                  </a:lnTo>
                  <a:cubicBezTo>
                    <a:pt x="239160" y="611782"/>
                    <a:pt x="239272" y="611761"/>
                    <a:pt x="240670" y="611513"/>
                  </a:cubicBezTo>
                  <a:lnTo>
                    <a:pt x="251310" y="609622"/>
                  </a:lnTo>
                  <a:cubicBezTo>
                    <a:pt x="251310" y="609644"/>
                    <a:pt x="251280" y="610978"/>
                    <a:pt x="249283" y="698254"/>
                  </a:cubicBezTo>
                  <a:cubicBezTo>
                    <a:pt x="249293" y="698256"/>
                    <a:pt x="249404" y="698276"/>
                    <a:pt x="250803" y="698525"/>
                  </a:cubicBezTo>
                  <a:lnTo>
                    <a:pt x="261443" y="700416"/>
                  </a:lnTo>
                  <a:cubicBezTo>
                    <a:pt x="261445" y="700423"/>
                    <a:pt x="261465" y="700487"/>
                    <a:pt x="261696" y="701227"/>
                  </a:cubicBezTo>
                  <a:lnTo>
                    <a:pt x="263470" y="706902"/>
                  </a:lnTo>
                  <a:cubicBezTo>
                    <a:pt x="263472" y="706893"/>
                    <a:pt x="263517" y="706750"/>
                    <a:pt x="264230" y="704470"/>
                  </a:cubicBezTo>
                  <a:lnTo>
                    <a:pt x="269550" y="687446"/>
                  </a:lnTo>
                  <a:lnTo>
                    <a:pt x="271323" y="687446"/>
                  </a:lnTo>
                  <a:lnTo>
                    <a:pt x="283737" y="687446"/>
                  </a:lnTo>
                  <a:lnTo>
                    <a:pt x="283737" y="719872"/>
                  </a:lnTo>
                  <a:cubicBezTo>
                    <a:pt x="283743" y="719877"/>
                    <a:pt x="283820" y="719917"/>
                    <a:pt x="284750" y="720413"/>
                  </a:cubicBezTo>
                  <a:lnTo>
                    <a:pt x="291844" y="724196"/>
                  </a:lnTo>
                  <a:lnTo>
                    <a:pt x="291844" y="725547"/>
                  </a:lnTo>
                  <a:lnTo>
                    <a:pt x="291844" y="735005"/>
                  </a:lnTo>
                  <a:lnTo>
                    <a:pt x="336431" y="735005"/>
                  </a:lnTo>
                  <a:lnTo>
                    <a:pt x="336431" y="736086"/>
                  </a:lnTo>
                  <a:lnTo>
                    <a:pt x="336431" y="743652"/>
                  </a:lnTo>
                  <a:lnTo>
                    <a:pt x="338457" y="743652"/>
                  </a:lnTo>
                  <a:lnTo>
                    <a:pt x="352644" y="743652"/>
                  </a:lnTo>
                  <a:lnTo>
                    <a:pt x="352644" y="713387"/>
                  </a:lnTo>
                  <a:lnTo>
                    <a:pt x="397231" y="713387"/>
                  </a:lnTo>
                  <a:lnTo>
                    <a:pt x="397231" y="712036"/>
                  </a:lnTo>
                  <a:lnTo>
                    <a:pt x="397231" y="702578"/>
                  </a:lnTo>
                  <a:lnTo>
                    <a:pt x="398245" y="702578"/>
                  </a:lnTo>
                  <a:lnTo>
                    <a:pt x="405338" y="702578"/>
                  </a:lnTo>
                  <a:lnTo>
                    <a:pt x="405338" y="700687"/>
                  </a:lnTo>
                  <a:lnTo>
                    <a:pt x="405338" y="687446"/>
                  </a:lnTo>
                  <a:lnTo>
                    <a:pt x="406098" y="687446"/>
                  </a:lnTo>
                  <a:lnTo>
                    <a:pt x="411418" y="687446"/>
                  </a:lnTo>
                  <a:lnTo>
                    <a:pt x="411418" y="686365"/>
                  </a:lnTo>
                  <a:lnTo>
                    <a:pt x="411418" y="678798"/>
                  </a:lnTo>
                  <a:lnTo>
                    <a:pt x="413445" y="678798"/>
                  </a:lnTo>
                  <a:lnTo>
                    <a:pt x="427632" y="678798"/>
                  </a:lnTo>
                  <a:lnTo>
                    <a:pt x="427632" y="679879"/>
                  </a:lnTo>
                  <a:lnTo>
                    <a:pt x="427632" y="687446"/>
                  </a:lnTo>
                  <a:lnTo>
                    <a:pt x="449925" y="687446"/>
                  </a:lnTo>
                  <a:lnTo>
                    <a:pt x="449925" y="685554"/>
                  </a:lnTo>
                  <a:lnTo>
                    <a:pt x="449925" y="672313"/>
                  </a:lnTo>
                  <a:lnTo>
                    <a:pt x="451699" y="672313"/>
                  </a:lnTo>
                  <a:lnTo>
                    <a:pt x="464112" y="672313"/>
                  </a:lnTo>
                  <a:lnTo>
                    <a:pt x="464112" y="696093"/>
                  </a:lnTo>
                  <a:lnTo>
                    <a:pt x="465126" y="696093"/>
                  </a:lnTo>
                  <a:lnTo>
                    <a:pt x="472219" y="696093"/>
                  </a:lnTo>
                  <a:lnTo>
                    <a:pt x="472219" y="695012"/>
                  </a:lnTo>
                  <a:lnTo>
                    <a:pt x="472219" y="687446"/>
                  </a:lnTo>
                  <a:lnTo>
                    <a:pt x="473992" y="687446"/>
                  </a:lnTo>
                  <a:lnTo>
                    <a:pt x="486406" y="687446"/>
                  </a:lnTo>
                  <a:lnTo>
                    <a:pt x="486406" y="713387"/>
                  </a:lnTo>
                  <a:lnTo>
                    <a:pt x="488433" y="713387"/>
                  </a:lnTo>
                  <a:lnTo>
                    <a:pt x="502619" y="713387"/>
                  </a:lnTo>
                  <a:lnTo>
                    <a:pt x="502619" y="715008"/>
                  </a:lnTo>
                  <a:lnTo>
                    <a:pt x="502619" y="726358"/>
                  </a:lnTo>
                  <a:lnTo>
                    <a:pt x="503379" y="726358"/>
                  </a:lnTo>
                  <a:lnTo>
                    <a:pt x="508700" y="726358"/>
                  </a:lnTo>
                  <a:lnTo>
                    <a:pt x="508700" y="725547"/>
                  </a:lnTo>
                  <a:lnTo>
                    <a:pt x="508700" y="719872"/>
                  </a:lnTo>
                  <a:lnTo>
                    <a:pt x="539100" y="719872"/>
                  </a:lnTo>
                  <a:lnTo>
                    <a:pt x="539100" y="743652"/>
                  </a:lnTo>
                  <a:lnTo>
                    <a:pt x="540113" y="743652"/>
                  </a:lnTo>
                  <a:lnTo>
                    <a:pt x="547207" y="743652"/>
                  </a:lnTo>
                  <a:lnTo>
                    <a:pt x="547207" y="744733"/>
                  </a:lnTo>
                  <a:lnTo>
                    <a:pt x="547207" y="752299"/>
                  </a:lnTo>
                  <a:lnTo>
                    <a:pt x="547967" y="752299"/>
                  </a:lnTo>
                  <a:lnTo>
                    <a:pt x="553287" y="752299"/>
                  </a:lnTo>
                  <a:lnTo>
                    <a:pt x="553287" y="750137"/>
                  </a:lnTo>
                  <a:lnTo>
                    <a:pt x="553287" y="735005"/>
                  </a:lnTo>
                  <a:lnTo>
                    <a:pt x="554300" y="735005"/>
                  </a:lnTo>
                  <a:lnTo>
                    <a:pt x="561394" y="735005"/>
                  </a:lnTo>
                  <a:lnTo>
                    <a:pt x="561394" y="736086"/>
                  </a:lnTo>
                  <a:lnTo>
                    <a:pt x="561394" y="743652"/>
                  </a:lnTo>
                  <a:lnTo>
                    <a:pt x="566714" y="741659"/>
                  </a:lnTo>
                  <a:cubicBezTo>
                    <a:pt x="567474" y="741287"/>
                    <a:pt x="567474" y="741085"/>
                    <a:pt x="567474" y="740679"/>
                  </a:cubicBezTo>
                  <a:lnTo>
                    <a:pt x="567474" y="735005"/>
                  </a:lnTo>
                  <a:lnTo>
                    <a:pt x="605981" y="735005"/>
                  </a:lnTo>
                  <a:lnTo>
                    <a:pt x="605981" y="758784"/>
                  </a:lnTo>
                  <a:lnTo>
                    <a:pt x="608007" y="758784"/>
                  </a:lnTo>
                  <a:lnTo>
                    <a:pt x="622194" y="758784"/>
                  </a:lnTo>
                  <a:lnTo>
                    <a:pt x="622194" y="759865"/>
                  </a:lnTo>
                  <a:lnTo>
                    <a:pt x="622194" y="767431"/>
                  </a:lnTo>
                  <a:lnTo>
                    <a:pt x="623968" y="767431"/>
                  </a:lnTo>
                  <a:lnTo>
                    <a:pt x="636381" y="767431"/>
                  </a:lnTo>
                  <a:lnTo>
                    <a:pt x="636381" y="743652"/>
                  </a:lnTo>
                  <a:lnTo>
                    <a:pt x="637394" y="743652"/>
                  </a:lnTo>
                  <a:lnTo>
                    <a:pt x="644488" y="743652"/>
                  </a:lnTo>
                  <a:lnTo>
                    <a:pt x="644488" y="711225"/>
                  </a:lnTo>
                  <a:lnTo>
                    <a:pt x="645501" y="711225"/>
                  </a:lnTo>
                  <a:lnTo>
                    <a:pt x="652595" y="711225"/>
                  </a:lnTo>
                  <a:lnTo>
                    <a:pt x="652595" y="709334"/>
                  </a:lnTo>
                  <a:lnTo>
                    <a:pt x="652595" y="696093"/>
                  </a:lnTo>
                  <a:cubicBezTo>
                    <a:pt x="650568" y="696093"/>
                    <a:pt x="650568" y="696093"/>
                    <a:pt x="651328" y="694471"/>
                  </a:cubicBezTo>
                  <a:lnTo>
                    <a:pt x="656648" y="683122"/>
                  </a:lnTo>
                  <a:cubicBezTo>
                    <a:pt x="656653" y="683139"/>
                    <a:pt x="656848" y="683813"/>
                    <a:pt x="664755" y="711225"/>
                  </a:cubicBezTo>
                  <a:lnTo>
                    <a:pt x="665515" y="711225"/>
                  </a:lnTo>
                  <a:lnTo>
                    <a:pt x="670835" y="711225"/>
                  </a:lnTo>
                  <a:lnTo>
                    <a:pt x="670835" y="605298"/>
                  </a:lnTo>
                  <a:lnTo>
                    <a:pt x="672355" y="605298"/>
                  </a:lnTo>
                  <a:lnTo>
                    <a:pt x="682995" y="605298"/>
                  </a:lnTo>
                  <a:lnTo>
                    <a:pt x="682995" y="557739"/>
                  </a:lnTo>
                  <a:lnTo>
                    <a:pt x="709342" y="557739"/>
                  </a:lnTo>
                  <a:lnTo>
                    <a:pt x="709342" y="536121"/>
                  </a:lnTo>
                  <a:lnTo>
                    <a:pt x="743796" y="536121"/>
                  </a:lnTo>
                  <a:lnTo>
                    <a:pt x="743796" y="538553"/>
                  </a:lnTo>
                  <a:lnTo>
                    <a:pt x="743796" y="555577"/>
                  </a:lnTo>
                  <a:lnTo>
                    <a:pt x="746076" y="555577"/>
                  </a:lnTo>
                  <a:lnTo>
                    <a:pt x="762036" y="555577"/>
                  </a:lnTo>
                  <a:lnTo>
                    <a:pt x="762036" y="603136"/>
                  </a:lnTo>
                  <a:lnTo>
                    <a:pt x="763049" y="603136"/>
                  </a:lnTo>
                  <a:lnTo>
                    <a:pt x="770143" y="603136"/>
                  </a:lnTo>
                  <a:lnTo>
                    <a:pt x="784330" y="607460"/>
                  </a:lnTo>
                  <a:lnTo>
                    <a:pt x="784330" y="646372"/>
                  </a:lnTo>
                  <a:lnTo>
                    <a:pt x="785343" y="646372"/>
                  </a:lnTo>
                  <a:lnTo>
                    <a:pt x="792436" y="646372"/>
                  </a:lnTo>
                  <a:lnTo>
                    <a:pt x="792436" y="647993"/>
                  </a:lnTo>
                  <a:lnTo>
                    <a:pt x="792436" y="659342"/>
                  </a:lnTo>
                  <a:lnTo>
                    <a:pt x="794463" y="659342"/>
                  </a:lnTo>
                  <a:lnTo>
                    <a:pt x="808650" y="659342"/>
                  </a:lnTo>
                  <a:lnTo>
                    <a:pt x="814730" y="665828"/>
                  </a:lnTo>
                  <a:lnTo>
                    <a:pt x="814730" y="687446"/>
                  </a:lnTo>
                  <a:lnTo>
                    <a:pt x="817010" y="687446"/>
                  </a:lnTo>
                  <a:lnTo>
                    <a:pt x="832970" y="687446"/>
                  </a:lnTo>
                  <a:lnTo>
                    <a:pt x="832970" y="688526"/>
                  </a:lnTo>
                  <a:lnTo>
                    <a:pt x="832970" y="696093"/>
                  </a:lnTo>
                  <a:lnTo>
                    <a:pt x="834237" y="696093"/>
                  </a:lnTo>
                  <a:lnTo>
                    <a:pt x="843104" y="696093"/>
                  </a:lnTo>
                  <a:lnTo>
                    <a:pt x="843104" y="698254"/>
                  </a:lnTo>
                  <a:lnTo>
                    <a:pt x="843104" y="713387"/>
                  </a:lnTo>
                  <a:cubicBezTo>
                    <a:pt x="847157" y="713387"/>
                    <a:pt x="847157" y="713387"/>
                    <a:pt x="847157" y="711495"/>
                  </a:cubicBezTo>
                  <a:lnTo>
                    <a:pt x="847157" y="698254"/>
                  </a:lnTo>
                  <a:lnTo>
                    <a:pt x="848170" y="698254"/>
                  </a:lnTo>
                  <a:lnTo>
                    <a:pt x="855264" y="698254"/>
                  </a:lnTo>
                  <a:lnTo>
                    <a:pt x="855264" y="699876"/>
                  </a:lnTo>
                  <a:lnTo>
                    <a:pt x="855264" y="711225"/>
                  </a:lnTo>
                  <a:lnTo>
                    <a:pt x="856024" y="711225"/>
                  </a:lnTo>
                  <a:lnTo>
                    <a:pt x="861344" y="711225"/>
                  </a:lnTo>
                  <a:cubicBezTo>
                    <a:pt x="861344" y="706902"/>
                    <a:pt x="861344" y="706902"/>
                    <a:pt x="909984" y="706902"/>
                  </a:cubicBezTo>
                  <a:lnTo>
                    <a:pt x="909984" y="708253"/>
                  </a:lnTo>
                  <a:lnTo>
                    <a:pt x="909984" y="717710"/>
                  </a:lnTo>
                  <a:lnTo>
                    <a:pt x="910744" y="717710"/>
                  </a:lnTo>
                  <a:lnTo>
                    <a:pt x="916065" y="717710"/>
                  </a:lnTo>
                  <a:lnTo>
                    <a:pt x="916065" y="719872"/>
                  </a:lnTo>
                  <a:lnTo>
                    <a:pt x="916065" y="735005"/>
                  </a:lnTo>
                  <a:cubicBezTo>
                    <a:pt x="916073" y="735001"/>
                    <a:pt x="916189" y="734923"/>
                    <a:pt x="918091" y="733654"/>
                  </a:cubicBezTo>
                  <a:lnTo>
                    <a:pt x="932278" y="724196"/>
                  </a:lnTo>
                  <a:cubicBezTo>
                    <a:pt x="932280" y="724177"/>
                    <a:pt x="932411" y="723302"/>
                    <a:pt x="938358" y="683122"/>
                  </a:cubicBezTo>
                  <a:cubicBezTo>
                    <a:pt x="938367" y="683120"/>
                    <a:pt x="938436" y="683094"/>
                    <a:pt x="939118" y="682852"/>
                  </a:cubicBezTo>
                  <a:lnTo>
                    <a:pt x="944438" y="680960"/>
                  </a:lnTo>
                  <a:cubicBezTo>
                    <a:pt x="944438" y="680944"/>
                    <a:pt x="944471" y="679883"/>
                    <a:pt x="946465" y="611783"/>
                  </a:cubicBezTo>
                  <a:cubicBezTo>
                    <a:pt x="946465" y="611801"/>
                    <a:pt x="946498" y="612892"/>
                    <a:pt x="948492" y="680960"/>
                  </a:cubicBezTo>
                  <a:cubicBezTo>
                    <a:pt x="948501" y="680963"/>
                    <a:pt x="948572" y="680988"/>
                    <a:pt x="949252" y="681230"/>
                  </a:cubicBezTo>
                  <a:lnTo>
                    <a:pt x="954572" y="683122"/>
                  </a:lnTo>
                  <a:lnTo>
                    <a:pt x="954572" y="596651"/>
                  </a:lnTo>
                  <a:cubicBezTo>
                    <a:pt x="958625" y="596651"/>
                    <a:pt x="958625" y="596651"/>
                    <a:pt x="958625" y="564224"/>
                  </a:cubicBezTo>
                  <a:lnTo>
                    <a:pt x="997132" y="564224"/>
                  </a:lnTo>
                  <a:lnTo>
                    <a:pt x="997132" y="596651"/>
                  </a:lnTo>
                  <a:lnTo>
                    <a:pt x="997892" y="596651"/>
                  </a:lnTo>
                  <a:lnTo>
                    <a:pt x="1003212" y="596651"/>
                  </a:lnTo>
                  <a:lnTo>
                    <a:pt x="1003212" y="514503"/>
                  </a:lnTo>
                  <a:lnTo>
                    <a:pt x="1004986" y="514503"/>
                  </a:lnTo>
                  <a:lnTo>
                    <a:pt x="1017399" y="514503"/>
                  </a:lnTo>
                  <a:lnTo>
                    <a:pt x="1017399" y="512612"/>
                  </a:lnTo>
                  <a:lnTo>
                    <a:pt x="1017399" y="499371"/>
                  </a:lnTo>
                  <a:lnTo>
                    <a:pt x="1039693" y="499371"/>
                  </a:lnTo>
                  <a:lnTo>
                    <a:pt x="1039693" y="498290"/>
                  </a:lnTo>
                  <a:lnTo>
                    <a:pt x="1039693" y="490724"/>
                  </a:lnTo>
                  <a:lnTo>
                    <a:pt x="1041466" y="490724"/>
                  </a:lnTo>
                  <a:lnTo>
                    <a:pt x="1053880" y="490724"/>
                  </a:lnTo>
                  <a:lnTo>
                    <a:pt x="1053880" y="491805"/>
                  </a:lnTo>
                  <a:lnTo>
                    <a:pt x="1053880" y="499371"/>
                  </a:lnTo>
                  <a:lnTo>
                    <a:pt x="1054640" y="499371"/>
                  </a:lnTo>
                  <a:lnTo>
                    <a:pt x="1059960" y="499371"/>
                  </a:lnTo>
                  <a:lnTo>
                    <a:pt x="1070093" y="495047"/>
                  </a:lnTo>
                  <a:lnTo>
                    <a:pt x="1074146" y="498290"/>
                  </a:lnTo>
                  <a:lnTo>
                    <a:pt x="1074146" y="490724"/>
                  </a:lnTo>
                  <a:lnTo>
                    <a:pt x="1076426" y="490724"/>
                  </a:lnTo>
                  <a:lnTo>
                    <a:pt x="1092387" y="490724"/>
                  </a:lnTo>
                  <a:lnTo>
                    <a:pt x="1092387" y="491805"/>
                  </a:lnTo>
                  <a:lnTo>
                    <a:pt x="1092387" y="499371"/>
                  </a:lnTo>
                  <a:lnTo>
                    <a:pt x="1122787" y="499371"/>
                  </a:lnTo>
                  <a:lnTo>
                    <a:pt x="1122787" y="500992"/>
                  </a:lnTo>
                  <a:lnTo>
                    <a:pt x="1122787" y="512342"/>
                  </a:lnTo>
                  <a:lnTo>
                    <a:pt x="1149134" y="512342"/>
                  </a:lnTo>
                  <a:lnTo>
                    <a:pt x="1149134" y="542606"/>
                  </a:lnTo>
                  <a:lnTo>
                    <a:pt x="1149894" y="542606"/>
                  </a:lnTo>
                  <a:lnTo>
                    <a:pt x="1155214" y="542606"/>
                  </a:lnTo>
                  <a:lnTo>
                    <a:pt x="1155214" y="543687"/>
                  </a:lnTo>
                  <a:lnTo>
                    <a:pt x="1155214" y="551254"/>
                  </a:lnTo>
                  <a:cubicBezTo>
                    <a:pt x="1159268" y="551254"/>
                    <a:pt x="1159268" y="551254"/>
                    <a:pt x="1159268" y="581518"/>
                  </a:cubicBezTo>
                  <a:lnTo>
                    <a:pt x="1160028" y="581518"/>
                  </a:lnTo>
                  <a:lnTo>
                    <a:pt x="1165348" y="581518"/>
                  </a:lnTo>
                  <a:lnTo>
                    <a:pt x="1165348" y="582329"/>
                  </a:lnTo>
                  <a:lnTo>
                    <a:pt x="1165348" y="588004"/>
                  </a:lnTo>
                  <a:lnTo>
                    <a:pt x="1166361" y="588004"/>
                  </a:lnTo>
                  <a:lnTo>
                    <a:pt x="1173454" y="588004"/>
                  </a:lnTo>
                  <a:lnTo>
                    <a:pt x="1173454" y="618269"/>
                  </a:lnTo>
                  <a:lnTo>
                    <a:pt x="1175481" y="618269"/>
                  </a:lnTo>
                  <a:lnTo>
                    <a:pt x="1189668" y="618269"/>
                  </a:lnTo>
                  <a:lnTo>
                    <a:pt x="1189668" y="642048"/>
                  </a:lnTo>
                  <a:cubicBezTo>
                    <a:pt x="1191695" y="642048"/>
                    <a:pt x="1191695" y="642048"/>
                    <a:pt x="1191695" y="643669"/>
                  </a:cubicBezTo>
                  <a:lnTo>
                    <a:pt x="1191695" y="655019"/>
                  </a:lnTo>
                  <a:lnTo>
                    <a:pt x="1192455" y="655019"/>
                  </a:lnTo>
                  <a:lnTo>
                    <a:pt x="1197775" y="655019"/>
                  </a:lnTo>
                  <a:lnTo>
                    <a:pt x="1197775" y="678798"/>
                  </a:lnTo>
                  <a:lnTo>
                    <a:pt x="1199041" y="678798"/>
                  </a:lnTo>
                  <a:lnTo>
                    <a:pt x="1207908" y="678798"/>
                  </a:lnTo>
                  <a:cubicBezTo>
                    <a:pt x="1209935" y="680960"/>
                    <a:pt x="1209935" y="680960"/>
                    <a:pt x="1209935" y="682852"/>
                  </a:cubicBezTo>
                  <a:lnTo>
                    <a:pt x="1209935" y="696093"/>
                  </a:lnTo>
                  <a:cubicBezTo>
                    <a:pt x="1209940" y="696086"/>
                    <a:pt x="1210027" y="695979"/>
                    <a:pt x="1211455" y="694201"/>
                  </a:cubicBezTo>
                  <a:lnTo>
                    <a:pt x="1222095" y="680960"/>
                  </a:lnTo>
                  <a:lnTo>
                    <a:pt x="1250469" y="680960"/>
                  </a:lnTo>
                  <a:lnTo>
                    <a:pt x="1250469" y="767431"/>
                  </a:lnTo>
                  <a:lnTo>
                    <a:pt x="1251229" y="767431"/>
                  </a:lnTo>
                  <a:lnTo>
                    <a:pt x="1256549" y="767431"/>
                  </a:lnTo>
                  <a:cubicBezTo>
                    <a:pt x="1256553" y="767423"/>
                    <a:pt x="1256612" y="767323"/>
                    <a:pt x="1257309" y="766080"/>
                  </a:cubicBezTo>
                  <a:lnTo>
                    <a:pt x="1262629" y="756622"/>
                  </a:lnTo>
                  <a:lnTo>
                    <a:pt x="1262629" y="758514"/>
                  </a:lnTo>
                  <a:lnTo>
                    <a:pt x="1262629" y="771755"/>
                  </a:lnTo>
                  <a:cubicBezTo>
                    <a:pt x="1266682" y="771755"/>
                    <a:pt x="1266682" y="771755"/>
                    <a:pt x="1266682" y="726358"/>
                  </a:cubicBezTo>
                  <a:lnTo>
                    <a:pt x="1267442" y="726358"/>
                  </a:lnTo>
                  <a:lnTo>
                    <a:pt x="1272762" y="726358"/>
                  </a:lnTo>
                  <a:lnTo>
                    <a:pt x="1272762" y="661504"/>
                  </a:lnTo>
                  <a:lnTo>
                    <a:pt x="1273776" y="661504"/>
                  </a:lnTo>
                  <a:lnTo>
                    <a:pt x="1280869" y="661504"/>
                  </a:lnTo>
                  <a:cubicBezTo>
                    <a:pt x="1280875" y="661483"/>
                    <a:pt x="1281139" y="660543"/>
                    <a:pt x="1293029" y="618269"/>
                  </a:cubicBezTo>
                  <a:lnTo>
                    <a:pt x="1294296" y="618269"/>
                  </a:lnTo>
                  <a:lnTo>
                    <a:pt x="1303163" y="618269"/>
                  </a:lnTo>
                  <a:cubicBezTo>
                    <a:pt x="1303168" y="618292"/>
                    <a:pt x="1303394" y="619258"/>
                    <a:pt x="1313296" y="661504"/>
                  </a:cubicBezTo>
                  <a:lnTo>
                    <a:pt x="1314309" y="661504"/>
                  </a:lnTo>
                  <a:lnTo>
                    <a:pt x="1321403" y="661504"/>
                  </a:lnTo>
                  <a:lnTo>
                    <a:pt x="1321403" y="700416"/>
                  </a:lnTo>
                  <a:lnTo>
                    <a:pt x="1323176" y="700416"/>
                  </a:lnTo>
                  <a:lnTo>
                    <a:pt x="1335590" y="700416"/>
                  </a:lnTo>
                  <a:lnTo>
                    <a:pt x="1335590" y="702578"/>
                  </a:lnTo>
                  <a:lnTo>
                    <a:pt x="1335590" y="717710"/>
                  </a:lnTo>
                  <a:cubicBezTo>
                    <a:pt x="1339643" y="717710"/>
                    <a:pt x="1339643" y="717710"/>
                    <a:pt x="1339643" y="715549"/>
                  </a:cubicBezTo>
                  <a:lnTo>
                    <a:pt x="1339643" y="700416"/>
                  </a:lnTo>
                  <a:lnTo>
                    <a:pt x="1341163" y="700416"/>
                  </a:lnTo>
                  <a:lnTo>
                    <a:pt x="1351803" y="700416"/>
                  </a:lnTo>
                  <a:lnTo>
                    <a:pt x="1351803" y="702037"/>
                  </a:lnTo>
                  <a:lnTo>
                    <a:pt x="1351803" y="713387"/>
                  </a:lnTo>
                  <a:lnTo>
                    <a:pt x="1382204" y="713387"/>
                  </a:lnTo>
                  <a:lnTo>
                    <a:pt x="1382204" y="676637"/>
                  </a:lnTo>
                  <a:lnTo>
                    <a:pt x="1383470" y="676637"/>
                  </a:lnTo>
                  <a:lnTo>
                    <a:pt x="1392337" y="676637"/>
                  </a:lnTo>
                  <a:lnTo>
                    <a:pt x="1392337" y="698254"/>
                  </a:lnTo>
                  <a:cubicBezTo>
                    <a:pt x="1394364" y="698254"/>
                    <a:pt x="1394364" y="698254"/>
                    <a:pt x="1394364" y="665828"/>
                  </a:cubicBezTo>
                  <a:lnTo>
                    <a:pt x="1416657" y="665828"/>
                  </a:lnTo>
                  <a:lnTo>
                    <a:pt x="1416657" y="664206"/>
                  </a:lnTo>
                  <a:lnTo>
                    <a:pt x="1416657" y="652857"/>
                  </a:lnTo>
                  <a:lnTo>
                    <a:pt x="1417417" y="652857"/>
                  </a:lnTo>
                  <a:lnTo>
                    <a:pt x="1422737" y="652857"/>
                  </a:lnTo>
                  <a:lnTo>
                    <a:pt x="1422737" y="650966"/>
                  </a:lnTo>
                  <a:lnTo>
                    <a:pt x="1422737" y="637725"/>
                  </a:lnTo>
                  <a:lnTo>
                    <a:pt x="1426791" y="644210"/>
                  </a:lnTo>
                  <a:lnTo>
                    <a:pt x="1429071" y="644210"/>
                  </a:lnTo>
                  <a:lnTo>
                    <a:pt x="1445031" y="644210"/>
                  </a:lnTo>
                  <a:lnTo>
                    <a:pt x="1445031" y="643399"/>
                  </a:lnTo>
                  <a:lnTo>
                    <a:pt x="1445031" y="637725"/>
                  </a:lnTo>
                  <a:lnTo>
                    <a:pt x="1445791" y="637725"/>
                  </a:lnTo>
                  <a:lnTo>
                    <a:pt x="1451111" y="637725"/>
                  </a:lnTo>
                  <a:lnTo>
                    <a:pt x="1451111" y="639076"/>
                  </a:lnTo>
                  <a:lnTo>
                    <a:pt x="1451111" y="648534"/>
                  </a:lnTo>
                  <a:lnTo>
                    <a:pt x="1489618" y="648534"/>
                  </a:lnTo>
                  <a:lnTo>
                    <a:pt x="1489618" y="786887"/>
                  </a:lnTo>
                  <a:lnTo>
                    <a:pt x="1491138" y="786887"/>
                  </a:lnTo>
                  <a:lnTo>
                    <a:pt x="1501778" y="786887"/>
                  </a:lnTo>
                  <a:lnTo>
                    <a:pt x="1501778" y="773917"/>
                  </a:lnTo>
                  <a:lnTo>
                    <a:pt x="1505832" y="773917"/>
                  </a:lnTo>
                  <a:lnTo>
                    <a:pt x="1505832" y="786887"/>
                  </a:lnTo>
                  <a:lnTo>
                    <a:pt x="1536232" y="786887"/>
                  </a:lnTo>
                  <a:lnTo>
                    <a:pt x="1536232" y="756622"/>
                  </a:lnTo>
                  <a:lnTo>
                    <a:pt x="1548392" y="756622"/>
                  </a:lnTo>
                  <a:lnTo>
                    <a:pt x="1560552" y="754461"/>
                  </a:lnTo>
                  <a:cubicBezTo>
                    <a:pt x="1562579" y="754461"/>
                    <a:pt x="1562579" y="756622"/>
                    <a:pt x="1564606" y="756622"/>
                  </a:cubicBezTo>
                  <a:lnTo>
                    <a:pt x="1574739" y="756622"/>
                  </a:lnTo>
                  <a:lnTo>
                    <a:pt x="1574739" y="786887"/>
                  </a:lnTo>
                  <a:lnTo>
                    <a:pt x="1582846" y="786887"/>
                  </a:lnTo>
                  <a:lnTo>
                    <a:pt x="1582846" y="804182"/>
                  </a:lnTo>
                  <a:lnTo>
                    <a:pt x="1592182" y="805087"/>
                  </a:lnTo>
                  <a:lnTo>
                    <a:pt x="1605140" y="805087"/>
                  </a:lnTo>
                  <a:lnTo>
                    <a:pt x="1605140" y="789049"/>
                  </a:lnTo>
                  <a:lnTo>
                    <a:pt x="1673096" y="789049"/>
                  </a:lnTo>
                  <a:lnTo>
                    <a:pt x="1673096" y="703796"/>
                  </a:lnTo>
                  <a:lnTo>
                    <a:pt x="1745104" y="703796"/>
                  </a:lnTo>
                  <a:lnTo>
                    <a:pt x="1745104" y="782564"/>
                  </a:lnTo>
                  <a:lnTo>
                    <a:pt x="1747008" y="782564"/>
                  </a:lnTo>
                  <a:lnTo>
                    <a:pt x="1748250" y="805087"/>
                  </a:lnTo>
                  <a:lnTo>
                    <a:pt x="1757926" y="805087"/>
                  </a:lnTo>
                  <a:cubicBezTo>
                    <a:pt x="1758462" y="797873"/>
                    <a:pt x="1759168" y="790219"/>
                    <a:pt x="1759168" y="782564"/>
                  </a:cubicBezTo>
                  <a:lnTo>
                    <a:pt x="1765248" y="782564"/>
                  </a:lnTo>
                  <a:lnTo>
                    <a:pt x="1766490" y="805087"/>
                  </a:lnTo>
                  <a:lnTo>
                    <a:pt x="1817112" y="805087"/>
                  </a:lnTo>
                  <a:lnTo>
                    <a:pt x="1817112" y="642059"/>
                  </a:lnTo>
                  <a:lnTo>
                    <a:pt x="2014439" y="642059"/>
                  </a:lnTo>
                  <a:lnTo>
                    <a:pt x="2014439" y="805087"/>
                  </a:lnTo>
                  <a:lnTo>
                    <a:pt x="2033136" y="805087"/>
                  </a:lnTo>
                  <a:lnTo>
                    <a:pt x="2033136" y="722394"/>
                  </a:lnTo>
                  <a:lnTo>
                    <a:pt x="2128256" y="722394"/>
                  </a:lnTo>
                  <a:cubicBezTo>
                    <a:pt x="2132331" y="616373"/>
                    <a:pt x="2135709" y="510899"/>
                    <a:pt x="2140186" y="404253"/>
                  </a:cubicBezTo>
                  <a:cubicBezTo>
                    <a:pt x="2130053" y="404253"/>
                    <a:pt x="2105733" y="391282"/>
                    <a:pt x="2128026" y="382635"/>
                  </a:cubicBezTo>
                  <a:cubicBezTo>
                    <a:pt x="2125999" y="380473"/>
                    <a:pt x="2123973" y="378311"/>
                    <a:pt x="2121946" y="378311"/>
                  </a:cubicBezTo>
                  <a:cubicBezTo>
                    <a:pt x="2121946" y="365341"/>
                    <a:pt x="2119919" y="363179"/>
                    <a:pt x="2130053" y="354532"/>
                  </a:cubicBezTo>
                  <a:lnTo>
                    <a:pt x="2130053" y="337238"/>
                  </a:lnTo>
                  <a:lnTo>
                    <a:pt x="2144240" y="337238"/>
                  </a:lnTo>
                  <a:lnTo>
                    <a:pt x="2144240" y="315620"/>
                  </a:lnTo>
                  <a:cubicBezTo>
                    <a:pt x="2144240" y="313458"/>
                    <a:pt x="2146266" y="313458"/>
                    <a:pt x="2146266" y="311296"/>
                  </a:cubicBezTo>
                  <a:lnTo>
                    <a:pt x="2146266" y="233472"/>
                  </a:lnTo>
                  <a:cubicBezTo>
                    <a:pt x="2146266" y="231310"/>
                    <a:pt x="2144240" y="229149"/>
                    <a:pt x="2144240" y="226987"/>
                  </a:cubicBezTo>
                  <a:lnTo>
                    <a:pt x="2150320" y="220501"/>
                  </a:lnTo>
                  <a:lnTo>
                    <a:pt x="2150320" y="162133"/>
                  </a:lnTo>
                  <a:cubicBezTo>
                    <a:pt x="2150320" y="159972"/>
                    <a:pt x="2150320" y="159972"/>
                    <a:pt x="2152346" y="157810"/>
                  </a:cubicBezTo>
                  <a:lnTo>
                    <a:pt x="2152346" y="101604"/>
                  </a:lnTo>
                  <a:cubicBezTo>
                    <a:pt x="2154373" y="92957"/>
                    <a:pt x="2154373" y="88633"/>
                    <a:pt x="2154373" y="82148"/>
                  </a:cubicBezTo>
                  <a:cubicBezTo>
                    <a:pt x="2158427" y="88633"/>
                    <a:pt x="2158427" y="92957"/>
                    <a:pt x="2158427" y="99442"/>
                  </a:cubicBezTo>
                  <a:cubicBezTo>
                    <a:pt x="2160453" y="121060"/>
                    <a:pt x="2160453" y="140516"/>
                    <a:pt x="2160453" y="157810"/>
                  </a:cubicBezTo>
                  <a:cubicBezTo>
                    <a:pt x="2162480" y="181589"/>
                    <a:pt x="2162480" y="201045"/>
                    <a:pt x="2162480" y="220501"/>
                  </a:cubicBezTo>
                  <a:lnTo>
                    <a:pt x="2168560" y="226987"/>
                  </a:lnTo>
                  <a:cubicBezTo>
                    <a:pt x="2168560" y="229149"/>
                    <a:pt x="2166533" y="231310"/>
                    <a:pt x="2166533" y="233472"/>
                  </a:cubicBezTo>
                  <a:lnTo>
                    <a:pt x="2166533" y="311296"/>
                  </a:lnTo>
                  <a:cubicBezTo>
                    <a:pt x="2166533" y="313458"/>
                    <a:pt x="2168560" y="313458"/>
                    <a:pt x="2168560" y="315620"/>
                  </a:cubicBezTo>
                  <a:lnTo>
                    <a:pt x="2168560" y="337238"/>
                  </a:lnTo>
                  <a:lnTo>
                    <a:pt x="2182747" y="337238"/>
                  </a:lnTo>
                  <a:lnTo>
                    <a:pt x="2182747" y="354532"/>
                  </a:lnTo>
                  <a:cubicBezTo>
                    <a:pt x="2190854" y="363179"/>
                    <a:pt x="2190854" y="363179"/>
                    <a:pt x="2190854" y="378311"/>
                  </a:cubicBezTo>
                  <a:cubicBezTo>
                    <a:pt x="2188827" y="378311"/>
                    <a:pt x="2186800" y="380473"/>
                    <a:pt x="2184774" y="382635"/>
                  </a:cubicBezTo>
                  <a:cubicBezTo>
                    <a:pt x="2205040" y="393444"/>
                    <a:pt x="2180720" y="402091"/>
                    <a:pt x="2172613" y="404253"/>
                  </a:cubicBezTo>
                  <a:cubicBezTo>
                    <a:pt x="2174640" y="488562"/>
                    <a:pt x="2178693" y="572871"/>
                    <a:pt x="2180720" y="657181"/>
                  </a:cubicBezTo>
                  <a:lnTo>
                    <a:pt x="2245574" y="657181"/>
                  </a:lnTo>
                  <a:lnTo>
                    <a:pt x="2245574" y="732843"/>
                  </a:lnTo>
                  <a:lnTo>
                    <a:pt x="2253681" y="732843"/>
                  </a:lnTo>
                  <a:cubicBezTo>
                    <a:pt x="2253681" y="730681"/>
                    <a:pt x="2255708" y="728519"/>
                    <a:pt x="2255708" y="726358"/>
                  </a:cubicBezTo>
                  <a:lnTo>
                    <a:pt x="2261788" y="726358"/>
                  </a:lnTo>
                  <a:cubicBezTo>
                    <a:pt x="2261788" y="728519"/>
                    <a:pt x="2261788" y="730681"/>
                    <a:pt x="2263815" y="735005"/>
                  </a:cubicBezTo>
                  <a:lnTo>
                    <a:pt x="2275975" y="735005"/>
                  </a:lnTo>
                  <a:lnTo>
                    <a:pt x="2275975" y="728519"/>
                  </a:lnTo>
                  <a:lnTo>
                    <a:pt x="2298268" y="728519"/>
                  </a:lnTo>
                  <a:lnTo>
                    <a:pt x="2298268" y="735005"/>
                  </a:lnTo>
                  <a:lnTo>
                    <a:pt x="2318535" y="735005"/>
                  </a:lnTo>
                  <a:lnTo>
                    <a:pt x="2318535" y="780402"/>
                  </a:lnTo>
                  <a:lnTo>
                    <a:pt x="2332722" y="780402"/>
                  </a:lnTo>
                  <a:lnTo>
                    <a:pt x="2332722" y="767431"/>
                  </a:lnTo>
                  <a:lnTo>
                    <a:pt x="2348936" y="767431"/>
                  </a:lnTo>
                  <a:lnTo>
                    <a:pt x="2348936" y="588004"/>
                  </a:lnTo>
                  <a:lnTo>
                    <a:pt x="2355016" y="581518"/>
                  </a:lnTo>
                  <a:lnTo>
                    <a:pt x="2427977" y="581518"/>
                  </a:lnTo>
                  <a:lnTo>
                    <a:pt x="2427977" y="590166"/>
                  </a:lnTo>
                  <a:lnTo>
                    <a:pt x="2438110" y="590166"/>
                  </a:lnTo>
                  <a:lnTo>
                    <a:pt x="2438110" y="704740"/>
                  </a:lnTo>
                  <a:lnTo>
                    <a:pt x="2460404" y="704740"/>
                  </a:lnTo>
                  <a:lnTo>
                    <a:pt x="2460404" y="637725"/>
                  </a:lnTo>
                  <a:lnTo>
                    <a:pt x="2486751" y="637725"/>
                  </a:lnTo>
                  <a:cubicBezTo>
                    <a:pt x="2488777" y="637725"/>
                    <a:pt x="2488777" y="635563"/>
                    <a:pt x="2490804" y="633401"/>
                  </a:cubicBezTo>
                  <a:lnTo>
                    <a:pt x="2498911" y="633401"/>
                  </a:lnTo>
                  <a:cubicBezTo>
                    <a:pt x="2500937" y="635563"/>
                    <a:pt x="2500937" y="637725"/>
                    <a:pt x="2502964" y="637725"/>
                  </a:cubicBezTo>
                  <a:lnTo>
                    <a:pt x="2525258" y="637725"/>
                  </a:lnTo>
                  <a:lnTo>
                    <a:pt x="2525258" y="520989"/>
                  </a:lnTo>
                  <a:cubicBezTo>
                    <a:pt x="2525272" y="520986"/>
                    <a:pt x="2526139" y="520822"/>
                    <a:pt x="2582005" y="510180"/>
                  </a:cubicBezTo>
                  <a:lnTo>
                    <a:pt x="2582005" y="511261"/>
                  </a:lnTo>
                  <a:lnTo>
                    <a:pt x="2582005" y="518827"/>
                  </a:lnTo>
                  <a:lnTo>
                    <a:pt x="2608352" y="518827"/>
                  </a:lnTo>
                  <a:lnTo>
                    <a:pt x="2608352" y="773917"/>
                  </a:lnTo>
                  <a:lnTo>
                    <a:pt x="2630646" y="773917"/>
                  </a:lnTo>
                  <a:lnTo>
                    <a:pt x="2630646" y="769593"/>
                  </a:lnTo>
                  <a:lnTo>
                    <a:pt x="2642806" y="769593"/>
                  </a:lnTo>
                  <a:lnTo>
                    <a:pt x="2642806" y="773917"/>
                  </a:lnTo>
                  <a:lnTo>
                    <a:pt x="2667126" y="773917"/>
                  </a:lnTo>
                  <a:lnTo>
                    <a:pt x="2667126" y="760946"/>
                  </a:lnTo>
                  <a:lnTo>
                    <a:pt x="2695500" y="760946"/>
                  </a:lnTo>
                  <a:cubicBezTo>
                    <a:pt x="2699553" y="756622"/>
                    <a:pt x="2703607" y="756622"/>
                    <a:pt x="2707660" y="756622"/>
                  </a:cubicBezTo>
                  <a:cubicBezTo>
                    <a:pt x="2713740" y="760946"/>
                    <a:pt x="2721847" y="760946"/>
                    <a:pt x="2727927" y="760946"/>
                  </a:cubicBezTo>
                  <a:lnTo>
                    <a:pt x="2727927" y="743652"/>
                  </a:lnTo>
                  <a:lnTo>
                    <a:pt x="2736034" y="743652"/>
                  </a:lnTo>
                  <a:lnTo>
                    <a:pt x="2736034" y="730681"/>
                  </a:lnTo>
                  <a:lnTo>
                    <a:pt x="2792781" y="730681"/>
                  </a:lnTo>
                  <a:lnTo>
                    <a:pt x="2792781" y="700416"/>
                  </a:lnTo>
                  <a:lnTo>
                    <a:pt x="2811021" y="700416"/>
                  </a:lnTo>
                  <a:lnTo>
                    <a:pt x="2811021" y="693931"/>
                  </a:lnTo>
                  <a:lnTo>
                    <a:pt x="2823181" y="693931"/>
                  </a:lnTo>
                  <a:lnTo>
                    <a:pt x="2823181" y="700416"/>
                  </a:lnTo>
                  <a:lnTo>
                    <a:pt x="2839395" y="700416"/>
                  </a:lnTo>
                  <a:lnTo>
                    <a:pt x="2839395" y="750137"/>
                  </a:lnTo>
                  <a:lnTo>
                    <a:pt x="2871822" y="750137"/>
                  </a:lnTo>
                  <a:lnTo>
                    <a:pt x="2871822" y="724196"/>
                  </a:lnTo>
                  <a:lnTo>
                    <a:pt x="2910329" y="724196"/>
                  </a:lnTo>
                  <a:lnTo>
                    <a:pt x="2910329" y="693931"/>
                  </a:lnTo>
                  <a:lnTo>
                    <a:pt x="2958970" y="693931"/>
                  </a:lnTo>
                  <a:lnTo>
                    <a:pt x="2958970" y="805087"/>
                  </a:lnTo>
                  <a:lnTo>
                    <a:pt x="2958970" y="818866"/>
                  </a:lnTo>
                  <a:lnTo>
                    <a:pt x="3031519" y="818866"/>
                  </a:lnTo>
                  <a:cubicBezTo>
                    <a:pt x="3029295" y="939467"/>
                    <a:pt x="3033744" y="999999"/>
                    <a:pt x="3031520" y="1160647"/>
                  </a:cubicBezTo>
                  <a:lnTo>
                    <a:pt x="2054" y="1158314"/>
                  </a:lnTo>
                  <a:cubicBezTo>
                    <a:pt x="1369" y="1010750"/>
                    <a:pt x="685" y="871760"/>
                    <a:pt x="0" y="724196"/>
                  </a:cubicBezTo>
                  <a:lnTo>
                    <a:pt x="20267" y="724196"/>
                  </a:lnTo>
                  <a:cubicBezTo>
                    <a:pt x="20271" y="724190"/>
                    <a:pt x="20308" y="724108"/>
                    <a:pt x="20774" y="723115"/>
                  </a:cubicBezTo>
                  <a:lnTo>
                    <a:pt x="24320" y="715549"/>
                  </a:lnTo>
                  <a:cubicBezTo>
                    <a:pt x="24329" y="715550"/>
                    <a:pt x="24442" y="715568"/>
                    <a:pt x="26094" y="715819"/>
                  </a:cubicBezTo>
                  <a:lnTo>
                    <a:pt x="38507" y="717710"/>
                  </a:lnTo>
                  <a:cubicBezTo>
                    <a:pt x="38510" y="717720"/>
                    <a:pt x="38548" y="717821"/>
                    <a:pt x="39014" y="719062"/>
                  </a:cubicBezTo>
                  <a:lnTo>
                    <a:pt x="42560" y="728519"/>
                  </a:lnTo>
                  <a:cubicBezTo>
                    <a:pt x="42574" y="728520"/>
                    <a:pt x="43170" y="728570"/>
                    <a:pt x="68907" y="730681"/>
                  </a:cubicBezTo>
                  <a:lnTo>
                    <a:pt x="68907" y="607460"/>
                  </a:lnTo>
                  <a:lnTo>
                    <a:pt x="70934" y="607460"/>
                  </a:lnTo>
                  <a:lnTo>
                    <a:pt x="85121" y="607460"/>
                  </a:lnTo>
                  <a:lnTo>
                    <a:pt x="85121" y="471268"/>
                  </a:lnTo>
                  <a:lnTo>
                    <a:pt x="86894" y="471268"/>
                  </a:lnTo>
                  <a:lnTo>
                    <a:pt x="99308" y="471268"/>
                  </a:lnTo>
                  <a:lnTo>
                    <a:pt x="99308" y="356694"/>
                  </a:lnTo>
                  <a:cubicBezTo>
                    <a:pt x="103361" y="354532"/>
                    <a:pt x="103361" y="354532"/>
                    <a:pt x="103361" y="328590"/>
                  </a:cubicBezTo>
                  <a:lnTo>
                    <a:pt x="105388" y="328590"/>
                  </a:lnTo>
                  <a:lnTo>
                    <a:pt x="119575" y="328590"/>
                  </a:lnTo>
                  <a:cubicBezTo>
                    <a:pt x="119586" y="328567"/>
                    <a:pt x="120192" y="327200"/>
                    <a:pt x="156055" y="246443"/>
                  </a:cubicBezTo>
                  <a:cubicBezTo>
                    <a:pt x="156055" y="246429"/>
                    <a:pt x="156089" y="244478"/>
                    <a:pt x="16010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sz="2701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5" name="Rectangle 35">
              <a:extLst>
                <a:ext uri="{FF2B5EF4-FFF2-40B4-BE49-F238E27FC236}">
                  <a16:creationId xmlns:a16="http://schemas.microsoft.com/office/drawing/2014/main" xmlns="" id="{49DF521B-B201-4F00-8E30-06207AFCF0B8}"/>
                </a:ext>
              </a:extLst>
            </p:cNvPr>
            <p:cNvSpPr/>
            <p:nvPr/>
          </p:nvSpPr>
          <p:spPr>
            <a:xfrm>
              <a:off x="3024845" y="1883798"/>
              <a:ext cx="3024845" cy="689379"/>
            </a:xfrm>
            <a:custGeom>
              <a:avLst/>
              <a:gdLst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842946 w 3079941"/>
                <a:gd name="connsiteY405" fmla="*/ 1160647 h 1160647"/>
                <a:gd name="connsiteX406" fmla="*/ 200958 w 3079941"/>
                <a:gd name="connsiteY406" fmla="*/ 1160647 h 1160647"/>
                <a:gd name="connsiteX407" fmla="*/ 200958 w 3079941"/>
                <a:gd name="connsiteY407" fmla="*/ 1126882 h 1160647"/>
                <a:gd name="connsiteX408" fmla="*/ 0 w 3079941"/>
                <a:gd name="connsiteY408" fmla="*/ 1126882 h 1160647"/>
                <a:gd name="connsiteX409" fmla="*/ 0 w 3079941"/>
                <a:gd name="connsiteY409" fmla="*/ 915339 h 1160647"/>
                <a:gd name="connsiteX410" fmla="*/ 103377 w 3079941"/>
                <a:gd name="connsiteY410" fmla="*/ 915339 h 1160647"/>
                <a:gd name="connsiteX411" fmla="*/ 103377 w 3079941"/>
                <a:gd name="connsiteY411" fmla="*/ 886329 h 1160647"/>
                <a:gd name="connsiteX412" fmla="*/ 55096 w 3079941"/>
                <a:gd name="connsiteY412" fmla="*/ 886329 h 1160647"/>
                <a:gd name="connsiteX413" fmla="*/ 55096 w 3079941"/>
                <a:gd name="connsiteY413" fmla="*/ 724196 h 1160647"/>
                <a:gd name="connsiteX414" fmla="*/ 75363 w 3079941"/>
                <a:gd name="connsiteY414" fmla="*/ 724196 h 1160647"/>
                <a:gd name="connsiteX415" fmla="*/ 75870 w 3079941"/>
                <a:gd name="connsiteY415" fmla="*/ 723115 h 1160647"/>
                <a:gd name="connsiteX416" fmla="*/ 79416 w 3079941"/>
                <a:gd name="connsiteY416" fmla="*/ 715549 h 1160647"/>
                <a:gd name="connsiteX417" fmla="*/ 81190 w 3079941"/>
                <a:gd name="connsiteY417" fmla="*/ 715819 h 1160647"/>
                <a:gd name="connsiteX418" fmla="*/ 93603 w 3079941"/>
                <a:gd name="connsiteY418" fmla="*/ 717710 h 1160647"/>
                <a:gd name="connsiteX419" fmla="*/ 94110 w 3079941"/>
                <a:gd name="connsiteY419" fmla="*/ 719062 h 1160647"/>
                <a:gd name="connsiteX420" fmla="*/ 97656 w 3079941"/>
                <a:gd name="connsiteY420" fmla="*/ 728519 h 1160647"/>
                <a:gd name="connsiteX421" fmla="*/ 124003 w 3079941"/>
                <a:gd name="connsiteY421" fmla="*/ 730681 h 1160647"/>
                <a:gd name="connsiteX422" fmla="*/ 124003 w 3079941"/>
                <a:gd name="connsiteY422" fmla="*/ 607460 h 1160647"/>
                <a:gd name="connsiteX423" fmla="*/ 126030 w 3079941"/>
                <a:gd name="connsiteY423" fmla="*/ 607460 h 1160647"/>
                <a:gd name="connsiteX424" fmla="*/ 140217 w 3079941"/>
                <a:gd name="connsiteY424" fmla="*/ 607460 h 1160647"/>
                <a:gd name="connsiteX425" fmla="*/ 140217 w 3079941"/>
                <a:gd name="connsiteY425" fmla="*/ 471268 h 1160647"/>
                <a:gd name="connsiteX426" fmla="*/ 141990 w 3079941"/>
                <a:gd name="connsiteY426" fmla="*/ 471268 h 1160647"/>
                <a:gd name="connsiteX427" fmla="*/ 154404 w 3079941"/>
                <a:gd name="connsiteY427" fmla="*/ 471268 h 1160647"/>
                <a:gd name="connsiteX428" fmla="*/ 154404 w 3079941"/>
                <a:gd name="connsiteY428" fmla="*/ 356694 h 1160647"/>
                <a:gd name="connsiteX429" fmla="*/ 158457 w 3079941"/>
                <a:gd name="connsiteY429" fmla="*/ 328590 h 1160647"/>
                <a:gd name="connsiteX430" fmla="*/ 160484 w 3079941"/>
                <a:gd name="connsiteY430" fmla="*/ 328590 h 1160647"/>
                <a:gd name="connsiteX431" fmla="*/ 174671 w 3079941"/>
                <a:gd name="connsiteY431" fmla="*/ 328590 h 1160647"/>
                <a:gd name="connsiteX432" fmla="*/ 211151 w 3079941"/>
                <a:gd name="connsiteY432" fmla="*/ 246443 h 1160647"/>
                <a:gd name="connsiteX433" fmla="*/ 215205 w 3079941"/>
                <a:gd name="connsiteY433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00958 w 3079941"/>
                <a:gd name="connsiteY405" fmla="*/ 1160647 h 1160647"/>
                <a:gd name="connsiteX406" fmla="*/ 200958 w 3079941"/>
                <a:gd name="connsiteY406" fmla="*/ 1126882 h 1160647"/>
                <a:gd name="connsiteX407" fmla="*/ 0 w 3079941"/>
                <a:gd name="connsiteY407" fmla="*/ 1126882 h 1160647"/>
                <a:gd name="connsiteX408" fmla="*/ 0 w 3079941"/>
                <a:gd name="connsiteY408" fmla="*/ 915339 h 1160647"/>
                <a:gd name="connsiteX409" fmla="*/ 103377 w 3079941"/>
                <a:gd name="connsiteY409" fmla="*/ 915339 h 1160647"/>
                <a:gd name="connsiteX410" fmla="*/ 103377 w 3079941"/>
                <a:gd name="connsiteY410" fmla="*/ 886329 h 1160647"/>
                <a:gd name="connsiteX411" fmla="*/ 55096 w 3079941"/>
                <a:gd name="connsiteY411" fmla="*/ 886329 h 1160647"/>
                <a:gd name="connsiteX412" fmla="*/ 55096 w 3079941"/>
                <a:gd name="connsiteY412" fmla="*/ 724196 h 1160647"/>
                <a:gd name="connsiteX413" fmla="*/ 75363 w 3079941"/>
                <a:gd name="connsiteY413" fmla="*/ 724196 h 1160647"/>
                <a:gd name="connsiteX414" fmla="*/ 75870 w 3079941"/>
                <a:gd name="connsiteY414" fmla="*/ 723115 h 1160647"/>
                <a:gd name="connsiteX415" fmla="*/ 79416 w 3079941"/>
                <a:gd name="connsiteY415" fmla="*/ 715549 h 1160647"/>
                <a:gd name="connsiteX416" fmla="*/ 81190 w 3079941"/>
                <a:gd name="connsiteY416" fmla="*/ 715819 h 1160647"/>
                <a:gd name="connsiteX417" fmla="*/ 93603 w 3079941"/>
                <a:gd name="connsiteY417" fmla="*/ 717710 h 1160647"/>
                <a:gd name="connsiteX418" fmla="*/ 94110 w 3079941"/>
                <a:gd name="connsiteY418" fmla="*/ 719062 h 1160647"/>
                <a:gd name="connsiteX419" fmla="*/ 97656 w 3079941"/>
                <a:gd name="connsiteY419" fmla="*/ 728519 h 1160647"/>
                <a:gd name="connsiteX420" fmla="*/ 124003 w 3079941"/>
                <a:gd name="connsiteY420" fmla="*/ 730681 h 1160647"/>
                <a:gd name="connsiteX421" fmla="*/ 124003 w 3079941"/>
                <a:gd name="connsiteY421" fmla="*/ 607460 h 1160647"/>
                <a:gd name="connsiteX422" fmla="*/ 126030 w 3079941"/>
                <a:gd name="connsiteY422" fmla="*/ 607460 h 1160647"/>
                <a:gd name="connsiteX423" fmla="*/ 140217 w 3079941"/>
                <a:gd name="connsiteY423" fmla="*/ 607460 h 1160647"/>
                <a:gd name="connsiteX424" fmla="*/ 140217 w 3079941"/>
                <a:gd name="connsiteY424" fmla="*/ 471268 h 1160647"/>
                <a:gd name="connsiteX425" fmla="*/ 141990 w 3079941"/>
                <a:gd name="connsiteY425" fmla="*/ 471268 h 1160647"/>
                <a:gd name="connsiteX426" fmla="*/ 154404 w 3079941"/>
                <a:gd name="connsiteY426" fmla="*/ 471268 h 1160647"/>
                <a:gd name="connsiteX427" fmla="*/ 154404 w 3079941"/>
                <a:gd name="connsiteY427" fmla="*/ 356694 h 1160647"/>
                <a:gd name="connsiteX428" fmla="*/ 158457 w 3079941"/>
                <a:gd name="connsiteY428" fmla="*/ 328590 h 1160647"/>
                <a:gd name="connsiteX429" fmla="*/ 160484 w 3079941"/>
                <a:gd name="connsiteY429" fmla="*/ 328590 h 1160647"/>
                <a:gd name="connsiteX430" fmla="*/ 174671 w 3079941"/>
                <a:gd name="connsiteY430" fmla="*/ 328590 h 1160647"/>
                <a:gd name="connsiteX431" fmla="*/ 211151 w 3079941"/>
                <a:gd name="connsiteY431" fmla="*/ 246443 h 1160647"/>
                <a:gd name="connsiteX432" fmla="*/ 215205 w 3079941"/>
                <a:gd name="connsiteY432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030409 h 1160647"/>
                <a:gd name="connsiteX403" fmla="*/ 3079941 w 3079941"/>
                <a:gd name="connsiteY403" fmla="*/ 1160647 h 1160647"/>
                <a:gd name="connsiteX404" fmla="*/ 200958 w 3079941"/>
                <a:gd name="connsiteY404" fmla="*/ 1160647 h 1160647"/>
                <a:gd name="connsiteX405" fmla="*/ 200958 w 3079941"/>
                <a:gd name="connsiteY405" fmla="*/ 1126882 h 1160647"/>
                <a:gd name="connsiteX406" fmla="*/ 0 w 3079941"/>
                <a:gd name="connsiteY406" fmla="*/ 1126882 h 1160647"/>
                <a:gd name="connsiteX407" fmla="*/ 0 w 3079941"/>
                <a:gd name="connsiteY407" fmla="*/ 915339 h 1160647"/>
                <a:gd name="connsiteX408" fmla="*/ 103377 w 3079941"/>
                <a:gd name="connsiteY408" fmla="*/ 915339 h 1160647"/>
                <a:gd name="connsiteX409" fmla="*/ 103377 w 3079941"/>
                <a:gd name="connsiteY409" fmla="*/ 886329 h 1160647"/>
                <a:gd name="connsiteX410" fmla="*/ 55096 w 3079941"/>
                <a:gd name="connsiteY410" fmla="*/ 886329 h 1160647"/>
                <a:gd name="connsiteX411" fmla="*/ 55096 w 3079941"/>
                <a:gd name="connsiteY411" fmla="*/ 724196 h 1160647"/>
                <a:gd name="connsiteX412" fmla="*/ 75363 w 3079941"/>
                <a:gd name="connsiteY412" fmla="*/ 724196 h 1160647"/>
                <a:gd name="connsiteX413" fmla="*/ 75870 w 3079941"/>
                <a:gd name="connsiteY413" fmla="*/ 723115 h 1160647"/>
                <a:gd name="connsiteX414" fmla="*/ 79416 w 3079941"/>
                <a:gd name="connsiteY414" fmla="*/ 715549 h 1160647"/>
                <a:gd name="connsiteX415" fmla="*/ 81190 w 3079941"/>
                <a:gd name="connsiteY415" fmla="*/ 715819 h 1160647"/>
                <a:gd name="connsiteX416" fmla="*/ 93603 w 3079941"/>
                <a:gd name="connsiteY416" fmla="*/ 717710 h 1160647"/>
                <a:gd name="connsiteX417" fmla="*/ 94110 w 3079941"/>
                <a:gd name="connsiteY417" fmla="*/ 719062 h 1160647"/>
                <a:gd name="connsiteX418" fmla="*/ 97656 w 3079941"/>
                <a:gd name="connsiteY418" fmla="*/ 728519 h 1160647"/>
                <a:gd name="connsiteX419" fmla="*/ 124003 w 3079941"/>
                <a:gd name="connsiteY419" fmla="*/ 730681 h 1160647"/>
                <a:gd name="connsiteX420" fmla="*/ 124003 w 3079941"/>
                <a:gd name="connsiteY420" fmla="*/ 607460 h 1160647"/>
                <a:gd name="connsiteX421" fmla="*/ 126030 w 3079941"/>
                <a:gd name="connsiteY421" fmla="*/ 607460 h 1160647"/>
                <a:gd name="connsiteX422" fmla="*/ 140217 w 3079941"/>
                <a:gd name="connsiteY422" fmla="*/ 607460 h 1160647"/>
                <a:gd name="connsiteX423" fmla="*/ 140217 w 3079941"/>
                <a:gd name="connsiteY423" fmla="*/ 471268 h 1160647"/>
                <a:gd name="connsiteX424" fmla="*/ 141990 w 3079941"/>
                <a:gd name="connsiteY424" fmla="*/ 471268 h 1160647"/>
                <a:gd name="connsiteX425" fmla="*/ 154404 w 3079941"/>
                <a:gd name="connsiteY425" fmla="*/ 471268 h 1160647"/>
                <a:gd name="connsiteX426" fmla="*/ 154404 w 3079941"/>
                <a:gd name="connsiteY426" fmla="*/ 356694 h 1160647"/>
                <a:gd name="connsiteX427" fmla="*/ 158457 w 3079941"/>
                <a:gd name="connsiteY427" fmla="*/ 328590 h 1160647"/>
                <a:gd name="connsiteX428" fmla="*/ 160484 w 3079941"/>
                <a:gd name="connsiteY428" fmla="*/ 328590 h 1160647"/>
                <a:gd name="connsiteX429" fmla="*/ 174671 w 3079941"/>
                <a:gd name="connsiteY429" fmla="*/ 328590 h 1160647"/>
                <a:gd name="connsiteX430" fmla="*/ 211151 w 3079941"/>
                <a:gd name="connsiteY430" fmla="*/ 246443 h 1160647"/>
                <a:gd name="connsiteX431" fmla="*/ 215205 w 3079941"/>
                <a:gd name="connsiteY431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200958 w 3079941"/>
                <a:gd name="connsiteY404" fmla="*/ 1126882 h 1160647"/>
                <a:gd name="connsiteX405" fmla="*/ 0 w 3079941"/>
                <a:gd name="connsiteY405" fmla="*/ 1126882 h 1160647"/>
                <a:gd name="connsiteX406" fmla="*/ 0 w 3079941"/>
                <a:gd name="connsiteY406" fmla="*/ 915339 h 1160647"/>
                <a:gd name="connsiteX407" fmla="*/ 103377 w 3079941"/>
                <a:gd name="connsiteY407" fmla="*/ 915339 h 1160647"/>
                <a:gd name="connsiteX408" fmla="*/ 103377 w 3079941"/>
                <a:gd name="connsiteY408" fmla="*/ 886329 h 1160647"/>
                <a:gd name="connsiteX409" fmla="*/ 55096 w 3079941"/>
                <a:gd name="connsiteY409" fmla="*/ 886329 h 1160647"/>
                <a:gd name="connsiteX410" fmla="*/ 55096 w 3079941"/>
                <a:gd name="connsiteY410" fmla="*/ 724196 h 1160647"/>
                <a:gd name="connsiteX411" fmla="*/ 75363 w 3079941"/>
                <a:gd name="connsiteY411" fmla="*/ 724196 h 1160647"/>
                <a:gd name="connsiteX412" fmla="*/ 75870 w 3079941"/>
                <a:gd name="connsiteY412" fmla="*/ 723115 h 1160647"/>
                <a:gd name="connsiteX413" fmla="*/ 79416 w 3079941"/>
                <a:gd name="connsiteY413" fmla="*/ 715549 h 1160647"/>
                <a:gd name="connsiteX414" fmla="*/ 81190 w 3079941"/>
                <a:gd name="connsiteY414" fmla="*/ 715819 h 1160647"/>
                <a:gd name="connsiteX415" fmla="*/ 93603 w 3079941"/>
                <a:gd name="connsiteY415" fmla="*/ 717710 h 1160647"/>
                <a:gd name="connsiteX416" fmla="*/ 94110 w 3079941"/>
                <a:gd name="connsiteY416" fmla="*/ 719062 h 1160647"/>
                <a:gd name="connsiteX417" fmla="*/ 97656 w 3079941"/>
                <a:gd name="connsiteY417" fmla="*/ 728519 h 1160647"/>
                <a:gd name="connsiteX418" fmla="*/ 124003 w 3079941"/>
                <a:gd name="connsiteY418" fmla="*/ 730681 h 1160647"/>
                <a:gd name="connsiteX419" fmla="*/ 124003 w 3079941"/>
                <a:gd name="connsiteY419" fmla="*/ 607460 h 1160647"/>
                <a:gd name="connsiteX420" fmla="*/ 126030 w 3079941"/>
                <a:gd name="connsiteY420" fmla="*/ 607460 h 1160647"/>
                <a:gd name="connsiteX421" fmla="*/ 140217 w 3079941"/>
                <a:gd name="connsiteY421" fmla="*/ 607460 h 1160647"/>
                <a:gd name="connsiteX422" fmla="*/ 140217 w 3079941"/>
                <a:gd name="connsiteY422" fmla="*/ 471268 h 1160647"/>
                <a:gd name="connsiteX423" fmla="*/ 141990 w 3079941"/>
                <a:gd name="connsiteY423" fmla="*/ 471268 h 1160647"/>
                <a:gd name="connsiteX424" fmla="*/ 154404 w 3079941"/>
                <a:gd name="connsiteY424" fmla="*/ 471268 h 1160647"/>
                <a:gd name="connsiteX425" fmla="*/ 154404 w 3079941"/>
                <a:gd name="connsiteY425" fmla="*/ 356694 h 1160647"/>
                <a:gd name="connsiteX426" fmla="*/ 158457 w 3079941"/>
                <a:gd name="connsiteY426" fmla="*/ 328590 h 1160647"/>
                <a:gd name="connsiteX427" fmla="*/ 160484 w 3079941"/>
                <a:gd name="connsiteY427" fmla="*/ 328590 h 1160647"/>
                <a:gd name="connsiteX428" fmla="*/ 174671 w 3079941"/>
                <a:gd name="connsiteY428" fmla="*/ 328590 h 1160647"/>
                <a:gd name="connsiteX429" fmla="*/ 211151 w 3079941"/>
                <a:gd name="connsiteY429" fmla="*/ 246443 h 1160647"/>
                <a:gd name="connsiteX430" fmla="*/ 215205 w 3079941"/>
                <a:gd name="connsiteY430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103377 w 3079941"/>
                <a:gd name="connsiteY407" fmla="*/ 886329 h 1160647"/>
                <a:gd name="connsiteX408" fmla="*/ 55096 w 3079941"/>
                <a:gd name="connsiteY408" fmla="*/ 886329 h 1160647"/>
                <a:gd name="connsiteX409" fmla="*/ 55096 w 3079941"/>
                <a:gd name="connsiteY409" fmla="*/ 724196 h 1160647"/>
                <a:gd name="connsiteX410" fmla="*/ 75363 w 3079941"/>
                <a:gd name="connsiteY410" fmla="*/ 724196 h 1160647"/>
                <a:gd name="connsiteX411" fmla="*/ 75870 w 3079941"/>
                <a:gd name="connsiteY411" fmla="*/ 723115 h 1160647"/>
                <a:gd name="connsiteX412" fmla="*/ 79416 w 3079941"/>
                <a:gd name="connsiteY412" fmla="*/ 715549 h 1160647"/>
                <a:gd name="connsiteX413" fmla="*/ 81190 w 3079941"/>
                <a:gd name="connsiteY413" fmla="*/ 715819 h 1160647"/>
                <a:gd name="connsiteX414" fmla="*/ 93603 w 3079941"/>
                <a:gd name="connsiteY414" fmla="*/ 717710 h 1160647"/>
                <a:gd name="connsiteX415" fmla="*/ 94110 w 3079941"/>
                <a:gd name="connsiteY415" fmla="*/ 719062 h 1160647"/>
                <a:gd name="connsiteX416" fmla="*/ 97656 w 3079941"/>
                <a:gd name="connsiteY416" fmla="*/ 728519 h 1160647"/>
                <a:gd name="connsiteX417" fmla="*/ 124003 w 3079941"/>
                <a:gd name="connsiteY417" fmla="*/ 730681 h 1160647"/>
                <a:gd name="connsiteX418" fmla="*/ 124003 w 3079941"/>
                <a:gd name="connsiteY418" fmla="*/ 607460 h 1160647"/>
                <a:gd name="connsiteX419" fmla="*/ 126030 w 3079941"/>
                <a:gd name="connsiteY419" fmla="*/ 607460 h 1160647"/>
                <a:gd name="connsiteX420" fmla="*/ 140217 w 3079941"/>
                <a:gd name="connsiteY420" fmla="*/ 607460 h 1160647"/>
                <a:gd name="connsiteX421" fmla="*/ 140217 w 3079941"/>
                <a:gd name="connsiteY421" fmla="*/ 471268 h 1160647"/>
                <a:gd name="connsiteX422" fmla="*/ 141990 w 3079941"/>
                <a:gd name="connsiteY422" fmla="*/ 471268 h 1160647"/>
                <a:gd name="connsiteX423" fmla="*/ 154404 w 3079941"/>
                <a:gd name="connsiteY423" fmla="*/ 471268 h 1160647"/>
                <a:gd name="connsiteX424" fmla="*/ 154404 w 3079941"/>
                <a:gd name="connsiteY424" fmla="*/ 356694 h 1160647"/>
                <a:gd name="connsiteX425" fmla="*/ 158457 w 3079941"/>
                <a:gd name="connsiteY425" fmla="*/ 328590 h 1160647"/>
                <a:gd name="connsiteX426" fmla="*/ 160484 w 3079941"/>
                <a:gd name="connsiteY426" fmla="*/ 328590 h 1160647"/>
                <a:gd name="connsiteX427" fmla="*/ 174671 w 3079941"/>
                <a:gd name="connsiteY427" fmla="*/ 328590 h 1160647"/>
                <a:gd name="connsiteX428" fmla="*/ 211151 w 3079941"/>
                <a:gd name="connsiteY428" fmla="*/ 246443 h 1160647"/>
                <a:gd name="connsiteX429" fmla="*/ 215205 w 3079941"/>
                <a:gd name="connsiteY429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55096 w 3079941"/>
                <a:gd name="connsiteY407" fmla="*/ 886329 h 1160647"/>
                <a:gd name="connsiteX408" fmla="*/ 55096 w 3079941"/>
                <a:gd name="connsiteY408" fmla="*/ 724196 h 1160647"/>
                <a:gd name="connsiteX409" fmla="*/ 75363 w 3079941"/>
                <a:gd name="connsiteY409" fmla="*/ 724196 h 1160647"/>
                <a:gd name="connsiteX410" fmla="*/ 75870 w 3079941"/>
                <a:gd name="connsiteY410" fmla="*/ 723115 h 1160647"/>
                <a:gd name="connsiteX411" fmla="*/ 79416 w 3079941"/>
                <a:gd name="connsiteY411" fmla="*/ 715549 h 1160647"/>
                <a:gd name="connsiteX412" fmla="*/ 81190 w 3079941"/>
                <a:gd name="connsiteY412" fmla="*/ 715819 h 1160647"/>
                <a:gd name="connsiteX413" fmla="*/ 93603 w 3079941"/>
                <a:gd name="connsiteY413" fmla="*/ 717710 h 1160647"/>
                <a:gd name="connsiteX414" fmla="*/ 94110 w 3079941"/>
                <a:gd name="connsiteY414" fmla="*/ 719062 h 1160647"/>
                <a:gd name="connsiteX415" fmla="*/ 97656 w 3079941"/>
                <a:gd name="connsiteY415" fmla="*/ 728519 h 1160647"/>
                <a:gd name="connsiteX416" fmla="*/ 124003 w 3079941"/>
                <a:gd name="connsiteY416" fmla="*/ 730681 h 1160647"/>
                <a:gd name="connsiteX417" fmla="*/ 124003 w 3079941"/>
                <a:gd name="connsiteY417" fmla="*/ 607460 h 1160647"/>
                <a:gd name="connsiteX418" fmla="*/ 126030 w 3079941"/>
                <a:gd name="connsiteY418" fmla="*/ 607460 h 1160647"/>
                <a:gd name="connsiteX419" fmla="*/ 140217 w 3079941"/>
                <a:gd name="connsiteY419" fmla="*/ 607460 h 1160647"/>
                <a:gd name="connsiteX420" fmla="*/ 140217 w 3079941"/>
                <a:gd name="connsiteY420" fmla="*/ 471268 h 1160647"/>
                <a:gd name="connsiteX421" fmla="*/ 141990 w 3079941"/>
                <a:gd name="connsiteY421" fmla="*/ 471268 h 1160647"/>
                <a:gd name="connsiteX422" fmla="*/ 154404 w 3079941"/>
                <a:gd name="connsiteY422" fmla="*/ 471268 h 1160647"/>
                <a:gd name="connsiteX423" fmla="*/ 154404 w 3079941"/>
                <a:gd name="connsiteY423" fmla="*/ 356694 h 1160647"/>
                <a:gd name="connsiteX424" fmla="*/ 158457 w 3079941"/>
                <a:gd name="connsiteY424" fmla="*/ 328590 h 1160647"/>
                <a:gd name="connsiteX425" fmla="*/ 160484 w 3079941"/>
                <a:gd name="connsiteY425" fmla="*/ 328590 h 1160647"/>
                <a:gd name="connsiteX426" fmla="*/ 174671 w 3079941"/>
                <a:gd name="connsiteY426" fmla="*/ 328590 h 1160647"/>
                <a:gd name="connsiteX427" fmla="*/ 211151 w 3079941"/>
                <a:gd name="connsiteY427" fmla="*/ 246443 h 1160647"/>
                <a:gd name="connsiteX428" fmla="*/ 215205 w 3079941"/>
                <a:gd name="connsiteY428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55096 w 3079941"/>
                <a:gd name="connsiteY406" fmla="*/ 886329 h 1160647"/>
                <a:gd name="connsiteX407" fmla="*/ 55096 w 3079941"/>
                <a:gd name="connsiteY407" fmla="*/ 724196 h 1160647"/>
                <a:gd name="connsiteX408" fmla="*/ 75363 w 3079941"/>
                <a:gd name="connsiteY408" fmla="*/ 724196 h 1160647"/>
                <a:gd name="connsiteX409" fmla="*/ 75870 w 3079941"/>
                <a:gd name="connsiteY409" fmla="*/ 723115 h 1160647"/>
                <a:gd name="connsiteX410" fmla="*/ 79416 w 3079941"/>
                <a:gd name="connsiteY410" fmla="*/ 715549 h 1160647"/>
                <a:gd name="connsiteX411" fmla="*/ 81190 w 3079941"/>
                <a:gd name="connsiteY411" fmla="*/ 715819 h 1160647"/>
                <a:gd name="connsiteX412" fmla="*/ 93603 w 3079941"/>
                <a:gd name="connsiteY412" fmla="*/ 717710 h 1160647"/>
                <a:gd name="connsiteX413" fmla="*/ 94110 w 3079941"/>
                <a:gd name="connsiteY413" fmla="*/ 719062 h 1160647"/>
                <a:gd name="connsiteX414" fmla="*/ 97656 w 3079941"/>
                <a:gd name="connsiteY414" fmla="*/ 728519 h 1160647"/>
                <a:gd name="connsiteX415" fmla="*/ 124003 w 3079941"/>
                <a:gd name="connsiteY415" fmla="*/ 730681 h 1160647"/>
                <a:gd name="connsiteX416" fmla="*/ 124003 w 3079941"/>
                <a:gd name="connsiteY416" fmla="*/ 607460 h 1160647"/>
                <a:gd name="connsiteX417" fmla="*/ 126030 w 3079941"/>
                <a:gd name="connsiteY417" fmla="*/ 607460 h 1160647"/>
                <a:gd name="connsiteX418" fmla="*/ 140217 w 3079941"/>
                <a:gd name="connsiteY418" fmla="*/ 607460 h 1160647"/>
                <a:gd name="connsiteX419" fmla="*/ 140217 w 3079941"/>
                <a:gd name="connsiteY419" fmla="*/ 471268 h 1160647"/>
                <a:gd name="connsiteX420" fmla="*/ 141990 w 3079941"/>
                <a:gd name="connsiteY420" fmla="*/ 471268 h 1160647"/>
                <a:gd name="connsiteX421" fmla="*/ 154404 w 3079941"/>
                <a:gd name="connsiteY421" fmla="*/ 471268 h 1160647"/>
                <a:gd name="connsiteX422" fmla="*/ 154404 w 3079941"/>
                <a:gd name="connsiteY422" fmla="*/ 356694 h 1160647"/>
                <a:gd name="connsiteX423" fmla="*/ 158457 w 3079941"/>
                <a:gd name="connsiteY423" fmla="*/ 328590 h 1160647"/>
                <a:gd name="connsiteX424" fmla="*/ 160484 w 3079941"/>
                <a:gd name="connsiteY424" fmla="*/ 328590 h 1160647"/>
                <a:gd name="connsiteX425" fmla="*/ 174671 w 3079941"/>
                <a:gd name="connsiteY425" fmla="*/ 328590 h 1160647"/>
                <a:gd name="connsiteX426" fmla="*/ 211151 w 3079941"/>
                <a:gd name="connsiteY426" fmla="*/ 246443 h 1160647"/>
                <a:gd name="connsiteX427" fmla="*/ 215205 w 3079941"/>
                <a:gd name="connsiteY427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886329 h 1160647"/>
                <a:gd name="connsiteX406" fmla="*/ 55096 w 3079941"/>
                <a:gd name="connsiteY406" fmla="*/ 724196 h 1160647"/>
                <a:gd name="connsiteX407" fmla="*/ 75363 w 3079941"/>
                <a:gd name="connsiteY407" fmla="*/ 724196 h 1160647"/>
                <a:gd name="connsiteX408" fmla="*/ 75870 w 3079941"/>
                <a:gd name="connsiteY408" fmla="*/ 723115 h 1160647"/>
                <a:gd name="connsiteX409" fmla="*/ 79416 w 3079941"/>
                <a:gd name="connsiteY409" fmla="*/ 715549 h 1160647"/>
                <a:gd name="connsiteX410" fmla="*/ 81190 w 3079941"/>
                <a:gd name="connsiteY410" fmla="*/ 715819 h 1160647"/>
                <a:gd name="connsiteX411" fmla="*/ 93603 w 3079941"/>
                <a:gd name="connsiteY411" fmla="*/ 717710 h 1160647"/>
                <a:gd name="connsiteX412" fmla="*/ 94110 w 3079941"/>
                <a:gd name="connsiteY412" fmla="*/ 719062 h 1160647"/>
                <a:gd name="connsiteX413" fmla="*/ 97656 w 3079941"/>
                <a:gd name="connsiteY413" fmla="*/ 728519 h 1160647"/>
                <a:gd name="connsiteX414" fmla="*/ 124003 w 3079941"/>
                <a:gd name="connsiteY414" fmla="*/ 730681 h 1160647"/>
                <a:gd name="connsiteX415" fmla="*/ 124003 w 3079941"/>
                <a:gd name="connsiteY415" fmla="*/ 607460 h 1160647"/>
                <a:gd name="connsiteX416" fmla="*/ 126030 w 3079941"/>
                <a:gd name="connsiteY416" fmla="*/ 607460 h 1160647"/>
                <a:gd name="connsiteX417" fmla="*/ 140217 w 3079941"/>
                <a:gd name="connsiteY417" fmla="*/ 607460 h 1160647"/>
                <a:gd name="connsiteX418" fmla="*/ 140217 w 3079941"/>
                <a:gd name="connsiteY418" fmla="*/ 471268 h 1160647"/>
                <a:gd name="connsiteX419" fmla="*/ 141990 w 3079941"/>
                <a:gd name="connsiteY419" fmla="*/ 471268 h 1160647"/>
                <a:gd name="connsiteX420" fmla="*/ 154404 w 3079941"/>
                <a:gd name="connsiteY420" fmla="*/ 471268 h 1160647"/>
                <a:gd name="connsiteX421" fmla="*/ 154404 w 3079941"/>
                <a:gd name="connsiteY421" fmla="*/ 356694 h 1160647"/>
                <a:gd name="connsiteX422" fmla="*/ 158457 w 3079941"/>
                <a:gd name="connsiteY422" fmla="*/ 328590 h 1160647"/>
                <a:gd name="connsiteX423" fmla="*/ 160484 w 3079941"/>
                <a:gd name="connsiteY423" fmla="*/ 328590 h 1160647"/>
                <a:gd name="connsiteX424" fmla="*/ 174671 w 3079941"/>
                <a:gd name="connsiteY424" fmla="*/ 328590 h 1160647"/>
                <a:gd name="connsiteX425" fmla="*/ 211151 w 3079941"/>
                <a:gd name="connsiteY425" fmla="*/ 246443 h 1160647"/>
                <a:gd name="connsiteX426" fmla="*/ 215205 w 3079941"/>
                <a:gd name="connsiteY426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724196 h 1160647"/>
                <a:gd name="connsiteX406" fmla="*/ 75363 w 3079941"/>
                <a:gd name="connsiteY406" fmla="*/ 724196 h 1160647"/>
                <a:gd name="connsiteX407" fmla="*/ 75870 w 3079941"/>
                <a:gd name="connsiteY407" fmla="*/ 723115 h 1160647"/>
                <a:gd name="connsiteX408" fmla="*/ 79416 w 3079941"/>
                <a:gd name="connsiteY408" fmla="*/ 715549 h 1160647"/>
                <a:gd name="connsiteX409" fmla="*/ 81190 w 3079941"/>
                <a:gd name="connsiteY409" fmla="*/ 715819 h 1160647"/>
                <a:gd name="connsiteX410" fmla="*/ 93603 w 3079941"/>
                <a:gd name="connsiteY410" fmla="*/ 717710 h 1160647"/>
                <a:gd name="connsiteX411" fmla="*/ 94110 w 3079941"/>
                <a:gd name="connsiteY411" fmla="*/ 719062 h 1160647"/>
                <a:gd name="connsiteX412" fmla="*/ 97656 w 3079941"/>
                <a:gd name="connsiteY412" fmla="*/ 728519 h 1160647"/>
                <a:gd name="connsiteX413" fmla="*/ 124003 w 3079941"/>
                <a:gd name="connsiteY413" fmla="*/ 730681 h 1160647"/>
                <a:gd name="connsiteX414" fmla="*/ 124003 w 3079941"/>
                <a:gd name="connsiteY414" fmla="*/ 607460 h 1160647"/>
                <a:gd name="connsiteX415" fmla="*/ 126030 w 3079941"/>
                <a:gd name="connsiteY415" fmla="*/ 607460 h 1160647"/>
                <a:gd name="connsiteX416" fmla="*/ 140217 w 3079941"/>
                <a:gd name="connsiteY416" fmla="*/ 607460 h 1160647"/>
                <a:gd name="connsiteX417" fmla="*/ 140217 w 3079941"/>
                <a:gd name="connsiteY417" fmla="*/ 471268 h 1160647"/>
                <a:gd name="connsiteX418" fmla="*/ 141990 w 3079941"/>
                <a:gd name="connsiteY418" fmla="*/ 471268 h 1160647"/>
                <a:gd name="connsiteX419" fmla="*/ 154404 w 3079941"/>
                <a:gd name="connsiteY419" fmla="*/ 471268 h 1160647"/>
                <a:gd name="connsiteX420" fmla="*/ 154404 w 3079941"/>
                <a:gd name="connsiteY420" fmla="*/ 356694 h 1160647"/>
                <a:gd name="connsiteX421" fmla="*/ 158457 w 3079941"/>
                <a:gd name="connsiteY421" fmla="*/ 328590 h 1160647"/>
                <a:gd name="connsiteX422" fmla="*/ 160484 w 3079941"/>
                <a:gd name="connsiteY422" fmla="*/ 328590 h 1160647"/>
                <a:gd name="connsiteX423" fmla="*/ 174671 w 3079941"/>
                <a:gd name="connsiteY423" fmla="*/ 328590 h 1160647"/>
                <a:gd name="connsiteX424" fmla="*/ 211151 w 3079941"/>
                <a:gd name="connsiteY424" fmla="*/ 246443 h 1160647"/>
                <a:gd name="connsiteX425" fmla="*/ 215205 w 3079941"/>
                <a:gd name="connsiteY425" fmla="*/ 0 h 1160647"/>
                <a:gd name="connsiteX0" fmla="*/ 160109 w 3024845"/>
                <a:gd name="connsiteY0" fmla="*/ 0 h 1166887"/>
                <a:gd name="connsiteX1" fmla="*/ 162135 w 3024845"/>
                <a:gd name="connsiteY1" fmla="*/ 246443 h 1166887"/>
                <a:gd name="connsiteX2" fmla="*/ 200642 w 3024845"/>
                <a:gd name="connsiteY2" fmla="*/ 326429 h 1166887"/>
                <a:gd name="connsiteX3" fmla="*/ 202669 w 3024845"/>
                <a:gd name="connsiteY3" fmla="*/ 326429 h 1166887"/>
                <a:gd name="connsiteX4" fmla="*/ 216856 w 3024845"/>
                <a:gd name="connsiteY4" fmla="*/ 326429 h 1166887"/>
                <a:gd name="connsiteX5" fmla="*/ 216856 w 3024845"/>
                <a:gd name="connsiteY5" fmla="*/ 350208 h 1166887"/>
                <a:gd name="connsiteX6" fmla="*/ 217363 w 3024845"/>
                <a:gd name="connsiteY6" fmla="*/ 351019 h 1166887"/>
                <a:gd name="connsiteX7" fmla="*/ 220909 w 3024845"/>
                <a:gd name="connsiteY7" fmla="*/ 356694 h 1166887"/>
                <a:gd name="connsiteX8" fmla="*/ 220909 w 3024845"/>
                <a:gd name="connsiteY8" fmla="*/ 471268 h 1166887"/>
                <a:gd name="connsiteX9" fmla="*/ 223189 w 3024845"/>
                <a:gd name="connsiteY9" fmla="*/ 471268 h 1166887"/>
                <a:gd name="connsiteX10" fmla="*/ 239150 w 3024845"/>
                <a:gd name="connsiteY10" fmla="*/ 471268 h 1166887"/>
                <a:gd name="connsiteX11" fmla="*/ 239150 w 3024845"/>
                <a:gd name="connsiteY11" fmla="*/ 611783 h 1166887"/>
                <a:gd name="connsiteX12" fmla="*/ 240670 w 3024845"/>
                <a:gd name="connsiteY12" fmla="*/ 611513 h 1166887"/>
                <a:gd name="connsiteX13" fmla="*/ 251310 w 3024845"/>
                <a:gd name="connsiteY13" fmla="*/ 609622 h 1166887"/>
                <a:gd name="connsiteX14" fmla="*/ 249283 w 3024845"/>
                <a:gd name="connsiteY14" fmla="*/ 698254 h 1166887"/>
                <a:gd name="connsiteX15" fmla="*/ 250803 w 3024845"/>
                <a:gd name="connsiteY15" fmla="*/ 698525 h 1166887"/>
                <a:gd name="connsiteX16" fmla="*/ 261443 w 3024845"/>
                <a:gd name="connsiteY16" fmla="*/ 700416 h 1166887"/>
                <a:gd name="connsiteX17" fmla="*/ 261696 w 3024845"/>
                <a:gd name="connsiteY17" fmla="*/ 701227 h 1166887"/>
                <a:gd name="connsiteX18" fmla="*/ 263470 w 3024845"/>
                <a:gd name="connsiteY18" fmla="*/ 706902 h 1166887"/>
                <a:gd name="connsiteX19" fmla="*/ 264230 w 3024845"/>
                <a:gd name="connsiteY19" fmla="*/ 704470 h 1166887"/>
                <a:gd name="connsiteX20" fmla="*/ 269550 w 3024845"/>
                <a:gd name="connsiteY20" fmla="*/ 687446 h 1166887"/>
                <a:gd name="connsiteX21" fmla="*/ 271323 w 3024845"/>
                <a:gd name="connsiteY21" fmla="*/ 687446 h 1166887"/>
                <a:gd name="connsiteX22" fmla="*/ 283737 w 3024845"/>
                <a:gd name="connsiteY22" fmla="*/ 687446 h 1166887"/>
                <a:gd name="connsiteX23" fmla="*/ 283737 w 3024845"/>
                <a:gd name="connsiteY23" fmla="*/ 719872 h 1166887"/>
                <a:gd name="connsiteX24" fmla="*/ 284750 w 3024845"/>
                <a:gd name="connsiteY24" fmla="*/ 720413 h 1166887"/>
                <a:gd name="connsiteX25" fmla="*/ 291844 w 3024845"/>
                <a:gd name="connsiteY25" fmla="*/ 724196 h 1166887"/>
                <a:gd name="connsiteX26" fmla="*/ 291844 w 3024845"/>
                <a:gd name="connsiteY26" fmla="*/ 725547 h 1166887"/>
                <a:gd name="connsiteX27" fmla="*/ 291844 w 3024845"/>
                <a:gd name="connsiteY27" fmla="*/ 735005 h 1166887"/>
                <a:gd name="connsiteX28" fmla="*/ 336431 w 3024845"/>
                <a:gd name="connsiteY28" fmla="*/ 735005 h 1166887"/>
                <a:gd name="connsiteX29" fmla="*/ 336431 w 3024845"/>
                <a:gd name="connsiteY29" fmla="*/ 736086 h 1166887"/>
                <a:gd name="connsiteX30" fmla="*/ 336431 w 3024845"/>
                <a:gd name="connsiteY30" fmla="*/ 743652 h 1166887"/>
                <a:gd name="connsiteX31" fmla="*/ 338457 w 3024845"/>
                <a:gd name="connsiteY31" fmla="*/ 743652 h 1166887"/>
                <a:gd name="connsiteX32" fmla="*/ 352644 w 3024845"/>
                <a:gd name="connsiteY32" fmla="*/ 743652 h 1166887"/>
                <a:gd name="connsiteX33" fmla="*/ 352644 w 3024845"/>
                <a:gd name="connsiteY33" fmla="*/ 713387 h 1166887"/>
                <a:gd name="connsiteX34" fmla="*/ 397231 w 3024845"/>
                <a:gd name="connsiteY34" fmla="*/ 713387 h 1166887"/>
                <a:gd name="connsiteX35" fmla="*/ 397231 w 3024845"/>
                <a:gd name="connsiteY35" fmla="*/ 712036 h 1166887"/>
                <a:gd name="connsiteX36" fmla="*/ 397231 w 3024845"/>
                <a:gd name="connsiteY36" fmla="*/ 702578 h 1166887"/>
                <a:gd name="connsiteX37" fmla="*/ 398245 w 3024845"/>
                <a:gd name="connsiteY37" fmla="*/ 702578 h 1166887"/>
                <a:gd name="connsiteX38" fmla="*/ 405338 w 3024845"/>
                <a:gd name="connsiteY38" fmla="*/ 702578 h 1166887"/>
                <a:gd name="connsiteX39" fmla="*/ 405338 w 3024845"/>
                <a:gd name="connsiteY39" fmla="*/ 700687 h 1166887"/>
                <a:gd name="connsiteX40" fmla="*/ 405338 w 3024845"/>
                <a:gd name="connsiteY40" fmla="*/ 687446 h 1166887"/>
                <a:gd name="connsiteX41" fmla="*/ 406098 w 3024845"/>
                <a:gd name="connsiteY41" fmla="*/ 687446 h 1166887"/>
                <a:gd name="connsiteX42" fmla="*/ 411418 w 3024845"/>
                <a:gd name="connsiteY42" fmla="*/ 687446 h 1166887"/>
                <a:gd name="connsiteX43" fmla="*/ 411418 w 3024845"/>
                <a:gd name="connsiteY43" fmla="*/ 686365 h 1166887"/>
                <a:gd name="connsiteX44" fmla="*/ 411418 w 3024845"/>
                <a:gd name="connsiteY44" fmla="*/ 678798 h 1166887"/>
                <a:gd name="connsiteX45" fmla="*/ 413445 w 3024845"/>
                <a:gd name="connsiteY45" fmla="*/ 678798 h 1166887"/>
                <a:gd name="connsiteX46" fmla="*/ 427632 w 3024845"/>
                <a:gd name="connsiteY46" fmla="*/ 678798 h 1166887"/>
                <a:gd name="connsiteX47" fmla="*/ 427632 w 3024845"/>
                <a:gd name="connsiteY47" fmla="*/ 679879 h 1166887"/>
                <a:gd name="connsiteX48" fmla="*/ 427632 w 3024845"/>
                <a:gd name="connsiteY48" fmla="*/ 687446 h 1166887"/>
                <a:gd name="connsiteX49" fmla="*/ 449925 w 3024845"/>
                <a:gd name="connsiteY49" fmla="*/ 687446 h 1166887"/>
                <a:gd name="connsiteX50" fmla="*/ 449925 w 3024845"/>
                <a:gd name="connsiteY50" fmla="*/ 685554 h 1166887"/>
                <a:gd name="connsiteX51" fmla="*/ 449925 w 3024845"/>
                <a:gd name="connsiteY51" fmla="*/ 672313 h 1166887"/>
                <a:gd name="connsiteX52" fmla="*/ 451699 w 3024845"/>
                <a:gd name="connsiteY52" fmla="*/ 672313 h 1166887"/>
                <a:gd name="connsiteX53" fmla="*/ 464112 w 3024845"/>
                <a:gd name="connsiteY53" fmla="*/ 672313 h 1166887"/>
                <a:gd name="connsiteX54" fmla="*/ 464112 w 3024845"/>
                <a:gd name="connsiteY54" fmla="*/ 696093 h 1166887"/>
                <a:gd name="connsiteX55" fmla="*/ 465126 w 3024845"/>
                <a:gd name="connsiteY55" fmla="*/ 696093 h 1166887"/>
                <a:gd name="connsiteX56" fmla="*/ 472219 w 3024845"/>
                <a:gd name="connsiteY56" fmla="*/ 696093 h 1166887"/>
                <a:gd name="connsiteX57" fmla="*/ 472219 w 3024845"/>
                <a:gd name="connsiteY57" fmla="*/ 695012 h 1166887"/>
                <a:gd name="connsiteX58" fmla="*/ 472219 w 3024845"/>
                <a:gd name="connsiteY58" fmla="*/ 687446 h 1166887"/>
                <a:gd name="connsiteX59" fmla="*/ 473992 w 3024845"/>
                <a:gd name="connsiteY59" fmla="*/ 687446 h 1166887"/>
                <a:gd name="connsiteX60" fmla="*/ 486406 w 3024845"/>
                <a:gd name="connsiteY60" fmla="*/ 687446 h 1166887"/>
                <a:gd name="connsiteX61" fmla="*/ 486406 w 3024845"/>
                <a:gd name="connsiteY61" fmla="*/ 713387 h 1166887"/>
                <a:gd name="connsiteX62" fmla="*/ 488433 w 3024845"/>
                <a:gd name="connsiteY62" fmla="*/ 713387 h 1166887"/>
                <a:gd name="connsiteX63" fmla="*/ 502619 w 3024845"/>
                <a:gd name="connsiteY63" fmla="*/ 713387 h 1166887"/>
                <a:gd name="connsiteX64" fmla="*/ 502619 w 3024845"/>
                <a:gd name="connsiteY64" fmla="*/ 715008 h 1166887"/>
                <a:gd name="connsiteX65" fmla="*/ 502619 w 3024845"/>
                <a:gd name="connsiteY65" fmla="*/ 726358 h 1166887"/>
                <a:gd name="connsiteX66" fmla="*/ 503379 w 3024845"/>
                <a:gd name="connsiteY66" fmla="*/ 726358 h 1166887"/>
                <a:gd name="connsiteX67" fmla="*/ 508700 w 3024845"/>
                <a:gd name="connsiteY67" fmla="*/ 726358 h 1166887"/>
                <a:gd name="connsiteX68" fmla="*/ 508700 w 3024845"/>
                <a:gd name="connsiteY68" fmla="*/ 725547 h 1166887"/>
                <a:gd name="connsiteX69" fmla="*/ 508700 w 3024845"/>
                <a:gd name="connsiteY69" fmla="*/ 719872 h 1166887"/>
                <a:gd name="connsiteX70" fmla="*/ 539100 w 3024845"/>
                <a:gd name="connsiteY70" fmla="*/ 719872 h 1166887"/>
                <a:gd name="connsiteX71" fmla="*/ 539100 w 3024845"/>
                <a:gd name="connsiteY71" fmla="*/ 743652 h 1166887"/>
                <a:gd name="connsiteX72" fmla="*/ 540113 w 3024845"/>
                <a:gd name="connsiteY72" fmla="*/ 743652 h 1166887"/>
                <a:gd name="connsiteX73" fmla="*/ 547207 w 3024845"/>
                <a:gd name="connsiteY73" fmla="*/ 743652 h 1166887"/>
                <a:gd name="connsiteX74" fmla="*/ 547207 w 3024845"/>
                <a:gd name="connsiteY74" fmla="*/ 744733 h 1166887"/>
                <a:gd name="connsiteX75" fmla="*/ 547207 w 3024845"/>
                <a:gd name="connsiteY75" fmla="*/ 752299 h 1166887"/>
                <a:gd name="connsiteX76" fmla="*/ 547967 w 3024845"/>
                <a:gd name="connsiteY76" fmla="*/ 752299 h 1166887"/>
                <a:gd name="connsiteX77" fmla="*/ 553287 w 3024845"/>
                <a:gd name="connsiteY77" fmla="*/ 752299 h 1166887"/>
                <a:gd name="connsiteX78" fmla="*/ 553287 w 3024845"/>
                <a:gd name="connsiteY78" fmla="*/ 750137 h 1166887"/>
                <a:gd name="connsiteX79" fmla="*/ 553287 w 3024845"/>
                <a:gd name="connsiteY79" fmla="*/ 735005 h 1166887"/>
                <a:gd name="connsiteX80" fmla="*/ 554300 w 3024845"/>
                <a:gd name="connsiteY80" fmla="*/ 735005 h 1166887"/>
                <a:gd name="connsiteX81" fmla="*/ 561394 w 3024845"/>
                <a:gd name="connsiteY81" fmla="*/ 735005 h 1166887"/>
                <a:gd name="connsiteX82" fmla="*/ 561394 w 3024845"/>
                <a:gd name="connsiteY82" fmla="*/ 736086 h 1166887"/>
                <a:gd name="connsiteX83" fmla="*/ 561394 w 3024845"/>
                <a:gd name="connsiteY83" fmla="*/ 743652 h 1166887"/>
                <a:gd name="connsiteX84" fmla="*/ 566714 w 3024845"/>
                <a:gd name="connsiteY84" fmla="*/ 741659 h 1166887"/>
                <a:gd name="connsiteX85" fmla="*/ 567474 w 3024845"/>
                <a:gd name="connsiteY85" fmla="*/ 740679 h 1166887"/>
                <a:gd name="connsiteX86" fmla="*/ 567474 w 3024845"/>
                <a:gd name="connsiteY86" fmla="*/ 735005 h 1166887"/>
                <a:gd name="connsiteX87" fmla="*/ 605981 w 3024845"/>
                <a:gd name="connsiteY87" fmla="*/ 735005 h 1166887"/>
                <a:gd name="connsiteX88" fmla="*/ 605981 w 3024845"/>
                <a:gd name="connsiteY88" fmla="*/ 758784 h 1166887"/>
                <a:gd name="connsiteX89" fmla="*/ 608007 w 3024845"/>
                <a:gd name="connsiteY89" fmla="*/ 758784 h 1166887"/>
                <a:gd name="connsiteX90" fmla="*/ 622194 w 3024845"/>
                <a:gd name="connsiteY90" fmla="*/ 758784 h 1166887"/>
                <a:gd name="connsiteX91" fmla="*/ 622194 w 3024845"/>
                <a:gd name="connsiteY91" fmla="*/ 759865 h 1166887"/>
                <a:gd name="connsiteX92" fmla="*/ 622194 w 3024845"/>
                <a:gd name="connsiteY92" fmla="*/ 767431 h 1166887"/>
                <a:gd name="connsiteX93" fmla="*/ 623968 w 3024845"/>
                <a:gd name="connsiteY93" fmla="*/ 767431 h 1166887"/>
                <a:gd name="connsiteX94" fmla="*/ 636381 w 3024845"/>
                <a:gd name="connsiteY94" fmla="*/ 767431 h 1166887"/>
                <a:gd name="connsiteX95" fmla="*/ 636381 w 3024845"/>
                <a:gd name="connsiteY95" fmla="*/ 743652 h 1166887"/>
                <a:gd name="connsiteX96" fmla="*/ 637394 w 3024845"/>
                <a:gd name="connsiteY96" fmla="*/ 743652 h 1166887"/>
                <a:gd name="connsiteX97" fmla="*/ 644488 w 3024845"/>
                <a:gd name="connsiteY97" fmla="*/ 743652 h 1166887"/>
                <a:gd name="connsiteX98" fmla="*/ 644488 w 3024845"/>
                <a:gd name="connsiteY98" fmla="*/ 711225 h 1166887"/>
                <a:gd name="connsiteX99" fmla="*/ 645501 w 3024845"/>
                <a:gd name="connsiteY99" fmla="*/ 711225 h 1166887"/>
                <a:gd name="connsiteX100" fmla="*/ 652595 w 3024845"/>
                <a:gd name="connsiteY100" fmla="*/ 711225 h 1166887"/>
                <a:gd name="connsiteX101" fmla="*/ 652595 w 3024845"/>
                <a:gd name="connsiteY101" fmla="*/ 709334 h 1166887"/>
                <a:gd name="connsiteX102" fmla="*/ 652595 w 3024845"/>
                <a:gd name="connsiteY102" fmla="*/ 696093 h 1166887"/>
                <a:gd name="connsiteX103" fmla="*/ 651328 w 3024845"/>
                <a:gd name="connsiteY103" fmla="*/ 694471 h 1166887"/>
                <a:gd name="connsiteX104" fmla="*/ 656648 w 3024845"/>
                <a:gd name="connsiteY104" fmla="*/ 683122 h 1166887"/>
                <a:gd name="connsiteX105" fmla="*/ 664755 w 3024845"/>
                <a:gd name="connsiteY105" fmla="*/ 711225 h 1166887"/>
                <a:gd name="connsiteX106" fmla="*/ 665515 w 3024845"/>
                <a:gd name="connsiteY106" fmla="*/ 711225 h 1166887"/>
                <a:gd name="connsiteX107" fmla="*/ 670835 w 3024845"/>
                <a:gd name="connsiteY107" fmla="*/ 711225 h 1166887"/>
                <a:gd name="connsiteX108" fmla="*/ 670835 w 3024845"/>
                <a:gd name="connsiteY108" fmla="*/ 605298 h 1166887"/>
                <a:gd name="connsiteX109" fmla="*/ 672355 w 3024845"/>
                <a:gd name="connsiteY109" fmla="*/ 605298 h 1166887"/>
                <a:gd name="connsiteX110" fmla="*/ 682995 w 3024845"/>
                <a:gd name="connsiteY110" fmla="*/ 605298 h 1166887"/>
                <a:gd name="connsiteX111" fmla="*/ 682995 w 3024845"/>
                <a:gd name="connsiteY111" fmla="*/ 557739 h 1166887"/>
                <a:gd name="connsiteX112" fmla="*/ 709342 w 3024845"/>
                <a:gd name="connsiteY112" fmla="*/ 557739 h 1166887"/>
                <a:gd name="connsiteX113" fmla="*/ 709342 w 3024845"/>
                <a:gd name="connsiteY113" fmla="*/ 536121 h 1166887"/>
                <a:gd name="connsiteX114" fmla="*/ 743796 w 3024845"/>
                <a:gd name="connsiteY114" fmla="*/ 536121 h 1166887"/>
                <a:gd name="connsiteX115" fmla="*/ 743796 w 3024845"/>
                <a:gd name="connsiteY115" fmla="*/ 538553 h 1166887"/>
                <a:gd name="connsiteX116" fmla="*/ 743796 w 3024845"/>
                <a:gd name="connsiteY116" fmla="*/ 555577 h 1166887"/>
                <a:gd name="connsiteX117" fmla="*/ 746076 w 3024845"/>
                <a:gd name="connsiteY117" fmla="*/ 555577 h 1166887"/>
                <a:gd name="connsiteX118" fmla="*/ 762036 w 3024845"/>
                <a:gd name="connsiteY118" fmla="*/ 555577 h 1166887"/>
                <a:gd name="connsiteX119" fmla="*/ 762036 w 3024845"/>
                <a:gd name="connsiteY119" fmla="*/ 603136 h 1166887"/>
                <a:gd name="connsiteX120" fmla="*/ 763049 w 3024845"/>
                <a:gd name="connsiteY120" fmla="*/ 603136 h 1166887"/>
                <a:gd name="connsiteX121" fmla="*/ 770143 w 3024845"/>
                <a:gd name="connsiteY121" fmla="*/ 603136 h 1166887"/>
                <a:gd name="connsiteX122" fmla="*/ 784330 w 3024845"/>
                <a:gd name="connsiteY122" fmla="*/ 607460 h 1166887"/>
                <a:gd name="connsiteX123" fmla="*/ 784330 w 3024845"/>
                <a:gd name="connsiteY123" fmla="*/ 646372 h 1166887"/>
                <a:gd name="connsiteX124" fmla="*/ 785343 w 3024845"/>
                <a:gd name="connsiteY124" fmla="*/ 646372 h 1166887"/>
                <a:gd name="connsiteX125" fmla="*/ 792436 w 3024845"/>
                <a:gd name="connsiteY125" fmla="*/ 646372 h 1166887"/>
                <a:gd name="connsiteX126" fmla="*/ 792436 w 3024845"/>
                <a:gd name="connsiteY126" fmla="*/ 647993 h 1166887"/>
                <a:gd name="connsiteX127" fmla="*/ 792436 w 3024845"/>
                <a:gd name="connsiteY127" fmla="*/ 659342 h 1166887"/>
                <a:gd name="connsiteX128" fmla="*/ 794463 w 3024845"/>
                <a:gd name="connsiteY128" fmla="*/ 659342 h 1166887"/>
                <a:gd name="connsiteX129" fmla="*/ 808650 w 3024845"/>
                <a:gd name="connsiteY129" fmla="*/ 659342 h 1166887"/>
                <a:gd name="connsiteX130" fmla="*/ 814730 w 3024845"/>
                <a:gd name="connsiteY130" fmla="*/ 665828 h 1166887"/>
                <a:gd name="connsiteX131" fmla="*/ 814730 w 3024845"/>
                <a:gd name="connsiteY131" fmla="*/ 687446 h 1166887"/>
                <a:gd name="connsiteX132" fmla="*/ 817010 w 3024845"/>
                <a:gd name="connsiteY132" fmla="*/ 687446 h 1166887"/>
                <a:gd name="connsiteX133" fmla="*/ 832970 w 3024845"/>
                <a:gd name="connsiteY133" fmla="*/ 687446 h 1166887"/>
                <a:gd name="connsiteX134" fmla="*/ 832970 w 3024845"/>
                <a:gd name="connsiteY134" fmla="*/ 688526 h 1166887"/>
                <a:gd name="connsiteX135" fmla="*/ 832970 w 3024845"/>
                <a:gd name="connsiteY135" fmla="*/ 696093 h 1166887"/>
                <a:gd name="connsiteX136" fmla="*/ 834237 w 3024845"/>
                <a:gd name="connsiteY136" fmla="*/ 696093 h 1166887"/>
                <a:gd name="connsiteX137" fmla="*/ 843104 w 3024845"/>
                <a:gd name="connsiteY137" fmla="*/ 696093 h 1166887"/>
                <a:gd name="connsiteX138" fmla="*/ 843104 w 3024845"/>
                <a:gd name="connsiteY138" fmla="*/ 698254 h 1166887"/>
                <a:gd name="connsiteX139" fmla="*/ 843104 w 3024845"/>
                <a:gd name="connsiteY139" fmla="*/ 713387 h 1166887"/>
                <a:gd name="connsiteX140" fmla="*/ 847157 w 3024845"/>
                <a:gd name="connsiteY140" fmla="*/ 711495 h 1166887"/>
                <a:gd name="connsiteX141" fmla="*/ 847157 w 3024845"/>
                <a:gd name="connsiteY141" fmla="*/ 698254 h 1166887"/>
                <a:gd name="connsiteX142" fmla="*/ 848170 w 3024845"/>
                <a:gd name="connsiteY142" fmla="*/ 698254 h 1166887"/>
                <a:gd name="connsiteX143" fmla="*/ 855264 w 3024845"/>
                <a:gd name="connsiteY143" fmla="*/ 698254 h 1166887"/>
                <a:gd name="connsiteX144" fmla="*/ 855264 w 3024845"/>
                <a:gd name="connsiteY144" fmla="*/ 699876 h 1166887"/>
                <a:gd name="connsiteX145" fmla="*/ 855264 w 3024845"/>
                <a:gd name="connsiteY145" fmla="*/ 711225 h 1166887"/>
                <a:gd name="connsiteX146" fmla="*/ 856024 w 3024845"/>
                <a:gd name="connsiteY146" fmla="*/ 711225 h 1166887"/>
                <a:gd name="connsiteX147" fmla="*/ 861344 w 3024845"/>
                <a:gd name="connsiteY147" fmla="*/ 711225 h 1166887"/>
                <a:gd name="connsiteX148" fmla="*/ 909984 w 3024845"/>
                <a:gd name="connsiteY148" fmla="*/ 706902 h 1166887"/>
                <a:gd name="connsiteX149" fmla="*/ 909984 w 3024845"/>
                <a:gd name="connsiteY149" fmla="*/ 708253 h 1166887"/>
                <a:gd name="connsiteX150" fmla="*/ 909984 w 3024845"/>
                <a:gd name="connsiteY150" fmla="*/ 717710 h 1166887"/>
                <a:gd name="connsiteX151" fmla="*/ 910744 w 3024845"/>
                <a:gd name="connsiteY151" fmla="*/ 717710 h 1166887"/>
                <a:gd name="connsiteX152" fmla="*/ 916065 w 3024845"/>
                <a:gd name="connsiteY152" fmla="*/ 717710 h 1166887"/>
                <a:gd name="connsiteX153" fmla="*/ 916065 w 3024845"/>
                <a:gd name="connsiteY153" fmla="*/ 719872 h 1166887"/>
                <a:gd name="connsiteX154" fmla="*/ 916065 w 3024845"/>
                <a:gd name="connsiteY154" fmla="*/ 735005 h 1166887"/>
                <a:gd name="connsiteX155" fmla="*/ 918091 w 3024845"/>
                <a:gd name="connsiteY155" fmla="*/ 733654 h 1166887"/>
                <a:gd name="connsiteX156" fmla="*/ 932278 w 3024845"/>
                <a:gd name="connsiteY156" fmla="*/ 724196 h 1166887"/>
                <a:gd name="connsiteX157" fmla="*/ 938358 w 3024845"/>
                <a:gd name="connsiteY157" fmla="*/ 683122 h 1166887"/>
                <a:gd name="connsiteX158" fmla="*/ 939118 w 3024845"/>
                <a:gd name="connsiteY158" fmla="*/ 682852 h 1166887"/>
                <a:gd name="connsiteX159" fmla="*/ 944438 w 3024845"/>
                <a:gd name="connsiteY159" fmla="*/ 680960 h 1166887"/>
                <a:gd name="connsiteX160" fmla="*/ 946465 w 3024845"/>
                <a:gd name="connsiteY160" fmla="*/ 611783 h 1166887"/>
                <a:gd name="connsiteX161" fmla="*/ 948492 w 3024845"/>
                <a:gd name="connsiteY161" fmla="*/ 680960 h 1166887"/>
                <a:gd name="connsiteX162" fmla="*/ 949252 w 3024845"/>
                <a:gd name="connsiteY162" fmla="*/ 681230 h 1166887"/>
                <a:gd name="connsiteX163" fmla="*/ 954572 w 3024845"/>
                <a:gd name="connsiteY163" fmla="*/ 683122 h 1166887"/>
                <a:gd name="connsiteX164" fmla="*/ 954572 w 3024845"/>
                <a:gd name="connsiteY164" fmla="*/ 596651 h 1166887"/>
                <a:gd name="connsiteX165" fmla="*/ 958625 w 3024845"/>
                <a:gd name="connsiteY165" fmla="*/ 564224 h 1166887"/>
                <a:gd name="connsiteX166" fmla="*/ 997132 w 3024845"/>
                <a:gd name="connsiteY166" fmla="*/ 564224 h 1166887"/>
                <a:gd name="connsiteX167" fmla="*/ 997132 w 3024845"/>
                <a:gd name="connsiteY167" fmla="*/ 596651 h 1166887"/>
                <a:gd name="connsiteX168" fmla="*/ 997892 w 3024845"/>
                <a:gd name="connsiteY168" fmla="*/ 596651 h 1166887"/>
                <a:gd name="connsiteX169" fmla="*/ 1003212 w 3024845"/>
                <a:gd name="connsiteY169" fmla="*/ 596651 h 1166887"/>
                <a:gd name="connsiteX170" fmla="*/ 1003212 w 3024845"/>
                <a:gd name="connsiteY170" fmla="*/ 514503 h 1166887"/>
                <a:gd name="connsiteX171" fmla="*/ 1004986 w 3024845"/>
                <a:gd name="connsiteY171" fmla="*/ 514503 h 1166887"/>
                <a:gd name="connsiteX172" fmla="*/ 1017399 w 3024845"/>
                <a:gd name="connsiteY172" fmla="*/ 514503 h 1166887"/>
                <a:gd name="connsiteX173" fmla="*/ 1017399 w 3024845"/>
                <a:gd name="connsiteY173" fmla="*/ 512612 h 1166887"/>
                <a:gd name="connsiteX174" fmla="*/ 1017399 w 3024845"/>
                <a:gd name="connsiteY174" fmla="*/ 499371 h 1166887"/>
                <a:gd name="connsiteX175" fmla="*/ 1039693 w 3024845"/>
                <a:gd name="connsiteY175" fmla="*/ 499371 h 1166887"/>
                <a:gd name="connsiteX176" fmla="*/ 1039693 w 3024845"/>
                <a:gd name="connsiteY176" fmla="*/ 498290 h 1166887"/>
                <a:gd name="connsiteX177" fmla="*/ 1039693 w 3024845"/>
                <a:gd name="connsiteY177" fmla="*/ 490724 h 1166887"/>
                <a:gd name="connsiteX178" fmla="*/ 1041466 w 3024845"/>
                <a:gd name="connsiteY178" fmla="*/ 490724 h 1166887"/>
                <a:gd name="connsiteX179" fmla="*/ 1053880 w 3024845"/>
                <a:gd name="connsiteY179" fmla="*/ 490724 h 1166887"/>
                <a:gd name="connsiteX180" fmla="*/ 1053880 w 3024845"/>
                <a:gd name="connsiteY180" fmla="*/ 491805 h 1166887"/>
                <a:gd name="connsiteX181" fmla="*/ 1053880 w 3024845"/>
                <a:gd name="connsiteY181" fmla="*/ 499371 h 1166887"/>
                <a:gd name="connsiteX182" fmla="*/ 1054640 w 3024845"/>
                <a:gd name="connsiteY182" fmla="*/ 499371 h 1166887"/>
                <a:gd name="connsiteX183" fmla="*/ 1059960 w 3024845"/>
                <a:gd name="connsiteY183" fmla="*/ 499371 h 1166887"/>
                <a:gd name="connsiteX184" fmla="*/ 1070093 w 3024845"/>
                <a:gd name="connsiteY184" fmla="*/ 495047 h 1166887"/>
                <a:gd name="connsiteX185" fmla="*/ 1074146 w 3024845"/>
                <a:gd name="connsiteY185" fmla="*/ 498290 h 1166887"/>
                <a:gd name="connsiteX186" fmla="*/ 1074146 w 3024845"/>
                <a:gd name="connsiteY186" fmla="*/ 490724 h 1166887"/>
                <a:gd name="connsiteX187" fmla="*/ 1076426 w 3024845"/>
                <a:gd name="connsiteY187" fmla="*/ 490724 h 1166887"/>
                <a:gd name="connsiteX188" fmla="*/ 1092387 w 3024845"/>
                <a:gd name="connsiteY188" fmla="*/ 490724 h 1166887"/>
                <a:gd name="connsiteX189" fmla="*/ 1092387 w 3024845"/>
                <a:gd name="connsiteY189" fmla="*/ 491805 h 1166887"/>
                <a:gd name="connsiteX190" fmla="*/ 1092387 w 3024845"/>
                <a:gd name="connsiteY190" fmla="*/ 499371 h 1166887"/>
                <a:gd name="connsiteX191" fmla="*/ 1122787 w 3024845"/>
                <a:gd name="connsiteY191" fmla="*/ 499371 h 1166887"/>
                <a:gd name="connsiteX192" fmla="*/ 1122787 w 3024845"/>
                <a:gd name="connsiteY192" fmla="*/ 500992 h 1166887"/>
                <a:gd name="connsiteX193" fmla="*/ 1122787 w 3024845"/>
                <a:gd name="connsiteY193" fmla="*/ 512342 h 1166887"/>
                <a:gd name="connsiteX194" fmla="*/ 1149134 w 3024845"/>
                <a:gd name="connsiteY194" fmla="*/ 512342 h 1166887"/>
                <a:gd name="connsiteX195" fmla="*/ 1149134 w 3024845"/>
                <a:gd name="connsiteY195" fmla="*/ 542606 h 1166887"/>
                <a:gd name="connsiteX196" fmla="*/ 1149894 w 3024845"/>
                <a:gd name="connsiteY196" fmla="*/ 542606 h 1166887"/>
                <a:gd name="connsiteX197" fmla="*/ 1155214 w 3024845"/>
                <a:gd name="connsiteY197" fmla="*/ 542606 h 1166887"/>
                <a:gd name="connsiteX198" fmla="*/ 1155214 w 3024845"/>
                <a:gd name="connsiteY198" fmla="*/ 543687 h 1166887"/>
                <a:gd name="connsiteX199" fmla="*/ 1155214 w 3024845"/>
                <a:gd name="connsiteY199" fmla="*/ 551254 h 1166887"/>
                <a:gd name="connsiteX200" fmla="*/ 1159268 w 3024845"/>
                <a:gd name="connsiteY200" fmla="*/ 581518 h 1166887"/>
                <a:gd name="connsiteX201" fmla="*/ 1160028 w 3024845"/>
                <a:gd name="connsiteY201" fmla="*/ 581518 h 1166887"/>
                <a:gd name="connsiteX202" fmla="*/ 1165348 w 3024845"/>
                <a:gd name="connsiteY202" fmla="*/ 581518 h 1166887"/>
                <a:gd name="connsiteX203" fmla="*/ 1165348 w 3024845"/>
                <a:gd name="connsiteY203" fmla="*/ 582329 h 1166887"/>
                <a:gd name="connsiteX204" fmla="*/ 1165348 w 3024845"/>
                <a:gd name="connsiteY204" fmla="*/ 588004 h 1166887"/>
                <a:gd name="connsiteX205" fmla="*/ 1166361 w 3024845"/>
                <a:gd name="connsiteY205" fmla="*/ 588004 h 1166887"/>
                <a:gd name="connsiteX206" fmla="*/ 1173454 w 3024845"/>
                <a:gd name="connsiteY206" fmla="*/ 588004 h 1166887"/>
                <a:gd name="connsiteX207" fmla="*/ 1173454 w 3024845"/>
                <a:gd name="connsiteY207" fmla="*/ 618269 h 1166887"/>
                <a:gd name="connsiteX208" fmla="*/ 1175481 w 3024845"/>
                <a:gd name="connsiteY208" fmla="*/ 618269 h 1166887"/>
                <a:gd name="connsiteX209" fmla="*/ 1189668 w 3024845"/>
                <a:gd name="connsiteY209" fmla="*/ 618269 h 1166887"/>
                <a:gd name="connsiteX210" fmla="*/ 1189668 w 3024845"/>
                <a:gd name="connsiteY210" fmla="*/ 642048 h 1166887"/>
                <a:gd name="connsiteX211" fmla="*/ 1191695 w 3024845"/>
                <a:gd name="connsiteY211" fmla="*/ 643669 h 1166887"/>
                <a:gd name="connsiteX212" fmla="*/ 1191695 w 3024845"/>
                <a:gd name="connsiteY212" fmla="*/ 655019 h 1166887"/>
                <a:gd name="connsiteX213" fmla="*/ 1192455 w 3024845"/>
                <a:gd name="connsiteY213" fmla="*/ 655019 h 1166887"/>
                <a:gd name="connsiteX214" fmla="*/ 1197775 w 3024845"/>
                <a:gd name="connsiteY214" fmla="*/ 655019 h 1166887"/>
                <a:gd name="connsiteX215" fmla="*/ 1197775 w 3024845"/>
                <a:gd name="connsiteY215" fmla="*/ 678798 h 1166887"/>
                <a:gd name="connsiteX216" fmla="*/ 1199041 w 3024845"/>
                <a:gd name="connsiteY216" fmla="*/ 678798 h 1166887"/>
                <a:gd name="connsiteX217" fmla="*/ 1207908 w 3024845"/>
                <a:gd name="connsiteY217" fmla="*/ 678798 h 1166887"/>
                <a:gd name="connsiteX218" fmla="*/ 1209935 w 3024845"/>
                <a:gd name="connsiteY218" fmla="*/ 682852 h 1166887"/>
                <a:gd name="connsiteX219" fmla="*/ 1209935 w 3024845"/>
                <a:gd name="connsiteY219" fmla="*/ 696093 h 1166887"/>
                <a:gd name="connsiteX220" fmla="*/ 1211455 w 3024845"/>
                <a:gd name="connsiteY220" fmla="*/ 694201 h 1166887"/>
                <a:gd name="connsiteX221" fmla="*/ 1222095 w 3024845"/>
                <a:gd name="connsiteY221" fmla="*/ 680960 h 1166887"/>
                <a:gd name="connsiteX222" fmla="*/ 1250469 w 3024845"/>
                <a:gd name="connsiteY222" fmla="*/ 680960 h 1166887"/>
                <a:gd name="connsiteX223" fmla="*/ 1250469 w 3024845"/>
                <a:gd name="connsiteY223" fmla="*/ 767431 h 1166887"/>
                <a:gd name="connsiteX224" fmla="*/ 1251229 w 3024845"/>
                <a:gd name="connsiteY224" fmla="*/ 767431 h 1166887"/>
                <a:gd name="connsiteX225" fmla="*/ 1256549 w 3024845"/>
                <a:gd name="connsiteY225" fmla="*/ 767431 h 1166887"/>
                <a:gd name="connsiteX226" fmla="*/ 1257309 w 3024845"/>
                <a:gd name="connsiteY226" fmla="*/ 766080 h 1166887"/>
                <a:gd name="connsiteX227" fmla="*/ 1262629 w 3024845"/>
                <a:gd name="connsiteY227" fmla="*/ 756622 h 1166887"/>
                <a:gd name="connsiteX228" fmla="*/ 1262629 w 3024845"/>
                <a:gd name="connsiteY228" fmla="*/ 758514 h 1166887"/>
                <a:gd name="connsiteX229" fmla="*/ 1262629 w 3024845"/>
                <a:gd name="connsiteY229" fmla="*/ 771755 h 1166887"/>
                <a:gd name="connsiteX230" fmla="*/ 1266682 w 3024845"/>
                <a:gd name="connsiteY230" fmla="*/ 726358 h 1166887"/>
                <a:gd name="connsiteX231" fmla="*/ 1267442 w 3024845"/>
                <a:gd name="connsiteY231" fmla="*/ 726358 h 1166887"/>
                <a:gd name="connsiteX232" fmla="*/ 1272762 w 3024845"/>
                <a:gd name="connsiteY232" fmla="*/ 726358 h 1166887"/>
                <a:gd name="connsiteX233" fmla="*/ 1272762 w 3024845"/>
                <a:gd name="connsiteY233" fmla="*/ 661504 h 1166887"/>
                <a:gd name="connsiteX234" fmla="*/ 1273776 w 3024845"/>
                <a:gd name="connsiteY234" fmla="*/ 661504 h 1166887"/>
                <a:gd name="connsiteX235" fmla="*/ 1280869 w 3024845"/>
                <a:gd name="connsiteY235" fmla="*/ 661504 h 1166887"/>
                <a:gd name="connsiteX236" fmla="*/ 1293029 w 3024845"/>
                <a:gd name="connsiteY236" fmla="*/ 618269 h 1166887"/>
                <a:gd name="connsiteX237" fmla="*/ 1294296 w 3024845"/>
                <a:gd name="connsiteY237" fmla="*/ 618269 h 1166887"/>
                <a:gd name="connsiteX238" fmla="*/ 1303163 w 3024845"/>
                <a:gd name="connsiteY238" fmla="*/ 618269 h 1166887"/>
                <a:gd name="connsiteX239" fmla="*/ 1313296 w 3024845"/>
                <a:gd name="connsiteY239" fmla="*/ 661504 h 1166887"/>
                <a:gd name="connsiteX240" fmla="*/ 1314309 w 3024845"/>
                <a:gd name="connsiteY240" fmla="*/ 661504 h 1166887"/>
                <a:gd name="connsiteX241" fmla="*/ 1321403 w 3024845"/>
                <a:gd name="connsiteY241" fmla="*/ 661504 h 1166887"/>
                <a:gd name="connsiteX242" fmla="*/ 1321403 w 3024845"/>
                <a:gd name="connsiteY242" fmla="*/ 700416 h 1166887"/>
                <a:gd name="connsiteX243" fmla="*/ 1323176 w 3024845"/>
                <a:gd name="connsiteY243" fmla="*/ 700416 h 1166887"/>
                <a:gd name="connsiteX244" fmla="*/ 1335590 w 3024845"/>
                <a:gd name="connsiteY244" fmla="*/ 700416 h 1166887"/>
                <a:gd name="connsiteX245" fmla="*/ 1335590 w 3024845"/>
                <a:gd name="connsiteY245" fmla="*/ 702578 h 1166887"/>
                <a:gd name="connsiteX246" fmla="*/ 1335590 w 3024845"/>
                <a:gd name="connsiteY246" fmla="*/ 717710 h 1166887"/>
                <a:gd name="connsiteX247" fmla="*/ 1339643 w 3024845"/>
                <a:gd name="connsiteY247" fmla="*/ 715549 h 1166887"/>
                <a:gd name="connsiteX248" fmla="*/ 1339643 w 3024845"/>
                <a:gd name="connsiteY248" fmla="*/ 700416 h 1166887"/>
                <a:gd name="connsiteX249" fmla="*/ 1341163 w 3024845"/>
                <a:gd name="connsiteY249" fmla="*/ 700416 h 1166887"/>
                <a:gd name="connsiteX250" fmla="*/ 1351803 w 3024845"/>
                <a:gd name="connsiteY250" fmla="*/ 700416 h 1166887"/>
                <a:gd name="connsiteX251" fmla="*/ 1351803 w 3024845"/>
                <a:gd name="connsiteY251" fmla="*/ 702037 h 1166887"/>
                <a:gd name="connsiteX252" fmla="*/ 1351803 w 3024845"/>
                <a:gd name="connsiteY252" fmla="*/ 713387 h 1166887"/>
                <a:gd name="connsiteX253" fmla="*/ 1382204 w 3024845"/>
                <a:gd name="connsiteY253" fmla="*/ 713387 h 1166887"/>
                <a:gd name="connsiteX254" fmla="*/ 1382204 w 3024845"/>
                <a:gd name="connsiteY254" fmla="*/ 676637 h 1166887"/>
                <a:gd name="connsiteX255" fmla="*/ 1383470 w 3024845"/>
                <a:gd name="connsiteY255" fmla="*/ 676637 h 1166887"/>
                <a:gd name="connsiteX256" fmla="*/ 1392337 w 3024845"/>
                <a:gd name="connsiteY256" fmla="*/ 676637 h 1166887"/>
                <a:gd name="connsiteX257" fmla="*/ 1392337 w 3024845"/>
                <a:gd name="connsiteY257" fmla="*/ 698254 h 1166887"/>
                <a:gd name="connsiteX258" fmla="*/ 1394364 w 3024845"/>
                <a:gd name="connsiteY258" fmla="*/ 665828 h 1166887"/>
                <a:gd name="connsiteX259" fmla="*/ 1416657 w 3024845"/>
                <a:gd name="connsiteY259" fmla="*/ 665828 h 1166887"/>
                <a:gd name="connsiteX260" fmla="*/ 1416657 w 3024845"/>
                <a:gd name="connsiteY260" fmla="*/ 664206 h 1166887"/>
                <a:gd name="connsiteX261" fmla="*/ 1416657 w 3024845"/>
                <a:gd name="connsiteY261" fmla="*/ 652857 h 1166887"/>
                <a:gd name="connsiteX262" fmla="*/ 1417417 w 3024845"/>
                <a:gd name="connsiteY262" fmla="*/ 652857 h 1166887"/>
                <a:gd name="connsiteX263" fmla="*/ 1422737 w 3024845"/>
                <a:gd name="connsiteY263" fmla="*/ 652857 h 1166887"/>
                <a:gd name="connsiteX264" fmla="*/ 1422737 w 3024845"/>
                <a:gd name="connsiteY264" fmla="*/ 650966 h 1166887"/>
                <a:gd name="connsiteX265" fmla="*/ 1422737 w 3024845"/>
                <a:gd name="connsiteY265" fmla="*/ 637725 h 1166887"/>
                <a:gd name="connsiteX266" fmla="*/ 1426791 w 3024845"/>
                <a:gd name="connsiteY266" fmla="*/ 644210 h 1166887"/>
                <a:gd name="connsiteX267" fmla="*/ 1429071 w 3024845"/>
                <a:gd name="connsiteY267" fmla="*/ 644210 h 1166887"/>
                <a:gd name="connsiteX268" fmla="*/ 1445031 w 3024845"/>
                <a:gd name="connsiteY268" fmla="*/ 644210 h 1166887"/>
                <a:gd name="connsiteX269" fmla="*/ 1445031 w 3024845"/>
                <a:gd name="connsiteY269" fmla="*/ 643399 h 1166887"/>
                <a:gd name="connsiteX270" fmla="*/ 1445031 w 3024845"/>
                <a:gd name="connsiteY270" fmla="*/ 637725 h 1166887"/>
                <a:gd name="connsiteX271" fmla="*/ 1445791 w 3024845"/>
                <a:gd name="connsiteY271" fmla="*/ 637725 h 1166887"/>
                <a:gd name="connsiteX272" fmla="*/ 1451111 w 3024845"/>
                <a:gd name="connsiteY272" fmla="*/ 637725 h 1166887"/>
                <a:gd name="connsiteX273" fmla="*/ 1451111 w 3024845"/>
                <a:gd name="connsiteY273" fmla="*/ 639076 h 1166887"/>
                <a:gd name="connsiteX274" fmla="*/ 1451111 w 3024845"/>
                <a:gd name="connsiteY274" fmla="*/ 648534 h 1166887"/>
                <a:gd name="connsiteX275" fmla="*/ 1489618 w 3024845"/>
                <a:gd name="connsiteY275" fmla="*/ 648534 h 1166887"/>
                <a:gd name="connsiteX276" fmla="*/ 1489618 w 3024845"/>
                <a:gd name="connsiteY276" fmla="*/ 786887 h 1166887"/>
                <a:gd name="connsiteX277" fmla="*/ 1491138 w 3024845"/>
                <a:gd name="connsiteY277" fmla="*/ 786887 h 1166887"/>
                <a:gd name="connsiteX278" fmla="*/ 1501778 w 3024845"/>
                <a:gd name="connsiteY278" fmla="*/ 786887 h 1166887"/>
                <a:gd name="connsiteX279" fmla="*/ 1501778 w 3024845"/>
                <a:gd name="connsiteY279" fmla="*/ 773917 h 1166887"/>
                <a:gd name="connsiteX280" fmla="*/ 1505832 w 3024845"/>
                <a:gd name="connsiteY280" fmla="*/ 773917 h 1166887"/>
                <a:gd name="connsiteX281" fmla="*/ 1505832 w 3024845"/>
                <a:gd name="connsiteY281" fmla="*/ 786887 h 1166887"/>
                <a:gd name="connsiteX282" fmla="*/ 1536232 w 3024845"/>
                <a:gd name="connsiteY282" fmla="*/ 786887 h 1166887"/>
                <a:gd name="connsiteX283" fmla="*/ 1536232 w 3024845"/>
                <a:gd name="connsiteY283" fmla="*/ 756622 h 1166887"/>
                <a:gd name="connsiteX284" fmla="*/ 1548392 w 3024845"/>
                <a:gd name="connsiteY284" fmla="*/ 756622 h 1166887"/>
                <a:gd name="connsiteX285" fmla="*/ 1560552 w 3024845"/>
                <a:gd name="connsiteY285" fmla="*/ 754461 h 1166887"/>
                <a:gd name="connsiteX286" fmla="*/ 1564606 w 3024845"/>
                <a:gd name="connsiteY286" fmla="*/ 756622 h 1166887"/>
                <a:gd name="connsiteX287" fmla="*/ 1574739 w 3024845"/>
                <a:gd name="connsiteY287" fmla="*/ 756622 h 1166887"/>
                <a:gd name="connsiteX288" fmla="*/ 1574739 w 3024845"/>
                <a:gd name="connsiteY288" fmla="*/ 786887 h 1166887"/>
                <a:gd name="connsiteX289" fmla="*/ 1582846 w 3024845"/>
                <a:gd name="connsiteY289" fmla="*/ 786887 h 1166887"/>
                <a:gd name="connsiteX290" fmla="*/ 1582846 w 3024845"/>
                <a:gd name="connsiteY290" fmla="*/ 804182 h 1166887"/>
                <a:gd name="connsiteX291" fmla="*/ 1592182 w 3024845"/>
                <a:gd name="connsiteY291" fmla="*/ 805087 h 1166887"/>
                <a:gd name="connsiteX292" fmla="*/ 1605140 w 3024845"/>
                <a:gd name="connsiteY292" fmla="*/ 805087 h 1166887"/>
                <a:gd name="connsiteX293" fmla="*/ 1605140 w 3024845"/>
                <a:gd name="connsiteY293" fmla="*/ 789049 h 1166887"/>
                <a:gd name="connsiteX294" fmla="*/ 1673096 w 3024845"/>
                <a:gd name="connsiteY294" fmla="*/ 789049 h 1166887"/>
                <a:gd name="connsiteX295" fmla="*/ 1673096 w 3024845"/>
                <a:gd name="connsiteY295" fmla="*/ 703796 h 1166887"/>
                <a:gd name="connsiteX296" fmla="*/ 1745104 w 3024845"/>
                <a:gd name="connsiteY296" fmla="*/ 703796 h 1166887"/>
                <a:gd name="connsiteX297" fmla="*/ 1745104 w 3024845"/>
                <a:gd name="connsiteY297" fmla="*/ 782564 h 1166887"/>
                <a:gd name="connsiteX298" fmla="*/ 1747008 w 3024845"/>
                <a:gd name="connsiteY298" fmla="*/ 782564 h 1166887"/>
                <a:gd name="connsiteX299" fmla="*/ 1748250 w 3024845"/>
                <a:gd name="connsiteY299" fmla="*/ 805087 h 1166887"/>
                <a:gd name="connsiteX300" fmla="*/ 1757926 w 3024845"/>
                <a:gd name="connsiteY300" fmla="*/ 805087 h 1166887"/>
                <a:gd name="connsiteX301" fmla="*/ 1759168 w 3024845"/>
                <a:gd name="connsiteY301" fmla="*/ 782564 h 1166887"/>
                <a:gd name="connsiteX302" fmla="*/ 1765248 w 3024845"/>
                <a:gd name="connsiteY302" fmla="*/ 782564 h 1166887"/>
                <a:gd name="connsiteX303" fmla="*/ 1766490 w 3024845"/>
                <a:gd name="connsiteY303" fmla="*/ 805087 h 1166887"/>
                <a:gd name="connsiteX304" fmla="*/ 1817112 w 3024845"/>
                <a:gd name="connsiteY304" fmla="*/ 805087 h 1166887"/>
                <a:gd name="connsiteX305" fmla="*/ 1817112 w 3024845"/>
                <a:gd name="connsiteY305" fmla="*/ 642059 h 1166887"/>
                <a:gd name="connsiteX306" fmla="*/ 2014439 w 3024845"/>
                <a:gd name="connsiteY306" fmla="*/ 642059 h 1166887"/>
                <a:gd name="connsiteX307" fmla="*/ 2014439 w 3024845"/>
                <a:gd name="connsiteY307" fmla="*/ 805087 h 1166887"/>
                <a:gd name="connsiteX308" fmla="*/ 2033136 w 3024845"/>
                <a:gd name="connsiteY308" fmla="*/ 805087 h 1166887"/>
                <a:gd name="connsiteX309" fmla="*/ 2033136 w 3024845"/>
                <a:gd name="connsiteY309" fmla="*/ 722394 h 1166887"/>
                <a:gd name="connsiteX310" fmla="*/ 2128256 w 3024845"/>
                <a:gd name="connsiteY310" fmla="*/ 722394 h 1166887"/>
                <a:gd name="connsiteX311" fmla="*/ 2140186 w 3024845"/>
                <a:gd name="connsiteY311" fmla="*/ 404253 h 1166887"/>
                <a:gd name="connsiteX312" fmla="*/ 2128026 w 3024845"/>
                <a:gd name="connsiteY312" fmla="*/ 382635 h 1166887"/>
                <a:gd name="connsiteX313" fmla="*/ 2121946 w 3024845"/>
                <a:gd name="connsiteY313" fmla="*/ 378311 h 1166887"/>
                <a:gd name="connsiteX314" fmla="*/ 2130053 w 3024845"/>
                <a:gd name="connsiteY314" fmla="*/ 354532 h 1166887"/>
                <a:gd name="connsiteX315" fmla="*/ 2130053 w 3024845"/>
                <a:gd name="connsiteY315" fmla="*/ 337238 h 1166887"/>
                <a:gd name="connsiteX316" fmla="*/ 2144240 w 3024845"/>
                <a:gd name="connsiteY316" fmla="*/ 337238 h 1166887"/>
                <a:gd name="connsiteX317" fmla="*/ 2144240 w 3024845"/>
                <a:gd name="connsiteY317" fmla="*/ 315620 h 1166887"/>
                <a:gd name="connsiteX318" fmla="*/ 2146266 w 3024845"/>
                <a:gd name="connsiteY318" fmla="*/ 311296 h 1166887"/>
                <a:gd name="connsiteX319" fmla="*/ 2146266 w 3024845"/>
                <a:gd name="connsiteY319" fmla="*/ 233472 h 1166887"/>
                <a:gd name="connsiteX320" fmla="*/ 2144240 w 3024845"/>
                <a:gd name="connsiteY320" fmla="*/ 226987 h 1166887"/>
                <a:gd name="connsiteX321" fmla="*/ 2150320 w 3024845"/>
                <a:gd name="connsiteY321" fmla="*/ 220501 h 1166887"/>
                <a:gd name="connsiteX322" fmla="*/ 2150320 w 3024845"/>
                <a:gd name="connsiteY322" fmla="*/ 162133 h 1166887"/>
                <a:gd name="connsiteX323" fmla="*/ 2152346 w 3024845"/>
                <a:gd name="connsiteY323" fmla="*/ 157810 h 1166887"/>
                <a:gd name="connsiteX324" fmla="*/ 2152346 w 3024845"/>
                <a:gd name="connsiteY324" fmla="*/ 101604 h 1166887"/>
                <a:gd name="connsiteX325" fmla="*/ 2154373 w 3024845"/>
                <a:gd name="connsiteY325" fmla="*/ 82148 h 1166887"/>
                <a:gd name="connsiteX326" fmla="*/ 2158427 w 3024845"/>
                <a:gd name="connsiteY326" fmla="*/ 99442 h 1166887"/>
                <a:gd name="connsiteX327" fmla="*/ 2160453 w 3024845"/>
                <a:gd name="connsiteY327" fmla="*/ 157810 h 1166887"/>
                <a:gd name="connsiteX328" fmla="*/ 2162480 w 3024845"/>
                <a:gd name="connsiteY328" fmla="*/ 220501 h 1166887"/>
                <a:gd name="connsiteX329" fmla="*/ 2168560 w 3024845"/>
                <a:gd name="connsiteY329" fmla="*/ 226987 h 1166887"/>
                <a:gd name="connsiteX330" fmla="*/ 2166533 w 3024845"/>
                <a:gd name="connsiteY330" fmla="*/ 233472 h 1166887"/>
                <a:gd name="connsiteX331" fmla="*/ 2166533 w 3024845"/>
                <a:gd name="connsiteY331" fmla="*/ 311296 h 1166887"/>
                <a:gd name="connsiteX332" fmla="*/ 2168560 w 3024845"/>
                <a:gd name="connsiteY332" fmla="*/ 315620 h 1166887"/>
                <a:gd name="connsiteX333" fmla="*/ 2168560 w 3024845"/>
                <a:gd name="connsiteY333" fmla="*/ 337238 h 1166887"/>
                <a:gd name="connsiteX334" fmla="*/ 2182747 w 3024845"/>
                <a:gd name="connsiteY334" fmla="*/ 337238 h 1166887"/>
                <a:gd name="connsiteX335" fmla="*/ 2182747 w 3024845"/>
                <a:gd name="connsiteY335" fmla="*/ 354532 h 1166887"/>
                <a:gd name="connsiteX336" fmla="*/ 2190854 w 3024845"/>
                <a:gd name="connsiteY336" fmla="*/ 378311 h 1166887"/>
                <a:gd name="connsiteX337" fmla="*/ 2184774 w 3024845"/>
                <a:gd name="connsiteY337" fmla="*/ 382635 h 1166887"/>
                <a:gd name="connsiteX338" fmla="*/ 2172613 w 3024845"/>
                <a:gd name="connsiteY338" fmla="*/ 404253 h 1166887"/>
                <a:gd name="connsiteX339" fmla="*/ 2180720 w 3024845"/>
                <a:gd name="connsiteY339" fmla="*/ 657181 h 1166887"/>
                <a:gd name="connsiteX340" fmla="*/ 2245574 w 3024845"/>
                <a:gd name="connsiteY340" fmla="*/ 657181 h 1166887"/>
                <a:gd name="connsiteX341" fmla="*/ 2245574 w 3024845"/>
                <a:gd name="connsiteY341" fmla="*/ 732843 h 1166887"/>
                <a:gd name="connsiteX342" fmla="*/ 2253681 w 3024845"/>
                <a:gd name="connsiteY342" fmla="*/ 732843 h 1166887"/>
                <a:gd name="connsiteX343" fmla="*/ 2255708 w 3024845"/>
                <a:gd name="connsiteY343" fmla="*/ 726358 h 1166887"/>
                <a:gd name="connsiteX344" fmla="*/ 2261788 w 3024845"/>
                <a:gd name="connsiteY344" fmla="*/ 726358 h 1166887"/>
                <a:gd name="connsiteX345" fmla="*/ 2263815 w 3024845"/>
                <a:gd name="connsiteY345" fmla="*/ 735005 h 1166887"/>
                <a:gd name="connsiteX346" fmla="*/ 2275975 w 3024845"/>
                <a:gd name="connsiteY346" fmla="*/ 735005 h 1166887"/>
                <a:gd name="connsiteX347" fmla="*/ 2275975 w 3024845"/>
                <a:gd name="connsiteY347" fmla="*/ 728519 h 1166887"/>
                <a:gd name="connsiteX348" fmla="*/ 2298268 w 3024845"/>
                <a:gd name="connsiteY348" fmla="*/ 728519 h 1166887"/>
                <a:gd name="connsiteX349" fmla="*/ 2298268 w 3024845"/>
                <a:gd name="connsiteY349" fmla="*/ 735005 h 1166887"/>
                <a:gd name="connsiteX350" fmla="*/ 2318535 w 3024845"/>
                <a:gd name="connsiteY350" fmla="*/ 735005 h 1166887"/>
                <a:gd name="connsiteX351" fmla="*/ 2318535 w 3024845"/>
                <a:gd name="connsiteY351" fmla="*/ 780402 h 1166887"/>
                <a:gd name="connsiteX352" fmla="*/ 2332722 w 3024845"/>
                <a:gd name="connsiteY352" fmla="*/ 780402 h 1166887"/>
                <a:gd name="connsiteX353" fmla="*/ 2332722 w 3024845"/>
                <a:gd name="connsiteY353" fmla="*/ 767431 h 1166887"/>
                <a:gd name="connsiteX354" fmla="*/ 2348936 w 3024845"/>
                <a:gd name="connsiteY354" fmla="*/ 767431 h 1166887"/>
                <a:gd name="connsiteX355" fmla="*/ 2348936 w 3024845"/>
                <a:gd name="connsiteY355" fmla="*/ 588004 h 1166887"/>
                <a:gd name="connsiteX356" fmla="*/ 2355016 w 3024845"/>
                <a:gd name="connsiteY356" fmla="*/ 581518 h 1166887"/>
                <a:gd name="connsiteX357" fmla="*/ 2427977 w 3024845"/>
                <a:gd name="connsiteY357" fmla="*/ 581518 h 1166887"/>
                <a:gd name="connsiteX358" fmla="*/ 2427977 w 3024845"/>
                <a:gd name="connsiteY358" fmla="*/ 590166 h 1166887"/>
                <a:gd name="connsiteX359" fmla="*/ 2438110 w 3024845"/>
                <a:gd name="connsiteY359" fmla="*/ 590166 h 1166887"/>
                <a:gd name="connsiteX360" fmla="*/ 2438110 w 3024845"/>
                <a:gd name="connsiteY360" fmla="*/ 704740 h 1166887"/>
                <a:gd name="connsiteX361" fmla="*/ 2460404 w 3024845"/>
                <a:gd name="connsiteY361" fmla="*/ 704740 h 1166887"/>
                <a:gd name="connsiteX362" fmla="*/ 2460404 w 3024845"/>
                <a:gd name="connsiteY362" fmla="*/ 637725 h 1166887"/>
                <a:gd name="connsiteX363" fmla="*/ 2486751 w 3024845"/>
                <a:gd name="connsiteY363" fmla="*/ 637725 h 1166887"/>
                <a:gd name="connsiteX364" fmla="*/ 2490804 w 3024845"/>
                <a:gd name="connsiteY364" fmla="*/ 633401 h 1166887"/>
                <a:gd name="connsiteX365" fmla="*/ 2498911 w 3024845"/>
                <a:gd name="connsiteY365" fmla="*/ 633401 h 1166887"/>
                <a:gd name="connsiteX366" fmla="*/ 2502964 w 3024845"/>
                <a:gd name="connsiteY366" fmla="*/ 637725 h 1166887"/>
                <a:gd name="connsiteX367" fmla="*/ 2525258 w 3024845"/>
                <a:gd name="connsiteY367" fmla="*/ 637725 h 1166887"/>
                <a:gd name="connsiteX368" fmla="*/ 2525258 w 3024845"/>
                <a:gd name="connsiteY368" fmla="*/ 520989 h 1166887"/>
                <a:gd name="connsiteX369" fmla="*/ 2582005 w 3024845"/>
                <a:gd name="connsiteY369" fmla="*/ 510180 h 1166887"/>
                <a:gd name="connsiteX370" fmla="*/ 2582005 w 3024845"/>
                <a:gd name="connsiteY370" fmla="*/ 511261 h 1166887"/>
                <a:gd name="connsiteX371" fmla="*/ 2582005 w 3024845"/>
                <a:gd name="connsiteY371" fmla="*/ 518827 h 1166887"/>
                <a:gd name="connsiteX372" fmla="*/ 2608352 w 3024845"/>
                <a:gd name="connsiteY372" fmla="*/ 518827 h 1166887"/>
                <a:gd name="connsiteX373" fmla="*/ 2608352 w 3024845"/>
                <a:gd name="connsiteY373" fmla="*/ 773917 h 1166887"/>
                <a:gd name="connsiteX374" fmla="*/ 2630646 w 3024845"/>
                <a:gd name="connsiteY374" fmla="*/ 773917 h 1166887"/>
                <a:gd name="connsiteX375" fmla="*/ 2630646 w 3024845"/>
                <a:gd name="connsiteY375" fmla="*/ 769593 h 1166887"/>
                <a:gd name="connsiteX376" fmla="*/ 2642806 w 3024845"/>
                <a:gd name="connsiteY376" fmla="*/ 769593 h 1166887"/>
                <a:gd name="connsiteX377" fmla="*/ 2642806 w 3024845"/>
                <a:gd name="connsiteY377" fmla="*/ 773917 h 1166887"/>
                <a:gd name="connsiteX378" fmla="*/ 2667126 w 3024845"/>
                <a:gd name="connsiteY378" fmla="*/ 773917 h 1166887"/>
                <a:gd name="connsiteX379" fmla="*/ 2667126 w 3024845"/>
                <a:gd name="connsiteY379" fmla="*/ 760946 h 1166887"/>
                <a:gd name="connsiteX380" fmla="*/ 2695500 w 3024845"/>
                <a:gd name="connsiteY380" fmla="*/ 760946 h 1166887"/>
                <a:gd name="connsiteX381" fmla="*/ 2707660 w 3024845"/>
                <a:gd name="connsiteY381" fmla="*/ 756622 h 1166887"/>
                <a:gd name="connsiteX382" fmla="*/ 2727927 w 3024845"/>
                <a:gd name="connsiteY382" fmla="*/ 760946 h 1166887"/>
                <a:gd name="connsiteX383" fmla="*/ 2727927 w 3024845"/>
                <a:gd name="connsiteY383" fmla="*/ 743652 h 1166887"/>
                <a:gd name="connsiteX384" fmla="*/ 2736034 w 3024845"/>
                <a:gd name="connsiteY384" fmla="*/ 743652 h 1166887"/>
                <a:gd name="connsiteX385" fmla="*/ 2736034 w 3024845"/>
                <a:gd name="connsiteY385" fmla="*/ 730681 h 1166887"/>
                <a:gd name="connsiteX386" fmla="*/ 2792781 w 3024845"/>
                <a:gd name="connsiteY386" fmla="*/ 730681 h 1166887"/>
                <a:gd name="connsiteX387" fmla="*/ 2792781 w 3024845"/>
                <a:gd name="connsiteY387" fmla="*/ 700416 h 1166887"/>
                <a:gd name="connsiteX388" fmla="*/ 2811021 w 3024845"/>
                <a:gd name="connsiteY388" fmla="*/ 700416 h 1166887"/>
                <a:gd name="connsiteX389" fmla="*/ 2811021 w 3024845"/>
                <a:gd name="connsiteY389" fmla="*/ 693931 h 1166887"/>
                <a:gd name="connsiteX390" fmla="*/ 2823181 w 3024845"/>
                <a:gd name="connsiteY390" fmla="*/ 693931 h 1166887"/>
                <a:gd name="connsiteX391" fmla="*/ 2823181 w 3024845"/>
                <a:gd name="connsiteY391" fmla="*/ 700416 h 1166887"/>
                <a:gd name="connsiteX392" fmla="*/ 2839395 w 3024845"/>
                <a:gd name="connsiteY392" fmla="*/ 700416 h 1166887"/>
                <a:gd name="connsiteX393" fmla="*/ 2839395 w 3024845"/>
                <a:gd name="connsiteY393" fmla="*/ 750137 h 1166887"/>
                <a:gd name="connsiteX394" fmla="*/ 2871822 w 3024845"/>
                <a:gd name="connsiteY394" fmla="*/ 750137 h 1166887"/>
                <a:gd name="connsiteX395" fmla="*/ 2871822 w 3024845"/>
                <a:gd name="connsiteY395" fmla="*/ 724196 h 1166887"/>
                <a:gd name="connsiteX396" fmla="*/ 2910329 w 3024845"/>
                <a:gd name="connsiteY396" fmla="*/ 724196 h 1166887"/>
                <a:gd name="connsiteX397" fmla="*/ 2910329 w 3024845"/>
                <a:gd name="connsiteY397" fmla="*/ 693931 h 1166887"/>
                <a:gd name="connsiteX398" fmla="*/ 2958970 w 3024845"/>
                <a:gd name="connsiteY398" fmla="*/ 693931 h 1166887"/>
                <a:gd name="connsiteX399" fmla="*/ 2958970 w 3024845"/>
                <a:gd name="connsiteY399" fmla="*/ 805087 h 1166887"/>
                <a:gd name="connsiteX400" fmla="*/ 2958970 w 3024845"/>
                <a:gd name="connsiteY400" fmla="*/ 818866 h 1166887"/>
                <a:gd name="connsiteX401" fmla="*/ 3024845 w 3024845"/>
                <a:gd name="connsiteY401" fmla="*/ 818866 h 1166887"/>
                <a:gd name="connsiteX402" fmla="*/ 3024845 w 3024845"/>
                <a:gd name="connsiteY402" fmla="*/ 1160647 h 1166887"/>
                <a:gd name="connsiteX403" fmla="*/ 145862 w 3024845"/>
                <a:gd name="connsiteY403" fmla="*/ 1160647 h 1166887"/>
                <a:gd name="connsiteX404" fmla="*/ 2054 w 3024845"/>
                <a:gd name="connsiteY404" fmla="*/ 1166887 h 1166887"/>
                <a:gd name="connsiteX405" fmla="*/ 0 w 3024845"/>
                <a:gd name="connsiteY405" fmla="*/ 724196 h 1166887"/>
                <a:gd name="connsiteX406" fmla="*/ 20267 w 3024845"/>
                <a:gd name="connsiteY406" fmla="*/ 724196 h 1166887"/>
                <a:gd name="connsiteX407" fmla="*/ 20774 w 3024845"/>
                <a:gd name="connsiteY407" fmla="*/ 723115 h 1166887"/>
                <a:gd name="connsiteX408" fmla="*/ 24320 w 3024845"/>
                <a:gd name="connsiteY408" fmla="*/ 715549 h 1166887"/>
                <a:gd name="connsiteX409" fmla="*/ 26094 w 3024845"/>
                <a:gd name="connsiteY409" fmla="*/ 715819 h 1166887"/>
                <a:gd name="connsiteX410" fmla="*/ 38507 w 3024845"/>
                <a:gd name="connsiteY410" fmla="*/ 717710 h 1166887"/>
                <a:gd name="connsiteX411" fmla="*/ 39014 w 3024845"/>
                <a:gd name="connsiteY411" fmla="*/ 719062 h 1166887"/>
                <a:gd name="connsiteX412" fmla="*/ 42560 w 3024845"/>
                <a:gd name="connsiteY412" fmla="*/ 728519 h 1166887"/>
                <a:gd name="connsiteX413" fmla="*/ 68907 w 3024845"/>
                <a:gd name="connsiteY413" fmla="*/ 730681 h 1166887"/>
                <a:gd name="connsiteX414" fmla="*/ 68907 w 3024845"/>
                <a:gd name="connsiteY414" fmla="*/ 607460 h 1166887"/>
                <a:gd name="connsiteX415" fmla="*/ 70934 w 3024845"/>
                <a:gd name="connsiteY415" fmla="*/ 607460 h 1166887"/>
                <a:gd name="connsiteX416" fmla="*/ 85121 w 3024845"/>
                <a:gd name="connsiteY416" fmla="*/ 607460 h 1166887"/>
                <a:gd name="connsiteX417" fmla="*/ 85121 w 3024845"/>
                <a:gd name="connsiteY417" fmla="*/ 471268 h 1166887"/>
                <a:gd name="connsiteX418" fmla="*/ 86894 w 3024845"/>
                <a:gd name="connsiteY418" fmla="*/ 471268 h 1166887"/>
                <a:gd name="connsiteX419" fmla="*/ 99308 w 3024845"/>
                <a:gd name="connsiteY419" fmla="*/ 471268 h 1166887"/>
                <a:gd name="connsiteX420" fmla="*/ 99308 w 3024845"/>
                <a:gd name="connsiteY420" fmla="*/ 356694 h 1166887"/>
                <a:gd name="connsiteX421" fmla="*/ 103361 w 3024845"/>
                <a:gd name="connsiteY421" fmla="*/ 328590 h 1166887"/>
                <a:gd name="connsiteX422" fmla="*/ 105388 w 3024845"/>
                <a:gd name="connsiteY422" fmla="*/ 328590 h 1166887"/>
                <a:gd name="connsiteX423" fmla="*/ 119575 w 3024845"/>
                <a:gd name="connsiteY423" fmla="*/ 328590 h 1166887"/>
                <a:gd name="connsiteX424" fmla="*/ 156055 w 3024845"/>
                <a:gd name="connsiteY424" fmla="*/ 246443 h 1166887"/>
                <a:gd name="connsiteX425" fmla="*/ 160109 w 3024845"/>
                <a:gd name="connsiteY425" fmla="*/ 0 h 116688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56055 w 3024845"/>
                <a:gd name="connsiteY0" fmla="*/ 164295 h 1078499"/>
                <a:gd name="connsiteX1" fmla="*/ 162135 w 3024845"/>
                <a:gd name="connsiteY1" fmla="*/ 164295 h 1078499"/>
                <a:gd name="connsiteX2" fmla="*/ 200642 w 3024845"/>
                <a:gd name="connsiteY2" fmla="*/ 244281 h 1078499"/>
                <a:gd name="connsiteX3" fmla="*/ 202669 w 3024845"/>
                <a:gd name="connsiteY3" fmla="*/ 244281 h 1078499"/>
                <a:gd name="connsiteX4" fmla="*/ 216856 w 3024845"/>
                <a:gd name="connsiteY4" fmla="*/ 244281 h 1078499"/>
                <a:gd name="connsiteX5" fmla="*/ 216856 w 3024845"/>
                <a:gd name="connsiteY5" fmla="*/ 268060 h 1078499"/>
                <a:gd name="connsiteX6" fmla="*/ 217363 w 3024845"/>
                <a:gd name="connsiteY6" fmla="*/ 268871 h 1078499"/>
                <a:gd name="connsiteX7" fmla="*/ 220909 w 3024845"/>
                <a:gd name="connsiteY7" fmla="*/ 274546 h 1078499"/>
                <a:gd name="connsiteX8" fmla="*/ 220909 w 3024845"/>
                <a:gd name="connsiteY8" fmla="*/ 389120 h 1078499"/>
                <a:gd name="connsiteX9" fmla="*/ 223189 w 3024845"/>
                <a:gd name="connsiteY9" fmla="*/ 389120 h 1078499"/>
                <a:gd name="connsiteX10" fmla="*/ 239150 w 3024845"/>
                <a:gd name="connsiteY10" fmla="*/ 389120 h 1078499"/>
                <a:gd name="connsiteX11" fmla="*/ 239150 w 3024845"/>
                <a:gd name="connsiteY11" fmla="*/ 529635 h 1078499"/>
                <a:gd name="connsiteX12" fmla="*/ 240670 w 3024845"/>
                <a:gd name="connsiteY12" fmla="*/ 529365 h 1078499"/>
                <a:gd name="connsiteX13" fmla="*/ 251310 w 3024845"/>
                <a:gd name="connsiteY13" fmla="*/ 527474 h 1078499"/>
                <a:gd name="connsiteX14" fmla="*/ 249283 w 3024845"/>
                <a:gd name="connsiteY14" fmla="*/ 616106 h 1078499"/>
                <a:gd name="connsiteX15" fmla="*/ 250803 w 3024845"/>
                <a:gd name="connsiteY15" fmla="*/ 616377 h 1078499"/>
                <a:gd name="connsiteX16" fmla="*/ 261443 w 3024845"/>
                <a:gd name="connsiteY16" fmla="*/ 618268 h 1078499"/>
                <a:gd name="connsiteX17" fmla="*/ 261696 w 3024845"/>
                <a:gd name="connsiteY17" fmla="*/ 619079 h 1078499"/>
                <a:gd name="connsiteX18" fmla="*/ 263470 w 3024845"/>
                <a:gd name="connsiteY18" fmla="*/ 624754 h 1078499"/>
                <a:gd name="connsiteX19" fmla="*/ 264230 w 3024845"/>
                <a:gd name="connsiteY19" fmla="*/ 622322 h 1078499"/>
                <a:gd name="connsiteX20" fmla="*/ 269550 w 3024845"/>
                <a:gd name="connsiteY20" fmla="*/ 605298 h 1078499"/>
                <a:gd name="connsiteX21" fmla="*/ 271323 w 3024845"/>
                <a:gd name="connsiteY21" fmla="*/ 605298 h 1078499"/>
                <a:gd name="connsiteX22" fmla="*/ 283737 w 3024845"/>
                <a:gd name="connsiteY22" fmla="*/ 605298 h 1078499"/>
                <a:gd name="connsiteX23" fmla="*/ 283737 w 3024845"/>
                <a:gd name="connsiteY23" fmla="*/ 637724 h 1078499"/>
                <a:gd name="connsiteX24" fmla="*/ 284750 w 3024845"/>
                <a:gd name="connsiteY24" fmla="*/ 638265 h 1078499"/>
                <a:gd name="connsiteX25" fmla="*/ 291844 w 3024845"/>
                <a:gd name="connsiteY25" fmla="*/ 642048 h 1078499"/>
                <a:gd name="connsiteX26" fmla="*/ 291844 w 3024845"/>
                <a:gd name="connsiteY26" fmla="*/ 643399 h 1078499"/>
                <a:gd name="connsiteX27" fmla="*/ 291844 w 3024845"/>
                <a:gd name="connsiteY27" fmla="*/ 652857 h 1078499"/>
                <a:gd name="connsiteX28" fmla="*/ 336431 w 3024845"/>
                <a:gd name="connsiteY28" fmla="*/ 652857 h 1078499"/>
                <a:gd name="connsiteX29" fmla="*/ 336431 w 3024845"/>
                <a:gd name="connsiteY29" fmla="*/ 653938 h 1078499"/>
                <a:gd name="connsiteX30" fmla="*/ 336431 w 3024845"/>
                <a:gd name="connsiteY30" fmla="*/ 661504 h 1078499"/>
                <a:gd name="connsiteX31" fmla="*/ 338457 w 3024845"/>
                <a:gd name="connsiteY31" fmla="*/ 661504 h 1078499"/>
                <a:gd name="connsiteX32" fmla="*/ 352644 w 3024845"/>
                <a:gd name="connsiteY32" fmla="*/ 661504 h 1078499"/>
                <a:gd name="connsiteX33" fmla="*/ 352644 w 3024845"/>
                <a:gd name="connsiteY33" fmla="*/ 631239 h 1078499"/>
                <a:gd name="connsiteX34" fmla="*/ 397231 w 3024845"/>
                <a:gd name="connsiteY34" fmla="*/ 631239 h 1078499"/>
                <a:gd name="connsiteX35" fmla="*/ 397231 w 3024845"/>
                <a:gd name="connsiteY35" fmla="*/ 629888 h 1078499"/>
                <a:gd name="connsiteX36" fmla="*/ 397231 w 3024845"/>
                <a:gd name="connsiteY36" fmla="*/ 620430 h 1078499"/>
                <a:gd name="connsiteX37" fmla="*/ 398245 w 3024845"/>
                <a:gd name="connsiteY37" fmla="*/ 620430 h 1078499"/>
                <a:gd name="connsiteX38" fmla="*/ 405338 w 3024845"/>
                <a:gd name="connsiteY38" fmla="*/ 620430 h 1078499"/>
                <a:gd name="connsiteX39" fmla="*/ 405338 w 3024845"/>
                <a:gd name="connsiteY39" fmla="*/ 618539 h 1078499"/>
                <a:gd name="connsiteX40" fmla="*/ 405338 w 3024845"/>
                <a:gd name="connsiteY40" fmla="*/ 605298 h 1078499"/>
                <a:gd name="connsiteX41" fmla="*/ 406098 w 3024845"/>
                <a:gd name="connsiteY41" fmla="*/ 605298 h 1078499"/>
                <a:gd name="connsiteX42" fmla="*/ 411418 w 3024845"/>
                <a:gd name="connsiteY42" fmla="*/ 605298 h 1078499"/>
                <a:gd name="connsiteX43" fmla="*/ 411418 w 3024845"/>
                <a:gd name="connsiteY43" fmla="*/ 604217 h 1078499"/>
                <a:gd name="connsiteX44" fmla="*/ 411418 w 3024845"/>
                <a:gd name="connsiteY44" fmla="*/ 596650 h 1078499"/>
                <a:gd name="connsiteX45" fmla="*/ 413445 w 3024845"/>
                <a:gd name="connsiteY45" fmla="*/ 596650 h 1078499"/>
                <a:gd name="connsiteX46" fmla="*/ 427632 w 3024845"/>
                <a:gd name="connsiteY46" fmla="*/ 596650 h 1078499"/>
                <a:gd name="connsiteX47" fmla="*/ 427632 w 3024845"/>
                <a:gd name="connsiteY47" fmla="*/ 597731 h 1078499"/>
                <a:gd name="connsiteX48" fmla="*/ 427632 w 3024845"/>
                <a:gd name="connsiteY48" fmla="*/ 605298 h 1078499"/>
                <a:gd name="connsiteX49" fmla="*/ 449925 w 3024845"/>
                <a:gd name="connsiteY49" fmla="*/ 605298 h 1078499"/>
                <a:gd name="connsiteX50" fmla="*/ 449925 w 3024845"/>
                <a:gd name="connsiteY50" fmla="*/ 603406 h 1078499"/>
                <a:gd name="connsiteX51" fmla="*/ 449925 w 3024845"/>
                <a:gd name="connsiteY51" fmla="*/ 590165 h 1078499"/>
                <a:gd name="connsiteX52" fmla="*/ 451699 w 3024845"/>
                <a:gd name="connsiteY52" fmla="*/ 590165 h 1078499"/>
                <a:gd name="connsiteX53" fmla="*/ 464112 w 3024845"/>
                <a:gd name="connsiteY53" fmla="*/ 590165 h 1078499"/>
                <a:gd name="connsiteX54" fmla="*/ 464112 w 3024845"/>
                <a:gd name="connsiteY54" fmla="*/ 613945 h 1078499"/>
                <a:gd name="connsiteX55" fmla="*/ 465126 w 3024845"/>
                <a:gd name="connsiteY55" fmla="*/ 613945 h 1078499"/>
                <a:gd name="connsiteX56" fmla="*/ 472219 w 3024845"/>
                <a:gd name="connsiteY56" fmla="*/ 613945 h 1078499"/>
                <a:gd name="connsiteX57" fmla="*/ 472219 w 3024845"/>
                <a:gd name="connsiteY57" fmla="*/ 612864 h 1078499"/>
                <a:gd name="connsiteX58" fmla="*/ 472219 w 3024845"/>
                <a:gd name="connsiteY58" fmla="*/ 605298 h 1078499"/>
                <a:gd name="connsiteX59" fmla="*/ 473992 w 3024845"/>
                <a:gd name="connsiteY59" fmla="*/ 605298 h 1078499"/>
                <a:gd name="connsiteX60" fmla="*/ 486406 w 3024845"/>
                <a:gd name="connsiteY60" fmla="*/ 605298 h 1078499"/>
                <a:gd name="connsiteX61" fmla="*/ 486406 w 3024845"/>
                <a:gd name="connsiteY61" fmla="*/ 631239 h 1078499"/>
                <a:gd name="connsiteX62" fmla="*/ 488433 w 3024845"/>
                <a:gd name="connsiteY62" fmla="*/ 631239 h 1078499"/>
                <a:gd name="connsiteX63" fmla="*/ 502619 w 3024845"/>
                <a:gd name="connsiteY63" fmla="*/ 631239 h 1078499"/>
                <a:gd name="connsiteX64" fmla="*/ 502619 w 3024845"/>
                <a:gd name="connsiteY64" fmla="*/ 632860 h 1078499"/>
                <a:gd name="connsiteX65" fmla="*/ 502619 w 3024845"/>
                <a:gd name="connsiteY65" fmla="*/ 644210 h 1078499"/>
                <a:gd name="connsiteX66" fmla="*/ 503379 w 3024845"/>
                <a:gd name="connsiteY66" fmla="*/ 644210 h 1078499"/>
                <a:gd name="connsiteX67" fmla="*/ 508700 w 3024845"/>
                <a:gd name="connsiteY67" fmla="*/ 644210 h 1078499"/>
                <a:gd name="connsiteX68" fmla="*/ 508700 w 3024845"/>
                <a:gd name="connsiteY68" fmla="*/ 643399 h 1078499"/>
                <a:gd name="connsiteX69" fmla="*/ 508700 w 3024845"/>
                <a:gd name="connsiteY69" fmla="*/ 637724 h 1078499"/>
                <a:gd name="connsiteX70" fmla="*/ 539100 w 3024845"/>
                <a:gd name="connsiteY70" fmla="*/ 637724 h 1078499"/>
                <a:gd name="connsiteX71" fmla="*/ 539100 w 3024845"/>
                <a:gd name="connsiteY71" fmla="*/ 661504 h 1078499"/>
                <a:gd name="connsiteX72" fmla="*/ 540113 w 3024845"/>
                <a:gd name="connsiteY72" fmla="*/ 661504 h 1078499"/>
                <a:gd name="connsiteX73" fmla="*/ 547207 w 3024845"/>
                <a:gd name="connsiteY73" fmla="*/ 661504 h 1078499"/>
                <a:gd name="connsiteX74" fmla="*/ 547207 w 3024845"/>
                <a:gd name="connsiteY74" fmla="*/ 662585 h 1078499"/>
                <a:gd name="connsiteX75" fmla="*/ 547207 w 3024845"/>
                <a:gd name="connsiteY75" fmla="*/ 670151 h 1078499"/>
                <a:gd name="connsiteX76" fmla="*/ 547967 w 3024845"/>
                <a:gd name="connsiteY76" fmla="*/ 670151 h 1078499"/>
                <a:gd name="connsiteX77" fmla="*/ 553287 w 3024845"/>
                <a:gd name="connsiteY77" fmla="*/ 670151 h 1078499"/>
                <a:gd name="connsiteX78" fmla="*/ 553287 w 3024845"/>
                <a:gd name="connsiteY78" fmla="*/ 667989 h 1078499"/>
                <a:gd name="connsiteX79" fmla="*/ 553287 w 3024845"/>
                <a:gd name="connsiteY79" fmla="*/ 652857 h 1078499"/>
                <a:gd name="connsiteX80" fmla="*/ 554300 w 3024845"/>
                <a:gd name="connsiteY80" fmla="*/ 652857 h 1078499"/>
                <a:gd name="connsiteX81" fmla="*/ 561394 w 3024845"/>
                <a:gd name="connsiteY81" fmla="*/ 652857 h 1078499"/>
                <a:gd name="connsiteX82" fmla="*/ 561394 w 3024845"/>
                <a:gd name="connsiteY82" fmla="*/ 653938 h 1078499"/>
                <a:gd name="connsiteX83" fmla="*/ 561394 w 3024845"/>
                <a:gd name="connsiteY83" fmla="*/ 661504 h 1078499"/>
                <a:gd name="connsiteX84" fmla="*/ 566714 w 3024845"/>
                <a:gd name="connsiteY84" fmla="*/ 659511 h 1078499"/>
                <a:gd name="connsiteX85" fmla="*/ 567474 w 3024845"/>
                <a:gd name="connsiteY85" fmla="*/ 658531 h 1078499"/>
                <a:gd name="connsiteX86" fmla="*/ 567474 w 3024845"/>
                <a:gd name="connsiteY86" fmla="*/ 652857 h 1078499"/>
                <a:gd name="connsiteX87" fmla="*/ 605981 w 3024845"/>
                <a:gd name="connsiteY87" fmla="*/ 652857 h 1078499"/>
                <a:gd name="connsiteX88" fmla="*/ 605981 w 3024845"/>
                <a:gd name="connsiteY88" fmla="*/ 676636 h 1078499"/>
                <a:gd name="connsiteX89" fmla="*/ 608007 w 3024845"/>
                <a:gd name="connsiteY89" fmla="*/ 676636 h 1078499"/>
                <a:gd name="connsiteX90" fmla="*/ 622194 w 3024845"/>
                <a:gd name="connsiteY90" fmla="*/ 676636 h 1078499"/>
                <a:gd name="connsiteX91" fmla="*/ 622194 w 3024845"/>
                <a:gd name="connsiteY91" fmla="*/ 677717 h 1078499"/>
                <a:gd name="connsiteX92" fmla="*/ 622194 w 3024845"/>
                <a:gd name="connsiteY92" fmla="*/ 685283 h 1078499"/>
                <a:gd name="connsiteX93" fmla="*/ 623968 w 3024845"/>
                <a:gd name="connsiteY93" fmla="*/ 685283 h 1078499"/>
                <a:gd name="connsiteX94" fmla="*/ 636381 w 3024845"/>
                <a:gd name="connsiteY94" fmla="*/ 685283 h 1078499"/>
                <a:gd name="connsiteX95" fmla="*/ 636381 w 3024845"/>
                <a:gd name="connsiteY95" fmla="*/ 661504 h 1078499"/>
                <a:gd name="connsiteX96" fmla="*/ 637394 w 3024845"/>
                <a:gd name="connsiteY96" fmla="*/ 661504 h 1078499"/>
                <a:gd name="connsiteX97" fmla="*/ 644488 w 3024845"/>
                <a:gd name="connsiteY97" fmla="*/ 661504 h 1078499"/>
                <a:gd name="connsiteX98" fmla="*/ 644488 w 3024845"/>
                <a:gd name="connsiteY98" fmla="*/ 629077 h 1078499"/>
                <a:gd name="connsiteX99" fmla="*/ 645501 w 3024845"/>
                <a:gd name="connsiteY99" fmla="*/ 629077 h 1078499"/>
                <a:gd name="connsiteX100" fmla="*/ 652595 w 3024845"/>
                <a:gd name="connsiteY100" fmla="*/ 629077 h 1078499"/>
                <a:gd name="connsiteX101" fmla="*/ 652595 w 3024845"/>
                <a:gd name="connsiteY101" fmla="*/ 627186 h 1078499"/>
                <a:gd name="connsiteX102" fmla="*/ 652595 w 3024845"/>
                <a:gd name="connsiteY102" fmla="*/ 613945 h 1078499"/>
                <a:gd name="connsiteX103" fmla="*/ 651328 w 3024845"/>
                <a:gd name="connsiteY103" fmla="*/ 612323 h 1078499"/>
                <a:gd name="connsiteX104" fmla="*/ 656648 w 3024845"/>
                <a:gd name="connsiteY104" fmla="*/ 600974 h 1078499"/>
                <a:gd name="connsiteX105" fmla="*/ 664755 w 3024845"/>
                <a:gd name="connsiteY105" fmla="*/ 629077 h 1078499"/>
                <a:gd name="connsiteX106" fmla="*/ 665515 w 3024845"/>
                <a:gd name="connsiteY106" fmla="*/ 629077 h 1078499"/>
                <a:gd name="connsiteX107" fmla="*/ 670835 w 3024845"/>
                <a:gd name="connsiteY107" fmla="*/ 629077 h 1078499"/>
                <a:gd name="connsiteX108" fmla="*/ 670835 w 3024845"/>
                <a:gd name="connsiteY108" fmla="*/ 523150 h 1078499"/>
                <a:gd name="connsiteX109" fmla="*/ 672355 w 3024845"/>
                <a:gd name="connsiteY109" fmla="*/ 523150 h 1078499"/>
                <a:gd name="connsiteX110" fmla="*/ 682995 w 3024845"/>
                <a:gd name="connsiteY110" fmla="*/ 523150 h 1078499"/>
                <a:gd name="connsiteX111" fmla="*/ 682995 w 3024845"/>
                <a:gd name="connsiteY111" fmla="*/ 475591 h 1078499"/>
                <a:gd name="connsiteX112" fmla="*/ 709342 w 3024845"/>
                <a:gd name="connsiteY112" fmla="*/ 475591 h 1078499"/>
                <a:gd name="connsiteX113" fmla="*/ 709342 w 3024845"/>
                <a:gd name="connsiteY113" fmla="*/ 453973 h 1078499"/>
                <a:gd name="connsiteX114" fmla="*/ 743796 w 3024845"/>
                <a:gd name="connsiteY114" fmla="*/ 453973 h 1078499"/>
                <a:gd name="connsiteX115" fmla="*/ 743796 w 3024845"/>
                <a:gd name="connsiteY115" fmla="*/ 456405 h 1078499"/>
                <a:gd name="connsiteX116" fmla="*/ 743796 w 3024845"/>
                <a:gd name="connsiteY116" fmla="*/ 473429 h 1078499"/>
                <a:gd name="connsiteX117" fmla="*/ 746076 w 3024845"/>
                <a:gd name="connsiteY117" fmla="*/ 473429 h 1078499"/>
                <a:gd name="connsiteX118" fmla="*/ 762036 w 3024845"/>
                <a:gd name="connsiteY118" fmla="*/ 473429 h 1078499"/>
                <a:gd name="connsiteX119" fmla="*/ 762036 w 3024845"/>
                <a:gd name="connsiteY119" fmla="*/ 520988 h 1078499"/>
                <a:gd name="connsiteX120" fmla="*/ 763049 w 3024845"/>
                <a:gd name="connsiteY120" fmla="*/ 520988 h 1078499"/>
                <a:gd name="connsiteX121" fmla="*/ 770143 w 3024845"/>
                <a:gd name="connsiteY121" fmla="*/ 520988 h 1078499"/>
                <a:gd name="connsiteX122" fmla="*/ 784330 w 3024845"/>
                <a:gd name="connsiteY122" fmla="*/ 525312 h 1078499"/>
                <a:gd name="connsiteX123" fmla="*/ 784330 w 3024845"/>
                <a:gd name="connsiteY123" fmla="*/ 564224 h 1078499"/>
                <a:gd name="connsiteX124" fmla="*/ 785343 w 3024845"/>
                <a:gd name="connsiteY124" fmla="*/ 564224 h 1078499"/>
                <a:gd name="connsiteX125" fmla="*/ 792436 w 3024845"/>
                <a:gd name="connsiteY125" fmla="*/ 564224 h 1078499"/>
                <a:gd name="connsiteX126" fmla="*/ 792436 w 3024845"/>
                <a:gd name="connsiteY126" fmla="*/ 565845 h 1078499"/>
                <a:gd name="connsiteX127" fmla="*/ 792436 w 3024845"/>
                <a:gd name="connsiteY127" fmla="*/ 577194 h 1078499"/>
                <a:gd name="connsiteX128" fmla="*/ 794463 w 3024845"/>
                <a:gd name="connsiteY128" fmla="*/ 577194 h 1078499"/>
                <a:gd name="connsiteX129" fmla="*/ 808650 w 3024845"/>
                <a:gd name="connsiteY129" fmla="*/ 577194 h 1078499"/>
                <a:gd name="connsiteX130" fmla="*/ 814730 w 3024845"/>
                <a:gd name="connsiteY130" fmla="*/ 583680 h 1078499"/>
                <a:gd name="connsiteX131" fmla="*/ 814730 w 3024845"/>
                <a:gd name="connsiteY131" fmla="*/ 605298 h 1078499"/>
                <a:gd name="connsiteX132" fmla="*/ 817010 w 3024845"/>
                <a:gd name="connsiteY132" fmla="*/ 605298 h 1078499"/>
                <a:gd name="connsiteX133" fmla="*/ 832970 w 3024845"/>
                <a:gd name="connsiteY133" fmla="*/ 605298 h 1078499"/>
                <a:gd name="connsiteX134" fmla="*/ 832970 w 3024845"/>
                <a:gd name="connsiteY134" fmla="*/ 606378 h 1078499"/>
                <a:gd name="connsiteX135" fmla="*/ 832970 w 3024845"/>
                <a:gd name="connsiteY135" fmla="*/ 613945 h 1078499"/>
                <a:gd name="connsiteX136" fmla="*/ 834237 w 3024845"/>
                <a:gd name="connsiteY136" fmla="*/ 613945 h 1078499"/>
                <a:gd name="connsiteX137" fmla="*/ 843104 w 3024845"/>
                <a:gd name="connsiteY137" fmla="*/ 613945 h 1078499"/>
                <a:gd name="connsiteX138" fmla="*/ 843104 w 3024845"/>
                <a:gd name="connsiteY138" fmla="*/ 616106 h 1078499"/>
                <a:gd name="connsiteX139" fmla="*/ 843104 w 3024845"/>
                <a:gd name="connsiteY139" fmla="*/ 631239 h 1078499"/>
                <a:gd name="connsiteX140" fmla="*/ 847157 w 3024845"/>
                <a:gd name="connsiteY140" fmla="*/ 629347 h 1078499"/>
                <a:gd name="connsiteX141" fmla="*/ 847157 w 3024845"/>
                <a:gd name="connsiteY141" fmla="*/ 616106 h 1078499"/>
                <a:gd name="connsiteX142" fmla="*/ 848170 w 3024845"/>
                <a:gd name="connsiteY142" fmla="*/ 616106 h 1078499"/>
                <a:gd name="connsiteX143" fmla="*/ 855264 w 3024845"/>
                <a:gd name="connsiteY143" fmla="*/ 616106 h 1078499"/>
                <a:gd name="connsiteX144" fmla="*/ 855264 w 3024845"/>
                <a:gd name="connsiteY144" fmla="*/ 617728 h 1078499"/>
                <a:gd name="connsiteX145" fmla="*/ 855264 w 3024845"/>
                <a:gd name="connsiteY145" fmla="*/ 629077 h 1078499"/>
                <a:gd name="connsiteX146" fmla="*/ 856024 w 3024845"/>
                <a:gd name="connsiteY146" fmla="*/ 629077 h 1078499"/>
                <a:gd name="connsiteX147" fmla="*/ 861344 w 3024845"/>
                <a:gd name="connsiteY147" fmla="*/ 629077 h 1078499"/>
                <a:gd name="connsiteX148" fmla="*/ 909984 w 3024845"/>
                <a:gd name="connsiteY148" fmla="*/ 624754 h 1078499"/>
                <a:gd name="connsiteX149" fmla="*/ 909984 w 3024845"/>
                <a:gd name="connsiteY149" fmla="*/ 626105 h 1078499"/>
                <a:gd name="connsiteX150" fmla="*/ 909984 w 3024845"/>
                <a:gd name="connsiteY150" fmla="*/ 635562 h 1078499"/>
                <a:gd name="connsiteX151" fmla="*/ 910744 w 3024845"/>
                <a:gd name="connsiteY151" fmla="*/ 635562 h 1078499"/>
                <a:gd name="connsiteX152" fmla="*/ 916065 w 3024845"/>
                <a:gd name="connsiteY152" fmla="*/ 635562 h 1078499"/>
                <a:gd name="connsiteX153" fmla="*/ 916065 w 3024845"/>
                <a:gd name="connsiteY153" fmla="*/ 637724 h 1078499"/>
                <a:gd name="connsiteX154" fmla="*/ 916065 w 3024845"/>
                <a:gd name="connsiteY154" fmla="*/ 652857 h 1078499"/>
                <a:gd name="connsiteX155" fmla="*/ 918091 w 3024845"/>
                <a:gd name="connsiteY155" fmla="*/ 651506 h 1078499"/>
                <a:gd name="connsiteX156" fmla="*/ 932278 w 3024845"/>
                <a:gd name="connsiteY156" fmla="*/ 642048 h 1078499"/>
                <a:gd name="connsiteX157" fmla="*/ 938358 w 3024845"/>
                <a:gd name="connsiteY157" fmla="*/ 600974 h 1078499"/>
                <a:gd name="connsiteX158" fmla="*/ 939118 w 3024845"/>
                <a:gd name="connsiteY158" fmla="*/ 600704 h 1078499"/>
                <a:gd name="connsiteX159" fmla="*/ 944438 w 3024845"/>
                <a:gd name="connsiteY159" fmla="*/ 598812 h 1078499"/>
                <a:gd name="connsiteX160" fmla="*/ 946465 w 3024845"/>
                <a:gd name="connsiteY160" fmla="*/ 529635 h 1078499"/>
                <a:gd name="connsiteX161" fmla="*/ 948492 w 3024845"/>
                <a:gd name="connsiteY161" fmla="*/ 598812 h 1078499"/>
                <a:gd name="connsiteX162" fmla="*/ 949252 w 3024845"/>
                <a:gd name="connsiteY162" fmla="*/ 599082 h 1078499"/>
                <a:gd name="connsiteX163" fmla="*/ 954572 w 3024845"/>
                <a:gd name="connsiteY163" fmla="*/ 600974 h 1078499"/>
                <a:gd name="connsiteX164" fmla="*/ 954572 w 3024845"/>
                <a:gd name="connsiteY164" fmla="*/ 514503 h 1078499"/>
                <a:gd name="connsiteX165" fmla="*/ 958625 w 3024845"/>
                <a:gd name="connsiteY165" fmla="*/ 482076 h 1078499"/>
                <a:gd name="connsiteX166" fmla="*/ 997132 w 3024845"/>
                <a:gd name="connsiteY166" fmla="*/ 482076 h 1078499"/>
                <a:gd name="connsiteX167" fmla="*/ 997132 w 3024845"/>
                <a:gd name="connsiteY167" fmla="*/ 514503 h 1078499"/>
                <a:gd name="connsiteX168" fmla="*/ 997892 w 3024845"/>
                <a:gd name="connsiteY168" fmla="*/ 514503 h 1078499"/>
                <a:gd name="connsiteX169" fmla="*/ 1003212 w 3024845"/>
                <a:gd name="connsiteY169" fmla="*/ 514503 h 1078499"/>
                <a:gd name="connsiteX170" fmla="*/ 1003212 w 3024845"/>
                <a:gd name="connsiteY170" fmla="*/ 432355 h 1078499"/>
                <a:gd name="connsiteX171" fmla="*/ 1004986 w 3024845"/>
                <a:gd name="connsiteY171" fmla="*/ 432355 h 1078499"/>
                <a:gd name="connsiteX172" fmla="*/ 1017399 w 3024845"/>
                <a:gd name="connsiteY172" fmla="*/ 432355 h 1078499"/>
                <a:gd name="connsiteX173" fmla="*/ 1017399 w 3024845"/>
                <a:gd name="connsiteY173" fmla="*/ 430464 h 1078499"/>
                <a:gd name="connsiteX174" fmla="*/ 1017399 w 3024845"/>
                <a:gd name="connsiteY174" fmla="*/ 417223 h 1078499"/>
                <a:gd name="connsiteX175" fmla="*/ 1039693 w 3024845"/>
                <a:gd name="connsiteY175" fmla="*/ 417223 h 1078499"/>
                <a:gd name="connsiteX176" fmla="*/ 1039693 w 3024845"/>
                <a:gd name="connsiteY176" fmla="*/ 416142 h 1078499"/>
                <a:gd name="connsiteX177" fmla="*/ 1039693 w 3024845"/>
                <a:gd name="connsiteY177" fmla="*/ 408576 h 1078499"/>
                <a:gd name="connsiteX178" fmla="*/ 1041466 w 3024845"/>
                <a:gd name="connsiteY178" fmla="*/ 408576 h 1078499"/>
                <a:gd name="connsiteX179" fmla="*/ 1053880 w 3024845"/>
                <a:gd name="connsiteY179" fmla="*/ 408576 h 1078499"/>
                <a:gd name="connsiteX180" fmla="*/ 1053880 w 3024845"/>
                <a:gd name="connsiteY180" fmla="*/ 409657 h 1078499"/>
                <a:gd name="connsiteX181" fmla="*/ 1053880 w 3024845"/>
                <a:gd name="connsiteY181" fmla="*/ 417223 h 1078499"/>
                <a:gd name="connsiteX182" fmla="*/ 1054640 w 3024845"/>
                <a:gd name="connsiteY182" fmla="*/ 417223 h 1078499"/>
                <a:gd name="connsiteX183" fmla="*/ 1059960 w 3024845"/>
                <a:gd name="connsiteY183" fmla="*/ 417223 h 1078499"/>
                <a:gd name="connsiteX184" fmla="*/ 1070093 w 3024845"/>
                <a:gd name="connsiteY184" fmla="*/ 412899 h 1078499"/>
                <a:gd name="connsiteX185" fmla="*/ 1074146 w 3024845"/>
                <a:gd name="connsiteY185" fmla="*/ 416142 h 1078499"/>
                <a:gd name="connsiteX186" fmla="*/ 1074146 w 3024845"/>
                <a:gd name="connsiteY186" fmla="*/ 408576 h 1078499"/>
                <a:gd name="connsiteX187" fmla="*/ 1076426 w 3024845"/>
                <a:gd name="connsiteY187" fmla="*/ 408576 h 1078499"/>
                <a:gd name="connsiteX188" fmla="*/ 1092387 w 3024845"/>
                <a:gd name="connsiteY188" fmla="*/ 408576 h 1078499"/>
                <a:gd name="connsiteX189" fmla="*/ 1092387 w 3024845"/>
                <a:gd name="connsiteY189" fmla="*/ 409657 h 1078499"/>
                <a:gd name="connsiteX190" fmla="*/ 1092387 w 3024845"/>
                <a:gd name="connsiteY190" fmla="*/ 417223 h 1078499"/>
                <a:gd name="connsiteX191" fmla="*/ 1122787 w 3024845"/>
                <a:gd name="connsiteY191" fmla="*/ 417223 h 1078499"/>
                <a:gd name="connsiteX192" fmla="*/ 1122787 w 3024845"/>
                <a:gd name="connsiteY192" fmla="*/ 418844 h 1078499"/>
                <a:gd name="connsiteX193" fmla="*/ 1122787 w 3024845"/>
                <a:gd name="connsiteY193" fmla="*/ 430194 h 1078499"/>
                <a:gd name="connsiteX194" fmla="*/ 1149134 w 3024845"/>
                <a:gd name="connsiteY194" fmla="*/ 430194 h 1078499"/>
                <a:gd name="connsiteX195" fmla="*/ 1149134 w 3024845"/>
                <a:gd name="connsiteY195" fmla="*/ 460458 h 1078499"/>
                <a:gd name="connsiteX196" fmla="*/ 1149894 w 3024845"/>
                <a:gd name="connsiteY196" fmla="*/ 460458 h 1078499"/>
                <a:gd name="connsiteX197" fmla="*/ 1155214 w 3024845"/>
                <a:gd name="connsiteY197" fmla="*/ 460458 h 1078499"/>
                <a:gd name="connsiteX198" fmla="*/ 1155214 w 3024845"/>
                <a:gd name="connsiteY198" fmla="*/ 461539 h 1078499"/>
                <a:gd name="connsiteX199" fmla="*/ 1155214 w 3024845"/>
                <a:gd name="connsiteY199" fmla="*/ 469106 h 1078499"/>
                <a:gd name="connsiteX200" fmla="*/ 1159268 w 3024845"/>
                <a:gd name="connsiteY200" fmla="*/ 499370 h 1078499"/>
                <a:gd name="connsiteX201" fmla="*/ 1160028 w 3024845"/>
                <a:gd name="connsiteY201" fmla="*/ 499370 h 1078499"/>
                <a:gd name="connsiteX202" fmla="*/ 1165348 w 3024845"/>
                <a:gd name="connsiteY202" fmla="*/ 499370 h 1078499"/>
                <a:gd name="connsiteX203" fmla="*/ 1165348 w 3024845"/>
                <a:gd name="connsiteY203" fmla="*/ 500181 h 1078499"/>
                <a:gd name="connsiteX204" fmla="*/ 1165348 w 3024845"/>
                <a:gd name="connsiteY204" fmla="*/ 505856 h 1078499"/>
                <a:gd name="connsiteX205" fmla="*/ 1166361 w 3024845"/>
                <a:gd name="connsiteY205" fmla="*/ 505856 h 1078499"/>
                <a:gd name="connsiteX206" fmla="*/ 1173454 w 3024845"/>
                <a:gd name="connsiteY206" fmla="*/ 505856 h 1078499"/>
                <a:gd name="connsiteX207" fmla="*/ 1173454 w 3024845"/>
                <a:gd name="connsiteY207" fmla="*/ 536121 h 1078499"/>
                <a:gd name="connsiteX208" fmla="*/ 1175481 w 3024845"/>
                <a:gd name="connsiteY208" fmla="*/ 536121 h 1078499"/>
                <a:gd name="connsiteX209" fmla="*/ 1189668 w 3024845"/>
                <a:gd name="connsiteY209" fmla="*/ 536121 h 1078499"/>
                <a:gd name="connsiteX210" fmla="*/ 1189668 w 3024845"/>
                <a:gd name="connsiteY210" fmla="*/ 559900 h 1078499"/>
                <a:gd name="connsiteX211" fmla="*/ 1191695 w 3024845"/>
                <a:gd name="connsiteY211" fmla="*/ 561521 h 1078499"/>
                <a:gd name="connsiteX212" fmla="*/ 1191695 w 3024845"/>
                <a:gd name="connsiteY212" fmla="*/ 572871 h 1078499"/>
                <a:gd name="connsiteX213" fmla="*/ 1192455 w 3024845"/>
                <a:gd name="connsiteY213" fmla="*/ 572871 h 1078499"/>
                <a:gd name="connsiteX214" fmla="*/ 1197775 w 3024845"/>
                <a:gd name="connsiteY214" fmla="*/ 572871 h 1078499"/>
                <a:gd name="connsiteX215" fmla="*/ 1197775 w 3024845"/>
                <a:gd name="connsiteY215" fmla="*/ 596650 h 1078499"/>
                <a:gd name="connsiteX216" fmla="*/ 1199041 w 3024845"/>
                <a:gd name="connsiteY216" fmla="*/ 596650 h 1078499"/>
                <a:gd name="connsiteX217" fmla="*/ 1207908 w 3024845"/>
                <a:gd name="connsiteY217" fmla="*/ 596650 h 1078499"/>
                <a:gd name="connsiteX218" fmla="*/ 1209935 w 3024845"/>
                <a:gd name="connsiteY218" fmla="*/ 600704 h 1078499"/>
                <a:gd name="connsiteX219" fmla="*/ 1209935 w 3024845"/>
                <a:gd name="connsiteY219" fmla="*/ 613945 h 1078499"/>
                <a:gd name="connsiteX220" fmla="*/ 1211455 w 3024845"/>
                <a:gd name="connsiteY220" fmla="*/ 612053 h 1078499"/>
                <a:gd name="connsiteX221" fmla="*/ 1222095 w 3024845"/>
                <a:gd name="connsiteY221" fmla="*/ 598812 h 1078499"/>
                <a:gd name="connsiteX222" fmla="*/ 1250469 w 3024845"/>
                <a:gd name="connsiteY222" fmla="*/ 598812 h 1078499"/>
                <a:gd name="connsiteX223" fmla="*/ 1250469 w 3024845"/>
                <a:gd name="connsiteY223" fmla="*/ 685283 h 1078499"/>
                <a:gd name="connsiteX224" fmla="*/ 1251229 w 3024845"/>
                <a:gd name="connsiteY224" fmla="*/ 685283 h 1078499"/>
                <a:gd name="connsiteX225" fmla="*/ 1256549 w 3024845"/>
                <a:gd name="connsiteY225" fmla="*/ 685283 h 1078499"/>
                <a:gd name="connsiteX226" fmla="*/ 1257309 w 3024845"/>
                <a:gd name="connsiteY226" fmla="*/ 683932 h 1078499"/>
                <a:gd name="connsiteX227" fmla="*/ 1262629 w 3024845"/>
                <a:gd name="connsiteY227" fmla="*/ 674474 h 1078499"/>
                <a:gd name="connsiteX228" fmla="*/ 1262629 w 3024845"/>
                <a:gd name="connsiteY228" fmla="*/ 676366 h 1078499"/>
                <a:gd name="connsiteX229" fmla="*/ 1262629 w 3024845"/>
                <a:gd name="connsiteY229" fmla="*/ 689607 h 1078499"/>
                <a:gd name="connsiteX230" fmla="*/ 1266682 w 3024845"/>
                <a:gd name="connsiteY230" fmla="*/ 644210 h 1078499"/>
                <a:gd name="connsiteX231" fmla="*/ 1267442 w 3024845"/>
                <a:gd name="connsiteY231" fmla="*/ 644210 h 1078499"/>
                <a:gd name="connsiteX232" fmla="*/ 1272762 w 3024845"/>
                <a:gd name="connsiteY232" fmla="*/ 644210 h 1078499"/>
                <a:gd name="connsiteX233" fmla="*/ 1272762 w 3024845"/>
                <a:gd name="connsiteY233" fmla="*/ 579356 h 1078499"/>
                <a:gd name="connsiteX234" fmla="*/ 1273776 w 3024845"/>
                <a:gd name="connsiteY234" fmla="*/ 579356 h 1078499"/>
                <a:gd name="connsiteX235" fmla="*/ 1280869 w 3024845"/>
                <a:gd name="connsiteY235" fmla="*/ 579356 h 1078499"/>
                <a:gd name="connsiteX236" fmla="*/ 1293029 w 3024845"/>
                <a:gd name="connsiteY236" fmla="*/ 536121 h 1078499"/>
                <a:gd name="connsiteX237" fmla="*/ 1294296 w 3024845"/>
                <a:gd name="connsiteY237" fmla="*/ 536121 h 1078499"/>
                <a:gd name="connsiteX238" fmla="*/ 1303163 w 3024845"/>
                <a:gd name="connsiteY238" fmla="*/ 536121 h 1078499"/>
                <a:gd name="connsiteX239" fmla="*/ 1313296 w 3024845"/>
                <a:gd name="connsiteY239" fmla="*/ 579356 h 1078499"/>
                <a:gd name="connsiteX240" fmla="*/ 1314309 w 3024845"/>
                <a:gd name="connsiteY240" fmla="*/ 579356 h 1078499"/>
                <a:gd name="connsiteX241" fmla="*/ 1321403 w 3024845"/>
                <a:gd name="connsiteY241" fmla="*/ 579356 h 1078499"/>
                <a:gd name="connsiteX242" fmla="*/ 1321403 w 3024845"/>
                <a:gd name="connsiteY242" fmla="*/ 618268 h 1078499"/>
                <a:gd name="connsiteX243" fmla="*/ 1323176 w 3024845"/>
                <a:gd name="connsiteY243" fmla="*/ 618268 h 1078499"/>
                <a:gd name="connsiteX244" fmla="*/ 1335590 w 3024845"/>
                <a:gd name="connsiteY244" fmla="*/ 618268 h 1078499"/>
                <a:gd name="connsiteX245" fmla="*/ 1335590 w 3024845"/>
                <a:gd name="connsiteY245" fmla="*/ 620430 h 1078499"/>
                <a:gd name="connsiteX246" fmla="*/ 1335590 w 3024845"/>
                <a:gd name="connsiteY246" fmla="*/ 635562 h 1078499"/>
                <a:gd name="connsiteX247" fmla="*/ 1339643 w 3024845"/>
                <a:gd name="connsiteY247" fmla="*/ 633401 h 1078499"/>
                <a:gd name="connsiteX248" fmla="*/ 1339643 w 3024845"/>
                <a:gd name="connsiteY248" fmla="*/ 618268 h 1078499"/>
                <a:gd name="connsiteX249" fmla="*/ 1341163 w 3024845"/>
                <a:gd name="connsiteY249" fmla="*/ 618268 h 1078499"/>
                <a:gd name="connsiteX250" fmla="*/ 1351803 w 3024845"/>
                <a:gd name="connsiteY250" fmla="*/ 618268 h 1078499"/>
                <a:gd name="connsiteX251" fmla="*/ 1351803 w 3024845"/>
                <a:gd name="connsiteY251" fmla="*/ 619889 h 1078499"/>
                <a:gd name="connsiteX252" fmla="*/ 1351803 w 3024845"/>
                <a:gd name="connsiteY252" fmla="*/ 631239 h 1078499"/>
                <a:gd name="connsiteX253" fmla="*/ 1382204 w 3024845"/>
                <a:gd name="connsiteY253" fmla="*/ 631239 h 1078499"/>
                <a:gd name="connsiteX254" fmla="*/ 1382204 w 3024845"/>
                <a:gd name="connsiteY254" fmla="*/ 594489 h 1078499"/>
                <a:gd name="connsiteX255" fmla="*/ 1383470 w 3024845"/>
                <a:gd name="connsiteY255" fmla="*/ 594489 h 1078499"/>
                <a:gd name="connsiteX256" fmla="*/ 1392337 w 3024845"/>
                <a:gd name="connsiteY256" fmla="*/ 594489 h 1078499"/>
                <a:gd name="connsiteX257" fmla="*/ 1392337 w 3024845"/>
                <a:gd name="connsiteY257" fmla="*/ 616106 h 1078499"/>
                <a:gd name="connsiteX258" fmla="*/ 1394364 w 3024845"/>
                <a:gd name="connsiteY258" fmla="*/ 583680 h 1078499"/>
                <a:gd name="connsiteX259" fmla="*/ 1416657 w 3024845"/>
                <a:gd name="connsiteY259" fmla="*/ 583680 h 1078499"/>
                <a:gd name="connsiteX260" fmla="*/ 1416657 w 3024845"/>
                <a:gd name="connsiteY260" fmla="*/ 582058 h 1078499"/>
                <a:gd name="connsiteX261" fmla="*/ 1416657 w 3024845"/>
                <a:gd name="connsiteY261" fmla="*/ 570709 h 1078499"/>
                <a:gd name="connsiteX262" fmla="*/ 1417417 w 3024845"/>
                <a:gd name="connsiteY262" fmla="*/ 570709 h 1078499"/>
                <a:gd name="connsiteX263" fmla="*/ 1422737 w 3024845"/>
                <a:gd name="connsiteY263" fmla="*/ 570709 h 1078499"/>
                <a:gd name="connsiteX264" fmla="*/ 1422737 w 3024845"/>
                <a:gd name="connsiteY264" fmla="*/ 568818 h 1078499"/>
                <a:gd name="connsiteX265" fmla="*/ 1422737 w 3024845"/>
                <a:gd name="connsiteY265" fmla="*/ 555577 h 1078499"/>
                <a:gd name="connsiteX266" fmla="*/ 1426791 w 3024845"/>
                <a:gd name="connsiteY266" fmla="*/ 562062 h 1078499"/>
                <a:gd name="connsiteX267" fmla="*/ 1429071 w 3024845"/>
                <a:gd name="connsiteY267" fmla="*/ 562062 h 1078499"/>
                <a:gd name="connsiteX268" fmla="*/ 1445031 w 3024845"/>
                <a:gd name="connsiteY268" fmla="*/ 562062 h 1078499"/>
                <a:gd name="connsiteX269" fmla="*/ 1445031 w 3024845"/>
                <a:gd name="connsiteY269" fmla="*/ 561251 h 1078499"/>
                <a:gd name="connsiteX270" fmla="*/ 1445031 w 3024845"/>
                <a:gd name="connsiteY270" fmla="*/ 555577 h 1078499"/>
                <a:gd name="connsiteX271" fmla="*/ 1445791 w 3024845"/>
                <a:gd name="connsiteY271" fmla="*/ 555577 h 1078499"/>
                <a:gd name="connsiteX272" fmla="*/ 1451111 w 3024845"/>
                <a:gd name="connsiteY272" fmla="*/ 555577 h 1078499"/>
                <a:gd name="connsiteX273" fmla="*/ 1451111 w 3024845"/>
                <a:gd name="connsiteY273" fmla="*/ 556928 h 1078499"/>
                <a:gd name="connsiteX274" fmla="*/ 1451111 w 3024845"/>
                <a:gd name="connsiteY274" fmla="*/ 566386 h 1078499"/>
                <a:gd name="connsiteX275" fmla="*/ 1489618 w 3024845"/>
                <a:gd name="connsiteY275" fmla="*/ 566386 h 1078499"/>
                <a:gd name="connsiteX276" fmla="*/ 1489618 w 3024845"/>
                <a:gd name="connsiteY276" fmla="*/ 704739 h 1078499"/>
                <a:gd name="connsiteX277" fmla="*/ 1491138 w 3024845"/>
                <a:gd name="connsiteY277" fmla="*/ 704739 h 1078499"/>
                <a:gd name="connsiteX278" fmla="*/ 1501778 w 3024845"/>
                <a:gd name="connsiteY278" fmla="*/ 704739 h 1078499"/>
                <a:gd name="connsiteX279" fmla="*/ 1501778 w 3024845"/>
                <a:gd name="connsiteY279" fmla="*/ 691769 h 1078499"/>
                <a:gd name="connsiteX280" fmla="*/ 1505832 w 3024845"/>
                <a:gd name="connsiteY280" fmla="*/ 691769 h 1078499"/>
                <a:gd name="connsiteX281" fmla="*/ 1505832 w 3024845"/>
                <a:gd name="connsiteY281" fmla="*/ 704739 h 1078499"/>
                <a:gd name="connsiteX282" fmla="*/ 1536232 w 3024845"/>
                <a:gd name="connsiteY282" fmla="*/ 704739 h 1078499"/>
                <a:gd name="connsiteX283" fmla="*/ 1536232 w 3024845"/>
                <a:gd name="connsiteY283" fmla="*/ 674474 h 1078499"/>
                <a:gd name="connsiteX284" fmla="*/ 1548392 w 3024845"/>
                <a:gd name="connsiteY284" fmla="*/ 674474 h 1078499"/>
                <a:gd name="connsiteX285" fmla="*/ 1560552 w 3024845"/>
                <a:gd name="connsiteY285" fmla="*/ 672313 h 1078499"/>
                <a:gd name="connsiteX286" fmla="*/ 1564606 w 3024845"/>
                <a:gd name="connsiteY286" fmla="*/ 674474 h 1078499"/>
                <a:gd name="connsiteX287" fmla="*/ 1574739 w 3024845"/>
                <a:gd name="connsiteY287" fmla="*/ 674474 h 1078499"/>
                <a:gd name="connsiteX288" fmla="*/ 1574739 w 3024845"/>
                <a:gd name="connsiteY288" fmla="*/ 704739 h 1078499"/>
                <a:gd name="connsiteX289" fmla="*/ 1582846 w 3024845"/>
                <a:gd name="connsiteY289" fmla="*/ 704739 h 1078499"/>
                <a:gd name="connsiteX290" fmla="*/ 1582846 w 3024845"/>
                <a:gd name="connsiteY290" fmla="*/ 722034 h 1078499"/>
                <a:gd name="connsiteX291" fmla="*/ 1592182 w 3024845"/>
                <a:gd name="connsiteY291" fmla="*/ 722939 h 1078499"/>
                <a:gd name="connsiteX292" fmla="*/ 1605140 w 3024845"/>
                <a:gd name="connsiteY292" fmla="*/ 722939 h 1078499"/>
                <a:gd name="connsiteX293" fmla="*/ 1605140 w 3024845"/>
                <a:gd name="connsiteY293" fmla="*/ 706901 h 1078499"/>
                <a:gd name="connsiteX294" fmla="*/ 1673096 w 3024845"/>
                <a:gd name="connsiteY294" fmla="*/ 706901 h 1078499"/>
                <a:gd name="connsiteX295" fmla="*/ 1673096 w 3024845"/>
                <a:gd name="connsiteY295" fmla="*/ 621648 h 1078499"/>
                <a:gd name="connsiteX296" fmla="*/ 1745104 w 3024845"/>
                <a:gd name="connsiteY296" fmla="*/ 621648 h 1078499"/>
                <a:gd name="connsiteX297" fmla="*/ 1745104 w 3024845"/>
                <a:gd name="connsiteY297" fmla="*/ 700416 h 1078499"/>
                <a:gd name="connsiteX298" fmla="*/ 1747008 w 3024845"/>
                <a:gd name="connsiteY298" fmla="*/ 700416 h 1078499"/>
                <a:gd name="connsiteX299" fmla="*/ 1748250 w 3024845"/>
                <a:gd name="connsiteY299" fmla="*/ 722939 h 1078499"/>
                <a:gd name="connsiteX300" fmla="*/ 1757926 w 3024845"/>
                <a:gd name="connsiteY300" fmla="*/ 722939 h 1078499"/>
                <a:gd name="connsiteX301" fmla="*/ 1759168 w 3024845"/>
                <a:gd name="connsiteY301" fmla="*/ 700416 h 1078499"/>
                <a:gd name="connsiteX302" fmla="*/ 1765248 w 3024845"/>
                <a:gd name="connsiteY302" fmla="*/ 700416 h 1078499"/>
                <a:gd name="connsiteX303" fmla="*/ 1766490 w 3024845"/>
                <a:gd name="connsiteY303" fmla="*/ 722939 h 1078499"/>
                <a:gd name="connsiteX304" fmla="*/ 1817112 w 3024845"/>
                <a:gd name="connsiteY304" fmla="*/ 722939 h 1078499"/>
                <a:gd name="connsiteX305" fmla="*/ 1817112 w 3024845"/>
                <a:gd name="connsiteY305" fmla="*/ 559911 h 1078499"/>
                <a:gd name="connsiteX306" fmla="*/ 2014439 w 3024845"/>
                <a:gd name="connsiteY306" fmla="*/ 559911 h 1078499"/>
                <a:gd name="connsiteX307" fmla="*/ 2014439 w 3024845"/>
                <a:gd name="connsiteY307" fmla="*/ 722939 h 1078499"/>
                <a:gd name="connsiteX308" fmla="*/ 2033136 w 3024845"/>
                <a:gd name="connsiteY308" fmla="*/ 722939 h 1078499"/>
                <a:gd name="connsiteX309" fmla="*/ 2033136 w 3024845"/>
                <a:gd name="connsiteY309" fmla="*/ 640246 h 1078499"/>
                <a:gd name="connsiteX310" fmla="*/ 2128256 w 3024845"/>
                <a:gd name="connsiteY310" fmla="*/ 640246 h 1078499"/>
                <a:gd name="connsiteX311" fmla="*/ 2140186 w 3024845"/>
                <a:gd name="connsiteY311" fmla="*/ 322105 h 1078499"/>
                <a:gd name="connsiteX312" fmla="*/ 2128026 w 3024845"/>
                <a:gd name="connsiteY312" fmla="*/ 300487 h 1078499"/>
                <a:gd name="connsiteX313" fmla="*/ 2121946 w 3024845"/>
                <a:gd name="connsiteY313" fmla="*/ 296163 h 1078499"/>
                <a:gd name="connsiteX314" fmla="*/ 2130053 w 3024845"/>
                <a:gd name="connsiteY314" fmla="*/ 272384 h 1078499"/>
                <a:gd name="connsiteX315" fmla="*/ 2130053 w 3024845"/>
                <a:gd name="connsiteY315" fmla="*/ 255090 h 1078499"/>
                <a:gd name="connsiteX316" fmla="*/ 2144240 w 3024845"/>
                <a:gd name="connsiteY316" fmla="*/ 255090 h 1078499"/>
                <a:gd name="connsiteX317" fmla="*/ 2144240 w 3024845"/>
                <a:gd name="connsiteY317" fmla="*/ 233472 h 1078499"/>
                <a:gd name="connsiteX318" fmla="*/ 2146266 w 3024845"/>
                <a:gd name="connsiteY318" fmla="*/ 229148 h 1078499"/>
                <a:gd name="connsiteX319" fmla="*/ 2146266 w 3024845"/>
                <a:gd name="connsiteY319" fmla="*/ 151324 h 1078499"/>
                <a:gd name="connsiteX320" fmla="*/ 2144240 w 3024845"/>
                <a:gd name="connsiteY320" fmla="*/ 144839 h 1078499"/>
                <a:gd name="connsiteX321" fmla="*/ 2150320 w 3024845"/>
                <a:gd name="connsiteY321" fmla="*/ 138353 h 1078499"/>
                <a:gd name="connsiteX322" fmla="*/ 2150320 w 3024845"/>
                <a:gd name="connsiteY322" fmla="*/ 79985 h 1078499"/>
                <a:gd name="connsiteX323" fmla="*/ 2152346 w 3024845"/>
                <a:gd name="connsiteY323" fmla="*/ 75662 h 1078499"/>
                <a:gd name="connsiteX324" fmla="*/ 2152346 w 3024845"/>
                <a:gd name="connsiteY324" fmla="*/ 19456 h 1078499"/>
                <a:gd name="connsiteX325" fmla="*/ 2154373 w 3024845"/>
                <a:gd name="connsiteY325" fmla="*/ 0 h 1078499"/>
                <a:gd name="connsiteX326" fmla="*/ 2158427 w 3024845"/>
                <a:gd name="connsiteY326" fmla="*/ 17294 h 1078499"/>
                <a:gd name="connsiteX327" fmla="*/ 2160453 w 3024845"/>
                <a:gd name="connsiteY327" fmla="*/ 75662 h 1078499"/>
                <a:gd name="connsiteX328" fmla="*/ 2162480 w 3024845"/>
                <a:gd name="connsiteY328" fmla="*/ 138353 h 1078499"/>
                <a:gd name="connsiteX329" fmla="*/ 2168560 w 3024845"/>
                <a:gd name="connsiteY329" fmla="*/ 144839 h 1078499"/>
                <a:gd name="connsiteX330" fmla="*/ 2166533 w 3024845"/>
                <a:gd name="connsiteY330" fmla="*/ 151324 h 1078499"/>
                <a:gd name="connsiteX331" fmla="*/ 2166533 w 3024845"/>
                <a:gd name="connsiteY331" fmla="*/ 229148 h 1078499"/>
                <a:gd name="connsiteX332" fmla="*/ 2168560 w 3024845"/>
                <a:gd name="connsiteY332" fmla="*/ 233472 h 1078499"/>
                <a:gd name="connsiteX333" fmla="*/ 2168560 w 3024845"/>
                <a:gd name="connsiteY333" fmla="*/ 255090 h 1078499"/>
                <a:gd name="connsiteX334" fmla="*/ 2182747 w 3024845"/>
                <a:gd name="connsiteY334" fmla="*/ 255090 h 1078499"/>
                <a:gd name="connsiteX335" fmla="*/ 2182747 w 3024845"/>
                <a:gd name="connsiteY335" fmla="*/ 272384 h 1078499"/>
                <a:gd name="connsiteX336" fmla="*/ 2190854 w 3024845"/>
                <a:gd name="connsiteY336" fmla="*/ 296163 h 1078499"/>
                <a:gd name="connsiteX337" fmla="*/ 2184774 w 3024845"/>
                <a:gd name="connsiteY337" fmla="*/ 300487 h 1078499"/>
                <a:gd name="connsiteX338" fmla="*/ 2172613 w 3024845"/>
                <a:gd name="connsiteY338" fmla="*/ 322105 h 1078499"/>
                <a:gd name="connsiteX339" fmla="*/ 2180720 w 3024845"/>
                <a:gd name="connsiteY339" fmla="*/ 575033 h 1078499"/>
                <a:gd name="connsiteX340" fmla="*/ 2245574 w 3024845"/>
                <a:gd name="connsiteY340" fmla="*/ 575033 h 1078499"/>
                <a:gd name="connsiteX341" fmla="*/ 2245574 w 3024845"/>
                <a:gd name="connsiteY341" fmla="*/ 650695 h 1078499"/>
                <a:gd name="connsiteX342" fmla="*/ 2253681 w 3024845"/>
                <a:gd name="connsiteY342" fmla="*/ 650695 h 1078499"/>
                <a:gd name="connsiteX343" fmla="*/ 2255708 w 3024845"/>
                <a:gd name="connsiteY343" fmla="*/ 644210 h 1078499"/>
                <a:gd name="connsiteX344" fmla="*/ 2261788 w 3024845"/>
                <a:gd name="connsiteY344" fmla="*/ 644210 h 1078499"/>
                <a:gd name="connsiteX345" fmla="*/ 2263815 w 3024845"/>
                <a:gd name="connsiteY345" fmla="*/ 652857 h 1078499"/>
                <a:gd name="connsiteX346" fmla="*/ 2275975 w 3024845"/>
                <a:gd name="connsiteY346" fmla="*/ 652857 h 1078499"/>
                <a:gd name="connsiteX347" fmla="*/ 2275975 w 3024845"/>
                <a:gd name="connsiteY347" fmla="*/ 646371 h 1078499"/>
                <a:gd name="connsiteX348" fmla="*/ 2298268 w 3024845"/>
                <a:gd name="connsiteY348" fmla="*/ 646371 h 1078499"/>
                <a:gd name="connsiteX349" fmla="*/ 2298268 w 3024845"/>
                <a:gd name="connsiteY349" fmla="*/ 652857 h 1078499"/>
                <a:gd name="connsiteX350" fmla="*/ 2318535 w 3024845"/>
                <a:gd name="connsiteY350" fmla="*/ 652857 h 1078499"/>
                <a:gd name="connsiteX351" fmla="*/ 2318535 w 3024845"/>
                <a:gd name="connsiteY351" fmla="*/ 698254 h 1078499"/>
                <a:gd name="connsiteX352" fmla="*/ 2332722 w 3024845"/>
                <a:gd name="connsiteY352" fmla="*/ 698254 h 1078499"/>
                <a:gd name="connsiteX353" fmla="*/ 2332722 w 3024845"/>
                <a:gd name="connsiteY353" fmla="*/ 685283 h 1078499"/>
                <a:gd name="connsiteX354" fmla="*/ 2348936 w 3024845"/>
                <a:gd name="connsiteY354" fmla="*/ 685283 h 1078499"/>
                <a:gd name="connsiteX355" fmla="*/ 2348936 w 3024845"/>
                <a:gd name="connsiteY355" fmla="*/ 505856 h 1078499"/>
                <a:gd name="connsiteX356" fmla="*/ 2355016 w 3024845"/>
                <a:gd name="connsiteY356" fmla="*/ 499370 h 1078499"/>
                <a:gd name="connsiteX357" fmla="*/ 2427977 w 3024845"/>
                <a:gd name="connsiteY357" fmla="*/ 499370 h 1078499"/>
                <a:gd name="connsiteX358" fmla="*/ 2427977 w 3024845"/>
                <a:gd name="connsiteY358" fmla="*/ 508018 h 1078499"/>
                <a:gd name="connsiteX359" fmla="*/ 2438110 w 3024845"/>
                <a:gd name="connsiteY359" fmla="*/ 508018 h 1078499"/>
                <a:gd name="connsiteX360" fmla="*/ 2438110 w 3024845"/>
                <a:gd name="connsiteY360" fmla="*/ 622592 h 1078499"/>
                <a:gd name="connsiteX361" fmla="*/ 2460404 w 3024845"/>
                <a:gd name="connsiteY361" fmla="*/ 622592 h 1078499"/>
                <a:gd name="connsiteX362" fmla="*/ 2460404 w 3024845"/>
                <a:gd name="connsiteY362" fmla="*/ 555577 h 1078499"/>
                <a:gd name="connsiteX363" fmla="*/ 2486751 w 3024845"/>
                <a:gd name="connsiteY363" fmla="*/ 555577 h 1078499"/>
                <a:gd name="connsiteX364" fmla="*/ 2490804 w 3024845"/>
                <a:gd name="connsiteY364" fmla="*/ 551253 h 1078499"/>
                <a:gd name="connsiteX365" fmla="*/ 2498911 w 3024845"/>
                <a:gd name="connsiteY365" fmla="*/ 551253 h 1078499"/>
                <a:gd name="connsiteX366" fmla="*/ 2502964 w 3024845"/>
                <a:gd name="connsiteY366" fmla="*/ 555577 h 1078499"/>
                <a:gd name="connsiteX367" fmla="*/ 2525258 w 3024845"/>
                <a:gd name="connsiteY367" fmla="*/ 555577 h 1078499"/>
                <a:gd name="connsiteX368" fmla="*/ 2525258 w 3024845"/>
                <a:gd name="connsiteY368" fmla="*/ 438841 h 1078499"/>
                <a:gd name="connsiteX369" fmla="*/ 2582005 w 3024845"/>
                <a:gd name="connsiteY369" fmla="*/ 428032 h 1078499"/>
                <a:gd name="connsiteX370" fmla="*/ 2582005 w 3024845"/>
                <a:gd name="connsiteY370" fmla="*/ 429113 h 1078499"/>
                <a:gd name="connsiteX371" fmla="*/ 2582005 w 3024845"/>
                <a:gd name="connsiteY371" fmla="*/ 436679 h 1078499"/>
                <a:gd name="connsiteX372" fmla="*/ 2608352 w 3024845"/>
                <a:gd name="connsiteY372" fmla="*/ 436679 h 1078499"/>
                <a:gd name="connsiteX373" fmla="*/ 2608352 w 3024845"/>
                <a:gd name="connsiteY373" fmla="*/ 691769 h 1078499"/>
                <a:gd name="connsiteX374" fmla="*/ 2630646 w 3024845"/>
                <a:gd name="connsiteY374" fmla="*/ 691769 h 1078499"/>
                <a:gd name="connsiteX375" fmla="*/ 2630646 w 3024845"/>
                <a:gd name="connsiteY375" fmla="*/ 687445 h 1078499"/>
                <a:gd name="connsiteX376" fmla="*/ 2642806 w 3024845"/>
                <a:gd name="connsiteY376" fmla="*/ 687445 h 1078499"/>
                <a:gd name="connsiteX377" fmla="*/ 2642806 w 3024845"/>
                <a:gd name="connsiteY377" fmla="*/ 691769 h 1078499"/>
                <a:gd name="connsiteX378" fmla="*/ 2667126 w 3024845"/>
                <a:gd name="connsiteY378" fmla="*/ 691769 h 1078499"/>
                <a:gd name="connsiteX379" fmla="*/ 2667126 w 3024845"/>
                <a:gd name="connsiteY379" fmla="*/ 678798 h 1078499"/>
                <a:gd name="connsiteX380" fmla="*/ 2695500 w 3024845"/>
                <a:gd name="connsiteY380" fmla="*/ 678798 h 1078499"/>
                <a:gd name="connsiteX381" fmla="*/ 2707660 w 3024845"/>
                <a:gd name="connsiteY381" fmla="*/ 674474 h 1078499"/>
                <a:gd name="connsiteX382" fmla="*/ 2727927 w 3024845"/>
                <a:gd name="connsiteY382" fmla="*/ 678798 h 1078499"/>
                <a:gd name="connsiteX383" fmla="*/ 2727927 w 3024845"/>
                <a:gd name="connsiteY383" fmla="*/ 661504 h 1078499"/>
                <a:gd name="connsiteX384" fmla="*/ 2736034 w 3024845"/>
                <a:gd name="connsiteY384" fmla="*/ 661504 h 1078499"/>
                <a:gd name="connsiteX385" fmla="*/ 2736034 w 3024845"/>
                <a:gd name="connsiteY385" fmla="*/ 648533 h 1078499"/>
                <a:gd name="connsiteX386" fmla="*/ 2792781 w 3024845"/>
                <a:gd name="connsiteY386" fmla="*/ 648533 h 1078499"/>
                <a:gd name="connsiteX387" fmla="*/ 2792781 w 3024845"/>
                <a:gd name="connsiteY387" fmla="*/ 618268 h 1078499"/>
                <a:gd name="connsiteX388" fmla="*/ 2811021 w 3024845"/>
                <a:gd name="connsiteY388" fmla="*/ 618268 h 1078499"/>
                <a:gd name="connsiteX389" fmla="*/ 2811021 w 3024845"/>
                <a:gd name="connsiteY389" fmla="*/ 611783 h 1078499"/>
                <a:gd name="connsiteX390" fmla="*/ 2823181 w 3024845"/>
                <a:gd name="connsiteY390" fmla="*/ 611783 h 1078499"/>
                <a:gd name="connsiteX391" fmla="*/ 2823181 w 3024845"/>
                <a:gd name="connsiteY391" fmla="*/ 618268 h 1078499"/>
                <a:gd name="connsiteX392" fmla="*/ 2839395 w 3024845"/>
                <a:gd name="connsiteY392" fmla="*/ 618268 h 1078499"/>
                <a:gd name="connsiteX393" fmla="*/ 2839395 w 3024845"/>
                <a:gd name="connsiteY393" fmla="*/ 667989 h 1078499"/>
                <a:gd name="connsiteX394" fmla="*/ 2871822 w 3024845"/>
                <a:gd name="connsiteY394" fmla="*/ 667989 h 1078499"/>
                <a:gd name="connsiteX395" fmla="*/ 2871822 w 3024845"/>
                <a:gd name="connsiteY395" fmla="*/ 642048 h 1078499"/>
                <a:gd name="connsiteX396" fmla="*/ 2910329 w 3024845"/>
                <a:gd name="connsiteY396" fmla="*/ 642048 h 1078499"/>
                <a:gd name="connsiteX397" fmla="*/ 2910329 w 3024845"/>
                <a:gd name="connsiteY397" fmla="*/ 611783 h 1078499"/>
                <a:gd name="connsiteX398" fmla="*/ 2958970 w 3024845"/>
                <a:gd name="connsiteY398" fmla="*/ 611783 h 1078499"/>
                <a:gd name="connsiteX399" fmla="*/ 2958970 w 3024845"/>
                <a:gd name="connsiteY399" fmla="*/ 722939 h 1078499"/>
                <a:gd name="connsiteX400" fmla="*/ 2958970 w 3024845"/>
                <a:gd name="connsiteY400" fmla="*/ 736718 h 1078499"/>
                <a:gd name="connsiteX401" fmla="*/ 3024845 w 3024845"/>
                <a:gd name="connsiteY401" fmla="*/ 736718 h 1078499"/>
                <a:gd name="connsiteX402" fmla="*/ 3024845 w 3024845"/>
                <a:gd name="connsiteY402" fmla="*/ 1078499 h 1078499"/>
                <a:gd name="connsiteX403" fmla="*/ 2054 w 3024845"/>
                <a:gd name="connsiteY403" fmla="*/ 1076166 h 1078499"/>
                <a:gd name="connsiteX404" fmla="*/ 0 w 3024845"/>
                <a:gd name="connsiteY404" fmla="*/ 642048 h 1078499"/>
                <a:gd name="connsiteX405" fmla="*/ 20267 w 3024845"/>
                <a:gd name="connsiteY405" fmla="*/ 642048 h 1078499"/>
                <a:gd name="connsiteX406" fmla="*/ 20774 w 3024845"/>
                <a:gd name="connsiteY406" fmla="*/ 640967 h 1078499"/>
                <a:gd name="connsiteX407" fmla="*/ 24320 w 3024845"/>
                <a:gd name="connsiteY407" fmla="*/ 633401 h 1078499"/>
                <a:gd name="connsiteX408" fmla="*/ 26094 w 3024845"/>
                <a:gd name="connsiteY408" fmla="*/ 633671 h 1078499"/>
                <a:gd name="connsiteX409" fmla="*/ 38507 w 3024845"/>
                <a:gd name="connsiteY409" fmla="*/ 635562 h 1078499"/>
                <a:gd name="connsiteX410" fmla="*/ 39014 w 3024845"/>
                <a:gd name="connsiteY410" fmla="*/ 636914 h 1078499"/>
                <a:gd name="connsiteX411" fmla="*/ 42560 w 3024845"/>
                <a:gd name="connsiteY411" fmla="*/ 646371 h 1078499"/>
                <a:gd name="connsiteX412" fmla="*/ 68907 w 3024845"/>
                <a:gd name="connsiteY412" fmla="*/ 648533 h 1078499"/>
                <a:gd name="connsiteX413" fmla="*/ 68907 w 3024845"/>
                <a:gd name="connsiteY413" fmla="*/ 525312 h 1078499"/>
                <a:gd name="connsiteX414" fmla="*/ 70934 w 3024845"/>
                <a:gd name="connsiteY414" fmla="*/ 525312 h 1078499"/>
                <a:gd name="connsiteX415" fmla="*/ 85121 w 3024845"/>
                <a:gd name="connsiteY415" fmla="*/ 525312 h 1078499"/>
                <a:gd name="connsiteX416" fmla="*/ 85121 w 3024845"/>
                <a:gd name="connsiteY416" fmla="*/ 389120 h 1078499"/>
                <a:gd name="connsiteX417" fmla="*/ 86894 w 3024845"/>
                <a:gd name="connsiteY417" fmla="*/ 389120 h 1078499"/>
                <a:gd name="connsiteX418" fmla="*/ 99308 w 3024845"/>
                <a:gd name="connsiteY418" fmla="*/ 389120 h 1078499"/>
                <a:gd name="connsiteX419" fmla="*/ 99308 w 3024845"/>
                <a:gd name="connsiteY419" fmla="*/ 274546 h 1078499"/>
                <a:gd name="connsiteX420" fmla="*/ 103361 w 3024845"/>
                <a:gd name="connsiteY420" fmla="*/ 246442 h 1078499"/>
                <a:gd name="connsiteX421" fmla="*/ 105388 w 3024845"/>
                <a:gd name="connsiteY421" fmla="*/ 246442 h 1078499"/>
                <a:gd name="connsiteX422" fmla="*/ 119575 w 3024845"/>
                <a:gd name="connsiteY422" fmla="*/ 246442 h 1078499"/>
                <a:gd name="connsiteX423" fmla="*/ 156055 w 3024845"/>
                <a:gd name="connsiteY423" fmla="*/ 164295 h 1078499"/>
                <a:gd name="connsiteX0" fmla="*/ 119575 w 3024845"/>
                <a:gd name="connsiteY0" fmla="*/ 246442 h 1078499"/>
                <a:gd name="connsiteX1" fmla="*/ 162135 w 3024845"/>
                <a:gd name="connsiteY1" fmla="*/ 164295 h 1078499"/>
                <a:gd name="connsiteX2" fmla="*/ 200642 w 3024845"/>
                <a:gd name="connsiteY2" fmla="*/ 244281 h 1078499"/>
                <a:gd name="connsiteX3" fmla="*/ 202669 w 3024845"/>
                <a:gd name="connsiteY3" fmla="*/ 244281 h 1078499"/>
                <a:gd name="connsiteX4" fmla="*/ 216856 w 3024845"/>
                <a:gd name="connsiteY4" fmla="*/ 244281 h 1078499"/>
                <a:gd name="connsiteX5" fmla="*/ 216856 w 3024845"/>
                <a:gd name="connsiteY5" fmla="*/ 268060 h 1078499"/>
                <a:gd name="connsiteX6" fmla="*/ 217363 w 3024845"/>
                <a:gd name="connsiteY6" fmla="*/ 268871 h 1078499"/>
                <a:gd name="connsiteX7" fmla="*/ 220909 w 3024845"/>
                <a:gd name="connsiteY7" fmla="*/ 274546 h 1078499"/>
                <a:gd name="connsiteX8" fmla="*/ 220909 w 3024845"/>
                <a:gd name="connsiteY8" fmla="*/ 389120 h 1078499"/>
                <a:gd name="connsiteX9" fmla="*/ 223189 w 3024845"/>
                <a:gd name="connsiteY9" fmla="*/ 389120 h 1078499"/>
                <a:gd name="connsiteX10" fmla="*/ 239150 w 3024845"/>
                <a:gd name="connsiteY10" fmla="*/ 389120 h 1078499"/>
                <a:gd name="connsiteX11" fmla="*/ 239150 w 3024845"/>
                <a:gd name="connsiteY11" fmla="*/ 529635 h 1078499"/>
                <a:gd name="connsiteX12" fmla="*/ 240670 w 3024845"/>
                <a:gd name="connsiteY12" fmla="*/ 529365 h 1078499"/>
                <a:gd name="connsiteX13" fmla="*/ 251310 w 3024845"/>
                <a:gd name="connsiteY13" fmla="*/ 527474 h 1078499"/>
                <a:gd name="connsiteX14" fmla="*/ 249283 w 3024845"/>
                <a:gd name="connsiteY14" fmla="*/ 616106 h 1078499"/>
                <a:gd name="connsiteX15" fmla="*/ 250803 w 3024845"/>
                <a:gd name="connsiteY15" fmla="*/ 616377 h 1078499"/>
                <a:gd name="connsiteX16" fmla="*/ 261443 w 3024845"/>
                <a:gd name="connsiteY16" fmla="*/ 618268 h 1078499"/>
                <a:gd name="connsiteX17" fmla="*/ 261696 w 3024845"/>
                <a:gd name="connsiteY17" fmla="*/ 619079 h 1078499"/>
                <a:gd name="connsiteX18" fmla="*/ 263470 w 3024845"/>
                <a:gd name="connsiteY18" fmla="*/ 624754 h 1078499"/>
                <a:gd name="connsiteX19" fmla="*/ 264230 w 3024845"/>
                <a:gd name="connsiteY19" fmla="*/ 622322 h 1078499"/>
                <a:gd name="connsiteX20" fmla="*/ 269550 w 3024845"/>
                <a:gd name="connsiteY20" fmla="*/ 605298 h 1078499"/>
                <a:gd name="connsiteX21" fmla="*/ 271323 w 3024845"/>
                <a:gd name="connsiteY21" fmla="*/ 605298 h 1078499"/>
                <a:gd name="connsiteX22" fmla="*/ 283737 w 3024845"/>
                <a:gd name="connsiteY22" fmla="*/ 605298 h 1078499"/>
                <a:gd name="connsiteX23" fmla="*/ 283737 w 3024845"/>
                <a:gd name="connsiteY23" fmla="*/ 637724 h 1078499"/>
                <a:gd name="connsiteX24" fmla="*/ 284750 w 3024845"/>
                <a:gd name="connsiteY24" fmla="*/ 638265 h 1078499"/>
                <a:gd name="connsiteX25" fmla="*/ 291844 w 3024845"/>
                <a:gd name="connsiteY25" fmla="*/ 642048 h 1078499"/>
                <a:gd name="connsiteX26" fmla="*/ 291844 w 3024845"/>
                <a:gd name="connsiteY26" fmla="*/ 643399 h 1078499"/>
                <a:gd name="connsiteX27" fmla="*/ 291844 w 3024845"/>
                <a:gd name="connsiteY27" fmla="*/ 652857 h 1078499"/>
                <a:gd name="connsiteX28" fmla="*/ 336431 w 3024845"/>
                <a:gd name="connsiteY28" fmla="*/ 652857 h 1078499"/>
                <a:gd name="connsiteX29" fmla="*/ 336431 w 3024845"/>
                <a:gd name="connsiteY29" fmla="*/ 653938 h 1078499"/>
                <a:gd name="connsiteX30" fmla="*/ 336431 w 3024845"/>
                <a:gd name="connsiteY30" fmla="*/ 661504 h 1078499"/>
                <a:gd name="connsiteX31" fmla="*/ 338457 w 3024845"/>
                <a:gd name="connsiteY31" fmla="*/ 661504 h 1078499"/>
                <a:gd name="connsiteX32" fmla="*/ 352644 w 3024845"/>
                <a:gd name="connsiteY32" fmla="*/ 661504 h 1078499"/>
                <a:gd name="connsiteX33" fmla="*/ 352644 w 3024845"/>
                <a:gd name="connsiteY33" fmla="*/ 631239 h 1078499"/>
                <a:gd name="connsiteX34" fmla="*/ 397231 w 3024845"/>
                <a:gd name="connsiteY34" fmla="*/ 631239 h 1078499"/>
                <a:gd name="connsiteX35" fmla="*/ 397231 w 3024845"/>
                <a:gd name="connsiteY35" fmla="*/ 629888 h 1078499"/>
                <a:gd name="connsiteX36" fmla="*/ 397231 w 3024845"/>
                <a:gd name="connsiteY36" fmla="*/ 620430 h 1078499"/>
                <a:gd name="connsiteX37" fmla="*/ 398245 w 3024845"/>
                <a:gd name="connsiteY37" fmla="*/ 620430 h 1078499"/>
                <a:gd name="connsiteX38" fmla="*/ 405338 w 3024845"/>
                <a:gd name="connsiteY38" fmla="*/ 620430 h 1078499"/>
                <a:gd name="connsiteX39" fmla="*/ 405338 w 3024845"/>
                <a:gd name="connsiteY39" fmla="*/ 618539 h 1078499"/>
                <a:gd name="connsiteX40" fmla="*/ 405338 w 3024845"/>
                <a:gd name="connsiteY40" fmla="*/ 605298 h 1078499"/>
                <a:gd name="connsiteX41" fmla="*/ 406098 w 3024845"/>
                <a:gd name="connsiteY41" fmla="*/ 605298 h 1078499"/>
                <a:gd name="connsiteX42" fmla="*/ 411418 w 3024845"/>
                <a:gd name="connsiteY42" fmla="*/ 605298 h 1078499"/>
                <a:gd name="connsiteX43" fmla="*/ 411418 w 3024845"/>
                <a:gd name="connsiteY43" fmla="*/ 604217 h 1078499"/>
                <a:gd name="connsiteX44" fmla="*/ 411418 w 3024845"/>
                <a:gd name="connsiteY44" fmla="*/ 596650 h 1078499"/>
                <a:gd name="connsiteX45" fmla="*/ 413445 w 3024845"/>
                <a:gd name="connsiteY45" fmla="*/ 596650 h 1078499"/>
                <a:gd name="connsiteX46" fmla="*/ 427632 w 3024845"/>
                <a:gd name="connsiteY46" fmla="*/ 596650 h 1078499"/>
                <a:gd name="connsiteX47" fmla="*/ 427632 w 3024845"/>
                <a:gd name="connsiteY47" fmla="*/ 597731 h 1078499"/>
                <a:gd name="connsiteX48" fmla="*/ 427632 w 3024845"/>
                <a:gd name="connsiteY48" fmla="*/ 605298 h 1078499"/>
                <a:gd name="connsiteX49" fmla="*/ 449925 w 3024845"/>
                <a:gd name="connsiteY49" fmla="*/ 605298 h 1078499"/>
                <a:gd name="connsiteX50" fmla="*/ 449925 w 3024845"/>
                <a:gd name="connsiteY50" fmla="*/ 603406 h 1078499"/>
                <a:gd name="connsiteX51" fmla="*/ 449925 w 3024845"/>
                <a:gd name="connsiteY51" fmla="*/ 590165 h 1078499"/>
                <a:gd name="connsiteX52" fmla="*/ 451699 w 3024845"/>
                <a:gd name="connsiteY52" fmla="*/ 590165 h 1078499"/>
                <a:gd name="connsiteX53" fmla="*/ 464112 w 3024845"/>
                <a:gd name="connsiteY53" fmla="*/ 590165 h 1078499"/>
                <a:gd name="connsiteX54" fmla="*/ 464112 w 3024845"/>
                <a:gd name="connsiteY54" fmla="*/ 613945 h 1078499"/>
                <a:gd name="connsiteX55" fmla="*/ 465126 w 3024845"/>
                <a:gd name="connsiteY55" fmla="*/ 613945 h 1078499"/>
                <a:gd name="connsiteX56" fmla="*/ 472219 w 3024845"/>
                <a:gd name="connsiteY56" fmla="*/ 613945 h 1078499"/>
                <a:gd name="connsiteX57" fmla="*/ 472219 w 3024845"/>
                <a:gd name="connsiteY57" fmla="*/ 612864 h 1078499"/>
                <a:gd name="connsiteX58" fmla="*/ 472219 w 3024845"/>
                <a:gd name="connsiteY58" fmla="*/ 605298 h 1078499"/>
                <a:gd name="connsiteX59" fmla="*/ 473992 w 3024845"/>
                <a:gd name="connsiteY59" fmla="*/ 605298 h 1078499"/>
                <a:gd name="connsiteX60" fmla="*/ 486406 w 3024845"/>
                <a:gd name="connsiteY60" fmla="*/ 605298 h 1078499"/>
                <a:gd name="connsiteX61" fmla="*/ 486406 w 3024845"/>
                <a:gd name="connsiteY61" fmla="*/ 631239 h 1078499"/>
                <a:gd name="connsiteX62" fmla="*/ 488433 w 3024845"/>
                <a:gd name="connsiteY62" fmla="*/ 631239 h 1078499"/>
                <a:gd name="connsiteX63" fmla="*/ 502619 w 3024845"/>
                <a:gd name="connsiteY63" fmla="*/ 631239 h 1078499"/>
                <a:gd name="connsiteX64" fmla="*/ 502619 w 3024845"/>
                <a:gd name="connsiteY64" fmla="*/ 632860 h 1078499"/>
                <a:gd name="connsiteX65" fmla="*/ 502619 w 3024845"/>
                <a:gd name="connsiteY65" fmla="*/ 644210 h 1078499"/>
                <a:gd name="connsiteX66" fmla="*/ 503379 w 3024845"/>
                <a:gd name="connsiteY66" fmla="*/ 644210 h 1078499"/>
                <a:gd name="connsiteX67" fmla="*/ 508700 w 3024845"/>
                <a:gd name="connsiteY67" fmla="*/ 644210 h 1078499"/>
                <a:gd name="connsiteX68" fmla="*/ 508700 w 3024845"/>
                <a:gd name="connsiteY68" fmla="*/ 643399 h 1078499"/>
                <a:gd name="connsiteX69" fmla="*/ 508700 w 3024845"/>
                <a:gd name="connsiteY69" fmla="*/ 637724 h 1078499"/>
                <a:gd name="connsiteX70" fmla="*/ 539100 w 3024845"/>
                <a:gd name="connsiteY70" fmla="*/ 637724 h 1078499"/>
                <a:gd name="connsiteX71" fmla="*/ 539100 w 3024845"/>
                <a:gd name="connsiteY71" fmla="*/ 661504 h 1078499"/>
                <a:gd name="connsiteX72" fmla="*/ 540113 w 3024845"/>
                <a:gd name="connsiteY72" fmla="*/ 661504 h 1078499"/>
                <a:gd name="connsiteX73" fmla="*/ 547207 w 3024845"/>
                <a:gd name="connsiteY73" fmla="*/ 661504 h 1078499"/>
                <a:gd name="connsiteX74" fmla="*/ 547207 w 3024845"/>
                <a:gd name="connsiteY74" fmla="*/ 662585 h 1078499"/>
                <a:gd name="connsiteX75" fmla="*/ 547207 w 3024845"/>
                <a:gd name="connsiteY75" fmla="*/ 670151 h 1078499"/>
                <a:gd name="connsiteX76" fmla="*/ 547967 w 3024845"/>
                <a:gd name="connsiteY76" fmla="*/ 670151 h 1078499"/>
                <a:gd name="connsiteX77" fmla="*/ 553287 w 3024845"/>
                <a:gd name="connsiteY77" fmla="*/ 670151 h 1078499"/>
                <a:gd name="connsiteX78" fmla="*/ 553287 w 3024845"/>
                <a:gd name="connsiteY78" fmla="*/ 667989 h 1078499"/>
                <a:gd name="connsiteX79" fmla="*/ 553287 w 3024845"/>
                <a:gd name="connsiteY79" fmla="*/ 652857 h 1078499"/>
                <a:gd name="connsiteX80" fmla="*/ 554300 w 3024845"/>
                <a:gd name="connsiteY80" fmla="*/ 652857 h 1078499"/>
                <a:gd name="connsiteX81" fmla="*/ 561394 w 3024845"/>
                <a:gd name="connsiteY81" fmla="*/ 652857 h 1078499"/>
                <a:gd name="connsiteX82" fmla="*/ 561394 w 3024845"/>
                <a:gd name="connsiteY82" fmla="*/ 653938 h 1078499"/>
                <a:gd name="connsiteX83" fmla="*/ 561394 w 3024845"/>
                <a:gd name="connsiteY83" fmla="*/ 661504 h 1078499"/>
                <a:gd name="connsiteX84" fmla="*/ 566714 w 3024845"/>
                <a:gd name="connsiteY84" fmla="*/ 659511 h 1078499"/>
                <a:gd name="connsiteX85" fmla="*/ 567474 w 3024845"/>
                <a:gd name="connsiteY85" fmla="*/ 658531 h 1078499"/>
                <a:gd name="connsiteX86" fmla="*/ 567474 w 3024845"/>
                <a:gd name="connsiteY86" fmla="*/ 652857 h 1078499"/>
                <a:gd name="connsiteX87" fmla="*/ 605981 w 3024845"/>
                <a:gd name="connsiteY87" fmla="*/ 652857 h 1078499"/>
                <a:gd name="connsiteX88" fmla="*/ 605981 w 3024845"/>
                <a:gd name="connsiteY88" fmla="*/ 676636 h 1078499"/>
                <a:gd name="connsiteX89" fmla="*/ 608007 w 3024845"/>
                <a:gd name="connsiteY89" fmla="*/ 676636 h 1078499"/>
                <a:gd name="connsiteX90" fmla="*/ 622194 w 3024845"/>
                <a:gd name="connsiteY90" fmla="*/ 676636 h 1078499"/>
                <a:gd name="connsiteX91" fmla="*/ 622194 w 3024845"/>
                <a:gd name="connsiteY91" fmla="*/ 677717 h 1078499"/>
                <a:gd name="connsiteX92" fmla="*/ 622194 w 3024845"/>
                <a:gd name="connsiteY92" fmla="*/ 685283 h 1078499"/>
                <a:gd name="connsiteX93" fmla="*/ 623968 w 3024845"/>
                <a:gd name="connsiteY93" fmla="*/ 685283 h 1078499"/>
                <a:gd name="connsiteX94" fmla="*/ 636381 w 3024845"/>
                <a:gd name="connsiteY94" fmla="*/ 685283 h 1078499"/>
                <a:gd name="connsiteX95" fmla="*/ 636381 w 3024845"/>
                <a:gd name="connsiteY95" fmla="*/ 661504 h 1078499"/>
                <a:gd name="connsiteX96" fmla="*/ 637394 w 3024845"/>
                <a:gd name="connsiteY96" fmla="*/ 661504 h 1078499"/>
                <a:gd name="connsiteX97" fmla="*/ 644488 w 3024845"/>
                <a:gd name="connsiteY97" fmla="*/ 661504 h 1078499"/>
                <a:gd name="connsiteX98" fmla="*/ 644488 w 3024845"/>
                <a:gd name="connsiteY98" fmla="*/ 629077 h 1078499"/>
                <a:gd name="connsiteX99" fmla="*/ 645501 w 3024845"/>
                <a:gd name="connsiteY99" fmla="*/ 629077 h 1078499"/>
                <a:gd name="connsiteX100" fmla="*/ 652595 w 3024845"/>
                <a:gd name="connsiteY100" fmla="*/ 629077 h 1078499"/>
                <a:gd name="connsiteX101" fmla="*/ 652595 w 3024845"/>
                <a:gd name="connsiteY101" fmla="*/ 627186 h 1078499"/>
                <a:gd name="connsiteX102" fmla="*/ 652595 w 3024845"/>
                <a:gd name="connsiteY102" fmla="*/ 613945 h 1078499"/>
                <a:gd name="connsiteX103" fmla="*/ 651328 w 3024845"/>
                <a:gd name="connsiteY103" fmla="*/ 612323 h 1078499"/>
                <a:gd name="connsiteX104" fmla="*/ 656648 w 3024845"/>
                <a:gd name="connsiteY104" fmla="*/ 600974 h 1078499"/>
                <a:gd name="connsiteX105" fmla="*/ 664755 w 3024845"/>
                <a:gd name="connsiteY105" fmla="*/ 629077 h 1078499"/>
                <a:gd name="connsiteX106" fmla="*/ 665515 w 3024845"/>
                <a:gd name="connsiteY106" fmla="*/ 629077 h 1078499"/>
                <a:gd name="connsiteX107" fmla="*/ 670835 w 3024845"/>
                <a:gd name="connsiteY107" fmla="*/ 629077 h 1078499"/>
                <a:gd name="connsiteX108" fmla="*/ 670835 w 3024845"/>
                <a:gd name="connsiteY108" fmla="*/ 523150 h 1078499"/>
                <a:gd name="connsiteX109" fmla="*/ 672355 w 3024845"/>
                <a:gd name="connsiteY109" fmla="*/ 523150 h 1078499"/>
                <a:gd name="connsiteX110" fmla="*/ 682995 w 3024845"/>
                <a:gd name="connsiteY110" fmla="*/ 523150 h 1078499"/>
                <a:gd name="connsiteX111" fmla="*/ 682995 w 3024845"/>
                <a:gd name="connsiteY111" fmla="*/ 475591 h 1078499"/>
                <a:gd name="connsiteX112" fmla="*/ 709342 w 3024845"/>
                <a:gd name="connsiteY112" fmla="*/ 475591 h 1078499"/>
                <a:gd name="connsiteX113" fmla="*/ 709342 w 3024845"/>
                <a:gd name="connsiteY113" fmla="*/ 453973 h 1078499"/>
                <a:gd name="connsiteX114" fmla="*/ 743796 w 3024845"/>
                <a:gd name="connsiteY114" fmla="*/ 453973 h 1078499"/>
                <a:gd name="connsiteX115" fmla="*/ 743796 w 3024845"/>
                <a:gd name="connsiteY115" fmla="*/ 456405 h 1078499"/>
                <a:gd name="connsiteX116" fmla="*/ 743796 w 3024845"/>
                <a:gd name="connsiteY116" fmla="*/ 473429 h 1078499"/>
                <a:gd name="connsiteX117" fmla="*/ 746076 w 3024845"/>
                <a:gd name="connsiteY117" fmla="*/ 473429 h 1078499"/>
                <a:gd name="connsiteX118" fmla="*/ 762036 w 3024845"/>
                <a:gd name="connsiteY118" fmla="*/ 473429 h 1078499"/>
                <a:gd name="connsiteX119" fmla="*/ 762036 w 3024845"/>
                <a:gd name="connsiteY119" fmla="*/ 520988 h 1078499"/>
                <a:gd name="connsiteX120" fmla="*/ 763049 w 3024845"/>
                <a:gd name="connsiteY120" fmla="*/ 520988 h 1078499"/>
                <a:gd name="connsiteX121" fmla="*/ 770143 w 3024845"/>
                <a:gd name="connsiteY121" fmla="*/ 520988 h 1078499"/>
                <a:gd name="connsiteX122" fmla="*/ 784330 w 3024845"/>
                <a:gd name="connsiteY122" fmla="*/ 525312 h 1078499"/>
                <a:gd name="connsiteX123" fmla="*/ 784330 w 3024845"/>
                <a:gd name="connsiteY123" fmla="*/ 564224 h 1078499"/>
                <a:gd name="connsiteX124" fmla="*/ 785343 w 3024845"/>
                <a:gd name="connsiteY124" fmla="*/ 564224 h 1078499"/>
                <a:gd name="connsiteX125" fmla="*/ 792436 w 3024845"/>
                <a:gd name="connsiteY125" fmla="*/ 564224 h 1078499"/>
                <a:gd name="connsiteX126" fmla="*/ 792436 w 3024845"/>
                <a:gd name="connsiteY126" fmla="*/ 565845 h 1078499"/>
                <a:gd name="connsiteX127" fmla="*/ 792436 w 3024845"/>
                <a:gd name="connsiteY127" fmla="*/ 577194 h 1078499"/>
                <a:gd name="connsiteX128" fmla="*/ 794463 w 3024845"/>
                <a:gd name="connsiteY128" fmla="*/ 577194 h 1078499"/>
                <a:gd name="connsiteX129" fmla="*/ 808650 w 3024845"/>
                <a:gd name="connsiteY129" fmla="*/ 577194 h 1078499"/>
                <a:gd name="connsiteX130" fmla="*/ 814730 w 3024845"/>
                <a:gd name="connsiteY130" fmla="*/ 583680 h 1078499"/>
                <a:gd name="connsiteX131" fmla="*/ 814730 w 3024845"/>
                <a:gd name="connsiteY131" fmla="*/ 605298 h 1078499"/>
                <a:gd name="connsiteX132" fmla="*/ 817010 w 3024845"/>
                <a:gd name="connsiteY132" fmla="*/ 605298 h 1078499"/>
                <a:gd name="connsiteX133" fmla="*/ 832970 w 3024845"/>
                <a:gd name="connsiteY133" fmla="*/ 605298 h 1078499"/>
                <a:gd name="connsiteX134" fmla="*/ 832970 w 3024845"/>
                <a:gd name="connsiteY134" fmla="*/ 606378 h 1078499"/>
                <a:gd name="connsiteX135" fmla="*/ 832970 w 3024845"/>
                <a:gd name="connsiteY135" fmla="*/ 613945 h 1078499"/>
                <a:gd name="connsiteX136" fmla="*/ 834237 w 3024845"/>
                <a:gd name="connsiteY136" fmla="*/ 613945 h 1078499"/>
                <a:gd name="connsiteX137" fmla="*/ 843104 w 3024845"/>
                <a:gd name="connsiteY137" fmla="*/ 613945 h 1078499"/>
                <a:gd name="connsiteX138" fmla="*/ 843104 w 3024845"/>
                <a:gd name="connsiteY138" fmla="*/ 616106 h 1078499"/>
                <a:gd name="connsiteX139" fmla="*/ 843104 w 3024845"/>
                <a:gd name="connsiteY139" fmla="*/ 631239 h 1078499"/>
                <a:gd name="connsiteX140" fmla="*/ 847157 w 3024845"/>
                <a:gd name="connsiteY140" fmla="*/ 629347 h 1078499"/>
                <a:gd name="connsiteX141" fmla="*/ 847157 w 3024845"/>
                <a:gd name="connsiteY141" fmla="*/ 616106 h 1078499"/>
                <a:gd name="connsiteX142" fmla="*/ 848170 w 3024845"/>
                <a:gd name="connsiteY142" fmla="*/ 616106 h 1078499"/>
                <a:gd name="connsiteX143" fmla="*/ 855264 w 3024845"/>
                <a:gd name="connsiteY143" fmla="*/ 616106 h 1078499"/>
                <a:gd name="connsiteX144" fmla="*/ 855264 w 3024845"/>
                <a:gd name="connsiteY144" fmla="*/ 617728 h 1078499"/>
                <a:gd name="connsiteX145" fmla="*/ 855264 w 3024845"/>
                <a:gd name="connsiteY145" fmla="*/ 629077 h 1078499"/>
                <a:gd name="connsiteX146" fmla="*/ 856024 w 3024845"/>
                <a:gd name="connsiteY146" fmla="*/ 629077 h 1078499"/>
                <a:gd name="connsiteX147" fmla="*/ 861344 w 3024845"/>
                <a:gd name="connsiteY147" fmla="*/ 629077 h 1078499"/>
                <a:gd name="connsiteX148" fmla="*/ 909984 w 3024845"/>
                <a:gd name="connsiteY148" fmla="*/ 624754 h 1078499"/>
                <a:gd name="connsiteX149" fmla="*/ 909984 w 3024845"/>
                <a:gd name="connsiteY149" fmla="*/ 626105 h 1078499"/>
                <a:gd name="connsiteX150" fmla="*/ 909984 w 3024845"/>
                <a:gd name="connsiteY150" fmla="*/ 635562 h 1078499"/>
                <a:gd name="connsiteX151" fmla="*/ 910744 w 3024845"/>
                <a:gd name="connsiteY151" fmla="*/ 635562 h 1078499"/>
                <a:gd name="connsiteX152" fmla="*/ 916065 w 3024845"/>
                <a:gd name="connsiteY152" fmla="*/ 635562 h 1078499"/>
                <a:gd name="connsiteX153" fmla="*/ 916065 w 3024845"/>
                <a:gd name="connsiteY153" fmla="*/ 637724 h 1078499"/>
                <a:gd name="connsiteX154" fmla="*/ 916065 w 3024845"/>
                <a:gd name="connsiteY154" fmla="*/ 652857 h 1078499"/>
                <a:gd name="connsiteX155" fmla="*/ 918091 w 3024845"/>
                <a:gd name="connsiteY155" fmla="*/ 651506 h 1078499"/>
                <a:gd name="connsiteX156" fmla="*/ 932278 w 3024845"/>
                <a:gd name="connsiteY156" fmla="*/ 642048 h 1078499"/>
                <a:gd name="connsiteX157" fmla="*/ 938358 w 3024845"/>
                <a:gd name="connsiteY157" fmla="*/ 600974 h 1078499"/>
                <a:gd name="connsiteX158" fmla="*/ 939118 w 3024845"/>
                <a:gd name="connsiteY158" fmla="*/ 600704 h 1078499"/>
                <a:gd name="connsiteX159" fmla="*/ 944438 w 3024845"/>
                <a:gd name="connsiteY159" fmla="*/ 598812 h 1078499"/>
                <a:gd name="connsiteX160" fmla="*/ 946465 w 3024845"/>
                <a:gd name="connsiteY160" fmla="*/ 529635 h 1078499"/>
                <a:gd name="connsiteX161" fmla="*/ 948492 w 3024845"/>
                <a:gd name="connsiteY161" fmla="*/ 598812 h 1078499"/>
                <a:gd name="connsiteX162" fmla="*/ 949252 w 3024845"/>
                <a:gd name="connsiteY162" fmla="*/ 599082 h 1078499"/>
                <a:gd name="connsiteX163" fmla="*/ 954572 w 3024845"/>
                <a:gd name="connsiteY163" fmla="*/ 600974 h 1078499"/>
                <a:gd name="connsiteX164" fmla="*/ 954572 w 3024845"/>
                <a:gd name="connsiteY164" fmla="*/ 514503 h 1078499"/>
                <a:gd name="connsiteX165" fmla="*/ 958625 w 3024845"/>
                <a:gd name="connsiteY165" fmla="*/ 482076 h 1078499"/>
                <a:gd name="connsiteX166" fmla="*/ 997132 w 3024845"/>
                <a:gd name="connsiteY166" fmla="*/ 482076 h 1078499"/>
                <a:gd name="connsiteX167" fmla="*/ 997132 w 3024845"/>
                <a:gd name="connsiteY167" fmla="*/ 514503 h 1078499"/>
                <a:gd name="connsiteX168" fmla="*/ 997892 w 3024845"/>
                <a:gd name="connsiteY168" fmla="*/ 514503 h 1078499"/>
                <a:gd name="connsiteX169" fmla="*/ 1003212 w 3024845"/>
                <a:gd name="connsiteY169" fmla="*/ 514503 h 1078499"/>
                <a:gd name="connsiteX170" fmla="*/ 1003212 w 3024845"/>
                <a:gd name="connsiteY170" fmla="*/ 432355 h 1078499"/>
                <a:gd name="connsiteX171" fmla="*/ 1004986 w 3024845"/>
                <a:gd name="connsiteY171" fmla="*/ 432355 h 1078499"/>
                <a:gd name="connsiteX172" fmla="*/ 1017399 w 3024845"/>
                <a:gd name="connsiteY172" fmla="*/ 432355 h 1078499"/>
                <a:gd name="connsiteX173" fmla="*/ 1017399 w 3024845"/>
                <a:gd name="connsiteY173" fmla="*/ 430464 h 1078499"/>
                <a:gd name="connsiteX174" fmla="*/ 1017399 w 3024845"/>
                <a:gd name="connsiteY174" fmla="*/ 417223 h 1078499"/>
                <a:gd name="connsiteX175" fmla="*/ 1039693 w 3024845"/>
                <a:gd name="connsiteY175" fmla="*/ 417223 h 1078499"/>
                <a:gd name="connsiteX176" fmla="*/ 1039693 w 3024845"/>
                <a:gd name="connsiteY176" fmla="*/ 416142 h 1078499"/>
                <a:gd name="connsiteX177" fmla="*/ 1039693 w 3024845"/>
                <a:gd name="connsiteY177" fmla="*/ 408576 h 1078499"/>
                <a:gd name="connsiteX178" fmla="*/ 1041466 w 3024845"/>
                <a:gd name="connsiteY178" fmla="*/ 408576 h 1078499"/>
                <a:gd name="connsiteX179" fmla="*/ 1053880 w 3024845"/>
                <a:gd name="connsiteY179" fmla="*/ 408576 h 1078499"/>
                <a:gd name="connsiteX180" fmla="*/ 1053880 w 3024845"/>
                <a:gd name="connsiteY180" fmla="*/ 409657 h 1078499"/>
                <a:gd name="connsiteX181" fmla="*/ 1053880 w 3024845"/>
                <a:gd name="connsiteY181" fmla="*/ 417223 h 1078499"/>
                <a:gd name="connsiteX182" fmla="*/ 1054640 w 3024845"/>
                <a:gd name="connsiteY182" fmla="*/ 417223 h 1078499"/>
                <a:gd name="connsiteX183" fmla="*/ 1059960 w 3024845"/>
                <a:gd name="connsiteY183" fmla="*/ 417223 h 1078499"/>
                <a:gd name="connsiteX184" fmla="*/ 1070093 w 3024845"/>
                <a:gd name="connsiteY184" fmla="*/ 412899 h 1078499"/>
                <a:gd name="connsiteX185" fmla="*/ 1074146 w 3024845"/>
                <a:gd name="connsiteY185" fmla="*/ 416142 h 1078499"/>
                <a:gd name="connsiteX186" fmla="*/ 1074146 w 3024845"/>
                <a:gd name="connsiteY186" fmla="*/ 408576 h 1078499"/>
                <a:gd name="connsiteX187" fmla="*/ 1076426 w 3024845"/>
                <a:gd name="connsiteY187" fmla="*/ 408576 h 1078499"/>
                <a:gd name="connsiteX188" fmla="*/ 1092387 w 3024845"/>
                <a:gd name="connsiteY188" fmla="*/ 408576 h 1078499"/>
                <a:gd name="connsiteX189" fmla="*/ 1092387 w 3024845"/>
                <a:gd name="connsiteY189" fmla="*/ 409657 h 1078499"/>
                <a:gd name="connsiteX190" fmla="*/ 1092387 w 3024845"/>
                <a:gd name="connsiteY190" fmla="*/ 417223 h 1078499"/>
                <a:gd name="connsiteX191" fmla="*/ 1122787 w 3024845"/>
                <a:gd name="connsiteY191" fmla="*/ 417223 h 1078499"/>
                <a:gd name="connsiteX192" fmla="*/ 1122787 w 3024845"/>
                <a:gd name="connsiteY192" fmla="*/ 418844 h 1078499"/>
                <a:gd name="connsiteX193" fmla="*/ 1122787 w 3024845"/>
                <a:gd name="connsiteY193" fmla="*/ 430194 h 1078499"/>
                <a:gd name="connsiteX194" fmla="*/ 1149134 w 3024845"/>
                <a:gd name="connsiteY194" fmla="*/ 430194 h 1078499"/>
                <a:gd name="connsiteX195" fmla="*/ 1149134 w 3024845"/>
                <a:gd name="connsiteY195" fmla="*/ 460458 h 1078499"/>
                <a:gd name="connsiteX196" fmla="*/ 1149894 w 3024845"/>
                <a:gd name="connsiteY196" fmla="*/ 460458 h 1078499"/>
                <a:gd name="connsiteX197" fmla="*/ 1155214 w 3024845"/>
                <a:gd name="connsiteY197" fmla="*/ 460458 h 1078499"/>
                <a:gd name="connsiteX198" fmla="*/ 1155214 w 3024845"/>
                <a:gd name="connsiteY198" fmla="*/ 461539 h 1078499"/>
                <a:gd name="connsiteX199" fmla="*/ 1155214 w 3024845"/>
                <a:gd name="connsiteY199" fmla="*/ 469106 h 1078499"/>
                <a:gd name="connsiteX200" fmla="*/ 1159268 w 3024845"/>
                <a:gd name="connsiteY200" fmla="*/ 499370 h 1078499"/>
                <a:gd name="connsiteX201" fmla="*/ 1160028 w 3024845"/>
                <a:gd name="connsiteY201" fmla="*/ 499370 h 1078499"/>
                <a:gd name="connsiteX202" fmla="*/ 1165348 w 3024845"/>
                <a:gd name="connsiteY202" fmla="*/ 499370 h 1078499"/>
                <a:gd name="connsiteX203" fmla="*/ 1165348 w 3024845"/>
                <a:gd name="connsiteY203" fmla="*/ 500181 h 1078499"/>
                <a:gd name="connsiteX204" fmla="*/ 1165348 w 3024845"/>
                <a:gd name="connsiteY204" fmla="*/ 505856 h 1078499"/>
                <a:gd name="connsiteX205" fmla="*/ 1166361 w 3024845"/>
                <a:gd name="connsiteY205" fmla="*/ 505856 h 1078499"/>
                <a:gd name="connsiteX206" fmla="*/ 1173454 w 3024845"/>
                <a:gd name="connsiteY206" fmla="*/ 505856 h 1078499"/>
                <a:gd name="connsiteX207" fmla="*/ 1173454 w 3024845"/>
                <a:gd name="connsiteY207" fmla="*/ 536121 h 1078499"/>
                <a:gd name="connsiteX208" fmla="*/ 1175481 w 3024845"/>
                <a:gd name="connsiteY208" fmla="*/ 536121 h 1078499"/>
                <a:gd name="connsiteX209" fmla="*/ 1189668 w 3024845"/>
                <a:gd name="connsiteY209" fmla="*/ 536121 h 1078499"/>
                <a:gd name="connsiteX210" fmla="*/ 1189668 w 3024845"/>
                <a:gd name="connsiteY210" fmla="*/ 559900 h 1078499"/>
                <a:gd name="connsiteX211" fmla="*/ 1191695 w 3024845"/>
                <a:gd name="connsiteY211" fmla="*/ 561521 h 1078499"/>
                <a:gd name="connsiteX212" fmla="*/ 1191695 w 3024845"/>
                <a:gd name="connsiteY212" fmla="*/ 572871 h 1078499"/>
                <a:gd name="connsiteX213" fmla="*/ 1192455 w 3024845"/>
                <a:gd name="connsiteY213" fmla="*/ 572871 h 1078499"/>
                <a:gd name="connsiteX214" fmla="*/ 1197775 w 3024845"/>
                <a:gd name="connsiteY214" fmla="*/ 572871 h 1078499"/>
                <a:gd name="connsiteX215" fmla="*/ 1197775 w 3024845"/>
                <a:gd name="connsiteY215" fmla="*/ 596650 h 1078499"/>
                <a:gd name="connsiteX216" fmla="*/ 1199041 w 3024845"/>
                <a:gd name="connsiteY216" fmla="*/ 596650 h 1078499"/>
                <a:gd name="connsiteX217" fmla="*/ 1207908 w 3024845"/>
                <a:gd name="connsiteY217" fmla="*/ 596650 h 1078499"/>
                <a:gd name="connsiteX218" fmla="*/ 1209935 w 3024845"/>
                <a:gd name="connsiteY218" fmla="*/ 600704 h 1078499"/>
                <a:gd name="connsiteX219" fmla="*/ 1209935 w 3024845"/>
                <a:gd name="connsiteY219" fmla="*/ 613945 h 1078499"/>
                <a:gd name="connsiteX220" fmla="*/ 1211455 w 3024845"/>
                <a:gd name="connsiteY220" fmla="*/ 612053 h 1078499"/>
                <a:gd name="connsiteX221" fmla="*/ 1222095 w 3024845"/>
                <a:gd name="connsiteY221" fmla="*/ 598812 h 1078499"/>
                <a:gd name="connsiteX222" fmla="*/ 1250469 w 3024845"/>
                <a:gd name="connsiteY222" fmla="*/ 598812 h 1078499"/>
                <a:gd name="connsiteX223" fmla="*/ 1250469 w 3024845"/>
                <a:gd name="connsiteY223" fmla="*/ 685283 h 1078499"/>
                <a:gd name="connsiteX224" fmla="*/ 1251229 w 3024845"/>
                <a:gd name="connsiteY224" fmla="*/ 685283 h 1078499"/>
                <a:gd name="connsiteX225" fmla="*/ 1256549 w 3024845"/>
                <a:gd name="connsiteY225" fmla="*/ 685283 h 1078499"/>
                <a:gd name="connsiteX226" fmla="*/ 1257309 w 3024845"/>
                <a:gd name="connsiteY226" fmla="*/ 683932 h 1078499"/>
                <a:gd name="connsiteX227" fmla="*/ 1262629 w 3024845"/>
                <a:gd name="connsiteY227" fmla="*/ 674474 h 1078499"/>
                <a:gd name="connsiteX228" fmla="*/ 1262629 w 3024845"/>
                <a:gd name="connsiteY228" fmla="*/ 676366 h 1078499"/>
                <a:gd name="connsiteX229" fmla="*/ 1262629 w 3024845"/>
                <a:gd name="connsiteY229" fmla="*/ 689607 h 1078499"/>
                <a:gd name="connsiteX230" fmla="*/ 1266682 w 3024845"/>
                <a:gd name="connsiteY230" fmla="*/ 644210 h 1078499"/>
                <a:gd name="connsiteX231" fmla="*/ 1267442 w 3024845"/>
                <a:gd name="connsiteY231" fmla="*/ 644210 h 1078499"/>
                <a:gd name="connsiteX232" fmla="*/ 1272762 w 3024845"/>
                <a:gd name="connsiteY232" fmla="*/ 644210 h 1078499"/>
                <a:gd name="connsiteX233" fmla="*/ 1272762 w 3024845"/>
                <a:gd name="connsiteY233" fmla="*/ 579356 h 1078499"/>
                <a:gd name="connsiteX234" fmla="*/ 1273776 w 3024845"/>
                <a:gd name="connsiteY234" fmla="*/ 579356 h 1078499"/>
                <a:gd name="connsiteX235" fmla="*/ 1280869 w 3024845"/>
                <a:gd name="connsiteY235" fmla="*/ 579356 h 1078499"/>
                <a:gd name="connsiteX236" fmla="*/ 1293029 w 3024845"/>
                <a:gd name="connsiteY236" fmla="*/ 536121 h 1078499"/>
                <a:gd name="connsiteX237" fmla="*/ 1294296 w 3024845"/>
                <a:gd name="connsiteY237" fmla="*/ 536121 h 1078499"/>
                <a:gd name="connsiteX238" fmla="*/ 1303163 w 3024845"/>
                <a:gd name="connsiteY238" fmla="*/ 536121 h 1078499"/>
                <a:gd name="connsiteX239" fmla="*/ 1313296 w 3024845"/>
                <a:gd name="connsiteY239" fmla="*/ 579356 h 1078499"/>
                <a:gd name="connsiteX240" fmla="*/ 1314309 w 3024845"/>
                <a:gd name="connsiteY240" fmla="*/ 579356 h 1078499"/>
                <a:gd name="connsiteX241" fmla="*/ 1321403 w 3024845"/>
                <a:gd name="connsiteY241" fmla="*/ 579356 h 1078499"/>
                <a:gd name="connsiteX242" fmla="*/ 1321403 w 3024845"/>
                <a:gd name="connsiteY242" fmla="*/ 618268 h 1078499"/>
                <a:gd name="connsiteX243" fmla="*/ 1323176 w 3024845"/>
                <a:gd name="connsiteY243" fmla="*/ 618268 h 1078499"/>
                <a:gd name="connsiteX244" fmla="*/ 1335590 w 3024845"/>
                <a:gd name="connsiteY244" fmla="*/ 618268 h 1078499"/>
                <a:gd name="connsiteX245" fmla="*/ 1335590 w 3024845"/>
                <a:gd name="connsiteY245" fmla="*/ 620430 h 1078499"/>
                <a:gd name="connsiteX246" fmla="*/ 1335590 w 3024845"/>
                <a:gd name="connsiteY246" fmla="*/ 635562 h 1078499"/>
                <a:gd name="connsiteX247" fmla="*/ 1339643 w 3024845"/>
                <a:gd name="connsiteY247" fmla="*/ 633401 h 1078499"/>
                <a:gd name="connsiteX248" fmla="*/ 1339643 w 3024845"/>
                <a:gd name="connsiteY248" fmla="*/ 618268 h 1078499"/>
                <a:gd name="connsiteX249" fmla="*/ 1341163 w 3024845"/>
                <a:gd name="connsiteY249" fmla="*/ 618268 h 1078499"/>
                <a:gd name="connsiteX250" fmla="*/ 1351803 w 3024845"/>
                <a:gd name="connsiteY250" fmla="*/ 618268 h 1078499"/>
                <a:gd name="connsiteX251" fmla="*/ 1351803 w 3024845"/>
                <a:gd name="connsiteY251" fmla="*/ 619889 h 1078499"/>
                <a:gd name="connsiteX252" fmla="*/ 1351803 w 3024845"/>
                <a:gd name="connsiteY252" fmla="*/ 631239 h 1078499"/>
                <a:gd name="connsiteX253" fmla="*/ 1382204 w 3024845"/>
                <a:gd name="connsiteY253" fmla="*/ 631239 h 1078499"/>
                <a:gd name="connsiteX254" fmla="*/ 1382204 w 3024845"/>
                <a:gd name="connsiteY254" fmla="*/ 594489 h 1078499"/>
                <a:gd name="connsiteX255" fmla="*/ 1383470 w 3024845"/>
                <a:gd name="connsiteY255" fmla="*/ 594489 h 1078499"/>
                <a:gd name="connsiteX256" fmla="*/ 1392337 w 3024845"/>
                <a:gd name="connsiteY256" fmla="*/ 594489 h 1078499"/>
                <a:gd name="connsiteX257" fmla="*/ 1392337 w 3024845"/>
                <a:gd name="connsiteY257" fmla="*/ 616106 h 1078499"/>
                <a:gd name="connsiteX258" fmla="*/ 1394364 w 3024845"/>
                <a:gd name="connsiteY258" fmla="*/ 583680 h 1078499"/>
                <a:gd name="connsiteX259" fmla="*/ 1416657 w 3024845"/>
                <a:gd name="connsiteY259" fmla="*/ 583680 h 1078499"/>
                <a:gd name="connsiteX260" fmla="*/ 1416657 w 3024845"/>
                <a:gd name="connsiteY260" fmla="*/ 582058 h 1078499"/>
                <a:gd name="connsiteX261" fmla="*/ 1416657 w 3024845"/>
                <a:gd name="connsiteY261" fmla="*/ 570709 h 1078499"/>
                <a:gd name="connsiteX262" fmla="*/ 1417417 w 3024845"/>
                <a:gd name="connsiteY262" fmla="*/ 570709 h 1078499"/>
                <a:gd name="connsiteX263" fmla="*/ 1422737 w 3024845"/>
                <a:gd name="connsiteY263" fmla="*/ 570709 h 1078499"/>
                <a:gd name="connsiteX264" fmla="*/ 1422737 w 3024845"/>
                <a:gd name="connsiteY264" fmla="*/ 568818 h 1078499"/>
                <a:gd name="connsiteX265" fmla="*/ 1422737 w 3024845"/>
                <a:gd name="connsiteY265" fmla="*/ 555577 h 1078499"/>
                <a:gd name="connsiteX266" fmla="*/ 1426791 w 3024845"/>
                <a:gd name="connsiteY266" fmla="*/ 562062 h 1078499"/>
                <a:gd name="connsiteX267" fmla="*/ 1429071 w 3024845"/>
                <a:gd name="connsiteY267" fmla="*/ 562062 h 1078499"/>
                <a:gd name="connsiteX268" fmla="*/ 1445031 w 3024845"/>
                <a:gd name="connsiteY268" fmla="*/ 562062 h 1078499"/>
                <a:gd name="connsiteX269" fmla="*/ 1445031 w 3024845"/>
                <a:gd name="connsiteY269" fmla="*/ 561251 h 1078499"/>
                <a:gd name="connsiteX270" fmla="*/ 1445031 w 3024845"/>
                <a:gd name="connsiteY270" fmla="*/ 555577 h 1078499"/>
                <a:gd name="connsiteX271" fmla="*/ 1445791 w 3024845"/>
                <a:gd name="connsiteY271" fmla="*/ 555577 h 1078499"/>
                <a:gd name="connsiteX272" fmla="*/ 1451111 w 3024845"/>
                <a:gd name="connsiteY272" fmla="*/ 555577 h 1078499"/>
                <a:gd name="connsiteX273" fmla="*/ 1451111 w 3024845"/>
                <a:gd name="connsiteY273" fmla="*/ 556928 h 1078499"/>
                <a:gd name="connsiteX274" fmla="*/ 1451111 w 3024845"/>
                <a:gd name="connsiteY274" fmla="*/ 566386 h 1078499"/>
                <a:gd name="connsiteX275" fmla="*/ 1489618 w 3024845"/>
                <a:gd name="connsiteY275" fmla="*/ 566386 h 1078499"/>
                <a:gd name="connsiteX276" fmla="*/ 1489618 w 3024845"/>
                <a:gd name="connsiteY276" fmla="*/ 704739 h 1078499"/>
                <a:gd name="connsiteX277" fmla="*/ 1491138 w 3024845"/>
                <a:gd name="connsiteY277" fmla="*/ 704739 h 1078499"/>
                <a:gd name="connsiteX278" fmla="*/ 1501778 w 3024845"/>
                <a:gd name="connsiteY278" fmla="*/ 704739 h 1078499"/>
                <a:gd name="connsiteX279" fmla="*/ 1501778 w 3024845"/>
                <a:gd name="connsiteY279" fmla="*/ 691769 h 1078499"/>
                <a:gd name="connsiteX280" fmla="*/ 1505832 w 3024845"/>
                <a:gd name="connsiteY280" fmla="*/ 691769 h 1078499"/>
                <a:gd name="connsiteX281" fmla="*/ 1505832 w 3024845"/>
                <a:gd name="connsiteY281" fmla="*/ 704739 h 1078499"/>
                <a:gd name="connsiteX282" fmla="*/ 1536232 w 3024845"/>
                <a:gd name="connsiteY282" fmla="*/ 704739 h 1078499"/>
                <a:gd name="connsiteX283" fmla="*/ 1536232 w 3024845"/>
                <a:gd name="connsiteY283" fmla="*/ 674474 h 1078499"/>
                <a:gd name="connsiteX284" fmla="*/ 1548392 w 3024845"/>
                <a:gd name="connsiteY284" fmla="*/ 674474 h 1078499"/>
                <a:gd name="connsiteX285" fmla="*/ 1560552 w 3024845"/>
                <a:gd name="connsiteY285" fmla="*/ 672313 h 1078499"/>
                <a:gd name="connsiteX286" fmla="*/ 1564606 w 3024845"/>
                <a:gd name="connsiteY286" fmla="*/ 674474 h 1078499"/>
                <a:gd name="connsiteX287" fmla="*/ 1574739 w 3024845"/>
                <a:gd name="connsiteY287" fmla="*/ 674474 h 1078499"/>
                <a:gd name="connsiteX288" fmla="*/ 1574739 w 3024845"/>
                <a:gd name="connsiteY288" fmla="*/ 704739 h 1078499"/>
                <a:gd name="connsiteX289" fmla="*/ 1582846 w 3024845"/>
                <a:gd name="connsiteY289" fmla="*/ 704739 h 1078499"/>
                <a:gd name="connsiteX290" fmla="*/ 1582846 w 3024845"/>
                <a:gd name="connsiteY290" fmla="*/ 722034 h 1078499"/>
                <a:gd name="connsiteX291" fmla="*/ 1592182 w 3024845"/>
                <a:gd name="connsiteY291" fmla="*/ 722939 h 1078499"/>
                <a:gd name="connsiteX292" fmla="*/ 1605140 w 3024845"/>
                <a:gd name="connsiteY292" fmla="*/ 722939 h 1078499"/>
                <a:gd name="connsiteX293" fmla="*/ 1605140 w 3024845"/>
                <a:gd name="connsiteY293" fmla="*/ 706901 h 1078499"/>
                <a:gd name="connsiteX294" fmla="*/ 1673096 w 3024845"/>
                <a:gd name="connsiteY294" fmla="*/ 706901 h 1078499"/>
                <a:gd name="connsiteX295" fmla="*/ 1673096 w 3024845"/>
                <a:gd name="connsiteY295" fmla="*/ 621648 h 1078499"/>
                <a:gd name="connsiteX296" fmla="*/ 1745104 w 3024845"/>
                <a:gd name="connsiteY296" fmla="*/ 621648 h 1078499"/>
                <a:gd name="connsiteX297" fmla="*/ 1745104 w 3024845"/>
                <a:gd name="connsiteY297" fmla="*/ 700416 h 1078499"/>
                <a:gd name="connsiteX298" fmla="*/ 1747008 w 3024845"/>
                <a:gd name="connsiteY298" fmla="*/ 700416 h 1078499"/>
                <a:gd name="connsiteX299" fmla="*/ 1748250 w 3024845"/>
                <a:gd name="connsiteY299" fmla="*/ 722939 h 1078499"/>
                <a:gd name="connsiteX300" fmla="*/ 1757926 w 3024845"/>
                <a:gd name="connsiteY300" fmla="*/ 722939 h 1078499"/>
                <a:gd name="connsiteX301" fmla="*/ 1759168 w 3024845"/>
                <a:gd name="connsiteY301" fmla="*/ 700416 h 1078499"/>
                <a:gd name="connsiteX302" fmla="*/ 1765248 w 3024845"/>
                <a:gd name="connsiteY302" fmla="*/ 700416 h 1078499"/>
                <a:gd name="connsiteX303" fmla="*/ 1766490 w 3024845"/>
                <a:gd name="connsiteY303" fmla="*/ 722939 h 1078499"/>
                <a:gd name="connsiteX304" fmla="*/ 1817112 w 3024845"/>
                <a:gd name="connsiteY304" fmla="*/ 722939 h 1078499"/>
                <a:gd name="connsiteX305" fmla="*/ 1817112 w 3024845"/>
                <a:gd name="connsiteY305" fmla="*/ 559911 h 1078499"/>
                <a:gd name="connsiteX306" fmla="*/ 2014439 w 3024845"/>
                <a:gd name="connsiteY306" fmla="*/ 559911 h 1078499"/>
                <a:gd name="connsiteX307" fmla="*/ 2014439 w 3024845"/>
                <a:gd name="connsiteY307" fmla="*/ 722939 h 1078499"/>
                <a:gd name="connsiteX308" fmla="*/ 2033136 w 3024845"/>
                <a:gd name="connsiteY308" fmla="*/ 722939 h 1078499"/>
                <a:gd name="connsiteX309" fmla="*/ 2033136 w 3024845"/>
                <a:gd name="connsiteY309" fmla="*/ 640246 h 1078499"/>
                <a:gd name="connsiteX310" fmla="*/ 2128256 w 3024845"/>
                <a:gd name="connsiteY310" fmla="*/ 640246 h 1078499"/>
                <a:gd name="connsiteX311" fmla="*/ 2140186 w 3024845"/>
                <a:gd name="connsiteY311" fmla="*/ 322105 h 1078499"/>
                <a:gd name="connsiteX312" fmla="*/ 2128026 w 3024845"/>
                <a:gd name="connsiteY312" fmla="*/ 300487 h 1078499"/>
                <a:gd name="connsiteX313" fmla="*/ 2121946 w 3024845"/>
                <a:gd name="connsiteY313" fmla="*/ 296163 h 1078499"/>
                <a:gd name="connsiteX314" fmla="*/ 2130053 w 3024845"/>
                <a:gd name="connsiteY314" fmla="*/ 272384 h 1078499"/>
                <a:gd name="connsiteX315" fmla="*/ 2130053 w 3024845"/>
                <a:gd name="connsiteY315" fmla="*/ 255090 h 1078499"/>
                <a:gd name="connsiteX316" fmla="*/ 2144240 w 3024845"/>
                <a:gd name="connsiteY316" fmla="*/ 255090 h 1078499"/>
                <a:gd name="connsiteX317" fmla="*/ 2144240 w 3024845"/>
                <a:gd name="connsiteY317" fmla="*/ 233472 h 1078499"/>
                <a:gd name="connsiteX318" fmla="*/ 2146266 w 3024845"/>
                <a:gd name="connsiteY318" fmla="*/ 229148 h 1078499"/>
                <a:gd name="connsiteX319" fmla="*/ 2146266 w 3024845"/>
                <a:gd name="connsiteY319" fmla="*/ 151324 h 1078499"/>
                <a:gd name="connsiteX320" fmla="*/ 2144240 w 3024845"/>
                <a:gd name="connsiteY320" fmla="*/ 144839 h 1078499"/>
                <a:gd name="connsiteX321" fmla="*/ 2150320 w 3024845"/>
                <a:gd name="connsiteY321" fmla="*/ 138353 h 1078499"/>
                <a:gd name="connsiteX322" fmla="*/ 2150320 w 3024845"/>
                <a:gd name="connsiteY322" fmla="*/ 79985 h 1078499"/>
                <a:gd name="connsiteX323" fmla="*/ 2152346 w 3024845"/>
                <a:gd name="connsiteY323" fmla="*/ 75662 h 1078499"/>
                <a:gd name="connsiteX324" fmla="*/ 2152346 w 3024845"/>
                <a:gd name="connsiteY324" fmla="*/ 19456 h 1078499"/>
                <a:gd name="connsiteX325" fmla="*/ 2154373 w 3024845"/>
                <a:gd name="connsiteY325" fmla="*/ 0 h 1078499"/>
                <a:gd name="connsiteX326" fmla="*/ 2158427 w 3024845"/>
                <a:gd name="connsiteY326" fmla="*/ 17294 h 1078499"/>
                <a:gd name="connsiteX327" fmla="*/ 2160453 w 3024845"/>
                <a:gd name="connsiteY327" fmla="*/ 75662 h 1078499"/>
                <a:gd name="connsiteX328" fmla="*/ 2162480 w 3024845"/>
                <a:gd name="connsiteY328" fmla="*/ 138353 h 1078499"/>
                <a:gd name="connsiteX329" fmla="*/ 2168560 w 3024845"/>
                <a:gd name="connsiteY329" fmla="*/ 144839 h 1078499"/>
                <a:gd name="connsiteX330" fmla="*/ 2166533 w 3024845"/>
                <a:gd name="connsiteY330" fmla="*/ 151324 h 1078499"/>
                <a:gd name="connsiteX331" fmla="*/ 2166533 w 3024845"/>
                <a:gd name="connsiteY331" fmla="*/ 229148 h 1078499"/>
                <a:gd name="connsiteX332" fmla="*/ 2168560 w 3024845"/>
                <a:gd name="connsiteY332" fmla="*/ 233472 h 1078499"/>
                <a:gd name="connsiteX333" fmla="*/ 2168560 w 3024845"/>
                <a:gd name="connsiteY333" fmla="*/ 255090 h 1078499"/>
                <a:gd name="connsiteX334" fmla="*/ 2182747 w 3024845"/>
                <a:gd name="connsiteY334" fmla="*/ 255090 h 1078499"/>
                <a:gd name="connsiteX335" fmla="*/ 2182747 w 3024845"/>
                <a:gd name="connsiteY335" fmla="*/ 272384 h 1078499"/>
                <a:gd name="connsiteX336" fmla="*/ 2190854 w 3024845"/>
                <a:gd name="connsiteY336" fmla="*/ 296163 h 1078499"/>
                <a:gd name="connsiteX337" fmla="*/ 2184774 w 3024845"/>
                <a:gd name="connsiteY337" fmla="*/ 300487 h 1078499"/>
                <a:gd name="connsiteX338" fmla="*/ 2172613 w 3024845"/>
                <a:gd name="connsiteY338" fmla="*/ 322105 h 1078499"/>
                <a:gd name="connsiteX339" fmla="*/ 2180720 w 3024845"/>
                <a:gd name="connsiteY339" fmla="*/ 575033 h 1078499"/>
                <a:gd name="connsiteX340" fmla="*/ 2245574 w 3024845"/>
                <a:gd name="connsiteY340" fmla="*/ 575033 h 1078499"/>
                <a:gd name="connsiteX341" fmla="*/ 2245574 w 3024845"/>
                <a:gd name="connsiteY341" fmla="*/ 650695 h 1078499"/>
                <a:gd name="connsiteX342" fmla="*/ 2253681 w 3024845"/>
                <a:gd name="connsiteY342" fmla="*/ 650695 h 1078499"/>
                <a:gd name="connsiteX343" fmla="*/ 2255708 w 3024845"/>
                <a:gd name="connsiteY343" fmla="*/ 644210 h 1078499"/>
                <a:gd name="connsiteX344" fmla="*/ 2261788 w 3024845"/>
                <a:gd name="connsiteY344" fmla="*/ 644210 h 1078499"/>
                <a:gd name="connsiteX345" fmla="*/ 2263815 w 3024845"/>
                <a:gd name="connsiteY345" fmla="*/ 652857 h 1078499"/>
                <a:gd name="connsiteX346" fmla="*/ 2275975 w 3024845"/>
                <a:gd name="connsiteY346" fmla="*/ 652857 h 1078499"/>
                <a:gd name="connsiteX347" fmla="*/ 2275975 w 3024845"/>
                <a:gd name="connsiteY347" fmla="*/ 646371 h 1078499"/>
                <a:gd name="connsiteX348" fmla="*/ 2298268 w 3024845"/>
                <a:gd name="connsiteY348" fmla="*/ 646371 h 1078499"/>
                <a:gd name="connsiteX349" fmla="*/ 2298268 w 3024845"/>
                <a:gd name="connsiteY349" fmla="*/ 652857 h 1078499"/>
                <a:gd name="connsiteX350" fmla="*/ 2318535 w 3024845"/>
                <a:gd name="connsiteY350" fmla="*/ 652857 h 1078499"/>
                <a:gd name="connsiteX351" fmla="*/ 2318535 w 3024845"/>
                <a:gd name="connsiteY351" fmla="*/ 698254 h 1078499"/>
                <a:gd name="connsiteX352" fmla="*/ 2332722 w 3024845"/>
                <a:gd name="connsiteY352" fmla="*/ 698254 h 1078499"/>
                <a:gd name="connsiteX353" fmla="*/ 2332722 w 3024845"/>
                <a:gd name="connsiteY353" fmla="*/ 685283 h 1078499"/>
                <a:gd name="connsiteX354" fmla="*/ 2348936 w 3024845"/>
                <a:gd name="connsiteY354" fmla="*/ 685283 h 1078499"/>
                <a:gd name="connsiteX355" fmla="*/ 2348936 w 3024845"/>
                <a:gd name="connsiteY355" fmla="*/ 505856 h 1078499"/>
                <a:gd name="connsiteX356" fmla="*/ 2355016 w 3024845"/>
                <a:gd name="connsiteY356" fmla="*/ 499370 h 1078499"/>
                <a:gd name="connsiteX357" fmla="*/ 2427977 w 3024845"/>
                <a:gd name="connsiteY357" fmla="*/ 499370 h 1078499"/>
                <a:gd name="connsiteX358" fmla="*/ 2427977 w 3024845"/>
                <a:gd name="connsiteY358" fmla="*/ 508018 h 1078499"/>
                <a:gd name="connsiteX359" fmla="*/ 2438110 w 3024845"/>
                <a:gd name="connsiteY359" fmla="*/ 508018 h 1078499"/>
                <a:gd name="connsiteX360" fmla="*/ 2438110 w 3024845"/>
                <a:gd name="connsiteY360" fmla="*/ 622592 h 1078499"/>
                <a:gd name="connsiteX361" fmla="*/ 2460404 w 3024845"/>
                <a:gd name="connsiteY361" fmla="*/ 622592 h 1078499"/>
                <a:gd name="connsiteX362" fmla="*/ 2460404 w 3024845"/>
                <a:gd name="connsiteY362" fmla="*/ 555577 h 1078499"/>
                <a:gd name="connsiteX363" fmla="*/ 2486751 w 3024845"/>
                <a:gd name="connsiteY363" fmla="*/ 555577 h 1078499"/>
                <a:gd name="connsiteX364" fmla="*/ 2490804 w 3024845"/>
                <a:gd name="connsiteY364" fmla="*/ 551253 h 1078499"/>
                <a:gd name="connsiteX365" fmla="*/ 2498911 w 3024845"/>
                <a:gd name="connsiteY365" fmla="*/ 551253 h 1078499"/>
                <a:gd name="connsiteX366" fmla="*/ 2502964 w 3024845"/>
                <a:gd name="connsiteY366" fmla="*/ 555577 h 1078499"/>
                <a:gd name="connsiteX367" fmla="*/ 2525258 w 3024845"/>
                <a:gd name="connsiteY367" fmla="*/ 555577 h 1078499"/>
                <a:gd name="connsiteX368" fmla="*/ 2525258 w 3024845"/>
                <a:gd name="connsiteY368" fmla="*/ 438841 h 1078499"/>
                <a:gd name="connsiteX369" fmla="*/ 2582005 w 3024845"/>
                <a:gd name="connsiteY369" fmla="*/ 428032 h 1078499"/>
                <a:gd name="connsiteX370" fmla="*/ 2582005 w 3024845"/>
                <a:gd name="connsiteY370" fmla="*/ 429113 h 1078499"/>
                <a:gd name="connsiteX371" fmla="*/ 2582005 w 3024845"/>
                <a:gd name="connsiteY371" fmla="*/ 436679 h 1078499"/>
                <a:gd name="connsiteX372" fmla="*/ 2608352 w 3024845"/>
                <a:gd name="connsiteY372" fmla="*/ 436679 h 1078499"/>
                <a:gd name="connsiteX373" fmla="*/ 2608352 w 3024845"/>
                <a:gd name="connsiteY373" fmla="*/ 691769 h 1078499"/>
                <a:gd name="connsiteX374" fmla="*/ 2630646 w 3024845"/>
                <a:gd name="connsiteY374" fmla="*/ 691769 h 1078499"/>
                <a:gd name="connsiteX375" fmla="*/ 2630646 w 3024845"/>
                <a:gd name="connsiteY375" fmla="*/ 687445 h 1078499"/>
                <a:gd name="connsiteX376" fmla="*/ 2642806 w 3024845"/>
                <a:gd name="connsiteY376" fmla="*/ 687445 h 1078499"/>
                <a:gd name="connsiteX377" fmla="*/ 2642806 w 3024845"/>
                <a:gd name="connsiteY377" fmla="*/ 691769 h 1078499"/>
                <a:gd name="connsiteX378" fmla="*/ 2667126 w 3024845"/>
                <a:gd name="connsiteY378" fmla="*/ 691769 h 1078499"/>
                <a:gd name="connsiteX379" fmla="*/ 2667126 w 3024845"/>
                <a:gd name="connsiteY379" fmla="*/ 678798 h 1078499"/>
                <a:gd name="connsiteX380" fmla="*/ 2695500 w 3024845"/>
                <a:gd name="connsiteY380" fmla="*/ 678798 h 1078499"/>
                <a:gd name="connsiteX381" fmla="*/ 2707660 w 3024845"/>
                <a:gd name="connsiteY381" fmla="*/ 674474 h 1078499"/>
                <a:gd name="connsiteX382" fmla="*/ 2727927 w 3024845"/>
                <a:gd name="connsiteY382" fmla="*/ 678798 h 1078499"/>
                <a:gd name="connsiteX383" fmla="*/ 2727927 w 3024845"/>
                <a:gd name="connsiteY383" fmla="*/ 661504 h 1078499"/>
                <a:gd name="connsiteX384" fmla="*/ 2736034 w 3024845"/>
                <a:gd name="connsiteY384" fmla="*/ 661504 h 1078499"/>
                <a:gd name="connsiteX385" fmla="*/ 2736034 w 3024845"/>
                <a:gd name="connsiteY385" fmla="*/ 648533 h 1078499"/>
                <a:gd name="connsiteX386" fmla="*/ 2792781 w 3024845"/>
                <a:gd name="connsiteY386" fmla="*/ 648533 h 1078499"/>
                <a:gd name="connsiteX387" fmla="*/ 2792781 w 3024845"/>
                <a:gd name="connsiteY387" fmla="*/ 618268 h 1078499"/>
                <a:gd name="connsiteX388" fmla="*/ 2811021 w 3024845"/>
                <a:gd name="connsiteY388" fmla="*/ 618268 h 1078499"/>
                <a:gd name="connsiteX389" fmla="*/ 2811021 w 3024845"/>
                <a:gd name="connsiteY389" fmla="*/ 611783 h 1078499"/>
                <a:gd name="connsiteX390" fmla="*/ 2823181 w 3024845"/>
                <a:gd name="connsiteY390" fmla="*/ 611783 h 1078499"/>
                <a:gd name="connsiteX391" fmla="*/ 2823181 w 3024845"/>
                <a:gd name="connsiteY391" fmla="*/ 618268 h 1078499"/>
                <a:gd name="connsiteX392" fmla="*/ 2839395 w 3024845"/>
                <a:gd name="connsiteY392" fmla="*/ 618268 h 1078499"/>
                <a:gd name="connsiteX393" fmla="*/ 2839395 w 3024845"/>
                <a:gd name="connsiteY393" fmla="*/ 667989 h 1078499"/>
                <a:gd name="connsiteX394" fmla="*/ 2871822 w 3024845"/>
                <a:gd name="connsiteY394" fmla="*/ 667989 h 1078499"/>
                <a:gd name="connsiteX395" fmla="*/ 2871822 w 3024845"/>
                <a:gd name="connsiteY395" fmla="*/ 642048 h 1078499"/>
                <a:gd name="connsiteX396" fmla="*/ 2910329 w 3024845"/>
                <a:gd name="connsiteY396" fmla="*/ 642048 h 1078499"/>
                <a:gd name="connsiteX397" fmla="*/ 2910329 w 3024845"/>
                <a:gd name="connsiteY397" fmla="*/ 611783 h 1078499"/>
                <a:gd name="connsiteX398" fmla="*/ 2958970 w 3024845"/>
                <a:gd name="connsiteY398" fmla="*/ 611783 h 1078499"/>
                <a:gd name="connsiteX399" fmla="*/ 2958970 w 3024845"/>
                <a:gd name="connsiteY399" fmla="*/ 722939 h 1078499"/>
                <a:gd name="connsiteX400" fmla="*/ 2958970 w 3024845"/>
                <a:gd name="connsiteY400" fmla="*/ 736718 h 1078499"/>
                <a:gd name="connsiteX401" fmla="*/ 3024845 w 3024845"/>
                <a:gd name="connsiteY401" fmla="*/ 736718 h 1078499"/>
                <a:gd name="connsiteX402" fmla="*/ 3024845 w 3024845"/>
                <a:gd name="connsiteY402" fmla="*/ 1078499 h 1078499"/>
                <a:gd name="connsiteX403" fmla="*/ 2054 w 3024845"/>
                <a:gd name="connsiteY403" fmla="*/ 1076166 h 1078499"/>
                <a:gd name="connsiteX404" fmla="*/ 0 w 3024845"/>
                <a:gd name="connsiteY404" fmla="*/ 642048 h 1078499"/>
                <a:gd name="connsiteX405" fmla="*/ 20267 w 3024845"/>
                <a:gd name="connsiteY405" fmla="*/ 642048 h 1078499"/>
                <a:gd name="connsiteX406" fmla="*/ 20774 w 3024845"/>
                <a:gd name="connsiteY406" fmla="*/ 640967 h 1078499"/>
                <a:gd name="connsiteX407" fmla="*/ 24320 w 3024845"/>
                <a:gd name="connsiteY407" fmla="*/ 633401 h 1078499"/>
                <a:gd name="connsiteX408" fmla="*/ 26094 w 3024845"/>
                <a:gd name="connsiteY408" fmla="*/ 633671 h 1078499"/>
                <a:gd name="connsiteX409" fmla="*/ 38507 w 3024845"/>
                <a:gd name="connsiteY409" fmla="*/ 635562 h 1078499"/>
                <a:gd name="connsiteX410" fmla="*/ 39014 w 3024845"/>
                <a:gd name="connsiteY410" fmla="*/ 636914 h 1078499"/>
                <a:gd name="connsiteX411" fmla="*/ 42560 w 3024845"/>
                <a:gd name="connsiteY411" fmla="*/ 646371 h 1078499"/>
                <a:gd name="connsiteX412" fmla="*/ 68907 w 3024845"/>
                <a:gd name="connsiteY412" fmla="*/ 648533 h 1078499"/>
                <a:gd name="connsiteX413" fmla="*/ 68907 w 3024845"/>
                <a:gd name="connsiteY413" fmla="*/ 525312 h 1078499"/>
                <a:gd name="connsiteX414" fmla="*/ 70934 w 3024845"/>
                <a:gd name="connsiteY414" fmla="*/ 525312 h 1078499"/>
                <a:gd name="connsiteX415" fmla="*/ 85121 w 3024845"/>
                <a:gd name="connsiteY415" fmla="*/ 525312 h 1078499"/>
                <a:gd name="connsiteX416" fmla="*/ 85121 w 3024845"/>
                <a:gd name="connsiteY416" fmla="*/ 389120 h 1078499"/>
                <a:gd name="connsiteX417" fmla="*/ 86894 w 3024845"/>
                <a:gd name="connsiteY417" fmla="*/ 389120 h 1078499"/>
                <a:gd name="connsiteX418" fmla="*/ 99308 w 3024845"/>
                <a:gd name="connsiteY418" fmla="*/ 389120 h 1078499"/>
                <a:gd name="connsiteX419" fmla="*/ 99308 w 3024845"/>
                <a:gd name="connsiteY419" fmla="*/ 274546 h 1078499"/>
                <a:gd name="connsiteX420" fmla="*/ 103361 w 3024845"/>
                <a:gd name="connsiteY420" fmla="*/ 246442 h 1078499"/>
                <a:gd name="connsiteX421" fmla="*/ 105388 w 3024845"/>
                <a:gd name="connsiteY421" fmla="*/ 246442 h 1078499"/>
                <a:gd name="connsiteX422" fmla="*/ 119575 w 3024845"/>
                <a:gd name="connsiteY422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58427 w 3024845"/>
                <a:gd name="connsiteY325" fmla="*/ 17294 h 1078499"/>
                <a:gd name="connsiteX326" fmla="*/ 2160453 w 3024845"/>
                <a:gd name="connsiteY326" fmla="*/ 75662 h 1078499"/>
                <a:gd name="connsiteX327" fmla="*/ 2162480 w 3024845"/>
                <a:gd name="connsiteY327" fmla="*/ 138353 h 1078499"/>
                <a:gd name="connsiteX328" fmla="*/ 2168560 w 3024845"/>
                <a:gd name="connsiteY328" fmla="*/ 144839 h 1078499"/>
                <a:gd name="connsiteX329" fmla="*/ 2166533 w 3024845"/>
                <a:gd name="connsiteY329" fmla="*/ 151324 h 1078499"/>
                <a:gd name="connsiteX330" fmla="*/ 2166533 w 3024845"/>
                <a:gd name="connsiteY330" fmla="*/ 229148 h 1078499"/>
                <a:gd name="connsiteX331" fmla="*/ 2168560 w 3024845"/>
                <a:gd name="connsiteY331" fmla="*/ 233472 h 1078499"/>
                <a:gd name="connsiteX332" fmla="*/ 2168560 w 3024845"/>
                <a:gd name="connsiteY332" fmla="*/ 255090 h 1078499"/>
                <a:gd name="connsiteX333" fmla="*/ 2182747 w 3024845"/>
                <a:gd name="connsiteY333" fmla="*/ 255090 h 1078499"/>
                <a:gd name="connsiteX334" fmla="*/ 2182747 w 3024845"/>
                <a:gd name="connsiteY334" fmla="*/ 272384 h 1078499"/>
                <a:gd name="connsiteX335" fmla="*/ 2190854 w 3024845"/>
                <a:gd name="connsiteY335" fmla="*/ 296163 h 1078499"/>
                <a:gd name="connsiteX336" fmla="*/ 2184774 w 3024845"/>
                <a:gd name="connsiteY336" fmla="*/ 300487 h 1078499"/>
                <a:gd name="connsiteX337" fmla="*/ 2172613 w 3024845"/>
                <a:gd name="connsiteY337" fmla="*/ 322105 h 1078499"/>
                <a:gd name="connsiteX338" fmla="*/ 2180720 w 3024845"/>
                <a:gd name="connsiteY338" fmla="*/ 575033 h 1078499"/>
                <a:gd name="connsiteX339" fmla="*/ 2245574 w 3024845"/>
                <a:gd name="connsiteY339" fmla="*/ 575033 h 1078499"/>
                <a:gd name="connsiteX340" fmla="*/ 2245574 w 3024845"/>
                <a:gd name="connsiteY340" fmla="*/ 650695 h 1078499"/>
                <a:gd name="connsiteX341" fmla="*/ 2253681 w 3024845"/>
                <a:gd name="connsiteY341" fmla="*/ 650695 h 1078499"/>
                <a:gd name="connsiteX342" fmla="*/ 2255708 w 3024845"/>
                <a:gd name="connsiteY342" fmla="*/ 644210 h 1078499"/>
                <a:gd name="connsiteX343" fmla="*/ 2261788 w 3024845"/>
                <a:gd name="connsiteY343" fmla="*/ 644210 h 1078499"/>
                <a:gd name="connsiteX344" fmla="*/ 2263815 w 3024845"/>
                <a:gd name="connsiteY344" fmla="*/ 652857 h 1078499"/>
                <a:gd name="connsiteX345" fmla="*/ 2275975 w 3024845"/>
                <a:gd name="connsiteY345" fmla="*/ 652857 h 1078499"/>
                <a:gd name="connsiteX346" fmla="*/ 2275975 w 3024845"/>
                <a:gd name="connsiteY346" fmla="*/ 646371 h 1078499"/>
                <a:gd name="connsiteX347" fmla="*/ 2298268 w 3024845"/>
                <a:gd name="connsiteY347" fmla="*/ 646371 h 1078499"/>
                <a:gd name="connsiteX348" fmla="*/ 2298268 w 3024845"/>
                <a:gd name="connsiteY348" fmla="*/ 652857 h 1078499"/>
                <a:gd name="connsiteX349" fmla="*/ 2318535 w 3024845"/>
                <a:gd name="connsiteY349" fmla="*/ 652857 h 1078499"/>
                <a:gd name="connsiteX350" fmla="*/ 2318535 w 3024845"/>
                <a:gd name="connsiteY350" fmla="*/ 698254 h 1078499"/>
                <a:gd name="connsiteX351" fmla="*/ 2332722 w 3024845"/>
                <a:gd name="connsiteY351" fmla="*/ 698254 h 1078499"/>
                <a:gd name="connsiteX352" fmla="*/ 2332722 w 3024845"/>
                <a:gd name="connsiteY352" fmla="*/ 685283 h 1078499"/>
                <a:gd name="connsiteX353" fmla="*/ 2348936 w 3024845"/>
                <a:gd name="connsiteY353" fmla="*/ 685283 h 1078499"/>
                <a:gd name="connsiteX354" fmla="*/ 2348936 w 3024845"/>
                <a:gd name="connsiteY354" fmla="*/ 505856 h 1078499"/>
                <a:gd name="connsiteX355" fmla="*/ 2355016 w 3024845"/>
                <a:gd name="connsiteY355" fmla="*/ 499370 h 1078499"/>
                <a:gd name="connsiteX356" fmla="*/ 2427977 w 3024845"/>
                <a:gd name="connsiteY356" fmla="*/ 499370 h 1078499"/>
                <a:gd name="connsiteX357" fmla="*/ 2427977 w 3024845"/>
                <a:gd name="connsiteY357" fmla="*/ 508018 h 1078499"/>
                <a:gd name="connsiteX358" fmla="*/ 2438110 w 3024845"/>
                <a:gd name="connsiteY358" fmla="*/ 508018 h 1078499"/>
                <a:gd name="connsiteX359" fmla="*/ 2438110 w 3024845"/>
                <a:gd name="connsiteY359" fmla="*/ 622592 h 1078499"/>
                <a:gd name="connsiteX360" fmla="*/ 2460404 w 3024845"/>
                <a:gd name="connsiteY360" fmla="*/ 622592 h 1078499"/>
                <a:gd name="connsiteX361" fmla="*/ 2460404 w 3024845"/>
                <a:gd name="connsiteY361" fmla="*/ 555577 h 1078499"/>
                <a:gd name="connsiteX362" fmla="*/ 2486751 w 3024845"/>
                <a:gd name="connsiteY362" fmla="*/ 555577 h 1078499"/>
                <a:gd name="connsiteX363" fmla="*/ 2490804 w 3024845"/>
                <a:gd name="connsiteY363" fmla="*/ 551253 h 1078499"/>
                <a:gd name="connsiteX364" fmla="*/ 2498911 w 3024845"/>
                <a:gd name="connsiteY364" fmla="*/ 551253 h 1078499"/>
                <a:gd name="connsiteX365" fmla="*/ 2502964 w 3024845"/>
                <a:gd name="connsiteY365" fmla="*/ 555577 h 1078499"/>
                <a:gd name="connsiteX366" fmla="*/ 2525258 w 3024845"/>
                <a:gd name="connsiteY366" fmla="*/ 555577 h 1078499"/>
                <a:gd name="connsiteX367" fmla="*/ 2525258 w 3024845"/>
                <a:gd name="connsiteY367" fmla="*/ 438841 h 1078499"/>
                <a:gd name="connsiteX368" fmla="*/ 2582005 w 3024845"/>
                <a:gd name="connsiteY368" fmla="*/ 428032 h 1078499"/>
                <a:gd name="connsiteX369" fmla="*/ 2582005 w 3024845"/>
                <a:gd name="connsiteY369" fmla="*/ 429113 h 1078499"/>
                <a:gd name="connsiteX370" fmla="*/ 2582005 w 3024845"/>
                <a:gd name="connsiteY370" fmla="*/ 436679 h 1078499"/>
                <a:gd name="connsiteX371" fmla="*/ 2608352 w 3024845"/>
                <a:gd name="connsiteY371" fmla="*/ 436679 h 1078499"/>
                <a:gd name="connsiteX372" fmla="*/ 2608352 w 3024845"/>
                <a:gd name="connsiteY372" fmla="*/ 691769 h 1078499"/>
                <a:gd name="connsiteX373" fmla="*/ 2630646 w 3024845"/>
                <a:gd name="connsiteY373" fmla="*/ 691769 h 1078499"/>
                <a:gd name="connsiteX374" fmla="*/ 2630646 w 3024845"/>
                <a:gd name="connsiteY374" fmla="*/ 687445 h 1078499"/>
                <a:gd name="connsiteX375" fmla="*/ 2642806 w 3024845"/>
                <a:gd name="connsiteY375" fmla="*/ 687445 h 1078499"/>
                <a:gd name="connsiteX376" fmla="*/ 2642806 w 3024845"/>
                <a:gd name="connsiteY376" fmla="*/ 691769 h 1078499"/>
                <a:gd name="connsiteX377" fmla="*/ 2667126 w 3024845"/>
                <a:gd name="connsiteY377" fmla="*/ 691769 h 1078499"/>
                <a:gd name="connsiteX378" fmla="*/ 2667126 w 3024845"/>
                <a:gd name="connsiteY378" fmla="*/ 678798 h 1078499"/>
                <a:gd name="connsiteX379" fmla="*/ 2695500 w 3024845"/>
                <a:gd name="connsiteY379" fmla="*/ 678798 h 1078499"/>
                <a:gd name="connsiteX380" fmla="*/ 2707660 w 3024845"/>
                <a:gd name="connsiteY380" fmla="*/ 674474 h 1078499"/>
                <a:gd name="connsiteX381" fmla="*/ 2727927 w 3024845"/>
                <a:gd name="connsiteY381" fmla="*/ 678798 h 1078499"/>
                <a:gd name="connsiteX382" fmla="*/ 2727927 w 3024845"/>
                <a:gd name="connsiteY382" fmla="*/ 661504 h 1078499"/>
                <a:gd name="connsiteX383" fmla="*/ 2736034 w 3024845"/>
                <a:gd name="connsiteY383" fmla="*/ 661504 h 1078499"/>
                <a:gd name="connsiteX384" fmla="*/ 2736034 w 3024845"/>
                <a:gd name="connsiteY384" fmla="*/ 648533 h 1078499"/>
                <a:gd name="connsiteX385" fmla="*/ 2792781 w 3024845"/>
                <a:gd name="connsiteY385" fmla="*/ 648533 h 1078499"/>
                <a:gd name="connsiteX386" fmla="*/ 2792781 w 3024845"/>
                <a:gd name="connsiteY386" fmla="*/ 618268 h 1078499"/>
                <a:gd name="connsiteX387" fmla="*/ 2811021 w 3024845"/>
                <a:gd name="connsiteY387" fmla="*/ 618268 h 1078499"/>
                <a:gd name="connsiteX388" fmla="*/ 2811021 w 3024845"/>
                <a:gd name="connsiteY388" fmla="*/ 611783 h 1078499"/>
                <a:gd name="connsiteX389" fmla="*/ 2823181 w 3024845"/>
                <a:gd name="connsiteY389" fmla="*/ 611783 h 1078499"/>
                <a:gd name="connsiteX390" fmla="*/ 2823181 w 3024845"/>
                <a:gd name="connsiteY390" fmla="*/ 618268 h 1078499"/>
                <a:gd name="connsiteX391" fmla="*/ 2839395 w 3024845"/>
                <a:gd name="connsiteY391" fmla="*/ 618268 h 1078499"/>
                <a:gd name="connsiteX392" fmla="*/ 2839395 w 3024845"/>
                <a:gd name="connsiteY392" fmla="*/ 667989 h 1078499"/>
                <a:gd name="connsiteX393" fmla="*/ 2871822 w 3024845"/>
                <a:gd name="connsiteY393" fmla="*/ 667989 h 1078499"/>
                <a:gd name="connsiteX394" fmla="*/ 2871822 w 3024845"/>
                <a:gd name="connsiteY394" fmla="*/ 642048 h 1078499"/>
                <a:gd name="connsiteX395" fmla="*/ 2910329 w 3024845"/>
                <a:gd name="connsiteY395" fmla="*/ 642048 h 1078499"/>
                <a:gd name="connsiteX396" fmla="*/ 2910329 w 3024845"/>
                <a:gd name="connsiteY396" fmla="*/ 611783 h 1078499"/>
                <a:gd name="connsiteX397" fmla="*/ 2958970 w 3024845"/>
                <a:gd name="connsiteY397" fmla="*/ 611783 h 1078499"/>
                <a:gd name="connsiteX398" fmla="*/ 2958970 w 3024845"/>
                <a:gd name="connsiteY398" fmla="*/ 722939 h 1078499"/>
                <a:gd name="connsiteX399" fmla="*/ 2958970 w 3024845"/>
                <a:gd name="connsiteY399" fmla="*/ 736718 h 1078499"/>
                <a:gd name="connsiteX400" fmla="*/ 3024845 w 3024845"/>
                <a:gd name="connsiteY400" fmla="*/ 736718 h 1078499"/>
                <a:gd name="connsiteX401" fmla="*/ 3024845 w 3024845"/>
                <a:gd name="connsiteY401" fmla="*/ 1078499 h 1078499"/>
                <a:gd name="connsiteX402" fmla="*/ 2054 w 3024845"/>
                <a:gd name="connsiteY402" fmla="*/ 1076166 h 1078499"/>
                <a:gd name="connsiteX403" fmla="*/ 0 w 3024845"/>
                <a:gd name="connsiteY403" fmla="*/ 642048 h 1078499"/>
                <a:gd name="connsiteX404" fmla="*/ 20267 w 3024845"/>
                <a:gd name="connsiteY404" fmla="*/ 642048 h 1078499"/>
                <a:gd name="connsiteX405" fmla="*/ 20774 w 3024845"/>
                <a:gd name="connsiteY405" fmla="*/ 640967 h 1078499"/>
                <a:gd name="connsiteX406" fmla="*/ 24320 w 3024845"/>
                <a:gd name="connsiteY406" fmla="*/ 633401 h 1078499"/>
                <a:gd name="connsiteX407" fmla="*/ 26094 w 3024845"/>
                <a:gd name="connsiteY407" fmla="*/ 633671 h 1078499"/>
                <a:gd name="connsiteX408" fmla="*/ 38507 w 3024845"/>
                <a:gd name="connsiteY408" fmla="*/ 635562 h 1078499"/>
                <a:gd name="connsiteX409" fmla="*/ 39014 w 3024845"/>
                <a:gd name="connsiteY409" fmla="*/ 636914 h 1078499"/>
                <a:gd name="connsiteX410" fmla="*/ 42560 w 3024845"/>
                <a:gd name="connsiteY410" fmla="*/ 646371 h 1078499"/>
                <a:gd name="connsiteX411" fmla="*/ 68907 w 3024845"/>
                <a:gd name="connsiteY411" fmla="*/ 648533 h 1078499"/>
                <a:gd name="connsiteX412" fmla="*/ 68907 w 3024845"/>
                <a:gd name="connsiteY412" fmla="*/ 525312 h 1078499"/>
                <a:gd name="connsiteX413" fmla="*/ 70934 w 3024845"/>
                <a:gd name="connsiteY413" fmla="*/ 525312 h 1078499"/>
                <a:gd name="connsiteX414" fmla="*/ 85121 w 3024845"/>
                <a:gd name="connsiteY414" fmla="*/ 525312 h 1078499"/>
                <a:gd name="connsiteX415" fmla="*/ 85121 w 3024845"/>
                <a:gd name="connsiteY415" fmla="*/ 389120 h 1078499"/>
                <a:gd name="connsiteX416" fmla="*/ 86894 w 3024845"/>
                <a:gd name="connsiteY416" fmla="*/ 389120 h 1078499"/>
                <a:gd name="connsiteX417" fmla="*/ 99308 w 3024845"/>
                <a:gd name="connsiteY417" fmla="*/ 389120 h 1078499"/>
                <a:gd name="connsiteX418" fmla="*/ 99308 w 3024845"/>
                <a:gd name="connsiteY418" fmla="*/ 274546 h 1078499"/>
                <a:gd name="connsiteX419" fmla="*/ 103361 w 3024845"/>
                <a:gd name="connsiteY419" fmla="*/ 246442 h 1078499"/>
                <a:gd name="connsiteX420" fmla="*/ 105388 w 3024845"/>
                <a:gd name="connsiteY420" fmla="*/ 246442 h 1078499"/>
                <a:gd name="connsiteX421" fmla="*/ 119575 w 3024845"/>
                <a:gd name="connsiteY421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60453 w 3024845"/>
                <a:gd name="connsiteY325" fmla="*/ 75662 h 1078499"/>
                <a:gd name="connsiteX326" fmla="*/ 2162480 w 3024845"/>
                <a:gd name="connsiteY326" fmla="*/ 138353 h 1078499"/>
                <a:gd name="connsiteX327" fmla="*/ 2168560 w 3024845"/>
                <a:gd name="connsiteY327" fmla="*/ 144839 h 1078499"/>
                <a:gd name="connsiteX328" fmla="*/ 2166533 w 3024845"/>
                <a:gd name="connsiteY328" fmla="*/ 151324 h 1078499"/>
                <a:gd name="connsiteX329" fmla="*/ 2166533 w 3024845"/>
                <a:gd name="connsiteY329" fmla="*/ 229148 h 1078499"/>
                <a:gd name="connsiteX330" fmla="*/ 2168560 w 3024845"/>
                <a:gd name="connsiteY330" fmla="*/ 233472 h 1078499"/>
                <a:gd name="connsiteX331" fmla="*/ 2168560 w 3024845"/>
                <a:gd name="connsiteY331" fmla="*/ 255090 h 1078499"/>
                <a:gd name="connsiteX332" fmla="*/ 2182747 w 3024845"/>
                <a:gd name="connsiteY332" fmla="*/ 255090 h 1078499"/>
                <a:gd name="connsiteX333" fmla="*/ 2182747 w 3024845"/>
                <a:gd name="connsiteY333" fmla="*/ 272384 h 1078499"/>
                <a:gd name="connsiteX334" fmla="*/ 2190854 w 3024845"/>
                <a:gd name="connsiteY334" fmla="*/ 296163 h 1078499"/>
                <a:gd name="connsiteX335" fmla="*/ 2184774 w 3024845"/>
                <a:gd name="connsiteY335" fmla="*/ 300487 h 1078499"/>
                <a:gd name="connsiteX336" fmla="*/ 2172613 w 3024845"/>
                <a:gd name="connsiteY336" fmla="*/ 322105 h 1078499"/>
                <a:gd name="connsiteX337" fmla="*/ 2180720 w 3024845"/>
                <a:gd name="connsiteY337" fmla="*/ 575033 h 1078499"/>
                <a:gd name="connsiteX338" fmla="*/ 2245574 w 3024845"/>
                <a:gd name="connsiteY338" fmla="*/ 575033 h 1078499"/>
                <a:gd name="connsiteX339" fmla="*/ 2245574 w 3024845"/>
                <a:gd name="connsiteY339" fmla="*/ 650695 h 1078499"/>
                <a:gd name="connsiteX340" fmla="*/ 2253681 w 3024845"/>
                <a:gd name="connsiteY340" fmla="*/ 650695 h 1078499"/>
                <a:gd name="connsiteX341" fmla="*/ 2255708 w 3024845"/>
                <a:gd name="connsiteY341" fmla="*/ 644210 h 1078499"/>
                <a:gd name="connsiteX342" fmla="*/ 2261788 w 3024845"/>
                <a:gd name="connsiteY342" fmla="*/ 644210 h 1078499"/>
                <a:gd name="connsiteX343" fmla="*/ 2263815 w 3024845"/>
                <a:gd name="connsiteY343" fmla="*/ 652857 h 1078499"/>
                <a:gd name="connsiteX344" fmla="*/ 2275975 w 3024845"/>
                <a:gd name="connsiteY344" fmla="*/ 652857 h 1078499"/>
                <a:gd name="connsiteX345" fmla="*/ 2275975 w 3024845"/>
                <a:gd name="connsiteY345" fmla="*/ 646371 h 1078499"/>
                <a:gd name="connsiteX346" fmla="*/ 2298268 w 3024845"/>
                <a:gd name="connsiteY346" fmla="*/ 646371 h 1078499"/>
                <a:gd name="connsiteX347" fmla="*/ 2298268 w 3024845"/>
                <a:gd name="connsiteY347" fmla="*/ 652857 h 1078499"/>
                <a:gd name="connsiteX348" fmla="*/ 2318535 w 3024845"/>
                <a:gd name="connsiteY348" fmla="*/ 652857 h 1078499"/>
                <a:gd name="connsiteX349" fmla="*/ 2318535 w 3024845"/>
                <a:gd name="connsiteY349" fmla="*/ 698254 h 1078499"/>
                <a:gd name="connsiteX350" fmla="*/ 2332722 w 3024845"/>
                <a:gd name="connsiteY350" fmla="*/ 698254 h 1078499"/>
                <a:gd name="connsiteX351" fmla="*/ 2332722 w 3024845"/>
                <a:gd name="connsiteY351" fmla="*/ 685283 h 1078499"/>
                <a:gd name="connsiteX352" fmla="*/ 2348936 w 3024845"/>
                <a:gd name="connsiteY352" fmla="*/ 685283 h 1078499"/>
                <a:gd name="connsiteX353" fmla="*/ 2348936 w 3024845"/>
                <a:gd name="connsiteY353" fmla="*/ 505856 h 1078499"/>
                <a:gd name="connsiteX354" fmla="*/ 2355016 w 3024845"/>
                <a:gd name="connsiteY354" fmla="*/ 499370 h 1078499"/>
                <a:gd name="connsiteX355" fmla="*/ 2427977 w 3024845"/>
                <a:gd name="connsiteY355" fmla="*/ 499370 h 1078499"/>
                <a:gd name="connsiteX356" fmla="*/ 2427977 w 3024845"/>
                <a:gd name="connsiteY356" fmla="*/ 508018 h 1078499"/>
                <a:gd name="connsiteX357" fmla="*/ 2438110 w 3024845"/>
                <a:gd name="connsiteY357" fmla="*/ 508018 h 1078499"/>
                <a:gd name="connsiteX358" fmla="*/ 2438110 w 3024845"/>
                <a:gd name="connsiteY358" fmla="*/ 622592 h 1078499"/>
                <a:gd name="connsiteX359" fmla="*/ 2460404 w 3024845"/>
                <a:gd name="connsiteY359" fmla="*/ 622592 h 1078499"/>
                <a:gd name="connsiteX360" fmla="*/ 2460404 w 3024845"/>
                <a:gd name="connsiteY360" fmla="*/ 555577 h 1078499"/>
                <a:gd name="connsiteX361" fmla="*/ 2486751 w 3024845"/>
                <a:gd name="connsiteY361" fmla="*/ 555577 h 1078499"/>
                <a:gd name="connsiteX362" fmla="*/ 2490804 w 3024845"/>
                <a:gd name="connsiteY362" fmla="*/ 551253 h 1078499"/>
                <a:gd name="connsiteX363" fmla="*/ 2498911 w 3024845"/>
                <a:gd name="connsiteY363" fmla="*/ 551253 h 1078499"/>
                <a:gd name="connsiteX364" fmla="*/ 2502964 w 3024845"/>
                <a:gd name="connsiteY364" fmla="*/ 555577 h 1078499"/>
                <a:gd name="connsiteX365" fmla="*/ 2525258 w 3024845"/>
                <a:gd name="connsiteY365" fmla="*/ 555577 h 1078499"/>
                <a:gd name="connsiteX366" fmla="*/ 2525258 w 3024845"/>
                <a:gd name="connsiteY366" fmla="*/ 438841 h 1078499"/>
                <a:gd name="connsiteX367" fmla="*/ 2582005 w 3024845"/>
                <a:gd name="connsiteY367" fmla="*/ 428032 h 1078499"/>
                <a:gd name="connsiteX368" fmla="*/ 2582005 w 3024845"/>
                <a:gd name="connsiteY368" fmla="*/ 429113 h 1078499"/>
                <a:gd name="connsiteX369" fmla="*/ 2582005 w 3024845"/>
                <a:gd name="connsiteY369" fmla="*/ 436679 h 1078499"/>
                <a:gd name="connsiteX370" fmla="*/ 2608352 w 3024845"/>
                <a:gd name="connsiteY370" fmla="*/ 436679 h 1078499"/>
                <a:gd name="connsiteX371" fmla="*/ 2608352 w 3024845"/>
                <a:gd name="connsiteY371" fmla="*/ 691769 h 1078499"/>
                <a:gd name="connsiteX372" fmla="*/ 2630646 w 3024845"/>
                <a:gd name="connsiteY372" fmla="*/ 691769 h 1078499"/>
                <a:gd name="connsiteX373" fmla="*/ 2630646 w 3024845"/>
                <a:gd name="connsiteY373" fmla="*/ 687445 h 1078499"/>
                <a:gd name="connsiteX374" fmla="*/ 2642806 w 3024845"/>
                <a:gd name="connsiteY374" fmla="*/ 687445 h 1078499"/>
                <a:gd name="connsiteX375" fmla="*/ 2642806 w 3024845"/>
                <a:gd name="connsiteY375" fmla="*/ 691769 h 1078499"/>
                <a:gd name="connsiteX376" fmla="*/ 2667126 w 3024845"/>
                <a:gd name="connsiteY376" fmla="*/ 691769 h 1078499"/>
                <a:gd name="connsiteX377" fmla="*/ 2667126 w 3024845"/>
                <a:gd name="connsiteY377" fmla="*/ 678798 h 1078499"/>
                <a:gd name="connsiteX378" fmla="*/ 2695500 w 3024845"/>
                <a:gd name="connsiteY378" fmla="*/ 678798 h 1078499"/>
                <a:gd name="connsiteX379" fmla="*/ 2707660 w 3024845"/>
                <a:gd name="connsiteY379" fmla="*/ 674474 h 1078499"/>
                <a:gd name="connsiteX380" fmla="*/ 2727927 w 3024845"/>
                <a:gd name="connsiteY380" fmla="*/ 678798 h 1078499"/>
                <a:gd name="connsiteX381" fmla="*/ 2727927 w 3024845"/>
                <a:gd name="connsiteY381" fmla="*/ 661504 h 1078499"/>
                <a:gd name="connsiteX382" fmla="*/ 2736034 w 3024845"/>
                <a:gd name="connsiteY382" fmla="*/ 661504 h 1078499"/>
                <a:gd name="connsiteX383" fmla="*/ 2736034 w 3024845"/>
                <a:gd name="connsiteY383" fmla="*/ 648533 h 1078499"/>
                <a:gd name="connsiteX384" fmla="*/ 2792781 w 3024845"/>
                <a:gd name="connsiteY384" fmla="*/ 648533 h 1078499"/>
                <a:gd name="connsiteX385" fmla="*/ 2792781 w 3024845"/>
                <a:gd name="connsiteY385" fmla="*/ 618268 h 1078499"/>
                <a:gd name="connsiteX386" fmla="*/ 2811021 w 3024845"/>
                <a:gd name="connsiteY386" fmla="*/ 618268 h 1078499"/>
                <a:gd name="connsiteX387" fmla="*/ 2811021 w 3024845"/>
                <a:gd name="connsiteY387" fmla="*/ 611783 h 1078499"/>
                <a:gd name="connsiteX388" fmla="*/ 2823181 w 3024845"/>
                <a:gd name="connsiteY388" fmla="*/ 611783 h 1078499"/>
                <a:gd name="connsiteX389" fmla="*/ 2823181 w 3024845"/>
                <a:gd name="connsiteY389" fmla="*/ 618268 h 1078499"/>
                <a:gd name="connsiteX390" fmla="*/ 2839395 w 3024845"/>
                <a:gd name="connsiteY390" fmla="*/ 618268 h 1078499"/>
                <a:gd name="connsiteX391" fmla="*/ 2839395 w 3024845"/>
                <a:gd name="connsiteY391" fmla="*/ 667989 h 1078499"/>
                <a:gd name="connsiteX392" fmla="*/ 2871822 w 3024845"/>
                <a:gd name="connsiteY392" fmla="*/ 667989 h 1078499"/>
                <a:gd name="connsiteX393" fmla="*/ 2871822 w 3024845"/>
                <a:gd name="connsiteY393" fmla="*/ 642048 h 1078499"/>
                <a:gd name="connsiteX394" fmla="*/ 2910329 w 3024845"/>
                <a:gd name="connsiteY394" fmla="*/ 642048 h 1078499"/>
                <a:gd name="connsiteX395" fmla="*/ 2910329 w 3024845"/>
                <a:gd name="connsiteY395" fmla="*/ 611783 h 1078499"/>
                <a:gd name="connsiteX396" fmla="*/ 2958970 w 3024845"/>
                <a:gd name="connsiteY396" fmla="*/ 611783 h 1078499"/>
                <a:gd name="connsiteX397" fmla="*/ 2958970 w 3024845"/>
                <a:gd name="connsiteY397" fmla="*/ 722939 h 1078499"/>
                <a:gd name="connsiteX398" fmla="*/ 2958970 w 3024845"/>
                <a:gd name="connsiteY398" fmla="*/ 736718 h 1078499"/>
                <a:gd name="connsiteX399" fmla="*/ 3024845 w 3024845"/>
                <a:gd name="connsiteY399" fmla="*/ 736718 h 1078499"/>
                <a:gd name="connsiteX400" fmla="*/ 3024845 w 3024845"/>
                <a:gd name="connsiteY400" fmla="*/ 1078499 h 1078499"/>
                <a:gd name="connsiteX401" fmla="*/ 2054 w 3024845"/>
                <a:gd name="connsiteY401" fmla="*/ 1076166 h 1078499"/>
                <a:gd name="connsiteX402" fmla="*/ 0 w 3024845"/>
                <a:gd name="connsiteY402" fmla="*/ 642048 h 1078499"/>
                <a:gd name="connsiteX403" fmla="*/ 20267 w 3024845"/>
                <a:gd name="connsiteY403" fmla="*/ 642048 h 1078499"/>
                <a:gd name="connsiteX404" fmla="*/ 20774 w 3024845"/>
                <a:gd name="connsiteY404" fmla="*/ 640967 h 1078499"/>
                <a:gd name="connsiteX405" fmla="*/ 24320 w 3024845"/>
                <a:gd name="connsiteY405" fmla="*/ 633401 h 1078499"/>
                <a:gd name="connsiteX406" fmla="*/ 26094 w 3024845"/>
                <a:gd name="connsiteY406" fmla="*/ 633671 h 1078499"/>
                <a:gd name="connsiteX407" fmla="*/ 38507 w 3024845"/>
                <a:gd name="connsiteY407" fmla="*/ 635562 h 1078499"/>
                <a:gd name="connsiteX408" fmla="*/ 39014 w 3024845"/>
                <a:gd name="connsiteY408" fmla="*/ 636914 h 1078499"/>
                <a:gd name="connsiteX409" fmla="*/ 42560 w 3024845"/>
                <a:gd name="connsiteY409" fmla="*/ 646371 h 1078499"/>
                <a:gd name="connsiteX410" fmla="*/ 68907 w 3024845"/>
                <a:gd name="connsiteY410" fmla="*/ 648533 h 1078499"/>
                <a:gd name="connsiteX411" fmla="*/ 68907 w 3024845"/>
                <a:gd name="connsiteY411" fmla="*/ 525312 h 1078499"/>
                <a:gd name="connsiteX412" fmla="*/ 70934 w 3024845"/>
                <a:gd name="connsiteY412" fmla="*/ 525312 h 1078499"/>
                <a:gd name="connsiteX413" fmla="*/ 85121 w 3024845"/>
                <a:gd name="connsiteY413" fmla="*/ 525312 h 1078499"/>
                <a:gd name="connsiteX414" fmla="*/ 85121 w 3024845"/>
                <a:gd name="connsiteY414" fmla="*/ 389120 h 1078499"/>
                <a:gd name="connsiteX415" fmla="*/ 86894 w 3024845"/>
                <a:gd name="connsiteY415" fmla="*/ 389120 h 1078499"/>
                <a:gd name="connsiteX416" fmla="*/ 99308 w 3024845"/>
                <a:gd name="connsiteY416" fmla="*/ 389120 h 1078499"/>
                <a:gd name="connsiteX417" fmla="*/ 99308 w 3024845"/>
                <a:gd name="connsiteY417" fmla="*/ 274546 h 1078499"/>
                <a:gd name="connsiteX418" fmla="*/ 103361 w 3024845"/>
                <a:gd name="connsiteY418" fmla="*/ 246442 h 1078499"/>
                <a:gd name="connsiteX419" fmla="*/ 105388 w 3024845"/>
                <a:gd name="connsiteY419" fmla="*/ 246442 h 1078499"/>
                <a:gd name="connsiteX420" fmla="*/ 119575 w 3024845"/>
                <a:gd name="connsiteY420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62480 w 3024845"/>
                <a:gd name="connsiteY325" fmla="*/ 138353 h 1078499"/>
                <a:gd name="connsiteX326" fmla="*/ 2168560 w 3024845"/>
                <a:gd name="connsiteY326" fmla="*/ 144839 h 1078499"/>
                <a:gd name="connsiteX327" fmla="*/ 2166533 w 3024845"/>
                <a:gd name="connsiteY327" fmla="*/ 151324 h 1078499"/>
                <a:gd name="connsiteX328" fmla="*/ 2166533 w 3024845"/>
                <a:gd name="connsiteY328" fmla="*/ 229148 h 1078499"/>
                <a:gd name="connsiteX329" fmla="*/ 2168560 w 3024845"/>
                <a:gd name="connsiteY329" fmla="*/ 233472 h 1078499"/>
                <a:gd name="connsiteX330" fmla="*/ 2168560 w 3024845"/>
                <a:gd name="connsiteY330" fmla="*/ 255090 h 1078499"/>
                <a:gd name="connsiteX331" fmla="*/ 2182747 w 3024845"/>
                <a:gd name="connsiteY331" fmla="*/ 255090 h 1078499"/>
                <a:gd name="connsiteX332" fmla="*/ 2182747 w 3024845"/>
                <a:gd name="connsiteY332" fmla="*/ 272384 h 1078499"/>
                <a:gd name="connsiteX333" fmla="*/ 2190854 w 3024845"/>
                <a:gd name="connsiteY333" fmla="*/ 296163 h 1078499"/>
                <a:gd name="connsiteX334" fmla="*/ 2184774 w 3024845"/>
                <a:gd name="connsiteY334" fmla="*/ 300487 h 1078499"/>
                <a:gd name="connsiteX335" fmla="*/ 2172613 w 3024845"/>
                <a:gd name="connsiteY335" fmla="*/ 322105 h 1078499"/>
                <a:gd name="connsiteX336" fmla="*/ 2180720 w 3024845"/>
                <a:gd name="connsiteY336" fmla="*/ 575033 h 1078499"/>
                <a:gd name="connsiteX337" fmla="*/ 2245574 w 3024845"/>
                <a:gd name="connsiteY337" fmla="*/ 575033 h 1078499"/>
                <a:gd name="connsiteX338" fmla="*/ 2245574 w 3024845"/>
                <a:gd name="connsiteY338" fmla="*/ 650695 h 1078499"/>
                <a:gd name="connsiteX339" fmla="*/ 2253681 w 3024845"/>
                <a:gd name="connsiteY339" fmla="*/ 650695 h 1078499"/>
                <a:gd name="connsiteX340" fmla="*/ 2255708 w 3024845"/>
                <a:gd name="connsiteY340" fmla="*/ 644210 h 1078499"/>
                <a:gd name="connsiteX341" fmla="*/ 2261788 w 3024845"/>
                <a:gd name="connsiteY341" fmla="*/ 644210 h 1078499"/>
                <a:gd name="connsiteX342" fmla="*/ 2263815 w 3024845"/>
                <a:gd name="connsiteY342" fmla="*/ 652857 h 1078499"/>
                <a:gd name="connsiteX343" fmla="*/ 2275975 w 3024845"/>
                <a:gd name="connsiteY343" fmla="*/ 652857 h 1078499"/>
                <a:gd name="connsiteX344" fmla="*/ 2275975 w 3024845"/>
                <a:gd name="connsiteY344" fmla="*/ 646371 h 1078499"/>
                <a:gd name="connsiteX345" fmla="*/ 2298268 w 3024845"/>
                <a:gd name="connsiteY345" fmla="*/ 646371 h 1078499"/>
                <a:gd name="connsiteX346" fmla="*/ 2298268 w 3024845"/>
                <a:gd name="connsiteY346" fmla="*/ 652857 h 1078499"/>
                <a:gd name="connsiteX347" fmla="*/ 2318535 w 3024845"/>
                <a:gd name="connsiteY347" fmla="*/ 652857 h 1078499"/>
                <a:gd name="connsiteX348" fmla="*/ 2318535 w 3024845"/>
                <a:gd name="connsiteY348" fmla="*/ 698254 h 1078499"/>
                <a:gd name="connsiteX349" fmla="*/ 2332722 w 3024845"/>
                <a:gd name="connsiteY349" fmla="*/ 698254 h 1078499"/>
                <a:gd name="connsiteX350" fmla="*/ 2332722 w 3024845"/>
                <a:gd name="connsiteY350" fmla="*/ 685283 h 1078499"/>
                <a:gd name="connsiteX351" fmla="*/ 2348936 w 3024845"/>
                <a:gd name="connsiteY351" fmla="*/ 685283 h 1078499"/>
                <a:gd name="connsiteX352" fmla="*/ 2348936 w 3024845"/>
                <a:gd name="connsiteY352" fmla="*/ 505856 h 1078499"/>
                <a:gd name="connsiteX353" fmla="*/ 2355016 w 3024845"/>
                <a:gd name="connsiteY353" fmla="*/ 499370 h 1078499"/>
                <a:gd name="connsiteX354" fmla="*/ 2427977 w 3024845"/>
                <a:gd name="connsiteY354" fmla="*/ 499370 h 1078499"/>
                <a:gd name="connsiteX355" fmla="*/ 2427977 w 3024845"/>
                <a:gd name="connsiteY355" fmla="*/ 508018 h 1078499"/>
                <a:gd name="connsiteX356" fmla="*/ 2438110 w 3024845"/>
                <a:gd name="connsiteY356" fmla="*/ 508018 h 1078499"/>
                <a:gd name="connsiteX357" fmla="*/ 2438110 w 3024845"/>
                <a:gd name="connsiteY357" fmla="*/ 622592 h 1078499"/>
                <a:gd name="connsiteX358" fmla="*/ 2460404 w 3024845"/>
                <a:gd name="connsiteY358" fmla="*/ 622592 h 1078499"/>
                <a:gd name="connsiteX359" fmla="*/ 2460404 w 3024845"/>
                <a:gd name="connsiteY359" fmla="*/ 555577 h 1078499"/>
                <a:gd name="connsiteX360" fmla="*/ 2486751 w 3024845"/>
                <a:gd name="connsiteY360" fmla="*/ 555577 h 1078499"/>
                <a:gd name="connsiteX361" fmla="*/ 2490804 w 3024845"/>
                <a:gd name="connsiteY361" fmla="*/ 551253 h 1078499"/>
                <a:gd name="connsiteX362" fmla="*/ 2498911 w 3024845"/>
                <a:gd name="connsiteY362" fmla="*/ 551253 h 1078499"/>
                <a:gd name="connsiteX363" fmla="*/ 2502964 w 3024845"/>
                <a:gd name="connsiteY363" fmla="*/ 555577 h 1078499"/>
                <a:gd name="connsiteX364" fmla="*/ 2525258 w 3024845"/>
                <a:gd name="connsiteY364" fmla="*/ 555577 h 1078499"/>
                <a:gd name="connsiteX365" fmla="*/ 2525258 w 3024845"/>
                <a:gd name="connsiteY365" fmla="*/ 438841 h 1078499"/>
                <a:gd name="connsiteX366" fmla="*/ 2582005 w 3024845"/>
                <a:gd name="connsiteY366" fmla="*/ 428032 h 1078499"/>
                <a:gd name="connsiteX367" fmla="*/ 2582005 w 3024845"/>
                <a:gd name="connsiteY367" fmla="*/ 429113 h 1078499"/>
                <a:gd name="connsiteX368" fmla="*/ 2582005 w 3024845"/>
                <a:gd name="connsiteY368" fmla="*/ 436679 h 1078499"/>
                <a:gd name="connsiteX369" fmla="*/ 2608352 w 3024845"/>
                <a:gd name="connsiteY369" fmla="*/ 436679 h 1078499"/>
                <a:gd name="connsiteX370" fmla="*/ 2608352 w 3024845"/>
                <a:gd name="connsiteY370" fmla="*/ 691769 h 1078499"/>
                <a:gd name="connsiteX371" fmla="*/ 2630646 w 3024845"/>
                <a:gd name="connsiteY371" fmla="*/ 691769 h 1078499"/>
                <a:gd name="connsiteX372" fmla="*/ 2630646 w 3024845"/>
                <a:gd name="connsiteY372" fmla="*/ 687445 h 1078499"/>
                <a:gd name="connsiteX373" fmla="*/ 2642806 w 3024845"/>
                <a:gd name="connsiteY373" fmla="*/ 687445 h 1078499"/>
                <a:gd name="connsiteX374" fmla="*/ 2642806 w 3024845"/>
                <a:gd name="connsiteY374" fmla="*/ 691769 h 1078499"/>
                <a:gd name="connsiteX375" fmla="*/ 2667126 w 3024845"/>
                <a:gd name="connsiteY375" fmla="*/ 691769 h 1078499"/>
                <a:gd name="connsiteX376" fmla="*/ 2667126 w 3024845"/>
                <a:gd name="connsiteY376" fmla="*/ 678798 h 1078499"/>
                <a:gd name="connsiteX377" fmla="*/ 2695500 w 3024845"/>
                <a:gd name="connsiteY377" fmla="*/ 678798 h 1078499"/>
                <a:gd name="connsiteX378" fmla="*/ 2707660 w 3024845"/>
                <a:gd name="connsiteY378" fmla="*/ 674474 h 1078499"/>
                <a:gd name="connsiteX379" fmla="*/ 2727927 w 3024845"/>
                <a:gd name="connsiteY379" fmla="*/ 678798 h 1078499"/>
                <a:gd name="connsiteX380" fmla="*/ 2727927 w 3024845"/>
                <a:gd name="connsiteY380" fmla="*/ 661504 h 1078499"/>
                <a:gd name="connsiteX381" fmla="*/ 2736034 w 3024845"/>
                <a:gd name="connsiteY381" fmla="*/ 661504 h 1078499"/>
                <a:gd name="connsiteX382" fmla="*/ 2736034 w 3024845"/>
                <a:gd name="connsiteY382" fmla="*/ 648533 h 1078499"/>
                <a:gd name="connsiteX383" fmla="*/ 2792781 w 3024845"/>
                <a:gd name="connsiteY383" fmla="*/ 648533 h 1078499"/>
                <a:gd name="connsiteX384" fmla="*/ 2792781 w 3024845"/>
                <a:gd name="connsiteY384" fmla="*/ 618268 h 1078499"/>
                <a:gd name="connsiteX385" fmla="*/ 2811021 w 3024845"/>
                <a:gd name="connsiteY385" fmla="*/ 618268 h 1078499"/>
                <a:gd name="connsiteX386" fmla="*/ 2811021 w 3024845"/>
                <a:gd name="connsiteY386" fmla="*/ 611783 h 1078499"/>
                <a:gd name="connsiteX387" fmla="*/ 2823181 w 3024845"/>
                <a:gd name="connsiteY387" fmla="*/ 611783 h 1078499"/>
                <a:gd name="connsiteX388" fmla="*/ 2823181 w 3024845"/>
                <a:gd name="connsiteY388" fmla="*/ 618268 h 1078499"/>
                <a:gd name="connsiteX389" fmla="*/ 2839395 w 3024845"/>
                <a:gd name="connsiteY389" fmla="*/ 618268 h 1078499"/>
                <a:gd name="connsiteX390" fmla="*/ 2839395 w 3024845"/>
                <a:gd name="connsiteY390" fmla="*/ 667989 h 1078499"/>
                <a:gd name="connsiteX391" fmla="*/ 2871822 w 3024845"/>
                <a:gd name="connsiteY391" fmla="*/ 667989 h 1078499"/>
                <a:gd name="connsiteX392" fmla="*/ 2871822 w 3024845"/>
                <a:gd name="connsiteY392" fmla="*/ 642048 h 1078499"/>
                <a:gd name="connsiteX393" fmla="*/ 2910329 w 3024845"/>
                <a:gd name="connsiteY393" fmla="*/ 642048 h 1078499"/>
                <a:gd name="connsiteX394" fmla="*/ 2910329 w 3024845"/>
                <a:gd name="connsiteY394" fmla="*/ 611783 h 1078499"/>
                <a:gd name="connsiteX395" fmla="*/ 2958970 w 3024845"/>
                <a:gd name="connsiteY395" fmla="*/ 611783 h 1078499"/>
                <a:gd name="connsiteX396" fmla="*/ 2958970 w 3024845"/>
                <a:gd name="connsiteY396" fmla="*/ 722939 h 1078499"/>
                <a:gd name="connsiteX397" fmla="*/ 2958970 w 3024845"/>
                <a:gd name="connsiteY397" fmla="*/ 736718 h 1078499"/>
                <a:gd name="connsiteX398" fmla="*/ 3024845 w 3024845"/>
                <a:gd name="connsiteY398" fmla="*/ 736718 h 1078499"/>
                <a:gd name="connsiteX399" fmla="*/ 3024845 w 3024845"/>
                <a:gd name="connsiteY399" fmla="*/ 1078499 h 1078499"/>
                <a:gd name="connsiteX400" fmla="*/ 2054 w 3024845"/>
                <a:gd name="connsiteY400" fmla="*/ 1076166 h 1078499"/>
                <a:gd name="connsiteX401" fmla="*/ 0 w 3024845"/>
                <a:gd name="connsiteY401" fmla="*/ 642048 h 1078499"/>
                <a:gd name="connsiteX402" fmla="*/ 20267 w 3024845"/>
                <a:gd name="connsiteY402" fmla="*/ 642048 h 1078499"/>
                <a:gd name="connsiteX403" fmla="*/ 20774 w 3024845"/>
                <a:gd name="connsiteY403" fmla="*/ 640967 h 1078499"/>
                <a:gd name="connsiteX404" fmla="*/ 24320 w 3024845"/>
                <a:gd name="connsiteY404" fmla="*/ 633401 h 1078499"/>
                <a:gd name="connsiteX405" fmla="*/ 26094 w 3024845"/>
                <a:gd name="connsiteY405" fmla="*/ 633671 h 1078499"/>
                <a:gd name="connsiteX406" fmla="*/ 38507 w 3024845"/>
                <a:gd name="connsiteY406" fmla="*/ 635562 h 1078499"/>
                <a:gd name="connsiteX407" fmla="*/ 39014 w 3024845"/>
                <a:gd name="connsiteY407" fmla="*/ 636914 h 1078499"/>
                <a:gd name="connsiteX408" fmla="*/ 42560 w 3024845"/>
                <a:gd name="connsiteY408" fmla="*/ 646371 h 1078499"/>
                <a:gd name="connsiteX409" fmla="*/ 68907 w 3024845"/>
                <a:gd name="connsiteY409" fmla="*/ 648533 h 1078499"/>
                <a:gd name="connsiteX410" fmla="*/ 68907 w 3024845"/>
                <a:gd name="connsiteY410" fmla="*/ 525312 h 1078499"/>
                <a:gd name="connsiteX411" fmla="*/ 70934 w 3024845"/>
                <a:gd name="connsiteY411" fmla="*/ 525312 h 1078499"/>
                <a:gd name="connsiteX412" fmla="*/ 85121 w 3024845"/>
                <a:gd name="connsiteY412" fmla="*/ 525312 h 1078499"/>
                <a:gd name="connsiteX413" fmla="*/ 85121 w 3024845"/>
                <a:gd name="connsiteY413" fmla="*/ 389120 h 1078499"/>
                <a:gd name="connsiteX414" fmla="*/ 86894 w 3024845"/>
                <a:gd name="connsiteY414" fmla="*/ 389120 h 1078499"/>
                <a:gd name="connsiteX415" fmla="*/ 99308 w 3024845"/>
                <a:gd name="connsiteY415" fmla="*/ 389120 h 1078499"/>
                <a:gd name="connsiteX416" fmla="*/ 99308 w 3024845"/>
                <a:gd name="connsiteY416" fmla="*/ 274546 h 1078499"/>
                <a:gd name="connsiteX417" fmla="*/ 103361 w 3024845"/>
                <a:gd name="connsiteY417" fmla="*/ 246442 h 1078499"/>
                <a:gd name="connsiteX418" fmla="*/ 105388 w 3024845"/>
                <a:gd name="connsiteY418" fmla="*/ 246442 h 1078499"/>
                <a:gd name="connsiteX419" fmla="*/ 119575 w 3024845"/>
                <a:gd name="connsiteY419" fmla="*/ 246442 h 1078499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4774 w 3024845"/>
                <a:gd name="connsiteY333" fmla="*/ 281031 h 1059043"/>
                <a:gd name="connsiteX334" fmla="*/ 2172613 w 3024845"/>
                <a:gd name="connsiteY334" fmla="*/ 302649 h 1059043"/>
                <a:gd name="connsiteX335" fmla="*/ 2180720 w 3024845"/>
                <a:gd name="connsiteY335" fmla="*/ 555577 h 1059043"/>
                <a:gd name="connsiteX336" fmla="*/ 2245574 w 3024845"/>
                <a:gd name="connsiteY336" fmla="*/ 555577 h 1059043"/>
                <a:gd name="connsiteX337" fmla="*/ 2245574 w 3024845"/>
                <a:gd name="connsiteY337" fmla="*/ 631239 h 1059043"/>
                <a:gd name="connsiteX338" fmla="*/ 2253681 w 3024845"/>
                <a:gd name="connsiteY338" fmla="*/ 631239 h 1059043"/>
                <a:gd name="connsiteX339" fmla="*/ 2255708 w 3024845"/>
                <a:gd name="connsiteY339" fmla="*/ 624754 h 1059043"/>
                <a:gd name="connsiteX340" fmla="*/ 2261788 w 3024845"/>
                <a:gd name="connsiteY340" fmla="*/ 624754 h 1059043"/>
                <a:gd name="connsiteX341" fmla="*/ 2263815 w 3024845"/>
                <a:gd name="connsiteY341" fmla="*/ 633401 h 1059043"/>
                <a:gd name="connsiteX342" fmla="*/ 2275975 w 3024845"/>
                <a:gd name="connsiteY342" fmla="*/ 633401 h 1059043"/>
                <a:gd name="connsiteX343" fmla="*/ 2275975 w 3024845"/>
                <a:gd name="connsiteY343" fmla="*/ 626915 h 1059043"/>
                <a:gd name="connsiteX344" fmla="*/ 2298268 w 3024845"/>
                <a:gd name="connsiteY344" fmla="*/ 626915 h 1059043"/>
                <a:gd name="connsiteX345" fmla="*/ 2298268 w 3024845"/>
                <a:gd name="connsiteY345" fmla="*/ 633401 h 1059043"/>
                <a:gd name="connsiteX346" fmla="*/ 2318535 w 3024845"/>
                <a:gd name="connsiteY346" fmla="*/ 633401 h 1059043"/>
                <a:gd name="connsiteX347" fmla="*/ 2318535 w 3024845"/>
                <a:gd name="connsiteY347" fmla="*/ 678798 h 1059043"/>
                <a:gd name="connsiteX348" fmla="*/ 2332722 w 3024845"/>
                <a:gd name="connsiteY348" fmla="*/ 678798 h 1059043"/>
                <a:gd name="connsiteX349" fmla="*/ 2332722 w 3024845"/>
                <a:gd name="connsiteY349" fmla="*/ 665827 h 1059043"/>
                <a:gd name="connsiteX350" fmla="*/ 2348936 w 3024845"/>
                <a:gd name="connsiteY350" fmla="*/ 665827 h 1059043"/>
                <a:gd name="connsiteX351" fmla="*/ 2348936 w 3024845"/>
                <a:gd name="connsiteY351" fmla="*/ 486400 h 1059043"/>
                <a:gd name="connsiteX352" fmla="*/ 2355016 w 3024845"/>
                <a:gd name="connsiteY352" fmla="*/ 479914 h 1059043"/>
                <a:gd name="connsiteX353" fmla="*/ 2427977 w 3024845"/>
                <a:gd name="connsiteY353" fmla="*/ 479914 h 1059043"/>
                <a:gd name="connsiteX354" fmla="*/ 2427977 w 3024845"/>
                <a:gd name="connsiteY354" fmla="*/ 488562 h 1059043"/>
                <a:gd name="connsiteX355" fmla="*/ 2438110 w 3024845"/>
                <a:gd name="connsiteY355" fmla="*/ 488562 h 1059043"/>
                <a:gd name="connsiteX356" fmla="*/ 2438110 w 3024845"/>
                <a:gd name="connsiteY356" fmla="*/ 603136 h 1059043"/>
                <a:gd name="connsiteX357" fmla="*/ 2460404 w 3024845"/>
                <a:gd name="connsiteY357" fmla="*/ 603136 h 1059043"/>
                <a:gd name="connsiteX358" fmla="*/ 2460404 w 3024845"/>
                <a:gd name="connsiteY358" fmla="*/ 536121 h 1059043"/>
                <a:gd name="connsiteX359" fmla="*/ 2486751 w 3024845"/>
                <a:gd name="connsiteY359" fmla="*/ 536121 h 1059043"/>
                <a:gd name="connsiteX360" fmla="*/ 2490804 w 3024845"/>
                <a:gd name="connsiteY360" fmla="*/ 531797 h 1059043"/>
                <a:gd name="connsiteX361" fmla="*/ 2498911 w 3024845"/>
                <a:gd name="connsiteY361" fmla="*/ 531797 h 1059043"/>
                <a:gd name="connsiteX362" fmla="*/ 2502964 w 3024845"/>
                <a:gd name="connsiteY362" fmla="*/ 536121 h 1059043"/>
                <a:gd name="connsiteX363" fmla="*/ 2525258 w 3024845"/>
                <a:gd name="connsiteY363" fmla="*/ 536121 h 1059043"/>
                <a:gd name="connsiteX364" fmla="*/ 2525258 w 3024845"/>
                <a:gd name="connsiteY364" fmla="*/ 419385 h 1059043"/>
                <a:gd name="connsiteX365" fmla="*/ 2582005 w 3024845"/>
                <a:gd name="connsiteY365" fmla="*/ 408576 h 1059043"/>
                <a:gd name="connsiteX366" fmla="*/ 2582005 w 3024845"/>
                <a:gd name="connsiteY366" fmla="*/ 409657 h 1059043"/>
                <a:gd name="connsiteX367" fmla="*/ 2582005 w 3024845"/>
                <a:gd name="connsiteY367" fmla="*/ 417223 h 1059043"/>
                <a:gd name="connsiteX368" fmla="*/ 2608352 w 3024845"/>
                <a:gd name="connsiteY368" fmla="*/ 417223 h 1059043"/>
                <a:gd name="connsiteX369" fmla="*/ 2608352 w 3024845"/>
                <a:gd name="connsiteY369" fmla="*/ 672313 h 1059043"/>
                <a:gd name="connsiteX370" fmla="*/ 2630646 w 3024845"/>
                <a:gd name="connsiteY370" fmla="*/ 672313 h 1059043"/>
                <a:gd name="connsiteX371" fmla="*/ 2630646 w 3024845"/>
                <a:gd name="connsiteY371" fmla="*/ 667989 h 1059043"/>
                <a:gd name="connsiteX372" fmla="*/ 2642806 w 3024845"/>
                <a:gd name="connsiteY372" fmla="*/ 667989 h 1059043"/>
                <a:gd name="connsiteX373" fmla="*/ 2642806 w 3024845"/>
                <a:gd name="connsiteY373" fmla="*/ 672313 h 1059043"/>
                <a:gd name="connsiteX374" fmla="*/ 2667126 w 3024845"/>
                <a:gd name="connsiteY374" fmla="*/ 672313 h 1059043"/>
                <a:gd name="connsiteX375" fmla="*/ 2667126 w 3024845"/>
                <a:gd name="connsiteY375" fmla="*/ 659342 h 1059043"/>
                <a:gd name="connsiteX376" fmla="*/ 2695500 w 3024845"/>
                <a:gd name="connsiteY376" fmla="*/ 659342 h 1059043"/>
                <a:gd name="connsiteX377" fmla="*/ 2707660 w 3024845"/>
                <a:gd name="connsiteY377" fmla="*/ 655018 h 1059043"/>
                <a:gd name="connsiteX378" fmla="*/ 2727927 w 3024845"/>
                <a:gd name="connsiteY378" fmla="*/ 659342 h 1059043"/>
                <a:gd name="connsiteX379" fmla="*/ 2727927 w 3024845"/>
                <a:gd name="connsiteY379" fmla="*/ 642048 h 1059043"/>
                <a:gd name="connsiteX380" fmla="*/ 2736034 w 3024845"/>
                <a:gd name="connsiteY380" fmla="*/ 642048 h 1059043"/>
                <a:gd name="connsiteX381" fmla="*/ 2736034 w 3024845"/>
                <a:gd name="connsiteY381" fmla="*/ 629077 h 1059043"/>
                <a:gd name="connsiteX382" fmla="*/ 2792781 w 3024845"/>
                <a:gd name="connsiteY382" fmla="*/ 629077 h 1059043"/>
                <a:gd name="connsiteX383" fmla="*/ 2792781 w 3024845"/>
                <a:gd name="connsiteY383" fmla="*/ 598812 h 1059043"/>
                <a:gd name="connsiteX384" fmla="*/ 2811021 w 3024845"/>
                <a:gd name="connsiteY384" fmla="*/ 598812 h 1059043"/>
                <a:gd name="connsiteX385" fmla="*/ 2811021 w 3024845"/>
                <a:gd name="connsiteY385" fmla="*/ 592327 h 1059043"/>
                <a:gd name="connsiteX386" fmla="*/ 2823181 w 3024845"/>
                <a:gd name="connsiteY386" fmla="*/ 592327 h 1059043"/>
                <a:gd name="connsiteX387" fmla="*/ 2823181 w 3024845"/>
                <a:gd name="connsiteY387" fmla="*/ 598812 h 1059043"/>
                <a:gd name="connsiteX388" fmla="*/ 2839395 w 3024845"/>
                <a:gd name="connsiteY388" fmla="*/ 598812 h 1059043"/>
                <a:gd name="connsiteX389" fmla="*/ 2839395 w 3024845"/>
                <a:gd name="connsiteY389" fmla="*/ 648533 h 1059043"/>
                <a:gd name="connsiteX390" fmla="*/ 2871822 w 3024845"/>
                <a:gd name="connsiteY390" fmla="*/ 648533 h 1059043"/>
                <a:gd name="connsiteX391" fmla="*/ 2871822 w 3024845"/>
                <a:gd name="connsiteY391" fmla="*/ 622592 h 1059043"/>
                <a:gd name="connsiteX392" fmla="*/ 2910329 w 3024845"/>
                <a:gd name="connsiteY392" fmla="*/ 622592 h 1059043"/>
                <a:gd name="connsiteX393" fmla="*/ 2910329 w 3024845"/>
                <a:gd name="connsiteY393" fmla="*/ 592327 h 1059043"/>
                <a:gd name="connsiteX394" fmla="*/ 2958970 w 3024845"/>
                <a:gd name="connsiteY394" fmla="*/ 592327 h 1059043"/>
                <a:gd name="connsiteX395" fmla="*/ 2958970 w 3024845"/>
                <a:gd name="connsiteY395" fmla="*/ 703483 h 1059043"/>
                <a:gd name="connsiteX396" fmla="*/ 2958970 w 3024845"/>
                <a:gd name="connsiteY396" fmla="*/ 717262 h 1059043"/>
                <a:gd name="connsiteX397" fmla="*/ 3024845 w 3024845"/>
                <a:gd name="connsiteY397" fmla="*/ 717262 h 1059043"/>
                <a:gd name="connsiteX398" fmla="*/ 3024845 w 3024845"/>
                <a:gd name="connsiteY398" fmla="*/ 1059043 h 1059043"/>
                <a:gd name="connsiteX399" fmla="*/ 2054 w 3024845"/>
                <a:gd name="connsiteY399" fmla="*/ 1056710 h 1059043"/>
                <a:gd name="connsiteX400" fmla="*/ 0 w 3024845"/>
                <a:gd name="connsiteY400" fmla="*/ 622592 h 1059043"/>
                <a:gd name="connsiteX401" fmla="*/ 20267 w 3024845"/>
                <a:gd name="connsiteY401" fmla="*/ 622592 h 1059043"/>
                <a:gd name="connsiteX402" fmla="*/ 20774 w 3024845"/>
                <a:gd name="connsiteY402" fmla="*/ 621511 h 1059043"/>
                <a:gd name="connsiteX403" fmla="*/ 24320 w 3024845"/>
                <a:gd name="connsiteY403" fmla="*/ 613945 h 1059043"/>
                <a:gd name="connsiteX404" fmla="*/ 26094 w 3024845"/>
                <a:gd name="connsiteY404" fmla="*/ 614215 h 1059043"/>
                <a:gd name="connsiteX405" fmla="*/ 38507 w 3024845"/>
                <a:gd name="connsiteY405" fmla="*/ 616106 h 1059043"/>
                <a:gd name="connsiteX406" fmla="*/ 39014 w 3024845"/>
                <a:gd name="connsiteY406" fmla="*/ 617458 h 1059043"/>
                <a:gd name="connsiteX407" fmla="*/ 42560 w 3024845"/>
                <a:gd name="connsiteY407" fmla="*/ 626915 h 1059043"/>
                <a:gd name="connsiteX408" fmla="*/ 68907 w 3024845"/>
                <a:gd name="connsiteY408" fmla="*/ 629077 h 1059043"/>
                <a:gd name="connsiteX409" fmla="*/ 68907 w 3024845"/>
                <a:gd name="connsiteY409" fmla="*/ 505856 h 1059043"/>
                <a:gd name="connsiteX410" fmla="*/ 70934 w 3024845"/>
                <a:gd name="connsiteY410" fmla="*/ 505856 h 1059043"/>
                <a:gd name="connsiteX411" fmla="*/ 85121 w 3024845"/>
                <a:gd name="connsiteY411" fmla="*/ 505856 h 1059043"/>
                <a:gd name="connsiteX412" fmla="*/ 85121 w 3024845"/>
                <a:gd name="connsiteY412" fmla="*/ 369664 h 1059043"/>
                <a:gd name="connsiteX413" fmla="*/ 86894 w 3024845"/>
                <a:gd name="connsiteY413" fmla="*/ 369664 h 1059043"/>
                <a:gd name="connsiteX414" fmla="*/ 99308 w 3024845"/>
                <a:gd name="connsiteY414" fmla="*/ 369664 h 1059043"/>
                <a:gd name="connsiteX415" fmla="*/ 99308 w 3024845"/>
                <a:gd name="connsiteY415" fmla="*/ 255090 h 1059043"/>
                <a:gd name="connsiteX416" fmla="*/ 103361 w 3024845"/>
                <a:gd name="connsiteY416" fmla="*/ 226986 h 1059043"/>
                <a:gd name="connsiteX417" fmla="*/ 105388 w 3024845"/>
                <a:gd name="connsiteY417" fmla="*/ 226986 h 1059043"/>
                <a:gd name="connsiteX418" fmla="*/ 119575 w 3024845"/>
                <a:gd name="connsiteY41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4774 w 3024845"/>
                <a:gd name="connsiteY333" fmla="*/ 281031 h 1059043"/>
                <a:gd name="connsiteX334" fmla="*/ 2180720 w 3024845"/>
                <a:gd name="connsiteY334" fmla="*/ 555577 h 1059043"/>
                <a:gd name="connsiteX335" fmla="*/ 2245574 w 3024845"/>
                <a:gd name="connsiteY335" fmla="*/ 555577 h 1059043"/>
                <a:gd name="connsiteX336" fmla="*/ 2245574 w 3024845"/>
                <a:gd name="connsiteY336" fmla="*/ 631239 h 1059043"/>
                <a:gd name="connsiteX337" fmla="*/ 2253681 w 3024845"/>
                <a:gd name="connsiteY337" fmla="*/ 631239 h 1059043"/>
                <a:gd name="connsiteX338" fmla="*/ 2255708 w 3024845"/>
                <a:gd name="connsiteY338" fmla="*/ 624754 h 1059043"/>
                <a:gd name="connsiteX339" fmla="*/ 2261788 w 3024845"/>
                <a:gd name="connsiteY339" fmla="*/ 624754 h 1059043"/>
                <a:gd name="connsiteX340" fmla="*/ 2263815 w 3024845"/>
                <a:gd name="connsiteY340" fmla="*/ 633401 h 1059043"/>
                <a:gd name="connsiteX341" fmla="*/ 2275975 w 3024845"/>
                <a:gd name="connsiteY341" fmla="*/ 633401 h 1059043"/>
                <a:gd name="connsiteX342" fmla="*/ 2275975 w 3024845"/>
                <a:gd name="connsiteY342" fmla="*/ 626915 h 1059043"/>
                <a:gd name="connsiteX343" fmla="*/ 2298268 w 3024845"/>
                <a:gd name="connsiteY343" fmla="*/ 626915 h 1059043"/>
                <a:gd name="connsiteX344" fmla="*/ 2298268 w 3024845"/>
                <a:gd name="connsiteY344" fmla="*/ 633401 h 1059043"/>
                <a:gd name="connsiteX345" fmla="*/ 2318535 w 3024845"/>
                <a:gd name="connsiteY345" fmla="*/ 633401 h 1059043"/>
                <a:gd name="connsiteX346" fmla="*/ 2318535 w 3024845"/>
                <a:gd name="connsiteY346" fmla="*/ 678798 h 1059043"/>
                <a:gd name="connsiteX347" fmla="*/ 2332722 w 3024845"/>
                <a:gd name="connsiteY347" fmla="*/ 678798 h 1059043"/>
                <a:gd name="connsiteX348" fmla="*/ 2332722 w 3024845"/>
                <a:gd name="connsiteY348" fmla="*/ 665827 h 1059043"/>
                <a:gd name="connsiteX349" fmla="*/ 2348936 w 3024845"/>
                <a:gd name="connsiteY349" fmla="*/ 665827 h 1059043"/>
                <a:gd name="connsiteX350" fmla="*/ 2348936 w 3024845"/>
                <a:gd name="connsiteY350" fmla="*/ 486400 h 1059043"/>
                <a:gd name="connsiteX351" fmla="*/ 2355016 w 3024845"/>
                <a:gd name="connsiteY351" fmla="*/ 479914 h 1059043"/>
                <a:gd name="connsiteX352" fmla="*/ 2427977 w 3024845"/>
                <a:gd name="connsiteY352" fmla="*/ 479914 h 1059043"/>
                <a:gd name="connsiteX353" fmla="*/ 2427977 w 3024845"/>
                <a:gd name="connsiteY353" fmla="*/ 488562 h 1059043"/>
                <a:gd name="connsiteX354" fmla="*/ 2438110 w 3024845"/>
                <a:gd name="connsiteY354" fmla="*/ 488562 h 1059043"/>
                <a:gd name="connsiteX355" fmla="*/ 2438110 w 3024845"/>
                <a:gd name="connsiteY355" fmla="*/ 603136 h 1059043"/>
                <a:gd name="connsiteX356" fmla="*/ 2460404 w 3024845"/>
                <a:gd name="connsiteY356" fmla="*/ 603136 h 1059043"/>
                <a:gd name="connsiteX357" fmla="*/ 2460404 w 3024845"/>
                <a:gd name="connsiteY357" fmla="*/ 536121 h 1059043"/>
                <a:gd name="connsiteX358" fmla="*/ 2486751 w 3024845"/>
                <a:gd name="connsiteY358" fmla="*/ 536121 h 1059043"/>
                <a:gd name="connsiteX359" fmla="*/ 2490804 w 3024845"/>
                <a:gd name="connsiteY359" fmla="*/ 531797 h 1059043"/>
                <a:gd name="connsiteX360" fmla="*/ 2498911 w 3024845"/>
                <a:gd name="connsiteY360" fmla="*/ 531797 h 1059043"/>
                <a:gd name="connsiteX361" fmla="*/ 2502964 w 3024845"/>
                <a:gd name="connsiteY361" fmla="*/ 536121 h 1059043"/>
                <a:gd name="connsiteX362" fmla="*/ 2525258 w 3024845"/>
                <a:gd name="connsiteY362" fmla="*/ 536121 h 1059043"/>
                <a:gd name="connsiteX363" fmla="*/ 2525258 w 3024845"/>
                <a:gd name="connsiteY363" fmla="*/ 419385 h 1059043"/>
                <a:gd name="connsiteX364" fmla="*/ 2582005 w 3024845"/>
                <a:gd name="connsiteY364" fmla="*/ 408576 h 1059043"/>
                <a:gd name="connsiteX365" fmla="*/ 2582005 w 3024845"/>
                <a:gd name="connsiteY365" fmla="*/ 409657 h 1059043"/>
                <a:gd name="connsiteX366" fmla="*/ 2582005 w 3024845"/>
                <a:gd name="connsiteY366" fmla="*/ 417223 h 1059043"/>
                <a:gd name="connsiteX367" fmla="*/ 2608352 w 3024845"/>
                <a:gd name="connsiteY367" fmla="*/ 417223 h 1059043"/>
                <a:gd name="connsiteX368" fmla="*/ 2608352 w 3024845"/>
                <a:gd name="connsiteY368" fmla="*/ 672313 h 1059043"/>
                <a:gd name="connsiteX369" fmla="*/ 2630646 w 3024845"/>
                <a:gd name="connsiteY369" fmla="*/ 672313 h 1059043"/>
                <a:gd name="connsiteX370" fmla="*/ 2630646 w 3024845"/>
                <a:gd name="connsiteY370" fmla="*/ 667989 h 1059043"/>
                <a:gd name="connsiteX371" fmla="*/ 2642806 w 3024845"/>
                <a:gd name="connsiteY371" fmla="*/ 667989 h 1059043"/>
                <a:gd name="connsiteX372" fmla="*/ 2642806 w 3024845"/>
                <a:gd name="connsiteY372" fmla="*/ 672313 h 1059043"/>
                <a:gd name="connsiteX373" fmla="*/ 2667126 w 3024845"/>
                <a:gd name="connsiteY373" fmla="*/ 672313 h 1059043"/>
                <a:gd name="connsiteX374" fmla="*/ 2667126 w 3024845"/>
                <a:gd name="connsiteY374" fmla="*/ 659342 h 1059043"/>
                <a:gd name="connsiteX375" fmla="*/ 2695500 w 3024845"/>
                <a:gd name="connsiteY375" fmla="*/ 659342 h 1059043"/>
                <a:gd name="connsiteX376" fmla="*/ 2707660 w 3024845"/>
                <a:gd name="connsiteY376" fmla="*/ 655018 h 1059043"/>
                <a:gd name="connsiteX377" fmla="*/ 2727927 w 3024845"/>
                <a:gd name="connsiteY377" fmla="*/ 659342 h 1059043"/>
                <a:gd name="connsiteX378" fmla="*/ 2727927 w 3024845"/>
                <a:gd name="connsiteY378" fmla="*/ 642048 h 1059043"/>
                <a:gd name="connsiteX379" fmla="*/ 2736034 w 3024845"/>
                <a:gd name="connsiteY379" fmla="*/ 642048 h 1059043"/>
                <a:gd name="connsiteX380" fmla="*/ 2736034 w 3024845"/>
                <a:gd name="connsiteY380" fmla="*/ 629077 h 1059043"/>
                <a:gd name="connsiteX381" fmla="*/ 2792781 w 3024845"/>
                <a:gd name="connsiteY381" fmla="*/ 629077 h 1059043"/>
                <a:gd name="connsiteX382" fmla="*/ 2792781 w 3024845"/>
                <a:gd name="connsiteY382" fmla="*/ 598812 h 1059043"/>
                <a:gd name="connsiteX383" fmla="*/ 2811021 w 3024845"/>
                <a:gd name="connsiteY383" fmla="*/ 598812 h 1059043"/>
                <a:gd name="connsiteX384" fmla="*/ 2811021 w 3024845"/>
                <a:gd name="connsiteY384" fmla="*/ 592327 h 1059043"/>
                <a:gd name="connsiteX385" fmla="*/ 2823181 w 3024845"/>
                <a:gd name="connsiteY385" fmla="*/ 592327 h 1059043"/>
                <a:gd name="connsiteX386" fmla="*/ 2823181 w 3024845"/>
                <a:gd name="connsiteY386" fmla="*/ 598812 h 1059043"/>
                <a:gd name="connsiteX387" fmla="*/ 2839395 w 3024845"/>
                <a:gd name="connsiteY387" fmla="*/ 598812 h 1059043"/>
                <a:gd name="connsiteX388" fmla="*/ 2839395 w 3024845"/>
                <a:gd name="connsiteY388" fmla="*/ 648533 h 1059043"/>
                <a:gd name="connsiteX389" fmla="*/ 2871822 w 3024845"/>
                <a:gd name="connsiteY389" fmla="*/ 648533 h 1059043"/>
                <a:gd name="connsiteX390" fmla="*/ 2871822 w 3024845"/>
                <a:gd name="connsiteY390" fmla="*/ 622592 h 1059043"/>
                <a:gd name="connsiteX391" fmla="*/ 2910329 w 3024845"/>
                <a:gd name="connsiteY391" fmla="*/ 622592 h 1059043"/>
                <a:gd name="connsiteX392" fmla="*/ 2910329 w 3024845"/>
                <a:gd name="connsiteY392" fmla="*/ 592327 h 1059043"/>
                <a:gd name="connsiteX393" fmla="*/ 2958970 w 3024845"/>
                <a:gd name="connsiteY393" fmla="*/ 592327 h 1059043"/>
                <a:gd name="connsiteX394" fmla="*/ 2958970 w 3024845"/>
                <a:gd name="connsiteY394" fmla="*/ 703483 h 1059043"/>
                <a:gd name="connsiteX395" fmla="*/ 2958970 w 3024845"/>
                <a:gd name="connsiteY395" fmla="*/ 717262 h 1059043"/>
                <a:gd name="connsiteX396" fmla="*/ 3024845 w 3024845"/>
                <a:gd name="connsiteY396" fmla="*/ 717262 h 1059043"/>
                <a:gd name="connsiteX397" fmla="*/ 3024845 w 3024845"/>
                <a:gd name="connsiteY397" fmla="*/ 1059043 h 1059043"/>
                <a:gd name="connsiteX398" fmla="*/ 2054 w 3024845"/>
                <a:gd name="connsiteY398" fmla="*/ 1056710 h 1059043"/>
                <a:gd name="connsiteX399" fmla="*/ 0 w 3024845"/>
                <a:gd name="connsiteY399" fmla="*/ 622592 h 1059043"/>
                <a:gd name="connsiteX400" fmla="*/ 20267 w 3024845"/>
                <a:gd name="connsiteY400" fmla="*/ 622592 h 1059043"/>
                <a:gd name="connsiteX401" fmla="*/ 20774 w 3024845"/>
                <a:gd name="connsiteY401" fmla="*/ 621511 h 1059043"/>
                <a:gd name="connsiteX402" fmla="*/ 24320 w 3024845"/>
                <a:gd name="connsiteY402" fmla="*/ 613945 h 1059043"/>
                <a:gd name="connsiteX403" fmla="*/ 26094 w 3024845"/>
                <a:gd name="connsiteY403" fmla="*/ 614215 h 1059043"/>
                <a:gd name="connsiteX404" fmla="*/ 38507 w 3024845"/>
                <a:gd name="connsiteY404" fmla="*/ 616106 h 1059043"/>
                <a:gd name="connsiteX405" fmla="*/ 39014 w 3024845"/>
                <a:gd name="connsiteY405" fmla="*/ 617458 h 1059043"/>
                <a:gd name="connsiteX406" fmla="*/ 42560 w 3024845"/>
                <a:gd name="connsiteY406" fmla="*/ 626915 h 1059043"/>
                <a:gd name="connsiteX407" fmla="*/ 68907 w 3024845"/>
                <a:gd name="connsiteY407" fmla="*/ 629077 h 1059043"/>
                <a:gd name="connsiteX408" fmla="*/ 68907 w 3024845"/>
                <a:gd name="connsiteY408" fmla="*/ 505856 h 1059043"/>
                <a:gd name="connsiteX409" fmla="*/ 70934 w 3024845"/>
                <a:gd name="connsiteY409" fmla="*/ 505856 h 1059043"/>
                <a:gd name="connsiteX410" fmla="*/ 85121 w 3024845"/>
                <a:gd name="connsiteY410" fmla="*/ 505856 h 1059043"/>
                <a:gd name="connsiteX411" fmla="*/ 85121 w 3024845"/>
                <a:gd name="connsiteY411" fmla="*/ 369664 h 1059043"/>
                <a:gd name="connsiteX412" fmla="*/ 86894 w 3024845"/>
                <a:gd name="connsiteY412" fmla="*/ 369664 h 1059043"/>
                <a:gd name="connsiteX413" fmla="*/ 99308 w 3024845"/>
                <a:gd name="connsiteY413" fmla="*/ 369664 h 1059043"/>
                <a:gd name="connsiteX414" fmla="*/ 99308 w 3024845"/>
                <a:gd name="connsiteY414" fmla="*/ 255090 h 1059043"/>
                <a:gd name="connsiteX415" fmla="*/ 103361 w 3024845"/>
                <a:gd name="connsiteY415" fmla="*/ 226986 h 1059043"/>
                <a:gd name="connsiteX416" fmla="*/ 105388 w 3024845"/>
                <a:gd name="connsiteY416" fmla="*/ 226986 h 1059043"/>
                <a:gd name="connsiteX417" fmla="*/ 119575 w 3024845"/>
                <a:gd name="connsiteY417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0720 w 3024845"/>
                <a:gd name="connsiteY333" fmla="*/ 555577 h 1059043"/>
                <a:gd name="connsiteX334" fmla="*/ 2245574 w 3024845"/>
                <a:gd name="connsiteY334" fmla="*/ 555577 h 1059043"/>
                <a:gd name="connsiteX335" fmla="*/ 2245574 w 3024845"/>
                <a:gd name="connsiteY335" fmla="*/ 631239 h 1059043"/>
                <a:gd name="connsiteX336" fmla="*/ 2253681 w 3024845"/>
                <a:gd name="connsiteY336" fmla="*/ 631239 h 1059043"/>
                <a:gd name="connsiteX337" fmla="*/ 2255708 w 3024845"/>
                <a:gd name="connsiteY337" fmla="*/ 624754 h 1059043"/>
                <a:gd name="connsiteX338" fmla="*/ 2261788 w 3024845"/>
                <a:gd name="connsiteY338" fmla="*/ 624754 h 1059043"/>
                <a:gd name="connsiteX339" fmla="*/ 2263815 w 3024845"/>
                <a:gd name="connsiteY339" fmla="*/ 633401 h 1059043"/>
                <a:gd name="connsiteX340" fmla="*/ 2275975 w 3024845"/>
                <a:gd name="connsiteY340" fmla="*/ 633401 h 1059043"/>
                <a:gd name="connsiteX341" fmla="*/ 2275975 w 3024845"/>
                <a:gd name="connsiteY341" fmla="*/ 626915 h 1059043"/>
                <a:gd name="connsiteX342" fmla="*/ 2298268 w 3024845"/>
                <a:gd name="connsiteY342" fmla="*/ 626915 h 1059043"/>
                <a:gd name="connsiteX343" fmla="*/ 2298268 w 3024845"/>
                <a:gd name="connsiteY343" fmla="*/ 633401 h 1059043"/>
                <a:gd name="connsiteX344" fmla="*/ 2318535 w 3024845"/>
                <a:gd name="connsiteY344" fmla="*/ 633401 h 1059043"/>
                <a:gd name="connsiteX345" fmla="*/ 2318535 w 3024845"/>
                <a:gd name="connsiteY345" fmla="*/ 678798 h 1059043"/>
                <a:gd name="connsiteX346" fmla="*/ 2332722 w 3024845"/>
                <a:gd name="connsiteY346" fmla="*/ 678798 h 1059043"/>
                <a:gd name="connsiteX347" fmla="*/ 2332722 w 3024845"/>
                <a:gd name="connsiteY347" fmla="*/ 665827 h 1059043"/>
                <a:gd name="connsiteX348" fmla="*/ 2348936 w 3024845"/>
                <a:gd name="connsiteY348" fmla="*/ 665827 h 1059043"/>
                <a:gd name="connsiteX349" fmla="*/ 2348936 w 3024845"/>
                <a:gd name="connsiteY349" fmla="*/ 486400 h 1059043"/>
                <a:gd name="connsiteX350" fmla="*/ 2355016 w 3024845"/>
                <a:gd name="connsiteY350" fmla="*/ 479914 h 1059043"/>
                <a:gd name="connsiteX351" fmla="*/ 2427977 w 3024845"/>
                <a:gd name="connsiteY351" fmla="*/ 479914 h 1059043"/>
                <a:gd name="connsiteX352" fmla="*/ 2427977 w 3024845"/>
                <a:gd name="connsiteY352" fmla="*/ 488562 h 1059043"/>
                <a:gd name="connsiteX353" fmla="*/ 2438110 w 3024845"/>
                <a:gd name="connsiteY353" fmla="*/ 488562 h 1059043"/>
                <a:gd name="connsiteX354" fmla="*/ 2438110 w 3024845"/>
                <a:gd name="connsiteY354" fmla="*/ 603136 h 1059043"/>
                <a:gd name="connsiteX355" fmla="*/ 2460404 w 3024845"/>
                <a:gd name="connsiteY355" fmla="*/ 603136 h 1059043"/>
                <a:gd name="connsiteX356" fmla="*/ 2460404 w 3024845"/>
                <a:gd name="connsiteY356" fmla="*/ 536121 h 1059043"/>
                <a:gd name="connsiteX357" fmla="*/ 2486751 w 3024845"/>
                <a:gd name="connsiteY357" fmla="*/ 536121 h 1059043"/>
                <a:gd name="connsiteX358" fmla="*/ 2490804 w 3024845"/>
                <a:gd name="connsiteY358" fmla="*/ 531797 h 1059043"/>
                <a:gd name="connsiteX359" fmla="*/ 2498911 w 3024845"/>
                <a:gd name="connsiteY359" fmla="*/ 531797 h 1059043"/>
                <a:gd name="connsiteX360" fmla="*/ 2502964 w 3024845"/>
                <a:gd name="connsiteY360" fmla="*/ 536121 h 1059043"/>
                <a:gd name="connsiteX361" fmla="*/ 2525258 w 3024845"/>
                <a:gd name="connsiteY361" fmla="*/ 536121 h 1059043"/>
                <a:gd name="connsiteX362" fmla="*/ 2525258 w 3024845"/>
                <a:gd name="connsiteY362" fmla="*/ 419385 h 1059043"/>
                <a:gd name="connsiteX363" fmla="*/ 2582005 w 3024845"/>
                <a:gd name="connsiteY363" fmla="*/ 408576 h 1059043"/>
                <a:gd name="connsiteX364" fmla="*/ 2582005 w 3024845"/>
                <a:gd name="connsiteY364" fmla="*/ 409657 h 1059043"/>
                <a:gd name="connsiteX365" fmla="*/ 2582005 w 3024845"/>
                <a:gd name="connsiteY365" fmla="*/ 417223 h 1059043"/>
                <a:gd name="connsiteX366" fmla="*/ 2608352 w 3024845"/>
                <a:gd name="connsiteY366" fmla="*/ 417223 h 1059043"/>
                <a:gd name="connsiteX367" fmla="*/ 2608352 w 3024845"/>
                <a:gd name="connsiteY367" fmla="*/ 672313 h 1059043"/>
                <a:gd name="connsiteX368" fmla="*/ 2630646 w 3024845"/>
                <a:gd name="connsiteY368" fmla="*/ 672313 h 1059043"/>
                <a:gd name="connsiteX369" fmla="*/ 2630646 w 3024845"/>
                <a:gd name="connsiteY369" fmla="*/ 667989 h 1059043"/>
                <a:gd name="connsiteX370" fmla="*/ 2642806 w 3024845"/>
                <a:gd name="connsiteY370" fmla="*/ 667989 h 1059043"/>
                <a:gd name="connsiteX371" fmla="*/ 2642806 w 3024845"/>
                <a:gd name="connsiteY371" fmla="*/ 672313 h 1059043"/>
                <a:gd name="connsiteX372" fmla="*/ 2667126 w 3024845"/>
                <a:gd name="connsiteY372" fmla="*/ 672313 h 1059043"/>
                <a:gd name="connsiteX373" fmla="*/ 2667126 w 3024845"/>
                <a:gd name="connsiteY373" fmla="*/ 659342 h 1059043"/>
                <a:gd name="connsiteX374" fmla="*/ 2695500 w 3024845"/>
                <a:gd name="connsiteY374" fmla="*/ 659342 h 1059043"/>
                <a:gd name="connsiteX375" fmla="*/ 2707660 w 3024845"/>
                <a:gd name="connsiteY375" fmla="*/ 655018 h 1059043"/>
                <a:gd name="connsiteX376" fmla="*/ 2727927 w 3024845"/>
                <a:gd name="connsiteY376" fmla="*/ 659342 h 1059043"/>
                <a:gd name="connsiteX377" fmla="*/ 2727927 w 3024845"/>
                <a:gd name="connsiteY377" fmla="*/ 642048 h 1059043"/>
                <a:gd name="connsiteX378" fmla="*/ 2736034 w 3024845"/>
                <a:gd name="connsiteY378" fmla="*/ 642048 h 1059043"/>
                <a:gd name="connsiteX379" fmla="*/ 2736034 w 3024845"/>
                <a:gd name="connsiteY379" fmla="*/ 629077 h 1059043"/>
                <a:gd name="connsiteX380" fmla="*/ 2792781 w 3024845"/>
                <a:gd name="connsiteY380" fmla="*/ 629077 h 1059043"/>
                <a:gd name="connsiteX381" fmla="*/ 2792781 w 3024845"/>
                <a:gd name="connsiteY381" fmla="*/ 598812 h 1059043"/>
                <a:gd name="connsiteX382" fmla="*/ 2811021 w 3024845"/>
                <a:gd name="connsiteY382" fmla="*/ 598812 h 1059043"/>
                <a:gd name="connsiteX383" fmla="*/ 2811021 w 3024845"/>
                <a:gd name="connsiteY383" fmla="*/ 592327 h 1059043"/>
                <a:gd name="connsiteX384" fmla="*/ 2823181 w 3024845"/>
                <a:gd name="connsiteY384" fmla="*/ 592327 h 1059043"/>
                <a:gd name="connsiteX385" fmla="*/ 2823181 w 3024845"/>
                <a:gd name="connsiteY385" fmla="*/ 598812 h 1059043"/>
                <a:gd name="connsiteX386" fmla="*/ 2839395 w 3024845"/>
                <a:gd name="connsiteY386" fmla="*/ 598812 h 1059043"/>
                <a:gd name="connsiteX387" fmla="*/ 2839395 w 3024845"/>
                <a:gd name="connsiteY387" fmla="*/ 648533 h 1059043"/>
                <a:gd name="connsiteX388" fmla="*/ 2871822 w 3024845"/>
                <a:gd name="connsiteY388" fmla="*/ 648533 h 1059043"/>
                <a:gd name="connsiteX389" fmla="*/ 2871822 w 3024845"/>
                <a:gd name="connsiteY389" fmla="*/ 622592 h 1059043"/>
                <a:gd name="connsiteX390" fmla="*/ 2910329 w 3024845"/>
                <a:gd name="connsiteY390" fmla="*/ 622592 h 1059043"/>
                <a:gd name="connsiteX391" fmla="*/ 2910329 w 3024845"/>
                <a:gd name="connsiteY391" fmla="*/ 592327 h 1059043"/>
                <a:gd name="connsiteX392" fmla="*/ 2958970 w 3024845"/>
                <a:gd name="connsiteY392" fmla="*/ 592327 h 1059043"/>
                <a:gd name="connsiteX393" fmla="*/ 2958970 w 3024845"/>
                <a:gd name="connsiteY393" fmla="*/ 703483 h 1059043"/>
                <a:gd name="connsiteX394" fmla="*/ 2958970 w 3024845"/>
                <a:gd name="connsiteY394" fmla="*/ 717262 h 1059043"/>
                <a:gd name="connsiteX395" fmla="*/ 3024845 w 3024845"/>
                <a:gd name="connsiteY395" fmla="*/ 717262 h 1059043"/>
                <a:gd name="connsiteX396" fmla="*/ 3024845 w 3024845"/>
                <a:gd name="connsiteY396" fmla="*/ 1059043 h 1059043"/>
                <a:gd name="connsiteX397" fmla="*/ 2054 w 3024845"/>
                <a:gd name="connsiteY397" fmla="*/ 1056710 h 1059043"/>
                <a:gd name="connsiteX398" fmla="*/ 0 w 3024845"/>
                <a:gd name="connsiteY398" fmla="*/ 622592 h 1059043"/>
                <a:gd name="connsiteX399" fmla="*/ 20267 w 3024845"/>
                <a:gd name="connsiteY399" fmla="*/ 622592 h 1059043"/>
                <a:gd name="connsiteX400" fmla="*/ 20774 w 3024845"/>
                <a:gd name="connsiteY400" fmla="*/ 621511 h 1059043"/>
                <a:gd name="connsiteX401" fmla="*/ 24320 w 3024845"/>
                <a:gd name="connsiteY401" fmla="*/ 613945 h 1059043"/>
                <a:gd name="connsiteX402" fmla="*/ 26094 w 3024845"/>
                <a:gd name="connsiteY402" fmla="*/ 614215 h 1059043"/>
                <a:gd name="connsiteX403" fmla="*/ 38507 w 3024845"/>
                <a:gd name="connsiteY403" fmla="*/ 616106 h 1059043"/>
                <a:gd name="connsiteX404" fmla="*/ 39014 w 3024845"/>
                <a:gd name="connsiteY404" fmla="*/ 617458 h 1059043"/>
                <a:gd name="connsiteX405" fmla="*/ 42560 w 3024845"/>
                <a:gd name="connsiteY405" fmla="*/ 626915 h 1059043"/>
                <a:gd name="connsiteX406" fmla="*/ 68907 w 3024845"/>
                <a:gd name="connsiteY406" fmla="*/ 629077 h 1059043"/>
                <a:gd name="connsiteX407" fmla="*/ 68907 w 3024845"/>
                <a:gd name="connsiteY407" fmla="*/ 505856 h 1059043"/>
                <a:gd name="connsiteX408" fmla="*/ 70934 w 3024845"/>
                <a:gd name="connsiteY408" fmla="*/ 505856 h 1059043"/>
                <a:gd name="connsiteX409" fmla="*/ 85121 w 3024845"/>
                <a:gd name="connsiteY409" fmla="*/ 505856 h 1059043"/>
                <a:gd name="connsiteX410" fmla="*/ 85121 w 3024845"/>
                <a:gd name="connsiteY410" fmla="*/ 369664 h 1059043"/>
                <a:gd name="connsiteX411" fmla="*/ 86894 w 3024845"/>
                <a:gd name="connsiteY411" fmla="*/ 369664 h 1059043"/>
                <a:gd name="connsiteX412" fmla="*/ 99308 w 3024845"/>
                <a:gd name="connsiteY412" fmla="*/ 369664 h 1059043"/>
                <a:gd name="connsiteX413" fmla="*/ 99308 w 3024845"/>
                <a:gd name="connsiteY413" fmla="*/ 255090 h 1059043"/>
                <a:gd name="connsiteX414" fmla="*/ 103361 w 3024845"/>
                <a:gd name="connsiteY414" fmla="*/ 226986 h 1059043"/>
                <a:gd name="connsiteX415" fmla="*/ 105388 w 3024845"/>
                <a:gd name="connsiteY415" fmla="*/ 226986 h 1059043"/>
                <a:gd name="connsiteX416" fmla="*/ 119575 w 3024845"/>
                <a:gd name="connsiteY416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35634 h 1059043"/>
                <a:gd name="connsiteX330" fmla="*/ 2182747 w 3024845"/>
                <a:gd name="connsiteY330" fmla="*/ 252928 h 1059043"/>
                <a:gd name="connsiteX331" fmla="*/ 2190854 w 3024845"/>
                <a:gd name="connsiteY331" fmla="*/ 276707 h 1059043"/>
                <a:gd name="connsiteX332" fmla="*/ 2180720 w 3024845"/>
                <a:gd name="connsiteY332" fmla="*/ 555577 h 1059043"/>
                <a:gd name="connsiteX333" fmla="*/ 2245574 w 3024845"/>
                <a:gd name="connsiteY333" fmla="*/ 555577 h 1059043"/>
                <a:gd name="connsiteX334" fmla="*/ 2245574 w 3024845"/>
                <a:gd name="connsiteY334" fmla="*/ 631239 h 1059043"/>
                <a:gd name="connsiteX335" fmla="*/ 2253681 w 3024845"/>
                <a:gd name="connsiteY335" fmla="*/ 631239 h 1059043"/>
                <a:gd name="connsiteX336" fmla="*/ 2255708 w 3024845"/>
                <a:gd name="connsiteY336" fmla="*/ 624754 h 1059043"/>
                <a:gd name="connsiteX337" fmla="*/ 2261788 w 3024845"/>
                <a:gd name="connsiteY337" fmla="*/ 624754 h 1059043"/>
                <a:gd name="connsiteX338" fmla="*/ 2263815 w 3024845"/>
                <a:gd name="connsiteY338" fmla="*/ 633401 h 1059043"/>
                <a:gd name="connsiteX339" fmla="*/ 2275975 w 3024845"/>
                <a:gd name="connsiteY339" fmla="*/ 633401 h 1059043"/>
                <a:gd name="connsiteX340" fmla="*/ 2275975 w 3024845"/>
                <a:gd name="connsiteY340" fmla="*/ 626915 h 1059043"/>
                <a:gd name="connsiteX341" fmla="*/ 2298268 w 3024845"/>
                <a:gd name="connsiteY341" fmla="*/ 626915 h 1059043"/>
                <a:gd name="connsiteX342" fmla="*/ 2298268 w 3024845"/>
                <a:gd name="connsiteY342" fmla="*/ 633401 h 1059043"/>
                <a:gd name="connsiteX343" fmla="*/ 2318535 w 3024845"/>
                <a:gd name="connsiteY343" fmla="*/ 633401 h 1059043"/>
                <a:gd name="connsiteX344" fmla="*/ 2318535 w 3024845"/>
                <a:gd name="connsiteY344" fmla="*/ 678798 h 1059043"/>
                <a:gd name="connsiteX345" fmla="*/ 2332722 w 3024845"/>
                <a:gd name="connsiteY345" fmla="*/ 678798 h 1059043"/>
                <a:gd name="connsiteX346" fmla="*/ 2332722 w 3024845"/>
                <a:gd name="connsiteY346" fmla="*/ 665827 h 1059043"/>
                <a:gd name="connsiteX347" fmla="*/ 2348936 w 3024845"/>
                <a:gd name="connsiteY347" fmla="*/ 665827 h 1059043"/>
                <a:gd name="connsiteX348" fmla="*/ 2348936 w 3024845"/>
                <a:gd name="connsiteY348" fmla="*/ 486400 h 1059043"/>
                <a:gd name="connsiteX349" fmla="*/ 2355016 w 3024845"/>
                <a:gd name="connsiteY349" fmla="*/ 479914 h 1059043"/>
                <a:gd name="connsiteX350" fmla="*/ 2427977 w 3024845"/>
                <a:gd name="connsiteY350" fmla="*/ 479914 h 1059043"/>
                <a:gd name="connsiteX351" fmla="*/ 2427977 w 3024845"/>
                <a:gd name="connsiteY351" fmla="*/ 488562 h 1059043"/>
                <a:gd name="connsiteX352" fmla="*/ 2438110 w 3024845"/>
                <a:gd name="connsiteY352" fmla="*/ 488562 h 1059043"/>
                <a:gd name="connsiteX353" fmla="*/ 2438110 w 3024845"/>
                <a:gd name="connsiteY353" fmla="*/ 603136 h 1059043"/>
                <a:gd name="connsiteX354" fmla="*/ 2460404 w 3024845"/>
                <a:gd name="connsiteY354" fmla="*/ 603136 h 1059043"/>
                <a:gd name="connsiteX355" fmla="*/ 2460404 w 3024845"/>
                <a:gd name="connsiteY355" fmla="*/ 536121 h 1059043"/>
                <a:gd name="connsiteX356" fmla="*/ 2486751 w 3024845"/>
                <a:gd name="connsiteY356" fmla="*/ 536121 h 1059043"/>
                <a:gd name="connsiteX357" fmla="*/ 2490804 w 3024845"/>
                <a:gd name="connsiteY357" fmla="*/ 531797 h 1059043"/>
                <a:gd name="connsiteX358" fmla="*/ 2498911 w 3024845"/>
                <a:gd name="connsiteY358" fmla="*/ 531797 h 1059043"/>
                <a:gd name="connsiteX359" fmla="*/ 2502964 w 3024845"/>
                <a:gd name="connsiteY359" fmla="*/ 536121 h 1059043"/>
                <a:gd name="connsiteX360" fmla="*/ 2525258 w 3024845"/>
                <a:gd name="connsiteY360" fmla="*/ 536121 h 1059043"/>
                <a:gd name="connsiteX361" fmla="*/ 2525258 w 3024845"/>
                <a:gd name="connsiteY361" fmla="*/ 419385 h 1059043"/>
                <a:gd name="connsiteX362" fmla="*/ 2582005 w 3024845"/>
                <a:gd name="connsiteY362" fmla="*/ 408576 h 1059043"/>
                <a:gd name="connsiteX363" fmla="*/ 2582005 w 3024845"/>
                <a:gd name="connsiteY363" fmla="*/ 409657 h 1059043"/>
                <a:gd name="connsiteX364" fmla="*/ 2582005 w 3024845"/>
                <a:gd name="connsiteY364" fmla="*/ 417223 h 1059043"/>
                <a:gd name="connsiteX365" fmla="*/ 2608352 w 3024845"/>
                <a:gd name="connsiteY365" fmla="*/ 417223 h 1059043"/>
                <a:gd name="connsiteX366" fmla="*/ 2608352 w 3024845"/>
                <a:gd name="connsiteY366" fmla="*/ 672313 h 1059043"/>
                <a:gd name="connsiteX367" fmla="*/ 2630646 w 3024845"/>
                <a:gd name="connsiteY367" fmla="*/ 672313 h 1059043"/>
                <a:gd name="connsiteX368" fmla="*/ 2630646 w 3024845"/>
                <a:gd name="connsiteY368" fmla="*/ 667989 h 1059043"/>
                <a:gd name="connsiteX369" fmla="*/ 2642806 w 3024845"/>
                <a:gd name="connsiteY369" fmla="*/ 667989 h 1059043"/>
                <a:gd name="connsiteX370" fmla="*/ 2642806 w 3024845"/>
                <a:gd name="connsiteY370" fmla="*/ 672313 h 1059043"/>
                <a:gd name="connsiteX371" fmla="*/ 2667126 w 3024845"/>
                <a:gd name="connsiteY371" fmla="*/ 672313 h 1059043"/>
                <a:gd name="connsiteX372" fmla="*/ 2667126 w 3024845"/>
                <a:gd name="connsiteY372" fmla="*/ 659342 h 1059043"/>
                <a:gd name="connsiteX373" fmla="*/ 2695500 w 3024845"/>
                <a:gd name="connsiteY373" fmla="*/ 659342 h 1059043"/>
                <a:gd name="connsiteX374" fmla="*/ 2707660 w 3024845"/>
                <a:gd name="connsiteY374" fmla="*/ 655018 h 1059043"/>
                <a:gd name="connsiteX375" fmla="*/ 2727927 w 3024845"/>
                <a:gd name="connsiteY375" fmla="*/ 659342 h 1059043"/>
                <a:gd name="connsiteX376" fmla="*/ 2727927 w 3024845"/>
                <a:gd name="connsiteY376" fmla="*/ 642048 h 1059043"/>
                <a:gd name="connsiteX377" fmla="*/ 2736034 w 3024845"/>
                <a:gd name="connsiteY377" fmla="*/ 642048 h 1059043"/>
                <a:gd name="connsiteX378" fmla="*/ 2736034 w 3024845"/>
                <a:gd name="connsiteY378" fmla="*/ 629077 h 1059043"/>
                <a:gd name="connsiteX379" fmla="*/ 2792781 w 3024845"/>
                <a:gd name="connsiteY379" fmla="*/ 629077 h 1059043"/>
                <a:gd name="connsiteX380" fmla="*/ 2792781 w 3024845"/>
                <a:gd name="connsiteY380" fmla="*/ 598812 h 1059043"/>
                <a:gd name="connsiteX381" fmla="*/ 2811021 w 3024845"/>
                <a:gd name="connsiteY381" fmla="*/ 598812 h 1059043"/>
                <a:gd name="connsiteX382" fmla="*/ 2811021 w 3024845"/>
                <a:gd name="connsiteY382" fmla="*/ 592327 h 1059043"/>
                <a:gd name="connsiteX383" fmla="*/ 2823181 w 3024845"/>
                <a:gd name="connsiteY383" fmla="*/ 592327 h 1059043"/>
                <a:gd name="connsiteX384" fmla="*/ 2823181 w 3024845"/>
                <a:gd name="connsiteY384" fmla="*/ 598812 h 1059043"/>
                <a:gd name="connsiteX385" fmla="*/ 2839395 w 3024845"/>
                <a:gd name="connsiteY385" fmla="*/ 598812 h 1059043"/>
                <a:gd name="connsiteX386" fmla="*/ 2839395 w 3024845"/>
                <a:gd name="connsiteY386" fmla="*/ 648533 h 1059043"/>
                <a:gd name="connsiteX387" fmla="*/ 2871822 w 3024845"/>
                <a:gd name="connsiteY387" fmla="*/ 648533 h 1059043"/>
                <a:gd name="connsiteX388" fmla="*/ 2871822 w 3024845"/>
                <a:gd name="connsiteY388" fmla="*/ 622592 h 1059043"/>
                <a:gd name="connsiteX389" fmla="*/ 2910329 w 3024845"/>
                <a:gd name="connsiteY389" fmla="*/ 622592 h 1059043"/>
                <a:gd name="connsiteX390" fmla="*/ 2910329 w 3024845"/>
                <a:gd name="connsiteY390" fmla="*/ 592327 h 1059043"/>
                <a:gd name="connsiteX391" fmla="*/ 2958970 w 3024845"/>
                <a:gd name="connsiteY391" fmla="*/ 592327 h 1059043"/>
                <a:gd name="connsiteX392" fmla="*/ 2958970 w 3024845"/>
                <a:gd name="connsiteY392" fmla="*/ 703483 h 1059043"/>
                <a:gd name="connsiteX393" fmla="*/ 2958970 w 3024845"/>
                <a:gd name="connsiteY393" fmla="*/ 717262 h 1059043"/>
                <a:gd name="connsiteX394" fmla="*/ 3024845 w 3024845"/>
                <a:gd name="connsiteY394" fmla="*/ 717262 h 1059043"/>
                <a:gd name="connsiteX395" fmla="*/ 3024845 w 3024845"/>
                <a:gd name="connsiteY395" fmla="*/ 1059043 h 1059043"/>
                <a:gd name="connsiteX396" fmla="*/ 2054 w 3024845"/>
                <a:gd name="connsiteY396" fmla="*/ 1056710 h 1059043"/>
                <a:gd name="connsiteX397" fmla="*/ 0 w 3024845"/>
                <a:gd name="connsiteY397" fmla="*/ 622592 h 1059043"/>
                <a:gd name="connsiteX398" fmla="*/ 20267 w 3024845"/>
                <a:gd name="connsiteY398" fmla="*/ 622592 h 1059043"/>
                <a:gd name="connsiteX399" fmla="*/ 20774 w 3024845"/>
                <a:gd name="connsiteY399" fmla="*/ 621511 h 1059043"/>
                <a:gd name="connsiteX400" fmla="*/ 24320 w 3024845"/>
                <a:gd name="connsiteY400" fmla="*/ 613945 h 1059043"/>
                <a:gd name="connsiteX401" fmla="*/ 26094 w 3024845"/>
                <a:gd name="connsiteY401" fmla="*/ 614215 h 1059043"/>
                <a:gd name="connsiteX402" fmla="*/ 38507 w 3024845"/>
                <a:gd name="connsiteY402" fmla="*/ 616106 h 1059043"/>
                <a:gd name="connsiteX403" fmla="*/ 39014 w 3024845"/>
                <a:gd name="connsiteY403" fmla="*/ 617458 h 1059043"/>
                <a:gd name="connsiteX404" fmla="*/ 42560 w 3024845"/>
                <a:gd name="connsiteY404" fmla="*/ 626915 h 1059043"/>
                <a:gd name="connsiteX405" fmla="*/ 68907 w 3024845"/>
                <a:gd name="connsiteY405" fmla="*/ 629077 h 1059043"/>
                <a:gd name="connsiteX406" fmla="*/ 68907 w 3024845"/>
                <a:gd name="connsiteY406" fmla="*/ 505856 h 1059043"/>
                <a:gd name="connsiteX407" fmla="*/ 70934 w 3024845"/>
                <a:gd name="connsiteY407" fmla="*/ 505856 h 1059043"/>
                <a:gd name="connsiteX408" fmla="*/ 85121 w 3024845"/>
                <a:gd name="connsiteY408" fmla="*/ 505856 h 1059043"/>
                <a:gd name="connsiteX409" fmla="*/ 85121 w 3024845"/>
                <a:gd name="connsiteY409" fmla="*/ 369664 h 1059043"/>
                <a:gd name="connsiteX410" fmla="*/ 86894 w 3024845"/>
                <a:gd name="connsiteY410" fmla="*/ 369664 h 1059043"/>
                <a:gd name="connsiteX411" fmla="*/ 99308 w 3024845"/>
                <a:gd name="connsiteY411" fmla="*/ 369664 h 1059043"/>
                <a:gd name="connsiteX412" fmla="*/ 99308 w 3024845"/>
                <a:gd name="connsiteY412" fmla="*/ 255090 h 1059043"/>
                <a:gd name="connsiteX413" fmla="*/ 103361 w 3024845"/>
                <a:gd name="connsiteY413" fmla="*/ 226986 h 1059043"/>
                <a:gd name="connsiteX414" fmla="*/ 105388 w 3024845"/>
                <a:gd name="connsiteY414" fmla="*/ 226986 h 1059043"/>
                <a:gd name="connsiteX415" fmla="*/ 119575 w 3024845"/>
                <a:gd name="connsiteY415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52928 h 1059043"/>
                <a:gd name="connsiteX330" fmla="*/ 2190854 w 3024845"/>
                <a:gd name="connsiteY330" fmla="*/ 276707 h 1059043"/>
                <a:gd name="connsiteX331" fmla="*/ 2180720 w 3024845"/>
                <a:gd name="connsiteY331" fmla="*/ 555577 h 1059043"/>
                <a:gd name="connsiteX332" fmla="*/ 2245574 w 3024845"/>
                <a:gd name="connsiteY332" fmla="*/ 555577 h 1059043"/>
                <a:gd name="connsiteX333" fmla="*/ 2245574 w 3024845"/>
                <a:gd name="connsiteY333" fmla="*/ 631239 h 1059043"/>
                <a:gd name="connsiteX334" fmla="*/ 2253681 w 3024845"/>
                <a:gd name="connsiteY334" fmla="*/ 631239 h 1059043"/>
                <a:gd name="connsiteX335" fmla="*/ 2255708 w 3024845"/>
                <a:gd name="connsiteY335" fmla="*/ 624754 h 1059043"/>
                <a:gd name="connsiteX336" fmla="*/ 2261788 w 3024845"/>
                <a:gd name="connsiteY336" fmla="*/ 624754 h 1059043"/>
                <a:gd name="connsiteX337" fmla="*/ 2263815 w 3024845"/>
                <a:gd name="connsiteY337" fmla="*/ 633401 h 1059043"/>
                <a:gd name="connsiteX338" fmla="*/ 2275975 w 3024845"/>
                <a:gd name="connsiteY338" fmla="*/ 633401 h 1059043"/>
                <a:gd name="connsiteX339" fmla="*/ 2275975 w 3024845"/>
                <a:gd name="connsiteY339" fmla="*/ 626915 h 1059043"/>
                <a:gd name="connsiteX340" fmla="*/ 2298268 w 3024845"/>
                <a:gd name="connsiteY340" fmla="*/ 626915 h 1059043"/>
                <a:gd name="connsiteX341" fmla="*/ 2298268 w 3024845"/>
                <a:gd name="connsiteY341" fmla="*/ 633401 h 1059043"/>
                <a:gd name="connsiteX342" fmla="*/ 2318535 w 3024845"/>
                <a:gd name="connsiteY342" fmla="*/ 633401 h 1059043"/>
                <a:gd name="connsiteX343" fmla="*/ 2318535 w 3024845"/>
                <a:gd name="connsiteY343" fmla="*/ 678798 h 1059043"/>
                <a:gd name="connsiteX344" fmla="*/ 2332722 w 3024845"/>
                <a:gd name="connsiteY344" fmla="*/ 678798 h 1059043"/>
                <a:gd name="connsiteX345" fmla="*/ 2332722 w 3024845"/>
                <a:gd name="connsiteY345" fmla="*/ 665827 h 1059043"/>
                <a:gd name="connsiteX346" fmla="*/ 2348936 w 3024845"/>
                <a:gd name="connsiteY346" fmla="*/ 665827 h 1059043"/>
                <a:gd name="connsiteX347" fmla="*/ 2348936 w 3024845"/>
                <a:gd name="connsiteY347" fmla="*/ 486400 h 1059043"/>
                <a:gd name="connsiteX348" fmla="*/ 2355016 w 3024845"/>
                <a:gd name="connsiteY348" fmla="*/ 479914 h 1059043"/>
                <a:gd name="connsiteX349" fmla="*/ 2427977 w 3024845"/>
                <a:gd name="connsiteY349" fmla="*/ 479914 h 1059043"/>
                <a:gd name="connsiteX350" fmla="*/ 2427977 w 3024845"/>
                <a:gd name="connsiteY350" fmla="*/ 488562 h 1059043"/>
                <a:gd name="connsiteX351" fmla="*/ 2438110 w 3024845"/>
                <a:gd name="connsiteY351" fmla="*/ 488562 h 1059043"/>
                <a:gd name="connsiteX352" fmla="*/ 2438110 w 3024845"/>
                <a:gd name="connsiteY352" fmla="*/ 603136 h 1059043"/>
                <a:gd name="connsiteX353" fmla="*/ 2460404 w 3024845"/>
                <a:gd name="connsiteY353" fmla="*/ 603136 h 1059043"/>
                <a:gd name="connsiteX354" fmla="*/ 2460404 w 3024845"/>
                <a:gd name="connsiteY354" fmla="*/ 536121 h 1059043"/>
                <a:gd name="connsiteX355" fmla="*/ 2486751 w 3024845"/>
                <a:gd name="connsiteY355" fmla="*/ 536121 h 1059043"/>
                <a:gd name="connsiteX356" fmla="*/ 2490804 w 3024845"/>
                <a:gd name="connsiteY356" fmla="*/ 531797 h 1059043"/>
                <a:gd name="connsiteX357" fmla="*/ 2498911 w 3024845"/>
                <a:gd name="connsiteY357" fmla="*/ 531797 h 1059043"/>
                <a:gd name="connsiteX358" fmla="*/ 2502964 w 3024845"/>
                <a:gd name="connsiteY358" fmla="*/ 536121 h 1059043"/>
                <a:gd name="connsiteX359" fmla="*/ 2525258 w 3024845"/>
                <a:gd name="connsiteY359" fmla="*/ 536121 h 1059043"/>
                <a:gd name="connsiteX360" fmla="*/ 2525258 w 3024845"/>
                <a:gd name="connsiteY360" fmla="*/ 419385 h 1059043"/>
                <a:gd name="connsiteX361" fmla="*/ 2582005 w 3024845"/>
                <a:gd name="connsiteY361" fmla="*/ 408576 h 1059043"/>
                <a:gd name="connsiteX362" fmla="*/ 2582005 w 3024845"/>
                <a:gd name="connsiteY362" fmla="*/ 409657 h 1059043"/>
                <a:gd name="connsiteX363" fmla="*/ 2582005 w 3024845"/>
                <a:gd name="connsiteY363" fmla="*/ 417223 h 1059043"/>
                <a:gd name="connsiteX364" fmla="*/ 2608352 w 3024845"/>
                <a:gd name="connsiteY364" fmla="*/ 417223 h 1059043"/>
                <a:gd name="connsiteX365" fmla="*/ 2608352 w 3024845"/>
                <a:gd name="connsiteY365" fmla="*/ 672313 h 1059043"/>
                <a:gd name="connsiteX366" fmla="*/ 2630646 w 3024845"/>
                <a:gd name="connsiteY366" fmla="*/ 672313 h 1059043"/>
                <a:gd name="connsiteX367" fmla="*/ 2630646 w 3024845"/>
                <a:gd name="connsiteY367" fmla="*/ 667989 h 1059043"/>
                <a:gd name="connsiteX368" fmla="*/ 2642806 w 3024845"/>
                <a:gd name="connsiteY368" fmla="*/ 667989 h 1059043"/>
                <a:gd name="connsiteX369" fmla="*/ 2642806 w 3024845"/>
                <a:gd name="connsiteY369" fmla="*/ 672313 h 1059043"/>
                <a:gd name="connsiteX370" fmla="*/ 2667126 w 3024845"/>
                <a:gd name="connsiteY370" fmla="*/ 672313 h 1059043"/>
                <a:gd name="connsiteX371" fmla="*/ 2667126 w 3024845"/>
                <a:gd name="connsiteY371" fmla="*/ 659342 h 1059043"/>
                <a:gd name="connsiteX372" fmla="*/ 2695500 w 3024845"/>
                <a:gd name="connsiteY372" fmla="*/ 659342 h 1059043"/>
                <a:gd name="connsiteX373" fmla="*/ 2707660 w 3024845"/>
                <a:gd name="connsiteY373" fmla="*/ 655018 h 1059043"/>
                <a:gd name="connsiteX374" fmla="*/ 2727927 w 3024845"/>
                <a:gd name="connsiteY374" fmla="*/ 659342 h 1059043"/>
                <a:gd name="connsiteX375" fmla="*/ 2727927 w 3024845"/>
                <a:gd name="connsiteY375" fmla="*/ 642048 h 1059043"/>
                <a:gd name="connsiteX376" fmla="*/ 2736034 w 3024845"/>
                <a:gd name="connsiteY376" fmla="*/ 642048 h 1059043"/>
                <a:gd name="connsiteX377" fmla="*/ 2736034 w 3024845"/>
                <a:gd name="connsiteY377" fmla="*/ 629077 h 1059043"/>
                <a:gd name="connsiteX378" fmla="*/ 2792781 w 3024845"/>
                <a:gd name="connsiteY378" fmla="*/ 629077 h 1059043"/>
                <a:gd name="connsiteX379" fmla="*/ 2792781 w 3024845"/>
                <a:gd name="connsiteY379" fmla="*/ 598812 h 1059043"/>
                <a:gd name="connsiteX380" fmla="*/ 2811021 w 3024845"/>
                <a:gd name="connsiteY380" fmla="*/ 598812 h 1059043"/>
                <a:gd name="connsiteX381" fmla="*/ 2811021 w 3024845"/>
                <a:gd name="connsiteY381" fmla="*/ 592327 h 1059043"/>
                <a:gd name="connsiteX382" fmla="*/ 2823181 w 3024845"/>
                <a:gd name="connsiteY382" fmla="*/ 592327 h 1059043"/>
                <a:gd name="connsiteX383" fmla="*/ 2823181 w 3024845"/>
                <a:gd name="connsiteY383" fmla="*/ 598812 h 1059043"/>
                <a:gd name="connsiteX384" fmla="*/ 2839395 w 3024845"/>
                <a:gd name="connsiteY384" fmla="*/ 598812 h 1059043"/>
                <a:gd name="connsiteX385" fmla="*/ 2839395 w 3024845"/>
                <a:gd name="connsiteY385" fmla="*/ 648533 h 1059043"/>
                <a:gd name="connsiteX386" fmla="*/ 2871822 w 3024845"/>
                <a:gd name="connsiteY386" fmla="*/ 648533 h 1059043"/>
                <a:gd name="connsiteX387" fmla="*/ 2871822 w 3024845"/>
                <a:gd name="connsiteY387" fmla="*/ 622592 h 1059043"/>
                <a:gd name="connsiteX388" fmla="*/ 2910329 w 3024845"/>
                <a:gd name="connsiteY388" fmla="*/ 622592 h 1059043"/>
                <a:gd name="connsiteX389" fmla="*/ 2910329 w 3024845"/>
                <a:gd name="connsiteY389" fmla="*/ 592327 h 1059043"/>
                <a:gd name="connsiteX390" fmla="*/ 2958970 w 3024845"/>
                <a:gd name="connsiteY390" fmla="*/ 592327 h 1059043"/>
                <a:gd name="connsiteX391" fmla="*/ 2958970 w 3024845"/>
                <a:gd name="connsiteY391" fmla="*/ 703483 h 1059043"/>
                <a:gd name="connsiteX392" fmla="*/ 2958970 w 3024845"/>
                <a:gd name="connsiteY392" fmla="*/ 717262 h 1059043"/>
                <a:gd name="connsiteX393" fmla="*/ 3024845 w 3024845"/>
                <a:gd name="connsiteY393" fmla="*/ 717262 h 1059043"/>
                <a:gd name="connsiteX394" fmla="*/ 3024845 w 3024845"/>
                <a:gd name="connsiteY394" fmla="*/ 1059043 h 1059043"/>
                <a:gd name="connsiteX395" fmla="*/ 2054 w 3024845"/>
                <a:gd name="connsiteY395" fmla="*/ 1056710 h 1059043"/>
                <a:gd name="connsiteX396" fmla="*/ 0 w 3024845"/>
                <a:gd name="connsiteY396" fmla="*/ 622592 h 1059043"/>
                <a:gd name="connsiteX397" fmla="*/ 20267 w 3024845"/>
                <a:gd name="connsiteY397" fmla="*/ 622592 h 1059043"/>
                <a:gd name="connsiteX398" fmla="*/ 20774 w 3024845"/>
                <a:gd name="connsiteY398" fmla="*/ 621511 h 1059043"/>
                <a:gd name="connsiteX399" fmla="*/ 24320 w 3024845"/>
                <a:gd name="connsiteY399" fmla="*/ 613945 h 1059043"/>
                <a:gd name="connsiteX400" fmla="*/ 26094 w 3024845"/>
                <a:gd name="connsiteY400" fmla="*/ 614215 h 1059043"/>
                <a:gd name="connsiteX401" fmla="*/ 38507 w 3024845"/>
                <a:gd name="connsiteY401" fmla="*/ 616106 h 1059043"/>
                <a:gd name="connsiteX402" fmla="*/ 39014 w 3024845"/>
                <a:gd name="connsiteY402" fmla="*/ 617458 h 1059043"/>
                <a:gd name="connsiteX403" fmla="*/ 42560 w 3024845"/>
                <a:gd name="connsiteY403" fmla="*/ 626915 h 1059043"/>
                <a:gd name="connsiteX404" fmla="*/ 68907 w 3024845"/>
                <a:gd name="connsiteY404" fmla="*/ 629077 h 1059043"/>
                <a:gd name="connsiteX405" fmla="*/ 68907 w 3024845"/>
                <a:gd name="connsiteY405" fmla="*/ 505856 h 1059043"/>
                <a:gd name="connsiteX406" fmla="*/ 70934 w 3024845"/>
                <a:gd name="connsiteY406" fmla="*/ 505856 h 1059043"/>
                <a:gd name="connsiteX407" fmla="*/ 85121 w 3024845"/>
                <a:gd name="connsiteY407" fmla="*/ 505856 h 1059043"/>
                <a:gd name="connsiteX408" fmla="*/ 85121 w 3024845"/>
                <a:gd name="connsiteY408" fmla="*/ 369664 h 1059043"/>
                <a:gd name="connsiteX409" fmla="*/ 86894 w 3024845"/>
                <a:gd name="connsiteY409" fmla="*/ 369664 h 1059043"/>
                <a:gd name="connsiteX410" fmla="*/ 99308 w 3024845"/>
                <a:gd name="connsiteY410" fmla="*/ 369664 h 1059043"/>
                <a:gd name="connsiteX411" fmla="*/ 99308 w 3024845"/>
                <a:gd name="connsiteY411" fmla="*/ 255090 h 1059043"/>
                <a:gd name="connsiteX412" fmla="*/ 103361 w 3024845"/>
                <a:gd name="connsiteY412" fmla="*/ 226986 h 1059043"/>
                <a:gd name="connsiteX413" fmla="*/ 105388 w 3024845"/>
                <a:gd name="connsiteY413" fmla="*/ 226986 h 1059043"/>
                <a:gd name="connsiteX414" fmla="*/ 119575 w 3024845"/>
                <a:gd name="connsiteY414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52928 h 1059043"/>
                <a:gd name="connsiteX330" fmla="*/ 2180720 w 3024845"/>
                <a:gd name="connsiteY330" fmla="*/ 555577 h 1059043"/>
                <a:gd name="connsiteX331" fmla="*/ 2245574 w 3024845"/>
                <a:gd name="connsiteY331" fmla="*/ 555577 h 1059043"/>
                <a:gd name="connsiteX332" fmla="*/ 2245574 w 3024845"/>
                <a:gd name="connsiteY332" fmla="*/ 631239 h 1059043"/>
                <a:gd name="connsiteX333" fmla="*/ 2253681 w 3024845"/>
                <a:gd name="connsiteY333" fmla="*/ 631239 h 1059043"/>
                <a:gd name="connsiteX334" fmla="*/ 2255708 w 3024845"/>
                <a:gd name="connsiteY334" fmla="*/ 624754 h 1059043"/>
                <a:gd name="connsiteX335" fmla="*/ 2261788 w 3024845"/>
                <a:gd name="connsiteY335" fmla="*/ 624754 h 1059043"/>
                <a:gd name="connsiteX336" fmla="*/ 2263815 w 3024845"/>
                <a:gd name="connsiteY336" fmla="*/ 633401 h 1059043"/>
                <a:gd name="connsiteX337" fmla="*/ 2275975 w 3024845"/>
                <a:gd name="connsiteY337" fmla="*/ 633401 h 1059043"/>
                <a:gd name="connsiteX338" fmla="*/ 2275975 w 3024845"/>
                <a:gd name="connsiteY338" fmla="*/ 626915 h 1059043"/>
                <a:gd name="connsiteX339" fmla="*/ 2298268 w 3024845"/>
                <a:gd name="connsiteY339" fmla="*/ 626915 h 1059043"/>
                <a:gd name="connsiteX340" fmla="*/ 2298268 w 3024845"/>
                <a:gd name="connsiteY340" fmla="*/ 633401 h 1059043"/>
                <a:gd name="connsiteX341" fmla="*/ 2318535 w 3024845"/>
                <a:gd name="connsiteY341" fmla="*/ 633401 h 1059043"/>
                <a:gd name="connsiteX342" fmla="*/ 2318535 w 3024845"/>
                <a:gd name="connsiteY342" fmla="*/ 678798 h 1059043"/>
                <a:gd name="connsiteX343" fmla="*/ 2332722 w 3024845"/>
                <a:gd name="connsiteY343" fmla="*/ 678798 h 1059043"/>
                <a:gd name="connsiteX344" fmla="*/ 2332722 w 3024845"/>
                <a:gd name="connsiteY344" fmla="*/ 665827 h 1059043"/>
                <a:gd name="connsiteX345" fmla="*/ 2348936 w 3024845"/>
                <a:gd name="connsiteY345" fmla="*/ 665827 h 1059043"/>
                <a:gd name="connsiteX346" fmla="*/ 2348936 w 3024845"/>
                <a:gd name="connsiteY346" fmla="*/ 486400 h 1059043"/>
                <a:gd name="connsiteX347" fmla="*/ 2355016 w 3024845"/>
                <a:gd name="connsiteY347" fmla="*/ 479914 h 1059043"/>
                <a:gd name="connsiteX348" fmla="*/ 2427977 w 3024845"/>
                <a:gd name="connsiteY348" fmla="*/ 479914 h 1059043"/>
                <a:gd name="connsiteX349" fmla="*/ 2427977 w 3024845"/>
                <a:gd name="connsiteY349" fmla="*/ 488562 h 1059043"/>
                <a:gd name="connsiteX350" fmla="*/ 2438110 w 3024845"/>
                <a:gd name="connsiteY350" fmla="*/ 488562 h 1059043"/>
                <a:gd name="connsiteX351" fmla="*/ 2438110 w 3024845"/>
                <a:gd name="connsiteY351" fmla="*/ 603136 h 1059043"/>
                <a:gd name="connsiteX352" fmla="*/ 2460404 w 3024845"/>
                <a:gd name="connsiteY352" fmla="*/ 603136 h 1059043"/>
                <a:gd name="connsiteX353" fmla="*/ 2460404 w 3024845"/>
                <a:gd name="connsiteY353" fmla="*/ 536121 h 1059043"/>
                <a:gd name="connsiteX354" fmla="*/ 2486751 w 3024845"/>
                <a:gd name="connsiteY354" fmla="*/ 536121 h 1059043"/>
                <a:gd name="connsiteX355" fmla="*/ 2490804 w 3024845"/>
                <a:gd name="connsiteY355" fmla="*/ 531797 h 1059043"/>
                <a:gd name="connsiteX356" fmla="*/ 2498911 w 3024845"/>
                <a:gd name="connsiteY356" fmla="*/ 531797 h 1059043"/>
                <a:gd name="connsiteX357" fmla="*/ 2502964 w 3024845"/>
                <a:gd name="connsiteY357" fmla="*/ 536121 h 1059043"/>
                <a:gd name="connsiteX358" fmla="*/ 2525258 w 3024845"/>
                <a:gd name="connsiteY358" fmla="*/ 536121 h 1059043"/>
                <a:gd name="connsiteX359" fmla="*/ 2525258 w 3024845"/>
                <a:gd name="connsiteY359" fmla="*/ 419385 h 1059043"/>
                <a:gd name="connsiteX360" fmla="*/ 2582005 w 3024845"/>
                <a:gd name="connsiteY360" fmla="*/ 408576 h 1059043"/>
                <a:gd name="connsiteX361" fmla="*/ 2582005 w 3024845"/>
                <a:gd name="connsiteY361" fmla="*/ 409657 h 1059043"/>
                <a:gd name="connsiteX362" fmla="*/ 2582005 w 3024845"/>
                <a:gd name="connsiteY362" fmla="*/ 417223 h 1059043"/>
                <a:gd name="connsiteX363" fmla="*/ 2608352 w 3024845"/>
                <a:gd name="connsiteY363" fmla="*/ 417223 h 1059043"/>
                <a:gd name="connsiteX364" fmla="*/ 2608352 w 3024845"/>
                <a:gd name="connsiteY364" fmla="*/ 672313 h 1059043"/>
                <a:gd name="connsiteX365" fmla="*/ 2630646 w 3024845"/>
                <a:gd name="connsiteY365" fmla="*/ 672313 h 1059043"/>
                <a:gd name="connsiteX366" fmla="*/ 2630646 w 3024845"/>
                <a:gd name="connsiteY366" fmla="*/ 667989 h 1059043"/>
                <a:gd name="connsiteX367" fmla="*/ 2642806 w 3024845"/>
                <a:gd name="connsiteY367" fmla="*/ 667989 h 1059043"/>
                <a:gd name="connsiteX368" fmla="*/ 2642806 w 3024845"/>
                <a:gd name="connsiteY368" fmla="*/ 672313 h 1059043"/>
                <a:gd name="connsiteX369" fmla="*/ 2667126 w 3024845"/>
                <a:gd name="connsiteY369" fmla="*/ 672313 h 1059043"/>
                <a:gd name="connsiteX370" fmla="*/ 2667126 w 3024845"/>
                <a:gd name="connsiteY370" fmla="*/ 659342 h 1059043"/>
                <a:gd name="connsiteX371" fmla="*/ 2695500 w 3024845"/>
                <a:gd name="connsiteY371" fmla="*/ 659342 h 1059043"/>
                <a:gd name="connsiteX372" fmla="*/ 2707660 w 3024845"/>
                <a:gd name="connsiteY372" fmla="*/ 655018 h 1059043"/>
                <a:gd name="connsiteX373" fmla="*/ 2727927 w 3024845"/>
                <a:gd name="connsiteY373" fmla="*/ 659342 h 1059043"/>
                <a:gd name="connsiteX374" fmla="*/ 2727927 w 3024845"/>
                <a:gd name="connsiteY374" fmla="*/ 642048 h 1059043"/>
                <a:gd name="connsiteX375" fmla="*/ 2736034 w 3024845"/>
                <a:gd name="connsiteY375" fmla="*/ 642048 h 1059043"/>
                <a:gd name="connsiteX376" fmla="*/ 2736034 w 3024845"/>
                <a:gd name="connsiteY376" fmla="*/ 629077 h 1059043"/>
                <a:gd name="connsiteX377" fmla="*/ 2792781 w 3024845"/>
                <a:gd name="connsiteY377" fmla="*/ 629077 h 1059043"/>
                <a:gd name="connsiteX378" fmla="*/ 2792781 w 3024845"/>
                <a:gd name="connsiteY378" fmla="*/ 598812 h 1059043"/>
                <a:gd name="connsiteX379" fmla="*/ 2811021 w 3024845"/>
                <a:gd name="connsiteY379" fmla="*/ 598812 h 1059043"/>
                <a:gd name="connsiteX380" fmla="*/ 2811021 w 3024845"/>
                <a:gd name="connsiteY380" fmla="*/ 592327 h 1059043"/>
                <a:gd name="connsiteX381" fmla="*/ 2823181 w 3024845"/>
                <a:gd name="connsiteY381" fmla="*/ 592327 h 1059043"/>
                <a:gd name="connsiteX382" fmla="*/ 2823181 w 3024845"/>
                <a:gd name="connsiteY382" fmla="*/ 598812 h 1059043"/>
                <a:gd name="connsiteX383" fmla="*/ 2839395 w 3024845"/>
                <a:gd name="connsiteY383" fmla="*/ 598812 h 1059043"/>
                <a:gd name="connsiteX384" fmla="*/ 2839395 w 3024845"/>
                <a:gd name="connsiteY384" fmla="*/ 648533 h 1059043"/>
                <a:gd name="connsiteX385" fmla="*/ 2871822 w 3024845"/>
                <a:gd name="connsiteY385" fmla="*/ 648533 h 1059043"/>
                <a:gd name="connsiteX386" fmla="*/ 2871822 w 3024845"/>
                <a:gd name="connsiteY386" fmla="*/ 622592 h 1059043"/>
                <a:gd name="connsiteX387" fmla="*/ 2910329 w 3024845"/>
                <a:gd name="connsiteY387" fmla="*/ 622592 h 1059043"/>
                <a:gd name="connsiteX388" fmla="*/ 2910329 w 3024845"/>
                <a:gd name="connsiteY388" fmla="*/ 592327 h 1059043"/>
                <a:gd name="connsiteX389" fmla="*/ 2958970 w 3024845"/>
                <a:gd name="connsiteY389" fmla="*/ 592327 h 1059043"/>
                <a:gd name="connsiteX390" fmla="*/ 2958970 w 3024845"/>
                <a:gd name="connsiteY390" fmla="*/ 703483 h 1059043"/>
                <a:gd name="connsiteX391" fmla="*/ 2958970 w 3024845"/>
                <a:gd name="connsiteY391" fmla="*/ 717262 h 1059043"/>
                <a:gd name="connsiteX392" fmla="*/ 3024845 w 3024845"/>
                <a:gd name="connsiteY392" fmla="*/ 717262 h 1059043"/>
                <a:gd name="connsiteX393" fmla="*/ 3024845 w 3024845"/>
                <a:gd name="connsiteY393" fmla="*/ 1059043 h 1059043"/>
                <a:gd name="connsiteX394" fmla="*/ 2054 w 3024845"/>
                <a:gd name="connsiteY394" fmla="*/ 1056710 h 1059043"/>
                <a:gd name="connsiteX395" fmla="*/ 0 w 3024845"/>
                <a:gd name="connsiteY395" fmla="*/ 622592 h 1059043"/>
                <a:gd name="connsiteX396" fmla="*/ 20267 w 3024845"/>
                <a:gd name="connsiteY396" fmla="*/ 622592 h 1059043"/>
                <a:gd name="connsiteX397" fmla="*/ 20774 w 3024845"/>
                <a:gd name="connsiteY397" fmla="*/ 621511 h 1059043"/>
                <a:gd name="connsiteX398" fmla="*/ 24320 w 3024845"/>
                <a:gd name="connsiteY398" fmla="*/ 613945 h 1059043"/>
                <a:gd name="connsiteX399" fmla="*/ 26094 w 3024845"/>
                <a:gd name="connsiteY399" fmla="*/ 614215 h 1059043"/>
                <a:gd name="connsiteX400" fmla="*/ 38507 w 3024845"/>
                <a:gd name="connsiteY400" fmla="*/ 616106 h 1059043"/>
                <a:gd name="connsiteX401" fmla="*/ 39014 w 3024845"/>
                <a:gd name="connsiteY401" fmla="*/ 617458 h 1059043"/>
                <a:gd name="connsiteX402" fmla="*/ 42560 w 3024845"/>
                <a:gd name="connsiteY402" fmla="*/ 626915 h 1059043"/>
                <a:gd name="connsiteX403" fmla="*/ 68907 w 3024845"/>
                <a:gd name="connsiteY403" fmla="*/ 629077 h 1059043"/>
                <a:gd name="connsiteX404" fmla="*/ 68907 w 3024845"/>
                <a:gd name="connsiteY404" fmla="*/ 505856 h 1059043"/>
                <a:gd name="connsiteX405" fmla="*/ 70934 w 3024845"/>
                <a:gd name="connsiteY405" fmla="*/ 505856 h 1059043"/>
                <a:gd name="connsiteX406" fmla="*/ 85121 w 3024845"/>
                <a:gd name="connsiteY406" fmla="*/ 505856 h 1059043"/>
                <a:gd name="connsiteX407" fmla="*/ 85121 w 3024845"/>
                <a:gd name="connsiteY407" fmla="*/ 369664 h 1059043"/>
                <a:gd name="connsiteX408" fmla="*/ 86894 w 3024845"/>
                <a:gd name="connsiteY408" fmla="*/ 369664 h 1059043"/>
                <a:gd name="connsiteX409" fmla="*/ 99308 w 3024845"/>
                <a:gd name="connsiteY409" fmla="*/ 369664 h 1059043"/>
                <a:gd name="connsiteX410" fmla="*/ 99308 w 3024845"/>
                <a:gd name="connsiteY410" fmla="*/ 255090 h 1059043"/>
                <a:gd name="connsiteX411" fmla="*/ 103361 w 3024845"/>
                <a:gd name="connsiteY411" fmla="*/ 226986 h 1059043"/>
                <a:gd name="connsiteX412" fmla="*/ 105388 w 3024845"/>
                <a:gd name="connsiteY412" fmla="*/ 226986 h 1059043"/>
                <a:gd name="connsiteX413" fmla="*/ 119575 w 3024845"/>
                <a:gd name="connsiteY413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0720 w 3024845"/>
                <a:gd name="connsiteY329" fmla="*/ 555577 h 1059043"/>
                <a:gd name="connsiteX330" fmla="*/ 2245574 w 3024845"/>
                <a:gd name="connsiteY330" fmla="*/ 555577 h 1059043"/>
                <a:gd name="connsiteX331" fmla="*/ 2245574 w 3024845"/>
                <a:gd name="connsiteY331" fmla="*/ 631239 h 1059043"/>
                <a:gd name="connsiteX332" fmla="*/ 2253681 w 3024845"/>
                <a:gd name="connsiteY332" fmla="*/ 631239 h 1059043"/>
                <a:gd name="connsiteX333" fmla="*/ 2255708 w 3024845"/>
                <a:gd name="connsiteY333" fmla="*/ 624754 h 1059043"/>
                <a:gd name="connsiteX334" fmla="*/ 2261788 w 3024845"/>
                <a:gd name="connsiteY334" fmla="*/ 624754 h 1059043"/>
                <a:gd name="connsiteX335" fmla="*/ 2263815 w 3024845"/>
                <a:gd name="connsiteY335" fmla="*/ 633401 h 1059043"/>
                <a:gd name="connsiteX336" fmla="*/ 2275975 w 3024845"/>
                <a:gd name="connsiteY336" fmla="*/ 633401 h 1059043"/>
                <a:gd name="connsiteX337" fmla="*/ 2275975 w 3024845"/>
                <a:gd name="connsiteY337" fmla="*/ 626915 h 1059043"/>
                <a:gd name="connsiteX338" fmla="*/ 2298268 w 3024845"/>
                <a:gd name="connsiteY338" fmla="*/ 626915 h 1059043"/>
                <a:gd name="connsiteX339" fmla="*/ 2298268 w 3024845"/>
                <a:gd name="connsiteY339" fmla="*/ 633401 h 1059043"/>
                <a:gd name="connsiteX340" fmla="*/ 2318535 w 3024845"/>
                <a:gd name="connsiteY340" fmla="*/ 633401 h 1059043"/>
                <a:gd name="connsiteX341" fmla="*/ 2318535 w 3024845"/>
                <a:gd name="connsiteY341" fmla="*/ 678798 h 1059043"/>
                <a:gd name="connsiteX342" fmla="*/ 2332722 w 3024845"/>
                <a:gd name="connsiteY342" fmla="*/ 678798 h 1059043"/>
                <a:gd name="connsiteX343" fmla="*/ 2332722 w 3024845"/>
                <a:gd name="connsiteY343" fmla="*/ 665827 h 1059043"/>
                <a:gd name="connsiteX344" fmla="*/ 2348936 w 3024845"/>
                <a:gd name="connsiteY344" fmla="*/ 665827 h 1059043"/>
                <a:gd name="connsiteX345" fmla="*/ 2348936 w 3024845"/>
                <a:gd name="connsiteY345" fmla="*/ 486400 h 1059043"/>
                <a:gd name="connsiteX346" fmla="*/ 2355016 w 3024845"/>
                <a:gd name="connsiteY346" fmla="*/ 479914 h 1059043"/>
                <a:gd name="connsiteX347" fmla="*/ 2427977 w 3024845"/>
                <a:gd name="connsiteY347" fmla="*/ 479914 h 1059043"/>
                <a:gd name="connsiteX348" fmla="*/ 2427977 w 3024845"/>
                <a:gd name="connsiteY348" fmla="*/ 488562 h 1059043"/>
                <a:gd name="connsiteX349" fmla="*/ 2438110 w 3024845"/>
                <a:gd name="connsiteY349" fmla="*/ 488562 h 1059043"/>
                <a:gd name="connsiteX350" fmla="*/ 2438110 w 3024845"/>
                <a:gd name="connsiteY350" fmla="*/ 603136 h 1059043"/>
                <a:gd name="connsiteX351" fmla="*/ 2460404 w 3024845"/>
                <a:gd name="connsiteY351" fmla="*/ 603136 h 1059043"/>
                <a:gd name="connsiteX352" fmla="*/ 2460404 w 3024845"/>
                <a:gd name="connsiteY352" fmla="*/ 536121 h 1059043"/>
                <a:gd name="connsiteX353" fmla="*/ 2486751 w 3024845"/>
                <a:gd name="connsiteY353" fmla="*/ 536121 h 1059043"/>
                <a:gd name="connsiteX354" fmla="*/ 2490804 w 3024845"/>
                <a:gd name="connsiteY354" fmla="*/ 531797 h 1059043"/>
                <a:gd name="connsiteX355" fmla="*/ 2498911 w 3024845"/>
                <a:gd name="connsiteY355" fmla="*/ 531797 h 1059043"/>
                <a:gd name="connsiteX356" fmla="*/ 2502964 w 3024845"/>
                <a:gd name="connsiteY356" fmla="*/ 536121 h 1059043"/>
                <a:gd name="connsiteX357" fmla="*/ 2525258 w 3024845"/>
                <a:gd name="connsiteY357" fmla="*/ 536121 h 1059043"/>
                <a:gd name="connsiteX358" fmla="*/ 2525258 w 3024845"/>
                <a:gd name="connsiteY358" fmla="*/ 419385 h 1059043"/>
                <a:gd name="connsiteX359" fmla="*/ 2582005 w 3024845"/>
                <a:gd name="connsiteY359" fmla="*/ 408576 h 1059043"/>
                <a:gd name="connsiteX360" fmla="*/ 2582005 w 3024845"/>
                <a:gd name="connsiteY360" fmla="*/ 409657 h 1059043"/>
                <a:gd name="connsiteX361" fmla="*/ 2582005 w 3024845"/>
                <a:gd name="connsiteY361" fmla="*/ 417223 h 1059043"/>
                <a:gd name="connsiteX362" fmla="*/ 2608352 w 3024845"/>
                <a:gd name="connsiteY362" fmla="*/ 417223 h 1059043"/>
                <a:gd name="connsiteX363" fmla="*/ 2608352 w 3024845"/>
                <a:gd name="connsiteY363" fmla="*/ 672313 h 1059043"/>
                <a:gd name="connsiteX364" fmla="*/ 2630646 w 3024845"/>
                <a:gd name="connsiteY364" fmla="*/ 672313 h 1059043"/>
                <a:gd name="connsiteX365" fmla="*/ 2630646 w 3024845"/>
                <a:gd name="connsiteY365" fmla="*/ 667989 h 1059043"/>
                <a:gd name="connsiteX366" fmla="*/ 2642806 w 3024845"/>
                <a:gd name="connsiteY366" fmla="*/ 667989 h 1059043"/>
                <a:gd name="connsiteX367" fmla="*/ 2642806 w 3024845"/>
                <a:gd name="connsiteY367" fmla="*/ 672313 h 1059043"/>
                <a:gd name="connsiteX368" fmla="*/ 2667126 w 3024845"/>
                <a:gd name="connsiteY368" fmla="*/ 672313 h 1059043"/>
                <a:gd name="connsiteX369" fmla="*/ 2667126 w 3024845"/>
                <a:gd name="connsiteY369" fmla="*/ 659342 h 1059043"/>
                <a:gd name="connsiteX370" fmla="*/ 2695500 w 3024845"/>
                <a:gd name="connsiteY370" fmla="*/ 659342 h 1059043"/>
                <a:gd name="connsiteX371" fmla="*/ 2707660 w 3024845"/>
                <a:gd name="connsiteY371" fmla="*/ 655018 h 1059043"/>
                <a:gd name="connsiteX372" fmla="*/ 2727927 w 3024845"/>
                <a:gd name="connsiteY372" fmla="*/ 659342 h 1059043"/>
                <a:gd name="connsiteX373" fmla="*/ 2727927 w 3024845"/>
                <a:gd name="connsiteY373" fmla="*/ 642048 h 1059043"/>
                <a:gd name="connsiteX374" fmla="*/ 2736034 w 3024845"/>
                <a:gd name="connsiteY374" fmla="*/ 642048 h 1059043"/>
                <a:gd name="connsiteX375" fmla="*/ 2736034 w 3024845"/>
                <a:gd name="connsiteY375" fmla="*/ 629077 h 1059043"/>
                <a:gd name="connsiteX376" fmla="*/ 2792781 w 3024845"/>
                <a:gd name="connsiteY376" fmla="*/ 629077 h 1059043"/>
                <a:gd name="connsiteX377" fmla="*/ 2792781 w 3024845"/>
                <a:gd name="connsiteY377" fmla="*/ 598812 h 1059043"/>
                <a:gd name="connsiteX378" fmla="*/ 2811021 w 3024845"/>
                <a:gd name="connsiteY378" fmla="*/ 598812 h 1059043"/>
                <a:gd name="connsiteX379" fmla="*/ 2811021 w 3024845"/>
                <a:gd name="connsiteY379" fmla="*/ 592327 h 1059043"/>
                <a:gd name="connsiteX380" fmla="*/ 2823181 w 3024845"/>
                <a:gd name="connsiteY380" fmla="*/ 592327 h 1059043"/>
                <a:gd name="connsiteX381" fmla="*/ 2823181 w 3024845"/>
                <a:gd name="connsiteY381" fmla="*/ 598812 h 1059043"/>
                <a:gd name="connsiteX382" fmla="*/ 2839395 w 3024845"/>
                <a:gd name="connsiteY382" fmla="*/ 598812 h 1059043"/>
                <a:gd name="connsiteX383" fmla="*/ 2839395 w 3024845"/>
                <a:gd name="connsiteY383" fmla="*/ 648533 h 1059043"/>
                <a:gd name="connsiteX384" fmla="*/ 2871822 w 3024845"/>
                <a:gd name="connsiteY384" fmla="*/ 648533 h 1059043"/>
                <a:gd name="connsiteX385" fmla="*/ 2871822 w 3024845"/>
                <a:gd name="connsiteY385" fmla="*/ 622592 h 1059043"/>
                <a:gd name="connsiteX386" fmla="*/ 2910329 w 3024845"/>
                <a:gd name="connsiteY386" fmla="*/ 622592 h 1059043"/>
                <a:gd name="connsiteX387" fmla="*/ 2910329 w 3024845"/>
                <a:gd name="connsiteY387" fmla="*/ 592327 h 1059043"/>
                <a:gd name="connsiteX388" fmla="*/ 2958970 w 3024845"/>
                <a:gd name="connsiteY388" fmla="*/ 592327 h 1059043"/>
                <a:gd name="connsiteX389" fmla="*/ 2958970 w 3024845"/>
                <a:gd name="connsiteY389" fmla="*/ 703483 h 1059043"/>
                <a:gd name="connsiteX390" fmla="*/ 2958970 w 3024845"/>
                <a:gd name="connsiteY390" fmla="*/ 717262 h 1059043"/>
                <a:gd name="connsiteX391" fmla="*/ 3024845 w 3024845"/>
                <a:gd name="connsiteY391" fmla="*/ 717262 h 1059043"/>
                <a:gd name="connsiteX392" fmla="*/ 3024845 w 3024845"/>
                <a:gd name="connsiteY392" fmla="*/ 1059043 h 1059043"/>
                <a:gd name="connsiteX393" fmla="*/ 2054 w 3024845"/>
                <a:gd name="connsiteY393" fmla="*/ 1056710 h 1059043"/>
                <a:gd name="connsiteX394" fmla="*/ 0 w 3024845"/>
                <a:gd name="connsiteY394" fmla="*/ 622592 h 1059043"/>
                <a:gd name="connsiteX395" fmla="*/ 20267 w 3024845"/>
                <a:gd name="connsiteY395" fmla="*/ 622592 h 1059043"/>
                <a:gd name="connsiteX396" fmla="*/ 20774 w 3024845"/>
                <a:gd name="connsiteY396" fmla="*/ 621511 h 1059043"/>
                <a:gd name="connsiteX397" fmla="*/ 24320 w 3024845"/>
                <a:gd name="connsiteY397" fmla="*/ 613945 h 1059043"/>
                <a:gd name="connsiteX398" fmla="*/ 26094 w 3024845"/>
                <a:gd name="connsiteY398" fmla="*/ 614215 h 1059043"/>
                <a:gd name="connsiteX399" fmla="*/ 38507 w 3024845"/>
                <a:gd name="connsiteY399" fmla="*/ 616106 h 1059043"/>
                <a:gd name="connsiteX400" fmla="*/ 39014 w 3024845"/>
                <a:gd name="connsiteY400" fmla="*/ 617458 h 1059043"/>
                <a:gd name="connsiteX401" fmla="*/ 42560 w 3024845"/>
                <a:gd name="connsiteY401" fmla="*/ 626915 h 1059043"/>
                <a:gd name="connsiteX402" fmla="*/ 68907 w 3024845"/>
                <a:gd name="connsiteY402" fmla="*/ 629077 h 1059043"/>
                <a:gd name="connsiteX403" fmla="*/ 68907 w 3024845"/>
                <a:gd name="connsiteY403" fmla="*/ 505856 h 1059043"/>
                <a:gd name="connsiteX404" fmla="*/ 70934 w 3024845"/>
                <a:gd name="connsiteY404" fmla="*/ 505856 h 1059043"/>
                <a:gd name="connsiteX405" fmla="*/ 85121 w 3024845"/>
                <a:gd name="connsiteY405" fmla="*/ 505856 h 1059043"/>
                <a:gd name="connsiteX406" fmla="*/ 85121 w 3024845"/>
                <a:gd name="connsiteY406" fmla="*/ 369664 h 1059043"/>
                <a:gd name="connsiteX407" fmla="*/ 86894 w 3024845"/>
                <a:gd name="connsiteY407" fmla="*/ 369664 h 1059043"/>
                <a:gd name="connsiteX408" fmla="*/ 99308 w 3024845"/>
                <a:gd name="connsiteY408" fmla="*/ 369664 h 1059043"/>
                <a:gd name="connsiteX409" fmla="*/ 99308 w 3024845"/>
                <a:gd name="connsiteY409" fmla="*/ 255090 h 1059043"/>
                <a:gd name="connsiteX410" fmla="*/ 103361 w 3024845"/>
                <a:gd name="connsiteY410" fmla="*/ 226986 h 1059043"/>
                <a:gd name="connsiteX411" fmla="*/ 105388 w 3024845"/>
                <a:gd name="connsiteY411" fmla="*/ 226986 h 1059043"/>
                <a:gd name="connsiteX412" fmla="*/ 119575 w 3024845"/>
                <a:gd name="connsiteY412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35634 h 1059043"/>
                <a:gd name="connsiteX328" fmla="*/ 2180720 w 3024845"/>
                <a:gd name="connsiteY328" fmla="*/ 555577 h 1059043"/>
                <a:gd name="connsiteX329" fmla="*/ 2245574 w 3024845"/>
                <a:gd name="connsiteY329" fmla="*/ 555577 h 1059043"/>
                <a:gd name="connsiteX330" fmla="*/ 2245574 w 3024845"/>
                <a:gd name="connsiteY330" fmla="*/ 631239 h 1059043"/>
                <a:gd name="connsiteX331" fmla="*/ 2253681 w 3024845"/>
                <a:gd name="connsiteY331" fmla="*/ 631239 h 1059043"/>
                <a:gd name="connsiteX332" fmla="*/ 2255708 w 3024845"/>
                <a:gd name="connsiteY332" fmla="*/ 624754 h 1059043"/>
                <a:gd name="connsiteX333" fmla="*/ 2261788 w 3024845"/>
                <a:gd name="connsiteY333" fmla="*/ 624754 h 1059043"/>
                <a:gd name="connsiteX334" fmla="*/ 2263815 w 3024845"/>
                <a:gd name="connsiteY334" fmla="*/ 633401 h 1059043"/>
                <a:gd name="connsiteX335" fmla="*/ 2275975 w 3024845"/>
                <a:gd name="connsiteY335" fmla="*/ 633401 h 1059043"/>
                <a:gd name="connsiteX336" fmla="*/ 2275975 w 3024845"/>
                <a:gd name="connsiteY336" fmla="*/ 626915 h 1059043"/>
                <a:gd name="connsiteX337" fmla="*/ 2298268 w 3024845"/>
                <a:gd name="connsiteY337" fmla="*/ 626915 h 1059043"/>
                <a:gd name="connsiteX338" fmla="*/ 2298268 w 3024845"/>
                <a:gd name="connsiteY338" fmla="*/ 633401 h 1059043"/>
                <a:gd name="connsiteX339" fmla="*/ 2318535 w 3024845"/>
                <a:gd name="connsiteY339" fmla="*/ 633401 h 1059043"/>
                <a:gd name="connsiteX340" fmla="*/ 2318535 w 3024845"/>
                <a:gd name="connsiteY340" fmla="*/ 678798 h 1059043"/>
                <a:gd name="connsiteX341" fmla="*/ 2332722 w 3024845"/>
                <a:gd name="connsiteY341" fmla="*/ 678798 h 1059043"/>
                <a:gd name="connsiteX342" fmla="*/ 2332722 w 3024845"/>
                <a:gd name="connsiteY342" fmla="*/ 665827 h 1059043"/>
                <a:gd name="connsiteX343" fmla="*/ 2348936 w 3024845"/>
                <a:gd name="connsiteY343" fmla="*/ 665827 h 1059043"/>
                <a:gd name="connsiteX344" fmla="*/ 2348936 w 3024845"/>
                <a:gd name="connsiteY344" fmla="*/ 486400 h 1059043"/>
                <a:gd name="connsiteX345" fmla="*/ 2355016 w 3024845"/>
                <a:gd name="connsiteY345" fmla="*/ 479914 h 1059043"/>
                <a:gd name="connsiteX346" fmla="*/ 2427977 w 3024845"/>
                <a:gd name="connsiteY346" fmla="*/ 479914 h 1059043"/>
                <a:gd name="connsiteX347" fmla="*/ 2427977 w 3024845"/>
                <a:gd name="connsiteY347" fmla="*/ 488562 h 1059043"/>
                <a:gd name="connsiteX348" fmla="*/ 2438110 w 3024845"/>
                <a:gd name="connsiteY348" fmla="*/ 488562 h 1059043"/>
                <a:gd name="connsiteX349" fmla="*/ 2438110 w 3024845"/>
                <a:gd name="connsiteY349" fmla="*/ 603136 h 1059043"/>
                <a:gd name="connsiteX350" fmla="*/ 2460404 w 3024845"/>
                <a:gd name="connsiteY350" fmla="*/ 603136 h 1059043"/>
                <a:gd name="connsiteX351" fmla="*/ 2460404 w 3024845"/>
                <a:gd name="connsiteY351" fmla="*/ 536121 h 1059043"/>
                <a:gd name="connsiteX352" fmla="*/ 2486751 w 3024845"/>
                <a:gd name="connsiteY352" fmla="*/ 536121 h 1059043"/>
                <a:gd name="connsiteX353" fmla="*/ 2490804 w 3024845"/>
                <a:gd name="connsiteY353" fmla="*/ 531797 h 1059043"/>
                <a:gd name="connsiteX354" fmla="*/ 2498911 w 3024845"/>
                <a:gd name="connsiteY354" fmla="*/ 531797 h 1059043"/>
                <a:gd name="connsiteX355" fmla="*/ 2502964 w 3024845"/>
                <a:gd name="connsiteY355" fmla="*/ 536121 h 1059043"/>
                <a:gd name="connsiteX356" fmla="*/ 2525258 w 3024845"/>
                <a:gd name="connsiteY356" fmla="*/ 536121 h 1059043"/>
                <a:gd name="connsiteX357" fmla="*/ 2525258 w 3024845"/>
                <a:gd name="connsiteY357" fmla="*/ 419385 h 1059043"/>
                <a:gd name="connsiteX358" fmla="*/ 2582005 w 3024845"/>
                <a:gd name="connsiteY358" fmla="*/ 408576 h 1059043"/>
                <a:gd name="connsiteX359" fmla="*/ 2582005 w 3024845"/>
                <a:gd name="connsiteY359" fmla="*/ 409657 h 1059043"/>
                <a:gd name="connsiteX360" fmla="*/ 2582005 w 3024845"/>
                <a:gd name="connsiteY360" fmla="*/ 417223 h 1059043"/>
                <a:gd name="connsiteX361" fmla="*/ 2608352 w 3024845"/>
                <a:gd name="connsiteY361" fmla="*/ 417223 h 1059043"/>
                <a:gd name="connsiteX362" fmla="*/ 2608352 w 3024845"/>
                <a:gd name="connsiteY362" fmla="*/ 672313 h 1059043"/>
                <a:gd name="connsiteX363" fmla="*/ 2630646 w 3024845"/>
                <a:gd name="connsiteY363" fmla="*/ 672313 h 1059043"/>
                <a:gd name="connsiteX364" fmla="*/ 2630646 w 3024845"/>
                <a:gd name="connsiteY364" fmla="*/ 667989 h 1059043"/>
                <a:gd name="connsiteX365" fmla="*/ 2642806 w 3024845"/>
                <a:gd name="connsiteY365" fmla="*/ 667989 h 1059043"/>
                <a:gd name="connsiteX366" fmla="*/ 2642806 w 3024845"/>
                <a:gd name="connsiteY366" fmla="*/ 672313 h 1059043"/>
                <a:gd name="connsiteX367" fmla="*/ 2667126 w 3024845"/>
                <a:gd name="connsiteY367" fmla="*/ 672313 h 1059043"/>
                <a:gd name="connsiteX368" fmla="*/ 2667126 w 3024845"/>
                <a:gd name="connsiteY368" fmla="*/ 659342 h 1059043"/>
                <a:gd name="connsiteX369" fmla="*/ 2695500 w 3024845"/>
                <a:gd name="connsiteY369" fmla="*/ 659342 h 1059043"/>
                <a:gd name="connsiteX370" fmla="*/ 2707660 w 3024845"/>
                <a:gd name="connsiteY370" fmla="*/ 655018 h 1059043"/>
                <a:gd name="connsiteX371" fmla="*/ 2727927 w 3024845"/>
                <a:gd name="connsiteY371" fmla="*/ 659342 h 1059043"/>
                <a:gd name="connsiteX372" fmla="*/ 2727927 w 3024845"/>
                <a:gd name="connsiteY372" fmla="*/ 642048 h 1059043"/>
                <a:gd name="connsiteX373" fmla="*/ 2736034 w 3024845"/>
                <a:gd name="connsiteY373" fmla="*/ 642048 h 1059043"/>
                <a:gd name="connsiteX374" fmla="*/ 2736034 w 3024845"/>
                <a:gd name="connsiteY374" fmla="*/ 629077 h 1059043"/>
                <a:gd name="connsiteX375" fmla="*/ 2792781 w 3024845"/>
                <a:gd name="connsiteY375" fmla="*/ 629077 h 1059043"/>
                <a:gd name="connsiteX376" fmla="*/ 2792781 w 3024845"/>
                <a:gd name="connsiteY376" fmla="*/ 598812 h 1059043"/>
                <a:gd name="connsiteX377" fmla="*/ 2811021 w 3024845"/>
                <a:gd name="connsiteY377" fmla="*/ 598812 h 1059043"/>
                <a:gd name="connsiteX378" fmla="*/ 2811021 w 3024845"/>
                <a:gd name="connsiteY378" fmla="*/ 592327 h 1059043"/>
                <a:gd name="connsiteX379" fmla="*/ 2823181 w 3024845"/>
                <a:gd name="connsiteY379" fmla="*/ 592327 h 1059043"/>
                <a:gd name="connsiteX380" fmla="*/ 2823181 w 3024845"/>
                <a:gd name="connsiteY380" fmla="*/ 598812 h 1059043"/>
                <a:gd name="connsiteX381" fmla="*/ 2839395 w 3024845"/>
                <a:gd name="connsiteY381" fmla="*/ 598812 h 1059043"/>
                <a:gd name="connsiteX382" fmla="*/ 2839395 w 3024845"/>
                <a:gd name="connsiteY382" fmla="*/ 648533 h 1059043"/>
                <a:gd name="connsiteX383" fmla="*/ 2871822 w 3024845"/>
                <a:gd name="connsiteY383" fmla="*/ 648533 h 1059043"/>
                <a:gd name="connsiteX384" fmla="*/ 2871822 w 3024845"/>
                <a:gd name="connsiteY384" fmla="*/ 622592 h 1059043"/>
                <a:gd name="connsiteX385" fmla="*/ 2910329 w 3024845"/>
                <a:gd name="connsiteY385" fmla="*/ 622592 h 1059043"/>
                <a:gd name="connsiteX386" fmla="*/ 2910329 w 3024845"/>
                <a:gd name="connsiteY386" fmla="*/ 592327 h 1059043"/>
                <a:gd name="connsiteX387" fmla="*/ 2958970 w 3024845"/>
                <a:gd name="connsiteY387" fmla="*/ 592327 h 1059043"/>
                <a:gd name="connsiteX388" fmla="*/ 2958970 w 3024845"/>
                <a:gd name="connsiteY388" fmla="*/ 703483 h 1059043"/>
                <a:gd name="connsiteX389" fmla="*/ 2958970 w 3024845"/>
                <a:gd name="connsiteY389" fmla="*/ 717262 h 1059043"/>
                <a:gd name="connsiteX390" fmla="*/ 3024845 w 3024845"/>
                <a:gd name="connsiteY390" fmla="*/ 717262 h 1059043"/>
                <a:gd name="connsiteX391" fmla="*/ 3024845 w 3024845"/>
                <a:gd name="connsiteY391" fmla="*/ 1059043 h 1059043"/>
                <a:gd name="connsiteX392" fmla="*/ 2054 w 3024845"/>
                <a:gd name="connsiteY392" fmla="*/ 1056710 h 1059043"/>
                <a:gd name="connsiteX393" fmla="*/ 0 w 3024845"/>
                <a:gd name="connsiteY393" fmla="*/ 622592 h 1059043"/>
                <a:gd name="connsiteX394" fmla="*/ 20267 w 3024845"/>
                <a:gd name="connsiteY394" fmla="*/ 622592 h 1059043"/>
                <a:gd name="connsiteX395" fmla="*/ 20774 w 3024845"/>
                <a:gd name="connsiteY395" fmla="*/ 621511 h 1059043"/>
                <a:gd name="connsiteX396" fmla="*/ 24320 w 3024845"/>
                <a:gd name="connsiteY396" fmla="*/ 613945 h 1059043"/>
                <a:gd name="connsiteX397" fmla="*/ 26094 w 3024845"/>
                <a:gd name="connsiteY397" fmla="*/ 614215 h 1059043"/>
                <a:gd name="connsiteX398" fmla="*/ 38507 w 3024845"/>
                <a:gd name="connsiteY398" fmla="*/ 616106 h 1059043"/>
                <a:gd name="connsiteX399" fmla="*/ 39014 w 3024845"/>
                <a:gd name="connsiteY399" fmla="*/ 617458 h 1059043"/>
                <a:gd name="connsiteX400" fmla="*/ 42560 w 3024845"/>
                <a:gd name="connsiteY400" fmla="*/ 626915 h 1059043"/>
                <a:gd name="connsiteX401" fmla="*/ 68907 w 3024845"/>
                <a:gd name="connsiteY401" fmla="*/ 629077 h 1059043"/>
                <a:gd name="connsiteX402" fmla="*/ 68907 w 3024845"/>
                <a:gd name="connsiteY402" fmla="*/ 505856 h 1059043"/>
                <a:gd name="connsiteX403" fmla="*/ 70934 w 3024845"/>
                <a:gd name="connsiteY403" fmla="*/ 505856 h 1059043"/>
                <a:gd name="connsiteX404" fmla="*/ 85121 w 3024845"/>
                <a:gd name="connsiteY404" fmla="*/ 505856 h 1059043"/>
                <a:gd name="connsiteX405" fmla="*/ 85121 w 3024845"/>
                <a:gd name="connsiteY405" fmla="*/ 369664 h 1059043"/>
                <a:gd name="connsiteX406" fmla="*/ 86894 w 3024845"/>
                <a:gd name="connsiteY406" fmla="*/ 369664 h 1059043"/>
                <a:gd name="connsiteX407" fmla="*/ 99308 w 3024845"/>
                <a:gd name="connsiteY407" fmla="*/ 369664 h 1059043"/>
                <a:gd name="connsiteX408" fmla="*/ 99308 w 3024845"/>
                <a:gd name="connsiteY408" fmla="*/ 255090 h 1059043"/>
                <a:gd name="connsiteX409" fmla="*/ 103361 w 3024845"/>
                <a:gd name="connsiteY409" fmla="*/ 226986 h 1059043"/>
                <a:gd name="connsiteX410" fmla="*/ 105388 w 3024845"/>
                <a:gd name="connsiteY410" fmla="*/ 226986 h 1059043"/>
                <a:gd name="connsiteX411" fmla="*/ 119575 w 3024845"/>
                <a:gd name="connsiteY411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80720 w 3024845"/>
                <a:gd name="connsiteY327" fmla="*/ 555577 h 1059043"/>
                <a:gd name="connsiteX328" fmla="*/ 2245574 w 3024845"/>
                <a:gd name="connsiteY328" fmla="*/ 555577 h 1059043"/>
                <a:gd name="connsiteX329" fmla="*/ 2245574 w 3024845"/>
                <a:gd name="connsiteY329" fmla="*/ 631239 h 1059043"/>
                <a:gd name="connsiteX330" fmla="*/ 2253681 w 3024845"/>
                <a:gd name="connsiteY330" fmla="*/ 631239 h 1059043"/>
                <a:gd name="connsiteX331" fmla="*/ 2255708 w 3024845"/>
                <a:gd name="connsiteY331" fmla="*/ 624754 h 1059043"/>
                <a:gd name="connsiteX332" fmla="*/ 2261788 w 3024845"/>
                <a:gd name="connsiteY332" fmla="*/ 624754 h 1059043"/>
                <a:gd name="connsiteX333" fmla="*/ 2263815 w 3024845"/>
                <a:gd name="connsiteY333" fmla="*/ 633401 h 1059043"/>
                <a:gd name="connsiteX334" fmla="*/ 2275975 w 3024845"/>
                <a:gd name="connsiteY334" fmla="*/ 633401 h 1059043"/>
                <a:gd name="connsiteX335" fmla="*/ 2275975 w 3024845"/>
                <a:gd name="connsiteY335" fmla="*/ 626915 h 1059043"/>
                <a:gd name="connsiteX336" fmla="*/ 2298268 w 3024845"/>
                <a:gd name="connsiteY336" fmla="*/ 626915 h 1059043"/>
                <a:gd name="connsiteX337" fmla="*/ 2298268 w 3024845"/>
                <a:gd name="connsiteY337" fmla="*/ 633401 h 1059043"/>
                <a:gd name="connsiteX338" fmla="*/ 2318535 w 3024845"/>
                <a:gd name="connsiteY338" fmla="*/ 633401 h 1059043"/>
                <a:gd name="connsiteX339" fmla="*/ 2318535 w 3024845"/>
                <a:gd name="connsiteY339" fmla="*/ 678798 h 1059043"/>
                <a:gd name="connsiteX340" fmla="*/ 2332722 w 3024845"/>
                <a:gd name="connsiteY340" fmla="*/ 678798 h 1059043"/>
                <a:gd name="connsiteX341" fmla="*/ 2332722 w 3024845"/>
                <a:gd name="connsiteY341" fmla="*/ 665827 h 1059043"/>
                <a:gd name="connsiteX342" fmla="*/ 2348936 w 3024845"/>
                <a:gd name="connsiteY342" fmla="*/ 665827 h 1059043"/>
                <a:gd name="connsiteX343" fmla="*/ 2348936 w 3024845"/>
                <a:gd name="connsiteY343" fmla="*/ 486400 h 1059043"/>
                <a:gd name="connsiteX344" fmla="*/ 2355016 w 3024845"/>
                <a:gd name="connsiteY344" fmla="*/ 479914 h 1059043"/>
                <a:gd name="connsiteX345" fmla="*/ 2427977 w 3024845"/>
                <a:gd name="connsiteY345" fmla="*/ 479914 h 1059043"/>
                <a:gd name="connsiteX346" fmla="*/ 2427977 w 3024845"/>
                <a:gd name="connsiteY346" fmla="*/ 488562 h 1059043"/>
                <a:gd name="connsiteX347" fmla="*/ 2438110 w 3024845"/>
                <a:gd name="connsiteY347" fmla="*/ 488562 h 1059043"/>
                <a:gd name="connsiteX348" fmla="*/ 2438110 w 3024845"/>
                <a:gd name="connsiteY348" fmla="*/ 603136 h 1059043"/>
                <a:gd name="connsiteX349" fmla="*/ 2460404 w 3024845"/>
                <a:gd name="connsiteY349" fmla="*/ 603136 h 1059043"/>
                <a:gd name="connsiteX350" fmla="*/ 2460404 w 3024845"/>
                <a:gd name="connsiteY350" fmla="*/ 536121 h 1059043"/>
                <a:gd name="connsiteX351" fmla="*/ 2486751 w 3024845"/>
                <a:gd name="connsiteY351" fmla="*/ 536121 h 1059043"/>
                <a:gd name="connsiteX352" fmla="*/ 2490804 w 3024845"/>
                <a:gd name="connsiteY352" fmla="*/ 531797 h 1059043"/>
                <a:gd name="connsiteX353" fmla="*/ 2498911 w 3024845"/>
                <a:gd name="connsiteY353" fmla="*/ 531797 h 1059043"/>
                <a:gd name="connsiteX354" fmla="*/ 2502964 w 3024845"/>
                <a:gd name="connsiteY354" fmla="*/ 536121 h 1059043"/>
                <a:gd name="connsiteX355" fmla="*/ 2525258 w 3024845"/>
                <a:gd name="connsiteY355" fmla="*/ 536121 h 1059043"/>
                <a:gd name="connsiteX356" fmla="*/ 2525258 w 3024845"/>
                <a:gd name="connsiteY356" fmla="*/ 419385 h 1059043"/>
                <a:gd name="connsiteX357" fmla="*/ 2582005 w 3024845"/>
                <a:gd name="connsiteY357" fmla="*/ 408576 h 1059043"/>
                <a:gd name="connsiteX358" fmla="*/ 2582005 w 3024845"/>
                <a:gd name="connsiteY358" fmla="*/ 409657 h 1059043"/>
                <a:gd name="connsiteX359" fmla="*/ 2582005 w 3024845"/>
                <a:gd name="connsiteY359" fmla="*/ 417223 h 1059043"/>
                <a:gd name="connsiteX360" fmla="*/ 2608352 w 3024845"/>
                <a:gd name="connsiteY360" fmla="*/ 417223 h 1059043"/>
                <a:gd name="connsiteX361" fmla="*/ 2608352 w 3024845"/>
                <a:gd name="connsiteY361" fmla="*/ 672313 h 1059043"/>
                <a:gd name="connsiteX362" fmla="*/ 2630646 w 3024845"/>
                <a:gd name="connsiteY362" fmla="*/ 672313 h 1059043"/>
                <a:gd name="connsiteX363" fmla="*/ 2630646 w 3024845"/>
                <a:gd name="connsiteY363" fmla="*/ 667989 h 1059043"/>
                <a:gd name="connsiteX364" fmla="*/ 2642806 w 3024845"/>
                <a:gd name="connsiteY364" fmla="*/ 667989 h 1059043"/>
                <a:gd name="connsiteX365" fmla="*/ 2642806 w 3024845"/>
                <a:gd name="connsiteY365" fmla="*/ 672313 h 1059043"/>
                <a:gd name="connsiteX366" fmla="*/ 2667126 w 3024845"/>
                <a:gd name="connsiteY366" fmla="*/ 672313 h 1059043"/>
                <a:gd name="connsiteX367" fmla="*/ 2667126 w 3024845"/>
                <a:gd name="connsiteY367" fmla="*/ 659342 h 1059043"/>
                <a:gd name="connsiteX368" fmla="*/ 2695500 w 3024845"/>
                <a:gd name="connsiteY368" fmla="*/ 659342 h 1059043"/>
                <a:gd name="connsiteX369" fmla="*/ 2707660 w 3024845"/>
                <a:gd name="connsiteY369" fmla="*/ 655018 h 1059043"/>
                <a:gd name="connsiteX370" fmla="*/ 2727927 w 3024845"/>
                <a:gd name="connsiteY370" fmla="*/ 659342 h 1059043"/>
                <a:gd name="connsiteX371" fmla="*/ 2727927 w 3024845"/>
                <a:gd name="connsiteY371" fmla="*/ 642048 h 1059043"/>
                <a:gd name="connsiteX372" fmla="*/ 2736034 w 3024845"/>
                <a:gd name="connsiteY372" fmla="*/ 642048 h 1059043"/>
                <a:gd name="connsiteX373" fmla="*/ 2736034 w 3024845"/>
                <a:gd name="connsiteY373" fmla="*/ 629077 h 1059043"/>
                <a:gd name="connsiteX374" fmla="*/ 2792781 w 3024845"/>
                <a:gd name="connsiteY374" fmla="*/ 629077 h 1059043"/>
                <a:gd name="connsiteX375" fmla="*/ 2792781 w 3024845"/>
                <a:gd name="connsiteY375" fmla="*/ 598812 h 1059043"/>
                <a:gd name="connsiteX376" fmla="*/ 2811021 w 3024845"/>
                <a:gd name="connsiteY376" fmla="*/ 598812 h 1059043"/>
                <a:gd name="connsiteX377" fmla="*/ 2811021 w 3024845"/>
                <a:gd name="connsiteY377" fmla="*/ 592327 h 1059043"/>
                <a:gd name="connsiteX378" fmla="*/ 2823181 w 3024845"/>
                <a:gd name="connsiteY378" fmla="*/ 592327 h 1059043"/>
                <a:gd name="connsiteX379" fmla="*/ 2823181 w 3024845"/>
                <a:gd name="connsiteY379" fmla="*/ 598812 h 1059043"/>
                <a:gd name="connsiteX380" fmla="*/ 2839395 w 3024845"/>
                <a:gd name="connsiteY380" fmla="*/ 598812 h 1059043"/>
                <a:gd name="connsiteX381" fmla="*/ 2839395 w 3024845"/>
                <a:gd name="connsiteY381" fmla="*/ 648533 h 1059043"/>
                <a:gd name="connsiteX382" fmla="*/ 2871822 w 3024845"/>
                <a:gd name="connsiteY382" fmla="*/ 648533 h 1059043"/>
                <a:gd name="connsiteX383" fmla="*/ 2871822 w 3024845"/>
                <a:gd name="connsiteY383" fmla="*/ 622592 h 1059043"/>
                <a:gd name="connsiteX384" fmla="*/ 2910329 w 3024845"/>
                <a:gd name="connsiteY384" fmla="*/ 622592 h 1059043"/>
                <a:gd name="connsiteX385" fmla="*/ 2910329 w 3024845"/>
                <a:gd name="connsiteY385" fmla="*/ 592327 h 1059043"/>
                <a:gd name="connsiteX386" fmla="*/ 2958970 w 3024845"/>
                <a:gd name="connsiteY386" fmla="*/ 592327 h 1059043"/>
                <a:gd name="connsiteX387" fmla="*/ 2958970 w 3024845"/>
                <a:gd name="connsiteY387" fmla="*/ 703483 h 1059043"/>
                <a:gd name="connsiteX388" fmla="*/ 2958970 w 3024845"/>
                <a:gd name="connsiteY388" fmla="*/ 717262 h 1059043"/>
                <a:gd name="connsiteX389" fmla="*/ 3024845 w 3024845"/>
                <a:gd name="connsiteY389" fmla="*/ 717262 h 1059043"/>
                <a:gd name="connsiteX390" fmla="*/ 3024845 w 3024845"/>
                <a:gd name="connsiteY390" fmla="*/ 1059043 h 1059043"/>
                <a:gd name="connsiteX391" fmla="*/ 2054 w 3024845"/>
                <a:gd name="connsiteY391" fmla="*/ 1056710 h 1059043"/>
                <a:gd name="connsiteX392" fmla="*/ 0 w 3024845"/>
                <a:gd name="connsiteY392" fmla="*/ 622592 h 1059043"/>
                <a:gd name="connsiteX393" fmla="*/ 20267 w 3024845"/>
                <a:gd name="connsiteY393" fmla="*/ 622592 h 1059043"/>
                <a:gd name="connsiteX394" fmla="*/ 20774 w 3024845"/>
                <a:gd name="connsiteY394" fmla="*/ 621511 h 1059043"/>
                <a:gd name="connsiteX395" fmla="*/ 24320 w 3024845"/>
                <a:gd name="connsiteY395" fmla="*/ 613945 h 1059043"/>
                <a:gd name="connsiteX396" fmla="*/ 26094 w 3024845"/>
                <a:gd name="connsiteY396" fmla="*/ 614215 h 1059043"/>
                <a:gd name="connsiteX397" fmla="*/ 38507 w 3024845"/>
                <a:gd name="connsiteY397" fmla="*/ 616106 h 1059043"/>
                <a:gd name="connsiteX398" fmla="*/ 39014 w 3024845"/>
                <a:gd name="connsiteY398" fmla="*/ 617458 h 1059043"/>
                <a:gd name="connsiteX399" fmla="*/ 42560 w 3024845"/>
                <a:gd name="connsiteY399" fmla="*/ 626915 h 1059043"/>
                <a:gd name="connsiteX400" fmla="*/ 68907 w 3024845"/>
                <a:gd name="connsiteY400" fmla="*/ 629077 h 1059043"/>
                <a:gd name="connsiteX401" fmla="*/ 68907 w 3024845"/>
                <a:gd name="connsiteY401" fmla="*/ 505856 h 1059043"/>
                <a:gd name="connsiteX402" fmla="*/ 70934 w 3024845"/>
                <a:gd name="connsiteY402" fmla="*/ 505856 h 1059043"/>
                <a:gd name="connsiteX403" fmla="*/ 85121 w 3024845"/>
                <a:gd name="connsiteY403" fmla="*/ 505856 h 1059043"/>
                <a:gd name="connsiteX404" fmla="*/ 85121 w 3024845"/>
                <a:gd name="connsiteY404" fmla="*/ 369664 h 1059043"/>
                <a:gd name="connsiteX405" fmla="*/ 86894 w 3024845"/>
                <a:gd name="connsiteY405" fmla="*/ 369664 h 1059043"/>
                <a:gd name="connsiteX406" fmla="*/ 99308 w 3024845"/>
                <a:gd name="connsiteY406" fmla="*/ 369664 h 1059043"/>
                <a:gd name="connsiteX407" fmla="*/ 99308 w 3024845"/>
                <a:gd name="connsiteY407" fmla="*/ 255090 h 1059043"/>
                <a:gd name="connsiteX408" fmla="*/ 103361 w 3024845"/>
                <a:gd name="connsiteY408" fmla="*/ 226986 h 1059043"/>
                <a:gd name="connsiteX409" fmla="*/ 105388 w 3024845"/>
                <a:gd name="connsiteY409" fmla="*/ 226986 h 1059043"/>
                <a:gd name="connsiteX410" fmla="*/ 119575 w 3024845"/>
                <a:gd name="connsiteY410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80720 w 3024845"/>
                <a:gd name="connsiteY326" fmla="*/ 555577 h 1059043"/>
                <a:gd name="connsiteX327" fmla="*/ 2245574 w 3024845"/>
                <a:gd name="connsiteY327" fmla="*/ 555577 h 1059043"/>
                <a:gd name="connsiteX328" fmla="*/ 2245574 w 3024845"/>
                <a:gd name="connsiteY328" fmla="*/ 631239 h 1059043"/>
                <a:gd name="connsiteX329" fmla="*/ 2253681 w 3024845"/>
                <a:gd name="connsiteY329" fmla="*/ 631239 h 1059043"/>
                <a:gd name="connsiteX330" fmla="*/ 2255708 w 3024845"/>
                <a:gd name="connsiteY330" fmla="*/ 624754 h 1059043"/>
                <a:gd name="connsiteX331" fmla="*/ 2261788 w 3024845"/>
                <a:gd name="connsiteY331" fmla="*/ 624754 h 1059043"/>
                <a:gd name="connsiteX332" fmla="*/ 2263815 w 3024845"/>
                <a:gd name="connsiteY332" fmla="*/ 633401 h 1059043"/>
                <a:gd name="connsiteX333" fmla="*/ 2275975 w 3024845"/>
                <a:gd name="connsiteY333" fmla="*/ 633401 h 1059043"/>
                <a:gd name="connsiteX334" fmla="*/ 2275975 w 3024845"/>
                <a:gd name="connsiteY334" fmla="*/ 626915 h 1059043"/>
                <a:gd name="connsiteX335" fmla="*/ 2298268 w 3024845"/>
                <a:gd name="connsiteY335" fmla="*/ 626915 h 1059043"/>
                <a:gd name="connsiteX336" fmla="*/ 2298268 w 3024845"/>
                <a:gd name="connsiteY336" fmla="*/ 633401 h 1059043"/>
                <a:gd name="connsiteX337" fmla="*/ 2318535 w 3024845"/>
                <a:gd name="connsiteY337" fmla="*/ 633401 h 1059043"/>
                <a:gd name="connsiteX338" fmla="*/ 2318535 w 3024845"/>
                <a:gd name="connsiteY338" fmla="*/ 678798 h 1059043"/>
                <a:gd name="connsiteX339" fmla="*/ 2332722 w 3024845"/>
                <a:gd name="connsiteY339" fmla="*/ 678798 h 1059043"/>
                <a:gd name="connsiteX340" fmla="*/ 2332722 w 3024845"/>
                <a:gd name="connsiteY340" fmla="*/ 665827 h 1059043"/>
                <a:gd name="connsiteX341" fmla="*/ 2348936 w 3024845"/>
                <a:gd name="connsiteY341" fmla="*/ 665827 h 1059043"/>
                <a:gd name="connsiteX342" fmla="*/ 2348936 w 3024845"/>
                <a:gd name="connsiteY342" fmla="*/ 486400 h 1059043"/>
                <a:gd name="connsiteX343" fmla="*/ 2355016 w 3024845"/>
                <a:gd name="connsiteY343" fmla="*/ 479914 h 1059043"/>
                <a:gd name="connsiteX344" fmla="*/ 2427977 w 3024845"/>
                <a:gd name="connsiteY344" fmla="*/ 479914 h 1059043"/>
                <a:gd name="connsiteX345" fmla="*/ 2427977 w 3024845"/>
                <a:gd name="connsiteY345" fmla="*/ 488562 h 1059043"/>
                <a:gd name="connsiteX346" fmla="*/ 2438110 w 3024845"/>
                <a:gd name="connsiteY346" fmla="*/ 488562 h 1059043"/>
                <a:gd name="connsiteX347" fmla="*/ 2438110 w 3024845"/>
                <a:gd name="connsiteY347" fmla="*/ 603136 h 1059043"/>
                <a:gd name="connsiteX348" fmla="*/ 2460404 w 3024845"/>
                <a:gd name="connsiteY348" fmla="*/ 603136 h 1059043"/>
                <a:gd name="connsiteX349" fmla="*/ 2460404 w 3024845"/>
                <a:gd name="connsiteY349" fmla="*/ 536121 h 1059043"/>
                <a:gd name="connsiteX350" fmla="*/ 2486751 w 3024845"/>
                <a:gd name="connsiteY350" fmla="*/ 536121 h 1059043"/>
                <a:gd name="connsiteX351" fmla="*/ 2490804 w 3024845"/>
                <a:gd name="connsiteY351" fmla="*/ 531797 h 1059043"/>
                <a:gd name="connsiteX352" fmla="*/ 2498911 w 3024845"/>
                <a:gd name="connsiteY352" fmla="*/ 531797 h 1059043"/>
                <a:gd name="connsiteX353" fmla="*/ 2502964 w 3024845"/>
                <a:gd name="connsiteY353" fmla="*/ 536121 h 1059043"/>
                <a:gd name="connsiteX354" fmla="*/ 2525258 w 3024845"/>
                <a:gd name="connsiteY354" fmla="*/ 536121 h 1059043"/>
                <a:gd name="connsiteX355" fmla="*/ 2525258 w 3024845"/>
                <a:gd name="connsiteY355" fmla="*/ 419385 h 1059043"/>
                <a:gd name="connsiteX356" fmla="*/ 2582005 w 3024845"/>
                <a:gd name="connsiteY356" fmla="*/ 408576 h 1059043"/>
                <a:gd name="connsiteX357" fmla="*/ 2582005 w 3024845"/>
                <a:gd name="connsiteY357" fmla="*/ 409657 h 1059043"/>
                <a:gd name="connsiteX358" fmla="*/ 2582005 w 3024845"/>
                <a:gd name="connsiteY358" fmla="*/ 417223 h 1059043"/>
                <a:gd name="connsiteX359" fmla="*/ 2608352 w 3024845"/>
                <a:gd name="connsiteY359" fmla="*/ 417223 h 1059043"/>
                <a:gd name="connsiteX360" fmla="*/ 2608352 w 3024845"/>
                <a:gd name="connsiteY360" fmla="*/ 672313 h 1059043"/>
                <a:gd name="connsiteX361" fmla="*/ 2630646 w 3024845"/>
                <a:gd name="connsiteY361" fmla="*/ 672313 h 1059043"/>
                <a:gd name="connsiteX362" fmla="*/ 2630646 w 3024845"/>
                <a:gd name="connsiteY362" fmla="*/ 667989 h 1059043"/>
                <a:gd name="connsiteX363" fmla="*/ 2642806 w 3024845"/>
                <a:gd name="connsiteY363" fmla="*/ 667989 h 1059043"/>
                <a:gd name="connsiteX364" fmla="*/ 2642806 w 3024845"/>
                <a:gd name="connsiteY364" fmla="*/ 672313 h 1059043"/>
                <a:gd name="connsiteX365" fmla="*/ 2667126 w 3024845"/>
                <a:gd name="connsiteY365" fmla="*/ 672313 h 1059043"/>
                <a:gd name="connsiteX366" fmla="*/ 2667126 w 3024845"/>
                <a:gd name="connsiteY366" fmla="*/ 659342 h 1059043"/>
                <a:gd name="connsiteX367" fmla="*/ 2695500 w 3024845"/>
                <a:gd name="connsiteY367" fmla="*/ 659342 h 1059043"/>
                <a:gd name="connsiteX368" fmla="*/ 2707660 w 3024845"/>
                <a:gd name="connsiteY368" fmla="*/ 655018 h 1059043"/>
                <a:gd name="connsiteX369" fmla="*/ 2727927 w 3024845"/>
                <a:gd name="connsiteY369" fmla="*/ 659342 h 1059043"/>
                <a:gd name="connsiteX370" fmla="*/ 2727927 w 3024845"/>
                <a:gd name="connsiteY370" fmla="*/ 642048 h 1059043"/>
                <a:gd name="connsiteX371" fmla="*/ 2736034 w 3024845"/>
                <a:gd name="connsiteY371" fmla="*/ 642048 h 1059043"/>
                <a:gd name="connsiteX372" fmla="*/ 2736034 w 3024845"/>
                <a:gd name="connsiteY372" fmla="*/ 629077 h 1059043"/>
                <a:gd name="connsiteX373" fmla="*/ 2792781 w 3024845"/>
                <a:gd name="connsiteY373" fmla="*/ 629077 h 1059043"/>
                <a:gd name="connsiteX374" fmla="*/ 2792781 w 3024845"/>
                <a:gd name="connsiteY374" fmla="*/ 598812 h 1059043"/>
                <a:gd name="connsiteX375" fmla="*/ 2811021 w 3024845"/>
                <a:gd name="connsiteY375" fmla="*/ 598812 h 1059043"/>
                <a:gd name="connsiteX376" fmla="*/ 2811021 w 3024845"/>
                <a:gd name="connsiteY376" fmla="*/ 592327 h 1059043"/>
                <a:gd name="connsiteX377" fmla="*/ 2823181 w 3024845"/>
                <a:gd name="connsiteY377" fmla="*/ 592327 h 1059043"/>
                <a:gd name="connsiteX378" fmla="*/ 2823181 w 3024845"/>
                <a:gd name="connsiteY378" fmla="*/ 598812 h 1059043"/>
                <a:gd name="connsiteX379" fmla="*/ 2839395 w 3024845"/>
                <a:gd name="connsiteY379" fmla="*/ 598812 h 1059043"/>
                <a:gd name="connsiteX380" fmla="*/ 2839395 w 3024845"/>
                <a:gd name="connsiteY380" fmla="*/ 648533 h 1059043"/>
                <a:gd name="connsiteX381" fmla="*/ 2871822 w 3024845"/>
                <a:gd name="connsiteY381" fmla="*/ 648533 h 1059043"/>
                <a:gd name="connsiteX382" fmla="*/ 2871822 w 3024845"/>
                <a:gd name="connsiteY382" fmla="*/ 622592 h 1059043"/>
                <a:gd name="connsiteX383" fmla="*/ 2910329 w 3024845"/>
                <a:gd name="connsiteY383" fmla="*/ 622592 h 1059043"/>
                <a:gd name="connsiteX384" fmla="*/ 2910329 w 3024845"/>
                <a:gd name="connsiteY384" fmla="*/ 592327 h 1059043"/>
                <a:gd name="connsiteX385" fmla="*/ 2958970 w 3024845"/>
                <a:gd name="connsiteY385" fmla="*/ 592327 h 1059043"/>
                <a:gd name="connsiteX386" fmla="*/ 2958970 w 3024845"/>
                <a:gd name="connsiteY386" fmla="*/ 703483 h 1059043"/>
                <a:gd name="connsiteX387" fmla="*/ 2958970 w 3024845"/>
                <a:gd name="connsiteY387" fmla="*/ 717262 h 1059043"/>
                <a:gd name="connsiteX388" fmla="*/ 3024845 w 3024845"/>
                <a:gd name="connsiteY388" fmla="*/ 717262 h 1059043"/>
                <a:gd name="connsiteX389" fmla="*/ 3024845 w 3024845"/>
                <a:gd name="connsiteY389" fmla="*/ 1059043 h 1059043"/>
                <a:gd name="connsiteX390" fmla="*/ 2054 w 3024845"/>
                <a:gd name="connsiteY390" fmla="*/ 1056710 h 1059043"/>
                <a:gd name="connsiteX391" fmla="*/ 0 w 3024845"/>
                <a:gd name="connsiteY391" fmla="*/ 622592 h 1059043"/>
                <a:gd name="connsiteX392" fmla="*/ 20267 w 3024845"/>
                <a:gd name="connsiteY392" fmla="*/ 622592 h 1059043"/>
                <a:gd name="connsiteX393" fmla="*/ 20774 w 3024845"/>
                <a:gd name="connsiteY393" fmla="*/ 621511 h 1059043"/>
                <a:gd name="connsiteX394" fmla="*/ 24320 w 3024845"/>
                <a:gd name="connsiteY394" fmla="*/ 613945 h 1059043"/>
                <a:gd name="connsiteX395" fmla="*/ 26094 w 3024845"/>
                <a:gd name="connsiteY395" fmla="*/ 614215 h 1059043"/>
                <a:gd name="connsiteX396" fmla="*/ 38507 w 3024845"/>
                <a:gd name="connsiteY396" fmla="*/ 616106 h 1059043"/>
                <a:gd name="connsiteX397" fmla="*/ 39014 w 3024845"/>
                <a:gd name="connsiteY397" fmla="*/ 617458 h 1059043"/>
                <a:gd name="connsiteX398" fmla="*/ 42560 w 3024845"/>
                <a:gd name="connsiteY398" fmla="*/ 626915 h 1059043"/>
                <a:gd name="connsiteX399" fmla="*/ 68907 w 3024845"/>
                <a:gd name="connsiteY399" fmla="*/ 629077 h 1059043"/>
                <a:gd name="connsiteX400" fmla="*/ 68907 w 3024845"/>
                <a:gd name="connsiteY400" fmla="*/ 505856 h 1059043"/>
                <a:gd name="connsiteX401" fmla="*/ 70934 w 3024845"/>
                <a:gd name="connsiteY401" fmla="*/ 505856 h 1059043"/>
                <a:gd name="connsiteX402" fmla="*/ 85121 w 3024845"/>
                <a:gd name="connsiteY402" fmla="*/ 505856 h 1059043"/>
                <a:gd name="connsiteX403" fmla="*/ 85121 w 3024845"/>
                <a:gd name="connsiteY403" fmla="*/ 369664 h 1059043"/>
                <a:gd name="connsiteX404" fmla="*/ 86894 w 3024845"/>
                <a:gd name="connsiteY404" fmla="*/ 369664 h 1059043"/>
                <a:gd name="connsiteX405" fmla="*/ 99308 w 3024845"/>
                <a:gd name="connsiteY405" fmla="*/ 369664 h 1059043"/>
                <a:gd name="connsiteX406" fmla="*/ 99308 w 3024845"/>
                <a:gd name="connsiteY406" fmla="*/ 255090 h 1059043"/>
                <a:gd name="connsiteX407" fmla="*/ 103361 w 3024845"/>
                <a:gd name="connsiteY407" fmla="*/ 226986 h 1059043"/>
                <a:gd name="connsiteX408" fmla="*/ 105388 w 3024845"/>
                <a:gd name="connsiteY408" fmla="*/ 226986 h 1059043"/>
                <a:gd name="connsiteX409" fmla="*/ 119575 w 3024845"/>
                <a:gd name="connsiteY409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131868 h 1059043"/>
                <a:gd name="connsiteX317" fmla="*/ 2144240 w 3024845"/>
                <a:gd name="connsiteY317" fmla="*/ 125383 h 1059043"/>
                <a:gd name="connsiteX318" fmla="*/ 2150320 w 3024845"/>
                <a:gd name="connsiteY318" fmla="*/ 118897 h 1059043"/>
                <a:gd name="connsiteX319" fmla="*/ 2150320 w 3024845"/>
                <a:gd name="connsiteY319" fmla="*/ 60529 h 1059043"/>
                <a:gd name="connsiteX320" fmla="*/ 2152346 w 3024845"/>
                <a:gd name="connsiteY320" fmla="*/ 56206 h 1059043"/>
                <a:gd name="connsiteX321" fmla="*/ 2152346 w 3024845"/>
                <a:gd name="connsiteY321" fmla="*/ 0 h 1059043"/>
                <a:gd name="connsiteX322" fmla="*/ 2162480 w 3024845"/>
                <a:gd name="connsiteY322" fmla="*/ 118897 h 1059043"/>
                <a:gd name="connsiteX323" fmla="*/ 2168560 w 3024845"/>
                <a:gd name="connsiteY323" fmla="*/ 125383 h 1059043"/>
                <a:gd name="connsiteX324" fmla="*/ 2166533 w 3024845"/>
                <a:gd name="connsiteY324" fmla="*/ 131868 h 1059043"/>
                <a:gd name="connsiteX325" fmla="*/ 2180720 w 3024845"/>
                <a:gd name="connsiteY325" fmla="*/ 555577 h 1059043"/>
                <a:gd name="connsiteX326" fmla="*/ 2245574 w 3024845"/>
                <a:gd name="connsiteY326" fmla="*/ 555577 h 1059043"/>
                <a:gd name="connsiteX327" fmla="*/ 2245574 w 3024845"/>
                <a:gd name="connsiteY327" fmla="*/ 631239 h 1059043"/>
                <a:gd name="connsiteX328" fmla="*/ 2253681 w 3024845"/>
                <a:gd name="connsiteY328" fmla="*/ 631239 h 1059043"/>
                <a:gd name="connsiteX329" fmla="*/ 2255708 w 3024845"/>
                <a:gd name="connsiteY329" fmla="*/ 624754 h 1059043"/>
                <a:gd name="connsiteX330" fmla="*/ 2261788 w 3024845"/>
                <a:gd name="connsiteY330" fmla="*/ 624754 h 1059043"/>
                <a:gd name="connsiteX331" fmla="*/ 2263815 w 3024845"/>
                <a:gd name="connsiteY331" fmla="*/ 633401 h 1059043"/>
                <a:gd name="connsiteX332" fmla="*/ 2275975 w 3024845"/>
                <a:gd name="connsiteY332" fmla="*/ 633401 h 1059043"/>
                <a:gd name="connsiteX333" fmla="*/ 2275975 w 3024845"/>
                <a:gd name="connsiteY333" fmla="*/ 626915 h 1059043"/>
                <a:gd name="connsiteX334" fmla="*/ 2298268 w 3024845"/>
                <a:gd name="connsiteY334" fmla="*/ 626915 h 1059043"/>
                <a:gd name="connsiteX335" fmla="*/ 2298268 w 3024845"/>
                <a:gd name="connsiteY335" fmla="*/ 633401 h 1059043"/>
                <a:gd name="connsiteX336" fmla="*/ 2318535 w 3024845"/>
                <a:gd name="connsiteY336" fmla="*/ 633401 h 1059043"/>
                <a:gd name="connsiteX337" fmla="*/ 2318535 w 3024845"/>
                <a:gd name="connsiteY337" fmla="*/ 678798 h 1059043"/>
                <a:gd name="connsiteX338" fmla="*/ 2332722 w 3024845"/>
                <a:gd name="connsiteY338" fmla="*/ 678798 h 1059043"/>
                <a:gd name="connsiteX339" fmla="*/ 2332722 w 3024845"/>
                <a:gd name="connsiteY339" fmla="*/ 665827 h 1059043"/>
                <a:gd name="connsiteX340" fmla="*/ 2348936 w 3024845"/>
                <a:gd name="connsiteY340" fmla="*/ 665827 h 1059043"/>
                <a:gd name="connsiteX341" fmla="*/ 2348936 w 3024845"/>
                <a:gd name="connsiteY341" fmla="*/ 486400 h 1059043"/>
                <a:gd name="connsiteX342" fmla="*/ 2355016 w 3024845"/>
                <a:gd name="connsiteY342" fmla="*/ 479914 h 1059043"/>
                <a:gd name="connsiteX343" fmla="*/ 2427977 w 3024845"/>
                <a:gd name="connsiteY343" fmla="*/ 479914 h 1059043"/>
                <a:gd name="connsiteX344" fmla="*/ 2427977 w 3024845"/>
                <a:gd name="connsiteY344" fmla="*/ 488562 h 1059043"/>
                <a:gd name="connsiteX345" fmla="*/ 2438110 w 3024845"/>
                <a:gd name="connsiteY345" fmla="*/ 488562 h 1059043"/>
                <a:gd name="connsiteX346" fmla="*/ 2438110 w 3024845"/>
                <a:gd name="connsiteY346" fmla="*/ 603136 h 1059043"/>
                <a:gd name="connsiteX347" fmla="*/ 2460404 w 3024845"/>
                <a:gd name="connsiteY347" fmla="*/ 603136 h 1059043"/>
                <a:gd name="connsiteX348" fmla="*/ 2460404 w 3024845"/>
                <a:gd name="connsiteY348" fmla="*/ 536121 h 1059043"/>
                <a:gd name="connsiteX349" fmla="*/ 2486751 w 3024845"/>
                <a:gd name="connsiteY349" fmla="*/ 536121 h 1059043"/>
                <a:gd name="connsiteX350" fmla="*/ 2490804 w 3024845"/>
                <a:gd name="connsiteY350" fmla="*/ 531797 h 1059043"/>
                <a:gd name="connsiteX351" fmla="*/ 2498911 w 3024845"/>
                <a:gd name="connsiteY351" fmla="*/ 531797 h 1059043"/>
                <a:gd name="connsiteX352" fmla="*/ 2502964 w 3024845"/>
                <a:gd name="connsiteY352" fmla="*/ 536121 h 1059043"/>
                <a:gd name="connsiteX353" fmla="*/ 2525258 w 3024845"/>
                <a:gd name="connsiteY353" fmla="*/ 536121 h 1059043"/>
                <a:gd name="connsiteX354" fmla="*/ 2525258 w 3024845"/>
                <a:gd name="connsiteY354" fmla="*/ 419385 h 1059043"/>
                <a:gd name="connsiteX355" fmla="*/ 2582005 w 3024845"/>
                <a:gd name="connsiteY355" fmla="*/ 408576 h 1059043"/>
                <a:gd name="connsiteX356" fmla="*/ 2582005 w 3024845"/>
                <a:gd name="connsiteY356" fmla="*/ 409657 h 1059043"/>
                <a:gd name="connsiteX357" fmla="*/ 2582005 w 3024845"/>
                <a:gd name="connsiteY357" fmla="*/ 417223 h 1059043"/>
                <a:gd name="connsiteX358" fmla="*/ 2608352 w 3024845"/>
                <a:gd name="connsiteY358" fmla="*/ 417223 h 1059043"/>
                <a:gd name="connsiteX359" fmla="*/ 2608352 w 3024845"/>
                <a:gd name="connsiteY359" fmla="*/ 672313 h 1059043"/>
                <a:gd name="connsiteX360" fmla="*/ 2630646 w 3024845"/>
                <a:gd name="connsiteY360" fmla="*/ 672313 h 1059043"/>
                <a:gd name="connsiteX361" fmla="*/ 2630646 w 3024845"/>
                <a:gd name="connsiteY361" fmla="*/ 667989 h 1059043"/>
                <a:gd name="connsiteX362" fmla="*/ 2642806 w 3024845"/>
                <a:gd name="connsiteY362" fmla="*/ 667989 h 1059043"/>
                <a:gd name="connsiteX363" fmla="*/ 2642806 w 3024845"/>
                <a:gd name="connsiteY363" fmla="*/ 672313 h 1059043"/>
                <a:gd name="connsiteX364" fmla="*/ 2667126 w 3024845"/>
                <a:gd name="connsiteY364" fmla="*/ 672313 h 1059043"/>
                <a:gd name="connsiteX365" fmla="*/ 2667126 w 3024845"/>
                <a:gd name="connsiteY365" fmla="*/ 659342 h 1059043"/>
                <a:gd name="connsiteX366" fmla="*/ 2695500 w 3024845"/>
                <a:gd name="connsiteY366" fmla="*/ 659342 h 1059043"/>
                <a:gd name="connsiteX367" fmla="*/ 2707660 w 3024845"/>
                <a:gd name="connsiteY367" fmla="*/ 655018 h 1059043"/>
                <a:gd name="connsiteX368" fmla="*/ 2727927 w 3024845"/>
                <a:gd name="connsiteY368" fmla="*/ 659342 h 1059043"/>
                <a:gd name="connsiteX369" fmla="*/ 2727927 w 3024845"/>
                <a:gd name="connsiteY369" fmla="*/ 642048 h 1059043"/>
                <a:gd name="connsiteX370" fmla="*/ 2736034 w 3024845"/>
                <a:gd name="connsiteY370" fmla="*/ 642048 h 1059043"/>
                <a:gd name="connsiteX371" fmla="*/ 2736034 w 3024845"/>
                <a:gd name="connsiteY371" fmla="*/ 629077 h 1059043"/>
                <a:gd name="connsiteX372" fmla="*/ 2792781 w 3024845"/>
                <a:gd name="connsiteY372" fmla="*/ 629077 h 1059043"/>
                <a:gd name="connsiteX373" fmla="*/ 2792781 w 3024845"/>
                <a:gd name="connsiteY373" fmla="*/ 598812 h 1059043"/>
                <a:gd name="connsiteX374" fmla="*/ 2811021 w 3024845"/>
                <a:gd name="connsiteY374" fmla="*/ 598812 h 1059043"/>
                <a:gd name="connsiteX375" fmla="*/ 2811021 w 3024845"/>
                <a:gd name="connsiteY375" fmla="*/ 592327 h 1059043"/>
                <a:gd name="connsiteX376" fmla="*/ 2823181 w 3024845"/>
                <a:gd name="connsiteY376" fmla="*/ 592327 h 1059043"/>
                <a:gd name="connsiteX377" fmla="*/ 2823181 w 3024845"/>
                <a:gd name="connsiteY377" fmla="*/ 598812 h 1059043"/>
                <a:gd name="connsiteX378" fmla="*/ 2839395 w 3024845"/>
                <a:gd name="connsiteY378" fmla="*/ 598812 h 1059043"/>
                <a:gd name="connsiteX379" fmla="*/ 2839395 w 3024845"/>
                <a:gd name="connsiteY379" fmla="*/ 648533 h 1059043"/>
                <a:gd name="connsiteX380" fmla="*/ 2871822 w 3024845"/>
                <a:gd name="connsiteY380" fmla="*/ 648533 h 1059043"/>
                <a:gd name="connsiteX381" fmla="*/ 2871822 w 3024845"/>
                <a:gd name="connsiteY381" fmla="*/ 622592 h 1059043"/>
                <a:gd name="connsiteX382" fmla="*/ 2910329 w 3024845"/>
                <a:gd name="connsiteY382" fmla="*/ 622592 h 1059043"/>
                <a:gd name="connsiteX383" fmla="*/ 2910329 w 3024845"/>
                <a:gd name="connsiteY383" fmla="*/ 592327 h 1059043"/>
                <a:gd name="connsiteX384" fmla="*/ 2958970 w 3024845"/>
                <a:gd name="connsiteY384" fmla="*/ 592327 h 1059043"/>
                <a:gd name="connsiteX385" fmla="*/ 2958970 w 3024845"/>
                <a:gd name="connsiteY385" fmla="*/ 703483 h 1059043"/>
                <a:gd name="connsiteX386" fmla="*/ 2958970 w 3024845"/>
                <a:gd name="connsiteY386" fmla="*/ 717262 h 1059043"/>
                <a:gd name="connsiteX387" fmla="*/ 3024845 w 3024845"/>
                <a:gd name="connsiteY387" fmla="*/ 717262 h 1059043"/>
                <a:gd name="connsiteX388" fmla="*/ 3024845 w 3024845"/>
                <a:gd name="connsiteY388" fmla="*/ 1059043 h 1059043"/>
                <a:gd name="connsiteX389" fmla="*/ 2054 w 3024845"/>
                <a:gd name="connsiteY389" fmla="*/ 1056710 h 1059043"/>
                <a:gd name="connsiteX390" fmla="*/ 0 w 3024845"/>
                <a:gd name="connsiteY390" fmla="*/ 622592 h 1059043"/>
                <a:gd name="connsiteX391" fmla="*/ 20267 w 3024845"/>
                <a:gd name="connsiteY391" fmla="*/ 622592 h 1059043"/>
                <a:gd name="connsiteX392" fmla="*/ 20774 w 3024845"/>
                <a:gd name="connsiteY392" fmla="*/ 621511 h 1059043"/>
                <a:gd name="connsiteX393" fmla="*/ 24320 w 3024845"/>
                <a:gd name="connsiteY393" fmla="*/ 613945 h 1059043"/>
                <a:gd name="connsiteX394" fmla="*/ 26094 w 3024845"/>
                <a:gd name="connsiteY394" fmla="*/ 614215 h 1059043"/>
                <a:gd name="connsiteX395" fmla="*/ 38507 w 3024845"/>
                <a:gd name="connsiteY395" fmla="*/ 616106 h 1059043"/>
                <a:gd name="connsiteX396" fmla="*/ 39014 w 3024845"/>
                <a:gd name="connsiteY396" fmla="*/ 617458 h 1059043"/>
                <a:gd name="connsiteX397" fmla="*/ 42560 w 3024845"/>
                <a:gd name="connsiteY397" fmla="*/ 626915 h 1059043"/>
                <a:gd name="connsiteX398" fmla="*/ 68907 w 3024845"/>
                <a:gd name="connsiteY398" fmla="*/ 629077 h 1059043"/>
                <a:gd name="connsiteX399" fmla="*/ 68907 w 3024845"/>
                <a:gd name="connsiteY399" fmla="*/ 505856 h 1059043"/>
                <a:gd name="connsiteX400" fmla="*/ 70934 w 3024845"/>
                <a:gd name="connsiteY400" fmla="*/ 505856 h 1059043"/>
                <a:gd name="connsiteX401" fmla="*/ 85121 w 3024845"/>
                <a:gd name="connsiteY401" fmla="*/ 505856 h 1059043"/>
                <a:gd name="connsiteX402" fmla="*/ 85121 w 3024845"/>
                <a:gd name="connsiteY402" fmla="*/ 369664 h 1059043"/>
                <a:gd name="connsiteX403" fmla="*/ 86894 w 3024845"/>
                <a:gd name="connsiteY403" fmla="*/ 369664 h 1059043"/>
                <a:gd name="connsiteX404" fmla="*/ 99308 w 3024845"/>
                <a:gd name="connsiteY404" fmla="*/ 369664 h 1059043"/>
                <a:gd name="connsiteX405" fmla="*/ 99308 w 3024845"/>
                <a:gd name="connsiteY405" fmla="*/ 255090 h 1059043"/>
                <a:gd name="connsiteX406" fmla="*/ 103361 w 3024845"/>
                <a:gd name="connsiteY406" fmla="*/ 226986 h 1059043"/>
                <a:gd name="connsiteX407" fmla="*/ 105388 w 3024845"/>
                <a:gd name="connsiteY407" fmla="*/ 226986 h 1059043"/>
                <a:gd name="connsiteX408" fmla="*/ 119575 w 3024845"/>
                <a:gd name="connsiteY40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14016 h 1059043"/>
                <a:gd name="connsiteX315" fmla="*/ 2146266 w 3024845"/>
                <a:gd name="connsiteY315" fmla="*/ 131868 h 1059043"/>
                <a:gd name="connsiteX316" fmla="*/ 2144240 w 3024845"/>
                <a:gd name="connsiteY316" fmla="*/ 125383 h 1059043"/>
                <a:gd name="connsiteX317" fmla="*/ 2150320 w 3024845"/>
                <a:gd name="connsiteY317" fmla="*/ 118897 h 1059043"/>
                <a:gd name="connsiteX318" fmla="*/ 2150320 w 3024845"/>
                <a:gd name="connsiteY318" fmla="*/ 60529 h 1059043"/>
                <a:gd name="connsiteX319" fmla="*/ 2152346 w 3024845"/>
                <a:gd name="connsiteY319" fmla="*/ 56206 h 1059043"/>
                <a:gd name="connsiteX320" fmla="*/ 2152346 w 3024845"/>
                <a:gd name="connsiteY320" fmla="*/ 0 h 1059043"/>
                <a:gd name="connsiteX321" fmla="*/ 2162480 w 3024845"/>
                <a:gd name="connsiteY321" fmla="*/ 118897 h 1059043"/>
                <a:gd name="connsiteX322" fmla="*/ 2168560 w 3024845"/>
                <a:gd name="connsiteY322" fmla="*/ 125383 h 1059043"/>
                <a:gd name="connsiteX323" fmla="*/ 2166533 w 3024845"/>
                <a:gd name="connsiteY323" fmla="*/ 131868 h 1059043"/>
                <a:gd name="connsiteX324" fmla="*/ 2180720 w 3024845"/>
                <a:gd name="connsiteY324" fmla="*/ 555577 h 1059043"/>
                <a:gd name="connsiteX325" fmla="*/ 2245574 w 3024845"/>
                <a:gd name="connsiteY325" fmla="*/ 555577 h 1059043"/>
                <a:gd name="connsiteX326" fmla="*/ 2245574 w 3024845"/>
                <a:gd name="connsiteY326" fmla="*/ 631239 h 1059043"/>
                <a:gd name="connsiteX327" fmla="*/ 2253681 w 3024845"/>
                <a:gd name="connsiteY327" fmla="*/ 631239 h 1059043"/>
                <a:gd name="connsiteX328" fmla="*/ 2255708 w 3024845"/>
                <a:gd name="connsiteY328" fmla="*/ 624754 h 1059043"/>
                <a:gd name="connsiteX329" fmla="*/ 2261788 w 3024845"/>
                <a:gd name="connsiteY329" fmla="*/ 624754 h 1059043"/>
                <a:gd name="connsiteX330" fmla="*/ 2263815 w 3024845"/>
                <a:gd name="connsiteY330" fmla="*/ 633401 h 1059043"/>
                <a:gd name="connsiteX331" fmla="*/ 2275975 w 3024845"/>
                <a:gd name="connsiteY331" fmla="*/ 633401 h 1059043"/>
                <a:gd name="connsiteX332" fmla="*/ 2275975 w 3024845"/>
                <a:gd name="connsiteY332" fmla="*/ 626915 h 1059043"/>
                <a:gd name="connsiteX333" fmla="*/ 2298268 w 3024845"/>
                <a:gd name="connsiteY333" fmla="*/ 626915 h 1059043"/>
                <a:gd name="connsiteX334" fmla="*/ 2298268 w 3024845"/>
                <a:gd name="connsiteY334" fmla="*/ 633401 h 1059043"/>
                <a:gd name="connsiteX335" fmla="*/ 2318535 w 3024845"/>
                <a:gd name="connsiteY335" fmla="*/ 633401 h 1059043"/>
                <a:gd name="connsiteX336" fmla="*/ 2318535 w 3024845"/>
                <a:gd name="connsiteY336" fmla="*/ 678798 h 1059043"/>
                <a:gd name="connsiteX337" fmla="*/ 2332722 w 3024845"/>
                <a:gd name="connsiteY337" fmla="*/ 678798 h 1059043"/>
                <a:gd name="connsiteX338" fmla="*/ 2332722 w 3024845"/>
                <a:gd name="connsiteY338" fmla="*/ 665827 h 1059043"/>
                <a:gd name="connsiteX339" fmla="*/ 2348936 w 3024845"/>
                <a:gd name="connsiteY339" fmla="*/ 665827 h 1059043"/>
                <a:gd name="connsiteX340" fmla="*/ 2348936 w 3024845"/>
                <a:gd name="connsiteY340" fmla="*/ 486400 h 1059043"/>
                <a:gd name="connsiteX341" fmla="*/ 2355016 w 3024845"/>
                <a:gd name="connsiteY341" fmla="*/ 479914 h 1059043"/>
                <a:gd name="connsiteX342" fmla="*/ 2427977 w 3024845"/>
                <a:gd name="connsiteY342" fmla="*/ 479914 h 1059043"/>
                <a:gd name="connsiteX343" fmla="*/ 2427977 w 3024845"/>
                <a:gd name="connsiteY343" fmla="*/ 488562 h 1059043"/>
                <a:gd name="connsiteX344" fmla="*/ 2438110 w 3024845"/>
                <a:gd name="connsiteY344" fmla="*/ 488562 h 1059043"/>
                <a:gd name="connsiteX345" fmla="*/ 2438110 w 3024845"/>
                <a:gd name="connsiteY345" fmla="*/ 603136 h 1059043"/>
                <a:gd name="connsiteX346" fmla="*/ 2460404 w 3024845"/>
                <a:gd name="connsiteY346" fmla="*/ 603136 h 1059043"/>
                <a:gd name="connsiteX347" fmla="*/ 2460404 w 3024845"/>
                <a:gd name="connsiteY347" fmla="*/ 536121 h 1059043"/>
                <a:gd name="connsiteX348" fmla="*/ 2486751 w 3024845"/>
                <a:gd name="connsiteY348" fmla="*/ 536121 h 1059043"/>
                <a:gd name="connsiteX349" fmla="*/ 2490804 w 3024845"/>
                <a:gd name="connsiteY349" fmla="*/ 531797 h 1059043"/>
                <a:gd name="connsiteX350" fmla="*/ 2498911 w 3024845"/>
                <a:gd name="connsiteY350" fmla="*/ 531797 h 1059043"/>
                <a:gd name="connsiteX351" fmla="*/ 2502964 w 3024845"/>
                <a:gd name="connsiteY351" fmla="*/ 536121 h 1059043"/>
                <a:gd name="connsiteX352" fmla="*/ 2525258 w 3024845"/>
                <a:gd name="connsiteY352" fmla="*/ 536121 h 1059043"/>
                <a:gd name="connsiteX353" fmla="*/ 2525258 w 3024845"/>
                <a:gd name="connsiteY353" fmla="*/ 419385 h 1059043"/>
                <a:gd name="connsiteX354" fmla="*/ 2582005 w 3024845"/>
                <a:gd name="connsiteY354" fmla="*/ 408576 h 1059043"/>
                <a:gd name="connsiteX355" fmla="*/ 2582005 w 3024845"/>
                <a:gd name="connsiteY355" fmla="*/ 409657 h 1059043"/>
                <a:gd name="connsiteX356" fmla="*/ 2582005 w 3024845"/>
                <a:gd name="connsiteY356" fmla="*/ 417223 h 1059043"/>
                <a:gd name="connsiteX357" fmla="*/ 2608352 w 3024845"/>
                <a:gd name="connsiteY357" fmla="*/ 417223 h 1059043"/>
                <a:gd name="connsiteX358" fmla="*/ 2608352 w 3024845"/>
                <a:gd name="connsiteY358" fmla="*/ 672313 h 1059043"/>
                <a:gd name="connsiteX359" fmla="*/ 2630646 w 3024845"/>
                <a:gd name="connsiteY359" fmla="*/ 672313 h 1059043"/>
                <a:gd name="connsiteX360" fmla="*/ 2630646 w 3024845"/>
                <a:gd name="connsiteY360" fmla="*/ 667989 h 1059043"/>
                <a:gd name="connsiteX361" fmla="*/ 2642806 w 3024845"/>
                <a:gd name="connsiteY361" fmla="*/ 667989 h 1059043"/>
                <a:gd name="connsiteX362" fmla="*/ 2642806 w 3024845"/>
                <a:gd name="connsiteY362" fmla="*/ 672313 h 1059043"/>
                <a:gd name="connsiteX363" fmla="*/ 2667126 w 3024845"/>
                <a:gd name="connsiteY363" fmla="*/ 672313 h 1059043"/>
                <a:gd name="connsiteX364" fmla="*/ 2667126 w 3024845"/>
                <a:gd name="connsiteY364" fmla="*/ 659342 h 1059043"/>
                <a:gd name="connsiteX365" fmla="*/ 2695500 w 3024845"/>
                <a:gd name="connsiteY365" fmla="*/ 659342 h 1059043"/>
                <a:gd name="connsiteX366" fmla="*/ 2707660 w 3024845"/>
                <a:gd name="connsiteY366" fmla="*/ 655018 h 1059043"/>
                <a:gd name="connsiteX367" fmla="*/ 2727927 w 3024845"/>
                <a:gd name="connsiteY367" fmla="*/ 659342 h 1059043"/>
                <a:gd name="connsiteX368" fmla="*/ 2727927 w 3024845"/>
                <a:gd name="connsiteY368" fmla="*/ 642048 h 1059043"/>
                <a:gd name="connsiteX369" fmla="*/ 2736034 w 3024845"/>
                <a:gd name="connsiteY369" fmla="*/ 642048 h 1059043"/>
                <a:gd name="connsiteX370" fmla="*/ 2736034 w 3024845"/>
                <a:gd name="connsiteY370" fmla="*/ 629077 h 1059043"/>
                <a:gd name="connsiteX371" fmla="*/ 2792781 w 3024845"/>
                <a:gd name="connsiteY371" fmla="*/ 629077 h 1059043"/>
                <a:gd name="connsiteX372" fmla="*/ 2792781 w 3024845"/>
                <a:gd name="connsiteY372" fmla="*/ 598812 h 1059043"/>
                <a:gd name="connsiteX373" fmla="*/ 2811021 w 3024845"/>
                <a:gd name="connsiteY373" fmla="*/ 598812 h 1059043"/>
                <a:gd name="connsiteX374" fmla="*/ 2811021 w 3024845"/>
                <a:gd name="connsiteY374" fmla="*/ 592327 h 1059043"/>
                <a:gd name="connsiteX375" fmla="*/ 2823181 w 3024845"/>
                <a:gd name="connsiteY375" fmla="*/ 592327 h 1059043"/>
                <a:gd name="connsiteX376" fmla="*/ 2823181 w 3024845"/>
                <a:gd name="connsiteY376" fmla="*/ 598812 h 1059043"/>
                <a:gd name="connsiteX377" fmla="*/ 2839395 w 3024845"/>
                <a:gd name="connsiteY377" fmla="*/ 598812 h 1059043"/>
                <a:gd name="connsiteX378" fmla="*/ 2839395 w 3024845"/>
                <a:gd name="connsiteY378" fmla="*/ 648533 h 1059043"/>
                <a:gd name="connsiteX379" fmla="*/ 2871822 w 3024845"/>
                <a:gd name="connsiteY379" fmla="*/ 648533 h 1059043"/>
                <a:gd name="connsiteX380" fmla="*/ 2871822 w 3024845"/>
                <a:gd name="connsiteY380" fmla="*/ 622592 h 1059043"/>
                <a:gd name="connsiteX381" fmla="*/ 2910329 w 3024845"/>
                <a:gd name="connsiteY381" fmla="*/ 622592 h 1059043"/>
                <a:gd name="connsiteX382" fmla="*/ 2910329 w 3024845"/>
                <a:gd name="connsiteY382" fmla="*/ 592327 h 1059043"/>
                <a:gd name="connsiteX383" fmla="*/ 2958970 w 3024845"/>
                <a:gd name="connsiteY383" fmla="*/ 592327 h 1059043"/>
                <a:gd name="connsiteX384" fmla="*/ 2958970 w 3024845"/>
                <a:gd name="connsiteY384" fmla="*/ 703483 h 1059043"/>
                <a:gd name="connsiteX385" fmla="*/ 2958970 w 3024845"/>
                <a:gd name="connsiteY385" fmla="*/ 717262 h 1059043"/>
                <a:gd name="connsiteX386" fmla="*/ 3024845 w 3024845"/>
                <a:gd name="connsiteY386" fmla="*/ 717262 h 1059043"/>
                <a:gd name="connsiteX387" fmla="*/ 3024845 w 3024845"/>
                <a:gd name="connsiteY387" fmla="*/ 1059043 h 1059043"/>
                <a:gd name="connsiteX388" fmla="*/ 2054 w 3024845"/>
                <a:gd name="connsiteY388" fmla="*/ 1056710 h 1059043"/>
                <a:gd name="connsiteX389" fmla="*/ 0 w 3024845"/>
                <a:gd name="connsiteY389" fmla="*/ 622592 h 1059043"/>
                <a:gd name="connsiteX390" fmla="*/ 20267 w 3024845"/>
                <a:gd name="connsiteY390" fmla="*/ 622592 h 1059043"/>
                <a:gd name="connsiteX391" fmla="*/ 20774 w 3024845"/>
                <a:gd name="connsiteY391" fmla="*/ 621511 h 1059043"/>
                <a:gd name="connsiteX392" fmla="*/ 24320 w 3024845"/>
                <a:gd name="connsiteY392" fmla="*/ 613945 h 1059043"/>
                <a:gd name="connsiteX393" fmla="*/ 26094 w 3024845"/>
                <a:gd name="connsiteY393" fmla="*/ 614215 h 1059043"/>
                <a:gd name="connsiteX394" fmla="*/ 38507 w 3024845"/>
                <a:gd name="connsiteY394" fmla="*/ 616106 h 1059043"/>
                <a:gd name="connsiteX395" fmla="*/ 39014 w 3024845"/>
                <a:gd name="connsiteY395" fmla="*/ 617458 h 1059043"/>
                <a:gd name="connsiteX396" fmla="*/ 42560 w 3024845"/>
                <a:gd name="connsiteY396" fmla="*/ 626915 h 1059043"/>
                <a:gd name="connsiteX397" fmla="*/ 68907 w 3024845"/>
                <a:gd name="connsiteY397" fmla="*/ 629077 h 1059043"/>
                <a:gd name="connsiteX398" fmla="*/ 68907 w 3024845"/>
                <a:gd name="connsiteY398" fmla="*/ 505856 h 1059043"/>
                <a:gd name="connsiteX399" fmla="*/ 70934 w 3024845"/>
                <a:gd name="connsiteY399" fmla="*/ 505856 h 1059043"/>
                <a:gd name="connsiteX400" fmla="*/ 85121 w 3024845"/>
                <a:gd name="connsiteY400" fmla="*/ 505856 h 1059043"/>
                <a:gd name="connsiteX401" fmla="*/ 85121 w 3024845"/>
                <a:gd name="connsiteY401" fmla="*/ 369664 h 1059043"/>
                <a:gd name="connsiteX402" fmla="*/ 86894 w 3024845"/>
                <a:gd name="connsiteY402" fmla="*/ 369664 h 1059043"/>
                <a:gd name="connsiteX403" fmla="*/ 99308 w 3024845"/>
                <a:gd name="connsiteY403" fmla="*/ 369664 h 1059043"/>
                <a:gd name="connsiteX404" fmla="*/ 99308 w 3024845"/>
                <a:gd name="connsiteY404" fmla="*/ 255090 h 1059043"/>
                <a:gd name="connsiteX405" fmla="*/ 103361 w 3024845"/>
                <a:gd name="connsiteY405" fmla="*/ 226986 h 1059043"/>
                <a:gd name="connsiteX406" fmla="*/ 105388 w 3024845"/>
                <a:gd name="connsiteY406" fmla="*/ 226986 h 1059043"/>
                <a:gd name="connsiteX407" fmla="*/ 119575 w 3024845"/>
                <a:gd name="connsiteY407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44240 w 3024845"/>
                <a:gd name="connsiteY313" fmla="*/ 214016 h 1059043"/>
                <a:gd name="connsiteX314" fmla="*/ 2146266 w 3024845"/>
                <a:gd name="connsiteY314" fmla="*/ 131868 h 1059043"/>
                <a:gd name="connsiteX315" fmla="*/ 2144240 w 3024845"/>
                <a:gd name="connsiteY315" fmla="*/ 125383 h 1059043"/>
                <a:gd name="connsiteX316" fmla="*/ 2150320 w 3024845"/>
                <a:gd name="connsiteY316" fmla="*/ 118897 h 1059043"/>
                <a:gd name="connsiteX317" fmla="*/ 2150320 w 3024845"/>
                <a:gd name="connsiteY317" fmla="*/ 60529 h 1059043"/>
                <a:gd name="connsiteX318" fmla="*/ 2152346 w 3024845"/>
                <a:gd name="connsiteY318" fmla="*/ 56206 h 1059043"/>
                <a:gd name="connsiteX319" fmla="*/ 2152346 w 3024845"/>
                <a:gd name="connsiteY319" fmla="*/ 0 h 1059043"/>
                <a:gd name="connsiteX320" fmla="*/ 2162480 w 3024845"/>
                <a:gd name="connsiteY320" fmla="*/ 118897 h 1059043"/>
                <a:gd name="connsiteX321" fmla="*/ 2168560 w 3024845"/>
                <a:gd name="connsiteY321" fmla="*/ 125383 h 1059043"/>
                <a:gd name="connsiteX322" fmla="*/ 2166533 w 3024845"/>
                <a:gd name="connsiteY322" fmla="*/ 131868 h 1059043"/>
                <a:gd name="connsiteX323" fmla="*/ 2180720 w 3024845"/>
                <a:gd name="connsiteY323" fmla="*/ 555577 h 1059043"/>
                <a:gd name="connsiteX324" fmla="*/ 2245574 w 3024845"/>
                <a:gd name="connsiteY324" fmla="*/ 555577 h 1059043"/>
                <a:gd name="connsiteX325" fmla="*/ 2245574 w 3024845"/>
                <a:gd name="connsiteY325" fmla="*/ 631239 h 1059043"/>
                <a:gd name="connsiteX326" fmla="*/ 2253681 w 3024845"/>
                <a:gd name="connsiteY326" fmla="*/ 631239 h 1059043"/>
                <a:gd name="connsiteX327" fmla="*/ 2255708 w 3024845"/>
                <a:gd name="connsiteY327" fmla="*/ 624754 h 1059043"/>
                <a:gd name="connsiteX328" fmla="*/ 2261788 w 3024845"/>
                <a:gd name="connsiteY328" fmla="*/ 624754 h 1059043"/>
                <a:gd name="connsiteX329" fmla="*/ 2263815 w 3024845"/>
                <a:gd name="connsiteY329" fmla="*/ 633401 h 1059043"/>
                <a:gd name="connsiteX330" fmla="*/ 2275975 w 3024845"/>
                <a:gd name="connsiteY330" fmla="*/ 633401 h 1059043"/>
                <a:gd name="connsiteX331" fmla="*/ 2275975 w 3024845"/>
                <a:gd name="connsiteY331" fmla="*/ 626915 h 1059043"/>
                <a:gd name="connsiteX332" fmla="*/ 2298268 w 3024845"/>
                <a:gd name="connsiteY332" fmla="*/ 626915 h 1059043"/>
                <a:gd name="connsiteX333" fmla="*/ 2298268 w 3024845"/>
                <a:gd name="connsiteY333" fmla="*/ 633401 h 1059043"/>
                <a:gd name="connsiteX334" fmla="*/ 2318535 w 3024845"/>
                <a:gd name="connsiteY334" fmla="*/ 633401 h 1059043"/>
                <a:gd name="connsiteX335" fmla="*/ 2318535 w 3024845"/>
                <a:gd name="connsiteY335" fmla="*/ 678798 h 1059043"/>
                <a:gd name="connsiteX336" fmla="*/ 2332722 w 3024845"/>
                <a:gd name="connsiteY336" fmla="*/ 678798 h 1059043"/>
                <a:gd name="connsiteX337" fmla="*/ 2332722 w 3024845"/>
                <a:gd name="connsiteY337" fmla="*/ 665827 h 1059043"/>
                <a:gd name="connsiteX338" fmla="*/ 2348936 w 3024845"/>
                <a:gd name="connsiteY338" fmla="*/ 665827 h 1059043"/>
                <a:gd name="connsiteX339" fmla="*/ 2348936 w 3024845"/>
                <a:gd name="connsiteY339" fmla="*/ 486400 h 1059043"/>
                <a:gd name="connsiteX340" fmla="*/ 2355016 w 3024845"/>
                <a:gd name="connsiteY340" fmla="*/ 479914 h 1059043"/>
                <a:gd name="connsiteX341" fmla="*/ 2427977 w 3024845"/>
                <a:gd name="connsiteY341" fmla="*/ 479914 h 1059043"/>
                <a:gd name="connsiteX342" fmla="*/ 2427977 w 3024845"/>
                <a:gd name="connsiteY342" fmla="*/ 488562 h 1059043"/>
                <a:gd name="connsiteX343" fmla="*/ 2438110 w 3024845"/>
                <a:gd name="connsiteY343" fmla="*/ 488562 h 1059043"/>
                <a:gd name="connsiteX344" fmla="*/ 2438110 w 3024845"/>
                <a:gd name="connsiteY344" fmla="*/ 603136 h 1059043"/>
                <a:gd name="connsiteX345" fmla="*/ 2460404 w 3024845"/>
                <a:gd name="connsiteY345" fmla="*/ 603136 h 1059043"/>
                <a:gd name="connsiteX346" fmla="*/ 2460404 w 3024845"/>
                <a:gd name="connsiteY346" fmla="*/ 536121 h 1059043"/>
                <a:gd name="connsiteX347" fmla="*/ 2486751 w 3024845"/>
                <a:gd name="connsiteY347" fmla="*/ 536121 h 1059043"/>
                <a:gd name="connsiteX348" fmla="*/ 2490804 w 3024845"/>
                <a:gd name="connsiteY348" fmla="*/ 531797 h 1059043"/>
                <a:gd name="connsiteX349" fmla="*/ 2498911 w 3024845"/>
                <a:gd name="connsiteY349" fmla="*/ 531797 h 1059043"/>
                <a:gd name="connsiteX350" fmla="*/ 2502964 w 3024845"/>
                <a:gd name="connsiteY350" fmla="*/ 536121 h 1059043"/>
                <a:gd name="connsiteX351" fmla="*/ 2525258 w 3024845"/>
                <a:gd name="connsiteY351" fmla="*/ 536121 h 1059043"/>
                <a:gd name="connsiteX352" fmla="*/ 2525258 w 3024845"/>
                <a:gd name="connsiteY352" fmla="*/ 419385 h 1059043"/>
                <a:gd name="connsiteX353" fmla="*/ 2582005 w 3024845"/>
                <a:gd name="connsiteY353" fmla="*/ 408576 h 1059043"/>
                <a:gd name="connsiteX354" fmla="*/ 2582005 w 3024845"/>
                <a:gd name="connsiteY354" fmla="*/ 409657 h 1059043"/>
                <a:gd name="connsiteX355" fmla="*/ 2582005 w 3024845"/>
                <a:gd name="connsiteY355" fmla="*/ 417223 h 1059043"/>
                <a:gd name="connsiteX356" fmla="*/ 2608352 w 3024845"/>
                <a:gd name="connsiteY356" fmla="*/ 417223 h 1059043"/>
                <a:gd name="connsiteX357" fmla="*/ 2608352 w 3024845"/>
                <a:gd name="connsiteY357" fmla="*/ 672313 h 1059043"/>
                <a:gd name="connsiteX358" fmla="*/ 2630646 w 3024845"/>
                <a:gd name="connsiteY358" fmla="*/ 672313 h 1059043"/>
                <a:gd name="connsiteX359" fmla="*/ 2630646 w 3024845"/>
                <a:gd name="connsiteY359" fmla="*/ 667989 h 1059043"/>
                <a:gd name="connsiteX360" fmla="*/ 2642806 w 3024845"/>
                <a:gd name="connsiteY360" fmla="*/ 667989 h 1059043"/>
                <a:gd name="connsiteX361" fmla="*/ 2642806 w 3024845"/>
                <a:gd name="connsiteY361" fmla="*/ 672313 h 1059043"/>
                <a:gd name="connsiteX362" fmla="*/ 2667126 w 3024845"/>
                <a:gd name="connsiteY362" fmla="*/ 672313 h 1059043"/>
                <a:gd name="connsiteX363" fmla="*/ 2667126 w 3024845"/>
                <a:gd name="connsiteY363" fmla="*/ 659342 h 1059043"/>
                <a:gd name="connsiteX364" fmla="*/ 2695500 w 3024845"/>
                <a:gd name="connsiteY364" fmla="*/ 659342 h 1059043"/>
                <a:gd name="connsiteX365" fmla="*/ 2707660 w 3024845"/>
                <a:gd name="connsiteY365" fmla="*/ 655018 h 1059043"/>
                <a:gd name="connsiteX366" fmla="*/ 2727927 w 3024845"/>
                <a:gd name="connsiteY366" fmla="*/ 659342 h 1059043"/>
                <a:gd name="connsiteX367" fmla="*/ 2727927 w 3024845"/>
                <a:gd name="connsiteY367" fmla="*/ 642048 h 1059043"/>
                <a:gd name="connsiteX368" fmla="*/ 2736034 w 3024845"/>
                <a:gd name="connsiteY368" fmla="*/ 642048 h 1059043"/>
                <a:gd name="connsiteX369" fmla="*/ 2736034 w 3024845"/>
                <a:gd name="connsiteY369" fmla="*/ 629077 h 1059043"/>
                <a:gd name="connsiteX370" fmla="*/ 2792781 w 3024845"/>
                <a:gd name="connsiteY370" fmla="*/ 629077 h 1059043"/>
                <a:gd name="connsiteX371" fmla="*/ 2792781 w 3024845"/>
                <a:gd name="connsiteY371" fmla="*/ 598812 h 1059043"/>
                <a:gd name="connsiteX372" fmla="*/ 2811021 w 3024845"/>
                <a:gd name="connsiteY372" fmla="*/ 598812 h 1059043"/>
                <a:gd name="connsiteX373" fmla="*/ 2811021 w 3024845"/>
                <a:gd name="connsiteY373" fmla="*/ 592327 h 1059043"/>
                <a:gd name="connsiteX374" fmla="*/ 2823181 w 3024845"/>
                <a:gd name="connsiteY374" fmla="*/ 592327 h 1059043"/>
                <a:gd name="connsiteX375" fmla="*/ 2823181 w 3024845"/>
                <a:gd name="connsiteY375" fmla="*/ 598812 h 1059043"/>
                <a:gd name="connsiteX376" fmla="*/ 2839395 w 3024845"/>
                <a:gd name="connsiteY376" fmla="*/ 598812 h 1059043"/>
                <a:gd name="connsiteX377" fmla="*/ 2839395 w 3024845"/>
                <a:gd name="connsiteY377" fmla="*/ 648533 h 1059043"/>
                <a:gd name="connsiteX378" fmla="*/ 2871822 w 3024845"/>
                <a:gd name="connsiteY378" fmla="*/ 648533 h 1059043"/>
                <a:gd name="connsiteX379" fmla="*/ 2871822 w 3024845"/>
                <a:gd name="connsiteY379" fmla="*/ 622592 h 1059043"/>
                <a:gd name="connsiteX380" fmla="*/ 2910329 w 3024845"/>
                <a:gd name="connsiteY380" fmla="*/ 622592 h 1059043"/>
                <a:gd name="connsiteX381" fmla="*/ 2910329 w 3024845"/>
                <a:gd name="connsiteY381" fmla="*/ 592327 h 1059043"/>
                <a:gd name="connsiteX382" fmla="*/ 2958970 w 3024845"/>
                <a:gd name="connsiteY382" fmla="*/ 592327 h 1059043"/>
                <a:gd name="connsiteX383" fmla="*/ 2958970 w 3024845"/>
                <a:gd name="connsiteY383" fmla="*/ 703483 h 1059043"/>
                <a:gd name="connsiteX384" fmla="*/ 2958970 w 3024845"/>
                <a:gd name="connsiteY384" fmla="*/ 717262 h 1059043"/>
                <a:gd name="connsiteX385" fmla="*/ 3024845 w 3024845"/>
                <a:gd name="connsiteY385" fmla="*/ 717262 h 1059043"/>
                <a:gd name="connsiteX386" fmla="*/ 3024845 w 3024845"/>
                <a:gd name="connsiteY386" fmla="*/ 1059043 h 1059043"/>
                <a:gd name="connsiteX387" fmla="*/ 2054 w 3024845"/>
                <a:gd name="connsiteY387" fmla="*/ 1056710 h 1059043"/>
                <a:gd name="connsiteX388" fmla="*/ 0 w 3024845"/>
                <a:gd name="connsiteY388" fmla="*/ 622592 h 1059043"/>
                <a:gd name="connsiteX389" fmla="*/ 20267 w 3024845"/>
                <a:gd name="connsiteY389" fmla="*/ 622592 h 1059043"/>
                <a:gd name="connsiteX390" fmla="*/ 20774 w 3024845"/>
                <a:gd name="connsiteY390" fmla="*/ 621511 h 1059043"/>
                <a:gd name="connsiteX391" fmla="*/ 24320 w 3024845"/>
                <a:gd name="connsiteY391" fmla="*/ 613945 h 1059043"/>
                <a:gd name="connsiteX392" fmla="*/ 26094 w 3024845"/>
                <a:gd name="connsiteY392" fmla="*/ 614215 h 1059043"/>
                <a:gd name="connsiteX393" fmla="*/ 38507 w 3024845"/>
                <a:gd name="connsiteY393" fmla="*/ 616106 h 1059043"/>
                <a:gd name="connsiteX394" fmla="*/ 39014 w 3024845"/>
                <a:gd name="connsiteY394" fmla="*/ 617458 h 1059043"/>
                <a:gd name="connsiteX395" fmla="*/ 42560 w 3024845"/>
                <a:gd name="connsiteY395" fmla="*/ 626915 h 1059043"/>
                <a:gd name="connsiteX396" fmla="*/ 68907 w 3024845"/>
                <a:gd name="connsiteY396" fmla="*/ 629077 h 1059043"/>
                <a:gd name="connsiteX397" fmla="*/ 68907 w 3024845"/>
                <a:gd name="connsiteY397" fmla="*/ 505856 h 1059043"/>
                <a:gd name="connsiteX398" fmla="*/ 70934 w 3024845"/>
                <a:gd name="connsiteY398" fmla="*/ 505856 h 1059043"/>
                <a:gd name="connsiteX399" fmla="*/ 85121 w 3024845"/>
                <a:gd name="connsiteY399" fmla="*/ 505856 h 1059043"/>
                <a:gd name="connsiteX400" fmla="*/ 85121 w 3024845"/>
                <a:gd name="connsiteY400" fmla="*/ 369664 h 1059043"/>
                <a:gd name="connsiteX401" fmla="*/ 86894 w 3024845"/>
                <a:gd name="connsiteY401" fmla="*/ 369664 h 1059043"/>
                <a:gd name="connsiteX402" fmla="*/ 99308 w 3024845"/>
                <a:gd name="connsiteY402" fmla="*/ 369664 h 1059043"/>
                <a:gd name="connsiteX403" fmla="*/ 99308 w 3024845"/>
                <a:gd name="connsiteY403" fmla="*/ 255090 h 1059043"/>
                <a:gd name="connsiteX404" fmla="*/ 103361 w 3024845"/>
                <a:gd name="connsiteY404" fmla="*/ 226986 h 1059043"/>
                <a:gd name="connsiteX405" fmla="*/ 105388 w 3024845"/>
                <a:gd name="connsiteY405" fmla="*/ 226986 h 1059043"/>
                <a:gd name="connsiteX406" fmla="*/ 119575 w 3024845"/>
                <a:gd name="connsiteY406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44240 w 3024845"/>
                <a:gd name="connsiteY312" fmla="*/ 214016 h 1059043"/>
                <a:gd name="connsiteX313" fmla="*/ 2146266 w 3024845"/>
                <a:gd name="connsiteY313" fmla="*/ 131868 h 1059043"/>
                <a:gd name="connsiteX314" fmla="*/ 2144240 w 3024845"/>
                <a:gd name="connsiteY314" fmla="*/ 125383 h 1059043"/>
                <a:gd name="connsiteX315" fmla="*/ 2150320 w 3024845"/>
                <a:gd name="connsiteY315" fmla="*/ 118897 h 1059043"/>
                <a:gd name="connsiteX316" fmla="*/ 2150320 w 3024845"/>
                <a:gd name="connsiteY316" fmla="*/ 60529 h 1059043"/>
                <a:gd name="connsiteX317" fmla="*/ 2152346 w 3024845"/>
                <a:gd name="connsiteY317" fmla="*/ 56206 h 1059043"/>
                <a:gd name="connsiteX318" fmla="*/ 2152346 w 3024845"/>
                <a:gd name="connsiteY318" fmla="*/ 0 h 1059043"/>
                <a:gd name="connsiteX319" fmla="*/ 2162480 w 3024845"/>
                <a:gd name="connsiteY319" fmla="*/ 118897 h 1059043"/>
                <a:gd name="connsiteX320" fmla="*/ 2168560 w 3024845"/>
                <a:gd name="connsiteY320" fmla="*/ 125383 h 1059043"/>
                <a:gd name="connsiteX321" fmla="*/ 2166533 w 3024845"/>
                <a:gd name="connsiteY321" fmla="*/ 131868 h 1059043"/>
                <a:gd name="connsiteX322" fmla="*/ 2180720 w 3024845"/>
                <a:gd name="connsiteY322" fmla="*/ 555577 h 1059043"/>
                <a:gd name="connsiteX323" fmla="*/ 2245574 w 3024845"/>
                <a:gd name="connsiteY323" fmla="*/ 555577 h 1059043"/>
                <a:gd name="connsiteX324" fmla="*/ 2245574 w 3024845"/>
                <a:gd name="connsiteY324" fmla="*/ 631239 h 1059043"/>
                <a:gd name="connsiteX325" fmla="*/ 2253681 w 3024845"/>
                <a:gd name="connsiteY325" fmla="*/ 631239 h 1059043"/>
                <a:gd name="connsiteX326" fmla="*/ 2255708 w 3024845"/>
                <a:gd name="connsiteY326" fmla="*/ 624754 h 1059043"/>
                <a:gd name="connsiteX327" fmla="*/ 2261788 w 3024845"/>
                <a:gd name="connsiteY327" fmla="*/ 624754 h 1059043"/>
                <a:gd name="connsiteX328" fmla="*/ 2263815 w 3024845"/>
                <a:gd name="connsiteY328" fmla="*/ 633401 h 1059043"/>
                <a:gd name="connsiteX329" fmla="*/ 2275975 w 3024845"/>
                <a:gd name="connsiteY329" fmla="*/ 633401 h 1059043"/>
                <a:gd name="connsiteX330" fmla="*/ 2275975 w 3024845"/>
                <a:gd name="connsiteY330" fmla="*/ 626915 h 1059043"/>
                <a:gd name="connsiteX331" fmla="*/ 2298268 w 3024845"/>
                <a:gd name="connsiteY331" fmla="*/ 626915 h 1059043"/>
                <a:gd name="connsiteX332" fmla="*/ 2298268 w 3024845"/>
                <a:gd name="connsiteY332" fmla="*/ 633401 h 1059043"/>
                <a:gd name="connsiteX333" fmla="*/ 2318535 w 3024845"/>
                <a:gd name="connsiteY333" fmla="*/ 633401 h 1059043"/>
                <a:gd name="connsiteX334" fmla="*/ 2318535 w 3024845"/>
                <a:gd name="connsiteY334" fmla="*/ 678798 h 1059043"/>
                <a:gd name="connsiteX335" fmla="*/ 2332722 w 3024845"/>
                <a:gd name="connsiteY335" fmla="*/ 678798 h 1059043"/>
                <a:gd name="connsiteX336" fmla="*/ 2332722 w 3024845"/>
                <a:gd name="connsiteY336" fmla="*/ 665827 h 1059043"/>
                <a:gd name="connsiteX337" fmla="*/ 2348936 w 3024845"/>
                <a:gd name="connsiteY337" fmla="*/ 665827 h 1059043"/>
                <a:gd name="connsiteX338" fmla="*/ 2348936 w 3024845"/>
                <a:gd name="connsiteY338" fmla="*/ 486400 h 1059043"/>
                <a:gd name="connsiteX339" fmla="*/ 2355016 w 3024845"/>
                <a:gd name="connsiteY339" fmla="*/ 479914 h 1059043"/>
                <a:gd name="connsiteX340" fmla="*/ 2427977 w 3024845"/>
                <a:gd name="connsiteY340" fmla="*/ 479914 h 1059043"/>
                <a:gd name="connsiteX341" fmla="*/ 2427977 w 3024845"/>
                <a:gd name="connsiteY341" fmla="*/ 488562 h 1059043"/>
                <a:gd name="connsiteX342" fmla="*/ 2438110 w 3024845"/>
                <a:gd name="connsiteY342" fmla="*/ 488562 h 1059043"/>
                <a:gd name="connsiteX343" fmla="*/ 2438110 w 3024845"/>
                <a:gd name="connsiteY343" fmla="*/ 603136 h 1059043"/>
                <a:gd name="connsiteX344" fmla="*/ 2460404 w 3024845"/>
                <a:gd name="connsiteY344" fmla="*/ 603136 h 1059043"/>
                <a:gd name="connsiteX345" fmla="*/ 2460404 w 3024845"/>
                <a:gd name="connsiteY345" fmla="*/ 536121 h 1059043"/>
                <a:gd name="connsiteX346" fmla="*/ 2486751 w 3024845"/>
                <a:gd name="connsiteY346" fmla="*/ 536121 h 1059043"/>
                <a:gd name="connsiteX347" fmla="*/ 2490804 w 3024845"/>
                <a:gd name="connsiteY347" fmla="*/ 531797 h 1059043"/>
                <a:gd name="connsiteX348" fmla="*/ 2498911 w 3024845"/>
                <a:gd name="connsiteY348" fmla="*/ 531797 h 1059043"/>
                <a:gd name="connsiteX349" fmla="*/ 2502964 w 3024845"/>
                <a:gd name="connsiteY349" fmla="*/ 536121 h 1059043"/>
                <a:gd name="connsiteX350" fmla="*/ 2525258 w 3024845"/>
                <a:gd name="connsiteY350" fmla="*/ 536121 h 1059043"/>
                <a:gd name="connsiteX351" fmla="*/ 2525258 w 3024845"/>
                <a:gd name="connsiteY351" fmla="*/ 419385 h 1059043"/>
                <a:gd name="connsiteX352" fmla="*/ 2582005 w 3024845"/>
                <a:gd name="connsiteY352" fmla="*/ 408576 h 1059043"/>
                <a:gd name="connsiteX353" fmla="*/ 2582005 w 3024845"/>
                <a:gd name="connsiteY353" fmla="*/ 409657 h 1059043"/>
                <a:gd name="connsiteX354" fmla="*/ 2582005 w 3024845"/>
                <a:gd name="connsiteY354" fmla="*/ 417223 h 1059043"/>
                <a:gd name="connsiteX355" fmla="*/ 2608352 w 3024845"/>
                <a:gd name="connsiteY355" fmla="*/ 417223 h 1059043"/>
                <a:gd name="connsiteX356" fmla="*/ 2608352 w 3024845"/>
                <a:gd name="connsiteY356" fmla="*/ 672313 h 1059043"/>
                <a:gd name="connsiteX357" fmla="*/ 2630646 w 3024845"/>
                <a:gd name="connsiteY357" fmla="*/ 672313 h 1059043"/>
                <a:gd name="connsiteX358" fmla="*/ 2630646 w 3024845"/>
                <a:gd name="connsiteY358" fmla="*/ 667989 h 1059043"/>
                <a:gd name="connsiteX359" fmla="*/ 2642806 w 3024845"/>
                <a:gd name="connsiteY359" fmla="*/ 667989 h 1059043"/>
                <a:gd name="connsiteX360" fmla="*/ 2642806 w 3024845"/>
                <a:gd name="connsiteY360" fmla="*/ 672313 h 1059043"/>
                <a:gd name="connsiteX361" fmla="*/ 2667126 w 3024845"/>
                <a:gd name="connsiteY361" fmla="*/ 672313 h 1059043"/>
                <a:gd name="connsiteX362" fmla="*/ 2667126 w 3024845"/>
                <a:gd name="connsiteY362" fmla="*/ 659342 h 1059043"/>
                <a:gd name="connsiteX363" fmla="*/ 2695500 w 3024845"/>
                <a:gd name="connsiteY363" fmla="*/ 659342 h 1059043"/>
                <a:gd name="connsiteX364" fmla="*/ 2707660 w 3024845"/>
                <a:gd name="connsiteY364" fmla="*/ 655018 h 1059043"/>
                <a:gd name="connsiteX365" fmla="*/ 2727927 w 3024845"/>
                <a:gd name="connsiteY365" fmla="*/ 659342 h 1059043"/>
                <a:gd name="connsiteX366" fmla="*/ 2727927 w 3024845"/>
                <a:gd name="connsiteY366" fmla="*/ 642048 h 1059043"/>
                <a:gd name="connsiteX367" fmla="*/ 2736034 w 3024845"/>
                <a:gd name="connsiteY367" fmla="*/ 642048 h 1059043"/>
                <a:gd name="connsiteX368" fmla="*/ 2736034 w 3024845"/>
                <a:gd name="connsiteY368" fmla="*/ 629077 h 1059043"/>
                <a:gd name="connsiteX369" fmla="*/ 2792781 w 3024845"/>
                <a:gd name="connsiteY369" fmla="*/ 629077 h 1059043"/>
                <a:gd name="connsiteX370" fmla="*/ 2792781 w 3024845"/>
                <a:gd name="connsiteY370" fmla="*/ 598812 h 1059043"/>
                <a:gd name="connsiteX371" fmla="*/ 2811021 w 3024845"/>
                <a:gd name="connsiteY371" fmla="*/ 598812 h 1059043"/>
                <a:gd name="connsiteX372" fmla="*/ 2811021 w 3024845"/>
                <a:gd name="connsiteY372" fmla="*/ 592327 h 1059043"/>
                <a:gd name="connsiteX373" fmla="*/ 2823181 w 3024845"/>
                <a:gd name="connsiteY373" fmla="*/ 592327 h 1059043"/>
                <a:gd name="connsiteX374" fmla="*/ 2823181 w 3024845"/>
                <a:gd name="connsiteY374" fmla="*/ 598812 h 1059043"/>
                <a:gd name="connsiteX375" fmla="*/ 2839395 w 3024845"/>
                <a:gd name="connsiteY375" fmla="*/ 598812 h 1059043"/>
                <a:gd name="connsiteX376" fmla="*/ 2839395 w 3024845"/>
                <a:gd name="connsiteY376" fmla="*/ 648533 h 1059043"/>
                <a:gd name="connsiteX377" fmla="*/ 2871822 w 3024845"/>
                <a:gd name="connsiteY377" fmla="*/ 648533 h 1059043"/>
                <a:gd name="connsiteX378" fmla="*/ 2871822 w 3024845"/>
                <a:gd name="connsiteY378" fmla="*/ 622592 h 1059043"/>
                <a:gd name="connsiteX379" fmla="*/ 2910329 w 3024845"/>
                <a:gd name="connsiteY379" fmla="*/ 622592 h 1059043"/>
                <a:gd name="connsiteX380" fmla="*/ 2910329 w 3024845"/>
                <a:gd name="connsiteY380" fmla="*/ 592327 h 1059043"/>
                <a:gd name="connsiteX381" fmla="*/ 2958970 w 3024845"/>
                <a:gd name="connsiteY381" fmla="*/ 592327 h 1059043"/>
                <a:gd name="connsiteX382" fmla="*/ 2958970 w 3024845"/>
                <a:gd name="connsiteY382" fmla="*/ 703483 h 1059043"/>
                <a:gd name="connsiteX383" fmla="*/ 2958970 w 3024845"/>
                <a:gd name="connsiteY383" fmla="*/ 717262 h 1059043"/>
                <a:gd name="connsiteX384" fmla="*/ 3024845 w 3024845"/>
                <a:gd name="connsiteY384" fmla="*/ 717262 h 1059043"/>
                <a:gd name="connsiteX385" fmla="*/ 3024845 w 3024845"/>
                <a:gd name="connsiteY385" fmla="*/ 1059043 h 1059043"/>
                <a:gd name="connsiteX386" fmla="*/ 2054 w 3024845"/>
                <a:gd name="connsiteY386" fmla="*/ 1056710 h 1059043"/>
                <a:gd name="connsiteX387" fmla="*/ 0 w 3024845"/>
                <a:gd name="connsiteY387" fmla="*/ 622592 h 1059043"/>
                <a:gd name="connsiteX388" fmla="*/ 20267 w 3024845"/>
                <a:gd name="connsiteY388" fmla="*/ 622592 h 1059043"/>
                <a:gd name="connsiteX389" fmla="*/ 20774 w 3024845"/>
                <a:gd name="connsiteY389" fmla="*/ 621511 h 1059043"/>
                <a:gd name="connsiteX390" fmla="*/ 24320 w 3024845"/>
                <a:gd name="connsiteY390" fmla="*/ 613945 h 1059043"/>
                <a:gd name="connsiteX391" fmla="*/ 26094 w 3024845"/>
                <a:gd name="connsiteY391" fmla="*/ 614215 h 1059043"/>
                <a:gd name="connsiteX392" fmla="*/ 38507 w 3024845"/>
                <a:gd name="connsiteY392" fmla="*/ 616106 h 1059043"/>
                <a:gd name="connsiteX393" fmla="*/ 39014 w 3024845"/>
                <a:gd name="connsiteY393" fmla="*/ 617458 h 1059043"/>
                <a:gd name="connsiteX394" fmla="*/ 42560 w 3024845"/>
                <a:gd name="connsiteY394" fmla="*/ 626915 h 1059043"/>
                <a:gd name="connsiteX395" fmla="*/ 68907 w 3024845"/>
                <a:gd name="connsiteY395" fmla="*/ 629077 h 1059043"/>
                <a:gd name="connsiteX396" fmla="*/ 68907 w 3024845"/>
                <a:gd name="connsiteY396" fmla="*/ 505856 h 1059043"/>
                <a:gd name="connsiteX397" fmla="*/ 70934 w 3024845"/>
                <a:gd name="connsiteY397" fmla="*/ 505856 h 1059043"/>
                <a:gd name="connsiteX398" fmla="*/ 85121 w 3024845"/>
                <a:gd name="connsiteY398" fmla="*/ 505856 h 1059043"/>
                <a:gd name="connsiteX399" fmla="*/ 85121 w 3024845"/>
                <a:gd name="connsiteY399" fmla="*/ 369664 h 1059043"/>
                <a:gd name="connsiteX400" fmla="*/ 86894 w 3024845"/>
                <a:gd name="connsiteY400" fmla="*/ 369664 h 1059043"/>
                <a:gd name="connsiteX401" fmla="*/ 99308 w 3024845"/>
                <a:gd name="connsiteY401" fmla="*/ 369664 h 1059043"/>
                <a:gd name="connsiteX402" fmla="*/ 99308 w 3024845"/>
                <a:gd name="connsiteY402" fmla="*/ 255090 h 1059043"/>
                <a:gd name="connsiteX403" fmla="*/ 103361 w 3024845"/>
                <a:gd name="connsiteY403" fmla="*/ 226986 h 1059043"/>
                <a:gd name="connsiteX404" fmla="*/ 105388 w 3024845"/>
                <a:gd name="connsiteY404" fmla="*/ 226986 h 1059043"/>
                <a:gd name="connsiteX405" fmla="*/ 119575 w 3024845"/>
                <a:gd name="connsiteY405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44240 w 3024845"/>
                <a:gd name="connsiteY311" fmla="*/ 214016 h 1059043"/>
                <a:gd name="connsiteX312" fmla="*/ 2146266 w 3024845"/>
                <a:gd name="connsiteY312" fmla="*/ 131868 h 1059043"/>
                <a:gd name="connsiteX313" fmla="*/ 2144240 w 3024845"/>
                <a:gd name="connsiteY313" fmla="*/ 125383 h 1059043"/>
                <a:gd name="connsiteX314" fmla="*/ 2150320 w 3024845"/>
                <a:gd name="connsiteY314" fmla="*/ 118897 h 1059043"/>
                <a:gd name="connsiteX315" fmla="*/ 2150320 w 3024845"/>
                <a:gd name="connsiteY315" fmla="*/ 60529 h 1059043"/>
                <a:gd name="connsiteX316" fmla="*/ 2152346 w 3024845"/>
                <a:gd name="connsiteY316" fmla="*/ 56206 h 1059043"/>
                <a:gd name="connsiteX317" fmla="*/ 2152346 w 3024845"/>
                <a:gd name="connsiteY317" fmla="*/ 0 h 1059043"/>
                <a:gd name="connsiteX318" fmla="*/ 2162480 w 3024845"/>
                <a:gd name="connsiteY318" fmla="*/ 118897 h 1059043"/>
                <a:gd name="connsiteX319" fmla="*/ 2168560 w 3024845"/>
                <a:gd name="connsiteY319" fmla="*/ 125383 h 1059043"/>
                <a:gd name="connsiteX320" fmla="*/ 2166533 w 3024845"/>
                <a:gd name="connsiteY320" fmla="*/ 131868 h 1059043"/>
                <a:gd name="connsiteX321" fmla="*/ 2180720 w 3024845"/>
                <a:gd name="connsiteY321" fmla="*/ 555577 h 1059043"/>
                <a:gd name="connsiteX322" fmla="*/ 2245574 w 3024845"/>
                <a:gd name="connsiteY322" fmla="*/ 555577 h 1059043"/>
                <a:gd name="connsiteX323" fmla="*/ 2245574 w 3024845"/>
                <a:gd name="connsiteY323" fmla="*/ 631239 h 1059043"/>
                <a:gd name="connsiteX324" fmla="*/ 2253681 w 3024845"/>
                <a:gd name="connsiteY324" fmla="*/ 631239 h 1059043"/>
                <a:gd name="connsiteX325" fmla="*/ 2255708 w 3024845"/>
                <a:gd name="connsiteY325" fmla="*/ 624754 h 1059043"/>
                <a:gd name="connsiteX326" fmla="*/ 2261788 w 3024845"/>
                <a:gd name="connsiteY326" fmla="*/ 624754 h 1059043"/>
                <a:gd name="connsiteX327" fmla="*/ 2263815 w 3024845"/>
                <a:gd name="connsiteY327" fmla="*/ 633401 h 1059043"/>
                <a:gd name="connsiteX328" fmla="*/ 2275975 w 3024845"/>
                <a:gd name="connsiteY328" fmla="*/ 633401 h 1059043"/>
                <a:gd name="connsiteX329" fmla="*/ 2275975 w 3024845"/>
                <a:gd name="connsiteY329" fmla="*/ 626915 h 1059043"/>
                <a:gd name="connsiteX330" fmla="*/ 2298268 w 3024845"/>
                <a:gd name="connsiteY330" fmla="*/ 626915 h 1059043"/>
                <a:gd name="connsiteX331" fmla="*/ 2298268 w 3024845"/>
                <a:gd name="connsiteY331" fmla="*/ 633401 h 1059043"/>
                <a:gd name="connsiteX332" fmla="*/ 2318535 w 3024845"/>
                <a:gd name="connsiteY332" fmla="*/ 633401 h 1059043"/>
                <a:gd name="connsiteX333" fmla="*/ 2318535 w 3024845"/>
                <a:gd name="connsiteY333" fmla="*/ 678798 h 1059043"/>
                <a:gd name="connsiteX334" fmla="*/ 2332722 w 3024845"/>
                <a:gd name="connsiteY334" fmla="*/ 678798 h 1059043"/>
                <a:gd name="connsiteX335" fmla="*/ 2332722 w 3024845"/>
                <a:gd name="connsiteY335" fmla="*/ 665827 h 1059043"/>
                <a:gd name="connsiteX336" fmla="*/ 2348936 w 3024845"/>
                <a:gd name="connsiteY336" fmla="*/ 665827 h 1059043"/>
                <a:gd name="connsiteX337" fmla="*/ 2348936 w 3024845"/>
                <a:gd name="connsiteY337" fmla="*/ 486400 h 1059043"/>
                <a:gd name="connsiteX338" fmla="*/ 2355016 w 3024845"/>
                <a:gd name="connsiteY338" fmla="*/ 479914 h 1059043"/>
                <a:gd name="connsiteX339" fmla="*/ 2427977 w 3024845"/>
                <a:gd name="connsiteY339" fmla="*/ 479914 h 1059043"/>
                <a:gd name="connsiteX340" fmla="*/ 2427977 w 3024845"/>
                <a:gd name="connsiteY340" fmla="*/ 488562 h 1059043"/>
                <a:gd name="connsiteX341" fmla="*/ 2438110 w 3024845"/>
                <a:gd name="connsiteY341" fmla="*/ 488562 h 1059043"/>
                <a:gd name="connsiteX342" fmla="*/ 2438110 w 3024845"/>
                <a:gd name="connsiteY342" fmla="*/ 603136 h 1059043"/>
                <a:gd name="connsiteX343" fmla="*/ 2460404 w 3024845"/>
                <a:gd name="connsiteY343" fmla="*/ 603136 h 1059043"/>
                <a:gd name="connsiteX344" fmla="*/ 2460404 w 3024845"/>
                <a:gd name="connsiteY344" fmla="*/ 536121 h 1059043"/>
                <a:gd name="connsiteX345" fmla="*/ 2486751 w 3024845"/>
                <a:gd name="connsiteY345" fmla="*/ 536121 h 1059043"/>
                <a:gd name="connsiteX346" fmla="*/ 2490804 w 3024845"/>
                <a:gd name="connsiteY346" fmla="*/ 531797 h 1059043"/>
                <a:gd name="connsiteX347" fmla="*/ 2498911 w 3024845"/>
                <a:gd name="connsiteY347" fmla="*/ 531797 h 1059043"/>
                <a:gd name="connsiteX348" fmla="*/ 2502964 w 3024845"/>
                <a:gd name="connsiteY348" fmla="*/ 536121 h 1059043"/>
                <a:gd name="connsiteX349" fmla="*/ 2525258 w 3024845"/>
                <a:gd name="connsiteY349" fmla="*/ 536121 h 1059043"/>
                <a:gd name="connsiteX350" fmla="*/ 2525258 w 3024845"/>
                <a:gd name="connsiteY350" fmla="*/ 419385 h 1059043"/>
                <a:gd name="connsiteX351" fmla="*/ 2582005 w 3024845"/>
                <a:gd name="connsiteY351" fmla="*/ 408576 h 1059043"/>
                <a:gd name="connsiteX352" fmla="*/ 2582005 w 3024845"/>
                <a:gd name="connsiteY352" fmla="*/ 409657 h 1059043"/>
                <a:gd name="connsiteX353" fmla="*/ 2582005 w 3024845"/>
                <a:gd name="connsiteY353" fmla="*/ 417223 h 1059043"/>
                <a:gd name="connsiteX354" fmla="*/ 2608352 w 3024845"/>
                <a:gd name="connsiteY354" fmla="*/ 417223 h 1059043"/>
                <a:gd name="connsiteX355" fmla="*/ 2608352 w 3024845"/>
                <a:gd name="connsiteY355" fmla="*/ 672313 h 1059043"/>
                <a:gd name="connsiteX356" fmla="*/ 2630646 w 3024845"/>
                <a:gd name="connsiteY356" fmla="*/ 672313 h 1059043"/>
                <a:gd name="connsiteX357" fmla="*/ 2630646 w 3024845"/>
                <a:gd name="connsiteY357" fmla="*/ 667989 h 1059043"/>
                <a:gd name="connsiteX358" fmla="*/ 2642806 w 3024845"/>
                <a:gd name="connsiteY358" fmla="*/ 667989 h 1059043"/>
                <a:gd name="connsiteX359" fmla="*/ 2642806 w 3024845"/>
                <a:gd name="connsiteY359" fmla="*/ 672313 h 1059043"/>
                <a:gd name="connsiteX360" fmla="*/ 2667126 w 3024845"/>
                <a:gd name="connsiteY360" fmla="*/ 672313 h 1059043"/>
                <a:gd name="connsiteX361" fmla="*/ 2667126 w 3024845"/>
                <a:gd name="connsiteY361" fmla="*/ 659342 h 1059043"/>
                <a:gd name="connsiteX362" fmla="*/ 2695500 w 3024845"/>
                <a:gd name="connsiteY362" fmla="*/ 659342 h 1059043"/>
                <a:gd name="connsiteX363" fmla="*/ 2707660 w 3024845"/>
                <a:gd name="connsiteY363" fmla="*/ 655018 h 1059043"/>
                <a:gd name="connsiteX364" fmla="*/ 2727927 w 3024845"/>
                <a:gd name="connsiteY364" fmla="*/ 659342 h 1059043"/>
                <a:gd name="connsiteX365" fmla="*/ 2727927 w 3024845"/>
                <a:gd name="connsiteY365" fmla="*/ 642048 h 1059043"/>
                <a:gd name="connsiteX366" fmla="*/ 2736034 w 3024845"/>
                <a:gd name="connsiteY366" fmla="*/ 642048 h 1059043"/>
                <a:gd name="connsiteX367" fmla="*/ 2736034 w 3024845"/>
                <a:gd name="connsiteY367" fmla="*/ 629077 h 1059043"/>
                <a:gd name="connsiteX368" fmla="*/ 2792781 w 3024845"/>
                <a:gd name="connsiteY368" fmla="*/ 629077 h 1059043"/>
                <a:gd name="connsiteX369" fmla="*/ 2792781 w 3024845"/>
                <a:gd name="connsiteY369" fmla="*/ 598812 h 1059043"/>
                <a:gd name="connsiteX370" fmla="*/ 2811021 w 3024845"/>
                <a:gd name="connsiteY370" fmla="*/ 598812 h 1059043"/>
                <a:gd name="connsiteX371" fmla="*/ 2811021 w 3024845"/>
                <a:gd name="connsiteY371" fmla="*/ 592327 h 1059043"/>
                <a:gd name="connsiteX372" fmla="*/ 2823181 w 3024845"/>
                <a:gd name="connsiteY372" fmla="*/ 592327 h 1059043"/>
                <a:gd name="connsiteX373" fmla="*/ 2823181 w 3024845"/>
                <a:gd name="connsiteY373" fmla="*/ 598812 h 1059043"/>
                <a:gd name="connsiteX374" fmla="*/ 2839395 w 3024845"/>
                <a:gd name="connsiteY374" fmla="*/ 598812 h 1059043"/>
                <a:gd name="connsiteX375" fmla="*/ 2839395 w 3024845"/>
                <a:gd name="connsiteY375" fmla="*/ 648533 h 1059043"/>
                <a:gd name="connsiteX376" fmla="*/ 2871822 w 3024845"/>
                <a:gd name="connsiteY376" fmla="*/ 648533 h 1059043"/>
                <a:gd name="connsiteX377" fmla="*/ 2871822 w 3024845"/>
                <a:gd name="connsiteY377" fmla="*/ 622592 h 1059043"/>
                <a:gd name="connsiteX378" fmla="*/ 2910329 w 3024845"/>
                <a:gd name="connsiteY378" fmla="*/ 622592 h 1059043"/>
                <a:gd name="connsiteX379" fmla="*/ 2910329 w 3024845"/>
                <a:gd name="connsiteY379" fmla="*/ 592327 h 1059043"/>
                <a:gd name="connsiteX380" fmla="*/ 2958970 w 3024845"/>
                <a:gd name="connsiteY380" fmla="*/ 592327 h 1059043"/>
                <a:gd name="connsiteX381" fmla="*/ 2958970 w 3024845"/>
                <a:gd name="connsiteY381" fmla="*/ 703483 h 1059043"/>
                <a:gd name="connsiteX382" fmla="*/ 2958970 w 3024845"/>
                <a:gd name="connsiteY382" fmla="*/ 717262 h 1059043"/>
                <a:gd name="connsiteX383" fmla="*/ 3024845 w 3024845"/>
                <a:gd name="connsiteY383" fmla="*/ 717262 h 1059043"/>
                <a:gd name="connsiteX384" fmla="*/ 3024845 w 3024845"/>
                <a:gd name="connsiteY384" fmla="*/ 1059043 h 1059043"/>
                <a:gd name="connsiteX385" fmla="*/ 2054 w 3024845"/>
                <a:gd name="connsiteY385" fmla="*/ 1056710 h 1059043"/>
                <a:gd name="connsiteX386" fmla="*/ 0 w 3024845"/>
                <a:gd name="connsiteY386" fmla="*/ 622592 h 1059043"/>
                <a:gd name="connsiteX387" fmla="*/ 20267 w 3024845"/>
                <a:gd name="connsiteY387" fmla="*/ 622592 h 1059043"/>
                <a:gd name="connsiteX388" fmla="*/ 20774 w 3024845"/>
                <a:gd name="connsiteY388" fmla="*/ 621511 h 1059043"/>
                <a:gd name="connsiteX389" fmla="*/ 24320 w 3024845"/>
                <a:gd name="connsiteY389" fmla="*/ 613945 h 1059043"/>
                <a:gd name="connsiteX390" fmla="*/ 26094 w 3024845"/>
                <a:gd name="connsiteY390" fmla="*/ 614215 h 1059043"/>
                <a:gd name="connsiteX391" fmla="*/ 38507 w 3024845"/>
                <a:gd name="connsiteY391" fmla="*/ 616106 h 1059043"/>
                <a:gd name="connsiteX392" fmla="*/ 39014 w 3024845"/>
                <a:gd name="connsiteY392" fmla="*/ 617458 h 1059043"/>
                <a:gd name="connsiteX393" fmla="*/ 42560 w 3024845"/>
                <a:gd name="connsiteY393" fmla="*/ 626915 h 1059043"/>
                <a:gd name="connsiteX394" fmla="*/ 68907 w 3024845"/>
                <a:gd name="connsiteY394" fmla="*/ 629077 h 1059043"/>
                <a:gd name="connsiteX395" fmla="*/ 68907 w 3024845"/>
                <a:gd name="connsiteY395" fmla="*/ 505856 h 1059043"/>
                <a:gd name="connsiteX396" fmla="*/ 70934 w 3024845"/>
                <a:gd name="connsiteY396" fmla="*/ 505856 h 1059043"/>
                <a:gd name="connsiteX397" fmla="*/ 85121 w 3024845"/>
                <a:gd name="connsiteY397" fmla="*/ 505856 h 1059043"/>
                <a:gd name="connsiteX398" fmla="*/ 85121 w 3024845"/>
                <a:gd name="connsiteY398" fmla="*/ 369664 h 1059043"/>
                <a:gd name="connsiteX399" fmla="*/ 86894 w 3024845"/>
                <a:gd name="connsiteY399" fmla="*/ 369664 h 1059043"/>
                <a:gd name="connsiteX400" fmla="*/ 99308 w 3024845"/>
                <a:gd name="connsiteY400" fmla="*/ 369664 h 1059043"/>
                <a:gd name="connsiteX401" fmla="*/ 99308 w 3024845"/>
                <a:gd name="connsiteY401" fmla="*/ 255090 h 1059043"/>
                <a:gd name="connsiteX402" fmla="*/ 103361 w 3024845"/>
                <a:gd name="connsiteY402" fmla="*/ 226986 h 1059043"/>
                <a:gd name="connsiteX403" fmla="*/ 105388 w 3024845"/>
                <a:gd name="connsiteY403" fmla="*/ 226986 h 1059043"/>
                <a:gd name="connsiteX404" fmla="*/ 119575 w 3024845"/>
                <a:gd name="connsiteY404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4240 w 3024845"/>
                <a:gd name="connsiteY310" fmla="*/ 214016 h 1059043"/>
                <a:gd name="connsiteX311" fmla="*/ 2146266 w 3024845"/>
                <a:gd name="connsiteY311" fmla="*/ 131868 h 1059043"/>
                <a:gd name="connsiteX312" fmla="*/ 2144240 w 3024845"/>
                <a:gd name="connsiteY312" fmla="*/ 125383 h 1059043"/>
                <a:gd name="connsiteX313" fmla="*/ 2150320 w 3024845"/>
                <a:gd name="connsiteY313" fmla="*/ 118897 h 1059043"/>
                <a:gd name="connsiteX314" fmla="*/ 2150320 w 3024845"/>
                <a:gd name="connsiteY314" fmla="*/ 60529 h 1059043"/>
                <a:gd name="connsiteX315" fmla="*/ 2152346 w 3024845"/>
                <a:gd name="connsiteY315" fmla="*/ 56206 h 1059043"/>
                <a:gd name="connsiteX316" fmla="*/ 2152346 w 3024845"/>
                <a:gd name="connsiteY316" fmla="*/ 0 h 1059043"/>
                <a:gd name="connsiteX317" fmla="*/ 2162480 w 3024845"/>
                <a:gd name="connsiteY317" fmla="*/ 118897 h 1059043"/>
                <a:gd name="connsiteX318" fmla="*/ 2168560 w 3024845"/>
                <a:gd name="connsiteY318" fmla="*/ 125383 h 1059043"/>
                <a:gd name="connsiteX319" fmla="*/ 2166533 w 3024845"/>
                <a:gd name="connsiteY319" fmla="*/ 131868 h 1059043"/>
                <a:gd name="connsiteX320" fmla="*/ 2180720 w 3024845"/>
                <a:gd name="connsiteY320" fmla="*/ 555577 h 1059043"/>
                <a:gd name="connsiteX321" fmla="*/ 2245574 w 3024845"/>
                <a:gd name="connsiteY321" fmla="*/ 555577 h 1059043"/>
                <a:gd name="connsiteX322" fmla="*/ 2245574 w 3024845"/>
                <a:gd name="connsiteY322" fmla="*/ 631239 h 1059043"/>
                <a:gd name="connsiteX323" fmla="*/ 2253681 w 3024845"/>
                <a:gd name="connsiteY323" fmla="*/ 631239 h 1059043"/>
                <a:gd name="connsiteX324" fmla="*/ 2255708 w 3024845"/>
                <a:gd name="connsiteY324" fmla="*/ 624754 h 1059043"/>
                <a:gd name="connsiteX325" fmla="*/ 2261788 w 3024845"/>
                <a:gd name="connsiteY325" fmla="*/ 624754 h 1059043"/>
                <a:gd name="connsiteX326" fmla="*/ 2263815 w 3024845"/>
                <a:gd name="connsiteY326" fmla="*/ 633401 h 1059043"/>
                <a:gd name="connsiteX327" fmla="*/ 2275975 w 3024845"/>
                <a:gd name="connsiteY327" fmla="*/ 633401 h 1059043"/>
                <a:gd name="connsiteX328" fmla="*/ 2275975 w 3024845"/>
                <a:gd name="connsiteY328" fmla="*/ 626915 h 1059043"/>
                <a:gd name="connsiteX329" fmla="*/ 2298268 w 3024845"/>
                <a:gd name="connsiteY329" fmla="*/ 626915 h 1059043"/>
                <a:gd name="connsiteX330" fmla="*/ 2298268 w 3024845"/>
                <a:gd name="connsiteY330" fmla="*/ 633401 h 1059043"/>
                <a:gd name="connsiteX331" fmla="*/ 2318535 w 3024845"/>
                <a:gd name="connsiteY331" fmla="*/ 633401 h 1059043"/>
                <a:gd name="connsiteX332" fmla="*/ 2318535 w 3024845"/>
                <a:gd name="connsiteY332" fmla="*/ 678798 h 1059043"/>
                <a:gd name="connsiteX333" fmla="*/ 2332722 w 3024845"/>
                <a:gd name="connsiteY333" fmla="*/ 678798 h 1059043"/>
                <a:gd name="connsiteX334" fmla="*/ 2332722 w 3024845"/>
                <a:gd name="connsiteY334" fmla="*/ 665827 h 1059043"/>
                <a:gd name="connsiteX335" fmla="*/ 2348936 w 3024845"/>
                <a:gd name="connsiteY335" fmla="*/ 665827 h 1059043"/>
                <a:gd name="connsiteX336" fmla="*/ 2348936 w 3024845"/>
                <a:gd name="connsiteY336" fmla="*/ 486400 h 1059043"/>
                <a:gd name="connsiteX337" fmla="*/ 2355016 w 3024845"/>
                <a:gd name="connsiteY337" fmla="*/ 479914 h 1059043"/>
                <a:gd name="connsiteX338" fmla="*/ 2427977 w 3024845"/>
                <a:gd name="connsiteY338" fmla="*/ 479914 h 1059043"/>
                <a:gd name="connsiteX339" fmla="*/ 2427977 w 3024845"/>
                <a:gd name="connsiteY339" fmla="*/ 488562 h 1059043"/>
                <a:gd name="connsiteX340" fmla="*/ 2438110 w 3024845"/>
                <a:gd name="connsiteY340" fmla="*/ 488562 h 1059043"/>
                <a:gd name="connsiteX341" fmla="*/ 2438110 w 3024845"/>
                <a:gd name="connsiteY341" fmla="*/ 603136 h 1059043"/>
                <a:gd name="connsiteX342" fmla="*/ 2460404 w 3024845"/>
                <a:gd name="connsiteY342" fmla="*/ 603136 h 1059043"/>
                <a:gd name="connsiteX343" fmla="*/ 2460404 w 3024845"/>
                <a:gd name="connsiteY343" fmla="*/ 536121 h 1059043"/>
                <a:gd name="connsiteX344" fmla="*/ 2486751 w 3024845"/>
                <a:gd name="connsiteY344" fmla="*/ 536121 h 1059043"/>
                <a:gd name="connsiteX345" fmla="*/ 2490804 w 3024845"/>
                <a:gd name="connsiteY345" fmla="*/ 531797 h 1059043"/>
                <a:gd name="connsiteX346" fmla="*/ 2498911 w 3024845"/>
                <a:gd name="connsiteY346" fmla="*/ 531797 h 1059043"/>
                <a:gd name="connsiteX347" fmla="*/ 2502964 w 3024845"/>
                <a:gd name="connsiteY347" fmla="*/ 536121 h 1059043"/>
                <a:gd name="connsiteX348" fmla="*/ 2525258 w 3024845"/>
                <a:gd name="connsiteY348" fmla="*/ 536121 h 1059043"/>
                <a:gd name="connsiteX349" fmla="*/ 2525258 w 3024845"/>
                <a:gd name="connsiteY349" fmla="*/ 419385 h 1059043"/>
                <a:gd name="connsiteX350" fmla="*/ 2582005 w 3024845"/>
                <a:gd name="connsiteY350" fmla="*/ 408576 h 1059043"/>
                <a:gd name="connsiteX351" fmla="*/ 2582005 w 3024845"/>
                <a:gd name="connsiteY351" fmla="*/ 409657 h 1059043"/>
                <a:gd name="connsiteX352" fmla="*/ 2582005 w 3024845"/>
                <a:gd name="connsiteY352" fmla="*/ 417223 h 1059043"/>
                <a:gd name="connsiteX353" fmla="*/ 2608352 w 3024845"/>
                <a:gd name="connsiteY353" fmla="*/ 417223 h 1059043"/>
                <a:gd name="connsiteX354" fmla="*/ 2608352 w 3024845"/>
                <a:gd name="connsiteY354" fmla="*/ 672313 h 1059043"/>
                <a:gd name="connsiteX355" fmla="*/ 2630646 w 3024845"/>
                <a:gd name="connsiteY355" fmla="*/ 672313 h 1059043"/>
                <a:gd name="connsiteX356" fmla="*/ 2630646 w 3024845"/>
                <a:gd name="connsiteY356" fmla="*/ 667989 h 1059043"/>
                <a:gd name="connsiteX357" fmla="*/ 2642806 w 3024845"/>
                <a:gd name="connsiteY357" fmla="*/ 667989 h 1059043"/>
                <a:gd name="connsiteX358" fmla="*/ 2642806 w 3024845"/>
                <a:gd name="connsiteY358" fmla="*/ 672313 h 1059043"/>
                <a:gd name="connsiteX359" fmla="*/ 2667126 w 3024845"/>
                <a:gd name="connsiteY359" fmla="*/ 672313 h 1059043"/>
                <a:gd name="connsiteX360" fmla="*/ 2667126 w 3024845"/>
                <a:gd name="connsiteY360" fmla="*/ 659342 h 1059043"/>
                <a:gd name="connsiteX361" fmla="*/ 2695500 w 3024845"/>
                <a:gd name="connsiteY361" fmla="*/ 659342 h 1059043"/>
                <a:gd name="connsiteX362" fmla="*/ 2707660 w 3024845"/>
                <a:gd name="connsiteY362" fmla="*/ 655018 h 1059043"/>
                <a:gd name="connsiteX363" fmla="*/ 2727927 w 3024845"/>
                <a:gd name="connsiteY363" fmla="*/ 659342 h 1059043"/>
                <a:gd name="connsiteX364" fmla="*/ 2727927 w 3024845"/>
                <a:gd name="connsiteY364" fmla="*/ 642048 h 1059043"/>
                <a:gd name="connsiteX365" fmla="*/ 2736034 w 3024845"/>
                <a:gd name="connsiteY365" fmla="*/ 642048 h 1059043"/>
                <a:gd name="connsiteX366" fmla="*/ 2736034 w 3024845"/>
                <a:gd name="connsiteY366" fmla="*/ 629077 h 1059043"/>
                <a:gd name="connsiteX367" fmla="*/ 2792781 w 3024845"/>
                <a:gd name="connsiteY367" fmla="*/ 629077 h 1059043"/>
                <a:gd name="connsiteX368" fmla="*/ 2792781 w 3024845"/>
                <a:gd name="connsiteY368" fmla="*/ 598812 h 1059043"/>
                <a:gd name="connsiteX369" fmla="*/ 2811021 w 3024845"/>
                <a:gd name="connsiteY369" fmla="*/ 598812 h 1059043"/>
                <a:gd name="connsiteX370" fmla="*/ 2811021 w 3024845"/>
                <a:gd name="connsiteY370" fmla="*/ 592327 h 1059043"/>
                <a:gd name="connsiteX371" fmla="*/ 2823181 w 3024845"/>
                <a:gd name="connsiteY371" fmla="*/ 592327 h 1059043"/>
                <a:gd name="connsiteX372" fmla="*/ 2823181 w 3024845"/>
                <a:gd name="connsiteY372" fmla="*/ 598812 h 1059043"/>
                <a:gd name="connsiteX373" fmla="*/ 2839395 w 3024845"/>
                <a:gd name="connsiteY373" fmla="*/ 598812 h 1059043"/>
                <a:gd name="connsiteX374" fmla="*/ 2839395 w 3024845"/>
                <a:gd name="connsiteY374" fmla="*/ 648533 h 1059043"/>
                <a:gd name="connsiteX375" fmla="*/ 2871822 w 3024845"/>
                <a:gd name="connsiteY375" fmla="*/ 648533 h 1059043"/>
                <a:gd name="connsiteX376" fmla="*/ 2871822 w 3024845"/>
                <a:gd name="connsiteY376" fmla="*/ 622592 h 1059043"/>
                <a:gd name="connsiteX377" fmla="*/ 2910329 w 3024845"/>
                <a:gd name="connsiteY377" fmla="*/ 622592 h 1059043"/>
                <a:gd name="connsiteX378" fmla="*/ 2910329 w 3024845"/>
                <a:gd name="connsiteY378" fmla="*/ 592327 h 1059043"/>
                <a:gd name="connsiteX379" fmla="*/ 2958970 w 3024845"/>
                <a:gd name="connsiteY379" fmla="*/ 592327 h 1059043"/>
                <a:gd name="connsiteX380" fmla="*/ 2958970 w 3024845"/>
                <a:gd name="connsiteY380" fmla="*/ 703483 h 1059043"/>
                <a:gd name="connsiteX381" fmla="*/ 2958970 w 3024845"/>
                <a:gd name="connsiteY381" fmla="*/ 717262 h 1059043"/>
                <a:gd name="connsiteX382" fmla="*/ 3024845 w 3024845"/>
                <a:gd name="connsiteY382" fmla="*/ 717262 h 1059043"/>
                <a:gd name="connsiteX383" fmla="*/ 3024845 w 3024845"/>
                <a:gd name="connsiteY383" fmla="*/ 1059043 h 1059043"/>
                <a:gd name="connsiteX384" fmla="*/ 2054 w 3024845"/>
                <a:gd name="connsiteY384" fmla="*/ 1056710 h 1059043"/>
                <a:gd name="connsiteX385" fmla="*/ 0 w 3024845"/>
                <a:gd name="connsiteY385" fmla="*/ 622592 h 1059043"/>
                <a:gd name="connsiteX386" fmla="*/ 20267 w 3024845"/>
                <a:gd name="connsiteY386" fmla="*/ 622592 h 1059043"/>
                <a:gd name="connsiteX387" fmla="*/ 20774 w 3024845"/>
                <a:gd name="connsiteY387" fmla="*/ 621511 h 1059043"/>
                <a:gd name="connsiteX388" fmla="*/ 24320 w 3024845"/>
                <a:gd name="connsiteY388" fmla="*/ 613945 h 1059043"/>
                <a:gd name="connsiteX389" fmla="*/ 26094 w 3024845"/>
                <a:gd name="connsiteY389" fmla="*/ 614215 h 1059043"/>
                <a:gd name="connsiteX390" fmla="*/ 38507 w 3024845"/>
                <a:gd name="connsiteY390" fmla="*/ 616106 h 1059043"/>
                <a:gd name="connsiteX391" fmla="*/ 39014 w 3024845"/>
                <a:gd name="connsiteY391" fmla="*/ 617458 h 1059043"/>
                <a:gd name="connsiteX392" fmla="*/ 42560 w 3024845"/>
                <a:gd name="connsiteY392" fmla="*/ 626915 h 1059043"/>
                <a:gd name="connsiteX393" fmla="*/ 68907 w 3024845"/>
                <a:gd name="connsiteY393" fmla="*/ 629077 h 1059043"/>
                <a:gd name="connsiteX394" fmla="*/ 68907 w 3024845"/>
                <a:gd name="connsiteY394" fmla="*/ 505856 h 1059043"/>
                <a:gd name="connsiteX395" fmla="*/ 70934 w 3024845"/>
                <a:gd name="connsiteY395" fmla="*/ 505856 h 1059043"/>
                <a:gd name="connsiteX396" fmla="*/ 85121 w 3024845"/>
                <a:gd name="connsiteY396" fmla="*/ 505856 h 1059043"/>
                <a:gd name="connsiteX397" fmla="*/ 85121 w 3024845"/>
                <a:gd name="connsiteY397" fmla="*/ 369664 h 1059043"/>
                <a:gd name="connsiteX398" fmla="*/ 86894 w 3024845"/>
                <a:gd name="connsiteY398" fmla="*/ 369664 h 1059043"/>
                <a:gd name="connsiteX399" fmla="*/ 99308 w 3024845"/>
                <a:gd name="connsiteY399" fmla="*/ 369664 h 1059043"/>
                <a:gd name="connsiteX400" fmla="*/ 99308 w 3024845"/>
                <a:gd name="connsiteY400" fmla="*/ 255090 h 1059043"/>
                <a:gd name="connsiteX401" fmla="*/ 103361 w 3024845"/>
                <a:gd name="connsiteY401" fmla="*/ 226986 h 1059043"/>
                <a:gd name="connsiteX402" fmla="*/ 105388 w 3024845"/>
                <a:gd name="connsiteY402" fmla="*/ 226986 h 1059043"/>
                <a:gd name="connsiteX403" fmla="*/ 119575 w 3024845"/>
                <a:gd name="connsiteY403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2480 w 3024845"/>
                <a:gd name="connsiteY316" fmla="*/ 118897 h 1059043"/>
                <a:gd name="connsiteX317" fmla="*/ 2168560 w 3024845"/>
                <a:gd name="connsiteY317" fmla="*/ 125383 h 1059043"/>
                <a:gd name="connsiteX318" fmla="*/ 2166533 w 3024845"/>
                <a:gd name="connsiteY318" fmla="*/ 131868 h 1059043"/>
                <a:gd name="connsiteX319" fmla="*/ 2180720 w 3024845"/>
                <a:gd name="connsiteY319" fmla="*/ 555577 h 1059043"/>
                <a:gd name="connsiteX320" fmla="*/ 2245574 w 3024845"/>
                <a:gd name="connsiteY320" fmla="*/ 555577 h 1059043"/>
                <a:gd name="connsiteX321" fmla="*/ 2245574 w 3024845"/>
                <a:gd name="connsiteY321" fmla="*/ 631239 h 1059043"/>
                <a:gd name="connsiteX322" fmla="*/ 2253681 w 3024845"/>
                <a:gd name="connsiteY322" fmla="*/ 631239 h 1059043"/>
                <a:gd name="connsiteX323" fmla="*/ 2255708 w 3024845"/>
                <a:gd name="connsiteY323" fmla="*/ 624754 h 1059043"/>
                <a:gd name="connsiteX324" fmla="*/ 2261788 w 3024845"/>
                <a:gd name="connsiteY324" fmla="*/ 624754 h 1059043"/>
                <a:gd name="connsiteX325" fmla="*/ 2263815 w 3024845"/>
                <a:gd name="connsiteY325" fmla="*/ 633401 h 1059043"/>
                <a:gd name="connsiteX326" fmla="*/ 2275975 w 3024845"/>
                <a:gd name="connsiteY326" fmla="*/ 633401 h 1059043"/>
                <a:gd name="connsiteX327" fmla="*/ 2275975 w 3024845"/>
                <a:gd name="connsiteY327" fmla="*/ 626915 h 1059043"/>
                <a:gd name="connsiteX328" fmla="*/ 2298268 w 3024845"/>
                <a:gd name="connsiteY328" fmla="*/ 626915 h 1059043"/>
                <a:gd name="connsiteX329" fmla="*/ 2298268 w 3024845"/>
                <a:gd name="connsiteY329" fmla="*/ 633401 h 1059043"/>
                <a:gd name="connsiteX330" fmla="*/ 2318535 w 3024845"/>
                <a:gd name="connsiteY330" fmla="*/ 633401 h 1059043"/>
                <a:gd name="connsiteX331" fmla="*/ 2318535 w 3024845"/>
                <a:gd name="connsiteY331" fmla="*/ 678798 h 1059043"/>
                <a:gd name="connsiteX332" fmla="*/ 2332722 w 3024845"/>
                <a:gd name="connsiteY332" fmla="*/ 678798 h 1059043"/>
                <a:gd name="connsiteX333" fmla="*/ 2332722 w 3024845"/>
                <a:gd name="connsiteY333" fmla="*/ 665827 h 1059043"/>
                <a:gd name="connsiteX334" fmla="*/ 2348936 w 3024845"/>
                <a:gd name="connsiteY334" fmla="*/ 665827 h 1059043"/>
                <a:gd name="connsiteX335" fmla="*/ 2348936 w 3024845"/>
                <a:gd name="connsiteY335" fmla="*/ 486400 h 1059043"/>
                <a:gd name="connsiteX336" fmla="*/ 2355016 w 3024845"/>
                <a:gd name="connsiteY336" fmla="*/ 479914 h 1059043"/>
                <a:gd name="connsiteX337" fmla="*/ 2427977 w 3024845"/>
                <a:gd name="connsiteY337" fmla="*/ 479914 h 1059043"/>
                <a:gd name="connsiteX338" fmla="*/ 2427977 w 3024845"/>
                <a:gd name="connsiteY338" fmla="*/ 488562 h 1059043"/>
                <a:gd name="connsiteX339" fmla="*/ 2438110 w 3024845"/>
                <a:gd name="connsiteY339" fmla="*/ 488562 h 1059043"/>
                <a:gd name="connsiteX340" fmla="*/ 2438110 w 3024845"/>
                <a:gd name="connsiteY340" fmla="*/ 603136 h 1059043"/>
                <a:gd name="connsiteX341" fmla="*/ 2460404 w 3024845"/>
                <a:gd name="connsiteY341" fmla="*/ 603136 h 1059043"/>
                <a:gd name="connsiteX342" fmla="*/ 2460404 w 3024845"/>
                <a:gd name="connsiteY342" fmla="*/ 536121 h 1059043"/>
                <a:gd name="connsiteX343" fmla="*/ 2486751 w 3024845"/>
                <a:gd name="connsiteY343" fmla="*/ 536121 h 1059043"/>
                <a:gd name="connsiteX344" fmla="*/ 2490804 w 3024845"/>
                <a:gd name="connsiteY344" fmla="*/ 531797 h 1059043"/>
                <a:gd name="connsiteX345" fmla="*/ 2498911 w 3024845"/>
                <a:gd name="connsiteY345" fmla="*/ 531797 h 1059043"/>
                <a:gd name="connsiteX346" fmla="*/ 2502964 w 3024845"/>
                <a:gd name="connsiteY346" fmla="*/ 536121 h 1059043"/>
                <a:gd name="connsiteX347" fmla="*/ 2525258 w 3024845"/>
                <a:gd name="connsiteY347" fmla="*/ 536121 h 1059043"/>
                <a:gd name="connsiteX348" fmla="*/ 2525258 w 3024845"/>
                <a:gd name="connsiteY348" fmla="*/ 419385 h 1059043"/>
                <a:gd name="connsiteX349" fmla="*/ 2582005 w 3024845"/>
                <a:gd name="connsiteY349" fmla="*/ 408576 h 1059043"/>
                <a:gd name="connsiteX350" fmla="*/ 2582005 w 3024845"/>
                <a:gd name="connsiteY350" fmla="*/ 409657 h 1059043"/>
                <a:gd name="connsiteX351" fmla="*/ 2582005 w 3024845"/>
                <a:gd name="connsiteY351" fmla="*/ 417223 h 1059043"/>
                <a:gd name="connsiteX352" fmla="*/ 2608352 w 3024845"/>
                <a:gd name="connsiteY352" fmla="*/ 417223 h 1059043"/>
                <a:gd name="connsiteX353" fmla="*/ 2608352 w 3024845"/>
                <a:gd name="connsiteY353" fmla="*/ 672313 h 1059043"/>
                <a:gd name="connsiteX354" fmla="*/ 2630646 w 3024845"/>
                <a:gd name="connsiteY354" fmla="*/ 672313 h 1059043"/>
                <a:gd name="connsiteX355" fmla="*/ 2630646 w 3024845"/>
                <a:gd name="connsiteY355" fmla="*/ 667989 h 1059043"/>
                <a:gd name="connsiteX356" fmla="*/ 2642806 w 3024845"/>
                <a:gd name="connsiteY356" fmla="*/ 667989 h 1059043"/>
                <a:gd name="connsiteX357" fmla="*/ 2642806 w 3024845"/>
                <a:gd name="connsiteY357" fmla="*/ 672313 h 1059043"/>
                <a:gd name="connsiteX358" fmla="*/ 2667126 w 3024845"/>
                <a:gd name="connsiteY358" fmla="*/ 672313 h 1059043"/>
                <a:gd name="connsiteX359" fmla="*/ 2667126 w 3024845"/>
                <a:gd name="connsiteY359" fmla="*/ 659342 h 1059043"/>
                <a:gd name="connsiteX360" fmla="*/ 2695500 w 3024845"/>
                <a:gd name="connsiteY360" fmla="*/ 659342 h 1059043"/>
                <a:gd name="connsiteX361" fmla="*/ 2707660 w 3024845"/>
                <a:gd name="connsiteY361" fmla="*/ 655018 h 1059043"/>
                <a:gd name="connsiteX362" fmla="*/ 2727927 w 3024845"/>
                <a:gd name="connsiteY362" fmla="*/ 659342 h 1059043"/>
                <a:gd name="connsiteX363" fmla="*/ 2727927 w 3024845"/>
                <a:gd name="connsiteY363" fmla="*/ 642048 h 1059043"/>
                <a:gd name="connsiteX364" fmla="*/ 2736034 w 3024845"/>
                <a:gd name="connsiteY364" fmla="*/ 642048 h 1059043"/>
                <a:gd name="connsiteX365" fmla="*/ 2736034 w 3024845"/>
                <a:gd name="connsiteY365" fmla="*/ 629077 h 1059043"/>
                <a:gd name="connsiteX366" fmla="*/ 2792781 w 3024845"/>
                <a:gd name="connsiteY366" fmla="*/ 629077 h 1059043"/>
                <a:gd name="connsiteX367" fmla="*/ 2792781 w 3024845"/>
                <a:gd name="connsiteY367" fmla="*/ 598812 h 1059043"/>
                <a:gd name="connsiteX368" fmla="*/ 2811021 w 3024845"/>
                <a:gd name="connsiteY368" fmla="*/ 598812 h 1059043"/>
                <a:gd name="connsiteX369" fmla="*/ 2811021 w 3024845"/>
                <a:gd name="connsiteY369" fmla="*/ 592327 h 1059043"/>
                <a:gd name="connsiteX370" fmla="*/ 2823181 w 3024845"/>
                <a:gd name="connsiteY370" fmla="*/ 592327 h 1059043"/>
                <a:gd name="connsiteX371" fmla="*/ 2823181 w 3024845"/>
                <a:gd name="connsiteY371" fmla="*/ 598812 h 1059043"/>
                <a:gd name="connsiteX372" fmla="*/ 2839395 w 3024845"/>
                <a:gd name="connsiteY372" fmla="*/ 598812 h 1059043"/>
                <a:gd name="connsiteX373" fmla="*/ 2839395 w 3024845"/>
                <a:gd name="connsiteY373" fmla="*/ 648533 h 1059043"/>
                <a:gd name="connsiteX374" fmla="*/ 2871822 w 3024845"/>
                <a:gd name="connsiteY374" fmla="*/ 648533 h 1059043"/>
                <a:gd name="connsiteX375" fmla="*/ 2871822 w 3024845"/>
                <a:gd name="connsiteY375" fmla="*/ 622592 h 1059043"/>
                <a:gd name="connsiteX376" fmla="*/ 2910329 w 3024845"/>
                <a:gd name="connsiteY376" fmla="*/ 622592 h 1059043"/>
                <a:gd name="connsiteX377" fmla="*/ 2910329 w 3024845"/>
                <a:gd name="connsiteY377" fmla="*/ 592327 h 1059043"/>
                <a:gd name="connsiteX378" fmla="*/ 2958970 w 3024845"/>
                <a:gd name="connsiteY378" fmla="*/ 592327 h 1059043"/>
                <a:gd name="connsiteX379" fmla="*/ 2958970 w 3024845"/>
                <a:gd name="connsiteY379" fmla="*/ 703483 h 1059043"/>
                <a:gd name="connsiteX380" fmla="*/ 2958970 w 3024845"/>
                <a:gd name="connsiteY380" fmla="*/ 717262 h 1059043"/>
                <a:gd name="connsiteX381" fmla="*/ 3024845 w 3024845"/>
                <a:gd name="connsiteY381" fmla="*/ 717262 h 1059043"/>
                <a:gd name="connsiteX382" fmla="*/ 3024845 w 3024845"/>
                <a:gd name="connsiteY382" fmla="*/ 1059043 h 1059043"/>
                <a:gd name="connsiteX383" fmla="*/ 2054 w 3024845"/>
                <a:gd name="connsiteY383" fmla="*/ 1056710 h 1059043"/>
                <a:gd name="connsiteX384" fmla="*/ 0 w 3024845"/>
                <a:gd name="connsiteY384" fmla="*/ 622592 h 1059043"/>
                <a:gd name="connsiteX385" fmla="*/ 20267 w 3024845"/>
                <a:gd name="connsiteY385" fmla="*/ 622592 h 1059043"/>
                <a:gd name="connsiteX386" fmla="*/ 20774 w 3024845"/>
                <a:gd name="connsiteY386" fmla="*/ 621511 h 1059043"/>
                <a:gd name="connsiteX387" fmla="*/ 24320 w 3024845"/>
                <a:gd name="connsiteY387" fmla="*/ 613945 h 1059043"/>
                <a:gd name="connsiteX388" fmla="*/ 26094 w 3024845"/>
                <a:gd name="connsiteY388" fmla="*/ 614215 h 1059043"/>
                <a:gd name="connsiteX389" fmla="*/ 38507 w 3024845"/>
                <a:gd name="connsiteY389" fmla="*/ 616106 h 1059043"/>
                <a:gd name="connsiteX390" fmla="*/ 39014 w 3024845"/>
                <a:gd name="connsiteY390" fmla="*/ 617458 h 1059043"/>
                <a:gd name="connsiteX391" fmla="*/ 42560 w 3024845"/>
                <a:gd name="connsiteY391" fmla="*/ 626915 h 1059043"/>
                <a:gd name="connsiteX392" fmla="*/ 68907 w 3024845"/>
                <a:gd name="connsiteY392" fmla="*/ 629077 h 1059043"/>
                <a:gd name="connsiteX393" fmla="*/ 68907 w 3024845"/>
                <a:gd name="connsiteY393" fmla="*/ 505856 h 1059043"/>
                <a:gd name="connsiteX394" fmla="*/ 70934 w 3024845"/>
                <a:gd name="connsiteY394" fmla="*/ 505856 h 1059043"/>
                <a:gd name="connsiteX395" fmla="*/ 85121 w 3024845"/>
                <a:gd name="connsiteY395" fmla="*/ 505856 h 1059043"/>
                <a:gd name="connsiteX396" fmla="*/ 85121 w 3024845"/>
                <a:gd name="connsiteY396" fmla="*/ 369664 h 1059043"/>
                <a:gd name="connsiteX397" fmla="*/ 86894 w 3024845"/>
                <a:gd name="connsiteY397" fmla="*/ 369664 h 1059043"/>
                <a:gd name="connsiteX398" fmla="*/ 99308 w 3024845"/>
                <a:gd name="connsiteY398" fmla="*/ 369664 h 1059043"/>
                <a:gd name="connsiteX399" fmla="*/ 99308 w 3024845"/>
                <a:gd name="connsiteY399" fmla="*/ 255090 h 1059043"/>
                <a:gd name="connsiteX400" fmla="*/ 103361 w 3024845"/>
                <a:gd name="connsiteY400" fmla="*/ 226986 h 1059043"/>
                <a:gd name="connsiteX401" fmla="*/ 105388 w 3024845"/>
                <a:gd name="connsiteY401" fmla="*/ 226986 h 1059043"/>
                <a:gd name="connsiteX402" fmla="*/ 119575 w 3024845"/>
                <a:gd name="connsiteY402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2480 w 3024845"/>
                <a:gd name="connsiteY316" fmla="*/ 118897 h 1059043"/>
                <a:gd name="connsiteX317" fmla="*/ 2168560 w 3024845"/>
                <a:gd name="connsiteY317" fmla="*/ 125383 h 1059043"/>
                <a:gd name="connsiteX318" fmla="*/ 2180720 w 3024845"/>
                <a:gd name="connsiteY318" fmla="*/ 555577 h 1059043"/>
                <a:gd name="connsiteX319" fmla="*/ 2245574 w 3024845"/>
                <a:gd name="connsiteY319" fmla="*/ 555577 h 1059043"/>
                <a:gd name="connsiteX320" fmla="*/ 2245574 w 3024845"/>
                <a:gd name="connsiteY320" fmla="*/ 631239 h 1059043"/>
                <a:gd name="connsiteX321" fmla="*/ 2253681 w 3024845"/>
                <a:gd name="connsiteY321" fmla="*/ 631239 h 1059043"/>
                <a:gd name="connsiteX322" fmla="*/ 2255708 w 3024845"/>
                <a:gd name="connsiteY322" fmla="*/ 624754 h 1059043"/>
                <a:gd name="connsiteX323" fmla="*/ 2261788 w 3024845"/>
                <a:gd name="connsiteY323" fmla="*/ 624754 h 1059043"/>
                <a:gd name="connsiteX324" fmla="*/ 2263815 w 3024845"/>
                <a:gd name="connsiteY324" fmla="*/ 633401 h 1059043"/>
                <a:gd name="connsiteX325" fmla="*/ 2275975 w 3024845"/>
                <a:gd name="connsiteY325" fmla="*/ 633401 h 1059043"/>
                <a:gd name="connsiteX326" fmla="*/ 2275975 w 3024845"/>
                <a:gd name="connsiteY326" fmla="*/ 626915 h 1059043"/>
                <a:gd name="connsiteX327" fmla="*/ 2298268 w 3024845"/>
                <a:gd name="connsiteY327" fmla="*/ 626915 h 1059043"/>
                <a:gd name="connsiteX328" fmla="*/ 2298268 w 3024845"/>
                <a:gd name="connsiteY328" fmla="*/ 633401 h 1059043"/>
                <a:gd name="connsiteX329" fmla="*/ 2318535 w 3024845"/>
                <a:gd name="connsiteY329" fmla="*/ 633401 h 1059043"/>
                <a:gd name="connsiteX330" fmla="*/ 2318535 w 3024845"/>
                <a:gd name="connsiteY330" fmla="*/ 678798 h 1059043"/>
                <a:gd name="connsiteX331" fmla="*/ 2332722 w 3024845"/>
                <a:gd name="connsiteY331" fmla="*/ 678798 h 1059043"/>
                <a:gd name="connsiteX332" fmla="*/ 2332722 w 3024845"/>
                <a:gd name="connsiteY332" fmla="*/ 665827 h 1059043"/>
                <a:gd name="connsiteX333" fmla="*/ 2348936 w 3024845"/>
                <a:gd name="connsiteY333" fmla="*/ 665827 h 1059043"/>
                <a:gd name="connsiteX334" fmla="*/ 2348936 w 3024845"/>
                <a:gd name="connsiteY334" fmla="*/ 486400 h 1059043"/>
                <a:gd name="connsiteX335" fmla="*/ 2355016 w 3024845"/>
                <a:gd name="connsiteY335" fmla="*/ 479914 h 1059043"/>
                <a:gd name="connsiteX336" fmla="*/ 2427977 w 3024845"/>
                <a:gd name="connsiteY336" fmla="*/ 479914 h 1059043"/>
                <a:gd name="connsiteX337" fmla="*/ 2427977 w 3024845"/>
                <a:gd name="connsiteY337" fmla="*/ 488562 h 1059043"/>
                <a:gd name="connsiteX338" fmla="*/ 2438110 w 3024845"/>
                <a:gd name="connsiteY338" fmla="*/ 488562 h 1059043"/>
                <a:gd name="connsiteX339" fmla="*/ 2438110 w 3024845"/>
                <a:gd name="connsiteY339" fmla="*/ 603136 h 1059043"/>
                <a:gd name="connsiteX340" fmla="*/ 2460404 w 3024845"/>
                <a:gd name="connsiteY340" fmla="*/ 603136 h 1059043"/>
                <a:gd name="connsiteX341" fmla="*/ 2460404 w 3024845"/>
                <a:gd name="connsiteY341" fmla="*/ 536121 h 1059043"/>
                <a:gd name="connsiteX342" fmla="*/ 2486751 w 3024845"/>
                <a:gd name="connsiteY342" fmla="*/ 536121 h 1059043"/>
                <a:gd name="connsiteX343" fmla="*/ 2490804 w 3024845"/>
                <a:gd name="connsiteY343" fmla="*/ 531797 h 1059043"/>
                <a:gd name="connsiteX344" fmla="*/ 2498911 w 3024845"/>
                <a:gd name="connsiteY344" fmla="*/ 531797 h 1059043"/>
                <a:gd name="connsiteX345" fmla="*/ 2502964 w 3024845"/>
                <a:gd name="connsiteY345" fmla="*/ 536121 h 1059043"/>
                <a:gd name="connsiteX346" fmla="*/ 2525258 w 3024845"/>
                <a:gd name="connsiteY346" fmla="*/ 536121 h 1059043"/>
                <a:gd name="connsiteX347" fmla="*/ 2525258 w 3024845"/>
                <a:gd name="connsiteY347" fmla="*/ 419385 h 1059043"/>
                <a:gd name="connsiteX348" fmla="*/ 2582005 w 3024845"/>
                <a:gd name="connsiteY348" fmla="*/ 408576 h 1059043"/>
                <a:gd name="connsiteX349" fmla="*/ 2582005 w 3024845"/>
                <a:gd name="connsiteY349" fmla="*/ 409657 h 1059043"/>
                <a:gd name="connsiteX350" fmla="*/ 2582005 w 3024845"/>
                <a:gd name="connsiteY350" fmla="*/ 417223 h 1059043"/>
                <a:gd name="connsiteX351" fmla="*/ 2608352 w 3024845"/>
                <a:gd name="connsiteY351" fmla="*/ 417223 h 1059043"/>
                <a:gd name="connsiteX352" fmla="*/ 2608352 w 3024845"/>
                <a:gd name="connsiteY352" fmla="*/ 672313 h 1059043"/>
                <a:gd name="connsiteX353" fmla="*/ 2630646 w 3024845"/>
                <a:gd name="connsiteY353" fmla="*/ 672313 h 1059043"/>
                <a:gd name="connsiteX354" fmla="*/ 2630646 w 3024845"/>
                <a:gd name="connsiteY354" fmla="*/ 667989 h 1059043"/>
                <a:gd name="connsiteX355" fmla="*/ 2642806 w 3024845"/>
                <a:gd name="connsiteY355" fmla="*/ 667989 h 1059043"/>
                <a:gd name="connsiteX356" fmla="*/ 2642806 w 3024845"/>
                <a:gd name="connsiteY356" fmla="*/ 672313 h 1059043"/>
                <a:gd name="connsiteX357" fmla="*/ 2667126 w 3024845"/>
                <a:gd name="connsiteY357" fmla="*/ 672313 h 1059043"/>
                <a:gd name="connsiteX358" fmla="*/ 2667126 w 3024845"/>
                <a:gd name="connsiteY358" fmla="*/ 659342 h 1059043"/>
                <a:gd name="connsiteX359" fmla="*/ 2695500 w 3024845"/>
                <a:gd name="connsiteY359" fmla="*/ 659342 h 1059043"/>
                <a:gd name="connsiteX360" fmla="*/ 2707660 w 3024845"/>
                <a:gd name="connsiteY360" fmla="*/ 655018 h 1059043"/>
                <a:gd name="connsiteX361" fmla="*/ 2727927 w 3024845"/>
                <a:gd name="connsiteY361" fmla="*/ 659342 h 1059043"/>
                <a:gd name="connsiteX362" fmla="*/ 2727927 w 3024845"/>
                <a:gd name="connsiteY362" fmla="*/ 642048 h 1059043"/>
                <a:gd name="connsiteX363" fmla="*/ 2736034 w 3024845"/>
                <a:gd name="connsiteY363" fmla="*/ 642048 h 1059043"/>
                <a:gd name="connsiteX364" fmla="*/ 2736034 w 3024845"/>
                <a:gd name="connsiteY364" fmla="*/ 629077 h 1059043"/>
                <a:gd name="connsiteX365" fmla="*/ 2792781 w 3024845"/>
                <a:gd name="connsiteY365" fmla="*/ 629077 h 1059043"/>
                <a:gd name="connsiteX366" fmla="*/ 2792781 w 3024845"/>
                <a:gd name="connsiteY366" fmla="*/ 598812 h 1059043"/>
                <a:gd name="connsiteX367" fmla="*/ 2811021 w 3024845"/>
                <a:gd name="connsiteY367" fmla="*/ 598812 h 1059043"/>
                <a:gd name="connsiteX368" fmla="*/ 2811021 w 3024845"/>
                <a:gd name="connsiteY368" fmla="*/ 592327 h 1059043"/>
                <a:gd name="connsiteX369" fmla="*/ 2823181 w 3024845"/>
                <a:gd name="connsiteY369" fmla="*/ 592327 h 1059043"/>
                <a:gd name="connsiteX370" fmla="*/ 2823181 w 3024845"/>
                <a:gd name="connsiteY370" fmla="*/ 598812 h 1059043"/>
                <a:gd name="connsiteX371" fmla="*/ 2839395 w 3024845"/>
                <a:gd name="connsiteY371" fmla="*/ 598812 h 1059043"/>
                <a:gd name="connsiteX372" fmla="*/ 2839395 w 3024845"/>
                <a:gd name="connsiteY372" fmla="*/ 648533 h 1059043"/>
                <a:gd name="connsiteX373" fmla="*/ 2871822 w 3024845"/>
                <a:gd name="connsiteY373" fmla="*/ 648533 h 1059043"/>
                <a:gd name="connsiteX374" fmla="*/ 2871822 w 3024845"/>
                <a:gd name="connsiteY374" fmla="*/ 622592 h 1059043"/>
                <a:gd name="connsiteX375" fmla="*/ 2910329 w 3024845"/>
                <a:gd name="connsiteY375" fmla="*/ 622592 h 1059043"/>
                <a:gd name="connsiteX376" fmla="*/ 2910329 w 3024845"/>
                <a:gd name="connsiteY376" fmla="*/ 592327 h 1059043"/>
                <a:gd name="connsiteX377" fmla="*/ 2958970 w 3024845"/>
                <a:gd name="connsiteY377" fmla="*/ 592327 h 1059043"/>
                <a:gd name="connsiteX378" fmla="*/ 2958970 w 3024845"/>
                <a:gd name="connsiteY378" fmla="*/ 703483 h 1059043"/>
                <a:gd name="connsiteX379" fmla="*/ 2958970 w 3024845"/>
                <a:gd name="connsiteY379" fmla="*/ 717262 h 1059043"/>
                <a:gd name="connsiteX380" fmla="*/ 3024845 w 3024845"/>
                <a:gd name="connsiteY380" fmla="*/ 717262 h 1059043"/>
                <a:gd name="connsiteX381" fmla="*/ 3024845 w 3024845"/>
                <a:gd name="connsiteY381" fmla="*/ 1059043 h 1059043"/>
                <a:gd name="connsiteX382" fmla="*/ 2054 w 3024845"/>
                <a:gd name="connsiteY382" fmla="*/ 1056710 h 1059043"/>
                <a:gd name="connsiteX383" fmla="*/ 0 w 3024845"/>
                <a:gd name="connsiteY383" fmla="*/ 622592 h 1059043"/>
                <a:gd name="connsiteX384" fmla="*/ 20267 w 3024845"/>
                <a:gd name="connsiteY384" fmla="*/ 622592 h 1059043"/>
                <a:gd name="connsiteX385" fmla="*/ 20774 w 3024845"/>
                <a:gd name="connsiteY385" fmla="*/ 621511 h 1059043"/>
                <a:gd name="connsiteX386" fmla="*/ 24320 w 3024845"/>
                <a:gd name="connsiteY386" fmla="*/ 613945 h 1059043"/>
                <a:gd name="connsiteX387" fmla="*/ 26094 w 3024845"/>
                <a:gd name="connsiteY387" fmla="*/ 614215 h 1059043"/>
                <a:gd name="connsiteX388" fmla="*/ 38507 w 3024845"/>
                <a:gd name="connsiteY388" fmla="*/ 616106 h 1059043"/>
                <a:gd name="connsiteX389" fmla="*/ 39014 w 3024845"/>
                <a:gd name="connsiteY389" fmla="*/ 617458 h 1059043"/>
                <a:gd name="connsiteX390" fmla="*/ 42560 w 3024845"/>
                <a:gd name="connsiteY390" fmla="*/ 626915 h 1059043"/>
                <a:gd name="connsiteX391" fmla="*/ 68907 w 3024845"/>
                <a:gd name="connsiteY391" fmla="*/ 629077 h 1059043"/>
                <a:gd name="connsiteX392" fmla="*/ 68907 w 3024845"/>
                <a:gd name="connsiteY392" fmla="*/ 505856 h 1059043"/>
                <a:gd name="connsiteX393" fmla="*/ 70934 w 3024845"/>
                <a:gd name="connsiteY393" fmla="*/ 505856 h 1059043"/>
                <a:gd name="connsiteX394" fmla="*/ 85121 w 3024845"/>
                <a:gd name="connsiteY394" fmla="*/ 505856 h 1059043"/>
                <a:gd name="connsiteX395" fmla="*/ 85121 w 3024845"/>
                <a:gd name="connsiteY395" fmla="*/ 369664 h 1059043"/>
                <a:gd name="connsiteX396" fmla="*/ 86894 w 3024845"/>
                <a:gd name="connsiteY396" fmla="*/ 369664 h 1059043"/>
                <a:gd name="connsiteX397" fmla="*/ 99308 w 3024845"/>
                <a:gd name="connsiteY397" fmla="*/ 369664 h 1059043"/>
                <a:gd name="connsiteX398" fmla="*/ 99308 w 3024845"/>
                <a:gd name="connsiteY398" fmla="*/ 255090 h 1059043"/>
                <a:gd name="connsiteX399" fmla="*/ 103361 w 3024845"/>
                <a:gd name="connsiteY399" fmla="*/ 226986 h 1059043"/>
                <a:gd name="connsiteX400" fmla="*/ 105388 w 3024845"/>
                <a:gd name="connsiteY400" fmla="*/ 226986 h 1059043"/>
                <a:gd name="connsiteX401" fmla="*/ 119575 w 3024845"/>
                <a:gd name="connsiteY401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8560 w 3024845"/>
                <a:gd name="connsiteY316" fmla="*/ 125383 h 1059043"/>
                <a:gd name="connsiteX317" fmla="*/ 2180720 w 3024845"/>
                <a:gd name="connsiteY317" fmla="*/ 555577 h 1059043"/>
                <a:gd name="connsiteX318" fmla="*/ 2245574 w 3024845"/>
                <a:gd name="connsiteY318" fmla="*/ 555577 h 1059043"/>
                <a:gd name="connsiteX319" fmla="*/ 2245574 w 3024845"/>
                <a:gd name="connsiteY319" fmla="*/ 631239 h 1059043"/>
                <a:gd name="connsiteX320" fmla="*/ 2253681 w 3024845"/>
                <a:gd name="connsiteY320" fmla="*/ 631239 h 1059043"/>
                <a:gd name="connsiteX321" fmla="*/ 2255708 w 3024845"/>
                <a:gd name="connsiteY321" fmla="*/ 624754 h 1059043"/>
                <a:gd name="connsiteX322" fmla="*/ 2261788 w 3024845"/>
                <a:gd name="connsiteY322" fmla="*/ 624754 h 1059043"/>
                <a:gd name="connsiteX323" fmla="*/ 2263815 w 3024845"/>
                <a:gd name="connsiteY323" fmla="*/ 633401 h 1059043"/>
                <a:gd name="connsiteX324" fmla="*/ 2275975 w 3024845"/>
                <a:gd name="connsiteY324" fmla="*/ 633401 h 1059043"/>
                <a:gd name="connsiteX325" fmla="*/ 2275975 w 3024845"/>
                <a:gd name="connsiteY325" fmla="*/ 626915 h 1059043"/>
                <a:gd name="connsiteX326" fmla="*/ 2298268 w 3024845"/>
                <a:gd name="connsiteY326" fmla="*/ 626915 h 1059043"/>
                <a:gd name="connsiteX327" fmla="*/ 2298268 w 3024845"/>
                <a:gd name="connsiteY327" fmla="*/ 633401 h 1059043"/>
                <a:gd name="connsiteX328" fmla="*/ 2318535 w 3024845"/>
                <a:gd name="connsiteY328" fmla="*/ 633401 h 1059043"/>
                <a:gd name="connsiteX329" fmla="*/ 2318535 w 3024845"/>
                <a:gd name="connsiteY329" fmla="*/ 678798 h 1059043"/>
                <a:gd name="connsiteX330" fmla="*/ 2332722 w 3024845"/>
                <a:gd name="connsiteY330" fmla="*/ 678798 h 1059043"/>
                <a:gd name="connsiteX331" fmla="*/ 2332722 w 3024845"/>
                <a:gd name="connsiteY331" fmla="*/ 665827 h 1059043"/>
                <a:gd name="connsiteX332" fmla="*/ 2348936 w 3024845"/>
                <a:gd name="connsiteY332" fmla="*/ 665827 h 1059043"/>
                <a:gd name="connsiteX333" fmla="*/ 2348936 w 3024845"/>
                <a:gd name="connsiteY333" fmla="*/ 486400 h 1059043"/>
                <a:gd name="connsiteX334" fmla="*/ 2355016 w 3024845"/>
                <a:gd name="connsiteY334" fmla="*/ 479914 h 1059043"/>
                <a:gd name="connsiteX335" fmla="*/ 2427977 w 3024845"/>
                <a:gd name="connsiteY335" fmla="*/ 479914 h 1059043"/>
                <a:gd name="connsiteX336" fmla="*/ 2427977 w 3024845"/>
                <a:gd name="connsiteY336" fmla="*/ 488562 h 1059043"/>
                <a:gd name="connsiteX337" fmla="*/ 2438110 w 3024845"/>
                <a:gd name="connsiteY337" fmla="*/ 488562 h 1059043"/>
                <a:gd name="connsiteX338" fmla="*/ 2438110 w 3024845"/>
                <a:gd name="connsiteY338" fmla="*/ 603136 h 1059043"/>
                <a:gd name="connsiteX339" fmla="*/ 2460404 w 3024845"/>
                <a:gd name="connsiteY339" fmla="*/ 603136 h 1059043"/>
                <a:gd name="connsiteX340" fmla="*/ 2460404 w 3024845"/>
                <a:gd name="connsiteY340" fmla="*/ 536121 h 1059043"/>
                <a:gd name="connsiteX341" fmla="*/ 2486751 w 3024845"/>
                <a:gd name="connsiteY341" fmla="*/ 536121 h 1059043"/>
                <a:gd name="connsiteX342" fmla="*/ 2490804 w 3024845"/>
                <a:gd name="connsiteY342" fmla="*/ 531797 h 1059043"/>
                <a:gd name="connsiteX343" fmla="*/ 2498911 w 3024845"/>
                <a:gd name="connsiteY343" fmla="*/ 531797 h 1059043"/>
                <a:gd name="connsiteX344" fmla="*/ 2502964 w 3024845"/>
                <a:gd name="connsiteY344" fmla="*/ 536121 h 1059043"/>
                <a:gd name="connsiteX345" fmla="*/ 2525258 w 3024845"/>
                <a:gd name="connsiteY345" fmla="*/ 536121 h 1059043"/>
                <a:gd name="connsiteX346" fmla="*/ 2525258 w 3024845"/>
                <a:gd name="connsiteY346" fmla="*/ 419385 h 1059043"/>
                <a:gd name="connsiteX347" fmla="*/ 2582005 w 3024845"/>
                <a:gd name="connsiteY347" fmla="*/ 408576 h 1059043"/>
                <a:gd name="connsiteX348" fmla="*/ 2582005 w 3024845"/>
                <a:gd name="connsiteY348" fmla="*/ 409657 h 1059043"/>
                <a:gd name="connsiteX349" fmla="*/ 2582005 w 3024845"/>
                <a:gd name="connsiteY349" fmla="*/ 417223 h 1059043"/>
                <a:gd name="connsiteX350" fmla="*/ 2608352 w 3024845"/>
                <a:gd name="connsiteY350" fmla="*/ 417223 h 1059043"/>
                <a:gd name="connsiteX351" fmla="*/ 2608352 w 3024845"/>
                <a:gd name="connsiteY351" fmla="*/ 672313 h 1059043"/>
                <a:gd name="connsiteX352" fmla="*/ 2630646 w 3024845"/>
                <a:gd name="connsiteY352" fmla="*/ 672313 h 1059043"/>
                <a:gd name="connsiteX353" fmla="*/ 2630646 w 3024845"/>
                <a:gd name="connsiteY353" fmla="*/ 667989 h 1059043"/>
                <a:gd name="connsiteX354" fmla="*/ 2642806 w 3024845"/>
                <a:gd name="connsiteY354" fmla="*/ 667989 h 1059043"/>
                <a:gd name="connsiteX355" fmla="*/ 2642806 w 3024845"/>
                <a:gd name="connsiteY355" fmla="*/ 672313 h 1059043"/>
                <a:gd name="connsiteX356" fmla="*/ 2667126 w 3024845"/>
                <a:gd name="connsiteY356" fmla="*/ 672313 h 1059043"/>
                <a:gd name="connsiteX357" fmla="*/ 2667126 w 3024845"/>
                <a:gd name="connsiteY357" fmla="*/ 659342 h 1059043"/>
                <a:gd name="connsiteX358" fmla="*/ 2695500 w 3024845"/>
                <a:gd name="connsiteY358" fmla="*/ 659342 h 1059043"/>
                <a:gd name="connsiteX359" fmla="*/ 2707660 w 3024845"/>
                <a:gd name="connsiteY359" fmla="*/ 655018 h 1059043"/>
                <a:gd name="connsiteX360" fmla="*/ 2727927 w 3024845"/>
                <a:gd name="connsiteY360" fmla="*/ 659342 h 1059043"/>
                <a:gd name="connsiteX361" fmla="*/ 2727927 w 3024845"/>
                <a:gd name="connsiteY361" fmla="*/ 642048 h 1059043"/>
                <a:gd name="connsiteX362" fmla="*/ 2736034 w 3024845"/>
                <a:gd name="connsiteY362" fmla="*/ 642048 h 1059043"/>
                <a:gd name="connsiteX363" fmla="*/ 2736034 w 3024845"/>
                <a:gd name="connsiteY363" fmla="*/ 629077 h 1059043"/>
                <a:gd name="connsiteX364" fmla="*/ 2792781 w 3024845"/>
                <a:gd name="connsiteY364" fmla="*/ 629077 h 1059043"/>
                <a:gd name="connsiteX365" fmla="*/ 2792781 w 3024845"/>
                <a:gd name="connsiteY365" fmla="*/ 598812 h 1059043"/>
                <a:gd name="connsiteX366" fmla="*/ 2811021 w 3024845"/>
                <a:gd name="connsiteY366" fmla="*/ 598812 h 1059043"/>
                <a:gd name="connsiteX367" fmla="*/ 2811021 w 3024845"/>
                <a:gd name="connsiteY367" fmla="*/ 592327 h 1059043"/>
                <a:gd name="connsiteX368" fmla="*/ 2823181 w 3024845"/>
                <a:gd name="connsiteY368" fmla="*/ 592327 h 1059043"/>
                <a:gd name="connsiteX369" fmla="*/ 2823181 w 3024845"/>
                <a:gd name="connsiteY369" fmla="*/ 598812 h 1059043"/>
                <a:gd name="connsiteX370" fmla="*/ 2839395 w 3024845"/>
                <a:gd name="connsiteY370" fmla="*/ 598812 h 1059043"/>
                <a:gd name="connsiteX371" fmla="*/ 2839395 w 3024845"/>
                <a:gd name="connsiteY371" fmla="*/ 648533 h 1059043"/>
                <a:gd name="connsiteX372" fmla="*/ 2871822 w 3024845"/>
                <a:gd name="connsiteY372" fmla="*/ 648533 h 1059043"/>
                <a:gd name="connsiteX373" fmla="*/ 2871822 w 3024845"/>
                <a:gd name="connsiteY373" fmla="*/ 622592 h 1059043"/>
                <a:gd name="connsiteX374" fmla="*/ 2910329 w 3024845"/>
                <a:gd name="connsiteY374" fmla="*/ 622592 h 1059043"/>
                <a:gd name="connsiteX375" fmla="*/ 2910329 w 3024845"/>
                <a:gd name="connsiteY375" fmla="*/ 592327 h 1059043"/>
                <a:gd name="connsiteX376" fmla="*/ 2958970 w 3024845"/>
                <a:gd name="connsiteY376" fmla="*/ 592327 h 1059043"/>
                <a:gd name="connsiteX377" fmla="*/ 2958970 w 3024845"/>
                <a:gd name="connsiteY377" fmla="*/ 703483 h 1059043"/>
                <a:gd name="connsiteX378" fmla="*/ 2958970 w 3024845"/>
                <a:gd name="connsiteY378" fmla="*/ 717262 h 1059043"/>
                <a:gd name="connsiteX379" fmla="*/ 3024845 w 3024845"/>
                <a:gd name="connsiteY379" fmla="*/ 717262 h 1059043"/>
                <a:gd name="connsiteX380" fmla="*/ 3024845 w 3024845"/>
                <a:gd name="connsiteY380" fmla="*/ 1059043 h 1059043"/>
                <a:gd name="connsiteX381" fmla="*/ 2054 w 3024845"/>
                <a:gd name="connsiteY381" fmla="*/ 1056710 h 1059043"/>
                <a:gd name="connsiteX382" fmla="*/ 0 w 3024845"/>
                <a:gd name="connsiteY382" fmla="*/ 622592 h 1059043"/>
                <a:gd name="connsiteX383" fmla="*/ 20267 w 3024845"/>
                <a:gd name="connsiteY383" fmla="*/ 622592 h 1059043"/>
                <a:gd name="connsiteX384" fmla="*/ 20774 w 3024845"/>
                <a:gd name="connsiteY384" fmla="*/ 621511 h 1059043"/>
                <a:gd name="connsiteX385" fmla="*/ 24320 w 3024845"/>
                <a:gd name="connsiteY385" fmla="*/ 613945 h 1059043"/>
                <a:gd name="connsiteX386" fmla="*/ 26094 w 3024845"/>
                <a:gd name="connsiteY386" fmla="*/ 614215 h 1059043"/>
                <a:gd name="connsiteX387" fmla="*/ 38507 w 3024845"/>
                <a:gd name="connsiteY387" fmla="*/ 616106 h 1059043"/>
                <a:gd name="connsiteX388" fmla="*/ 39014 w 3024845"/>
                <a:gd name="connsiteY388" fmla="*/ 617458 h 1059043"/>
                <a:gd name="connsiteX389" fmla="*/ 42560 w 3024845"/>
                <a:gd name="connsiteY389" fmla="*/ 626915 h 1059043"/>
                <a:gd name="connsiteX390" fmla="*/ 68907 w 3024845"/>
                <a:gd name="connsiteY390" fmla="*/ 629077 h 1059043"/>
                <a:gd name="connsiteX391" fmla="*/ 68907 w 3024845"/>
                <a:gd name="connsiteY391" fmla="*/ 505856 h 1059043"/>
                <a:gd name="connsiteX392" fmla="*/ 70934 w 3024845"/>
                <a:gd name="connsiteY392" fmla="*/ 505856 h 1059043"/>
                <a:gd name="connsiteX393" fmla="*/ 85121 w 3024845"/>
                <a:gd name="connsiteY393" fmla="*/ 505856 h 1059043"/>
                <a:gd name="connsiteX394" fmla="*/ 85121 w 3024845"/>
                <a:gd name="connsiteY394" fmla="*/ 369664 h 1059043"/>
                <a:gd name="connsiteX395" fmla="*/ 86894 w 3024845"/>
                <a:gd name="connsiteY395" fmla="*/ 369664 h 1059043"/>
                <a:gd name="connsiteX396" fmla="*/ 99308 w 3024845"/>
                <a:gd name="connsiteY396" fmla="*/ 369664 h 1059043"/>
                <a:gd name="connsiteX397" fmla="*/ 99308 w 3024845"/>
                <a:gd name="connsiteY397" fmla="*/ 255090 h 1059043"/>
                <a:gd name="connsiteX398" fmla="*/ 103361 w 3024845"/>
                <a:gd name="connsiteY398" fmla="*/ 226986 h 1059043"/>
                <a:gd name="connsiteX399" fmla="*/ 105388 w 3024845"/>
                <a:gd name="connsiteY399" fmla="*/ 226986 h 1059043"/>
                <a:gd name="connsiteX400" fmla="*/ 119575 w 3024845"/>
                <a:gd name="connsiteY400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80720 w 3024845"/>
                <a:gd name="connsiteY316" fmla="*/ 555577 h 1059043"/>
                <a:gd name="connsiteX317" fmla="*/ 2245574 w 3024845"/>
                <a:gd name="connsiteY317" fmla="*/ 555577 h 1059043"/>
                <a:gd name="connsiteX318" fmla="*/ 2245574 w 3024845"/>
                <a:gd name="connsiteY318" fmla="*/ 631239 h 1059043"/>
                <a:gd name="connsiteX319" fmla="*/ 2253681 w 3024845"/>
                <a:gd name="connsiteY319" fmla="*/ 631239 h 1059043"/>
                <a:gd name="connsiteX320" fmla="*/ 2255708 w 3024845"/>
                <a:gd name="connsiteY320" fmla="*/ 624754 h 1059043"/>
                <a:gd name="connsiteX321" fmla="*/ 2261788 w 3024845"/>
                <a:gd name="connsiteY321" fmla="*/ 624754 h 1059043"/>
                <a:gd name="connsiteX322" fmla="*/ 2263815 w 3024845"/>
                <a:gd name="connsiteY322" fmla="*/ 633401 h 1059043"/>
                <a:gd name="connsiteX323" fmla="*/ 2275975 w 3024845"/>
                <a:gd name="connsiteY323" fmla="*/ 633401 h 1059043"/>
                <a:gd name="connsiteX324" fmla="*/ 2275975 w 3024845"/>
                <a:gd name="connsiteY324" fmla="*/ 626915 h 1059043"/>
                <a:gd name="connsiteX325" fmla="*/ 2298268 w 3024845"/>
                <a:gd name="connsiteY325" fmla="*/ 626915 h 1059043"/>
                <a:gd name="connsiteX326" fmla="*/ 2298268 w 3024845"/>
                <a:gd name="connsiteY326" fmla="*/ 633401 h 1059043"/>
                <a:gd name="connsiteX327" fmla="*/ 2318535 w 3024845"/>
                <a:gd name="connsiteY327" fmla="*/ 633401 h 1059043"/>
                <a:gd name="connsiteX328" fmla="*/ 2318535 w 3024845"/>
                <a:gd name="connsiteY328" fmla="*/ 678798 h 1059043"/>
                <a:gd name="connsiteX329" fmla="*/ 2332722 w 3024845"/>
                <a:gd name="connsiteY329" fmla="*/ 678798 h 1059043"/>
                <a:gd name="connsiteX330" fmla="*/ 2332722 w 3024845"/>
                <a:gd name="connsiteY330" fmla="*/ 665827 h 1059043"/>
                <a:gd name="connsiteX331" fmla="*/ 2348936 w 3024845"/>
                <a:gd name="connsiteY331" fmla="*/ 665827 h 1059043"/>
                <a:gd name="connsiteX332" fmla="*/ 2348936 w 3024845"/>
                <a:gd name="connsiteY332" fmla="*/ 486400 h 1059043"/>
                <a:gd name="connsiteX333" fmla="*/ 2355016 w 3024845"/>
                <a:gd name="connsiteY333" fmla="*/ 479914 h 1059043"/>
                <a:gd name="connsiteX334" fmla="*/ 2427977 w 3024845"/>
                <a:gd name="connsiteY334" fmla="*/ 479914 h 1059043"/>
                <a:gd name="connsiteX335" fmla="*/ 2427977 w 3024845"/>
                <a:gd name="connsiteY335" fmla="*/ 488562 h 1059043"/>
                <a:gd name="connsiteX336" fmla="*/ 2438110 w 3024845"/>
                <a:gd name="connsiteY336" fmla="*/ 488562 h 1059043"/>
                <a:gd name="connsiteX337" fmla="*/ 2438110 w 3024845"/>
                <a:gd name="connsiteY337" fmla="*/ 603136 h 1059043"/>
                <a:gd name="connsiteX338" fmla="*/ 2460404 w 3024845"/>
                <a:gd name="connsiteY338" fmla="*/ 603136 h 1059043"/>
                <a:gd name="connsiteX339" fmla="*/ 2460404 w 3024845"/>
                <a:gd name="connsiteY339" fmla="*/ 536121 h 1059043"/>
                <a:gd name="connsiteX340" fmla="*/ 2486751 w 3024845"/>
                <a:gd name="connsiteY340" fmla="*/ 536121 h 1059043"/>
                <a:gd name="connsiteX341" fmla="*/ 2490804 w 3024845"/>
                <a:gd name="connsiteY341" fmla="*/ 531797 h 1059043"/>
                <a:gd name="connsiteX342" fmla="*/ 2498911 w 3024845"/>
                <a:gd name="connsiteY342" fmla="*/ 531797 h 1059043"/>
                <a:gd name="connsiteX343" fmla="*/ 2502964 w 3024845"/>
                <a:gd name="connsiteY343" fmla="*/ 536121 h 1059043"/>
                <a:gd name="connsiteX344" fmla="*/ 2525258 w 3024845"/>
                <a:gd name="connsiteY344" fmla="*/ 536121 h 1059043"/>
                <a:gd name="connsiteX345" fmla="*/ 2525258 w 3024845"/>
                <a:gd name="connsiteY345" fmla="*/ 419385 h 1059043"/>
                <a:gd name="connsiteX346" fmla="*/ 2582005 w 3024845"/>
                <a:gd name="connsiteY346" fmla="*/ 408576 h 1059043"/>
                <a:gd name="connsiteX347" fmla="*/ 2582005 w 3024845"/>
                <a:gd name="connsiteY347" fmla="*/ 409657 h 1059043"/>
                <a:gd name="connsiteX348" fmla="*/ 2582005 w 3024845"/>
                <a:gd name="connsiteY348" fmla="*/ 417223 h 1059043"/>
                <a:gd name="connsiteX349" fmla="*/ 2608352 w 3024845"/>
                <a:gd name="connsiteY349" fmla="*/ 417223 h 1059043"/>
                <a:gd name="connsiteX350" fmla="*/ 2608352 w 3024845"/>
                <a:gd name="connsiteY350" fmla="*/ 672313 h 1059043"/>
                <a:gd name="connsiteX351" fmla="*/ 2630646 w 3024845"/>
                <a:gd name="connsiteY351" fmla="*/ 672313 h 1059043"/>
                <a:gd name="connsiteX352" fmla="*/ 2630646 w 3024845"/>
                <a:gd name="connsiteY352" fmla="*/ 667989 h 1059043"/>
                <a:gd name="connsiteX353" fmla="*/ 2642806 w 3024845"/>
                <a:gd name="connsiteY353" fmla="*/ 667989 h 1059043"/>
                <a:gd name="connsiteX354" fmla="*/ 2642806 w 3024845"/>
                <a:gd name="connsiteY354" fmla="*/ 672313 h 1059043"/>
                <a:gd name="connsiteX355" fmla="*/ 2667126 w 3024845"/>
                <a:gd name="connsiteY355" fmla="*/ 672313 h 1059043"/>
                <a:gd name="connsiteX356" fmla="*/ 2667126 w 3024845"/>
                <a:gd name="connsiteY356" fmla="*/ 659342 h 1059043"/>
                <a:gd name="connsiteX357" fmla="*/ 2695500 w 3024845"/>
                <a:gd name="connsiteY357" fmla="*/ 659342 h 1059043"/>
                <a:gd name="connsiteX358" fmla="*/ 2707660 w 3024845"/>
                <a:gd name="connsiteY358" fmla="*/ 655018 h 1059043"/>
                <a:gd name="connsiteX359" fmla="*/ 2727927 w 3024845"/>
                <a:gd name="connsiteY359" fmla="*/ 659342 h 1059043"/>
                <a:gd name="connsiteX360" fmla="*/ 2727927 w 3024845"/>
                <a:gd name="connsiteY360" fmla="*/ 642048 h 1059043"/>
                <a:gd name="connsiteX361" fmla="*/ 2736034 w 3024845"/>
                <a:gd name="connsiteY361" fmla="*/ 642048 h 1059043"/>
                <a:gd name="connsiteX362" fmla="*/ 2736034 w 3024845"/>
                <a:gd name="connsiteY362" fmla="*/ 629077 h 1059043"/>
                <a:gd name="connsiteX363" fmla="*/ 2792781 w 3024845"/>
                <a:gd name="connsiteY363" fmla="*/ 629077 h 1059043"/>
                <a:gd name="connsiteX364" fmla="*/ 2792781 w 3024845"/>
                <a:gd name="connsiteY364" fmla="*/ 598812 h 1059043"/>
                <a:gd name="connsiteX365" fmla="*/ 2811021 w 3024845"/>
                <a:gd name="connsiteY365" fmla="*/ 598812 h 1059043"/>
                <a:gd name="connsiteX366" fmla="*/ 2811021 w 3024845"/>
                <a:gd name="connsiteY366" fmla="*/ 592327 h 1059043"/>
                <a:gd name="connsiteX367" fmla="*/ 2823181 w 3024845"/>
                <a:gd name="connsiteY367" fmla="*/ 592327 h 1059043"/>
                <a:gd name="connsiteX368" fmla="*/ 2823181 w 3024845"/>
                <a:gd name="connsiteY368" fmla="*/ 598812 h 1059043"/>
                <a:gd name="connsiteX369" fmla="*/ 2839395 w 3024845"/>
                <a:gd name="connsiteY369" fmla="*/ 598812 h 1059043"/>
                <a:gd name="connsiteX370" fmla="*/ 2839395 w 3024845"/>
                <a:gd name="connsiteY370" fmla="*/ 648533 h 1059043"/>
                <a:gd name="connsiteX371" fmla="*/ 2871822 w 3024845"/>
                <a:gd name="connsiteY371" fmla="*/ 648533 h 1059043"/>
                <a:gd name="connsiteX372" fmla="*/ 2871822 w 3024845"/>
                <a:gd name="connsiteY372" fmla="*/ 622592 h 1059043"/>
                <a:gd name="connsiteX373" fmla="*/ 2910329 w 3024845"/>
                <a:gd name="connsiteY373" fmla="*/ 622592 h 1059043"/>
                <a:gd name="connsiteX374" fmla="*/ 2910329 w 3024845"/>
                <a:gd name="connsiteY374" fmla="*/ 592327 h 1059043"/>
                <a:gd name="connsiteX375" fmla="*/ 2958970 w 3024845"/>
                <a:gd name="connsiteY375" fmla="*/ 592327 h 1059043"/>
                <a:gd name="connsiteX376" fmla="*/ 2958970 w 3024845"/>
                <a:gd name="connsiteY376" fmla="*/ 703483 h 1059043"/>
                <a:gd name="connsiteX377" fmla="*/ 2958970 w 3024845"/>
                <a:gd name="connsiteY377" fmla="*/ 717262 h 1059043"/>
                <a:gd name="connsiteX378" fmla="*/ 3024845 w 3024845"/>
                <a:gd name="connsiteY378" fmla="*/ 717262 h 1059043"/>
                <a:gd name="connsiteX379" fmla="*/ 3024845 w 3024845"/>
                <a:gd name="connsiteY379" fmla="*/ 1059043 h 1059043"/>
                <a:gd name="connsiteX380" fmla="*/ 2054 w 3024845"/>
                <a:gd name="connsiteY380" fmla="*/ 1056710 h 1059043"/>
                <a:gd name="connsiteX381" fmla="*/ 0 w 3024845"/>
                <a:gd name="connsiteY381" fmla="*/ 622592 h 1059043"/>
                <a:gd name="connsiteX382" fmla="*/ 20267 w 3024845"/>
                <a:gd name="connsiteY382" fmla="*/ 622592 h 1059043"/>
                <a:gd name="connsiteX383" fmla="*/ 20774 w 3024845"/>
                <a:gd name="connsiteY383" fmla="*/ 621511 h 1059043"/>
                <a:gd name="connsiteX384" fmla="*/ 24320 w 3024845"/>
                <a:gd name="connsiteY384" fmla="*/ 613945 h 1059043"/>
                <a:gd name="connsiteX385" fmla="*/ 26094 w 3024845"/>
                <a:gd name="connsiteY385" fmla="*/ 614215 h 1059043"/>
                <a:gd name="connsiteX386" fmla="*/ 38507 w 3024845"/>
                <a:gd name="connsiteY386" fmla="*/ 616106 h 1059043"/>
                <a:gd name="connsiteX387" fmla="*/ 39014 w 3024845"/>
                <a:gd name="connsiteY387" fmla="*/ 617458 h 1059043"/>
                <a:gd name="connsiteX388" fmla="*/ 42560 w 3024845"/>
                <a:gd name="connsiteY388" fmla="*/ 626915 h 1059043"/>
                <a:gd name="connsiteX389" fmla="*/ 68907 w 3024845"/>
                <a:gd name="connsiteY389" fmla="*/ 629077 h 1059043"/>
                <a:gd name="connsiteX390" fmla="*/ 68907 w 3024845"/>
                <a:gd name="connsiteY390" fmla="*/ 505856 h 1059043"/>
                <a:gd name="connsiteX391" fmla="*/ 70934 w 3024845"/>
                <a:gd name="connsiteY391" fmla="*/ 505856 h 1059043"/>
                <a:gd name="connsiteX392" fmla="*/ 85121 w 3024845"/>
                <a:gd name="connsiteY392" fmla="*/ 505856 h 1059043"/>
                <a:gd name="connsiteX393" fmla="*/ 85121 w 3024845"/>
                <a:gd name="connsiteY393" fmla="*/ 369664 h 1059043"/>
                <a:gd name="connsiteX394" fmla="*/ 86894 w 3024845"/>
                <a:gd name="connsiteY394" fmla="*/ 369664 h 1059043"/>
                <a:gd name="connsiteX395" fmla="*/ 99308 w 3024845"/>
                <a:gd name="connsiteY395" fmla="*/ 369664 h 1059043"/>
                <a:gd name="connsiteX396" fmla="*/ 99308 w 3024845"/>
                <a:gd name="connsiteY396" fmla="*/ 255090 h 1059043"/>
                <a:gd name="connsiteX397" fmla="*/ 103361 w 3024845"/>
                <a:gd name="connsiteY397" fmla="*/ 226986 h 1059043"/>
                <a:gd name="connsiteX398" fmla="*/ 105388 w 3024845"/>
                <a:gd name="connsiteY398" fmla="*/ 226986 h 1059043"/>
                <a:gd name="connsiteX399" fmla="*/ 119575 w 3024845"/>
                <a:gd name="connsiteY399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60529 h 1059043"/>
                <a:gd name="connsiteX313" fmla="*/ 2152346 w 3024845"/>
                <a:gd name="connsiteY313" fmla="*/ 56206 h 1059043"/>
                <a:gd name="connsiteX314" fmla="*/ 2152346 w 3024845"/>
                <a:gd name="connsiteY314" fmla="*/ 0 h 1059043"/>
                <a:gd name="connsiteX315" fmla="*/ 2180720 w 3024845"/>
                <a:gd name="connsiteY315" fmla="*/ 555577 h 1059043"/>
                <a:gd name="connsiteX316" fmla="*/ 2245574 w 3024845"/>
                <a:gd name="connsiteY316" fmla="*/ 555577 h 1059043"/>
                <a:gd name="connsiteX317" fmla="*/ 2245574 w 3024845"/>
                <a:gd name="connsiteY317" fmla="*/ 631239 h 1059043"/>
                <a:gd name="connsiteX318" fmla="*/ 2253681 w 3024845"/>
                <a:gd name="connsiteY318" fmla="*/ 631239 h 1059043"/>
                <a:gd name="connsiteX319" fmla="*/ 2255708 w 3024845"/>
                <a:gd name="connsiteY319" fmla="*/ 624754 h 1059043"/>
                <a:gd name="connsiteX320" fmla="*/ 2261788 w 3024845"/>
                <a:gd name="connsiteY320" fmla="*/ 624754 h 1059043"/>
                <a:gd name="connsiteX321" fmla="*/ 2263815 w 3024845"/>
                <a:gd name="connsiteY321" fmla="*/ 633401 h 1059043"/>
                <a:gd name="connsiteX322" fmla="*/ 2275975 w 3024845"/>
                <a:gd name="connsiteY322" fmla="*/ 633401 h 1059043"/>
                <a:gd name="connsiteX323" fmla="*/ 2275975 w 3024845"/>
                <a:gd name="connsiteY323" fmla="*/ 626915 h 1059043"/>
                <a:gd name="connsiteX324" fmla="*/ 2298268 w 3024845"/>
                <a:gd name="connsiteY324" fmla="*/ 626915 h 1059043"/>
                <a:gd name="connsiteX325" fmla="*/ 2298268 w 3024845"/>
                <a:gd name="connsiteY325" fmla="*/ 633401 h 1059043"/>
                <a:gd name="connsiteX326" fmla="*/ 2318535 w 3024845"/>
                <a:gd name="connsiteY326" fmla="*/ 633401 h 1059043"/>
                <a:gd name="connsiteX327" fmla="*/ 2318535 w 3024845"/>
                <a:gd name="connsiteY327" fmla="*/ 678798 h 1059043"/>
                <a:gd name="connsiteX328" fmla="*/ 2332722 w 3024845"/>
                <a:gd name="connsiteY328" fmla="*/ 678798 h 1059043"/>
                <a:gd name="connsiteX329" fmla="*/ 2332722 w 3024845"/>
                <a:gd name="connsiteY329" fmla="*/ 665827 h 1059043"/>
                <a:gd name="connsiteX330" fmla="*/ 2348936 w 3024845"/>
                <a:gd name="connsiteY330" fmla="*/ 665827 h 1059043"/>
                <a:gd name="connsiteX331" fmla="*/ 2348936 w 3024845"/>
                <a:gd name="connsiteY331" fmla="*/ 486400 h 1059043"/>
                <a:gd name="connsiteX332" fmla="*/ 2355016 w 3024845"/>
                <a:gd name="connsiteY332" fmla="*/ 479914 h 1059043"/>
                <a:gd name="connsiteX333" fmla="*/ 2427977 w 3024845"/>
                <a:gd name="connsiteY333" fmla="*/ 479914 h 1059043"/>
                <a:gd name="connsiteX334" fmla="*/ 2427977 w 3024845"/>
                <a:gd name="connsiteY334" fmla="*/ 488562 h 1059043"/>
                <a:gd name="connsiteX335" fmla="*/ 2438110 w 3024845"/>
                <a:gd name="connsiteY335" fmla="*/ 488562 h 1059043"/>
                <a:gd name="connsiteX336" fmla="*/ 2438110 w 3024845"/>
                <a:gd name="connsiteY336" fmla="*/ 603136 h 1059043"/>
                <a:gd name="connsiteX337" fmla="*/ 2460404 w 3024845"/>
                <a:gd name="connsiteY337" fmla="*/ 603136 h 1059043"/>
                <a:gd name="connsiteX338" fmla="*/ 2460404 w 3024845"/>
                <a:gd name="connsiteY338" fmla="*/ 536121 h 1059043"/>
                <a:gd name="connsiteX339" fmla="*/ 2486751 w 3024845"/>
                <a:gd name="connsiteY339" fmla="*/ 536121 h 1059043"/>
                <a:gd name="connsiteX340" fmla="*/ 2490804 w 3024845"/>
                <a:gd name="connsiteY340" fmla="*/ 531797 h 1059043"/>
                <a:gd name="connsiteX341" fmla="*/ 2498911 w 3024845"/>
                <a:gd name="connsiteY341" fmla="*/ 531797 h 1059043"/>
                <a:gd name="connsiteX342" fmla="*/ 2502964 w 3024845"/>
                <a:gd name="connsiteY342" fmla="*/ 536121 h 1059043"/>
                <a:gd name="connsiteX343" fmla="*/ 2525258 w 3024845"/>
                <a:gd name="connsiteY343" fmla="*/ 536121 h 1059043"/>
                <a:gd name="connsiteX344" fmla="*/ 2525258 w 3024845"/>
                <a:gd name="connsiteY344" fmla="*/ 419385 h 1059043"/>
                <a:gd name="connsiteX345" fmla="*/ 2582005 w 3024845"/>
                <a:gd name="connsiteY345" fmla="*/ 408576 h 1059043"/>
                <a:gd name="connsiteX346" fmla="*/ 2582005 w 3024845"/>
                <a:gd name="connsiteY346" fmla="*/ 409657 h 1059043"/>
                <a:gd name="connsiteX347" fmla="*/ 2582005 w 3024845"/>
                <a:gd name="connsiteY347" fmla="*/ 417223 h 1059043"/>
                <a:gd name="connsiteX348" fmla="*/ 2608352 w 3024845"/>
                <a:gd name="connsiteY348" fmla="*/ 417223 h 1059043"/>
                <a:gd name="connsiteX349" fmla="*/ 2608352 w 3024845"/>
                <a:gd name="connsiteY349" fmla="*/ 672313 h 1059043"/>
                <a:gd name="connsiteX350" fmla="*/ 2630646 w 3024845"/>
                <a:gd name="connsiteY350" fmla="*/ 672313 h 1059043"/>
                <a:gd name="connsiteX351" fmla="*/ 2630646 w 3024845"/>
                <a:gd name="connsiteY351" fmla="*/ 667989 h 1059043"/>
                <a:gd name="connsiteX352" fmla="*/ 2642806 w 3024845"/>
                <a:gd name="connsiteY352" fmla="*/ 667989 h 1059043"/>
                <a:gd name="connsiteX353" fmla="*/ 2642806 w 3024845"/>
                <a:gd name="connsiteY353" fmla="*/ 672313 h 1059043"/>
                <a:gd name="connsiteX354" fmla="*/ 2667126 w 3024845"/>
                <a:gd name="connsiteY354" fmla="*/ 672313 h 1059043"/>
                <a:gd name="connsiteX355" fmla="*/ 2667126 w 3024845"/>
                <a:gd name="connsiteY355" fmla="*/ 659342 h 1059043"/>
                <a:gd name="connsiteX356" fmla="*/ 2695500 w 3024845"/>
                <a:gd name="connsiteY356" fmla="*/ 659342 h 1059043"/>
                <a:gd name="connsiteX357" fmla="*/ 2707660 w 3024845"/>
                <a:gd name="connsiteY357" fmla="*/ 655018 h 1059043"/>
                <a:gd name="connsiteX358" fmla="*/ 2727927 w 3024845"/>
                <a:gd name="connsiteY358" fmla="*/ 659342 h 1059043"/>
                <a:gd name="connsiteX359" fmla="*/ 2727927 w 3024845"/>
                <a:gd name="connsiteY359" fmla="*/ 642048 h 1059043"/>
                <a:gd name="connsiteX360" fmla="*/ 2736034 w 3024845"/>
                <a:gd name="connsiteY360" fmla="*/ 642048 h 1059043"/>
                <a:gd name="connsiteX361" fmla="*/ 2736034 w 3024845"/>
                <a:gd name="connsiteY361" fmla="*/ 629077 h 1059043"/>
                <a:gd name="connsiteX362" fmla="*/ 2792781 w 3024845"/>
                <a:gd name="connsiteY362" fmla="*/ 629077 h 1059043"/>
                <a:gd name="connsiteX363" fmla="*/ 2792781 w 3024845"/>
                <a:gd name="connsiteY363" fmla="*/ 598812 h 1059043"/>
                <a:gd name="connsiteX364" fmla="*/ 2811021 w 3024845"/>
                <a:gd name="connsiteY364" fmla="*/ 598812 h 1059043"/>
                <a:gd name="connsiteX365" fmla="*/ 2811021 w 3024845"/>
                <a:gd name="connsiteY365" fmla="*/ 592327 h 1059043"/>
                <a:gd name="connsiteX366" fmla="*/ 2823181 w 3024845"/>
                <a:gd name="connsiteY366" fmla="*/ 592327 h 1059043"/>
                <a:gd name="connsiteX367" fmla="*/ 2823181 w 3024845"/>
                <a:gd name="connsiteY367" fmla="*/ 598812 h 1059043"/>
                <a:gd name="connsiteX368" fmla="*/ 2839395 w 3024845"/>
                <a:gd name="connsiteY368" fmla="*/ 598812 h 1059043"/>
                <a:gd name="connsiteX369" fmla="*/ 2839395 w 3024845"/>
                <a:gd name="connsiteY369" fmla="*/ 648533 h 1059043"/>
                <a:gd name="connsiteX370" fmla="*/ 2871822 w 3024845"/>
                <a:gd name="connsiteY370" fmla="*/ 648533 h 1059043"/>
                <a:gd name="connsiteX371" fmla="*/ 2871822 w 3024845"/>
                <a:gd name="connsiteY371" fmla="*/ 622592 h 1059043"/>
                <a:gd name="connsiteX372" fmla="*/ 2910329 w 3024845"/>
                <a:gd name="connsiteY372" fmla="*/ 622592 h 1059043"/>
                <a:gd name="connsiteX373" fmla="*/ 2910329 w 3024845"/>
                <a:gd name="connsiteY373" fmla="*/ 592327 h 1059043"/>
                <a:gd name="connsiteX374" fmla="*/ 2958970 w 3024845"/>
                <a:gd name="connsiteY374" fmla="*/ 592327 h 1059043"/>
                <a:gd name="connsiteX375" fmla="*/ 2958970 w 3024845"/>
                <a:gd name="connsiteY375" fmla="*/ 703483 h 1059043"/>
                <a:gd name="connsiteX376" fmla="*/ 2958970 w 3024845"/>
                <a:gd name="connsiteY376" fmla="*/ 717262 h 1059043"/>
                <a:gd name="connsiteX377" fmla="*/ 3024845 w 3024845"/>
                <a:gd name="connsiteY377" fmla="*/ 717262 h 1059043"/>
                <a:gd name="connsiteX378" fmla="*/ 3024845 w 3024845"/>
                <a:gd name="connsiteY378" fmla="*/ 1059043 h 1059043"/>
                <a:gd name="connsiteX379" fmla="*/ 2054 w 3024845"/>
                <a:gd name="connsiteY379" fmla="*/ 1056710 h 1059043"/>
                <a:gd name="connsiteX380" fmla="*/ 0 w 3024845"/>
                <a:gd name="connsiteY380" fmla="*/ 622592 h 1059043"/>
                <a:gd name="connsiteX381" fmla="*/ 20267 w 3024845"/>
                <a:gd name="connsiteY381" fmla="*/ 622592 h 1059043"/>
                <a:gd name="connsiteX382" fmla="*/ 20774 w 3024845"/>
                <a:gd name="connsiteY382" fmla="*/ 621511 h 1059043"/>
                <a:gd name="connsiteX383" fmla="*/ 24320 w 3024845"/>
                <a:gd name="connsiteY383" fmla="*/ 613945 h 1059043"/>
                <a:gd name="connsiteX384" fmla="*/ 26094 w 3024845"/>
                <a:gd name="connsiteY384" fmla="*/ 614215 h 1059043"/>
                <a:gd name="connsiteX385" fmla="*/ 38507 w 3024845"/>
                <a:gd name="connsiteY385" fmla="*/ 616106 h 1059043"/>
                <a:gd name="connsiteX386" fmla="*/ 39014 w 3024845"/>
                <a:gd name="connsiteY386" fmla="*/ 617458 h 1059043"/>
                <a:gd name="connsiteX387" fmla="*/ 42560 w 3024845"/>
                <a:gd name="connsiteY387" fmla="*/ 626915 h 1059043"/>
                <a:gd name="connsiteX388" fmla="*/ 68907 w 3024845"/>
                <a:gd name="connsiteY388" fmla="*/ 629077 h 1059043"/>
                <a:gd name="connsiteX389" fmla="*/ 68907 w 3024845"/>
                <a:gd name="connsiteY389" fmla="*/ 505856 h 1059043"/>
                <a:gd name="connsiteX390" fmla="*/ 70934 w 3024845"/>
                <a:gd name="connsiteY390" fmla="*/ 505856 h 1059043"/>
                <a:gd name="connsiteX391" fmla="*/ 85121 w 3024845"/>
                <a:gd name="connsiteY391" fmla="*/ 505856 h 1059043"/>
                <a:gd name="connsiteX392" fmla="*/ 85121 w 3024845"/>
                <a:gd name="connsiteY392" fmla="*/ 369664 h 1059043"/>
                <a:gd name="connsiteX393" fmla="*/ 86894 w 3024845"/>
                <a:gd name="connsiteY393" fmla="*/ 369664 h 1059043"/>
                <a:gd name="connsiteX394" fmla="*/ 99308 w 3024845"/>
                <a:gd name="connsiteY394" fmla="*/ 369664 h 1059043"/>
                <a:gd name="connsiteX395" fmla="*/ 99308 w 3024845"/>
                <a:gd name="connsiteY395" fmla="*/ 255090 h 1059043"/>
                <a:gd name="connsiteX396" fmla="*/ 103361 w 3024845"/>
                <a:gd name="connsiteY396" fmla="*/ 226986 h 1059043"/>
                <a:gd name="connsiteX397" fmla="*/ 105388 w 3024845"/>
                <a:gd name="connsiteY397" fmla="*/ 226986 h 1059043"/>
                <a:gd name="connsiteX398" fmla="*/ 119575 w 3024845"/>
                <a:gd name="connsiteY39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50320 w 3024845"/>
                <a:gd name="connsiteY311" fmla="*/ 60529 h 1059043"/>
                <a:gd name="connsiteX312" fmla="*/ 2152346 w 3024845"/>
                <a:gd name="connsiteY312" fmla="*/ 56206 h 1059043"/>
                <a:gd name="connsiteX313" fmla="*/ 2152346 w 3024845"/>
                <a:gd name="connsiteY313" fmla="*/ 0 h 1059043"/>
                <a:gd name="connsiteX314" fmla="*/ 2180720 w 3024845"/>
                <a:gd name="connsiteY314" fmla="*/ 555577 h 1059043"/>
                <a:gd name="connsiteX315" fmla="*/ 2245574 w 3024845"/>
                <a:gd name="connsiteY315" fmla="*/ 555577 h 1059043"/>
                <a:gd name="connsiteX316" fmla="*/ 2245574 w 3024845"/>
                <a:gd name="connsiteY316" fmla="*/ 631239 h 1059043"/>
                <a:gd name="connsiteX317" fmla="*/ 2253681 w 3024845"/>
                <a:gd name="connsiteY317" fmla="*/ 631239 h 1059043"/>
                <a:gd name="connsiteX318" fmla="*/ 2255708 w 3024845"/>
                <a:gd name="connsiteY318" fmla="*/ 624754 h 1059043"/>
                <a:gd name="connsiteX319" fmla="*/ 2261788 w 3024845"/>
                <a:gd name="connsiteY319" fmla="*/ 624754 h 1059043"/>
                <a:gd name="connsiteX320" fmla="*/ 2263815 w 3024845"/>
                <a:gd name="connsiteY320" fmla="*/ 633401 h 1059043"/>
                <a:gd name="connsiteX321" fmla="*/ 2275975 w 3024845"/>
                <a:gd name="connsiteY321" fmla="*/ 633401 h 1059043"/>
                <a:gd name="connsiteX322" fmla="*/ 2275975 w 3024845"/>
                <a:gd name="connsiteY322" fmla="*/ 626915 h 1059043"/>
                <a:gd name="connsiteX323" fmla="*/ 2298268 w 3024845"/>
                <a:gd name="connsiteY323" fmla="*/ 626915 h 1059043"/>
                <a:gd name="connsiteX324" fmla="*/ 2298268 w 3024845"/>
                <a:gd name="connsiteY324" fmla="*/ 633401 h 1059043"/>
                <a:gd name="connsiteX325" fmla="*/ 2318535 w 3024845"/>
                <a:gd name="connsiteY325" fmla="*/ 633401 h 1059043"/>
                <a:gd name="connsiteX326" fmla="*/ 2318535 w 3024845"/>
                <a:gd name="connsiteY326" fmla="*/ 678798 h 1059043"/>
                <a:gd name="connsiteX327" fmla="*/ 2332722 w 3024845"/>
                <a:gd name="connsiteY327" fmla="*/ 678798 h 1059043"/>
                <a:gd name="connsiteX328" fmla="*/ 2332722 w 3024845"/>
                <a:gd name="connsiteY328" fmla="*/ 665827 h 1059043"/>
                <a:gd name="connsiteX329" fmla="*/ 2348936 w 3024845"/>
                <a:gd name="connsiteY329" fmla="*/ 665827 h 1059043"/>
                <a:gd name="connsiteX330" fmla="*/ 2348936 w 3024845"/>
                <a:gd name="connsiteY330" fmla="*/ 486400 h 1059043"/>
                <a:gd name="connsiteX331" fmla="*/ 2355016 w 3024845"/>
                <a:gd name="connsiteY331" fmla="*/ 479914 h 1059043"/>
                <a:gd name="connsiteX332" fmla="*/ 2427977 w 3024845"/>
                <a:gd name="connsiteY332" fmla="*/ 479914 h 1059043"/>
                <a:gd name="connsiteX333" fmla="*/ 2427977 w 3024845"/>
                <a:gd name="connsiteY333" fmla="*/ 488562 h 1059043"/>
                <a:gd name="connsiteX334" fmla="*/ 2438110 w 3024845"/>
                <a:gd name="connsiteY334" fmla="*/ 488562 h 1059043"/>
                <a:gd name="connsiteX335" fmla="*/ 2438110 w 3024845"/>
                <a:gd name="connsiteY335" fmla="*/ 603136 h 1059043"/>
                <a:gd name="connsiteX336" fmla="*/ 2460404 w 3024845"/>
                <a:gd name="connsiteY336" fmla="*/ 603136 h 1059043"/>
                <a:gd name="connsiteX337" fmla="*/ 2460404 w 3024845"/>
                <a:gd name="connsiteY337" fmla="*/ 536121 h 1059043"/>
                <a:gd name="connsiteX338" fmla="*/ 2486751 w 3024845"/>
                <a:gd name="connsiteY338" fmla="*/ 536121 h 1059043"/>
                <a:gd name="connsiteX339" fmla="*/ 2490804 w 3024845"/>
                <a:gd name="connsiteY339" fmla="*/ 531797 h 1059043"/>
                <a:gd name="connsiteX340" fmla="*/ 2498911 w 3024845"/>
                <a:gd name="connsiteY340" fmla="*/ 531797 h 1059043"/>
                <a:gd name="connsiteX341" fmla="*/ 2502964 w 3024845"/>
                <a:gd name="connsiteY341" fmla="*/ 536121 h 1059043"/>
                <a:gd name="connsiteX342" fmla="*/ 2525258 w 3024845"/>
                <a:gd name="connsiteY342" fmla="*/ 536121 h 1059043"/>
                <a:gd name="connsiteX343" fmla="*/ 2525258 w 3024845"/>
                <a:gd name="connsiteY343" fmla="*/ 419385 h 1059043"/>
                <a:gd name="connsiteX344" fmla="*/ 2582005 w 3024845"/>
                <a:gd name="connsiteY344" fmla="*/ 408576 h 1059043"/>
                <a:gd name="connsiteX345" fmla="*/ 2582005 w 3024845"/>
                <a:gd name="connsiteY345" fmla="*/ 409657 h 1059043"/>
                <a:gd name="connsiteX346" fmla="*/ 2582005 w 3024845"/>
                <a:gd name="connsiteY346" fmla="*/ 417223 h 1059043"/>
                <a:gd name="connsiteX347" fmla="*/ 2608352 w 3024845"/>
                <a:gd name="connsiteY347" fmla="*/ 417223 h 1059043"/>
                <a:gd name="connsiteX348" fmla="*/ 2608352 w 3024845"/>
                <a:gd name="connsiteY348" fmla="*/ 672313 h 1059043"/>
                <a:gd name="connsiteX349" fmla="*/ 2630646 w 3024845"/>
                <a:gd name="connsiteY349" fmla="*/ 672313 h 1059043"/>
                <a:gd name="connsiteX350" fmla="*/ 2630646 w 3024845"/>
                <a:gd name="connsiteY350" fmla="*/ 667989 h 1059043"/>
                <a:gd name="connsiteX351" fmla="*/ 2642806 w 3024845"/>
                <a:gd name="connsiteY351" fmla="*/ 667989 h 1059043"/>
                <a:gd name="connsiteX352" fmla="*/ 2642806 w 3024845"/>
                <a:gd name="connsiteY352" fmla="*/ 672313 h 1059043"/>
                <a:gd name="connsiteX353" fmla="*/ 2667126 w 3024845"/>
                <a:gd name="connsiteY353" fmla="*/ 672313 h 1059043"/>
                <a:gd name="connsiteX354" fmla="*/ 2667126 w 3024845"/>
                <a:gd name="connsiteY354" fmla="*/ 659342 h 1059043"/>
                <a:gd name="connsiteX355" fmla="*/ 2695500 w 3024845"/>
                <a:gd name="connsiteY355" fmla="*/ 659342 h 1059043"/>
                <a:gd name="connsiteX356" fmla="*/ 2707660 w 3024845"/>
                <a:gd name="connsiteY356" fmla="*/ 655018 h 1059043"/>
                <a:gd name="connsiteX357" fmla="*/ 2727927 w 3024845"/>
                <a:gd name="connsiteY357" fmla="*/ 659342 h 1059043"/>
                <a:gd name="connsiteX358" fmla="*/ 2727927 w 3024845"/>
                <a:gd name="connsiteY358" fmla="*/ 642048 h 1059043"/>
                <a:gd name="connsiteX359" fmla="*/ 2736034 w 3024845"/>
                <a:gd name="connsiteY359" fmla="*/ 642048 h 1059043"/>
                <a:gd name="connsiteX360" fmla="*/ 2736034 w 3024845"/>
                <a:gd name="connsiteY360" fmla="*/ 629077 h 1059043"/>
                <a:gd name="connsiteX361" fmla="*/ 2792781 w 3024845"/>
                <a:gd name="connsiteY361" fmla="*/ 629077 h 1059043"/>
                <a:gd name="connsiteX362" fmla="*/ 2792781 w 3024845"/>
                <a:gd name="connsiteY362" fmla="*/ 598812 h 1059043"/>
                <a:gd name="connsiteX363" fmla="*/ 2811021 w 3024845"/>
                <a:gd name="connsiteY363" fmla="*/ 598812 h 1059043"/>
                <a:gd name="connsiteX364" fmla="*/ 2811021 w 3024845"/>
                <a:gd name="connsiteY364" fmla="*/ 592327 h 1059043"/>
                <a:gd name="connsiteX365" fmla="*/ 2823181 w 3024845"/>
                <a:gd name="connsiteY365" fmla="*/ 592327 h 1059043"/>
                <a:gd name="connsiteX366" fmla="*/ 2823181 w 3024845"/>
                <a:gd name="connsiteY366" fmla="*/ 598812 h 1059043"/>
                <a:gd name="connsiteX367" fmla="*/ 2839395 w 3024845"/>
                <a:gd name="connsiteY367" fmla="*/ 598812 h 1059043"/>
                <a:gd name="connsiteX368" fmla="*/ 2839395 w 3024845"/>
                <a:gd name="connsiteY368" fmla="*/ 648533 h 1059043"/>
                <a:gd name="connsiteX369" fmla="*/ 2871822 w 3024845"/>
                <a:gd name="connsiteY369" fmla="*/ 648533 h 1059043"/>
                <a:gd name="connsiteX370" fmla="*/ 2871822 w 3024845"/>
                <a:gd name="connsiteY370" fmla="*/ 622592 h 1059043"/>
                <a:gd name="connsiteX371" fmla="*/ 2910329 w 3024845"/>
                <a:gd name="connsiteY371" fmla="*/ 622592 h 1059043"/>
                <a:gd name="connsiteX372" fmla="*/ 2910329 w 3024845"/>
                <a:gd name="connsiteY372" fmla="*/ 592327 h 1059043"/>
                <a:gd name="connsiteX373" fmla="*/ 2958970 w 3024845"/>
                <a:gd name="connsiteY373" fmla="*/ 592327 h 1059043"/>
                <a:gd name="connsiteX374" fmla="*/ 2958970 w 3024845"/>
                <a:gd name="connsiteY374" fmla="*/ 703483 h 1059043"/>
                <a:gd name="connsiteX375" fmla="*/ 2958970 w 3024845"/>
                <a:gd name="connsiteY375" fmla="*/ 717262 h 1059043"/>
                <a:gd name="connsiteX376" fmla="*/ 3024845 w 3024845"/>
                <a:gd name="connsiteY376" fmla="*/ 717262 h 1059043"/>
                <a:gd name="connsiteX377" fmla="*/ 3024845 w 3024845"/>
                <a:gd name="connsiteY377" fmla="*/ 1059043 h 1059043"/>
                <a:gd name="connsiteX378" fmla="*/ 2054 w 3024845"/>
                <a:gd name="connsiteY378" fmla="*/ 1056710 h 1059043"/>
                <a:gd name="connsiteX379" fmla="*/ 0 w 3024845"/>
                <a:gd name="connsiteY379" fmla="*/ 622592 h 1059043"/>
                <a:gd name="connsiteX380" fmla="*/ 20267 w 3024845"/>
                <a:gd name="connsiteY380" fmla="*/ 622592 h 1059043"/>
                <a:gd name="connsiteX381" fmla="*/ 20774 w 3024845"/>
                <a:gd name="connsiteY381" fmla="*/ 621511 h 1059043"/>
                <a:gd name="connsiteX382" fmla="*/ 24320 w 3024845"/>
                <a:gd name="connsiteY382" fmla="*/ 613945 h 1059043"/>
                <a:gd name="connsiteX383" fmla="*/ 26094 w 3024845"/>
                <a:gd name="connsiteY383" fmla="*/ 614215 h 1059043"/>
                <a:gd name="connsiteX384" fmla="*/ 38507 w 3024845"/>
                <a:gd name="connsiteY384" fmla="*/ 616106 h 1059043"/>
                <a:gd name="connsiteX385" fmla="*/ 39014 w 3024845"/>
                <a:gd name="connsiteY385" fmla="*/ 617458 h 1059043"/>
                <a:gd name="connsiteX386" fmla="*/ 42560 w 3024845"/>
                <a:gd name="connsiteY386" fmla="*/ 626915 h 1059043"/>
                <a:gd name="connsiteX387" fmla="*/ 68907 w 3024845"/>
                <a:gd name="connsiteY387" fmla="*/ 629077 h 1059043"/>
                <a:gd name="connsiteX388" fmla="*/ 68907 w 3024845"/>
                <a:gd name="connsiteY388" fmla="*/ 505856 h 1059043"/>
                <a:gd name="connsiteX389" fmla="*/ 70934 w 3024845"/>
                <a:gd name="connsiteY389" fmla="*/ 505856 h 1059043"/>
                <a:gd name="connsiteX390" fmla="*/ 85121 w 3024845"/>
                <a:gd name="connsiteY390" fmla="*/ 505856 h 1059043"/>
                <a:gd name="connsiteX391" fmla="*/ 85121 w 3024845"/>
                <a:gd name="connsiteY391" fmla="*/ 369664 h 1059043"/>
                <a:gd name="connsiteX392" fmla="*/ 86894 w 3024845"/>
                <a:gd name="connsiteY392" fmla="*/ 369664 h 1059043"/>
                <a:gd name="connsiteX393" fmla="*/ 99308 w 3024845"/>
                <a:gd name="connsiteY393" fmla="*/ 369664 h 1059043"/>
                <a:gd name="connsiteX394" fmla="*/ 99308 w 3024845"/>
                <a:gd name="connsiteY394" fmla="*/ 255090 h 1059043"/>
                <a:gd name="connsiteX395" fmla="*/ 103361 w 3024845"/>
                <a:gd name="connsiteY395" fmla="*/ 226986 h 1059043"/>
                <a:gd name="connsiteX396" fmla="*/ 105388 w 3024845"/>
                <a:gd name="connsiteY396" fmla="*/ 226986 h 1059043"/>
                <a:gd name="connsiteX397" fmla="*/ 119575 w 3024845"/>
                <a:gd name="connsiteY397" fmla="*/ 226986 h 1059043"/>
                <a:gd name="connsiteX0" fmla="*/ 119575 w 3024845"/>
                <a:gd name="connsiteY0" fmla="*/ 255427 h 1087484"/>
                <a:gd name="connsiteX1" fmla="*/ 200642 w 3024845"/>
                <a:gd name="connsiteY1" fmla="*/ 253266 h 1087484"/>
                <a:gd name="connsiteX2" fmla="*/ 202669 w 3024845"/>
                <a:gd name="connsiteY2" fmla="*/ 253266 h 1087484"/>
                <a:gd name="connsiteX3" fmla="*/ 216856 w 3024845"/>
                <a:gd name="connsiteY3" fmla="*/ 253266 h 1087484"/>
                <a:gd name="connsiteX4" fmla="*/ 216856 w 3024845"/>
                <a:gd name="connsiteY4" fmla="*/ 277045 h 1087484"/>
                <a:gd name="connsiteX5" fmla="*/ 217363 w 3024845"/>
                <a:gd name="connsiteY5" fmla="*/ 277856 h 1087484"/>
                <a:gd name="connsiteX6" fmla="*/ 220909 w 3024845"/>
                <a:gd name="connsiteY6" fmla="*/ 283531 h 1087484"/>
                <a:gd name="connsiteX7" fmla="*/ 220909 w 3024845"/>
                <a:gd name="connsiteY7" fmla="*/ 398105 h 1087484"/>
                <a:gd name="connsiteX8" fmla="*/ 223189 w 3024845"/>
                <a:gd name="connsiteY8" fmla="*/ 398105 h 1087484"/>
                <a:gd name="connsiteX9" fmla="*/ 239150 w 3024845"/>
                <a:gd name="connsiteY9" fmla="*/ 398105 h 1087484"/>
                <a:gd name="connsiteX10" fmla="*/ 239150 w 3024845"/>
                <a:gd name="connsiteY10" fmla="*/ 538620 h 1087484"/>
                <a:gd name="connsiteX11" fmla="*/ 240670 w 3024845"/>
                <a:gd name="connsiteY11" fmla="*/ 538350 h 1087484"/>
                <a:gd name="connsiteX12" fmla="*/ 251310 w 3024845"/>
                <a:gd name="connsiteY12" fmla="*/ 536459 h 1087484"/>
                <a:gd name="connsiteX13" fmla="*/ 249283 w 3024845"/>
                <a:gd name="connsiteY13" fmla="*/ 625091 h 1087484"/>
                <a:gd name="connsiteX14" fmla="*/ 250803 w 3024845"/>
                <a:gd name="connsiteY14" fmla="*/ 625362 h 1087484"/>
                <a:gd name="connsiteX15" fmla="*/ 261443 w 3024845"/>
                <a:gd name="connsiteY15" fmla="*/ 627253 h 1087484"/>
                <a:gd name="connsiteX16" fmla="*/ 261696 w 3024845"/>
                <a:gd name="connsiteY16" fmla="*/ 628064 h 1087484"/>
                <a:gd name="connsiteX17" fmla="*/ 263470 w 3024845"/>
                <a:gd name="connsiteY17" fmla="*/ 633739 h 1087484"/>
                <a:gd name="connsiteX18" fmla="*/ 264230 w 3024845"/>
                <a:gd name="connsiteY18" fmla="*/ 631307 h 1087484"/>
                <a:gd name="connsiteX19" fmla="*/ 269550 w 3024845"/>
                <a:gd name="connsiteY19" fmla="*/ 614283 h 1087484"/>
                <a:gd name="connsiteX20" fmla="*/ 271323 w 3024845"/>
                <a:gd name="connsiteY20" fmla="*/ 614283 h 1087484"/>
                <a:gd name="connsiteX21" fmla="*/ 283737 w 3024845"/>
                <a:gd name="connsiteY21" fmla="*/ 614283 h 1087484"/>
                <a:gd name="connsiteX22" fmla="*/ 283737 w 3024845"/>
                <a:gd name="connsiteY22" fmla="*/ 646709 h 1087484"/>
                <a:gd name="connsiteX23" fmla="*/ 284750 w 3024845"/>
                <a:gd name="connsiteY23" fmla="*/ 647250 h 1087484"/>
                <a:gd name="connsiteX24" fmla="*/ 291844 w 3024845"/>
                <a:gd name="connsiteY24" fmla="*/ 651033 h 1087484"/>
                <a:gd name="connsiteX25" fmla="*/ 291844 w 3024845"/>
                <a:gd name="connsiteY25" fmla="*/ 652384 h 1087484"/>
                <a:gd name="connsiteX26" fmla="*/ 291844 w 3024845"/>
                <a:gd name="connsiteY26" fmla="*/ 661842 h 1087484"/>
                <a:gd name="connsiteX27" fmla="*/ 336431 w 3024845"/>
                <a:gd name="connsiteY27" fmla="*/ 661842 h 1087484"/>
                <a:gd name="connsiteX28" fmla="*/ 336431 w 3024845"/>
                <a:gd name="connsiteY28" fmla="*/ 662923 h 1087484"/>
                <a:gd name="connsiteX29" fmla="*/ 336431 w 3024845"/>
                <a:gd name="connsiteY29" fmla="*/ 670489 h 1087484"/>
                <a:gd name="connsiteX30" fmla="*/ 338457 w 3024845"/>
                <a:gd name="connsiteY30" fmla="*/ 670489 h 1087484"/>
                <a:gd name="connsiteX31" fmla="*/ 352644 w 3024845"/>
                <a:gd name="connsiteY31" fmla="*/ 670489 h 1087484"/>
                <a:gd name="connsiteX32" fmla="*/ 352644 w 3024845"/>
                <a:gd name="connsiteY32" fmla="*/ 640224 h 1087484"/>
                <a:gd name="connsiteX33" fmla="*/ 397231 w 3024845"/>
                <a:gd name="connsiteY33" fmla="*/ 640224 h 1087484"/>
                <a:gd name="connsiteX34" fmla="*/ 397231 w 3024845"/>
                <a:gd name="connsiteY34" fmla="*/ 638873 h 1087484"/>
                <a:gd name="connsiteX35" fmla="*/ 397231 w 3024845"/>
                <a:gd name="connsiteY35" fmla="*/ 629415 h 1087484"/>
                <a:gd name="connsiteX36" fmla="*/ 398245 w 3024845"/>
                <a:gd name="connsiteY36" fmla="*/ 629415 h 1087484"/>
                <a:gd name="connsiteX37" fmla="*/ 405338 w 3024845"/>
                <a:gd name="connsiteY37" fmla="*/ 629415 h 1087484"/>
                <a:gd name="connsiteX38" fmla="*/ 405338 w 3024845"/>
                <a:gd name="connsiteY38" fmla="*/ 627524 h 1087484"/>
                <a:gd name="connsiteX39" fmla="*/ 405338 w 3024845"/>
                <a:gd name="connsiteY39" fmla="*/ 614283 h 1087484"/>
                <a:gd name="connsiteX40" fmla="*/ 406098 w 3024845"/>
                <a:gd name="connsiteY40" fmla="*/ 614283 h 1087484"/>
                <a:gd name="connsiteX41" fmla="*/ 411418 w 3024845"/>
                <a:gd name="connsiteY41" fmla="*/ 614283 h 1087484"/>
                <a:gd name="connsiteX42" fmla="*/ 411418 w 3024845"/>
                <a:gd name="connsiteY42" fmla="*/ 613202 h 1087484"/>
                <a:gd name="connsiteX43" fmla="*/ 411418 w 3024845"/>
                <a:gd name="connsiteY43" fmla="*/ 605635 h 1087484"/>
                <a:gd name="connsiteX44" fmla="*/ 413445 w 3024845"/>
                <a:gd name="connsiteY44" fmla="*/ 605635 h 1087484"/>
                <a:gd name="connsiteX45" fmla="*/ 427632 w 3024845"/>
                <a:gd name="connsiteY45" fmla="*/ 605635 h 1087484"/>
                <a:gd name="connsiteX46" fmla="*/ 427632 w 3024845"/>
                <a:gd name="connsiteY46" fmla="*/ 606716 h 1087484"/>
                <a:gd name="connsiteX47" fmla="*/ 427632 w 3024845"/>
                <a:gd name="connsiteY47" fmla="*/ 614283 h 1087484"/>
                <a:gd name="connsiteX48" fmla="*/ 449925 w 3024845"/>
                <a:gd name="connsiteY48" fmla="*/ 614283 h 1087484"/>
                <a:gd name="connsiteX49" fmla="*/ 449925 w 3024845"/>
                <a:gd name="connsiteY49" fmla="*/ 612391 h 1087484"/>
                <a:gd name="connsiteX50" fmla="*/ 449925 w 3024845"/>
                <a:gd name="connsiteY50" fmla="*/ 599150 h 1087484"/>
                <a:gd name="connsiteX51" fmla="*/ 451699 w 3024845"/>
                <a:gd name="connsiteY51" fmla="*/ 599150 h 1087484"/>
                <a:gd name="connsiteX52" fmla="*/ 464112 w 3024845"/>
                <a:gd name="connsiteY52" fmla="*/ 599150 h 1087484"/>
                <a:gd name="connsiteX53" fmla="*/ 464112 w 3024845"/>
                <a:gd name="connsiteY53" fmla="*/ 622930 h 1087484"/>
                <a:gd name="connsiteX54" fmla="*/ 465126 w 3024845"/>
                <a:gd name="connsiteY54" fmla="*/ 622930 h 1087484"/>
                <a:gd name="connsiteX55" fmla="*/ 472219 w 3024845"/>
                <a:gd name="connsiteY55" fmla="*/ 622930 h 1087484"/>
                <a:gd name="connsiteX56" fmla="*/ 472219 w 3024845"/>
                <a:gd name="connsiteY56" fmla="*/ 621849 h 1087484"/>
                <a:gd name="connsiteX57" fmla="*/ 472219 w 3024845"/>
                <a:gd name="connsiteY57" fmla="*/ 614283 h 1087484"/>
                <a:gd name="connsiteX58" fmla="*/ 473992 w 3024845"/>
                <a:gd name="connsiteY58" fmla="*/ 614283 h 1087484"/>
                <a:gd name="connsiteX59" fmla="*/ 486406 w 3024845"/>
                <a:gd name="connsiteY59" fmla="*/ 614283 h 1087484"/>
                <a:gd name="connsiteX60" fmla="*/ 486406 w 3024845"/>
                <a:gd name="connsiteY60" fmla="*/ 640224 h 1087484"/>
                <a:gd name="connsiteX61" fmla="*/ 488433 w 3024845"/>
                <a:gd name="connsiteY61" fmla="*/ 640224 h 1087484"/>
                <a:gd name="connsiteX62" fmla="*/ 502619 w 3024845"/>
                <a:gd name="connsiteY62" fmla="*/ 640224 h 1087484"/>
                <a:gd name="connsiteX63" fmla="*/ 502619 w 3024845"/>
                <a:gd name="connsiteY63" fmla="*/ 641845 h 1087484"/>
                <a:gd name="connsiteX64" fmla="*/ 502619 w 3024845"/>
                <a:gd name="connsiteY64" fmla="*/ 653195 h 1087484"/>
                <a:gd name="connsiteX65" fmla="*/ 503379 w 3024845"/>
                <a:gd name="connsiteY65" fmla="*/ 653195 h 1087484"/>
                <a:gd name="connsiteX66" fmla="*/ 508700 w 3024845"/>
                <a:gd name="connsiteY66" fmla="*/ 653195 h 1087484"/>
                <a:gd name="connsiteX67" fmla="*/ 508700 w 3024845"/>
                <a:gd name="connsiteY67" fmla="*/ 652384 h 1087484"/>
                <a:gd name="connsiteX68" fmla="*/ 508700 w 3024845"/>
                <a:gd name="connsiteY68" fmla="*/ 646709 h 1087484"/>
                <a:gd name="connsiteX69" fmla="*/ 539100 w 3024845"/>
                <a:gd name="connsiteY69" fmla="*/ 646709 h 1087484"/>
                <a:gd name="connsiteX70" fmla="*/ 539100 w 3024845"/>
                <a:gd name="connsiteY70" fmla="*/ 670489 h 1087484"/>
                <a:gd name="connsiteX71" fmla="*/ 540113 w 3024845"/>
                <a:gd name="connsiteY71" fmla="*/ 670489 h 1087484"/>
                <a:gd name="connsiteX72" fmla="*/ 547207 w 3024845"/>
                <a:gd name="connsiteY72" fmla="*/ 670489 h 1087484"/>
                <a:gd name="connsiteX73" fmla="*/ 547207 w 3024845"/>
                <a:gd name="connsiteY73" fmla="*/ 671570 h 1087484"/>
                <a:gd name="connsiteX74" fmla="*/ 547207 w 3024845"/>
                <a:gd name="connsiteY74" fmla="*/ 679136 h 1087484"/>
                <a:gd name="connsiteX75" fmla="*/ 547967 w 3024845"/>
                <a:gd name="connsiteY75" fmla="*/ 679136 h 1087484"/>
                <a:gd name="connsiteX76" fmla="*/ 553287 w 3024845"/>
                <a:gd name="connsiteY76" fmla="*/ 679136 h 1087484"/>
                <a:gd name="connsiteX77" fmla="*/ 553287 w 3024845"/>
                <a:gd name="connsiteY77" fmla="*/ 676974 h 1087484"/>
                <a:gd name="connsiteX78" fmla="*/ 553287 w 3024845"/>
                <a:gd name="connsiteY78" fmla="*/ 661842 h 1087484"/>
                <a:gd name="connsiteX79" fmla="*/ 554300 w 3024845"/>
                <a:gd name="connsiteY79" fmla="*/ 661842 h 1087484"/>
                <a:gd name="connsiteX80" fmla="*/ 561394 w 3024845"/>
                <a:gd name="connsiteY80" fmla="*/ 661842 h 1087484"/>
                <a:gd name="connsiteX81" fmla="*/ 561394 w 3024845"/>
                <a:gd name="connsiteY81" fmla="*/ 662923 h 1087484"/>
                <a:gd name="connsiteX82" fmla="*/ 561394 w 3024845"/>
                <a:gd name="connsiteY82" fmla="*/ 670489 h 1087484"/>
                <a:gd name="connsiteX83" fmla="*/ 566714 w 3024845"/>
                <a:gd name="connsiteY83" fmla="*/ 668496 h 1087484"/>
                <a:gd name="connsiteX84" fmla="*/ 567474 w 3024845"/>
                <a:gd name="connsiteY84" fmla="*/ 667516 h 1087484"/>
                <a:gd name="connsiteX85" fmla="*/ 567474 w 3024845"/>
                <a:gd name="connsiteY85" fmla="*/ 661842 h 1087484"/>
                <a:gd name="connsiteX86" fmla="*/ 605981 w 3024845"/>
                <a:gd name="connsiteY86" fmla="*/ 661842 h 1087484"/>
                <a:gd name="connsiteX87" fmla="*/ 605981 w 3024845"/>
                <a:gd name="connsiteY87" fmla="*/ 685621 h 1087484"/>
                <a:gd name="connsiteX88" fmla="*/ 608007 w 3024845"/>
                <a:gd name="connsiteY88" fmla="*/ 685621 h 1087484"/>
                <a:gd name="connsiteX89" fmla="*/ 622194 w 3024845"/>
                <a:gd name="connsiteY89" fmla="*/ 685621 h 1087484"/>
                <a:gd name="connsiteX90" fmla="*/ 622194 w 3024845"/>
                <a:gd name="connsiteY90" fmla="*/ 686702 h 1087484"/>
                <a:gd name="connsiteX91" fmla="*/ 622194 w 3024845"/>
                <a:gd name="connsiteY91" fmla="*/ 694268 h 1087484"/>
                <a:gd name="connsiteX92" fmla="*/ 623968 w 3024845"/>
                <a:gd name="connsiteY92" fmla="*/ 694268 h 1087484"/>
                <a:gd name="connsiteX93" fmla="*/ 636381 w 3024845"/>
                <a:gd name="connsiteY93" fmla="*/ 694268 h 1087484"/>
                <a:gd name="connsiteX94" fmla="*/ 636381 w 3024845"/>
                <a:gd name="connsiteY94" fmla="*/ 670489 h 1087484"/>
                <a:gd name="connsiteX95" fmla="*/ 637394 w 3024845"/>
                <a:gd name="connsiteY95" fmla="*/ 670489 h 1087484"/>
                <a:gd name="connsiteX96" fmla="*/ 644488 w 3024845"/>
                <a:gd name="connsiteY96" fmla="*/ 670489 h 1087484"/>
                <a:gd name="connsiteX97" fmla="*/ 644488 w 3024845"/>
                <a:gd name="connsiteY97" fmla="*/ 638062 h 1087484"/>
                <a:gd name="connsiteX98" fmla="*/ 645501 w 3024845"/>
                <a:gd name="connsiteY98" fmla="*/ 638062 h 1087484"/>
                <a:gd name="connsiteX99" fmla="*/ 652595 w 3024845"/>
                <a:gd name="connsiteY99" fmla="*/ 638062 h 1087484"/>
                <a:gd name="connsiteX100" fmla="*/ 652595 w 3024845"/>
                <a:gd name="connsiteY100" fmla="*/ 636171 h 1087484"/>
                <a:gd name="connsiteX101" fmla="*/ 652595 w 3024845"/>
                <a:gd name="connsiteY101" fmla="*/ 622930 h 1087484"/>
                <a:gd name="connsiteX102" fmla="*/ 651328 w 3024845"/>
                <a:gd name="connsiteY102" fmla="*/ 621308 h 1087484"/>
                <a:gd name="connsiteX103" fmla="*/ 656648 w 3024845"/>
                <a:gd name="connsiteY103" fmla="*/ 609959 h 1087484"/>
                <a:gd name="connsiteX104" fmla="*/ 664755 w 3024845"/>
                <a:gd name="connsiteY104" fmla="*/ 638062 h 1087484"/>
                <a:gd name="connsiteX105" fmla="*/ 665515 w 3024845"/>
                <a:gd name="connsiteY105" fmla="*/ 638062 h 1087484"/>
                <a:gd name="connsiteX106" fmla="*/ 670835 w 3024845"/>
                <a:gd name="connsiteY106" fmla="*/ 638062 h 1087484"/>
                <a:gd name="connsiteX107" fmla="*/ 670835 w 3024845"/>
                <a:gd name="connsiteY107" fmla="*/ 532135 h 1087484"/>
                <a:gd name="connsiteX108" fmla="*/ 672355 w 3024845"/>
                <a:gd name="connsiteY108" fmla="*/ 532135 h 1087484"/>
                <a:gd name="connsiteX109" fmla="*/ 682995 w 3024845"/>
                <a:gd name="connsiteY109" fmla="*/ 532135 h 1087484"/>
                <a:gd name="connsiteX110" fmla="*/ 682995 w 3024845"/>
                <a:gd name="connsiteY110" fmla="*/ 484576 h 1087484"/>
                <a:gd name="connsiteX111" fmla="*/ 709342 w 3024845"/>
                <a:gd name="connsiteY111" fmla="*/ 484576 h 1087484"/>
                <a:gd name="connsiteX112" fmla="*/ 709342 w 3024845"/>
                <a:gd name="connsiteY112" fmla="*/ 462958 h 1087484"/>
                <a:gd name="connsiteX113" fmla="*/ 743796 w 3024845"/>
                <a:gd name="connsiteY113" fmla="*/ 462958 h 1087484"/>
                <a:gd name="connsiteX114" fmla="*/ 743796 w 3024845"/>
                <a:gd name="connsiteY114" fmla="*/ 465390 h 1087484"/>
                <a:gd name="connsiteX115" fmla="*/ 743796 w 3024845"/>
                <a:gd name="connsiteY115" fmla="*/ 482414 h 1087484"/>
                <a:gd name="connsiteX116" fmla="*/ 746076 w 3024845"/>
                <a:gd name="connsiteY116" fmla="*/ 482414 h 1087484"/>
                <a:gd name="connsiteX117" fmla="*/ 762036 w 3024845"/>
                <a:gd name="connsiteY117" fmla="*/ 482414 h 1087484"/>
                <a:gd name="connsiteX118" fmla="*/ 762036 w 3024845"/>
                <a:gd name="connsiteY118" fmla="*/ 529973 h 1087484"/>
                <a:gd name="connsiteX119" fmla="*/ 763049 w 3024845"/>
                <a:gd name="connsiteY119" fmla="*/ 529973 h 1087484"/>
                <a:gd name="connsiteX120" fmla="*/ 770143 w 3024845"/>
                <a:gd name="connsiteY120" fmla="*/ 529973 h 1087484"/>
                <a:gd name="connsiteX121" fmla="*/ 784330 w 3024845"/>
                <a:gd name="connsiteY121" fmla="*/ 534297 h 1087484"/>
                <a:gd name="connsiteX122" fmla="*/ 784330 w 3024845"/>
                <a:gd name="connsiteY122" fmla="*/ 573209 h 1087484"/>
                <a:gd name="connsiteX123" fmla="*/ 785343 w 3024845"/>
                <a:gd name="connsiteY123" fmla="*/ 573209 h 1087484"/>
                <a:gd name="connsiteX124" fmla="*/ 792436 w 3024845"/>
                <a:gd name="connsiteY124" fmla="*/ 573209 h 1087484"/>
                <a:gd name="connsiteX125" fmla="*/ 792436 w 3024845"/>
                <a:gd name="connsiteY125" fmla="*/ 574830 h 1087484"/>
                <a:gd name="connsiteX126" fmla="*/ 792436 w 3024845"/>
                <a:gd name="connsiteY126" fmla="*/ 586179 h 1087484"/>
                <a:gd name="connsiteX127" fmla="*/ 794463 w 3024845"/>
                <a:gd name="connsiteY127" fmla="*/ 586179 h 1087484"/>
                <a:gd name="connsiteX128" fmla="*/ 808650 w 3024845"/>
                <a:gd name="connsiteY128" fmla="*/ 586179 h 1087484"/>
                <a:gd name="connsiteX129" fmla="*/ 814730 w 3024845"/>
                <a:gd name="connsiteY129" fmla="*/ 592665 h 1087484"/>
                <a:gd name="connsiteX130" fmla="*/ 814730 w 3024845"/>
                <a:gd name="connsiteY130" fmla="*/ 614283 h 1087484"/>
                <a:gd name="connsiteX131" fmla="*/ 817010 w 3024845"/>
                <a:gd name="connsiteY131" fmla="*/ 614283 h 1087484"/>
                <a:gd name="connsiteX132" fmla="*/ 832970 w 3024845"/>
                <a:gd name="connsiteY132" fmla="*/ 614283 h 1087484"/>
                <a:gd name="connsiteX133" fmla="*/ 832970 w 3024845"/>
                <a:gd name="connsiteY133" fmla="*/ 615363 h 1087484"/>
                <a:gd name="connsiteX134" fmla="*/ 832970 w 3024845"/>
                <a:gd name="connsiteY134" fmla="*/ 622930 h 1087484"/>
                <a:gd name="connsiteX135" fmla="*/ 834237 w 3024845"/>
                <a:gd name="connsiteY135" fmla="*/ 622930 h 1087484"/>
                <a:gd name="connsiteX136" fmla="*/ 843104 w 3024845"/>
                <a:gd name="connsiteY136" fmla="*/ 622930 h 1087484"/>
                <a:gd name="connsiteX137" fmla="*/ 843104 w 3024845"/>
                <a:gd name="connsiteY137" fmla="*/ 625091 h 1087484"/>
                <a:gd name="connsiteX138" fmla="*/ 843104 w 3024845"/>
                <a:gd name="connsiteY138" fmla="*/ 640224 h 1087484"/>
                <a:gd name="connsiteX139" fmla="*/ 847157 w 3024845"/>
                <a:gd name="connsiteY139" fmla="*/ 638332 h 1087484"/>
                <a:gd name="connsiteX140" fmla="*/ 847157 w 3024845"/>
                <a:gd name="connsiteY140" fmla="*/ 625091 h 1087484"/>
                <a:gd name="connsiteX141" fmla="*/ 848170 w 3024845"/>
                <a:gd name="connsiteY141" fmla="*/ 625091 h 1087484"/>
                <a:gd name="connsiteX142" fmla="*/ 855264 w 3024845"/>
                <a:gd name="connsiteY142" fmla="*/ 625091 h 1087484"/>
                <a:gd name="connsiteX143" fmla="*/ 855264 w 3024845"/>
                <a:gd name="connsiteY143" fmla="*/ 626713 h 1087484"/>
                <a:gd name="connsiteX144" fmla="*/ 855264 w 3024845"/>
                <a:gd name="connsiteY144" fmla="*/ 638062 h 1087484"/>
                <a:gd name="connsiteX145" fmla="*/ 856024 w 3024845"/>
                <a:gd name="connsiteY145" fmla="*/ 638062 h 1087484"/>
                <a:gd name="connsiteX146" fmla="*/ 861344 w 3024845"/>
                <a:gd name="connsiteY146" fmla="*/ 638062 h 1087484"/>
                <a:gd name="connsiteX147" fmla="*/ 909984 w 3024845"/>
                <a:gd name="connsiteY147" fmla="*/ 633739 h 1087484"/>
                <a:gd name="connsiteX148" fmla="*/ 909984 w 3024845"/>
                <a:gd name="connsiteY148" fmla="*/ 635090 h 1087484"/>
                <a:gd name="connsiteX149" fmla="*/ 909984 w 3024845"/>
                <a:gd name="connsiteY149" fmla="*/ 644547 h 1087484"/>
                <a:gd name="connsiteX150" fmla="*/ 910744 w 3024845"/>
                <a:gd name="connsiteY150" fmla="*/ 644547 h 1087484"/>
                <a:gd name="connsiteX151" fmla="*/ 916065 w 3024845"/>
                <a:gd name="connsiteY151" fmla="*/ 644547 h 1087484"/>
                <a:gd name="connsiteX152" fmla="*/ 916065 w 3024845"/>
                <a:gd name="connsiteY152" fmla="*/ 646709 h 1087484"/>
                <a:gd name="connsiteX153" fmla="*/ 916065 w 3024845"/>
                <a:gd name="connsiteY153" fmla="*/ 661842 h 1087484"/>
                <a:gd name="connsiteX154" fmla="*/ 918091 w 3024845"/>
                <a:gd name="connsiteY154" fmla="*/ 660491 h 1087484"/>
                <a:gd name="connsiteX155" fmla="*/ 932278 w 3024845"/>
                <a:gd name="connsiteY155" fmla="*/ 651033 h 1087484"/>
                <a:gd name="connsiteX156" fmla="*/ 938358 w 3024845"/>
                <a:gd name="connsiteY156" fmla="*/ 609959 h 1087484"/>
                <a:gd name="connsiteX157" fmla="*/ 939118 w 3024845"/>
                <a:gd name="connsiteY157" fmla="*/ 609689 h 1087484"/>
                <a:gd name="connsiteX158" fmla="*/ 944438 w 3024845"/>
                <a:gd name="connsiteY158" fmla="*/ 607797 h 1087484"/>
                <a:gd name="connsiteX159" fmla="*/ 946465 w 3024845"/>
                <a:gd name="connsiteY159" fmla="*/ 538620 h 1087484"/>
                <a:gd name="connsiteX160" fmla="*/ 948492 w 3024845"/>
                <a:gd name="connsiteY160" fmla="*/ 607797 h 1087484"/>
                <a:gd name="connsiteX161" fmla="*/ 949252 w 3024845"/>
                <a:gd name="connsiteY161" fmla="*/ 608067 h 1087484"/>
                <a:gd name="connsiteX162" fmla="*/ 954572 w 3024845"/>
                <a:gd name="connsiteY162" fmla="*/ 609959 h 1087484"/>
                <a:gd name="connsiteX163" fmla="*/ 954572 w 3024845"/>
                <a:gd name="connsiteY163" fmla="*/ 523488 h 1087484"/>
                <a:gd name="connsiteX164" fmla="*/ 958625 w 3024845"/>
                <a:gd name="connsiteY164" fmla="*/ 491061 h 1087484"/>
                <a:gd name="connsiteX165" fmla="*/ 997132 w 3024845"/>
                <a:gd name="connsiteY165" fmla="*/ 491061 h 1087484"/>
                <a:gd name="connsiteX166" fmla="*/ 997132 w 3024845"/>
                <a:gd name="connsiteY166" fmla="*/ 523488 h 1087484"/>
                <a:gd name="connsiteX167" fmla="*/ 997892 w 3024845"/>
                <a:gd name="connsiteY167" fmla="*/ 523488 h 1087484"/>
                <a:gd name="connsiteX168" fmla="*/ 1003212 w 3024845"/>
                <a:gd name="connsiteY168" fmla="*/ 523488 h 1087484"/>
                <a:gd name="connsiteX169" fmla="*/ 1003212 w 3024845"/>
                <a:gd name="connsiteY169" fmla="*/ 441340 h 1087484"/>
                <a:gd name="connsiteX170" fmla="*/ 1004986 w 3024845"/>
                <a:gd name="connsiteY170" fmla="*/ 441340 h 1087484"/>
                <a:gd name="connsiteX171" fmla="*/ 1017399 w 3024845"/>
                <a:gd name="connsiteY171" fmla="*/ 441340 h 1087484"/>
                <a:gd name="connsiteX172" fmla="*/ 1017399 w 3024845"/>
                <a:gd name="connsiteY172" fmla="*/ 439449 h 1087484"/>
                <a:gd name="connsiteX173" fmla="*/ 1017399 w 3024845"/>
                <a:gd name="connsiteY173" fmla="*/ 426208 h 1087484"/>
                <a:gd name="connsiteX174" fmla="*/ 1039693 w 3024845"/>
                <a:gd name="connsiteY174" fmla="*/ 426208 h 1087484"/>
                <a:gd name="connsiteX175" fmla="*/ 1039693 w 3024845"/>
                <a:gd name="connsiteY175" fmla="*/ 425127 h 1087484"/>
                <a:gd name="connsiteX176" fmla="*/ 1039693 w 3024845"/>
                <a:gd name="connsiteY176" fmla="*/ 417561 h 1087484"/>
                <a:gd name="connsiteX177" fmla="*/ 1041466 w 3024845"/>
                <a:gd name="connsiteY177" fmla="*/ 417561 h 1087484"/>
                <a:gd name="connsiteX178" fmla="*/ 1053880 w 3024845"/>
                <a:gd name="connsiteY178" fmla="*/ 417561 h 1087484"/>
                <a:gd name="connsiteX179" fmla="*/ 1053880 w 3024845"/>
                <a:gd name="connsiteY179" fmla="*/ 418642 h 1087484"/>
                <a:gd name="connsiteX180" fmla="*/ 1053880 w 3024845"/>
                <a:gd name="connsiteY180" fmla="*/ 426208 h 1087484"/>
                <a:gd name="connsiteX181" fmla="*/ 1054640 w 3024845"/>
                <a:gd name="connsiteY181" fmla="*/ 426208 h 1087484"/>
                <a:gd name="connsiteX182" fmla="*/ 1059960 w 3024845"/>
                <a:gd name="connsiteY182" fmla="*/ 426208 h 1087484"/>
                <a:gd name="connsiteX183" fmla="*/ 1070093 w 3024845"/>
                <a:gd name="connsiteY183" fmla="*/ 421884 h 1087484"/>
                <a:gd name="connsiteX184" fmla="*/ 1074146 w 3024845"/>
                <a:gd name="connsiteY184" fmla="*/ 425127 h 1087484"/>
                <a:gd name="connsiteX185" fmla="*/ 1074146 w 3024845"/>
                <a:gd name="connsiteY185" fmla="*/ 417561 h 1087484"/>
                <a:gd name="connsiteX186" fmla="*/ 1076426 w 3024845"/>
                <a:gd name="connsiteY186" fmla="*/ 417561 h 1087484"/>
                <a:gd name="connsiteX187" fmla="*/ 1092387 w 3024845"/>
                <a:gd name="connsiteY187" fmla="*/ 417561 h 1087484"/>
                <a:gd name="connsiteX188" fmla="*/ 1092387 w 3024845"/>
                <a:gd name="connsiteY188" fmla="*/ 418642 h 1087484"/>
                <a:gd name="connsiteX189" fmla="*/ 1092387 w 3024845"/>
                <a:gd name="connsiteY189" fmla="*/ 426208 h 1087484"/>
                <a:gd name="connsiteX190" fmla="*/ 1122787 w 3024845"/>
                <a:gd name="connsiteY190" fmla="*/ 426208 h 1087484"/>
                <a:gd name="connsiteX191" fmla="*/ 1122787 w 3024845"/>
                <a:gd name="connsiteY191" fmla="*/ 427829 h 1087484"/>
                <a:gd name="connsiteX192" fmla="*/ 1122787 w 3024845"/>
                <a:gd name="connsiteY192" fmla="*/ 439179 h 1087484"/>
                <a:gd name="connsiteX193" fmla="*/ 1149134 w 3024845"/>
                <a:gd name="connsiteY193" fmla="*/ 439179 h 1087484"/>
                <a:gd name="connsiteX194" fmla="*/ 1149134 w 3024845"/>
                <a:gd name="connsiteY194" fmla="*/ 469443 h 1087484"/>
                <a:gd name="connsiteX195" fmla="*/ 1149894 w 3024845"/>
                <a:gd name="connsiteY195" fmla="*/ 469443 h 1087484"/>
                <a:gd name="connsiteX196" fmla="*/ 1155214 w 3024845"/>
                <a:gd name="connsiteY196" fmla="*/ 469443 h 1087484"/>
                <a:gd name="connsiteX197" fmla="*/ 1155214 w 3024845"/>
                <a:gd name="connsiteY197" fmla="*/ 470524 h 1087484"/>
                <a:gd name="connsiteX198" fmla="*/ 1155214 w 3024845"/>
                <a:gd name="connsiteY198" fmla="*/ 478091 h 1087484"/>
                <a:gd name="connsiteX199" fmla="*/ 1159268 w 3024845"/>
                <a:gd name="connsiteY199" fmla="*/ 508355 h 1087484"/>
                <a:gd name="connsiteX200" fmla="*/ 1160028 w 3024845"/>
                <a:gd name="connsiteY200" fmla="*/ 508355 h 1087484"/>
                <a:gd name="connsiteX201" fmla="*/ 1165348 w 3024845"/>
                <a:gd name="connsiteY201" fmla="*/ 508355 h 1087484"/>
                <a:gd name="connsiteX202" fmla="*/ 1165348 w 3024845"/>
                <a:gd name="connsiteY202" fmla="*/ 509166 h 1087484"/>
                <a:gd name="connsiteX203" fmla="*/ 1165348 w 3024845"/>
                <a:gd name="connsiteY203" fmla="*/ 514841 h 1087484"/>
                <a:gd name="connsiteX204" fmla="*/ 1166361 w 3024845"/>
                <a:gd name="connsiteY204" fmla="*/ 514841 h 1087484"/>
                <a:gd name="connsiteX205" fmla="*/ 1173454 w 3024845"/>
                <a:gd name="connsiteY205" fmla="*/ 514841 h 1087484"/>
                <a:gd name="connsiteX206" fmla="*/ 1173454 w 3024845"/>
                <a:gd name="connsiteY206" fmla="*/ 545106 h 1087484"/>
                <a:gd name="connsiteX207" fmla="*/ 1175481 w 3024845"/>
                <a:gd name="connsiteY207" fmla="*/ 545106 h 1087484"/>
                <a:gd name="connsiteX208" fmla="*/ 1189668 w 3024845"/>
                <a:gd name="connsiteY208" fmla="*/ 545106 h 1087484"/>
                <a:gd name="connsiteX209" fmla="*/ 1189668 w 3024845"/>
                <a:gd name="connsiteY209" fmla="*/ 568885 h 1087484"/>
                <a:gd name="connsiteX210" fmla="*/ 1191695 w 3024845"/>
                <a:gd name="connsiteY210" fmla="*/ 570506 h 1087484"/>
                <a:gd name="connsiteX211" fmla="*/ 1191695 w 3024845"/>
                <a:gd name="connsiteY211" fmla="*/ 581856 h 1087484"/>
                <a:gd name="connsiteX212" fmla="*/ 1192455 w 3024845"/>
                <a:gd name="connsiteY212" fmla="*/ 581856 h 1087484"/>
                <a:gd name="connsiteX213" fmla="*/ 1197775 w 3024845"/>
                <a:gd name="connsiteY213" fmla="*/ 581856 h 1087484"/>
                <a:gd name="connsiteX214" fmla="*/ 1197775 w 3024845"/>
                <a:gd name="connsiteY214" fmla="*/ 605635 h 1087484"/>
                <a:gd name="connsiteX215" fmla="*/ 1199041 w 3024845"/>
                <a:gd name="connsiteY215" fmla="*/ 605635 h 1087484"/>
                <a:gd name="connsiteX216" fmla="*/ 1207908 w 3024845"/>
                <a:gd name="connsiteY216" fmla="*/ 605635 h 1087484"/>
                <a:gd name="connsiteX217" fmla="*/ 1209935 w 3024845"/>
                <a:gd name="connsiteY217" fmla="*/ 609689 h 1087484"/>
                <a:gd name="connsiteX218" fmla="*/ 1209935 w 3024845"/>
                <a:gd name="connsiteY218" fmla="*/ 622930 h 1087484"/>
                <a:gd name="connsiteX219" fmla="*/ 1211455 w 3024845"/>
                <a:gd name="connsiteY219" fmla="*/ 621038 h 1087484"/>
                <a:gd name="connsiteX220" fmla="*/ 1222095 w 3024845"/>
                <a:gd name="connsiteY220" fmla="*/ 607797 h 1087484"/>
                <a:gd name="connsiteX221" fmla="*/ 1250469 w 3024845"/>
                <a:gd name="connsiteY221" fmla="*/ 607797 h 1087484"/>
                <a:gd name="connsiteX222" fmla="*/ 1250469 w 3024845"/>
                <a:gd name="connsiteY222" fmla="*/ 694268 h 1087484"/>
                <a:gd name="connsiteX223" fmla="*/ 1251229 w 3024845"/>
                <a:gd name="connsiteY223" fmla="*/ 694268 h 1087484"/>
                <a:gd name="connsiteX224" fmla="*/ 1256549 w 3024845"/>
                <a:gd name="connsiteY224" fmla="*/ 694268 h 1087484"/>
                <a:gd name="connsiteX225" fmla="*/ 1257309 w 3024845"/>
                <a:gd name="connsiteY225" fmla="*/ 692917 h 1087484"/>
                <a:gd name="connsiteX226" fmla="*/ 1262629 w 3024845"/>
                <a:gd name="connsiteY226" fmla="*/ 683459 h 1087484"/>
                <a:gd name="connsiteX227" fmla="*/ 1262629 w 3024845"/>
                <a:gd name="connsiteY227" fmla="*/ 685351 h 1087484"/>
                <a:gd name="connsiteX228" fmla="*/ 1262629 w 3024845"/>
                <a:gd name="connsiteY228" fmla="*/ 698592 h 1087484"/>
                <a:gd name="connsiteX229" fmla="*/ 1266682 w 3024845"/>
                <a:gd name="connsiteY229" fmla="*/ 653195 h 1087484"/>
                <a:gd name="connsiteX230" fmla="*/ 1267442 w 3024845"/>
                <a:gd name="connsiteY230" fmla="*/ 653195 h 1087484"/>
                <a:gd name="connsiteX231" fmla="*/ 1272762 w 3024845"/>
                <a:gd name="connsiteY231" fmla="*/ 653195 h 1087484"/>
                <a:gd name="connsiteX232" fmla="*/ 1272762 w 3024845"/>
                <a:gd name="connsiteY232" fmla="*/ 588341 h 1087484"/>
                <a:gd name="connsiteX233" fmla="*/ 1273776 w 3024845"/>
                <a:gd name="connsiteY233" fmla="*/ 588341 h 1087484"/>
                <a:gd name="connsiteX234" fmla="*/ 1280869 w 3024845"/>
                <a:gd name="connsiteY234" fmla="*/ 588341 h 1087484"/>
                <a:gd name="connsiteX235" fmla="*/ 1293029 w 3024845"/>
                <a:gd name="connsiteY235" fmla="*/ 545106 h 1087484"/>
                <a:gd name="connsiteX236" fmla="*/ 1294296 w 3024845"/>
                <a:gd name="connsiteY236" fmla="*/ 545106 h 1087484"/>
                <a:gd name="connsiteX237" fmla="*/ 1303163 w 3024845"/>
                <a:gd name="connsiteY237" fmla="*/ 545106 h 1087484"/>
                <a:gd name="connsiteX238" fmla="*/ 1313296 w 3024845"/>
                <a:gd name="connsiteY238" fmla="*/ 588341 h 1087484"/>
                <a:gd name="connsiteX239" fmla="*/ 1314309 w 3024845"/>
                <a:gd name="connsiteY239" fmla="*/ 588341 h 1087484"/>
                <a:gd name="connsiteX240" fmla="*/ 1321403 w 3024845"/>
                <a:gd name="connsiteY240" fmla="*/ 588341 h 1087484"/>
                <a:gd name="connsiteX241" fmla="*/ 1321403 w 3024845"/>
                <a:gd name="connsiteY241" fmla="*/ 627253 h 1087484"/>
                <a:gd name="connsiteX242" fmla="*/ 1323176 w 3024845"/>
                <a:gd name="connsiteY242" fmla="*/ 627253 h 1087484"/>
                <a:gd name="connsiteX243" fmla="*/ 1335590 w 3024845"/>
                <a:gd name="connsiteY243" fmla="*/ 627253 h 1087484"/>
                <a:gd name="connsiteX244" fmla="*/ 1335590 w 3024845"/>
                <a:gd name="connsiteY244" fmla="*/ 629415 h 1087484"/>
                <a:gd name="connsiteX245" fmla="*/ 1335590 w 3024845"/>
                <a:gd name="connsiteY245" fmla="*/ 644547 h 1087484"/>
                <a:gd name="connsiteX246" fmla="*/ 1339643 w 3024845"/>
                <a:gd name="connsiteY246" fmla="*/ 642386 h 1087484"/>
                <a:gd name="connsiteX247" fmla="*/ 1339643 w 3024845"/>
                <a:gd name="connsiteY247" fmla="*/ 627253 h 1087484"/>
                <a:gd name="connsiteX248" fmla="*/ 1341163 w 3024845"/>
                <a:gd name="connsiteY248" fmla="*/ 627253 h 1087484"/>
                <a:gd name="connsiteX249" fmla="*/ 1351803 w 3024845"/>
                <a:gd name="connsiteY249" fmla="*/ 627253 h 1087484"/>
                <a:gd name="connsiteX250" fmla="*/ 1351803 w 3024845"/>
                <a:gd name="connsiteY250" fmla="*/ 628874 h 1087484"/>
                <a:gd name="connsiteX251" fmla="*/ 1351803 w 3024845"/>
                <a:gd name="connsiteY251" fmla="*/ 640224 h 1087484"/>
                <a:gd name="connsiteX252" fmla="*/ 1382204 w 3024845"/>
                <a:gd name="connsiteY252" fmla="*/ 640224 h 1087484"/>
                <a:gd name="connsiteX253" fmla="*/ 1382204 w 3024845"/>
                <a:gd name="connsiteY253" fmla="*/ 603474 h 1087484"/>
                <a:gd name="connsiteX254" fmla="*/ 1383470 w 3024845"/>
                <a:gd name="connsiteY254" fmla="*/ 603474 h 1087484"/>
                <a:gd name="connsiteX255" fmla="*/ 1392337 w 3024845"/>
                <a:gd name="connsiteY255" fmla="*/ 603474 h 1087484"/>
                <a:gd name="connsiteX256" fmla="*/ 1392337 w 3024845"/>
                <a:gd name="connsiteY256" fmla="*/ 625091 h 1087484"/>
                <a:gd name="connsiteX257" fmla="*/ 1394364 w 3024845"/>
                <a:gd name="connsiteY257" fmla="*/ 592665 h 1087484"/>
                <a:gd name="connsiteX258" fmla="*/ 1416657 w 3024845"/>
                <a:gd name="connsiteY258" fmla="*/ 592665 h 1087484"/>
                <a:gd name="connsiteX259" fmla="*/ 1416657 w 3024845"/>
                <a:gd name="connsiteY259" fmla="*/ 591043 h 1087484"/>
                <a:gd name="connsiteX260" fmla="*/ 1416657 w 3024845"/>
                <a:gd name="connsiteY260" fmla="*/ 579694 h 1087484"/>
                <a:gd name="connsiteX261" fmla="*/ 1417417 w 3024845"/>
                <a:gd name="connsiteY261" fmla="*/ 579694 h 1087484"/>
                <a:gd name="connsiteX262" fmla="*/ 1422737 w 3024845"/>
                <a:gd name="connsiteY262" fmla="*/ 579694 h 1087484"/>
                <a:gd name="connsiteX263" fmla="*/ 1422737 w 3024845"/>
                <a:gd name="connsiteY263" fmla="*/ 577803 h 1087484"/>
                <a:gd name="connsiteX264" fmla="*/ 1422737 w 3024845"/>
                <a:gd name="connsiteY264" fmla="*/ 564562 h 1087484"/>
                <a:gd name="connsiteX265" fmla="*/ 1426791 w 3024845"/>
                <a:gd name="connsiteY265" fmla="*/ 571047 h 1087484"/>
                <a:gd name="connsiteX266" fmla="*/ 1429071 w 3024845"/>
                <a:gd name="connsiteY266" fmla="*/ 571047 h 1087484"/>
                <a:gd name="connsiteX267" fmla="*/ 1445031 w 3024845"/>
                <a:gd name="connsiteY267" fmla="*/ 571047 h 1087484"/>
                <a:gd name="connsiteX268" fmla="*/ 1445031 w 3024845"/>
                <a:gd name="connsiteY268" fmla="*/ 570236 h 1087484"/>
                <a:gd name="connsiteX269" fmla="*/ 1445031 w 3024845"/>
                <a:gd name="connsiteY269" fmla="*/ 564562 h 1087484"/>
                <a:gd name="connsiteX270" fmla="*/ 1445791 w 3024845"/>
                <a:gd name="connsiteY270" fmla="*/ 564562 h 1087484"/>
                <a:gd name="connsiteX271" fmla="*/ 1451111 w 3024845"/>
                <a:gd name="connsiteY271" fmla="*/ 564562 h 1087484"/>
                <a:gd name="connsiteX272" fmla="*/ 1451111 w 3024845"/>
                <a:gd name="connsiteY272" fmla="*/ 565913 h 1087484"/>
                <a:gd name="connsiteX273" fmla="*/ 1451111 w 3024845"/>
                <a:gd name="connsiteY273" fmla="*/ 575371 h 1087484"/>
                <a:gd name="connsiteX274" fmla="*/ 1489618 w 3024845"/>
                <a:gd name="connsiteY274" fmla="*/ 575371 h 1087484"/>
                <a:gd name="connsiteX275" fmla="*/ 1489618 w 3024845"/>
                <a:gd name="connsiteY275" fmla="*/ 713724 h 1087484"/>
                <a:gd name="connsiteX276" fmla="*/ 1491138 w 3024845"/>
                <a:gd name="connsiteY276" fmla="*/ 713724 h 1087484"/>
                <a:gd name="connsiteX277" fmla="*/ 1501778 w 3024845"/>
                <a:gd name="connsiteY277" fmla="*/ 713724 h 1087484"/>
                <a:gd name="connsiteX278" fmla="*/ 1501778 w 3024845"/>
                <a:gd name="connsiteY278" fmla="*/ 700754 h 1087484"/>
                <a:gd name="connsiteX279" fmla="*/ 1505832 w 3024845"/>
                <a:gd name="connsiteY279" fmla="*/ 700754 h 1087484"/>
                <a:gd name="connsiteX280" fmla="*/ 1505832 w 3024845"/>
                <a:gd name="connsiteY280" fmla="*/ 713724 h 1087484"/>
                <a:gd name="connsiteX281" fmla="*/ 1536232 w 3024845"/>
                <a:gd name="connsiteY281" fmla="*/ 713724 h 1087484"/>
                <a:gd name="connsiteX282" fmla="*/ 1536232 w 3024845"/>
                <a:gd name="connsiteY282" fmla="*/ 683459 h 1087484"/>
                <a:gd name="connsiteX283" fmla="*/ 1548392 w 3024845"/>
                <a:gd name="connsiteY283" fmla="*/ 683459 h 1087484"/>
                <a:gd name="connsiteX284" fmla="*/ 1560552 w 3024845"/>
                <a:gd name="connsiteY284" fmla="*/ 681298 h 1087484"/>
                <a:gd name="connsiteX285" fmla="*/ 1564606 w 3024845"/>
                <a:gd name="connsiteY285" fmla="*/ 683459 h 1087484"/>
                <a:gd name="connsiteX286" fmla="*/ 1574739 w 3024845"/>
                <a:gd name="connsiteY286" fmla="*/ 683459 h 1087484"/>
                <a:gd name="connsiteX287" fmla="*/ 1574739 w 3024845"/>
                <a:gd name="connsiteY287" fmla="*/ 713724 h 1087484"/>
                <a:gd name="connsiteX288" fmla="*/ 1582846 w 3024845"/>
                <a:gd name="connsiteY288" fmla="*/ 713724 h 1087484"/>
                <a:gd name="connsiteX289" fmla="*/ 1582846 w 3024845"/>
                <a:gd name="connsiteY289" fmla="*/ 731019 h 1087484"/>
                <a:gd name="connsiteX290" fmla="*/ 1592182 w 3024845"/>
                <a:gd name="connsiteY290" fmla="*/ 731924 h 1087484"/>
                <a:gd name="connsiteX291" fmla="*/ 1605140 w 3024845"/>
                <a:gd name="connsiteY291" fmla="*/ 731924 h 1087484"/>
                <a:gd name="connsiteX292" fmla="*/ 1605140 w 3024845"/>
                <a:gd name="connsiteY292" fmla="*/ 715886 h 1087484"/>
                <a:gd name="connsiteX293" fmla="*/ 1673096 w 3024845"/>
                <a:gd name="connsiteY293" fmla="*/ 715886 h 1087484"/>
                <a:gd name="connsiteX294" fmla="*/ 1673096 w 3024845"/>
                <a:gd name="connsiteY294" fmla="*/ 630633 h 1087484"/>
                <a:gd name="connsiteX295" fmla="*/ 1745104 w 3024845"/>
                <a:gd name="connsiteY295" fmla="*/ 630633 h 1087484"/>
                <a:gd name="connsiteX296" fmla="*/ 1745104 w 3024845"/>
                <a:gd name="connsiteY296" fmla="*/ 709401 h 1087484"/>
                <a:gd name="connsiteX297" fmla="*/ 1747008 w 3024845"/>
                <a:gd name="connsiteY297" fmla="*/ 709401 h 1087484"/>
                <a:gd name="connsiteX298" fmla="*/ 1748250 w 3024845"/>
                <a:gd name="connsiteY298" fmla="*/ 731924 h 1087484"/>
                <a:gd name="connsiteX299" fmla="*/ 1757926 w 3024845"/>
                <a:gd name="connsiteY299" fmla="*/ 731924 h 1087484"/>
                <a:gd name="connsiteX300" fmla="*/ 1759168 w 3024845"/>
                <a:gd name="connsiteY300" fmla="*/ 709401 h 1087484"/>
                <a:gd name="connsiteX301" fmla="*/ 1765248 w 3024845"/>
                <a:gd name="connsiteY301" fmla="*/ 709401 h 1087484"/>
                <a:gd name="connsiteX302" fmla="*/ 1766490 w 3024845"/>
                <a:gd name="connsiteY302" fmla="*/ 731924 h 1087484"/>
                <a:gd name="connsiteX303" fmla="*/ 1817112 w 3024845"/>
                <a:gd name="connsiteY303" fmla="*/ 731924 h 1087484"/>
                <a:gd name="connsiteX304" fmla="*/ 1817112 w 3024845"/>
                <a:gd name="connsiteY304" fmla="*/ 568896 h 1087484"/>
                <a:gd name="connsiteX305" fmla="*/ 2014439 w 3024845"/>
                <a:gd name="connsiteY305" fmla="*/ 568896 h 1087484"/>
                <a:gd name="connsiteX306" fmla="*/ 2014439 w 3024845"/>
                <a:gd name="connsiteY306" fmla="*/ 731924 h 1087484"/>
                <a:gd name="connsiteX307" fmla="*/ 2033136 w 3024845"/>
                <a:gd name="connsiteY307" fmla="*/ 731924 h 1087484"/>
                <a:gd name="connsiteX308" fmla="*/ 2033136 w 3024845"/>
                <a:gd name="connsiteY308" fmla="*/ 649231 h 1087484"/>
                <a:gd name="connsiteX309" fmla="*/ 2128256 w 3024845"/>
                <a:gd name="connsiteY309" fmla="*/ 649231 h 1087484"/>
                <a:gd name="connsiteX310" fmla="*/ 2146266 w 3024845"/>
                <a:gd name="connsiteY310" fmla="*/ 160309 h 1087484"/>
                <a:gd name="connsiteX311" fmla="*/ 2150320 w 3024845"/>
                <a:gd name="connsiteY311" fmla="*/ 88970 h 1087484"/>
                <a:gd name="connsiteX312" fmla="*/ 2152346 w 3024845"/>
                <a:gd name="connsiteY312" fmla="*/ 28441 h 1087484"/>
                <a:gd name="connsiteX313" fmla="*/ 2180720 w 3024845"/>
                <a:gd name="connsiteY313" fmla="*/ 584018 h 1087484"/>
                <a:gd name="connsiteX314" fmla="*/ 2245574 w 3024845"/>
                <a:gd name="connsiteY314" fmla="*/ 584018 h 1087484"/>
                <a:gd name="connsiteX315" fmla="*/ 2245574 w 3024845"/>
                <a:gd name="connsiteY315" fmla="*/ 659680 h 1087484"/>
                <a:gd name="connsiteX316" fmla="*/ 2253681 w 3024845"/>
                <a:gd name="connsiteY316" fmla="*/ 659680 h 1087484"/>
                <a:gd name="connsiteX317" fmla="*/ 2255708 w 3024845"/>
                <a:gd name="connsiteY317" fmla="*/ 653195 h 1087484"/>
                <a:gd name="connsiteX318" fmla="*/ 2261788 w 3024845"/>
                <a:gd name="connsiteY318" fmla="*/ 653195 h 1087484"/>
                <a:gd name="connsiteX319" fmla="*/ 2263815 w 3024845"/>
                <a:gd name="connsiteY319" fmla="*/ 661842 h 1087484"/>
                <a:gd name="connsiteX320" fmla="*/ 2275975 w 3024845"/>
                <a:gd name="connsiteY320" fmla="*/ 661842 h 1087484"/>
                <a:gd name="connsiteX321" fmla="*/ 2275975 w 3024845"/>
                <a:gd name="connsiteY321" fmla="*/ 655356 h 1087484"/>
                <a:gd name="connsiteX322" fmla="*/ 2298268 w 3024845"/>
                <a:gd name="connsiteY322" fmla="*/ 655356 h 1087484"/>
                <a:gd name="connsiteX323" fmla="*/ 2298268 w 3024845"/>
                <a:gd name="connsiteY323" fmla="*/ 661842 h 1087484"/>
                <a:gd name="connsiteX324" fmla="*/ 2318535 w 3024845"/>
                <a:gd name="connsiteY324" fmla="*/ 661842 h 1087484"/>
                <a:gd name="connsiteX325" fmla="*/ 2318535 w 3024845"/>
                <a:gd name="connsiteY325" fmla="*/ 707239 h 1087484"/>
                <a:gd name="connsiteX326" fmla="*/ 2332722 w 3024845"/>
                <a:gd name="connsiteY326" fmla="*/ 707239 h 1087484"/>
                <a:gd name="connsiteX327" fmla="*/ 2332722 w 3024845"/>
                <a:gd name="connsiteY327" fmla="*/ 694268 h 1087484"/>
                <a:gd name="connsiteX328" fmla="*/ 2348936 w 3024845"/>
                <a:gd name="connsiteY328" fmla="*/ 694268 h 1087484"/>
                <a:gd name="connsiteX329" fmla="*/ 2348936 w 3024845"/>
                <a:gd name="connsiteY329" fmla="*/ 514841 h 1087484"/>
                <a:gd name="connsiteX330" fmla="*/ 2355016 w 3024845"/>
                <a:gd name="connsiteY330" fmla="*/ 508355 h 1087484"/>
                <a:gd name="connsiteX331" fmla="*/ 2427977 w 3024845"/>
                <a:gd name="connsiteY331" fmla="*/ 508355 h 1087484"/>
                <a:gd name="connsiteX332" fmla="*/ 2427977 w 3024845"/>
                <a:gd name="connsiteY332" fmla="*/ 517003 h 1087484"/>
                <a:gd name="connsiteX333" fmla="*/ 2438110 w 3024845"/>
                <a:gd name="connsiteY333" fmla="*/ 517003 h 1087484"/>
                <a:gd name="connsiteX334" fmla="*/ 2438110 w 3024845"/>
                <a:gd name="connsiteY334" fmla="*/ 631577 h 1087484"/>
                <a:gd name="connsiteX335" fmla="*/ 2460404 w 3024845"/>
                <a:gd name="connsiteY335" fmla="*/ 631577 h 1087484"/>
                <a:gd name="connsiteX336" fmla="*/ 2460404 w 3024845"/>
                <a:gd name="connsiteY336" fmla="*/ 564562 h 1087484"/>
                <a:gd name="connsiteX337" fmla="*/ 2486751 w 3024845"/>
                <a:gd name="connsiteY337" fmla="*/ 564562 h 1087484"/>
                <a:gd name="connsiteX338" fmla="*/ 2490804 w 3024845"/>
                <a:gd name="connsiteY338" fmla="*/ 560238 h 1087484"/>
                <a:gd name="connsiteX339" fmla="*/ 2498911 w 3024845"/>
                <a:gd name="connsiteY339" fmla="*/ 560238 h 1087484"/>
                <a:gd name="connsiteX340" fmla="*/ 2502964 w 3024845"/>
                <a:gd name="connsiteY340" fmla="*/ 564562 h 1087484"/>
                <a:gd name="connsiteX341" fmla="*/ 2525258 w 3024845"/>
                <a:gd name="connsiteY341" fmla="*/ 564562 h 1087484"/>
                <a:gd name="connsiteX342" fmla="*/ 2525258 w 3024845"/>
                <a:gd name="connsiteY342" fmla="*/ 447826 h 1087484"/>
                <a:gd name="connsiteX343" fmla="*/ 2582005 w 3024845"/>
                <a:gd name="connsiteY343" fmla="*/ 437017 h 1087484"/>
                <a:gd name="connsiteX344" fmla="*/ 2582005 w 3024845"/>
                <a:gd name="connsiteY344" fmla="*/ 438098 h 1087484"/>
                <a:gd name="connsiteX345" fmla="*/ 2582005 w 3024845"/>
                <a:gd name="connsiteY345" fmla="*/ 445664 h 1087484"/>
                <a:gd name="connsiteX346" fmla="*/ 2608352 w 3024845"/>
                <a:gd name="connsiteY346" fmla="*/ 445664 h 1087484"/>
                <a:gd name="connsiteX347" fmla="*/ 2608352 w 3024845"/>
                <a:gd name="connsiteY347" fmla="*/ 700754 h 1087484"/>
                <a:gd name="connsiteX348" fmla="*/ 2630646 w 3024845"/>
                <a:gd name="connsiteY348" fmla="*/ 700754 h 1087484"/>
                <a:gd name="connsiteX349" fmla="*/ 2630646 w 3024845"/>
                <a:gd name="connsiteY349" fmla="*/ 696430 h 1087484"/>
                <a:gd name="connsiteX350" fmla="*/ 2642806 w 3024845"/>
                <a:gd name="connsiteY350" fmla="*/ 696430 h 1087484"/>
                <a:gd name="connsiteX351" fmla="*/ 2642806 w 3024845"/>
                <a:gd name="connsiteY351" fmla="*/ 700754 h 1087484"/>
                <a:gd name="connsiteX352" fmla="*/ 2667126 w 3024845"/>
                <a:gd name="connsiteY352" fmla="*/ 700754 h 1087484"/>
                <a:gd name="connsiteX353" fmla="*/ 2667126 w 3024845"/>
                <a:gd name="connsiteY353" fmla="*/ 687783 h 1087484"/>
                <a:gd name="connsiteX354" fmla="*/ 2695500 w 3024845"/>
                <a:gd name="connsiteY354" fmla="*/ 687783 h 1087484"/>
                <a:gd name="connsiteX355" fmla="*/ 2707660 w 3024845"/>
                <a:gd name="connsiteY355" fmla="*/ 683459 h 1087484"/>
                <a:gd name="connsiteX356" fmla="*/ 2727927 w 3024845"/>
                <a:gd name="connsiteY356" fmla="*/ 687783 h 1087484"/>
                <a:gd name="connsiteX357" fmla="*/ 2727927 w 3024845"/>
                <a:gd name="connsiteY357" fmla="*/ 670489 h 1087484"/>
                <a:gd name="connsiteX358" fmla="*/ 2736034 w 3024845"/>
                <a:gd name="connsiteY358" fmla="*/ 670489 h 1087484"/>
                <a:gd name="connsiteX359" fmla="*/ 2736034 w 3024845"/>
                <a:gd name="connsiteY359" fmla="*/ 657518 h 1087484"/>
                <a:gd name="connsiteX360" fmla="*/ 2792781 w 3024845"/>
                <a:gd name="connsiteY360" fmla="*/ 657518 h 1087484"/>
                <a:gd name="connsiteX361" fmla="*/ 2792781 w 3024845"/>
                <a:gd name="connsiteY361" fmla="*/ 627253 h 1087484"/>
                <a:gd name="connsiteX362" fmla="*/ 2811021 w 3024845"/>
                <a:gd name="connsiteY362" fmla="*/ 627253 h 1087484"/>
                <a:gd name="connsiteX363" fmla="*/ 2811021 w 3024845"/>
                <a:gd name="connsiteY363" fmla="*/ 620768 h 1087484"/>
                <a:gd name="connsiteX364" fmla="*/ 2823181 w 3024845"/>
                <a:gd name="connsiteY364" fmla="*/ 620768 h 1087484"/>
                <a:gd name="connsiteX365" fmla="*/ 2823181 w 3024845"/>
                <a:gd name="connsiteY365" fmla="*/ 627253 h 1087484"/>
                <a:gd name="connsiteX366" fmla="*/ 2839395 w 3024845"/>
                <a:gd name="connsiteY366" fmla="*/ 627253 h 1087484"/>
                <a:gd name="connsiteX367" fmla="*/ 2839395 w 3024845"/>
                <a:gd name="connsiteY367" fmla="*/ 676974 h 1087484"/>
                <a:gd name="connsiteX368" fmla="*/ 2871822 w 3024845"/>
                <a:gd name="connsiteY368" fmla="*/ 676974 h 1087484"/>
                <a:gd name="connsiteX369" fmla="*/ 2871822 w 3024845"/>
                <a:gd name="connsiteY369" fmla="*/ 651033 h 1087484"/>
                <a:gd name="connsiteX370" fmla="*/ 2910329 w 3024845"/>
                <a:gd name="connsiteY370" fmla="*/ 651033 h 1087484"/>
                <a:gd name="connsiteX371" fmla="*/ 2910329 w 3024845"/>
                <a:gd name="connsiteY371" fmla="*/ 620768 h 1087484"/>
                <a:gd name="connsiteX372" fmla="*/ 2958970 w 3024845"/>
                <a:gd name="connsiteY372" fmla="*/ 620768 h 1087484"/>
                <a:gd name="connsiteX373" fmla="*/ 2958970 w 3024845"/>
                <a:gd name="connsiteY373" fmla="*/ 731924 h 1087484"/>
                <a:gd name="connsiteX374" fmla="*/ 2958970 w 3024845"/>
                <a:gd name="connsiteY374" fmla="*/ 745703 h 1087484"/>
                <a:gd name="connsiteX375" fmla="*/ 3024845 w 3024845"/>
                <a:gd name="connsiteY375" fmla="*/ 745703 h 1087484"/>
                <a:gd name="connsiteX376" fmla="*/ 3024845 w 3024845"/>
                <a:gd name="connsiteY376" fmla="*/ 1087484 h 1087484"/>
                <a:gd name="connsiteX377" fmla="*/ 2054 w 3024845"/>
                <a:gd name="connsiteY377" fmla="*/ 1085151 h 1087484"/>
                <a:gd name="connsiteX378" fmla="*/ 0 w 3024845"/>
                <a:gd name="connsiteY378" fmla="*/ 651033 h 1087484"/>
                <a:gd name="connsiteX379" fmla="*/ 20267 w 3024845"/>
                <a:gd name="connsiteY379" fmla="*/ 651033 h 1087484"/>
                <a:gd name="connsiteX380" fmla="*/ 20774 w 3024845"/>
                <a:gd name="connsiteY380" fmla="*/ 649952 h 1087484"/>
                <a:gd name="connsiteX381" fmla="*/ 24320 w 3024845"/>
                <a:gd name="connsiteY381" fmla="*/ 642386 h 1087484"/>
                <a:gd name="connsiteX382" fmla="*/ 26094 w 3024845"/>
                <a:gd name="connsiteY382" fmla="*/ 642656 h 1087484"/>
                <a:gd name="connsiteX383" fmla="*/ 38507 w 3024845"/>
                <a:gd name="connsiteY383" fmla="*/ 644547 h 1087484"/>
                <a:gd name="connsiteX384" fmla="*/ 39014 w 3024845"/>
                <a:gd name="connsiteY384" fmla="*/ 645899 h 1087484"/>
                <a:gd name="connsiteX385" fmla="*/ 42560 w 3024845"/>
                <a:gd name="connsiteY385" fmla="*/ 655356 h 1087484"/>
                <a:gd name="connsiteX386" fmla="*/ 68907 w 3024845"/>
                <a:gd name="connsiteY386" fmla="*/ 657518 h 1087484"/>
                <a:gd name="connsiteX387" fmla="*/ 68907 w 3024845"/>
                <a:gd name="connsiteY387" fmla="*/ 534297 h 1087484"/>
                <a:gd name="connsiteX388" fmla="*/ 70934 w 3024845"/>
                <a:gd name="connsiteY388" fmla="*/ 534297 h 1087484"/>
                <a:gd name="connsiteX389" fmla="*/ 85121 w 3024845"/>
                <a:gd name="connsiteY389" fmla="*/ 534297 h 1087484"/>
                <a:gd name="connsiteX390" fmla="*/ 85121 w 3024845"/>
                <a:gd name="connsiteY390" fmla="*/ 398105 h 1087484"/>
                <a:gd name="connsiteX391" fmla="*/ 86894 w 3024845"/>
                <a:gd name="connsiteY391" fmla="*/ 398105 h 1087484"/>
                <a:gd name="connsiteX392" fmla="*/ 99308 w 3024845"/>
                <a:gd name="connsiteY392" fmla="*/ 398105 h 1087484"/>
                <a:gd name="connsiteX393" fmla="*/ 99308 w 3024845"/>
                <a:gd name="connsiteY393" fmla="*/ 283531 h 1087484"/>
                <a:gd name="connsiteX394" fmla="*/ 103361 w 3024845"/>
                <a:gd name="connsiteY394" fmla="*/ 255427 h 1087484"/>
                <a:gd name="connsiteX395" fmla="*/ 105388 w 3024845"/>
                <a:gd name="connsiteY395" fmla="*/ 255427 h 1087484"/>
                <a:gd name="connsiteX396" fmla="*/ 119575 w 3024845"/>
                <a:gd name="connsiteY396" fmla="*/ 255427 h 1087484"/>
                <a:gd name="connsiteX0" fmla="*/ 119575 w 3024845"/>
                <a:gd name="connsiteY0" fmla="*/ 200101 h 1032158"/>
                <a:gd name="connsiteX1" fmla="*/ 200642 w 3024845"/>
                <a:gd name="connsiteY1" fmla="*/ 197940 h 1032158"/>
                <a:gd name="connsiteX2" fmla="*/ 202669 w 3024845"/>
                <a:gd name="connsiteY2" fmla="*/ 197940 h 1032158"/>
                <a:gd name="connsiteX3" fmla="*/ 216856 w 3024845"/>
                <a:gd name="connsiteY3" fmla="*/ 197940 h 1032158"/>
                <a:gd name="connsiteX4" fmla="*/ 216856 w 3024845"/>
                <a:gd name="connsiteY4" fmla="*/ 221719 h 1032158"/>
                <a:gd name="connsiteX5" fmla="*/ 217363 w 3024845"/>
                <a:gd name="connsiteY5" fmla="*/ 222530 h 1032158"/>
                <a:gd name="connsiteX6" fmla="*/ 220909 w 3024845"/>
                <a:gd name="connsiteY6" fmla="*/ 228205 h 1032158"/>
                <a:gd name="connsiteX7" fmla="*/ 220909 w 3024845"/>
                <a:gd name="connsiteY7" fmla="*/ 342779 h 1032158"/>
                <a:gd name="connsiteX8" fmla="*/ 223189 w 3024845"/>
                <a:gd name="connsiteY8" fmla="*/ 342779 h 1032158"/>
                <a:gd name="connsiteX9" fmla="*/ 239150 w 3024845"/>
                <a:gd name="connsiteY9" fmla="*/ 342779 h 1032158"/>
                <a:gd name="connsiteX10" fmla="*/ 239150 w 3024845"/>
                <a:gd name="connsiteY10" fmla="*/ 483294 h 1032158"/>
                <a:gd name="connsiteX11" fmla="*/ 240670 w 3024845"/>
                <a:gd name="connsiteY11" fmla="*/ 483024 h 1032158"/>
                <a:gd name="connsiteX12" fmla="*/ 251310 w 3024845"/>
                <a:gd name="connsiteY12" fmla="*/ 481133 h 1032158"/>
                <a:gd name="connsiteX13" fmla="*/ 249283 w 3024845"/>
                <a:gd name="connsiteY13" fmla="*/ 569765 h 1032158"/>
                <a:gd name="connsiteX14" fmla="*/ 250803 w 3024845"/>
                <a:gd name="connsiteY14" fmla="*/ 570036 h 1032158"/>
                <a:gd name="connsiteX15" fmla="*/ 261443 w 3024845"/>
                <a:gd name="connsiteY15" fmla="*/ 571927 h 1032158"/>
                <a:gd name="connsiteX16" fmla="*/ 261696 w 3024845"/>
                <a:gd name="connsiteY16" fmla="*/ 572738 h 1032158"/>
                <a:gd name="connsiteX17" fmla="*/ 263470 w 3024845"/>
                <a:gd name="connsiteY17" fmla="*/ 578413 h 1032158"/>
                <a:gd name="connsiteX18" fmla="*/ 264230 w 3024845"/>
                <a:gd name="connsiteY18" fmla="*/ 575981 h 1032158"/>
                <a:gd name="connsiteX19" fmla="*/ 269550 w 3024845"/>
                <a:gd name="connsiteY19" fmla="*/ 558957 h 1032158"/>
                <a:gd name="connsiteX20" fmla="*/ 271323 w 3024845"/>
                <a:gd name="connsiteY20" fmla="*/ 558957 h 1032158"/>
                <a:gd name="connsiteX21" fmla="*/ 283737 w 3024845"/>
                <a:gd name="connsiteY21" fmla="*/ 558957 h 1032158"/>
                <a:gd name="connsiteX22" fmla="*/ 283737 w 3024845"/>
                <a:gd name="connsiteY22" fmla="*/ 591383 h 1032158"/>
                <a:gd name="connsiteX23" fmla="*/ 284750 w 3024845"/>
                <a:gd name="connsiteY23" fmla="*/ 591924 h 1032158"/>
                <a:gd name="connsiteX24" fmla="*/ 291844 w 3024845"/>
                <a:gd name="connsiteY24" fmla="*/ 595707 h 1032158"/>
                <a:gd name="connsiteX25" fmla="*/ 291844 w 3024845"/>
                <a:gd name="connsiteY25" fmla="*/ 597058 h 1032158"/>
                <a:gd name="connsiteX26" fmla="*/ 291844 w 3024845"/>
                <a:gd name="connsiteY26" fmla="*/ 606516 h 1032158"/>
                <a:gd name="connsiteX27" fmla="*/ 336431 w 3024845"/>
                <a:gd name="connsiteY27" fmla="*/ 606516 h 1032158"/>
                <a:gd name="connsiteX28" fmla="*/ 336431 w 3024845"/>
                <a:gd name="connsiteY28" fmla="*/ 607597 h 1032158"/>
                <a:gd name="connsiteX29" fmla="*/ 336431 w 3024845"/>
                <a:gd name="connsiteY29" fmla="*/ 615163 h 1032158"/>
                <a:gd name="connsiteX30" fmla="*/ 338457 w 3024845"/>
                <a:gd name="connsiteY30" fmla="*/ 615163 h 1032158"/>
                <a:gd name="connsiteX31" fmla="*/ 352644 w 3024845"/>
                <a:gd name="connsiteY31" fmla="*/ 615163 h 1032158"/>
                <a:gd name="connsiteX32" fmla="*/ 352644 w 3024845"/>
                <a:gd name="connsiteY32" fmla="*/ 584898 h 1032158"/>
                <a:gd name="connsiteX33" fmla="*/ 397231 w 3024845"/>
                <a:gd name="connsiteY33" fmla="*/ 584898 h 1032158"/>
                <a:gd name="connsiteX34" fmla="*/ 397231 w 3024845"/>
                <a:gd name="connsiteY34" fmla="*/ 583547 h 1032158"/>
                <a:gd name="connsiteX35" fmla="*/ 397231 w 3024845"/>
                <a:gd name="connsiteY35" fmla="*/ 574089 h 1032158"/>
                <a:gd name="connsiteX36" fmla="*/ 398245 w 3024845"/>
                <a:gd name="connsiteY36" fmla="*/ 574089 h 1032158"/>
                <a:gd name="connsiteX37" fmla="*/ 405338 w 3024845"/>
                <a:gd name="connsiteY37" fmla="*/ 574089 h 1032158"/>
                <a:gd name="connsiteX38" fmla="*/ 405338 w 3024845"/>
                <a:gd name="connsiteY38" fmla="*/ 572198 h 1032158"/>
                <a:gd name="connsiteX39" fmla="*/ 405338 w 3024845"/>
                <a:gd name="connsiteY39" fmla="*/ 558957 h 1032158"/>
                <a:gd name="connsiteX40" fmla="*/ 406098 w 3024845"/>
                <a:gd name="connsiteY40" fmla="*/ 558957 h 1032158"/>
                <a:gd name="connsiteX41" fmla="*/ 411418 w 3024845"/>
                <a:gd name="connsiteY41" fmla="*/ 558957 h 1032158"/>
                <a:gd name="connsiteX42" fmla="*/ 411418 w 3024845"/>
                <a:gd name="connsiteY42" fmla="*/ 557876 h 1032158"/>
                <a:gd name="connsiteX43" fmla="*/ 411418 w 3024845"/>
                <a:gd name="connsiteY43" fmla="*/ 550309 h 1032158"/>
                <a:gd name="connsiteX44" fmla="*/ 413445 w 3024845"/>
                <a:gd name="connsiteY44" fmla="*/ 550309 h 1032158"/>
                <a:gd name="connsiteX45" fmla="*/ 427632 w 3024845"/>
                <a:gd name="connsiteY45" fmla="*/ 550309 h 1032158"/>
                <a:gd name="connsiteX46" fmla="*/ 427632 w 3024845"/>
                <a:gd name="connsiteY46" fmla="*/ 551390 h 1032158"/>
                <a:gd name="connsiteX47" fmla="*/ 427632 w 3024845"/>
                <a:gd name="connsiteY47" fmla="*/ 558957 h 1032158"/>
                <a:gd name="connsiteX48" fmla="*/ 449925 w 3024845"/>
                <a:gd name="connsiteY48" fmla="*/ 558957 h 1032158"/>
                <a:gd name="connsiteX49" fmla="*/ 449925 w 3024845"/>
                <a:gd name="connsiteY49" fmla="*/ 557065 h 1032158"/>
                <a:gd name="connsiteX50" fmla="*/ 449925 w 3024845"/>
                <a:gd name="connsiteY50" fmla="*/ 543824 h 1032158"/>
                <a:gd name="connsiteX51" fmla="*/ 451699 w 3024845"/>
                <a:gd name="connsiteY51" fmla="*/ 543824 h 1032158"/>
                <a:gd name="connsiteX52" fmla="*/ 464112 w 3024845"/>
                <a:gd name="connsiteY52" fmla="*/ 543824 h 1032158"/>
                <a:gd name="connsiteX53" fmla="*/ 464112 w 3024845"/>
                <a:gd name="connsiteY53" fmla="*/ 567604 h 1032158"/>
                <a:gd name="connsiteX54" fmla="*/ 465126 w 3024845"/>
                <a:gd name="connsiteY54" fmla="*/ 567604 h 1032158"/>
                <a:gd name="connsiteX55" fmla="*/ 472219 w 3024845"/>
                <a:gd name="connsiteY55" fmla="*/ 567604 h 1032158"/>
                <a:gd name="connsiteX56" fmla="*/ 472219 w 3024845"/>
                <a:gd name="connsiteY56" fmla="*/ 566523 h 1032158"/>
                <a:gd name="connsiteX57" fmla="*/ 472219 w 3024845"/>
                <a:gd name="connsiteY57" fmla="*/ 558957 h 1032158"/>
                <a:gd name="connsiteX58" fmla="*/ 473992 w 3024845"/>
                <a:gd name="connsiteY58" fmla="*/ 558957 h 1032158"/>
                <a:gd name="connsiteX59" fmla="*/ 486406 w 3024845"/>
                <a:gd name="connsiteY59" fmla="*/ 558957 h 1032158"/>
                <a:gd name="connsiteX60" fmla="*/ 486406 w 3024845"/>
                <a:gd name="connsiteY60" fmla="*/ 584898 h 1032158"/>
                <a:gd name="connsiteX61" fmla="*/ 488433 w 3024845"/>
                <a:gd name="connsiteY61" fmla="*/ 584898 h 1032158"/>
                <a:gd name="connsiteX62" fmla="*/ 502619 w 3024845"/>
                <a:gd name="connsiteY62" fmla="*/ 584898 h 1032158"/>
                <a:gd name="connsiteX63" fmla="*/ 502619 w 3024845"/>
                <a:gd name="connsiteY63" fmla="*/ 586519 h 1032158"/>
                <a:gd name="connsiteX64" fmla="*/ 502619 w 3024845"/>
                <a:gd name="connsiteY64" fmla="*/ 597869 h 1032158"/>
                <a:gd name="connsiteX65" fmla="*/ 503379 w 3024845"/>
                <a:gd name="connsiteY65" fmla="*/ 597869 h 1032158"/>
                <a:gd name="connsiteX66" fmla="*/ 508700 w 3024845"/>
                <a:gd name="connsiteY66" fmla="*/ 597869 h 1032158"/>
                <a:gd name="connsiteX67" fmla="*/ 508700 w 3024845"/>
                <a:gd name="connsiteY67" fmla="*/ 597058 h 1032158"/>
                <a:gd name="connsiteX68" fmla="*/ 508700 w 3024845"/>
                <a:gd name="connsiteY68" fmla="*/ 591383 h 1032158"/>
                <a:gd name="connsiteX69" fmla="*/ 539100 w 3024845"/>
                <a:gd name="connsiteY69" fmla="*/ 591383 h 1032158"/>
                <a:gd name="connsiteX70" fmla="*/ 539100 w 3024845"/>
                <a:gd name="connsiteY70" fmla="*/ 615163 h 1032158"/>
                <a:gd name="connsiteX71" fmla="*/ 540113 w 3024845"/>
                <a:gd name="connsiteY71" fmla="*/ 615163 h 1032158"/>
                <a:gd name="connsiteX72" fmla="*/ 547207 w 3024845"/>
                <a:gd name="connsiteY72" fmla="*/ 615163 h 1032158"/>
                <a:gd name="connsiteX73" fmla="*/ 547207 w 3024845"/>
                <a:gd name="connsiteY73" fmla="*/ 616244 h 1032158"/>
                <a:gd name="connsiteX74" fmla="*/ 547207 w 3024845"/>
                <a:gd name="connsiteY74" fmla="*/ 623810 h 1032158"/>
                <a:gd name="connsiteX75" fmla="*/ 547967 w 3024845"/>
                <a:gd name="connsiteY75" fmla="*/ 623810 h 1032158"/>
                <a:gd name="connsiteX76" fmla="*/ 553287 w 3024845"/>
                <a:gd name="connsiteY76" fmla="*/ 623810 h 1032158"/>
                <a:gd name="connsiteX77" fmla="*/ 553287 w 3024845"/>
                <a:gd name="connsiteY77" fmla="*/ 621648 h 1032158"/>
                <a:gd name="connsiteX78" fmla="*/ 553287 w 3024845"/>
                <a:gd name="connsiteY78" fmla="*/ 606516 h 1032158"/>
                <a:gd name="connsiteX79" fmla="*/ 554300 w 3024845"/>
                <a:gd name="connsiteY79" fmla="*/ 606516 h 1032158"/>
                <a:gd name="connsiteX80" fmla="*/ 561394 w 3024845"/>
                <a:gd name="connsiteY80" fmla="*/ 606516 h 1032158"/>
                <a:gd name="connsiteX81" fmla="*/ 561394 w 3024845"/>
                <a:gd name="connsiteY81" fmla="*/ 607597 h 1032158"/>
                <a:gd name="connsiteX82" fmla="*/ 561394 w 3024845"/>
                <a:gd name="connsiteY82" fmla="*/ 615163 h 1032158"/>
                <a:gd name="connsiteX83" fmla="*/ 566714 w 3024845"/>
                <a:gd name="connsiteY83" fmla="*/ 613170 h 1032158"/>
                <a:gd name="connsiteX84" fmla="*/ 567474 w 3024845"/>
                <a:gd name="connsiteY84" fmla="*/ 612190 h 1032158"/>
                <a:gd name="connsiteX85" fmla="*/ 567474 w 3024845"/>
                <a:gd name="connsiteY85" fmla="*/ 606516 h 1032158"/>
                <a:gd name="connsiteX86" fmla="*/ 605981 w 3024845"/>
                <a:gd name="connsiteY86" fmla="*/ 606516 h 1032158"/>
                <a:gd name="connsiteX87" fmla="*/ 605981 w 3024845"/>
                <a:gd name="connsiteY87" fmla="*/ 630295 h 1032158"/>
                <a:gd name="connsiteX88" fmla="*/ 608007 w 3024845"/>
                <a:gd name="connsiteY88" fmla="*/ 630295 h 1032158"/>
                <a:gd name="connsiteX89" fmla="*/ 622194 w 3024845"/>
                <a:gd name="connsiteY89" fmla="*/ 630295 h 1032158"/>
                <a:gd name="connsiteX90" fmla="*/ 622194 w 3024845"/>
                <a:gd name="connsiteY90" fmla="*/ 631376 h 1032158"/>
                <a:gd name="connsiteX91" fmla="*/ 622194 w 3024845"/>
                <a:gd name="connsiteY91" fmla="*/ 638942 h 1032158"/>
                <a:gd name="connsiteX92" fmla="*/ 623968 w 3024845"/>
                <a:gd name="connsiteY92" fmla="*/ 638942 h 1032158"/>
                <a:gd name="connsiteX93" fmla="*/ 636381 w 3024845"/>
                <a:gd name="connsiteY93" fmla="*/ 638942 h 1032158"/>
                <a:gd name="connsiteX94" fmla="*/ 636381 w 3024845"/>
                <a:gd name="connsiteY94" fmla="*/ 615163 h 1032158"/>
                <a:gd name="connsiteX95" fmla="*/ 637394 w 3024845"/>
                <a:gd name="connsiteY95" fmla="*/ 615163 h 1032158"/>
                <a:gd name="connsiteX96" fmla="*/ 644488 w 3024845"/>
                <a:gd name="connsiteY96" fmla="*/ 615163 h 1032158"/>
                <a:gd name="connsiteX97" fmla="*/ 644488 w 3024845"/>
                <a:gd name="connsiteY97" fmla="*/ 582736 h 1032158"/>
                <a:gd name="connsiteX98" fmla="*/ 645501 w 3024845"/>
                <a:gd name="connsiteY98" fmla="*/ 582736 h 1032158"/>
                <a:gd name="connsiteX99" fmla="*/ 652595 w 3024845"/>
                <a:gd name="connsiteY99" fmla="*/ 582736 h 1032158"/>
                <a:gd name="connsiteX100" fmla="*/ 652595 w 3024845"/>
                <a:gd name="connsiteY100" fmla="*/ 580845 h 1032158"/>
                <a:gd name="connsiteX101" fmla="*/ 652595 w 3024845"/>
                <a:gd name="connsiteY101" fmla="*/ 567604 h 1032158"/>
                <a:gd name="connsiteX102" fmla="*/ 651328 w 3024845"/>
                <a:gd name="connsiteY102" fmla="*/ 565982 h 1032158"/>
                <a:gd name="connsiteX103" fmla="*/ 656648 w 3024845"/>
                <a:gd name="connsiteY103" fmla="*/ 554633 h 1032158"/>
                <a:gd name="connsiteX104" fmla="*/ 664755 w 3024845"/>
                <a:gd name="connsiteY104" fmla="*/ 582736 h 1032158"/>
                <a:gd name="connsiteX105" fmla="*/ 665515 w 3024845"/>
                <a:gd name="connsiteY105" fmla="*/ 582736 h 1032158"/>
                <a:gd name="connsiteX106" fmla="*/ 670835 w 3024845"/>
                <a:gd name="connsiteY106" fmla="*/ 582736 h 1032158"/>
                <a:gd name="connsiteX107" fmla="*/ 670835 w 3024845"/>
                <a:gd name="connsiteY107" fmla="*/ 476809 h 1032158"/>
                <a:gd name="connsiteX108" fmla="*/ 672355 w 3024845"/>
                <a:gd name="connsiteY108" fmla="*/ 476809 h 1032158"/>
                <a:gd name="connsiteX109" fmla="*/ 682995 w 3024845"/>
                <a:gd name="connsiteY109" fmla="*/ 476809 h 1032158"/>
                <a:gd name="connsiteX110" fmla="*/ 682995 w 3024845"/>
                <a:gd name="connsiteY110" fmla="*/ 429250 h 1032158"/>
                <a:gd name="connsiteX111" fmla="*/ 709342 w 3024845"/>
                <a:gd name="connsiteY111" fmla="*/ 429250 h 1032158"/>
                <a:gd name="connsiteX112" fmla="*/ 709342 w 3024845"/>
                <a:gd name="connsiteY112" fmla="*/ 407632 h 1032158"/>
                <a:gd name="connsiteX113" fmla="*/ 743796 w 3024845"/>
                <a:gd name="connsiteY113" fmla="*/ 407632 h 1032158"/>
                <a:gd name="connsiteX114" fmla="*/ 743796 w 3024845"/>
                <a:gd name="connsiteY114" fmla="*/ 410064 h 1032158"/>
                <a:gd name="connsiteX115" fmla="*/ 743796 w 3024845"/>
                <a:gd name="connsiteY115" fmla="*/ 427088 h 1032158"/>
                <a:gd name="connsiteX116" fmla="*/ 746076 w 3024845"/>
                <a:gd name="connsiteY116" fmla="*/ 427088 h 1032158"/>
                <a:gd name="connsiteX117" fmla="*/ 762036 w 3024845"/>
                <a:gd name="connsiteY117" fmla="*/ 427088 h 1032158"/>
                <a:gd name="connsiteX118" fmla="*/ 762036 w 3024845"/>
                <a:gd name="connsiteY118" fmla="*/ 474647 h 1032158"/>
                <a:gd name="connsiteX119" fmla="*/ 763049 w 3024845"/>
                <a:gd name="connsiteY119" fmla="*/ 474647 h 1032158"/>
                <a:gd name="connsiteX120" fmla="*/ 770143 w 3024845"/>
                <a:gd name="connsiteY120" fmla="*/ 474647 h 1032158"/>
                <a:gd name="connsiteX121" fmla="*/ 784330 w 3024845"/>
                <a:gd name="connsiteY121" fmla="*/ 478971 h 1032158"/>
                <a:gd name="connsiteX122" fmla="*/ 784330 w 3024845"/>
                <a:gd name="connsiteY122" fmla="*/ 517883 h 1032158"/>
                <a:gd name="connsiteX123" fmla="*/ 785343 w 3024845"/>
                <a:gd name="connsiteY123" fmla="*/ 517883 h 1032158"/>
                <a:gd name="connsiteX124" fmla="*/ 792436 w 3024845"/>
                <a:gd name="connsiteY124" fmla="*/ 517883 h 1032158"/>
                <a:gd name="connsiteX125" fmla="*/ 792436 w 3024845"/>
                <a:gd name="connsiteY125" fmla="*/ 519504 h 1032158"/>
                <a:gd name="connsiteX126" fmla="*/ 792436 w 3024845"/>
                <a:gd name="connsiteY126" fmla="*/ 530853 h 1032158"/>
                <a:gd name="connsiteX127" fmla="*/ 794463 w 3024845"/>
                <a:gd name="connsiteY127" fmla="*/ 530853 h 1032158"/>
                <a:gd name="connsiteX128" fmla="*/ 808650 w 3024845"/>
                <a:gd name="connsiteY128" fmla="*/ 530853 h 1032158"/>
                <a:gd name="connsiteX129" fmla="*/ 814730 w 3024845"/>
                <a:gd name="connsiteY129" fmla="*/ 537339 h 1032158"/>
                <a:gd name="connsiteX130" fmla="*/ 814730 w 3024845"/>
                <a:gd name="connsiteY130" fmla="*/ 558957 h 1032158"/>
                <a:gd name="connsiteX131" fmla="*/ 817010 w 3024845"/>
                <a:gd name="connsiteY131" fmla="*/ 558957 h 1032158"/>
                <a:gd name="connsiteX132" fmla="*/ 832970 w 3024845"/>
                <a:gd name="connsiteY132" fmla="*/ 558957 h 1032158"/>
                <a:gd name="connsiteX133" fmla="*/ 832970 w 3024845"/>
                <a:gd name="connsiteY133" fmla="*/ 560037 h 1032158"/>
                <a:gd name="connsiteX134" fmla="*/ 832970 w 3024845"/>
                <a:gd name="connsiteY134" fmla="*/ 567604 h 1032158"/>
                <a:gd name="connsiteX135" fmla="*/ 834237 w 3024845"/>
                <a:gd name="connsiteY135" fmla="*/ 567604 h 1032158"/>
                <a:gd name="connsiteX136" fmla="*/ 843104 w 3024845"/>
                <a:gd name="connsiteY136" fmla="*/ 567604 h 1032158"/>
                <a:gd name="connsiteX137" fmla="*/ 843104 w 3024845"/>
                <a:gd name="connsiteY137" fmla="*/ 569765 h 1032158"/>
                <a:gd name="connsiteX138" fmla="*/ 843104 w 3024845"/>
                <a:gd name="connsiteY138" fmla="*/ 584898 h 1032158"/>
                <a:gd name="connsiteX139" fmla="*/ 847157 w 3024845"/>
                <a:gd name="connsiteY139" fmla="*/ 583006 h 1032158"/>
                <a:gd name="connsiteX140" fmla="*/ 847157 w 3024845"/>
                <a:gd name="connsiteY140" fmla="*/ 569765 h 1032158"/>
                <a:gd name="connsiteX141" fmla="*/ 848170 w 3024845"/>
                <a:gd name="connsiteY141" fmla="*/ 569765 h 1032158"/>
                <a:gd name="connsiteX142" fmla="*/ 855264 w 3024845"/>
                <a:gd name="connsiteY142" fmla="*/ 569765 h 1032158"/>
                <a:gd name="connsiteX143" fmla="*/ 855264 w 3024845"/>
                <a:gd name="connsiteY143" fmla="*/ 571387 h 1032158"/>
                <a:gd name="connsiteX144" fmla="*/ 855264 w 3024845"/>
                <a:gd name="connsiteY144" fmla="*/ 582736 h 1032158"/>
                <a:gd name="connsiteX145" fmla="*/ 856024 w 3024845"/>
                <a:gd name="connsiteY145" fmla="*/ 582736 h 1032158"/>
                <a:gd name="connsiteX146" fmla="*/ 861344 w 3024845"/>
                <a:gd name="connsiteY146" fmla="*/ 582736 h 1032158"/>
                <a:gd name="connsiteX147" fmla="*/ 909984 w 3024845"/>
                <a:gd name="connsiteY147" fmla="*/ 578413 h 1032158"/>
                <a:gd name="connsiteX148" fmla="*/ 909984 w 3024845"/>
                <a:gd name="connsiteY148" fmla="*/ 579764 h 1032158"/>
                <a:gd name="connsiteX149" fmla="*/ 909984 w 3024845"/>
                <a:gd name="connsiteY149" fmla="*/ 589221 h 1032158"/>
                <a:gd name="connsiteX150" fmla="*/ 910744 w 3024845"/>
                <a:gd name="connsiteY150" fmla="*/ 589221 h 1032158"/>
                <a:gd name="connsiteX151" fmla="*/ 916065 w 3024845"/>
                <a:gd name="connsiteY151" fmla="*/ 589221 h 1032158"/>
                <a:gd name="connsiteX152" fmla="*/ 916065 w 3024845"/>
                <a:gd name="connsiteY152" fmla="*/ 591383 h 1032158"/>
                <a:gd name="connsiteX153" fmla="*/ 916065 w 3024845"/>
                <a:gd name="connsiteY153" fmla="*/ 606516 h 1032158"/>
                <a:gd name="connsiteX154" fmla="*/ 918091 w 3024845"/>
                <a:gd name="connsiteY154" fmla="*/ 605165 h 1032158"/>
                <a:gd name="connsiteX155" fmla="*/ 932278 w 3024845"/>
                <a:gd name="connsiteY155" fmla="*/ 595707 h 1032158"/>
                <a:gd name="connsiteX156" fmla="*/ 938358 w 3024845"/>
                <a:gd name="connsiteY156" fmla="*/ 554633 h 1032158"/>
                <a:gd name="connsiteX157" fmla="*/ 939118 w 3024845"/>
                <a:gd name="connsiteY157" fmla="*/ 554363 h 1032158"/>
                <a:gd name="connsiteX158" fmla="*/ 944438 w 3024845"/>
                <a:gd name="connsiteY158" fmla="*/ 552471 h 1032158"/>
                <a:gd name="connsiteX159" fmla="*/ 946465 w 3024845"/>
                <a:gd name="connsiteY159" fmla="*/ 483294 h 1032158"/>
                <a:gd name="connsiteX160" fmla="*/ 948492 w 3024845"/>
                <a:gd name="connsiteY160" fmla="*/ 552471 h 1032158"/>
                <a:gd name="connsiteX161" fmla="*/ 949252 w 3024845"/>
                <a:gd name="connsiteY161" fmla="*/ 552741 h 1032158"/>
                <a:gd name="connsiteX162" fmla="*/ 954572 w 3024845"/>
                <a:gd name="connsiteY162" fmla="*/ 554633 h 1032158"/>
                <a:gd name="connsiteX163" fmla="*/ 954572 w 3024845"/>
                <a:gd name="connsiteY163" fmla="*/ 468162 h 1032158"/>
                <a:gd name="connsiteX164" fmla="*/ 958625 w 3024845"/>
                <a:gd name="connsiteY164" fmla="*/ 435735 h 1032158"/>
                <a:gd name="connsiteX165" fmla="*/ 997132 w 3024845"/>
                <a:gd name="connsiteY165" fmla="*/ 435735 h 1032158"/>
                <a:gd name="connsiteX166" fmla="*/ 997132 w 3024845"/>
                <a:gd name="connsiteY166" fmla="*/ 468162 h 1032158"/>
                <a:gd name="connsiteX167" fmla="*/ 997892 w 3024845"/>
                <a:gd name="connsiteY167" fmla="*/ 468162 h 1032158"/>
                <a:gd name="connsiteX168" fmla="*/ 1003212 w 3024845"/>
                <a:gd name="connsiteY168" fmla="*/ 468162 h 1032158"/>
                <a:gd name="connsiteX169" fmla="*/ 1003212 w 3024845"/>
                <a:gd name="connsiteY169" fmla="*/ 386014 h 1032158"/>
                <a:gd name="connsiteX170" fmla="*/ 1004986 w 3024845"/>
                <a:gd name="connsiteY170" fmla="*/ 386014 h 1032158"/>
                <a:gd name="connsiteX171" fmla="*/ 1017399 w 3024845"/>
                <a:gd name="connsiteY171" fmla="*/ 386014 h 1032158"/>
                <a:gd name="connsiteX172" fmla="*/ 1017399 w 3024845"/>
                <a:gd name="connsiteY172" fmla="*/ 384123 h 1032158"/>
                <a:gd name="connsiteX173" fmla="*/ 1017399 w 3024845"/>
                <a:gd name="connsiteY173" fmla="*/ 370882 h 1032158"/>
                <a:gd name="connsiteX174" fmla="*/ 1039693 w 3024845"/>
                <a:gd name="connsiteY174" fmla="*/ 370882 h 1032158"/>
                <a:gd name="connsiteX175" fmla="*/ 1039693 w 3024845"/>
                <a:gd name="connsiteY175" fmla="*/ 369801 h 1032158"/>
                <a:gd name="connsiteX176" fmla="*/ 1039693 w 3024845"/>
                <a:gd name="connsiteY176" fmla="*/ 362235 h 1032158"/>
                <a:gd name="connsiteX177" fmla="*/ 1041466 w 3024845"/>
                <a:gd name="connsiteY177" fmla="*/ 362235 h 1032158"/>
                <a:gd name="connsiteX178" fmla="*/ 1053880 w 3024845"/>
                <a:gd name="connsiteY178" fmla="*/ 362235 h 1032158"/>
                <a:gd name="connsiteX179" fmla="*/ 1053880 w 3024845"/>
                <a:gd name="connsiteY179" fmla="*/ 363316 h 1032158"/>
                <a:gd name="connsiteX180" fmla="*/ 1053880 w 3024845"/>
                <a:gd name="connsiteY180" fmla="*/ 370882 h 1032158"/>
                <a:gd name="connsiteX181" fmla="*/ 1054640 w 3024845"/>
                <a:gd name="connsiteY181" fmla="*/ 370882 h 1032158"/>
                <a:gd name="connsiteX182" fmla="*/ 1059960 w 3024845"/>
                <a:gd name="connsiteY182" fmla="*/ 370882 h 1032158"/>
                <a:gd name="connsiteX183" fmla="*/ 1070093 w 3024845"/>
                <a:gd name="connsiteY183" fmla="*/ 366558 h 1032158"/>
                <a:gd name="connsiteX184" fmla="*/ 1074146 w 3024845"/>
                <a:gd name="connsiteY184" fmla="*/ 369801 h 1032158"/>
                <a:gd name="connsiteX185" fmla="*/ 1074146 w 3024845"/>
                <a:gd name="connsiteY185" fmla="*/ 362235 h 1032158"/>
                <a:gd name="connsiteX186" fmla="*/ 1076426 w 3024845"/>
                <a:gd name="connsiteY186" fmla="*/ 362235 h 1032158"/>
                <a:gd name="connsiteX187" fmla="*/ 1092387 w 3024845"/>
                <a:gd name="connsiteY187" fmla="*/ 362235 h 1032158"/>
                <a:gd name="connsiteX188" fmla="*/ 1092387 w 3024845"/>
                <a:gd name="connsiteY188" fmla="*/ 363316 h 1032158"/>
                <a:gd name="connsiteX189" fmla="*/ 1092387 w 3024845"/>
                <a:gd name="connsiteY189" fmla="*/ 370882 h 1032158"/>
                <a:gd name="connsiteX190" fmla="*/ 1122787 w 3024845"/>
                <a:gd name="connsiteY190" fmla="*/ 370882 h 1032158"/>
                <a:gd name="connsiteX191" fmla="*/ 1122787 w 3024845"/>
                <a:gd name="connsiteY191" fmla="*/ 372503 h 1032158"/>
                <a:gd name="connsiteX192" fmla="*/ 1122787 w 3024845"/>
                <a:gd name="connsiteY192" fmla="*/ 383853 h 1032158"/>
                <a:gd name="connsiteX193" fmla="*/ 1149134 w 3024845"/>
                <a:gd name="connsiteY193" fmla="*/ 383853 h 1032158"/>
                <a:gd name="connsiteX194" fmla="*/ 1149134 w 3024845"/>
                <a:gd name="connsiteY194" fmla="*/ 414117 h 1032158"/>
                <a:gd name="connsiteX195" fmla="*/ 1149894 w 3024845"/>
                <a:gd name="connsiteY195" fmla="*/ 414117 h 1032158"/>
                <a:gd name="connsiteX196" fmla="*/ 1155214 w 3024845"/>
                <a:gd name="connsiteY196" fmla="*/ 414117 h 1032158"/>
                <a:gd name="connsiteX197" fmla="*/ 1155214 w 3024845"/>
                <a:gd name="connsiteY197" fmla="*/ 415198 h 1032158"/>
                <a:gd name="connsiteX198" fmla="*/ 1155214 w 3024845"/>
                <a:gd name="connsiteY198" fmla="*/ 422765 h 1032158"/>
                <a:gd name="connsiteX199" fmla="*/ 1159268 w 3024845"/>
                <a:gd name="connsiteY199" fmla="*/ 453029 h 1032158"/>
                <a:gd name="connsiteX200" fmla="*/ 1160028 w 3024845"/>
                <a:gd name="connsiteY200" fmla="*/ 453029 h 1032158"/>
                <a:gd name="connsiteX201" fmla="*/ 1165348 w 3024845"/>
                <a:gd name="connsiteY201" fmla="*/ 453029 h 1032158"/>
                <a:gd name="connsiteX202" fmla="*/ 1165348 w 3024845"/>
                <a:gd name="connsiteY202" fmla="*/ 453840 h 1032158"/>
                <a:gd name="connsiteX203" fmla="*/ 1165348 w 3024845"/>
                <a:gd name="connsiteY203" fmla="*/ 459515 h 1032158"/>
                <a:gd name="connsiteX204" fmla="*/ 1166361 w 3024845"/>
                <a:gd name="connsiteY204" fmla="*/ 459515 h 1032158"/>
                <a:gd name="connsiteX205" fmla="*/ 1173454 w 3024845"/>
                <a:gd name="connsiteY205" fmla="*/ 459515 h 1032158"/>
                <a:gd name="connsiteX206" fmla="*/ 1173454 w 3024845"/>
                <a:gd name="connsiteY206" fmla="*/ 489780 h 1032158"/>
                <a:gd name="connsiteX207" fmla="*/ 1175481 w 3024845"/>
                <a:gd name="connsiteY207" fmla="*/ 489780 h 1032158"/>
                <a:gd name="connsiteX208" fmla="*/ 1189668 w 3024845"/>
                <a:gd name="connsiteY208" fmla="*/ 489780 h 1032158"/>
                <a:gd name="connsiteX209" fmla="*/ 1189668 w 3024845"/>
                <a:gd name="connsiteY209" fmla="*/ 513559 h 1032158"/>
                <a:gd name="connsiteX210" fmla="*/ 1191695 w 3024845"/>
                <a:gd name="connsiteY210" fmla="*/ 515180 h 1032158"/>
                <a:gd name="connsiteX211" fmla="*/ 1191695 w 3024845"/>
                <a:gd name="connsiteY211" fmla="*/ 526530 h 1032158"/>
                <a:gd name="connsiteX212" fmla="*/ 1192455 w 3024845"/>
                <a:gd name="connsiteY212" fmla="*/ 526530 h 1032158"/>
                <a:gd name="connsiteX213" fmla="*/ 1197775 w 3024845"/>
                <a:gd name="connsiteY213" fmla="*/ 526530 h 1032158"/>
                <a:gd name="connsiteX214" fmla="*/ 1197775 w 3024845"/>
                <a:gd name="connsiteY214" fmla="*/ 550309 h 1032158"/>
                <a:gd name="connsiteX215" fmla="*/ 1199041 w 3024845"/>
                <a:gd name="connsiteY215" fmla="*/ 550309 h 1032158"/>
                <a:gd name="connsiteX216" fmla="*/ 1207908 w 3024845"/>
                <a:gd name="connsiteY216" fmla="*/ 550309 h 1032158"/>
                <a:gd name="connsiteX217" fmla="*/ 1209935 w 3024845"/>
                <a:gd name="connsiteY217" fmla="*/ 554363 h 1032158"/>
                <a:gd name="connsiteX218" fmla="*/ 1209935 w 3024845"/>
                <a:gd name="connsiteY218" fmla="*/ 567604 h 1032158"/>
                <a:gd name="connsiteX219" fmla="*/ 1211455 w 3024845"/>
                <a:gd name="connsiteY219" fmla="*/ 565712 h 1032158"/>
                <a:gd name="connsiteX220" fmla="*/ 1222095 w 3024845"/>
                <a:gd name="connsiteY220" fmla="*/ 552471 h 1032158"/>
                <a:gd name="connsiteX221" fmla="*/ 1250469 w 3024845"/>
                <a:gd name="connsiteY221" fmla="*/ 552471 h 1032158"/>
                <a:gd name="connsiteX222" fmla="*/ 1250469 w 3024845"/>
                <a:gd name="connsiteY222" fmla="*/ 638942 h 1032158"/>
                <a:gd name="connsiteX223" fmla="*/ 1251229 w 3024845"/>
                <a:gd name="connsiteY223" fmla="*/ 638942 h 1032158"/>
                <a:gd name="connsiteX224" fmla="*/ 1256549 w 3024845"/>
                <a:gd name="connsiteY224" fmla="*/ 638942 h 1032158"/>
                <a:gd name="connsiteX225" fmla="*/ 1257309 w 3024845"/>
                <a:gd name="connsiteY225" fmla="*/ 637591 h 1032158"/>
                <a:gd name="connsiteX226" fmla="*/ 1262629 w 3024845"/>
                <a:gd name="connsiteY226" fmla="*/ 628133 h 1032158"/>
                <a:gd name="connsiteX227" fmla="*/ 1262629 w 3024845"/>
                <a:gd name="connsiteY227" fmla="*/ 630025 h 1032158"/>
                <a:gd name="connsiteX228" fmla="*/ 1262629 w 3024845"/>
                <a:gd name="connsiteY228" fmla="*/ 643266 h 1032158"/>
                <a:gd name="connsiteX229" fmla="*/ 1266682 w 3024845"/>
                <a:gd name="connsiteY229" fmla="*/ 597869 h 1032158"/>
                <a:gd name="connsiteX230" fmla="*/ 1267442 w 3024845"/>
                <a:gd name="connsiteY230" fmla="*/ 597869 h 1032158"/>
                <a:gd name="connsiteX231" fmla="*/ 1272762 w 3024845"/>
                <a:gd name="connsiteY231" fmla="*/ 597869 h 1032158"/>
                <a:gd name="connsiteX232" fmla="*/ 1272762 w 3024845"/>
                <a:gd name="connsiteY232" fmla="*/ 533015 h 1032158"/>
                <a:gd name="connsiteX233" fmla="*/ 1273776 w 3024845"/>
                <a:gd name="connsiteY233" fmla="*/ 533015 h 1032158"/>
                <a:gd name="connsiteX234" fmla="*/ 1280869 w 3024845"/>
                <a:gd name="connsiteY234" fmla="*/ 533015 h 1032158"/>
                <a:gd name="connsiteX235" fmla="*/ 1293029 w 3024845"/>
                <a:gd name="connsiteY235" fmla="*/ 489780 h 1032158"/>
                <a:gd name="connsiteX236" fmla="*/ 1294296 w 3024845"/>
                <a:gd name="connsiteY236" fmla="*/ 489780 h 1032158"/>
                <a:gd name="connsiteX237" fmla="*/ 1303163 w 3024845"/>
                <a:gd name="connsiteY237" fmla="*/ 489780 h 1032158"/>
                <a:gd name="connsiteX238" fmla="*/ 1313296 w 3024845"/>
                <a:gd name="connsiteY238" fmla="*/ 533015 h 1032158"/>
                <a:gd name="connsiteX239" fmla="*/ 1314309 w 3024845"/>
                <a:gd name="connsiteY239" fmla="*/ 533015 h 1032158"/>
                <a:gd name="connsiteX240" fmla="*/ 1321403 w 3024845"/>
                <a:gd name="connsiteY240" fmla="*/ 533015 h 1032158"/>
                <a:gd name="connsiteX241" fmla="*/ 1321403 w 3024845"/>
                <a:gd name="connsiteY241" fmla="*/ 571927 h 1032158"/>
                <a:gd name="connsiteX242" fmla="*/ 1323176 w 3024845"/>
                <a:gd name="connsiteY242" fmla="*/ 571927 h 1032158"/>
                <a:gd name="connsiteX243" fmla="*/ 1335590 w 3024845"/>
                <a:gd name="connsiteY243" fmla="*/ 571927 h 1032158"/>
                <a:gd name="connsiteX244" fmla="*/ 1335590 w 3024845"/>
                <a:gd name="connsiteY244" fmla="*/ 574089 h 1032158"/>
                <a:gd name="connsiteX245" fmla="*/ 1335590 w 3024845"/>
                <a:gd name="connsiteY245" fmla="*/ 589221 h 1032158"/>
                <a:gd name="connsiteX246" fmla="*/ 1339643 w 3024845"/>
                <a:gd name="connsiteY246" fmla="*/ 587060 h 1032158"/>
                <a:gd name="connsiteX247" fmla="*/ 1339643 w 3024845"/>
                <a:gd name="connsiteY247" fmla="*/ 571927 h 1032158"/>
                <a:gd name="connsiteX248" fmla="*/ 1341163 w 3024845"/>
                <a:gd name="connsiteY248" fmla="*/ 571927 h 1032158"/>
                <a:gd name="connsiteX249" fmla="*/ 1351803 w 3024845"/>
                <a:gd name="connsiteY249" fmla="*/ 571927 h 1032158"/>
                <a:gd name="connsiteX250" fmla="*/ 1351803 w 3024845"/>
                <a:gd name="connsiteY250" fmla="*/ 573548 h 1032158"/>
                <a:gd name="connsiteX251" fmla="*/ 1351803 w 3024845"/>
                <a:gd name="connsiteY251" fmla="*/ 584898 h 1032158"/>
                <a:gd name="connsiteX252" fmla="*/ 1382204 w 3024845"/>
                <a:gd name="connsiteY252" fmla="*/ 584898 h 1032158"/>
                <a:gd name="connsiteX253" fmla="*/ 1382204 w 3024845"/>
                <a:gd name="connsiteY253" fmla="*/ 548148 h 1032158"/>
                <a:gd name="connsiteX254" fmla="*/ 1383470 w 3024845"/>
                <a:gd name="connsiteY254" fmla="*/ 548148 h 1032158"/>
                <a:gd name="connsiteX255" fmla="*/ 1392337 w 3024845"/>
                <a:gd name="connsiteY255" fmla="*/ 548148 h 1032158"/>
                <a:gd name="connsiteX256" fmla="*/ 1392337 w 3024845"/>
                <a:gd name="connsiteY256" fmla="*/ 569765 h 1032158"/>
                <a:gd name="connsiteX257" fmla="*/ 1394364 w 3024845"/>
                <a:gd name="connsiteY257" fmla="*/ 537339 h 1032158"/>
                <a:gd name="connsiteX258" fmla="*/ 1416657 w 3024845"/>
                <a:gd name="connsiteY258" fmla="*/ 537339 h 1032158"/>
                <a:gd name="connsiteX259" fmla="*/ 1416657 w 3024845"/>
                <a:gd name="connsiteY259" fmla="*/ 535717 h 1032158"/>
                <a:gd name="connsiteX260" fmla="*/ 1416657 w 3024845"/>
                <a:gd name="connsiteY260" fmla="*/ 524368 h 1032158"/>
                <a:gd name="connsiteX261" fmla="*/ 1417417 w 3024845"/>
                <a:gd name="connsiteY261" fmla="*/ 524368 h 1032158"/>
                <a:gd name="connsiteX262" fmla="*/ 1422737 w 3024845"/>
                <a:gd name="connsiteY262" fmla="*/ 524368 h 1032158"/>
                <a:gd name="connsiteX263" fmla="*/ 1422737 w 3024845"/>
                <a:gd name="connsiteY263" fmla="*/ 522477 h 1032158"/>
                <a:gd name="connsiteX264" fmla="*/ 1422737 w 3024845"/>
                <a:gd name="connsiteY264" fmla="*/ 509236 h 1032158"/>
                <a:gd name="connsiteX265" fmla="*/ 1426791 w 3024845"/>
                <a:gd name="connsiteY265" fmla="*/ 515721 h 1032158"/>
                <a:gd name="connsiteX266" fmla="*/ 1429071 w 3024845"/>
                <a:gd name="connsiteY266" fmla="*/ 515721 h 1032158"/>
                <a:gd name="connsiteX267" fmla="*/ 1445031 w 3024845"/>
                <a:gd name="connsiteY267" fmla="*/ 515721 h 1032158"/>
                <a:gd name="connsiteX268" fmla="*/ 1445031 w 3024845"/>
                <a:gd name="connsiteY268" fmla="*/ 514910 h 1032158"/>
                <a:gd name="connsiteX269" fmla="*/ 1445031 w 3024845"/>
                <a:gd name="connsiteY269" fmla="*/ 509236 h 1032158"/>
                <a:gd name="connsiteX270" fmla="*/ 1445791 w 3024845"/>
                <a:gd name="connsiteY270" fmla="*/ 509236 h 1032158"/>
                <a:gd name="connsiteX271" fmla="*/ 1451111 w 3024845"/>
                <a:gd name="connsiteY271" fmla="*/ 509236 h 1032158"/>
                <a:gd name="connsiteX272" fmla="*/ 1451111 w 3024845"/>
                <a:gd name="connsiteY272" fmla="*/ 510587 h 1032158"/>
                <a:gd name="connsiteX273" fmla="*/ 1451111 w 3024845"/>
                <a:gd name="connsiteY273" fmla="*/ 520045 h 1032158"/>
                <a:gd name="connsiteX274" fmla="*/ 1489618 w 3024845"/>
                <a:gd name="connsiteY274" fmla="*/ 520045 h 1032158"/>
                <a:gd name="connsiteX275" fmla="*/ 1489618 w 3024845"/>
                <a:gd name="connsiteY275" fmla="*/ 658398 h 1032158"/>
                <a:gd name="connsiteX276" fmla="*/ 1491138 w 3024845"/>
                <a:gd name="connsiteY276" fmla="*/ 658398 h 1032158"/>
                <a:gd name="connsiteX277" fmla="*/ 1501778 w 3024845"/>
                <a:gd name="connsiteY277" fmla="*/ 658398 h 1032158"/>
                <a:gd name="connsiteX278" fmla="*/ 1501778 w 3024845"/>
                <a:gd name="connsiteY278" fmla="*/ 645428 h 1032158"/>
                <a:gd name="connsiteX279" fmla="*/ 1505832 w 3024845"/>
                <a:gd name="connsiteY279" fmla="*/ 645428 h 1032158"/>
                <a:gd name="connsiteX280" fmla="*/ 1505832 w 3024845"/>
                <a:gd name="connsiteY280" fmla="*/ 658398 h 1032158"/>
                <a:gd name="connsiteX281" fmla="*/ 1536232 w 3024845"/>
                <a:gd name="connsiteY281" fmla="*/ 658398 h 1032158"/>
                <a:gd name="connsiteX282" fmla="*/ 1536232 w 3024845"/>
                <a:gd name="connsiteY282" fmla="*/ 628133 h 1032158"/>
                <a:gd name="connsiteX283" fmla="*/ 1548392 w 3024845"/>
                <a:gd name="connsiteY283" fmla="*/ 628133 h 1032158"/>
                <a:gd name="connsiteX284" fmla="*/ 1560552 w 3024845"/>
                <a:gd name="connsiteY284" fmla="*/ 625972 h 1032158"/>
                <a:gd name="connsiteX285" fmla="*/ 1564606 w 3024845"/>
                <a:gd name="connsiteY285" fmla="*/ 628133 h 1032158"/>
                <a:gd name="connsiteX286" fmla="*/ 1574739 w 3024845"/>
                <a:gd name="connsiteY286" fmla="*/ 628133 h 1032158"/>
                <a:gd name="connsiteX287" fmla="*/ 1574739 w 3024845"/>
                <a:gd name="connsiteY287" fmla="*/ 658398 h 1032158"/>
                <a:gd name="connsiteX288" fmla="*/ 1582846 w 3024845"/>
                <a:gd name="connsiteY288" fmla="*/ 658398 h 1032158"/>
                <a:gd name="connsiteX289" fmla="*/ 1582846 w 3024845"/>
                <a:gd name="connsiteY289" fmla="*/ 675693 h 1032158"/>
                <a:gd name="connsiteX290" fmla="*/ 1592182 w 3024845"/>
                <a:gd name="connsiteY290" fmla="*/ 676598 h 1032158"/>
                <a:gd name="connsiteX291" fmla="*/ 1605140 w 3024845"/>
                <a:gd name="connsiteY291" fmla="*/ 676598 h 1032158"/>
                <a:gd name="connsiteX292" fmla="*/ 1605140 w 3024845"/>
                <a:gd name="connsiteY292" fmla="*/ 660560 h 1032158"/>
                <a:gd name="connsiteX293" fmla="*/ 1673096 w 3024845"/>
                <a:gd name="connsiteY293" fmla="*/ 660560 h 1032158"/>
                <a:gd name="connsiteX294" fmla="*/ 1673096 w 3024845"/>
                <a:gd name="connsiteY294" fmla="*/ 575307 h 1032158"/>
                <a:gd name="connsiteX295" fmla="*/ 1745104 w 3024845"/>
                <a:gd name="connsiteY295" fmla="*/ 575307 h 1032158"/>
                <a:gd name="connsiteX296" fmla="*/ 1745104 w 3024845"/>
                <a:gd name="connsiteY296" fmla="*/ 654075 h 1032158"/>
                <a:gd name="connsiteX297" fmla="*/ 1747008 w 3024845"/>
                <a:gd name="connsiteY297" fmla="*/ 654075 h 1032158"/>
                <a:gd name="connsiteX298" fmla="*/ 1748250 w 3024845"/>
                <a:gd name="connsiteY298" fmla="*/ 676598 h 1032158"/>
                <a:gd name="connsiteX299" fmla="*/ 1757926 w 3024845"/>
                <a:gd name="connsiteY299" fmla="*/ 676598 h 1032158"/>
                <a:gd name="connsiteX300" fmla="*/ 1759168 w 3024845"/>
                <a:gd name="connsiteY300" fmla="*/ 654075 h 1032158"/>
                <a:gd name="connsiteX301" fmla="*/ 1765248 w 3024845"/>
                <a:gd name="connsiteY301" fmla="*/ 654075 h 1032158"/>
                <a:gd name="connsiteX302" fmla="*/ 1766490 w 3024845"/>
                <a:gd name="connsiteY302" fmla="*/ 676598 h 1032158"/>
                <a:gd name="connsiteX303" fmla="*/ 1817112 w 3024845"/>
                <a:gd name="connsiteY303" fmla="*/ 676598 h 1032158"/>
                <a:gd name="connsiteX304" fmla="*/ 1817112 w 3024845"/>
                <a:gd name="connsiteY304" fmla="*/ 513570 h 1032158"/>
                <a:gd name="connsiteX305" fmla="*/ 2014439 w 3024845"/>
                <a:gd name="connsiteY305" fmla="*/ 513570 h 1032158"/>
                <a:gd name="connsiteX306" fmla="*/ 2014439 w 3024845"/>
                <a:gd name="connsiteY306" fmla="*/ 676598 h 1032158"/>
                <a:gd name="connsiteX307" fmla="*/ 2033136 w 3024845"/>
                <a:gd name="connsiteY307" fmla="*/ 676598 h 1032158"/>
                <a:gd name="connsiteX308" fmla="*/ 2033136 w 3024845"/>
                <a:gd name="connsiteY308" fmla="*/ 593905 h 1032158"/>
                <a:gd name="connsiteX309" fmla="*/ 2128256 w 3024845"/>
                <a:gd name="connsiteY309" fmla="*/ 593905 h 1032158"/>
                <a:gd name="connsiteX310" fmla="*/ 2146266 w 3024845"/>
                <a:gd name="connsiteY310" fmla="*/ 104983 h 1032158"/>
                <a:gd name="connsiteX311" fmla="*/ 2150320 w 3024845"/>
                <a:gd name="connsiteY311" fmla="*/ 33644 h 1032158"/>
                <a:gd name="connsiteX312" fmla="*/ 2180720 w 3024845"/>
                <a:gd name="connsiteY312" fmla="*/ 528692 h 1032158"/>
                <a:gd name="connsiteX313" fmla="*/ 2245574 w 3024845"/>
                <a:gd name="connsiteY313" fmla="*/ 528692 h 1032158"/>
                <a:gd name="connsiteX314" fmla="*/ 2245574 w 3024845"/>
                <a:gd name="connsiteY314" fmla="*/ 604354 h 1032158"/>
                <a:gd name="connsiteX315" fmla="*/ 2253681 w 3024845"/>
                <a:gd name="connsiteY315" fmla="*/ 604354 h 1032158"/>
                <a:gd name="connsiteX316" fmla="*/ 2255708 w 3024845"/>
                <a:gd name="connsiteY316" fmla="*/ 597869 h 1032158"/>
                <a:gd name="connsiteX317" fmla="*/ 2261788 w 3024845"/>
                <a:gd name="connsiteY317" fmla="*/ 597869 h 1032158"/>
                <a:gd name="connsiteX318" fmla="*/ 2263815 w 3024845"/>
                <a:gd name="connsiteY318" fmla="*/ 606516 h 1032158"/>
                <a:gd name="connsiteX319" fmla="*/ 2275975 w 3024845"/>
                <a:gd name="connsiteY319" fmla="*/ 606516 h 1032158"/>
                <a:gd name="connsiteX320" fmla="*/ 2275975 w 3024845"/>
                <a:gd name="connsiteY320" fmla="*/ 600030 h 1032158"/>
                <a:gd name="connsiteX321" fmla="*/ 2298268 w 3024845"/>
                <a:gd name="connsiteY321" fmla="*/ 600030 h 1032158"/>
                <a:gd name="connsiteX322" fmla="*/ 2298268 w 3024845"/>
                <a:gd name="connsiteY322" fmla="*/ 606516 h 1032158"/>
                <a:gd name="connsiteX323" fmla="*/ 2318535 w 3024845"/>
                <a:gd name="connsiteY323" fmla="*/ 606516 h 1032158"/>
                <a:gd name="connsiteX324" fmla="*/ 2318535 w 3024845"/>
                <a:gd name="connsiteY324" fmla="*/ 651913 h 1032158"/>
                <a:gd name="connsiteX325" fmla="*/ 2332722 w 3024845"/>
                <a:gd name="connsiteY325" fmla="*/ 651913 h 1032158"/>
                <a:gd name="connsiteX326" fmla="*/ 2332722 w 3024845"/>
                <a:gd name="connsiteY326" fmla="*/ 638942 h 1032158"/>
                <a:gd name="connsiteX327" fmla="*/ 2348936 w 3024845"/>
                <a:gd name="connsiteY327" fmla="*/ 638942 h 1032158"/>
                <a:gd name="connsiteX328" fmla="*/ 2348936 w 3024845"/>
                <a:gd name="connsiteY328" fmla="*/ 459515 h 1032158"/>
                <a:gd name="connsiteX329" fmla="*/ 2355016 w 3024845"/>
                <a:gd name="connsiteY329" fmla="*/ 453029 h 1032158"/>
                <a:gd name="connsiteX330" fmla="*/ 2427977 w 3024845"/>
                <a:gd name="connsiteY330" fmla="*/ 453029 h 1032158"/>
                <a:gd name="connsiteX331" fmla="*/ 2427977 w 3024845"/>
                <a:gd name="connsiteY331" fmla="*/ 461677 h 1032158"/>
                <a:gd name="connsiteX332" fmla="*/ 2438110 w 3024845"/>
                <a:gd name="connsiteY332" fmla="*/ 461677 h 1032158"/>
                <a:gd name="connsiteX333" fmla="*/ 2438110 w 3024845"/>
                <a:gd name="connsiteY333" fmla="*/ 576251 h 1032158"/>
                <a:gd name="connsiteX334" fmla="*/ 2460404 w 3024845"/>
                <a:gd name="connsiteY334" fmla="*/ 576251 h 1032158"/>
                <a:gd name="connsiteX335" fmla="*/ 2460404 w 3024845"/>
                <a:gd name="connsiteY335" fmla="*/ 509236 h 1032158"/>
                <a:gd name="connsiteX336" fmla="*/ 2486751 w 3024845"/>
                <a:gd name="connsiteY336" fmla="*/ 509236 h 1032158"/>
                <a:gd name="connsiteX337" fmla="*/ 2490804 w 3024845"/>
                <a:gd name="connsiteY337" fmla="*/ 504912 h 1032158"/>
                <a:gd name="connsiteX338" fmla="*/ 2498911 w 3024845"/>
                <a:gd name="connsiteY338" fmla="*/ 504912 h 1032158"/>
                <a:gd name="connsiteX339" fmla="*/ 2502964 w 3024845"/>
                <a:gd name="connsiteY339" fmla="*/ 509236 h 1032158"/>
                <a:gd name="connsiteX340" fmla="*/ 2525258 w 3024845"/>
                <a:gd name="connsiteY340" fmla="*/ 509236 h 1032158"/>
                <a:gd name="connsiteX341" fmla="*/ 2525258 w 3024845"/>
                <a:gd name="connsiteY341" fmla="*/ 392500 h 1032158"/>
                <a:gd name="connsiteX342" fmla="*/ 2582005 w 3024845"/>
                <a:gd name="connsiteY342" fmla="*/ 381691 h 1032158"/>
                <a:gd name="connsiteX343" fmla="*/ 2582005 w 3024845"/>
                <a:gd name="connsiteY343" fmla="*/ 382772 h 1032158"/>
                <a:gd name="connsiteX344" fmla="*/ 2582005 w 3024845"/>
                <a:gd name="connsiteY344" fmla="*/ 390338 h 1032158"/>
                <a:gd name="connsiteX345" fmla="*/ 2608352 w 3024845"/>
                <a:gd name="connsiteY345" fmla="*/ 390338 h 1032158"/>
                <a:gd name="connsiteX346" fmla="*/ 2608352 w 3024845"/>
                <a:gd name="connsiteY346" fmla="*/ 645428 h 1032158"/>
                <a:gd name="connsiteX347" fmla="*/ 2630646 w 3024845"/>
                <a:gd name="connsiteY347" fmla="*/ 645428 h 1032158"/>
                <a:gd name="connsiteX348" fmla="*/ 2630646 w 3024845"/>
                <a:gd name="connsiteY348" fmla="*/ 641104 h 1032158"/>
                <a:gd name="connsiteX349" fmla="*/ 2642806 w 3024845"/>
                <a:gd name="connsiteY349" fmla="*/ 641104 h 1032158"/>
                <a:gd name="connsiteX350" fmla="*/ 2642806 w 3024845"/>
                <a:gd name="connsiteY350" fmla="*/ 645428 h 1032158"/>
                <a:gd name="connsiteX351" fmla="*/ 2667126 w 3024845"/>
                <a:gd name="connsiteY351" fmla="*/ 645428 h 1032158"/>
                <a:gd name="connsiteX352" fmla="*/ 2667126 w 3024845"/>
                <a:gd name="connsiteY352" fmla="*/ 632457 h 1032158"/>
                <a:gd name="connsiteX353" fmla="*/ 2695500 w 3024845"/>
                <a:gd name="connsiteY353" fmla="*/ 632457 h 1032158"/>
                <a:gd name="connsiteX354" fmla="*/ 2707660 w 3024845"/>
                <a:gd name="connsiteY354" fmla="*/ 628133 h 1032158"/>
                <a:gd name="connsiteX355" fmla="*/ 2727927 w 3024845"/>
                <a:gd name="connsiteY355" fmla="*/ 632457 h 1032158"/>
                <a:gd name="connsiteX356" fmla="*/ 2727927 w 3024845"/>
                <a:gd name="connsiteY356" fmla="*/ 615163 h 1032158"/>
                <a:gd name="connsiteX357" fmla="*/ 2736034 w 3024845"/>
                <a:gd name="connsiteY357" fmla="*/ 615163 h 1032158"/>
                <a:gd name="connsiteX358" fmla="*/ 2736034 w 3024845"/>
                <a:gd name="connsiteY358" fmla="*/ 602192 h 1032158"/>
                <a:gd name="connsiteX359" fmla="*/ 2792781 w 3024845"/>
                <a:gd name="connsiteY359" fmla="*/ 602192 h 1032158"/>
                <a:gd name="connsiteX360" fmla="*/ 2792781 w 3024845"/>
                <a:gd name="connsiteY360" fmla="*/ 571927 h 1032158"/>
                <a:gd name="connsiteX361" fmla="*/ 2811021 w 3024845"/>
                <a:gd name="connsiteY361" fmla="*/ 571927 h 1032158"/>
                <a:gd name="connsiteX362" fmla="*/ 2811021 w 3024845"/>
                <a:gd name="connsiteY362" fmla="*/ 565442 h 1032158"/>
                <a:gd name="connsiteX363" fmla="*/ 2823181 w 3024845"/>
                <a:gd name="connsiteY363" fmla="*/ 565442 h 1032158"/>
                <a:gd name="connsiteX364" fmla="*/ 2823181 w 3024845"/>
                <a:gd name="connsiteY364" fmla="*/ 571927 h 1032158"/>
                <a:gd name="connsiteX365" fmla="*/ 2839395 w 3024845"/>
                <a:gd name="connsiteY365" fmla="*/ 571927 h 1032158"/>
                <a:gd name="connsiteX366" fmla="*/ 2839395 w 3024845"/>
                <a:gd name="connsiteY366" fmla="*/ 621648 h 1032158"/>
                <a:gd name="connsiteX367" fmla="*/ 2871822 w 3024845"/>
                <a:gd name="connsiteY367" fmla="*/ 621648 h 1032158"/>
                <a:gd name="connsiteX368" fmla="*/ 2871822 w 3024845"/>
                <a:gd name="connsiteY368" fmla="*/ 595707 h 1032158"/>
                <a:gd name="connsiteX369" fmla="*/ 2910329 w 3024845"/>
                <a:gd name="connsiteY369" fmla="*/ 595707 h 1032158"/>
                <a:gd name="connsiteX370" fmla="*/ 2910329 w 3024845"/>
                <a:gd name="connsiteY370" fmla="*/ 565442 h 1032158"/>
                <a:gd name="connsiteX371" fmla="*/ 2958970 w 3024845"/>
                <a:gd name="connsiteY371" fmla="*/ 565442 h 1032158"/>
                <a:gd name="connsiteX372" fmla="*/ 2958970 w 3024845"/>
                <a:gd name="connsiteY372" fmla="*/ 676598 h 1032158"/>
                <a:gd name="connsiteX373" fmla="*/ 2958970 w 3024845"/>
                <a:gd name="connsiteY373" fmla="*/ 690377 h 1032158"/>
                <a:gd name="connsiteX374" fmla="*/ 3024845 w 3024845"/>
                <a:gd name="connsiteY374" fmla="*/ 690377 h 1032158"/>
                <a:gd name="connsiteX375" fmla="*/ 3024845 w 3024845"/>
                <a:gd name="connsiteY375" fmla="*/ 1032158 h 1032158"/>
                <a:gd name="connsiteX376" fmla="*/ 2054 w 3024845"/>
                <a:gd name="connsiteY376" fmla="*/ 1029825 h 1032158"/>
                <a:gd name="connsiteX377" fmla="*/ 0 w 3024845"/>
                <a:gd name="connsiteY377" fmla="*/ 595707 h 1032158"/>
                <a:gd name="connsiteX378" fmla="*/ 20267 w 3024845"/>
                <a:gd name="connsiteY378" fmla="*/ 595707 h 1032158"/>
                <a:gd name="connsiteX379" fmla="*/ 20774 w 3024845"/>
                <a:gd name="connsiteY379" fmla="*/ 594626 h 1032158"/>
                <a:gd name="connsiteX380" fmla="*/ 24320 w 3024845"/>
                <a:gd name="connsiteY380" fmla="*/ 587060 h 1032158"/>
                <a:gd name="connsiteX381" fmla="*/ 26094 w 3024845"/>
                <a:gd name="connsiteY381" fmla="*/ 587330 h 1032158"/>
                <a:gd name="connsiteX382" fmla="*/ 38507 w 3024845"/>
                <a:gd name="connsiteY382" fmla="*/ 589221 h 1032158"/>
                <a:gd name="connsiteX383" fmla="*/ 39014 w 3024845"/>
                <a:gd name="connsiteY383" fmla="*/ 590573 h 1032158"/>
                <a:gd name="connsiteX384" fmla="*/ 42560 w 3024845"/>
                <a:gd name="connsiteY384" fmla="*/ 600030 h 1032158"/>
                <a:gd name="connsiteX385" fmla="*/ 68907 w 3024845"/>
                <a:gd name="connsiteY385" fmla="*/ 602192 h 1032158"/>
                <a:gd name="connsiteX386" fmla="*/ 68907 w 3024845"/>
                <a:gd name="connsiteY386" fmla="*/ 478971 h 1032158"/>
                <a:gd name="connsiteX387" fmla="*/ 70934 w 3024845"/>
                <a:gd name="connsiteY387" fmla="*/ 478971 h 1032158"/>
                <a:gd name="connsiteX388" fmla="*/ 85121 w 3024845"/>
                <a:gd name="connsiteY388" fmla="*/ 478971 h 1032158"/>
                <a:gd name="connsiteX389" fmla="*/ 85121 w 3024845"/>
                <a:gd name="connsiteY389" fmla="*/ 342779 h 1032158"/>
                <a:gd name="connsiteX390" fmla="*/ 86894 w 3024845"/>
                <a:gd name="connsiteY390" fmla="*/ 342779 h 1032158"/>
                <a:gd name="connsiteX391" fmla="*/ 99308 w 3024845"/>
                <a:gd name="connsiteY391" fmla="*/ 342779 h 1032158"/>
                <a:gd name="connsiteX392" fmla="*/ 99308 w 3024845"/>
                <a:gd name="connsiteY392" fmla="*/ 228205 h 1032158"/>
                <a:gd name="connsiteX393" fmla="*/ 103361 w 3024845"/>
                <a:gd name="connsiteY393" fmla="*/ 200101 h 1032158"/>
                <a:gd name="connsiteX394" fmla="*/ 105388 w 3024845"/>
                <a:gd name="connsiteY394" fmla="*/ 200101 h 1032158"/>
                <a:gd name="connsiteX395" fmla="*/ 119575 w 3024845"/>
                <a:gd name="connsiteY395" fmla="*/ 200101 h 1032158"/>
                <a:gd name="connsiteX0" fmla="*/ 119575 w 3024845"/>
                <a:gd name="connsiteY0" fmla="*/ 95357 h 927414"/>
                <a:gd name="connsiteX1" fmla="*/ 200642 w 3024845"/>
                <a:gd name="connsiteY1" fmla="*/ 93196 h 927414"/>
                <a:gd name="connsiteX2" fmla="*/ 202669 w 3024845"/>
                <a:gd name="connsiteY2" fmla="*/ 93196 h 927414"/>
                <a:gd name="connsiteX3" fmla="*/ 216856 w 3024845"/>
                <a:gd name="connsiteY3" fmla="*/ 93196 h 927414"/>
                <a:gd name="connsiteX4" fmla="*/ 216856 w 3024845"/>
                <a:gd name="connsiteY4" fmla="*/ 116975 h 927414"/>
                <a:gd name="connsiteX5" fmla="*/ 217363 w 3024845"/>
                <a:gd name="connsiteY5" fmla="*/ 117786 h 927414"/>
                <a:gd name="connsiteX6" fmla="*/ 220909 w 3024845"/>
                <a:gd name="connsiteY6" fmla="*/ 123461 h 927414"/>
                <a:gd name="connsiteX7" fmla="*/ 220909 w 3024845"/>
                <a:gd name="connsiteY7" fmla="*/ 238035 h 927414"/>
                <a:gd name="connsiteX8" fmla="*/ 223189 w 3024845"/>
                <a:gd name="connsiteY8" fmla="*/ 238035 h 927414"/>
                <a:gd name="connsiteX9" fmla="*/ 239150 w 3024845"/>
                <a:gd name="connsiteY9" fmla="*/ 238035 h 927414"/>
                <a:gd name="connsiteX10" fmla="*/ 239150 w 3024845"/>
                <a:gd name="connsiteY10" fmla="*/ 378550 h 927414"/>
                <a:gd name="connsiteX11" fmla="*/ 240670 w 3024845"/>
                <a:gd name="connsiteY11" fmla="*/ 378280 h 927414"/>
                <a:gd name="connsiteX12" fmla="*/ 251310 w 3024845"/>
                <a:gd name="connsiteY12" fmla="*/ 376389 h 927414"/>
                <a:gd name="connsiteX13" fmla="*/ 249283 w 3024845"/>
                <a:gd name="connsiteY13" fmla="*/ 465021 h 927414"/>
                <a:gd name="connsiteX14" fmla="*/ 250803 w 3024845"/>
                <a:gd name="connsiteY14" fmla="*/ 465292 h 927414"/>
                <a:gd name="connsiteX15" fmla="*/ 261443 w 3024845"/>
                <a:gd name="connsiteY15" fmla="*/ 467183 h 927414"/>
                <a:gd name="connsiteX16" fmla="*/ 261696 w 3024845"/>
                <a:gd name="connsiteY16" fmla="*/ 467994 h 927414"/>
                <a:gd name="connsiteX17" fmla="*/ 263470 w 3024845"/>
                <a:gd name="connsiteY17" fmla="*/ 473669 h 927414"/>
                <a:gd name="connsiteX18" fmla="*/ 264230 w 3024845"/>
                <a:gd name="connsiteY18" fmla="*/ 471237 h 927414"/>
                <a:gd name="connsiteX19" fmla="*/ 269550 w 3024845"/>
                <a:gd name="connsiteY19" fmla="*/ 454213 h 927414"/>
                <a:gd name="connsiteX20" fmla="*/ 271323 w 3024845"/>
                <a:gd name="connsiteY20" fmla="*/ 454213 h 927414"/>
                <a:gd name="connsiteX21" fmla="*/ 283737 w 3024845"/>
                <a:gd name="connsiteY21" fmla="*/ 454213 h 927414"/>
                <a:gd name="connsiteX22" fmla="*/ 283737 w 3024845"/>
                <a:gd name="connsiteY22" fmla="*/ 486639 h 927414"/>
                <a:gd name="connsiteX23" fmla="*/ 284750 w 3024845"/>
                <a:gd name="connsiteY23" fmla="*/ 487180 h 927414"/>
                <a:gd name="connsiteX24" fmla="*/ 291844 w 3024845"/>
                <a:gd name="connsiteY24" fmla="*/ 490963 h 927414"/>
                <a:gd name="connsiteX25" fmla="*/ 291844 w 3024845"/>
                <a:gd name="connsiteY25" fmla="*/ 492314 h 927414"/>
                <a:gd name="connsiteX26" fmla="*/ 291844 w 3024845"/>
                <a:gd name="connsiteY26" fmla="*/ 501772 h 927414"/>
                <a:gd name="connsiteX27" fmla="*/ 336431 w 3024845"/>
                <a:gd name="connsiteY27" fmla="*/ 501772 h 927414"/>
                <a:gd name="connsiteX28" fmla="*/ 336431 w 3024845"/>
                <a:gd name="connsiteY28" fmla="*/ 502853 h 927414"/>
                <a:gd name="connsiteX29" fmla="*/ 336431 w 3024845"/>
                <a:gd name="connsiteY29" fmla="*/ 510419 h 927414"/>
                <a:gd name="connsiteX30" fmla="*/ 338457 w 3024845"/>
                <a:gd name="connsiteY30" fmla="*/ 510419 h 927414"/>
                <a:gd name="connsiteX31" fmla="*/ 352644 w 3024845"/>
                <a:gd name="connsiteY31" fmla="*/ 510419 h 927414"/>
                <a:gd name="connsiteX32" fmla="*/ 352644 w 3024845"/>
                <a:gd name="connsiteY32" fmla="*/ 480154 h 927414"/>
                <a:gd name="connsiteX33" fmla="*/ 397231 w 3024845"/>
                <a:gd name="connsiteY33" fmla="*/ 480154 h 927414"/>
                <a:gd name="connsiteX34" fmla="*/ 397231 w 3024845"/>
                <a:gd name="connsiteY34" fmla="*/ 478803 h 927414"/>
                <a:gd name="connsiteX35" fmla="*/ 397231 w 3024845"/>
                <a:gd name="connsiteY35" fmla="*/ 469345 h 927414"/>
                <a:gd name="connsiteX36" fmla="*/ 398245 w 3024845"/>
                <a:gd name="connsiteY36" fmla="*/ 469345 h 927414"/>
                <a:gd name="connsiteX37" fmla="*/ 405338 w 3024845"/>
                <a:gd name="connsiteY37" fmla="*/ 469345 h 927414"/>
                <a:gd name="connsiteX38" fmla="*/ 405338 w 3024845"/>
                <a:gd name="connsiteY38" fmla="*/ 467454 h 927414"/>
                <a:gd name="connsiteX39" fmla="*/ 405338 w 3024845"/>
                <a:gd name="connsiteY39" fmla="*/ 454213 h 927414"/>
                <a:gd name="connsiteX40" fmla="*/ 406098 w 3024845"/>
                <a:gd name="connsiteY40" fmla="*/ 454213 h 927414"/>
                <a:gd name="connsiteX41" fmla="*/ 411418 w 3024845"/>
                <a:gd name="connsiteY41" fmla="*/ 454213 h 927414"/>
                <a:gd name="connsiteX42" fmla="*/ 411418 w 3024845"/>
                <a:gd name="connsiteY42" fmla="*/ 453132 h 927414"/>
                <a:gd name="connsiteX43" fmla="*/ 411418 w 3024845"/>
                <a:gd name="connsiteY43" fmla="*/ 445565 h 927414"/>
                <a:gd name="connsiteX44" fmla="*/ 413445 w 3024845"/>
                <a:gd name="connsiteY44" fmla="*/ 445565 h 927414"/>
                <a:gd name="connsiteX45" fmla="*/ 427632 w 3024845"/>
                <a:gd name="connsiteY45" fmla="*/ 445565 h 927414"/>
                <a:gd name="connsiteX46" fmla="*/ 427632 w 3024845"/>
                <a:gd name="connsiteY46" fmla="*/ 446646 h 927414"/>
                <a:gd name="connsiteX47" fmla="*/ 427632 w 3024845"/>
                <a:gd name="connsiteY47" fmla="*/ 454213 h 927414"/>
                <a:gd name="connsiteX48" fmla="*/ 449925 w 3024845"/>
                <a:gd name="connsiteY48" fmla="*/ 454213 h 927414"/>
                <a:gd name="connsiteX49" fmla="*/ 449925 w 3024845"/>
                <a:gd name="connsiteY49" fmla="*/ 452321 h 927414"/>
                <a:gd name="connsiteX50" fmla="*/ 449925 w 3024845"/>
                <a:gd name="connsiteY50" fmla="*/ 439080 h 927414"/>
                <a:gd name="connsiteX51" fmla="*/ 451699 w 3024845"/>
                <a:gd name="connsiteY51" fmla="*/ 439080 h 927414"/>
                <a:gd name="connsiteX52" fmla="*/ 464112 w 3024845"/>
                <a:gd name="connsiteY52" fmla="*/ 439080 h 927414"/>
                <a:gd name="connsiteX53" fmla="*/ 464112 w 3024845"/>
                <a:gd name="connsiteY53" fmla="*/ 462860 h 927414"/>
                <a:gd name="connsiteX54" fmla="*/ 465126 w 3024845"/>
                <a:gd name="connsiteY54" fmla="*/ 462860 h 927414"/>
                <a:gd name="connsiteX55" fmla="*/ 472219 w 3024845"/>
                <a:gd name="connsiteY55" fmla="*/ 462860 h 927414"/>
                <a:gd name="connsiteX56" fmla="*/ 472219 w 3024845"/>
                <a:gd name="connsiteY56" fmla="*/ 461779 h 927414"/>
                <a:gd name="connsiteX57" fmla="*/ 472219 w 3024845"/>
                <a:gd name="connsiteY57" fmla="*/ 454213 h 927414"/>
                <a:gd name="connsiteX58" fmla="*/ 473992 w 3024845"/>
                <a:gd name="connsiteY58" fmla="*/ 454213 h 927414"/>
                <a:gd name="connsiteX59" fmla="*/ 486406 w 3024845"/>
                <a:gd name="connsiteY59" fmla="*/ 454213 h 927414"/>
                <a:gd name="connsiteX60" fmla="*/ 486406 w 3024845"/>
                <a:gd name="connsiteY60" fmla="*/ 480154 h 927414"/>
                <a:gd name="connsiteX61" fmla="*/ 488433 w 3024845"/>
                <a:gd name="connsiteY61" fmla="*/ 480154 h 927414"/>
                <a:gd name="connsiteX62" fmla="*/ 502619 w 3024845"/>
                <a:gd name="connsiteY62" fmla="*/ 480154 h 927414"/>
                <a:gd name="connsiteX63" fmla="*/ 502619 w 3024845"/>
                <a:gd name="connsiteY63" fmla="*/ 481775 h 927414"/>
                <a:gd name="connsiteX64" fmla="*/ 502619 w 3024845"/>
                <a:gd name="connsiteY64" fmla="*/ 493125 h 927414"/>
                <a:gd name="connsiteX65" fmla="*/ 503379 w 3024845"/>
                <a:gd name="connsiteY65" fmla="*/ 493125 h 927414"/>
                <a:gd name="connsiteX66" fmla="*/ 508700 w 3024845"/>
                <a:gd name="connsiteY66" fmla="*/ 493125 h 927414"/>
                <a:gd name="connsiteX67" fmla="*/ 508700 w 3024845"/>
                <a:gd name="connsiteY67" fmla="*/ 492314 h 927414"/>
                <a:gd name="connsiteX68" fmla="*/ 508700 w 3024845"/>
                <a:gd name="connsiteY68" fmla="*/ 486639 h 927414"/>
                <a:gd name="connsiteX69" fmla="*/ 539100 w 3024845"/>
                <a:gd name="connsiteY69" fmla="*/ 486639 h 927414"/>
                <a:gd name="connsiteX70" fmla="*/ 539100 w 3024845"/>
                <a:gd name="connsiteY70" fmla="*/ 510419 h 927414"/>
                <a:gd name="connsiteX71" fmla="*/ 540113 w 3024845"/>
                <a:gd name="connsiteY71" fmla="*/ 510419 h 927414"/>
                <a:gd name="connsiteX72" fmla="*/ 547207 w 3024845"/>
                <a:gd name="connsiteY72" fmla="*/ 510419 h 927414"/>
                <a:gd name="connsiteX73" fmla="*/ 547207 w 3024845"/>
                <a:gd name="connsiteY73" fmla="*/ 511500 h 927414"/>
                <a:gd name="connsiteX74" fmla="*/ 547207 w 3024845"/>
                <a:gd name="connsiteY74" fmla="*/ 519066 h 927414"/>
                <a:gd name="connsiteX75" fmla="*/ 547967 w 3024845"/>
                <a:gd name="connsiteY75" fmla="*/ 519066 h 927414"/>
                <a:gd name="connsiteX76" fmla="*/ 553287 w 3024845"/>
                <a:gd name="connsiteY76" fmla="*/ 519066 h 927414"/>
                <a:gd name="connsiteX77" fmla="*/ 553287 w 3024845"/>
                <a:gd name="connsiteY77" fmla="*/ 516904 h 927414"/>
                <a:gd name="connsiteX78" fmla="*/ 553287 w 3024845"/>
                <a:gd name="connsiteY78" fmla="*/ 501772 h 927414"/>
                <a:gd name="connsiteX79" fmla="*/ 554300 w 3024845"/>
                <a:gd name="connsiteY79" fmla="*/ 501772 h 927414"/>
                <a:gd name="connsiteX80" fmla="*/ 561394 w 3024845"/>
                <a:gd name="connsiteY80" fmla="*/ 501772 h 927414"/>
                <a:gd name="connsiteX81" fmla="*/ 561394 w 3024845"/>
                <a:gd name="connsiteY81" fmla="*/ 502853 h 927414"/>
                <a:gd name="connsiteX82" fmla="*/ 561394 w 3024845"/>
                <a:gd name="connsiteY82" fmla="*/ 510419 h 927414"/>
                <a:gd name="connsiteX83" fmla="*/ 566714 w 3024845"/>
                <a:gd name="connsiteY83" fmla="*/ 508426 h 927414"/>
                <a:gd name="connsiteX84" fmla="*/ 567474 w 3024845"/>
                <a:gd name="connsiteY84" fmla="*/ 507446 h 927414"/>
                <a:gd name="connsiteX85" fmla="*/ 567474 w 3024845"/>
                <a:gd name="connsiteY85" fmla="*/ 501772 h 927414"/>
                <a:gd name="connsiteX86" fmla="*/ 605981 w 3024845"/>
                <a:gd name="connsiteY86" fmla="*/ 501772 h 927414"/>
                <a:gd name="connsiteX87" fmla="*/ 605981 w 3024845"/>
                <a:gd name="connsiteY87" fmla="*/ 525551 h 927414"/>
                <a:gd name="connsiteX88" fmla="*/ 608007 w 3024845"/>
                <a:gd name="connsiteY88" fmla="*/ 525551 h 927414"/>
                <a:gd name="connsiteX89" fmla="*/ 622194 w 3024845"/>
                <a:gd name="connsiteY89" fmla="*/ 525551 h 927414"/>
                <a:gd name="connsiteX90" fmla="*/ 622194 w 3024845"/>
                <a:gd name="connsiteY90" fmla="*/ 526632 h 927414"/>
                <a:gd name="connsiteX91" fmla="*/ 622194 w 3024845"/>
                <a:gd name="connsiteY91" fmla="*/ 534198 h 927414"/>
                <a:gd name="connsiteX92" fmla="*/ 623968 w 3024845"/>
                <a:gd name="connsiteY92" fmla="*/ 534198 h 927414"/>
                <a:gd name="connsiteX93" fmla="*/ 636381 w 3024845"/>
                <a:gd name="connsiteY93" fmla="*/ 534198 h 927414"/>
                <a:gd name="connsiteX94" fmla="*/ 636381 w 3024845"/>
                <a:gd name="connsiteY94" fmla="*/ 510419 h 927414"/>
                <a:gd name="connsiteX95" fmla="*/ 637394 w 3024845"/>
                <a:gd name="connsiteY95" fmla="*/ 510419 h 927414"/>
                <a:gd name="connsiteX96" fmla="*/ 644488 w 3024845"/>
                <a:gd name="connsiteY96" fmla="*/ 510419 h 927414"/>
                <a:gd name="connsiteX97" fmla="*/ 644488 w 3024845"/>
                <a:gd name="connsiteY97" fmla="*/ 477992 h 927414"/>
                <a:gd name="connsiteX98" fmla="*/ 645501 w 3024845"/>
                <a:gd name="connsiteY98" fmla="*/ 477992 h 927414"/>
                <a:gd name="connsiteX99" fmla="*/ 652595 w 3024845"/>
                <a:gd name="connsiteY99" fmla="*/ 477992 h 927414"/>
                <a:gd name="connsiteX100" fmla="*/ 652595 w 3024845"/>
                <a:gd name="connsiteY100" fmla="*/ 476101 h 927414"/>
                <a:gd name="connsiteX101" fmla="*/ 652595 w 3024845"/>
                <a:gd name="connsiteY101" fmla="*/ 462860 h 927414"/>
                <a:gd name="connsiteX102" fmla="*/ 651328 w 3024845"/>
                <a:gd name="connsiteY102" fmla="*/ 461238 h 927414"/>
                <a:gd name="connsiteX103" fmla="*/ 656648 w 3024845"/>
                <a:gd name="connsiteY103" fmla="*/ 449889 h 927414"/>
                <a:gd name="connsiteX104" fmla="*/ 664755 w 3024845"/>
                <a:gd name="connsiteY104" fmla="*/ 477992 h 927414"/>
                <a:gd name="connsiteX105" fmla="*/ 665515 w 3024845"/>
                <a:gd name="connsiteY105" fmla="*/ 477992 h 927414"/>
                <a:gd name="connsiteX106" fmla="*/ 670835 w 3024845"/>
                <a:gd name="connsiteY106" fmla="*/ 477992 h 927414"/>
                <a:gd name="connsiteX107" fmla="*/ 670835 w 3024845"/>
                <a:gd name="connsiteY107" fmla="*/ 372065 h 927414"/>
                <a:gd name="connsiteX108" fmla="*/ 672355 w 3024845"/>
                <a:gd name="connsiteY108" fmla="*/ 372065 h 927414"/>
                <a:gd name="connsiteX109" fmla="*/ 682995 w 3024845"/>
                <a:gd name="connsiteY109" fmla="*/ 372065 h 927414"/>
                <a:gd name="connsiteX110" fmla="*/ 682995 w 3024845"/>
                <a:gd name="connsiteY110" fmla="*/ 324506 h 927414"/>
                <a:gd name="connsiteX111" fmla="*/ 709342 w 3024845"/>
                <a:gd name="connsiteY111" fmla="*/ 324506 h 927414"/>
                <a:gd name="connsiteX112" fmla="*/ 709342 w 3024845"/>
                <a:gd name="connsiteY112" fmla="*/ 302888 h 927414"/>
                <a:gd name="connsiteX113" fmla="*/ 743796 w 3024845"/>
                <a:gd name="connsiteY113" fmla="*/ 302888 h 927414"/>
                <a:gd name="connsiteX114" fmla="*/ 743796 w 3024845"/>
                <a:gd name="connsiteY114" fmla="*/ 305320 h 927414"/>
                <a:gd name="connsiteX115" fmla="*/ 743796 w 3024845"/>
                <a:gd name="connsiteY115" fmla="*/ 322344 h 927414"/>
                <a:gd name="connsiteX116" fmla="*/ 746076 w 3024845"/>
                <a:gd name="connsiteY116" fmla="*/ 322344 h 927414"/>
                <a:gd name="connsiteX117" fmla="*/ 762036 w 3024845"/>
                <a:gd name="connsiteY117" fmla="*/ 322344 h 927414"/>
                <a:gd name="connsiteX118" fmla="*/ 762036 w 3024845"/>
                <a:gd name="connsiteY118" fmla="*/ 369903 h 927414"/>
                <a:gd name="connsiteX119" fmla="*/ 763049 w 3024845"/>
                <a:gd name="connsiteY119" fmla="*/ 369903 h 927414"/>
                <a:gd name="connsiteX120" fmla="*/ 770143 w 3024845"/>
                <a:gd name="connsiteY120" fmla="*/ 369903 h 927414"/>
                <a:gd name="connsiteX121" fmla="*/ 784330 w 3024845"/>
                <a:gd name="connsiteY121" fmla="*/ 374227 h 927414"/>
                <a:gd name="connsiteX122" fmla="*/ 784330 w 3024845"/>
                <a:gd name="connsiteY122" fmla="*/ 413139 h 927414"/>
                <a:gd name="connsiteX123" fmla="*/ 785343 w 3024845"/>
                <a:gd name="connsiteY123" fmla="*/ 413139 h 927414"/>
                <a:gd name="connsiteX124" fmla="*/ 792436 w 3024845"/>
                <a:gd name="connsiteY124" fmla="*/ 413139 h 927414"/>
                <a:gd name="connsiteX125" fmla="*/ 792436 w 3024845"/>
                <a:gd name="connsiteY125" fmla="*/ 414760 h 927414"/>
                <a:gd name="connsiteX126" fmla="*/ 792436 w 3024845"/>
                <a:gd name="connsiteY126" fmla="*/ 426109 h 927414"/>
                <a:gd name="connsiteX127" fmla="*/ 794463 w 3024845"/>
                <a:gd name="connsiteY127" fmla="*/ 426109 h 927414"/>
                <a:gd name="connsiteX128" fmla="*/ 808650 w 3024845"/>
                <a:gd name="connsiteY128" fmla="*/ 426109 h 927414"/>
                <a:gd name="connsiteX129" fmla="*/ 814730 w 3024845"/>
                <a:gd name="connsiteY129" fmla="*/ 432595 h 927414"/>
                <a:gd name="connsiteX130" fmla="*/ 814730 w 3024845"/>
                <a:gd name="connsiteY130" fmla="*/ 454213 h 927414"/>
                <a:gd name="connsiteX131" fmla="*/ 817010 w 3024845"/>
                <a:gd name="connsiteY131" fmla="*/ 454213 h 927414"/>
                <a:gd name="connsiteX132" fmla="*/ 832970 w 3024845"/>
                <a:gd name="connsiteY132" fmla="*/ 454213 h 927414"/>
                <a:gd name="connsiteX133" fmla="*/ 832970 w 3024845"/>
                <a:gd name="connsiteY133" fmla="*/ 455293 h 927414"/>
                <a:gd name="connsiteX134" fmla="*/ 832970 w 3024845"/>
                <a:gd name="connsiteY134" fmla="*/ 462860 h 927414"/>
                <a:gd name="connsiteX135" fmla="*/ 834237 w 3024845"/>
                <a:gd name="connsiteY135" fmla="*/ 462860 h 927414"/>
                <a:gd name="connsiteX136" fmla="*/ 843104 w 3024845"/>
                <a:gd name="connsiteY136" fmla="*/ 462860 h 927414"/>
                <a:gd name="connsiteX137" fmla="*/ 843104 w 3024845"/>
                <a:gd name="connsiteY137" fmla="*/ 465021 h 927414"/>
                <a:gd name="connsiteX138" fmla="*/ 843104 w 3024845"/>
                <a:gd name="connsiteY138" fmla="*/ 480154 h 927414"/>
                <a:gd name="connsiteX139" fmla="*/ 847157 w 3024845"/>
                <a:gd name="connsiteY139" fmla="*/ 478262 h 927414"/>
                <a:gd name="connsiteX140" fmla="*/ 847157 w 3024845"/>
                <a:gd name="connsiteY140" fmla="*/ 465021 h 927414"/>
                <a:gd name="connsiteX141" fmla="*/ 848170 w 3024845"/>
                <a:gd name="connsiteY141" fmla="*/ 465021 h 927414"/>
                <a:gd name="connsiteX142" fmla="*/ 855264 w 3024845"/>
                <a:gd name="connsiteY142" fmla="*/ 465021 h 927414"/>
                <a:gd name="connsiteX143" fmla="*/ 855264 w 3024845"/>
                <a:gd name="connsiteY143" fmla="*/ 466643 h 927414"/>
                <a:gd name="connsiteX144" fmla="*/ 855264 w 3024845"/>
                <a:gd name="connsiteY144" fmla="*/ 477992 h 927414"/>
                <a:gd name="connsiteX145" fmla="*/ 856024 w 3024845"/>
                <a:gd name="connsiteY145" fmla="*/ 477992 h 927414"/>
                <a:gd name="connsiteX146" fmla="*/ 861344 w 3024845"/>
                <a:gd name="connsiteY146" fmla="*/ 477992 h 927414"/>
                <a:gd name="connsiteX147" fmla="*/ 909984 w 3024845"/>
                <a:gd name="connsiteY147" fmla="*/ 473669 h 927414"/>
                <a:gd name="connsiteX148" fmla="*/ 909984 w 3024845"/>
                <a:gd name="connsiteY148" fmla="*/ 475020 h 927414"/>
                <a:gd name="connsiteX149" fmla="*/ 909984 w 3024845"/>
                <a:gd name="connsiteY149" fmla="*/ 484477 h 927414"/>
                <a:gd name="connsiteX150" fmla="*/ 910744 w 3024845"/>
                <a:gd name="connsiteY150" fmla="*/ 484477 h 927414"/>
                <a:gd name="connsiteX151" fmla="*/ 916065 w 3024845"/>
                <a:gd name="connsiteY151" fmla="*/ 484477 h 927414"/>
                <a:gd name="connsiteX152" fmla="*/ 916065 w 3024845"/>
                <a:gd name="connsiteY152" fmla="*/ 486639 h 927414"/>
                <a:gd name="connsiteX153" fmla="*/ 916065 w 3024845"/>
                <a:gd name="connsiteY153" fmla="*/ 501772 h 927414"/>
                <a:gd name="connsiteX154" fmla="*/ 918091 w 3024845"/>
                <a:gd name="connsiteY154" fmla="*/ 500421 h 927414"/>
                <a:gd name="connsiteX155" fmla="*/ 932278 w 3024845"/>
                <a:gd name="connsiteY155" fmla="*/ 490963 h 927414"/>
                <a:gd name="connsiteX156" fmla="*/ 938358 w 3024845"/>
                <a:gd name="connsiteY156" fmla="*/ 449889 h 927414"/>
                <a:gd name="connsiteX157" fmla="*/ 939118 w 3024845"/>
                <a:gd name="connsiteY157" fmla="*/ 449619 h 927414"/>
                <a:gd name="connsiteX158" fmla="*/ 944438 w 3024845"/>
                <a:gd name="connsiteY158" fmla="*/ 447727 h 927414"/>
                <a:gd name="connsiteX159" fmla="*/ 946465 w 3024845"/>
                <a:gd name="connsiteY159" fmla="*/ 378550 h 927414"/>
                <a:gd name="connsiteX160" fmla="*/ 948492 w 3024845"/>
                <a:gd name="connsiteY160" fmla="*/ 447727 h 927414"/>
                <a:gd name="connsiteX161" fmla="*/ 949252 w 3024845"/>
                <a:gd name="connsiteY161" fmla="*/ 447997 h 927414"/>
                <a:gd name="connsiteX162" fmla="*/ 954572 w 3024845"/>
                <a:gd name="connsiteY162" fmla="*/ 449889 h 927414"/>
                <a:gd name="connsiteX163" fmla="*/ 954572 w 3024845"/>
                <a:gd name="connsiteY163" fmla="*/ 363418 h 927414"/>
                <a:gd name="connsiteX164" fmla="*/ 958625 w 3024845"/>
                <a:gd name="connsiteY164" fmla="*/ 330991 h 927414"/>
                <a:gd name="connsiteX165" fmla="*/ 997132 w 3024845"/>
                <a:gd name="connsiteY165" fmla="*/ 330991 h 927414"/>
                <a:gd name="connsiteX166" fmla="*/ 997132 w 3024845"/>
                <a:gd name="connsiteY166" fmla="*/ 363418 h 927414"/>
                <a:gd name="connsiteX167" fmla="*/ 997892 w 3024845"/>
                <a:gd name="connsiteY167" fmla="*/ 363418 h 927414"/>
                <a:gd name="connsiteX168" fmla="*/ 1003212 w 3024845"/>
                <a:gd name="connsiteY168" fmla="*/ 363418 h 927414"/>
                <a:gd name="connsiteX169" fmla="*/ 1003212 w 3024845"/>
                <a:gd name="connsiteY169" fmla="*/ 281270 h 927414"/>
                <a:gd name="connsiteX170" fmla="*/ 1004986 w 3024845"/>
                <a:gd name="connsiteY170" fmla="*/ 281270 h 927414"/>
                <a:gd name="connsiteX171" fmla="*/ 1017399 w 3024845"/>
                <a:gd name="connsiteY171" fmla="*/ 281270 h 927414"/>
                <a:gd name="connsiteX172" fmla="*/ 1017399 w 3024845"/>
                <a:gd name="connsiteY172" fmla="*/ 279379 h 927414"/>
                <a:gd name="connsiteX173" fmla="*/ 1017399 w 3024845"/>
                <a:gd name="connsiteY173" fmla="*/ 266138 h 927414"/>
                <a:gd name="connsiteX174" fmla="*/ 1039693 w 3024845"/>
                <a:gd name="connsiteY174" fmla="*/ 266138 h 927414"/>
                <a:gd name="connsiteX175" fmla="*/ 1039693 w 3024845"/>
                <a:gd name="connsiteY175" fmla="*/ 265057 h 927414"/>
                <a:gd name="connsiteX176" fmla="*/ 1039693 w 3024845"/>
                <a:gd name="connsiteY176" fmla="*/ 257491 h 927414"/>
                <a:gd name="connsiteX177" fmla="*/ 1041466 w 3024845"/>
                <a:gd name="connsiteY177" fmla="*/ 257491 h 927414"/>
                <a:gd name="connsiteX178" fmla="*/ 1053880 w 3024845"/>
                <a:gd name="connsiteY178" fmla="*/ 257491 h 927414"/>
                <a:gd name="connsiteX179" fmla="*/ 1053880 w 3024845"/>
                <a:gd name="connsiteY179" fmla="*/ 258572 h 927414"/>
                <a:gd name="connsiteX180" fmla="*/ 1053880 w 3024845"/>
                <a:gd name="connsiteY180" fmla="*/ 266138 h 927414"/>
                <a:gd name="connsiteX181" fmla="*/ 1054640 w 3024845"/>
                <a:gd name="connsiteY181" fmla="*/ 266138 h 927414"/>
                <a:gd name="connsiteX182" fmla="*/ 1059960 w 3024845"/>
                <a:gd name="connsiteY182" fmla="*/ 266138 h 927414"/>
                <a:gd name="connsiteX183" fmla="*/ 1070093 w 3024845"/>
                <a:gd name="connsiteY183" fmla="*/ 261814 h 927414"/>
                <a:gd name="connsiteX184" fmla="*/ 1074146 w 3024845"/>
                <a:gd name="connsiteY184" fmla="*/ 265057 h 927414"/>
                <a:gd name="connsiteX185" fmla="*/ 1074146 w 3024845"/>
                <a:gd name="connsiteY185" fmla="*/ 257491 h 927414"/>
                <a:gd name="connsiteX186" fmla="*/ 1076426 w 3024845"/>
                <a:gd name="connsiteY186" fmla="*/ 257491 h 927414"/>
                <a:gd name="connsiteX187" fmla="*/ 1092387 w 3024845"/>
                <a:gd name="connsiteY187" fmla="*/ 257491 h 927414"/>
                <a:gd name="connsiteX188" fmla="*/ 1092387 w 3024845"/>
                <a:gd name="connsiteY188" fmla="*/ 258572 h 927414"/>
                <a:gd name="connsiteX189" fmla="*/ 1092387 w 3024845"/>
                <a:gd name="connsiteY189" fmla="*/ 266138 h 927414"/>
                <a:gd name="connsiteX190" fmla="*/ 1122787 w 3024845"/>
                <a:gd name="connsiteY190" fmla="*/ 266138 h 927414"/>
                <a:gd name="connsiteX191" fmla="*/ 1122787 w 3024845"/>
                <a:gd name="connsiteY191" fmla="*/ 267759 h 927414"/>
                <a:gd name="connsiteX192" fmla="*/ 1122787 w 3024845"/>
                <a:gd name="connsiteY192" fmla="*/ 279109 h 927414"/>
                <a:gd name="connsiteX193" fmla="*/ 1149134 w 3024845"/>
                <a:gd name="connsiteY193" fmla="*/ 279109 h 927414"/>
                <a:gd name="connsiteX194" fmla="*/ 1149134 w 3024845"/>
                <a:gd name="connsiteY194" fmla="*/ 309373 h 927414"/>
                <a:gd name="connsiteX195" fmla="*/ 1149894 w 3024845"/>
                <a:gd name="connsiteY195" fmla="*/ 309373 h 927414"/>
                <a:gd name="connsiteX196" fmla="*/ 1155214 w 3024845"/>
                <a:gd name="connsiteY196" fmla="*/ 309373 h 927414"/>
                <a:gd name="connsiteX197" fmla="*/ 1155214 w 3024845"/>
                <a:gd name="connsiteY197" fmla="*/ 310454 h 927414"/>
                <a:gd name="connsiteX198" fmla="*/ 1155214 w 3024845"/>
                <a:gd name="connsiteY198" fmla="*/ 318021 h 927414"/>
                <a:gd name="connsiteX199" fmla="*/ 1159268 w 3024845"/>
                <a:gd name="connsiteY199" fmla="*/ 348285 h 927414"/>
                <a:gd name="connsiteX200" fmla="*/ 1160028 w 3024845"/>
                <a:gd name="connsiteY200" fmla="*/ 348285 h 927414"/>
                <a:gd name="connsiteX201" fmla="*/ 1165348 w 3024845"/>
                <a:gd name="connsiteY201" fmla="*/ 348285 h 927414"/>
                <a:gd name="connsiteX202" fmla="*/ 1165348 w 3024845"/>
                <a:gd name="connsiteY202" fmla="*/ 349096 h 927414"/>
                <a:gd name="connsiteX203" fmla="*/ 1165348 w 3024845"/>
                <a:gd name="connsiteY203" fmla="*/ 354771 h 927414"/>
                <a:gd name="connsiteX204" fmla="*/ 1166361 w 3024845"/>
                <a:gd name="connsiteY204" fmla="*/ 354771 h 927414"/>
                <a:gd name="connsiteX205" fmla="*/ 1173454 w 3024845"/>
                <a:gd name="connsiteY205" fmla="*/ 354771 h 927414"/>
                <a:gd name="connsiteX206" fmla="*/ 1173454 w 3024845"/>
                <a:gd name="connsiteY206" fmla="*/ 385036 h 927414"/>
                <a:gd name="connsiteX207" fmla="*/ 1175481 w 3024845"/>
                <a:gd name="connsiteY207" fmla="*/ 385036 h 927414"/>
                <a:gd name="connsiteX208" fmla="*/ 1189668 w 3024845"/>
                <a:gd name="connsiteY208" fmla="*/ 385036 h 927414"/>
                <a:gd name="connsiteX209" fmla="*/ 1189668 w 3024845"/>
                <a:gd name="connsiteY209" fmla="*/ 408815 h 927414"/>
                <a:gd name="connsiteX210" fmla="*/ 1191695 w 3024845"/>
                <a:gd name="connsiteY210" fmla="*/ 410436 h 927414"/>
                <a:gd name="connsiteX211" fmla="*/ 1191695 w 3024845"/>
                <a:gd name="connsiteY211" fmla="*/ 421786 h 927414"/>
                <a:gd name="connsiteX212" fmla="*/ 1192455 w 3024845"/>
                <a:gd name="connsiteY212" fmla="*/ 421786 h 927414"/>
                <a:gd name="connsiteX213" fmla="*/ 1197775 w 3024845"/>
                <a:gd name="connsiteY213" fmla="*/ 421786 h 927414"/>
                <a:gd name="connsiteX214" fmla="*/ 1197775 w 3024845"/>
                <a:gd name="connsiteY214" fmla="*/ 445565 h 927414"/>
                <a:gd name="connsiteX215" fmla="*/ 1199041 w 3024845"/>
                <a:gd name="connsiteY215" fmla="*/ 445565 h 927414"/>
                <a:gd name="connsiteX216" fmla="*/ 1207908 w 3024845"/>
                <a:gd name="connsiteY216" fmla="*/ 445565 h 927414"/>
                <a:gd name="connsiteX217" fmla="*/ 1209935 w 3024845"/>
                <a:gd name="connsiteY217" fmla="*/ 449619 h 927414"/>
                <a:gd name="connsiteX218" fmla="*/ 1209935 w 3024845"/>
                <a:gd name="connsiteY218" fmla="*/ 462860 h 927414"/>
                <a:gd name="connsiteX219" fmla="*/ 1211455 w 3024845"/>
                <a:gd name="connsiteY219" fmla="*/ 460968 h 927414"/>
                <a:gd name="connsiteX220" fmla="*/ 1222095 w 3024845"/>
                <a:gd name="connsiteY220" fmla="*/ 447727 h 927414"/>
                <a:gd name="connsiteX221" fmla="*/ 1250469 w 3024845"/>
                <a:gd name="connsiteY221" fmla="*/ 447727 h 927414"/>
                <a:gd name="connsiteX222" fmla="*/ 1250469 w 3024845"/>
                <a:gd name="connsiteY222" fmla="*/ 534198 h 927414"/>
                <a:gd name="connsiteX223" fmla="*/ 1251229 w 3024845"/>
                <a:gd name="connsiteY223" fmla="*/ 534198 h 927414"/>
                <a:gd name="connsiteX224" fmla="*/ 1256549 w 3024845"/>
                <a:gd name="connsiteY224" fmla="*/ 534198 h 927414"/>
                <a:gd name="connsiteX225" fmla="*/ 1257309 w 3024845"/>
                <a:gd name="connsiteY225" fmla="*/ 532847 h 927414"/>
                <a:gd name="connsiteX226" fmla="*/ 1262629 w 3024845"/>
                <a:gd name="connsiteY226" fmla="*/ 523389 h 927414"/>
                <a:gd name="connsiteX227" fmla="*/ 1262629 w 3024845"/>
                <a:gd name="connsiteY227" fmla="*/ 525281 h 927414"/>
                <a:gd name="connsiteX228" fmla="*/ 1262629 w 3024845"/>
                <a:gd name="connsiteY228" fmla="*/ 538522 h 927414"/>
                <a:gd name="connsiteX229" fmla="*/ 1266682 w 3024845"/>
                <a:gd name="connsiteY229" fmla="*/ 493125 h 927414"/>
                <a:gd name="connsiteX230" fmla="*/ 1267442 w 3024845"/>
                <a:gd name="connsiteY230" fmla="*/ 493125 h 927414"/>
                <a:gd name="connsiteX231" fmla="*/ 1272762 w 3024845"/>
                <a:gd name="connsiteY231" fmla="*/ 493125 h 927414"/>
                <a:gd name="connsiteX232" fmla="*/ 1272762 w 3024845"/>
                <a:gd name="connsiteY232" fmla="*/ 428271 h 927414"/>
                <a:gd name="connsiteX233" fmla="*/ 1273776 w 3024845"/>
                <a:gd name="connsiteY233" fmla="*/ 428271 h 927414"/>
                <a:gd name="connsiteX234" fmla="*/ 1280869 w 3024845"/>
                <a:gd name="connsiteY234" fmla="*/ 428271 h 927414"/>
                <a:gd name="connsiteX235" fmla="*/ 1293029 w 3024845"/>
                <a:gd name="connsiteY235" fmla="*/ 385036 h 927414"/>
                <a:gd name="connsiteX236" fmla="*/ 1294296 w 3024845"/>
                <a:gd name="connsiteY236" fmla="*/ 385036 h 927414"/>
                <a:gd name="connsiteX237" fmla="*/ 1303163 w 3024845"/>
                <a:gd name="connsiteY237" fmla="*/ 385036 h 927414"/>
                <a:gd name="connsiteX238" fmla="*/ 1313296 w 3024845"/>
                <a:gd name="connsiteY238" fmla="*/ 428271 h 927414"/>
                <a:gd name="connsiteX239" fmla="*/ 1314309 w 3024845"/>
                <a:gd name="connsiteY239" fmla="*/ 428271 h 927414"/>
                <a:gd name="connsiteX240" fmla="*/ 1321403 w 3024845"/>
                <a:gd name="connsiteY240" fmla="*/ 428271 h 927414"/>
                <a:gd name="connsiteX241" fmla="*/ 1321403 w 3024845"/>
                <a:gd name="connsiteY241" fmla="*/ 467183 h 927414"/>
                <a:gd name="connsiteX242" fmla="*/ 1323176 w 3024845"/>
                <a:gd name="connsiteY242" fmla="*/ 467183 h 927414"/>
                <a:gd name="connsiteX243" fmla="*/ 1335590 w 3024845"/>
                <a:gd name="connsiteY243" fmla="*/ 467183 h 927414"/>
                <a:gd name="connsiteX244" fmla="*/ 1335590 w 3024845"/>
                <a:gd name="connsiteY244" fmla="*/ 469345 h 927414"/>
                <a:gd name="connsiteX245" fmla="*/ 1335590 w 3024845"/>
                <a:gd name="connsiteY245" fmla="*/ 484477 h 927414"/>
                <a:gd name="connsiteX246" fmla="*/ 1339643 w 3024845"/>
                <a:gd name="connsiteY246" fmla="*/ 482316 h 927414"/>
                <a:gd name="connsiteX247" fmla="*/ 1339643 w 3024845"/>
                <a:gd name="connsiteY247" fmla="*/ 467183 h 927414"/>
                <a:gd name="connsiteX248" fmla="*/ 1341163 w 3024845"/>
                <a:gd name="connsiteY248" fmla="*/ 467183 h 927414"/>
                <a:gd name="connsiteX249" fmla="*/ 1351803 w 3024845"/>
                <a:gd name="connsiteY249" fmla="*/ 467183 h 927414"/>
                <a:gd name="connsiteX250" fmla="*/ 1351803 w 3024845"/>
                <a:gd name="connsiteY250" fmla="*/ 468804 h 927414"/>
                <a:gd name="connsiteX251" fmla="*/ 1351803 w 3024845"/>
                <a:gd name="connsiteY251" fmla="*/ 480154 h 927414"/>
                <a:gd name="connsiteX252" fmla="*/ 1382204 w 3024845"/>
                <a:gd name="connsiteY252" fmla="*/ 480154 h 927414"/>
                <a:gd name="connsiteX253" fmla="*/ 1382204 w 3024845"/>
                <a:gd name="connsiteY253" fmla="*/ 443404 h 927414"/>
                <a:gd name="connsiteX254" fmla="*/ 1383470 w 3024845"/>
                <a:gd name="connsiteY254" fmla="*/ 443404 h 927414"/>
                <a:gd name="connsiteX255" fmla="*/ 1392337 w 3024845"/>
                <a:gd name="connsiteY255" fmla="*/ 443404 h 927414"/>
                <a:gd name="connsiteX256" fmla="*/ 1392337 w 3024845"/>
                <a:gd name="connsiteY256" fmla="*/ 465021 h 927414"/>
                <a:gd name="connsiteX257" fmla="*/ 1394364 w 3024845"/>
                <a:gd name="connsiteY257" fmla="*/ 432595 h 927414"/>
                <a:gd name="connsiteX258" fmla="*/ 1416657 w 3024845"/>
                <a:gd name="connsiteY258" fmla="*/ 432595 h 927414"/>
                <a:gd name="connsiteX259" fmla="*/ 1416657 w 3024845"/>
                <a:gd name="connsiteY259" fmla="*/ 430973 h 927414"/>
                <a:gd name="connsiteX260" fmla="*/ 1416657 w 3024845"/>
                <a:gd name="connsiteY260" fmla="*/ 419624 h 927414"/>
                <a:gd name="connsiteX261" fmla="*/ 1417417 w 3024845"/>
                <a:gd name="connsiteY261" fmla="*/ 419624 h 927414"/>
                <a:gd name="connsiteX262" fmla="*/ 1422737 w 3024845"/>
                <a:gd name="connsiteY262" fmla="*/ 419624 h 927414"/>
                <a:gd name="connsiteX263" fmla="*/ 1422737 w 3024845"/>
                <a:gd name="connsiteY263" fmla="*/ 417733 h 927414"/>
                <a:gd name="connsiteX264" fmla="*/ 1422737 w 3024845"/>
                <a:gd name="connsiteY264" fmla="*/ 404492 h 927414"/>
                <a:gd name="connsiteX265" fmla="*/ 1426791 w 3024845"/>
                <a:gd name="connsiteY265" fmla="*/ 410977 h 927414"/>
                <a:gd name="connsiteX266" fmla="*/ 1429071 w 3024845"/>
                <a:gd name="connsiteY266" fmla="*/ 410977 h 927414"/>
                <a:gd name="connsiteX267" fmla="*/ 1445031 w 3024845"/>
                <a:gd name="connsiteY267" fmla="*/ 410977 h 927414"/>
                <a:gd name="connsiteX268" fmla="*/ 1445031 w 3024845"/>
                <a:gd name="connsiteY268" fmla="*/ 410166 h 927414"/>
                <a:gd name="connsiteX269" fmla="*/ 1445031 w 3024845"/>
                <a:gd name="connsiteY269" fmla="*/ 404492 h 927414"/>
                <a:gd name="connsiteX270" fmla="*/ 1445791 w 3024845"/>
                <a:gd name="connsiteY270" fmla="*/ 404492 h 927414"/>
                <a:gd name="connsiteX271" fmla="*/ 1451111 w 3024845"/>
                <a:gd name="connsiteY271" fmla="*/ 404492 h 927414"/>
                <a:gd name="connsiteX272" fmla="*/ 1451111 w 3024845"/>
                <a:gd name="connsiteY272" fmla="*/ 405843 h 927414"/>
                <a:gd name="connsiteX273" fmla="*/ 1451111 w 3024845"/>
                <a:gd name="connsiteY273" fmla="*/ 415301 h 927414"/>
                <a:gd name="connsiteX274" fmla="*/ 1489618 w 3024845"/>
                <a:gd name="connsiteY274" fmla="*/ 415301 h 927414"/>
                <a:gd name="connsiteX275" fmla="*/ 1489618 w 3024845"/>
                <a:gd name="connsiteY275" fmla="*/ 553654 h 927414"/>
                <a:gd name="connsiteX276" fmla="*/ 1491138 w 3024845"/>
                <a:gd name="connsiteY276" fmla="*/ 553654 h 927414"/>
                <a:gd name="connsiteX277" fmla="*/ 1501778 w 3024845"/>
                <a:gd name="connsiteY277" fmla="*/ 553654 h 927414"/>
                <a:gd name="connsiteX278" fmla="*/ 1501778 w 3024845"/>
                <a:gd name="connsiteY278" fmla="*/ 540684 h 927414"/>
                <a:gd name="connsiteX279" fmla="*/ 1505832 w 3024845"/>
                <a:gd name="connsiteY279" fmla="*/ 540684 h 927414"/>
                <a:gd name="connsiteX280" fmla="*/ 1505832 w 3024845"/>
                <a:gd name="connsiteY280" fmla="*/ 553654 h 927414"/>
                <a:gd name="connsiteX281" fmla="*/ 1536232 w 3024845"/>
                <a:gd name="connsiteY281" fmla="*/ 553654 h 927414"/>
                <a:gd name="connsiteX282" fmla="*/ 1536232 w 3024845"/>
                <a:gd name="connsiteY282" fmla="*/ 523389 h 927414"/>
                <a:gd name="connsiteX283" fmla="*/ 1548392 w 3024845"/>
                <a:gd name="connsiteY283" fmla="*/ 523389 h 927414"/>
                <a:gd name="connsiteX284" fmla="*/ 1560552 w 3024845"/>
                <a:gd name="connsiteY284" fmla="*/ 521228 h 927414"/>
                <a:gd name="connsiteX285" fmla="*/ 1564606 w 3024845"/>
                <a:gd name="connsiteY285" fmla="*/ 523389 h 927414"/>
                <a:gd name="connsiteX286" fmla="*/ 1574739 w 3024845"/>
                <a:gd name="connsiteY286" fmla="*/ 523389 h 927414"/>
                <a:gd name="connsiteX287" fmla="*/ 1574739 w 3024845"/>
                <a:gd name="connsiteY287" fmla="*/ 553654 h 927414"/>
                <a:gd name="connsiteX288" fmla="*/ 1582846 w 3024845"/>
                <a:gd name="connsiteY288" fmla="*/ 553654 h 927414"/>
                <a:gd name="connsiteX289" fmla="*/ 1582846 w 3024845"/>
                <a:gd name="connsiteY289" fmla="*/ 570949 h 927414"/>
                <a:gd name="connsiteX290" fmla="*/ 1592182 w 3024845"/>
                <a:gd name="connsiteY290" fmla="*/ 571854 h 927414"/>
                <a:gd name="connsiteX291" fmla="*/ 1605140 w 3024845"/>
                <a:gd name="connsiteY291" fmla="*/ 571854 h 927414"/>
                <a:gd name="connsiteX292" fmla="*/ 1605140 w 3024845"/>
                <a:gd name="connsiteY292" fmla="*/ 555816 h 927414"/>
                <a:gd name="connsiteX293" fmla="*/ 1673096 w 3024845"/>
                <a:gd name="connsiteY293" fmla="*/ 555816 h 927414"/>
                <a:gd name="connsiteX294" fmla="*/ 1673096 w 3024845"/>
                <a:gd name="connsiteY294" fmla="*/ 470563 h 927414"/>
                <a:gd name="connsiteX295" fmla="*/ 1745104 w 3024845"/>
                <a:gd name="connsiteY295" fmla="*/ 470563 h 927414"/>
                <a:gd name="connsiteX296" fmla="*/ 1745104 w 3024845"/>
                <a:gd name="connsiteY296" fmla="*/ 549331 h 927414"/>
                <a:gd name="connsiteX297" fmla="*/ 1747008 w 3024845"/>
                <a:gd name="connsiteY297" fmla="*/ 549331 h 927414"/>
                <a:gd name="connsiteX298" fmla="*/ 1748250 w 3024845"/>
                <a:gd name="connsiteY298" fmla="*/ 571854 h 927414"/>
                <a:gd name="connsiteX299" fmla="*/ 1757926 w 3024845"/>
                <a:gd name="connsiteY299" fmla="*/ 571854 h 927414"/>
                <a:gd name="connsiteX300" fmla="*/ 1759168 w 3024845"/>
                <a:gd name="connsiteY300" fmla="*/ 549331 h 927414"/>
                <a:gd name="connsiteX301" fmla="*/ 1765248 w 3024845"/>
                <a:gd name="connsiteY301" fmla="*/ 549331 h 927414"/>
                <a:gd name="connsiteX302" fmla="*/ 1766490 w 3024845"/>
                <a:gd name="connsiteY302" fmla="*/ 571854 h 927414"/>
                <a:gd name="connsiteX303" fmla="*/ 1817112 w 3024845"/>
                <a:gd name="connsiteY303" fmla="*/ 571854 h 927414"/>
                <a:gd name="connsiteX304" fmla="*/ 1817112 w 3024845"/>
                <a:gd name="connsiteY304" fmla="*/ 408826 h 927414"/>
                <a:gd name="connsiteX305" fmla="*/ 2014439 w 3024845"/>
                <a:gd name="connsiteY305" fmla="*/ 408826 h 927414"/>
                <a:gd name="connsiteX306" fmla="*/ 2014439 w 3024845"/>
                <a:gd name="connsiteY306" fmla="*/ 571854 h 927414"/>
                <a:gd name="connsiteX307" fmla="*/ 2033136 w 3024845"/>
                <a:gd name="connsiteY307" fmla="*/ 571854 h 927414"/>
                <a:gd name="connsiteX308" fmla="*/ 2033136 w 3024845"/>
                <a:gd name="connsiteY308" fmla="*/ 489161 h 927414"/>
                <a:gd name="connsiteX309" fmla="*/ 2128256 w 3024845"/>
                <a:gd name="connsiteY309" fmla="*/ 489161 h 927414"/>
                <a:gd name="connsiteX310" fmla="*/ 2146266 w 3024845"/>
                <a:gd name="connsiteY310" fmla="*/ 239 h 927414"/>
                <a:gd name="connsiteX311" fmla="*/ 2180720 w 3024845"/>
                <a:gd name="connsiteY311" fmla="*/ 423948 h 927414"/>
                <a:gd name="connsiteX312" fmla="*/ 2245574 w 3024845"/>
                <a:gd name="connsiteY312" fmla="*/ 423948 h 927414"/>
                <a:gd name="connsiteX313" fmla="*/ 2245574 w 3024845"/>
                <a:gd name="connsiteY313" fmla="*/ 499610 h 927414"/>
                <a:gd name="connsiteX314" fmla="*/ 2253681 w 3024845"/>
                <a:gd name="connsiteY314" fmla="*/ 499610 h 927414"/>
                <a:gd name="connsiteX315" fmla="*/ 2255708 w 3024845"/>
                <a:gd name="connsiteY315" fmla="*/ 493125 h 927414"/>
                <a:gd name="connsiteX316" fmla="*/ 2261788 w 3024845"/>
                <a:gd name="connsiteY316" fmla="*/ 493125 h 927414"/>
                <a:gd name="connsiteX317" fmla="*/ 2263815 w 3024845"/>
                <a:gd name="connsiteY317" fmla="*/ 501772 h 927414"/>
                <a:gd name="connsiteX318" fmla="*/ 2275975 w 3024845"/>
                <a:gd name="connsiteY318" fmla="*/ 501772 h 927414"/>
                <a:gd name="connsiteX319" fmla="*/ 2275975 w 3024845"/>
                <a:gd name="connsiteY319" fmla="*/ 495286 h 927414"/>
                <a:gd name="connsiteX320" fmla="*/ 2298268 w 3024845"/>
                <a:gd name="connsiteY320" fmla="*/ 495286 h 927414"/>
                <a:gd name="connsiteX321" fmla="*/ 2298268 w 3024845"/>
                <a:gd name="connsiteY321" fmla="*/ 501772 h 927414"/>
                <a:gd name="connsiteX322" fmla="*/ 2318535 w 3024845"/>
                <a:gd name="connsiteY322" fmla="*/ 501772 h 927414"/>
                <a:gd name="connsiteX323" fmla="*/ 2318535 w 3024845"/>
                <a:gd name="connsiteY323" fmla="*/ 547169 h 927414"/>
                <a:gd name="connsiteX324" fmla="*/ 2332722 w 3024845"/>
                <a:gd name="connsiteY324" fmla="*/ 547169 h 927414"/>
                <a:gd name="connsiteX325" fmla="*/ 2332722 w 3024845"/>
                <a:gd name="connsiteY325" fmla="*/ 534198 h 927414"/>
                <a:gd name="connsiteX326" fmla="*/ 2348936 w 3024845"/>
                <a:gd name="connsiteY326" fmla="*/ 534198 h 927414"/>
                <a:gd name="connsiteX327" fmla="*/ 2348936 w 3024845"/>
                <a:gd name="connsiteY327" fmla="*/ 354771 h 927414"/>
                <a:gd name="connsiteX328" fmla="*/ 2355016 w 3024845"/>
                <a:gd name="connsiteY328" fmla="*/ 348285 h 927414"/>
                <a:gd name="connsiteX329" fmla="*/ 2427977 w 3024845"/>
                <a:gd name="connsiteY329" fmla="*/ 348285 h 927414"/>
                <a:gd name="connsiteX330" fmla="*/ 2427977 w 3024845"/>
                <a:gd name="connsiteY330" fmla="*/ 356933 h 927414"/>
                <a:gd name="connsiteX331" fmla="*/ 2438110 w 3024845"/>
                <a:gd name="connsiteY331" fmla="*/ 356933 h 927414"/>
                <a:gd name="connsiteX332" fmla="*/ 2438110 w 3024845"/>
                <a:gd name="connsiteY332" fmla="*/ 471507 h 927414"/>
                <a:gd name="connsiteX333" fmla="*/ 2460404 w 3024845"/>
                <a:gd name="connsiteY333" fmla="*/ 471507 h 927414"/>
                <a:gd name="connsiteX334" fmla="*/ 2460404 w 3024845"/>
                <a:gd name="connsiteY334" fmla="*/ 404492 h 927414"/>
                <a:gd name="connsiteX335" fmla="*/ 2486751 w 3024845"/>
                <a:gd name="connsiteY335" fmla="*/ 404492 h 927414"/>
                <a:gd name="connsiteX336" fmla="*/ 2490804 w 3024845"/>
                <a:gd name="connsiteY336" fmla="*/ 400168 h 927414"/>
                <a:gd name="connsiteX337" fmla="*/ 2498911 w 3024845"/>
                <a:gd name="connsiteY337" fmla="*/ 400168 h 927414"/>
                <a:gd name="connsiteX338" fmla="*/ 2502964 w 3024845"/>
                <a:gd name="connsiteY338" fmla="*/ 404492 h 927414"/>
                <a:gd name="connsiteX339" fmla="*/ 2525258 w 3024845"/>
                <a:gd name="connsiteY339" fmla="*/ 404492 h 927414"/>
                <a:gd name="connsiteX340" fmla="*/ 2525258 w 3024845"/>
                <a:gd name="connsiteY340" fmla="*/ 287756 h 927414"/>
                <a:gd name="connsiteX341" fmla="*/ 2582005 w 3024845"/>
                <a:gd name="connsiteY341" fmla="*/ 276947 h 927414"/>
                <a:gd name="connsiteX342" fmla="*/ 2582005 w 3024845"/>
                <a:gd name="connsiteY342" fmla="*/ 278028 h 927414"/>
                <a:gd name="connsiteX343" fmla="*/ 2582005 w 3024845"/>
                <a:gd name="connsiteY343" fmla="*/ 285594 h 927414"/>
                <a:gd name="connsiteX344" fmla="*/ 2608352 w 3024845"/>
                <a:gd name="connsiteY344" fmla="*/ 285594 h 927414"/>
                <a:gd name="connsiteX345" fmla="*/ 2608352 w 3024845"/>
                <a:gd name="connsiteY345" fmla="*/ 540684 h 927414"/>
                <a:gd name="connsiteX346" fmla="*/ 2630646 w 3024845"/>
                <a:gd name="connsiteY346" fmla="*/ 540684 h 927414"/>
                <a:gd name="connsiteX347" fmla="*/ 2630646 w 3024845"/>
                <a:gd name="connsiteY347" fmla="*/ 536360 h 927414"/>
                <a:gd name="connsiteX348" fmla="*/ 2642806 w 3024845"/>
                <a:gd name="connsiteY348" fmla="*/ 536360 h 927414"/>
                <a:gd name="connsiteX349" fmla="*/ 2642806 w 3024845"/>
                <a:gd name="connsiteY349" fmla="*/ 540684 h 927414"/>
                <a:gd name="connsiteX350" fmla="*/ 2667126 w 3024845"/>
                <a:gd name="connsiteY350" fmla="*/ 540684 h 927414"/>
                <a:gd name="connsiteX351" fmla="*/ 2667126 w 3024845"/>
                <a:gd name="connsiteY351" fmla="*/ 527713 h 927414"/>
                <a:gd name="connsiteX352" fmla="*/ 2695500 w 3024845"/>
                <a:gd name="connsiteY352" fmla="*/ 527713 h 927414"/>
                <a:gd name="connsiteX353" fmla="*/ 2707660 w 3024845"/>
                <a:gd name="connsiteY353" fmla="*/ 523389 h 927414"/>
                <a:gd name="connsiteX354" fmla="*/ 2727927 w 3024845"/>
                <a:gd name="connsiteY354" fmla="*/ 527713 h 927414"/>
                <a:gd name="connsiteX355" fmla="*/ 2727927 w 3024845"/>
                <a:gd name="connsiteY355" fmla="*/ 510419 h 927414"/>
                <a:gd name="connsiteX356" fmla="*/ 2736034 w 3024845"/>
                <a:gd name="connsiteY356" fmla="*/ 510419 h 927414"/>
                <a:gd name="connsiteX357" fmla="*/ 2736034 w 3024845"/>
                <a:gd name="connsiteY357" fmla="*/ 497448 h 927414"/>
                <a:gd name="connsiteX358" fmla="*/ 2792781 w 3024845"/>
                <a:gd name="connsiteY358" fmla="*/ 497448 h 927414"/>
                <a:gd name="connsiteX359" fmla="*/ 2792781 w 3024845"/>
                <a:gd name="connsiteY359" fmla="*/ 467183 h 927414"/>
                <a:gd name="connsiteX360" fmla="*/ 2811021 w 3024845"/>
                <a:gd name="connsiteY360" fmla="*/ 467183 h 927414"/>
                <a:gd name="connsiteX361" fmla="*/ 2811021 w 3024845"/>
                <a:gd name="connsiteY361" fmla="*/ 460698 h 927414"/>
                <a:gd name="connsiteX362" fmla="*/ 2823181 w 3024845"/>
                <a:gd name="connsiteY362" fmla="*/ 460698 h 927414"/>
                <a:gd name="connsiteX363" fmla="*/ 2823181 w 3024845"/>
                <a:gd name="connsiteY363" fmla="*/ 467183 h 927414"/>
                <a:gd name="connsiteX364" fmla="*/ 2839395 w 3024845"/>
                <a:gd name="connsiteY364" fmla="*/ 467183 h 927414"/>
                <a:gd name="connsiteX365" fmla="*/ 2839395 w 3024845"/>
                <a:gd name="connsiteY365" fmla="*/ 516904 h 927414"/>
                <a:gd name="connsiteX366" fmla="*/ 2871822 w 3024845"/>
                <a:gd name="connsiteY366" fmla="*/ 516904 h 927414"/>
                <a:gd name="connsiteX367" fmla="*/ 2871822 w 3024845"/>
                <a:gd name="connsiteY367" fmla="*/ 490963 h 927414"/>
                <a:gd name="connsiteX368" fmla="*/ 2910329 w 3024845"/>
                <a:gd name="connsiteY368" fmla="*/ 490963 h 927414"/>
                <a:gd name="connsiteX369" fmla="*/ 2910329 w 3024845"/>
                <a:gd name="connsiteY369" fmla="*/ 460698 h 927414"/>
                <a:gd name="connsiteX370" fmla="*/ 2958970 w 3024845"/>
                <a:gd name="connsiteY370" fmla="*/ 460698 h 927414"/>
                <a:gd name="connsiteX371" fmla="*/ 2958970 w 3024845"/>
                <a:gd name="connsiteY371" fmla="*/ 571854 h 927414"/>
                <a:gd name="connsiteX372" fmla="*/ 2958970 w 3024845"/>
                <a:gd name="connsiteY372" fmla="*/ 585633 h 927414"/>
                <a:gd name="connsiteX373" fmla="*/ 3024845 w 3024845"/>
                <a:gd name="connsiteY373" fmla="*/ 585633 h 927414"/>
                <a:gd name="connsiteX374" fmla="*/ 3024845 w 3024845"/>
                <a:gd name="connsiteY374" fmla="*/ 927414 h 927414"/>
                <a:gd name="connsiteX375" fmla="*/ 2054 w 3024845"/>
                <a:gd name="connsiteY375" fmla="*/ 925081 h 927414"/>
                <a:gd name="connsiteX376" fmla="*/ 0 w 3024845"/>
                <a:gd name="connsiteY376" fmla="*/ 490963 h 927414"/>
                <a:gd name="connsiteX377" fmla="*/ 20267 w 3024845"/>
                <a:gd name="connsiteY377" fmla="*/ 490963 h 927414"/>
                <a:gd name="connsiteX378" fmla="*/ 20774 w 3024845"/>
                <a:gd name="connsiteY378" fmla="*/ 489882 h 927414"/>
                <a:gd name="connsiteX379" fmla="*/ 24320 w 3024845"/>
                <a:gd name="connsiteY379" fmla="*/ 482316 h 927414"/>
                <a:gd name="connsiteX380" fmla="*/ 26094 w 3024845"/>
                <a:gd name="connsiteY380" fmla="*/ 482586 h 927414"/>
                <a:gd name="connsiteX381" fmla="*/ 38507 w 3024845"/>
                <a:gd name="connsiteY381" fmla="*/ 484477 h 927414"/>
                <a:gd name="connsiteX382" fmla="*/ 39014 w 3024845"/>
                <a:gd name="connsiteY382" fmla="*/ 485829 h 927414"/>
                <a:gd name="connsiteX383" fmla="*/ 42560 w 3024845"/>
                <a:gd name="connsiteY383" fmla="*/ 495286 h 927414"/>
                <a:gd name="connsiteX384" fmla="*/ 68907 w 3024845"/>
                <a:gd name="connsiteY384" fmla="*/ 497448 h 927414"/>
                <a:gd name="connsiteX385" fmla="*/ 68907 w 3024845"/>
                <a:gd name="connsiteY385" fmla="*/ 374227 h 927414"/>
                <a:gd name="connsiteX386" fmla="*/ 70934 w 3024845"/>
                <a:gd name="connsiteY386" fmla="*/ 374227 h 927414"/>
                <a:gd name="connsiteX387" fmla="*/ 85121 w 3024845"/>
                <a:gd name="connsiteY387" fmla="*/ 374227 h 927414"/>
                <a:gd name="connsiteX388" fmla="*/ 85121 w 3024845"/>
                <a:gd name="connsiteY388" fmla="*/ 238035 h 927414"/>
                <a:gd name="connsiteX389" fmla="*/ 86894 w 3024845"/>
                <a:gd name="connsiteY389" fmla="*/ 238035 h 927414"/>
                <a:gd name="connsiteX390" fmla="*/ 99308 w 3024845"/>
                <a:gd name="connsiteY390" fmla="*/ 238035 h 927414"/>
                <a:gd name="connsiteX391" fmla="*/ 99308 w 3024845"/>
                <a:gd name="connsiteY391" fmla="*/ 123461 h 927414"/>
                <a:gd name="connsiteX392" fmla="*/ 103361 w 3024845"/>
                <a:gd name="connsiteY392" fmla="*/ 95357 h 927414"/>
                <a:gd name="connsiteX393" fmla="*/ 105388 w 3024845"/>
                <a:gd name="connsiteY393" fmla="*/ 95357 h 927414"/>
                <a:gd name="connsiteX394" fmla="*/ 119575 w 3024845"/>
                <a:gd name="connsiteY394" fmla="*/ 95357 h 927414"/>
                <a:gd name="connsiteX0" fmla="*/ 119575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392" fmla="*/ 105388 w 3024845"/>
                <a:gd name="connsiteY392" fmla="*/ 2161 h 834218"/>
                <a:gd name="connsiteX393" fmla="*/ 119575 w 3024845"/>
                <a:gd name="connsiteY393" fmla="*/ 2161 h 834218"/>
                <a:gd name="connsiteX0" fmla="*/ 105388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392" fmla="*/ 105388 w 3024845"/>
                <a:gd name="connsiteY392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20909 w 3024845"/>
                <a:gd name="connsiteY5" fmla="*/ 30265 h 834218"/>
                <a:gd name="connsiteX6" fmla="*/ 220909 w 3024845"/>
                <a:gd name="connsiteY6" fmla="*/ 144839 h 834218"/>
                <a:gd name="connsiteX7" fmla="*/ 223189 w 3024845"/>
                <a:gd name="connsiteY7" fmla="*/ 144839 h 834218"/>
                <a:gd name="connsiteX8" fmla="*/ 239150 w 3024845"/>
                <a:gd name="connsiteY8" fmla="*/ 144839 h 834218"/>
                <a:gd name="connsiteX9" fmla="*/ 239150 w 3024845"/>
                <a:gd name="connsiteY9" fmla="*/ 285354 h 834218"/>
                <a:gd name="connsiteX10" fmla="*/ 240670 w 3024845"/>
                <a:gd name="connsiteY10" fmla="*/ 285084 h 834218"/>
                <a:gd name="connsiteX11" fmla="*/ 251310 w 3024845"/>
                <a:gd name="connsiteY11" fmla="*/ 283193 h 834218"/>
                <a:gd name="connsiteX12" fmla="*/ 249283 w 3024845"/>
                <a:gd name="connsiteY12" fmla="*/ 371825 h 834218"/>
                <a:gd name="connsiteX13" fmla="*/ 250803 w 3024845"/>
                <a:gd name="connsiteY13" fmla="*/ 372096 h 834218"/>
                <a:gd name="connsiteX14" fmla="*/ 261443 w 3024845"/>
                <a:gd name="connsiteY14" fmla="*/ 373987 h 834218"/>
                <a:gd name="connsiteX15" fmla="*/ 261696 w 3024845"/>
                <a:gd name="connsiteY15" fmla="*/ 374798 h 834218"/>
                <a:gd name="connsiteX16" fmla="*/ 263470 w 3024845"/>
                <a:gd name="connsiteY16" fmla="*/ 380473 h 834218"/>
                <a:gd name="connsiteX17" fmla="*/ 264230 w 3024845"/>
                <a:gd name="connsiteY17" fmla="*/ 378041 h 834218"/>
                <a:gd name="connsiteX18" fmla="*/ 269550 w 3024845"/>
                <a:gd name="connsiteY18" fmla="*/ 361017 h 834218"/>
                <a:gd name="connsiteX19" fmla="*/ 271323 w 3024845"/>
                <a:gd name="connsiteY19" fmla="*/ 361017 h 834218"/>
                <a:gd name="connsiteX20" fmla="*/ 283737 w 3024845"/>
                <a:gd name="connsiteY20" fmla="*/ 361017 h 834218"/>
                <a:gd name="connsiteX21" fmla="*/ 283737 w 3024845"/>
                <a:gd name="connsiteY21" fmla="*/ 393443 h 834218"/>
                <a:gd name="connsiteX22" fmla="*/ 284750 w 3024845"/>
                <a:gd name="connsiteY22" fmla="*/ 393984 h 834218"/>
                <a:gd name="connsiteX23" fmla="*/ 291844 w 3024845"/>
                <a:gd name="connsiteY23" fmla="*/ 397767 h 834218"/>
                <a:gd name="connsiteX24" fmla="*/ 291844 w 3024845"/>
                <a:gd name="connsiteY24" fmla="*/ 399118 h 834218"/>
                <a:gd name="connsiteX25" fmla="*/ 291844 w 3024845"/>
                <a:gd name="connsiteY25" fmla="*/ 408576 h 834218"/>
                <a:gd name="connsiteX26" fmla="*/ 336431 w 3024845"/>
                <a:gd name="connsiteY26" fmla="*/ 408576 h 834218"/>
                <a:gd name="connsiteX27" fmla="*/ 336431 w 3024845"/>
                <a:gd name="connsiteY27" fmla="*/ 409657 h 834218"/>
                <a:gd name="connsiteX28" fmla="*/ 336431 w 3024845"/>
                <a:gd name="connsiteY28" fmla="*/ 417223 h 834218"/>
                <a:gd name="connsiteX29" fmla="*/ 338457 w 3024845"/>
                <a:gd name="connsiteY29" fmla="*/ 417223 h 834218"/>
                <a:gd name="connsiteX30" fmla="*/ 352644 w 3024845"/>
                <a:gd name="connsiteY30" fmla="*/ 417223 h 834218"/>
                <a:gd name="connsiteX31" fmla="*/ 352644 w 3024845"/>
                <a:gd name="connsiteY31" fmla="*/ 386958 h 834218"/>
                <a:gd name="connsiteX32" fmla="*/ 397231 w 3024845"/>
                <a:gd name="connsiteY32" fmla="*/ 386958 h 834218"/>
                <a:gd name="connsiteX33" fmla="*/ 397231 w 3024845"/>
                <a:gd name="connsiteY33" fmla="*/ 385607 h 834218"/>
                <a:gd name="connsiteX34" fmla="*/ 397231 w 3024845"/>
                <a:gd name="connsiteY34" fmla="*/ 376149 h 834218"/>
                <a:gd name="connsiteX35" fmla="*/ 398245 w 3024845"/>
                <a:gd name="connsiteY35" fmla="*/ 376149 h 834218"/>
                <a:gd name="connsiteX36" fmla="*/ 405338 w 3024845"/>
                <a:gd name="connsiteY36" fmla="*/ 376149 h 834218"/>
                <a:gd name="connsiteX37" fmla="*/ 405338 w 3024845"/>
                <a:gd name="connsiteY37" fmla="*/ 374258 h 834218"/>
                <a:gd name="connsiteX38" fmla="*/ 405338 w 3024845"/>
                <a:gd name="connsiteY38" fmla="*/ 361017 h 834218"/>
                <a:gd name="connsiteX39" fmla="*/ 406098 w 3024845"/>
                <a:gd name="connsiteY39" fmla="*/ 361017 h 834218"/>
                <a:gd name="connsiteX40" fmla="*/ 411418 w 3024845"/>
                <a:gd name="connsiteY40" fmla="*/ 361017 h 834218"/>
                <a:gd name="connsiteX41" fmla="*/ 411418 w 3024845"/>
                <a:gd name="connsiteY41" fmla="*/ 359936 h 834218"/>
                <a:gd name="connsiteX42" fmla="*/ 411418 w 3024845"/>
                <a:gd name="connsiteY42" fmla="*/ 352369 h 834218"/>
                <a:gd name="connsiteX43" fmla="*/ 413445 w 3024845"/>
                <a:gd name="connsiteY43" fmla="*/ 352369 h 834218"/>
                <a:gd name="connsiteX44" fmla="*/ 427632 w 3024845"/>
                <a:gd name="connsiteY44" fmla="*/ 352369 h 834218"/>
                <a:gd name="connsiteX45" fmla="*/ 427632 w 3024845"/>
                <a:gd name="connsiteY45" fmla="*/ 353450 h 834218"/>
                <a:gd name="connsiteX46" fmla="*/ 427632 w 3024845"/>
                <a:gd name="connsiteY46" fmla="*/ 361017 h 834218"/>
                <a:gd name="connsiteX47" fmla="*/ 449925 w 3024845"/>
                <a:gd name="connsiteY47" fmla="*/ 361017 h 834218"/>
                <a:gd name="connsiteX48" fmla="*/ 449925 w 3024845"/>
                <a:gd name="connsiteY48" fmla="*/ 359125 h 834218"/>
                <a:gd name="connsiteX49" fmla="*/ 449925 w 3024845"/>
                <a:gd name="connsiteY49" fmla="*/ 345884 h 834218"/>
                <a:gd name="connsiteX50" fmla="*/ 451699 w 3024845"/>
                <a:gd name="connsiteY50" fmla="*/ 345884 h 834218"/>
                <a:gd name="connsiteX51" fmla="*/ 464112 w 3024845"/>
                <a:gd name="connsiteY51" fmla="*/ 345884 h 834218"/>
                <a:gd name="connsiteX52" fmla="*/ 464112 w 3024845"/>
                <a:gd name="connsiteY52" fmla="*/ 369664 h 834218"/>
                <a:gd name="connsiteX53" fmla="*/ 465126 w 3024845"/>
                <a:gd name="connsiteY53" fmla="*/ 369664 h 834218"/>
                <a:gd name="connsiteX54" fmla="*/ 472219 w 3024845"/>
                <a:gd name="connsiteY54" fmla="*/ 369664 h 834218"/>
                <a:gd name="connsiteX55" fmla="*/ 472219 w 3024845"/>
                <a:gd name="connsiteY55" fmla="*/ 368583 h 834218"/>
                <a:gd name="connsiteX56" fmla="*/ 472219 w 3024845"/>
                <a:gd name="connsiteY56" fmla="*/ 361017 h 834218"/>
                <a:gd name="connsiteX57" fmla="*/ 473992 w 3024845"/>
                <a:gd name="connsiteY57" fmla="*/ 361017 h 834218"/>
                <a:gd name="connsiteX58" fmla="*/ 486406 w 3024845"/>
                <a:gd name="connsiteY58" fmla="*/ 361017 h 834218"/>
                <a:gd name="connsiteX59" fmla="*/ 486406 w 3024845"/>
                <a:gd name="connsiteY59" fmla="*/ 386958 h 834218"/>
                <a:gd name="connsiteX60" fmla="*/ 488433 w 3024845"/>
                <a:gd name="connsiteY60" fmla="*/ 386958 h 834218"/>
                <a:gd name="connsiteX61" fmla="*/ 502619 w 3024845"/>
                <a:gd name="connsiteY61" fmla="*/ 386958 h 834218"/>
                <a:gd name="connsiteX62" fmla="*/ 502619 w 3024845"/>
                <a:gd name="connsiteY62" fmla="*/ 388579 h 834218"/>
                <a:gd name="connsiteX63" fmla="*/ 502619 w 3024845"/>
                <a:gd name="connsiteY63" fmla="*/ 399929 h 834218"/>
                <a:gd name="connsiteX64" fmla="*/ 503379 w 3024845"/>
                <a:gd name="connsiteY64" fmla="*/ 399929 h 834218"/>
                <a:gd name="connsiteX65" fmla="*/ 508700 w 3024845"/>
                <a:gd name="connsiteY65" fmla="*/ 399929 h 834218"/>
                <a:gd name="connsiteX66" fmla="*/ 508700 w 3024845"/>
                <a:gd name="connsiteY66" fmla="*/ 399118 h 834218"/>
                <a:gd name="connsiteX67" fmla="*/ 508700 w 3024845"/>
                <a:gd name="connsiteY67" fmla="*/ 393443 h 834218"/>
                <a:gd name="connsiteX68" fmla="*/ 539100 w 3024845"/>
                <a:gd name="connsiteY68" fmla="*/ 393443 h 834218"/>
                <a:gd name="connsiteX69" fmla="*/ 539100 w 3024845"/>
                <a:gd name="connsiteY69" fmla="*/ 417223 h 834218"/>
                <a:gd name="connsiteX70" fmla="*/ 540113 w 3024845"/>
                <a:gd name="connsiteY70" fmla="*/ 417223 h 834218"/>
                <a:gd name="connsiteX71" fmla="*/ 547207 w 3024845"/>
                <a:gd name="connsiteY71" fmla="*/ 417223 h 834218"/>
                <a:gd name="connsiteX72" fmla="*/ 547207 w 3024845"/>
                <a:gd name="connsiteY72" fmla="*/ 418304 h 834218"/>
                <a:gd name="connsiteX73" fmla="*/ 547207 w 3024845"/>
                <a:gd name="connsiteY73" fmla="*/ 425870 h 834218"/>
                <a:gd name="connsiteX74" fmla="*/ 547967 w 3024845"/>
                <a:gd name="connsiteY74" fmla="*/ 425870 h 834218"/>
                <a:gd name="connsiteX75" fmla="*/ 553287 w 3024845"/>
                <a:gd name="connsiteY75" fmla="*/ 425870 h 834218"/>
                <a:gd name="connsiteX76" fmla="*/ 553287 w 3024845"/>
                <a:gd name="connsiteY76" fmla="*/ 423708 h 834218"/>
                <a:gd name="connsiteX77" fmla="*/ 553287 w 3024845"/>
                <a:gd name="connsiteY77" fmla="*/ 408576 h 834218"/>
                <a:gd name="connsiteX78" fmla="*/ 554300 w 3024845"/>
                <a:gd name="connsiteY78" fmla="*/ 408576 h 834218"/>
                <a:gd name="connsiteX79" fmla="*/ 561394 w 3024845"/>
                <a:gd name="connsiteY79" fmla="*/ 408576 h 834218"/>
                <a:gd name="connsiteX80" fmla="*/ 561394 w 3024845"/>
                <a:gd name="connsiteY80" fmla="*/ 409657 h 834218"/>
                <a:gd name="connsiteX81" fmla="*/ 561394 w 3024845"/>
                <a:gd name="connsiteY81" fmla="*/ 417223 h 834218"/>
                <a:gd name="connsiteX82" fmla="*/ 566714 w 3024845"/>
                <a:gd name="connsiteY82" fmla="*/ 415230 h 834218"/>
                <a:gd name="connsiteX83" fmla="*/ 567474 w 3024845"/>
                <a:gd name="connsiteY83" fmla="*/ 414250 h 834218"/>
                <a:gd name="connsiteX84" fmla="*/ 567474 w 3024845"/>
                <a:gd name="connsiteY84" fmla="*/ 408576 h 834218"/>
                <a:gd name="connsiteX85" fmla="*/ 605981 w 3024845"/>
                <a:gd name="connsiteY85" fmla="*/ 408576 h 834218"/>
                <a:gd name="connsiteX86" fmla="*/ 605981 w 3024845"/>
                <a:gd name="connsiteY86" fmla="*/ 432355 h 834218"/>
                <a:gd name="connsiteX87" fmla="*/ 608007 w 3024845"/>
                <a:gd name="connsiteY87" fmla="*/ 432355 h 834218"/>
                <a:gd name="connsiteX88" fmla="*/ 622194 w 3024845"/>
                <a:gd name="connsiteY88" fmla="*/ 432355 h 834218"/>
                <a:gd name="connsiteX89" fmla="*/ 622194 w 3024845"/>
                <a:gd name="connsiteY89" fmla="*/ 433436 h 834218"/>
                <a:gd name="connsiteX90" fmla="*/ 622194 w 3024845"/>
                <a:gd name="connsiteY90" fmla="*/ 441002 h 834218"/>
                <a:gd name="connsiteX91" fmla="*/ 623968 w 3024845"/>
                <a:gd name="connsiteY91" fmla="*/ 441002 h 834218"/>
                <a:gd name="connsiteX92" fmla="*/ 636381 w 3024845"/>
                <a:gd name="connsiteY92" fmla="*/ 441002 h 834218"/>
                <a:gd name="connsiteX93" fmla="*/ 636381 w 3024845"/>
                <a:gd name="connsiteY93" fmla="*/ 417223 h 834218"/>
                <a:gd name="connsiteX94" fmla="*/ 637394 w 3024845"/>
                <a:gd name="connsiteY94" fmla="*/ 417223 h 834218"/>
                <a:gd name="connsiteX95" fmla="*/ 644488 w 3024845"/>
                <a:gd name="connsiteY95" fmla="*/ 417223 h 834218"/>
                <a:gd name="connsiteX96" fmla="*/ 644488 w 3024845"/>
                <a:gd name="connsiteY96" fmla="*/ 384796 h 834218"/>
                <a:gd name="connsiteX97" fmla="*/ 645501 w 3024845"/>
                <a:gd name="connsiteY97" fmla="*/ 384796 h 834218"/>
                <a:gd name="connsiteX98" fmla="*/ 652595 w 3024845"/>
                <a:gd name="connsiteY98" fmla="*/ 384796 h 834218"/>
                <a:gd name="connsiteX99" fmla="*/ 652595 w 3024845"/>
                <a:gd name="connsiteY99" fmla="*/ 382905 h 834218"/>
                <a:gd name="connsiteX100" fmla="*/ 652595 w 3024845"/>
                <a:gd name="connsiteY100" fmla="*/ 369664 h 834218"/>
                <a:gd name="connsiteX101" fmla="*/ 651328 w 3024845"/>
                <a:gd name="connsiteY101" fmla="*/ 368042 h 834218"/>
                <a:gd name="connsiteX102" fmla="*/ 656648 w 3024845"/>
                <a:gd name="connsiteY102" fmla="*/ 356693 h 834218"/>
                <a:gd name="connsiteX103" fmla="*/ 664755 w 3024845"/>
                <a:gd name="connsiteY103" fmla="*/ 384796 h 834218"/>
                <a:gd name="connsiteX104" fmla="*/ 665515 w 3024845"/>
                <a:gd name="connsiteY104" fmla="*/ 384796 h 834218"/>
                <a:gd name="connsiteX105" fmla="*/ 670835 w 3024845"/>
                <a:gd name="connsiteY105" fmla="*/ 384796 h 834218"/>
                <a:gd name="connsiteX106" fmla="*/ 670835 w 3024845"/>
                <a:gd name="connsiteY106" fmla="*/ 278869 h 834218"/>
                <a:gd name="connsiteX107" fmla="*/ 672355 w 3024845"/>
                <a:gd name="connsiteY107" fmla="*/ 278869 h 834218"/>
                <a:gd name="connsiteX108" fmla="*/ 682995 w 3024845"/>
                <a:gd name="connsiteY108" fmla="*/ 278869 h 834218"/>
                <a:gd name="connsiteX109" fmla="*/ 682995 w 3024845"/>
                <a:gd name="connsiteY109" fmla="*/ 231310 h 834218"/>
                <a:gd name="connsiteX110" fmla="*/ 709342 w 3024845"/>
                <a:gd name="connsiteY110" fmla="*/ 231310 h 834218"/>
                <a:gd name="connsiteX111" fmla="*/ 709342 w 3024845"/>
                <a:gd name="connsiteY111" fmla="*/ 209692 h 834218"/>
                <a:gd name="connsiteX112" fmla="*/ 743796 w 3024845"/>
                <a:gd name="connsiteY112" fmla="*/ 209692 h 834218"/>
                <a:gd name="connsiteX113" fmla="*/ 743796 w 3024845"/>
                <a:gd name="connsiteY113" fmla="*/ 212124 h 834218"/>
                <a:gd name="connsiteX114" fmla="*/ 743796 w 3024845"/>
                <a:gd name="connsiteY114" fmla="*/ 229148 h 834218"/>
                <a:gd name="connsiteX115" fmla="*/ 746076 w 3024845"/>
                <a:gd name="connsiteY115" fmla="*/ 229148 h 834218"/>
                <a:gd name="connsiteX116" fmla="*/ 762036 w 3024845"/>
                <a:gd name="connsiteY116" fmla="*/ 229148 h 834218"/>
                <a:gd name="connsiteX117" fmla="*/ 762036 w 3024845"/>
                <a:gd name="connsiteY117" fmla="*/ 276707 h 834218"/>
                <a:gd name="connsiteX118" fmla="*/ 763049 w 3024845"/>
                <a:gd name="connsiteY118" fmla="*/ 276707 h 834218"/>
                <a:gd name="connsiteX119" fmla="*/ 770143 w 3024845"/>
                <a:gd name="connsiteY119" fmla="*/ 276707 h 834218"/>
                <a:gd name="connsiteX120" fmla="*/ 784330 w 3024845"/>
                <a:gd name="connsiteY120" fmla="*/ 281031 h 834218"/>
                <a:gd name="connsiteX121" fmla="*/ 784330 w 3024845"/>
                <a:gd name="connsiteY121" fmla="*/ 319943 h 834218"/>
                <a:gd name="connsiteX122" fmla="*/ 785343 w 3024845"/>
                <a:gd name="connsiteY122" fmla="*/ 319943 h 834218"/>
                <a:gd name="connsiteX123" fmla="*/ 792436 w 3024845"/>
                <a:gd name="connsiteY123" fmla="*/ 319943 h 834218"/>
                <a:gd name="connsiteX124" fmla="*/ 792436 w 3024845"/>
                <a:gd name="connsiteY124" fmla="*/ 321564 h 834218"/>
                <a:gd name="connsiteX125" fmla="*/ 792436 w 3024845"/>
                <a:gd name="connsiteY125" fmla="*/ 332913 h 834218"/>
                <a:gd name="connsiteX126" fmla="*/ 794463 w 3024845"/>
                <a:gd name="connsiteY126" fmla="*/ 332913 h 834218"/>
                <a:gd name="connsiteX127" fmla="*/ 808650 w 3024845"/>
                <a:gd name="connsiteY127" fmla="*/ 332913 h 834218"/>
                <a:gd name="connsiteX128" fmla="*/ 814730 w 3024845"/>
                <a:gd name="connsiteY128" fmla="*/ 339399 h 834218"/>
                <a:gd name="connsiteX129" fmla="*/ 814730 w 3024845"/>
                <a:gd name="connsiteY129" fmla="*/ 361017 h 834218"/>
                <a:gd name="connsiteX130" fmla="*/ 817010 w 3024845"/>
                <a:gd name="connsiteY130" fmla="*/ 361017 h 834218"/>
                <a:gd name="connsiteX131" fmla="*/ 832970 w 3024845"/>
                <a:gd name="connsiteY131" fmla="*/ 361017 h 834218"/>
                <a:gd name="connsiteX132" fmla="*/ 832970 w 3024845"/>
                <a:gd name="connsiteY132" fmla="*/ 362097 h 834218"/>
                <a:gd name="connsiteX133" fmla="*/ 832970 w 3024845"/>
                <a:gd name="connsiteY133" fmla="*/ 369664 h 834218"/>
                <a:gd name="connsiteX134" fmla="*/ 834237 w 3024845"/>
                <a:gd name="connsiteY134" fmla="*/ 369664 h 834218"/>
                <a:gd name="connsiteX135" fmla="*/ 843104 w 3024845"/>
                <a:gd name="connsiteY135" fmla="*/ 369664 h 834218"/>
                <a:gd name="connsiteX136" fmla="*/ 843104 w 3024845"/>
                <a:gd name="connsiteY136" fmla="*/ 371825 h 834218"/>
                <a:gd name="connsiteX137" fmla="*/ 843104 w 3024845"/>
                <a:gd name="connsiteY137" fmla="*/ 386958 h 834218"/>
                <a:gd name="connsiteX138" fmla="*/ 847157 w 3024845"/>
                <a:gd name="connsiteY138" fmla="*/ 385066 h 834218"/>
                <a:gd name="connsiteX139" fmla="*/ 847157 w 3024845"/>
                <a:gd name="connsiteY139" fmla="*/ 371825 h 834218"/>
                <a:gd name="connsiteX140" fmla="*/ 848170 w 3024845"/>
                <a:gd name="connsiteY140" fmla="*/ 371825 h 834218"/>
                <a:gd name="connsiteX141" fmla="*/ 855264 w 3024845"/>
                <a:gd name="connsiteY141" fmla="*/ 371825 h 834218"/>
                <a:gd name="connsiteX142" fmla="*/ 855264 w 3024845"/>
                <a:gd name="connsiteY142" fmla="*/ 373447 h 834218"/>
                <a:gd name="connsiteX143" fmla="*/ 855264 w 3024845"/>
                <a:gd name="connsiteY143" fmla="*/ 384796 h 834218"/>
                <a:gd name="connsiteX144" fmla="*/ 856024 w 3024845"/>
                <a:gd name="connsiteY144" fmla="*/ 384796 h 834218"/>
                <a:gd name="connsiteX145" fmla="*/ 861344 w 3024845"/>
                <a:gd name="connsiteY145" fmla="*/ 384796 h 834218"/>
                <a:gd name="connsiteX146" fmla="*/ 909984 w 3024845"/>
                <a:gd name="connsiteY146" fmla="*/ 380473 h 834218"/>
                <a:gd name="connsiteX147" fmla="*/ 909984 w 3024845"/>
                <a:gd name="connsiteY147" fmla="*/ 381824 h 834218"/>
                <a:gd name="connsiteX148" fmla="*/ 909984 w 3024845"/>
                <a:gd name="connsiteY148" fmla="*/ 391281 h 834218"/>
                <a:gd name="connsiteX149" fmla="*/ 910744 w 3024845"/>
                <a:gd name="connsiteY149" fmla="*/ 391281 h 834218"/>
                <a:gd name="connsiteX150" fmla="*/ 916065 w 3024845"/>
                <a:gd name="connsiteY150" fmla="*/ 391281 h 834218"/>
                <a:gd name="connsiteX151" fmla="*/ 916065 w 3024845"/>
                <a:gd name="connsiteY151" fmla="*/ 393443 h 834218"/>
                <a:gd name="connsiteX152" fmla="*/ 916065 w 3024845"/>
                <a:gd name="connsiteY152" fmla="*/ 408576 h 834218"/>
                <a:gd name="connsiteX153" fmla="*/ 918091 w 3024845"/>
                <a:gd name="connsiteY153" fmla="*/ 407225 h 834218"/>
                <a:gd name="connsiteX154" fmla="*/ 932278 w 3024845"/>
                <a:gd name="connsiteY154" fmla="*/ 397767 h 834218"/>
                <a:gd name="connsiteX155" fmla="*/ 938358 w 3024845"/>
                <a:gd name="connsiteY155" fmla="*/ 356693 h 834218"/>
                <a:gd name="connsiteX156" fmla="*/ 939118 w 3024845"/>
                <a:gd name="connsiteY156" fmla="*/ 356423 h 834218"/>
                <a:gd name="connsiteX157" fmla="*/ 944438 w 3024845"/>
                <a:gd name="connsiteY157" fmla="*/ 354531 h 834218"/>
                <a:gd name="connsiteX158" fmla="*/ 946465 w 3024845"/>
                <a:gd name="connsiteY158" fmla="*/ 285354 h 834218"/>
                <a:gd name="connsiteX159" fmla="*/ 948492 w 3024845"/>
                <a:gd name="connsiteY159" fmla="*/ 354531 h 834218"/>
                <a:gd name="connsiteX160" fmla="*/ 949252 w 3024845"/>
                <a:gd name="connsiteY160" fmla="*/ 354801 h 834218"/>
                <a:gd name="connsiteX161" fmla="*/ 954572 w 3024845"/>
                <a:gd name="connsiteY161" fmla="*/ 356693 h 834218"/>
                <a:gd name="connsiteX162" fmla="*/ 954572 w 3024845"/>
                <a:gd name="connsiteY162" fmla="*/ 270222 h 834218"/>
                <a:gd name="connsiteX163" fmla="*/ 958625 w 3024845"/>
                <a:gd name="connsiteY163" fmla="*/ 237795 h 834218"/>
                <a:gd name="connsiteX164" fmla="*/ 997132 w 3024845"/>
                <a:gd name="connsiteY164" fmla="*/ 237795 h 834218"/>
                <a:gd name="connsiteX165" fmla="*/ 997132 w 3024845"/>
                <a:gd name="connsiteY165" fmla="*/ 270222 h 834218"/>
                <a:gd name="connsiteX166" fmla="*/ 997892 w 3024845"/>
                <a:gd name="connsiteY166" fmla="*/ 270222 h 834218"/>
                <a:gd name="connsiteX167" fmla="*/ 1003212 w 3024845"/>
                <a:gd name="connsiteY167" fmla="*/ 270222 h 834218"/>
                <a:gd name="connsiteX168" fmla="*/ 1003212 w 3024845"/>
                <a:gd name="connsiteY168" fmla="*/ 188074 h 834218"/>
                <a:gd name="connsiteX169" fmla="*/ 1004986 w 3024845"/>
                <a:gd name="connsiteY169" fmla="*/ 188074 h 834218"/>
                <a:gd name="connsiteX170" fmla="*/ 1017399 w 3024845"/>
                <a:gd name="connsiteY170" fmla="*/ 188074 h 834218"/>
                <a:gd name="connsiteX171" fmla="*/ 1017399 w 3024845"/>
                <a:gd name="connsiteY171" fmla="*/ 186183 h 834218"/>
                <a:gd name="connsiteX172" fmla="*/ 1017399 w 3024845"/>
                <a:gd name="connsiteY172" fmla="*/ 172942 h 834218"/>
                <a:gd name="connsiteX173" fmla="*/ 1039693 w 3024845"/>
                <a:gd name="connsiteY173" fmla="*/ 172942 h 834218"/>
                <a:gd name="connsiteX174" fmla="*/ 1039693 w 3024845"/>
                <a:gd name="connsiteY174" fmla="*/ 171861 h 834218"/>
                <a:gd name="connsiteX175" fmla="*/ 1039693 w 3024845"/>
                <a:gd name="connsiteY175" fmla="*/ 164295 h 834218"/>
                <a:gd name="connsiteX176" fmla="*/ 1041466 w 3024845"/>
                <a:gd name="connsiteY176" fmla="*/ 164295 h 834218"/>
                <a:gd name="connsiteX177" fmla="*/ 1053880 w 3024845"/>
                <a:gd name="connsiteY177" fmla="*/ 164295 h 834218"/>
                <a:gd name="connsiteX178" fmla="*/ 1053880 w 3024845"/>
                <a:gd name="connsiteY178" fmla="*/ 165376 h 834218"/>
                <a:gd name="connsiteX179" fmla="*/ 1053880 w 3024845"/>
                <a:gd name="connsiteY179" fmla="*/ 172942 h 834218"/>
                <a:gd name="connsiteX180" fmla="*/ 1054640 w 3024845"/>
                <a:gd name="connsiteY180" fmla="*/ 172942 h 834218"/>
                <a:gd name="connsiteX181" fmla="*/ 1059960 w 3024845"/>
                <a:gd name="connsiteY181" fmla="*/ 172942 h 834218"/>
                <a:gd name="connsiteX182" fmla="*/ 1070093 w 3024845"/>
                <a:gd name="connsiteY182" fmla="*/ 168618 h 834218"/>
                <a:gd name="connsiteX183" fmla="*/ 1074146 w 3024845"/>
                <a:gd name="connsiteY183" fmla="*/ 171861 h 834218"/>
                <a:gd name="connsiteX184" fmla="*/ 1074146 w 3024845"/>
                <a:gd name="connsiteY184" fmla="*/ 164295 h 834218"/>
                <a:gd name="connsiteX185" fmla="*/ 1076426 w 3024845"/>
                <a:gd name="connsiteY185" fmla="*/ 164295 h 834218"/>
                <a:gd name="connsiteX186" fmla="*/ 1092387 w 3024845"/>
                <a:gd name="connsiteY186" fmla="*/ 164295 h 834218"/>
                <a:gd name="connsiteX187" fmla="*/ 1092387 w 3024845"/>
                <a:gd name="connsiteY187" fmla="*/ 165376 h 834218"/>
                <a:gd name="connsiteX188" fmla="*/ 1092387 w 3024845"/>
                <a:gd name="connsiteY188" fmla="*/ 172942 h 834218"/>
                <a:gd name="connsiteX189" fmla="*/ 1122787 w 3024845"/>
                <a:gd name="connsiteY189" fmla="*/ 172942 h 834218"/>
                <a:gd name="connsiteX190" fmla="*/ 1122787 w 3024845"/>
                <a:gd name="connsiteY190" fmla="*/ 174563 h 834218"/>
                <a:gd name="connsiteX191" fmla="*/ 1122787 w 3024845"/>
                <a:gd name="connsiteY191" fmla="*/ 185913 h 834218"/>
                <a:gd name="connsiteX192" fmla="*/ 1149134 w 3024845"/>
                <a:gd name="connsiteY192" fmla="*/ 185913 h 834218"/>
                <a:gd name="connsiteX193" fmla="*/ 1149134 w 3024845"/>
                <a:gd name="connsiteY193" fmla="*/ 216177 h 834218"/>
                <a:gd name="connsiteX194" fmla="*/ 1149894 w 3024845"/>
                <a:gd name="connsiteY194" fmla="*/ 216177 h 834218"/>
                <a:gd name="connsiteX195" fmla="*/ 1155214 w 3024845"/>
                <a:gd name="connsiteY195" fmla="*/ 216177 h 834218"/>
                <a:gd name="connsiteX196" fmla="*/ 1155214 w 3024845"/>
                <a:gd name="connsiteY196" fmla="*/ 217258 h 834218"/>
                <a:gd name="connsiteX197" fmla="*/ 1155214 w 3024845"/>
                <a:gd name="connsiteY197" fmla="*/ 224825 h 834218"/>
                <a:gd name="connsiteX198" fmla="*/ 1159268 w 3024845"/>
                <a:gd name="connsiteY198" fmla="*/ 255089 h 834218"/>
                <a:gd name="connsiteX199" fmla="*/ 1160028 w 3024845"/>
                <a:gd name="connsiteY199" fmla="*/ 255089 h 834218"/>
                <a:gd name="connsiteX200" fmla="*/ 1165348 w 3024845"/>
                <a:gd name="connsiteY200" fmla="*/ 255089 h 834218"/>
                <a:gd name="connsiteX201" fmla="*/ 1165348 w 3024845"/>
                <a:gd name="connsiteY201" fmla="*/ 255900 h 834218"/>
                <a:gd name="connsiteX202" fmla="*/ 1165348 w 3024845"/>
                <a:gd name="connsiteY202" fmla="*/ 261575 h 834218"/>
                <a:gd name="connsiteX203" fmla="*/ 1166361 w 3024845"/>
                <a:gd name="connsiteY203" fmla="*/ 261575 h 834218"/>
                <a:gd name="connsiteX204" fmla="*/ 1173454 w 3024845"/>
                <a:gd name="connsiteY204" fmla="*/ 261575 h 834218"/>
                <a:gd name="connsiteX205" fmla="*/ 1173454 w 3024845"/>
                <a:gd name="connsiteY205" fmla="*/ 291840 h 834218"/>
                <a:gd name="connsiteX206" fmla="*/ 1175481 w 3024845"/>
                <a:gd name="connsiteY206" fmla="*/ 291840 h 834218"/>
                <a:gd name="connsiteX207" fmla="*/ 1189668 w 3024845"/>
                <a:gd name="connsiteY207" fmla="*/ 291840 h 834218"/>
                <a:gd name="connsiteX208" fmla="*/ 1189668 w 3024845"/>
                <a:gd name="connsiteY208" fmla="*/ 315619 h 834218"/>
                <a:gd name="connsiteX209" fmla="*/ 1191695 w 3024845"/>
                <a:gd name="connsiteY209" fmla="*/ 317240 h 834218"/>
                <a:gd name="connsiteX210" fmla="*/ 1191695 w 3024845"/>
                <a:gd name="connsiteY210" fmla="*/ 328590 h 834218"/>
                <a:gd name="connsiteX211" fmla="*/ 1192455 w 3024845"/>
                <a:gd name="connsiteY211" fmla="*/ 328590 h 834218"/>
                <a:gd name="connsiteX212" fmla="*/ 1197775 w 3024845"/>
                <a:gd name="connsiteY212" fmla="*/ 328590 h 834218"/>
                <a:gd name="connsiteX213" fmla="*/ 1197775 w 3024845"/>
                <a:gd name="connsiteY213" fmla="*/ 352369 h 834218"/>
                <a:gd name="connsiteX214" fmla="*/ 1199041 w 3024845"/>
                <a:gd name="connsiteY214" fmla="*/ 352369 h 834218"/>
                <a:gd name="connsiteX215" fmla="*/ 1207908 w 3024845"/>
                <a:gd name="connsiteY215" fmla="*/ 352369 h 834218"/>
                <a:gd name="connsiteX216" fmla="*/ 1209935 w 3024845"/>
                <a:gd name="connsiteY216" fmla="*/ 356423 h 834218"/>
                <a:gd name="connsiteX217" fmla="*/ 1209935 w 3024845"/>
                <a:gd name="connsiteY217" fmla="*/ 369664 h 834218"/>
                <a:gd name="connsiteX218" fmla="*/ 1211455 w 3024845"/>
                <a:gd name="connsiteY218" fmla="*/ 367772 h 834218"/>
                <a:gd name="connsiteX219" fmla="*/ 1222095 w 3024845"/>
                <a:gd name="connsiteY219" fmla="*/ 354531 h 834218"/>
                <a:gd name="connsiteX220" fmla="*/ 1250469 w 3024845"/>
                <a:gd name="connsiteY220" fmla="*/ 354531 h 834218"/>
                <a:gd name="connsiteX221" fmla="*/ 1250469 w 3024845"/>
                <a:gd name="connsiteY221" fmla="*/ 441002 h 834218"/>
                <a:gd name="connsiteX222" fmla="*/ 1251229 w 3024845"/>
                <a:gd name="connsiteY222" fmla="*/ 441002 h 834218"/>
                <a:gd name="connsiteX223" fmla="*/ 1256549 w 3024845"/>
                <a:gd name="connsiteY223" fmla="*/ 441002 h 834218"/>
                <a:gd name="connsiteX224" fmla="*/ 1257309 w 3024845"/>
                <a:gd name="connsiteY224" fmla="*/ 439651 h 834218"/>
                <a:gd name="connsiteX225" fmla="*/ 1262629 w 3024845"/>
                <a:gd name="connsiteY225" fmla="*/ 430193 h 834218"/>
                <a:gd name="connsiteX226" fmla="*/ 1262629 w 3024845"/>
                <a:gd name="connsiteY226" fmla="*/ 432085 h 834218"/>
                <a:gd name="connsiteX227" fmla="*/ 1262629 w 3024845"/>
                <a:gd name="connsiteY227" fmla="*/ 445326 h 834218"/>
                <a:gd name="connsiteX228" fmla="*/ 1266682 w 3024845"/>
                <a:gd name="connsiteY228" fmla="*/ 399929 h 834218"/>
                <a:gd name="connsiteX229" fmla="*/ 1267442 w 3024845"/>
                <a:gd name="connsiteY229" fmla="*/ 399929 h 834218"/>
                <a:gd name="connsiteX230" fmla="*/ 1272762 w 3024845"/>
                <a:gd name="connsiteY230" fmla="*/ 399929 h 834218"/>
                <a:gd name="connsiteX231" fmla="*/ 1272762 w 3024845"/>
                <a:gd name="connsiteY231" fmla="*/ 335075 h 834218"/>
                <a:gd name="connsiteX232" fmla="*/ 1273776 w 3024845"/>
                <a:gd name="connsiteY232" fmla="*/ 335075 h 834218"/>
                <a:gd name="connsiteX233" fmla="*/ 1280869 w 3024845"/>
                <a:gd name="connsiteY233" fmla="*/ 335075 h 834218"/>
                <a:gd name="connsiteX234" fmla="*/ 1293029 w 3024845"/>
                <a:gd name="connsiteY234" fmla="*/ 291840 h 834218"/>
                <a:gd name="connsiteX235" fmla="*/ 1294296 w 3024845"/>
                <a:gd name="connsiteY235" fmla="*/ 291840 h 834218"/>
                <a:gd name="connsiteX236" fmla="*/ 1303163 w 3024845"/>
                <a:gd name="connsiteY236" fmla="*/ 291840 h 834218"/>
                <a:gd name="connsiteX237" fmla="*/ 1313296 w 3024845"/>
                <a:gd name="connsiteY237" fmla="*/ 335075 h 834218"/>
                <a:gd name="connsiteX238" fmla="*/ 1314309 w 3024845"/>
                <a:gd name="connsiteY238" fmla="*/ 335075 h 834218"/>
                <a:gd name="connsiteX239" fmla="*/ 1321403 w 3024845"/>
                <a:gd name="connsiteY239" fmla="*/ 335075 h 834218"/>
                <a:gd name="connsiteX240" fmla="*/ 1321403 w 3024845"/>
                <a:gd name="connsiteY240" fmla="*/ 373987 h 834218"/>
                <a:gd name="connsiteX241" fmla="*/ 1323176 w 3024845"/>
                <a:gd name="connsiteY241" fmla="*/ 373987 h 834218"/>
                <a:gd name="connsiteX242" fmla="*/ 1335590 w 3024845"/>
                <a:gd name="connsiteY242" fmla="*/ 373987 h 834218"/>
                <a:gd name="connsiteX243" fmla="*/ 1335590 w 3024845"/>
                <a:gd name="connsiteY243" fmla="*/ 376149 h 834218"/>
                <a:gd name="connsiteX244" fmla="*/ 1335590 w 3024845"/>
                <a:gd name="connsiteY244" fmla="*/ 391281 h 834218"/>
                <a:gd name="connsiteX245" fmla="*/ 1339643 w 3024845"/>
                <a:gd name="connsiteY245" fmla="*/ 389120 h 834218"/>
                <a:gd name="connsiteX246" fmla="*/ 1339643 w 3024845"/>
                <a:gd name="connsiteY246" fmla="*/ 373987 h 834218"/>
                <a:gd name="connsiteX247" fmla="*/ 1341163 w 3024845"/>
                <a:gd name="connsiteY247" fmla="*/ 373987 h 834218"/>
                <a:gd name="connsiteX248" fmla="*/ 1351803 w 3024845"/>
                <a:gd name="connsiteY248" fmla="*/ 373987 h 834218"/>
                <a:gd name="connsiteX249" fmla="*/ 1351803 w 3024845"/>
                <a:gd name="connsiteY249" fmla="*/ 375608 h 834218"/>
                <a:gd name="connsiteX250" fmla="*/ 1351803 w 3024845"/>
                <a:gd name="connsiteY250" fmla="*/ 386958 h 834218"/>
                <a:gd name="connsiteX251" fmla="*/ 1382204 w 3024845"/>
                <a:gd name="connsiteY251" fmla="*/ 386958 h 834218"/>
                <a:gd name="connsiteX252" fmla="*/ 1382204 w 3024845"/>
                <a:gd name="connsiteY252" fmla="*/ 350208 h 834218"/>
                <a:gd name="connsiteX253" fmla="*/ 1383470 w 3024845"/>
                <a:gd name="connsiteY253" fmla="*/ 350208 h 834218"/>
                <a:gd name="connsiteX254" fmla="*/ 1392337 w 3024845"/>
                <a:gd name="connsiteY254" fmla="*/ 350208 h 834218"/>
                <a:gd name="connsiteX255" fmla="*/ 1392337 w 3024845"/>
                <a:gd name="connsiteY255" fmla="*/ 371825 h 834218"/>
                <a:gd name="connsiteX256" fmla="*/ 1394364 w 3024845"/>
                <a:gd name="connsiteY256" fmla="*/ 339399 h 834218"/>
                <a:gd name="connsiteX257" fmla="*/ 1416657 w 3024845"/>
                <a:gd name="connsiteY257" fmla="*/ 339399 h 834218"/>
                <a:gd name="connsiteX258" fmla="*/ 1416657 w 3024845"/>
                <a:gd name="connsiteY258" fmla="*/ 337777 h 834218"/>
                <a:gd name="connsiteX259" fmla="*/ 1416657 w 3024845"/>
                <a:gd name="connsiteY259" fmla="*/ 326428 h 834218"/>
                <a:gd name="connsiteX260" fmla="*/ 1417417 w 3024845"/>
                <a:gd name="connsiteY260" fmla="*/ 326428 h 834218"/>
                <a:gd name="connsiteX261" fmla="*/ 1422737 w 3024845"/>
                <a:gd name="connsiteY261" fmla="*/ 326428 h 834218"/>
                <a:gd name="connsiteX262" fmla="*/ 1422737 w 3024845"/>
                <a:gd name="connsiteY262" fmla="*/ 324537 h 834218"/>
                <a:gd name="connsiteX263" fmla="*/ 1422737 w 3024845"/>
                <a:gd name="connsiteY263" fmla="*/ 311296 h 834218"/>
                <a:gd name="connsiteX264" fmla="*/ 1426791 w 3024845"/>
                <a:gd name="connsiteY264" fmla="*/ 317781 h 834218"/>
                <a:gd name="connsiteX265" fmla="*/ 1429071 w 3024845"/>
                <a:gd name="connsiteY265" fmla="*/ 317781 h 834218"/>
                <a:gd name="connsiteX266" fmla="*/ 1445031 w 3024845"/>
                <a:gd name="connsiteY266" fmla="*/ 317781 h 834218"/>
                <a:gd name="connsiteX267" fmla="*/ 1445031 w 3024845"/>
                <a:gd name="connsiteY267" fmla="*/ 316970 h 834218"/>
                <a:gd name="connsiteX268" fmla="*/ 1445031 w 3024845"/>
                <a:gd name="connsiteY268" fmla="*/ 311296 h 834218"/>
                <a:gd name="connsiteX269" fmla="*/ 1445791 w 3024845"/>
                <a:gd name="connsiteY269" fmla="*/ 311296 h 834218"/>
                <a:gd name="connsiteX270" fmla="*/ 1451111 w 3024845"/>
                <a:gd name="connsiteY270" fmla="*/ 311296 h 834218"/>
                <a:gd name="connsiteX271" fmla="*/ 1451111 w 3024845"/>
                <a:gd name="connsiteY271" fmla="*/ 312647 h 834218"/>
                <a:gd name="connsiteX272" fmla="*/ 1451111 w 3024845"/>
                <a:gd name="connsiteY272" fmla="*/ 322105 h 834218"/>
                <a:gd name="connsiteX273" fmla="*/ 1489618 w 3024845"/>
                <a:gd name="connsiteY273" fmla="*/ 322105 h 834218"/>
                <a:gd name="connsiteX274" fmla="*/ 1489618 w 3024845"/>
                <a:gd name="connsiteY274" fmla="*/ 460458 h 834218"/>
                <a:gd name="connsiteX275" fmla="*/ 1491138 w 3024845"/>
                <a:gd name="connsiteY275" fmla="*/ 460458 h 834218"/>
                <a:gd name="connsiteX276" fmla="*/ 1501778 w 3024845"/>
                <a:gd name="connsiteY276" fmla="*/ 460458 h 834218"/>
                <a:gd name="connsiteX277" fmla="*/ 1501778 w 3024845"/>
                <a:gd name="connsiteY277" fmla="*/ 447488 h 834218"/>
                <a:gd name="connsiteX278" fmla="*/ 1505832 w 3024845"/>
                <a:gd name="connsiteY278" fmla="*/ 447488 h 834218"/>
                <a:gd name="connsiteX279" fmla="*/ 1505832 w 3024845"/>
                <a:gd name="connsiteY279" fmla="*/ 460458 h 834218"/>
                <a:gd name="connsiteX280" fmla="*/ 1536232 w 3024845"/>
                <a:gd name="connsiteY280" fmla="*/ 460458 h 834218"/>
                <a:gd name="connsiteX281" fmla="*/ 1536232 w 3024845"/>
                <a:gd name="connsiteY281" fmla="*/ 430193 h 834218"/>
                <a:gd name="connsiteX282" fmla="*/ 1548392 w 3024845"/>
                <a:gd name="connsiteY282" fmla="*/ 430193 h 834218"/>
                <a:gd name="connsiteX283" fmla="*/ 1560552 w 3024845"/>
                <a:gd name="connsiteY283" fmla="*/ 428032 h 834218"/>
                <a:gd name="connsiteX284" fmla="*/ 1564606 w 3024845"/>
                <a:gd name="connsiteY284" fmla="*/ 430193 h 834218"/>
                <a:gd name="connsiteX285" fmla="*/ 1574739 w 3024845"/>
                <a:gd name="connsiteY285" fmla="*/ 430193 h 834218"/>
                <a:gd name="connsiteX286" fmla="*/ 1574739 w 3024845"/>
                <a:gd name="connsiteY286" fmla="*/ 460458 h 834218"/>
                <a:gd name="connsiteX287" fmla="*/ 1582846 w 3024845"/>
                <a:gd name="connsiteY287" fmla="*/ 460458 h 834218"/>
                <a:gd name="connsiteX288" fmla="*/ 1582846 w 3024845"/>
                <a:gd name="connsiteY288" fmla="*/ 477753 h 834218"/>
                <a:gd name="connsiteX289" fmla="*/ 1592182 w 3024845"/>
                <a:gd name="connsiteY289" fmla="*/ 478658 h 834218"/>
                <a:gd name="connsiteX290" fmla="*/ 1605140 w 3024845"/>
                <a:gd name="connsiteY290" fmla="*/ 478658 h 834218"/>
                <a:gd name="connsiteX291" fmla="*/ 1605140 w 3024845"/>
                <a:gd name="connsiteY291" fmla="*/ 462620 h 834218"/>
                <a:gd name="connsiteX292" fmla="*/ 1673096 w 3024845"/>
                <a:gd name="connsiteY292" fmla="*/ 462620 h 834218"/>
                <a:gd name="connsiteX293" fmla="*/ 1673096 w 3024845"/>
                <a:gd name="connsiteY293" fmla="*/ 377367 h 834218"/>
                <a:gd name="connsiteX294" fmla="*/ 1745104 w 3024845"/>
                <a:gd name="connsiteY294" fmla="*/ 377367 h 834218"/>
                <a:gd name="connsiteX295" fmla="*/ 1745104 w 3024845"/>
                <a:gd name="connsiteY295" fmla="*/ 456135 h 834218"/>
                <a:gd name="connsiteX296" fmla="*/ 1747008 w 3024845"/>
                <a:gd name="connsiteY296" fmla="*/ 456135 h 834218"/>
                <a:gd name="connsiteX297" fmla="*/ 1748250 w 3024845"/>
                <a:gd name="connsiteY297" fmla="*/ 478658 h 834218"/>
                <a:gd name="connsiteX298" fmla="*/ 1757926 w 3024845"/>
                <a:gd name="connsiteY298" fmla="*/ 478658 h 834218"/>
                <a:gd name="connsiteX299" fmla="*/ 1759168 w 3024845"/>
                <a:gd name="connsiteY299" fmla="*/ 456135 h 834218"/>
                <a:gd name="connsiteX300" fmla="*/ 1765248 w 3024845"/>
                <a:gd name="connsiteY300" fmla="*/ 456135 h 834218"/>
                <a:gd name="connsiteX301" fmla="*/ 1766490 w 3024845"/>
                <a:gd name="connsiteY301" fmla="*/ 478658 h 834218"/>
                <a:gd name="connsiteX302" fmla="*/ 1817112 w 3024845"/>
                <a:gd name="connsiteY302" fmla="*/ 478658 h 834218"/>
                <a:gd name="connsiteX303" fmla="*/ 1817112 w 3024845"/>
                <a:gd name="connsiteY303" fmla="*/ 315630 h 834218"/>
                <a:gd name="connsiteX304" fmla="*/ 2014439 w 3024845"/>
                <a:gd name="connsiteY304" fmla="*/ 315630 h 834218"/>
                <a:gd name="connsiteX305" fmla="*/ 2014439 w 3024845"/>
                <a:gd name="connsiteY305" fmla="*/ 478658 h 834218"/>
                <a:gd name="connsiteX306" fmla="*/ 2033136 w 3024845"/>
                <a:gd name="connsiteY306" fmla="*/ 478658 h 834218"/>
                <a:gd name="connsiteX307" fmla="*/ 2033136 w 3024845"/>
                <a:gd name="connsiteY307" fmla="*/ 395965 h 834218"/>
                <a:gd name="connsiteX308" fmla="*/ 2128256 w 3024845"/>
                <a:gd name="connsiteY308" fmla="*/ 395965 h 834218"/>
                <a:gd name="connsiteX309" fmla="*/ 2180720 w 3024845"/>
                <a:gd name="connsiteY309" fmla="*/ 330752 h 834218"/>
                <a:gd name="connsiteX310" fmla="*/ 2245574 w 3024845"/>
                <a:gd name="connsiteY310" fmla="*/ 330752 h 834218"/>
                <a:gd name="connsiteX311" fmla="*/ 2245574 w 3024845"/>
                <a:gd name="connsiteY311" fmla="*/ 406414 h 834218"/>
                <a:gd name="connsiteX312" fmla="*/ 2253681 w 3024845"/>
                <a:gd name="connsiteY312" fmla="*/ 406414 h 834218"/>
                <a:gd name="connsiteX313" fmla="*/ 2255708 w 3024845"/>
                <a:gd name="connsiteY313" fmla="*/ 399929 h 834218"/>
                <a:gd name="connsiteX314" fmla="*/ 2261788 w 3024845"/>
                <a:gd name="connsiteY314" fmla="*/ 399929 h 834218"/>
                <a:gd name="connsiteX315" fmla="*/ 2263815 w 3024845"/>
                <a:gd name="connsiteY315" fmla="*/ 408576 h 834218"/>
                <a:gd name="connsiteX316" fmla="*/ 2275975 w 3024845"/>
                <a:gd name="connsiteY316" fmla="*/ 408576 h 834218"/>
                <a:gd name="connsiteX317" fmla="*/ 2275975 w 3024845"/>
                <a:gd name="connsiteY317" fmla="*/ 402090 h 834218"/>
                <a:gd name="connsiteX318" fmla="*/ 2298268 w 3024845"/>
                <a:gd name="connsiteY318" fmla="*/ 402090 h 834218"/>
                <a:gd name="connsiteX319" fmla="*/ 2298268 w 3024845"/>
                <a:gd name="connsiteY319" fmla="*/ 408576 h 834218"/>
                <a:gd name="connsiteX320" fmla="*/ 2318535 w 3024845"/>
                <a:gd name="connsiteY320" fmla="*/ 408576 h 834218"/>
                <a:gd name="connsiteX321" fmla="*/ 2318535 w 3024845"/>
                <a:gd name="connsiteY321" fmla="*/ 453973 h 834218"/>
                <a:gd name="connsiteX322" fmla="*/ 2332722 w 3024845"/>
                <a:gd name="connsiteY322" fmla="*/ 453973 h 834218"/>
                <a:gd name="connsiteX323" fmla="*/ 2332722 w 3024845"/>
                <a:gd name="connsiteY323" fmla="*/ 441002 h 834218"/>
                <a:gd name="connsiteX324" fmla="*/ 2348936 w 3024845"/>
                <a:gd name="connsiteY324" fmla="*/ 441002 h 834218"/>
                <a:gd name="connsiteX325" fmla="*/ 2348936 w 3024845"/>
                <a:gd name="connsiteY325" fmla="*/ 261575 h 834218"/>
                <a:gd name="connsiteX326" fmla="*/ 2355016 w 3024845"/>
                <a:gd name="connsiteY326" fmla="*/ 255089 h 834218"/>
                <a:gd name="connsiteX327" fmla="*/ 2427977 w 3024845"/>
                <a:gd name="connsiteY327" fmla="*/ 255089 h 834218"/>
                <a:gd name="connsiteX328" fmla="*/ 2427977 w 3024845"/>
                <a:gd name="connsiteY328" fmla="*/ 263737 h 834218"/>
                <a:gd name="connsiteX329" fmla="*/ 2438110 w 3024845"/>
                <a:gd name="connsiteY329" fmla="*/ 263737 h 834218"/>
                <a:gd name="connsiteX330" fmla="*/ 2438110 w 3024845"/>
                <a:gd name="connsiteY330" fmla="*/ 378311 h 834218"/>
                <a:gd name="connsiteX331" fmla="*/ 2460404 w 3024845"/>
                <a:gd name="connsiteY331" fmla="*/ 378311 h 834218"/>
                <a:gd name="connsiteX332" fmla="*/ 2460404 w 3024845"/>
                <a:gd name="connsiteY332" fmla="*/ 311296 h 834218"/>
                <a:gd name="connsiteX333" fmla="*/ 2486751 w 3024845"/>
                <a:gd name="connsiteY333" fmla="*/ 311296 h 834218"/>
                <a:gd name="connsiteX334" fmla="*/ 2490804 w 3024845"/>
                <a:gd name="connsiteY334" fmla="*/ 306972 h 834218"/>
                <a:gd name="connsiteX335" fmla="*/ 2498911 w 3024845"/>
                <a:gd name="connsiteY335" fmla="*/ 306972 h 834218"/>
                <a:gd name="connsiteX336" fmla="*/ 2502964 w 3024845"/>
                <a:gd name="connsiteY336" fmla="*/ 311296 h 834218"/>
                <a:gd name="connsiteX337" fmla="*/ 2525258 w 3024845"/>
                <a:gd name="connsiteY337" fmla="*/ 311296 h 834218"/>
                <a:gd name="connsiteX338" fmla="*/ 2525258 w 3024845"/>
                <a:gd name="connsiteY338" fmla="*/ 194560 h 834218"/>
                <a:gd name="connsiteX339" fmla="*/ 2582005 w 3024845"/>
                <a:gd name="connsiteY339" fmla="*/ 183751 h 834218"/>
                <a:gd name="connsiteX340" fmla="*/ 2582005 w 3024845"/>
                <a:gd name="connsiteY340" fmla="*/ 184832 h 834218"/>
                <a:gd name="connsiteX341" fmla="*/ 2582005 w 3024845"/>
                <a:gd name="connsiteY341" fmla="*/ 192398 h 834218"/>
                <a:gd name="connsiteX342" fmla="*/ 2608352 w 3024845"/>
                <a:gd name="connsiteY342" fmla="*/ 192398 h 834218"/>
                <a:gd name="connsiteX343" fmla="*/ 2608352 w 3024845"/>
                <a:gd name="connsiteY343" fmla="*/ 447488 h 834218"/>
                <a:gd name="connsiteX344" fmla="*/ 2630646 w 3024845"/>
                <a:gd name="connsiteY344" fmla="*/ 447488 h 834218"/>
                <a:gd name="connsiteX345" fmla="*/ 2630646 w 3024845"/>
                <a:gd name="connsiteY345" fmla="*/ 443164 h 834218"/>
                <a:gd name="connsiteX346" fmla="*/ 2642806 w 3024845"/>
                <a:gd name="connsiteY346" fmla="*/ 443164 h 834218"/>
                <a:gd name="connsiteX347" fmla="*/ 2642806 w 3024845"/>
                <a:gd name="connsiteY347" fmla="*/ 447488 h 834218"/>
                <a:gd name="connsiteX348" fmla="*/ 2667126 w 3024845"/>
                <a:gd name="connsiteY348" fmla="*/ 447488 h 834218"/>
                <a:gd name="connsiteX349" fmla="*/ 2667126 w 3024845"/>
                <a:gd name="connsiteY349" fmla="*/ 434517 h 834218"/>
                <a:gd name="connsiteX350" fmla="*/ 2695500 w 3024845"/>
                <a:gd name="connsiteY350" fmla="*/ 434517 h 834218"/>
                <a:gd name="connsiteX351" fmla="*/ 2707660 w 3024845"/>
                <a:gd name="connsiteY351" fmla="*/ 430193 h 834218"/>
                <a:gd name="connsiteX352" fmla="*/ 2727927 w 3024845"/>
                <a:gd name="connsiteY352" fmla="*/ 434517 h 834218"/>
                <a:gd name="connsiteX353" fmla="*/ 2727927 w 3024845"/>
                <a:gd name="connsiteY353" fmla="*/ 417223 h 834218"/>
                <a:gd name="connsiteX354" fmla="*/ 2736034 w 3024845"/>
                <a:gd name="connsiteY354" fmla="*/ 417223 h 834218"/>
                <a:gd name="connsiteX355" fmla="*/ 2736034 w 3024845"/>
                <a:gd name="connsiteY355" fmla="*/ 404252 h 834218"/>
                <a:gd name="connsiteX356" fmla="*/ 2792781 w 3024845"/>
                <a:gd name="connsiteY356" fmla="*/ 404252 h 834218"/>
                <a:gd name="connsiteX357" fmla="*/ 2792781 w 3024845"/>
                <a:gd name="connsiteY357" fmla="*/ 373987 h 834218"/>
                <a:gd name="connsiteX358" fmla="*/ 2811021 w 3024845"/>
                <a:gd name="connsiteY358" fmla="*/ 373987 h 834218"/>
                <a:gd name="connsiteX359" fmla="*/ 2811021 w 3024845"/>
                <a:gd name="connsiteY359" fmla="*/ 367502 h 834218"/>
                <a:gd name="connsiteX360" fmla="*/ 2823181 w 3024845"/>
                <a:gd name="connsiteY360" fmla="*/ 367502 h 834218"/>
                <a:gd name="connsiteX361" fmla="*/ 2823181 w 3024845"/>
                <a:gd name="connsiteY361" fmla="*/ 373987 h 834218"/>
                <a:gd name="connsiteX362" fmla="*/ 2839395 w 3024845"/>
                <a:gd name="connsiteY362" fmla="*/ 373987 h 834218"/>
                <a:gd name="connsiteX363" fmla="*/ 2839395 w 3024845"/>
                <a:gd name="connsiteY363" fmla="*/ 423708 h 834218"/>
                <a:gd name="connsiteX364" fmla="*/ 2871822 w 3024845"/>
                <a:gd name="connsiteY364" fmla="*/ 423708 h 834218"/>
                <a:gd name="connsiteX365" fmla="*/ 2871822 w 3024845"/>
                <a:gd name="connsiteY365" fmla="*/ 397767 h 834218"/>
                <a:gd name="connsiteX366" fmla="*/ 2910329 w 3024845"/>
                <a:gd name="connsiteY366" fmla="*/ 397767 h 834218"/>
                <a:gd name="connsiteX367" fmla="*/ 2910329 w 3024845"/>
                <a:gd name="connsiteY367" fmla="*/ 367502 h 834218"/>
                <a:gd name="connsiteX368" fmla="*/ 2958970 w 3024845"/>
                <a:gd name="connsiteY368" fmla="*/ 367502 h 834218"/>
                <a:gd name="connsiteX369" fmla="*/ 2958970 w 3024845"/>
                <a:gd name="connsiteY369" fmla="*/ 478658 h 834218"/>
                <a:gd name="connsiteX370" fmla="*/ 2958970 w 3024845"/>
                <a:gd name="connsiteY370" fmla="*/ 492437 h 834218"/>
                <a:gd name="connsiteX371" fmla="*/ 3024845 w 3024845"/>
                <a:gd name="connsiteY371" fmla="*/ 492437 h 834218"/>
                <a:gd name="connsiteX372" fmla="*/ 3024845 w 3024845"/>
                <a:gd name="connsiteY372" fmla="*/ 834218 h 834218"/>
                <a:gd name="connsiteX373" fmla="*/ 2054 w 3024845"/>
                <a:gd name="connsiteY373" fmla="*/ 831885 h 834218"/>
                <a:gd name="connsiteX374" fmla="*/ 0 w 3024845"/>
                <a:gd name="connsiteY374" fmla="*/ 397767 h 834218"/>
                <a:gd name="connsiteX375" fmla="*/ 20267 w 3024845"/>
                <a:gd name="connsiteY375" fmla="*/ 397767 h 834218"/>
                <a:gd name="connsiteX376" fmla="*/ 20774 w 3024845"/>
                <a:gd name="connsiteY376" fmla="*/ 396686 h 834218"/>
                <a:gd name="connsiteX377" fmla="*/ 24320 w 3024845"/>
                <a:gd name="connsiteY377" fmla="*/ 389120 h 834218"/>
                <a:gd name="connsiteX378" fmla="*/ 26094 w 3024845"/>
                <a:gd name="connsiteY378" fmla="*/ 389390 h 834218"/>
                <a:gd name="connsiteX379" fmla="*/ 38507 w 3024845"/>
                <a:gd name="connsiteY379" fmla="*/ 391281 h 834218"/>
                <a:gd name="connsiteX380" fmla="*/ 39014 w 3024845"/>
                <a:gd name="connsiteY380" fmla="*/ 392633 h 834218"/>
                <a:gd name="connsiteX381" fmla="*/ 42560 w 3024845"/>
                <a:gd name="connsiteY381" fmla="*/ 402090 h 834218"/>
                <a:gd name="connsiteX382" fmla="*/ 68907 w 3024845"/>
                <a:gd name="connsiteY382" fmla="*/ 404252 h 834218"/>
                <a:gd name="connsiteX383" fmla="*/ 68907 w 3024845"/>
                <a:gd name="connsiteY383" fmla="*/ 281031 h 834218"/>
                <a:gd name="connsiteX384" fmla="*/ 70934 w 3024845"/>
                <a:gd name="connsiteY384" fmla="*/ 281031 h 834218"/>
                <a:gd name="connsiteX385" fmla="*/ 85121 w 3024845"/>
                <a:gd name="connsiteY385" fmla="*/ 281031 h 834218"/>
                <a:gd name="connsiteX386" fmla="*/ 85121 w 3024845"/>
                <a:gd name="connsiteY386" fmla="*/ 144839 h 834218"/>
                <a:gd name="connsiteX387" fmla="*/ 86894 w 3024845"/>
                <a:gd name="connsiteY387" fmla="*/ 144839 h 834218"/>
                <a:gd name="connsiteX388" fmla="*/ 99308 w 3024845"/>
                <a:gd name="connsiteY388" fmla="*/ 144839 h 834218"/>
                <a:gd name="connsiteX389" fmla="*/ 99308 w 3024845"/>
                <a:gd name="connsiteY389" fmla="*/ 30265 h 834218"/>
                <a:gd name="connsiteX390" fmla="*/ 103361 w 3024845"/>
                <a:gd name="connsiteY390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20909 w 3024845"/>
                <a:gd name="connsiteY4" fmla="*/ 30265 h 834218"/>
                <a:gd name="connsiteX5" fmla="*/ 220909 w 3024845"/>
                <a:gd name="connsiteY5" fmla="*/ 144839 h 834218"/>
                <a:gd name="connsiteX6" fmla="*/ 223189 w 3024845"/>
                <a:gd name="connsiteY6" fmla="*/ 144839 h 834218"/>
                <a:gd name="connsiteX7" fmla="*/ 239150 w 3024845"/>
                <a:gd name="connsiteY7" fmla="*/ 144839 h 834218"/>
                <a:gd name="connsiteX8" fmla="*/ 239150 w 3024845"/>
                <a:gd name="connsiteY8" fmla="*/ 285354 h 834218"/>
                <a:gd name="connsiteX9" fmla="*/ 240670 w 3024845"/>
                <a:gd name="connsiteY9" fmla="*/ 285084 h 834218"/>
                <a:gd name="connsiteX10" fmla="*/ 251310 w 3024845"/>
                <a:gd name="connsiteY10" fmla="*/ 283193 h 834218"/>
                <a:gd name="connsiteX11" fmla="*/ 249283 w 3024845"/>
                <a:gd name="connsiteY11" fmla="*/ 371825 h 834218"/>
                <a:gd name="connsiteX12" fmla="*/ 250803 w 3024845"/>
                <a:gd name="connsiteY12" fmla="*/ 372096 h 834218"/>
                <a:gd name="connsiteX13" fmla="*/ 261443 w 3024845"/>
                <a:gd name="connsiteY13" fmla="*/ 373987 h 834218"/>
                <a:gd name="connsiteX14" fmla="*/ 261696 w 3024845"/>
                <a:gd name="connsiteY14" fmla="*/ 374798 h 834218"/>
                <a:gd name="connsiteX15" fmla="*/ 263470 w 3024845"/>
                <a:gd name="connsiteY15" fmla="*/ 380473 h 834218"/>
                <a:gd name="connsiteX16" fmla="*/ 264230 w 3024845"/>
                <a:gd name="connsiteY16" fmla="*/ 378041 h 834218"/>
                <a:gd name="connsiteX17" fmla="*/ 269550 w 3024845"/>
                <a:gd name="connsiteY17" fmla="*/ 361017 h 834218"/>
                <a:gd name="connsiteX18" fmla="*/ 271323 w 3024845"/>
                <a:gd name="connsiteY18" fmla="*/ 361017 h 834218"/>
                <a:gd name="connsiteX19" fmla="*/ 283737 w 3024845"/>
                <a:gd name="connsiteY19" fmla="*/ 361017 h 834218"/>
                <a:gd name="connsiteX20" fmla="*/ 283737 w 3024845"/>
                <a:gd name="connsiteY20" fmla="*/ 393443 h 834218"/>
                <a:gd name="connsiteX21" fmla="*/ 284750 w 3024845"/>
                <a:gd name="connsiteY21" fmla="*/ 393984 h 834218"/>
                <a:gd name="connsiteX22" fmla="*/ 291844 w 3024845"/>
                <a:gd name="connsiteY22" fmla="*/ 397767 h 834218"/>
                <a:gd name="connsiteX23" fmla="*/ 291844 w 3024845"/>
                <a:gd name="connsiteY23" fmla="*/ 399118 h 834218"/>
                <a:gd name="connsiteX24" fmla="*/ 291844 w 3024845"/>
                <a:gd name="connsiteY24" fmla="*/ 408576 h 834218"/>
                <a:gd name="connsiteX25" fmla="*/ 336431 w 3024845"/>
                <a:gd name="connsiteY25" fmla="*/ 408576 h 834218"/>
                <a:gd name="connsiteX26" fmla="*/ 336431 w 3024845"/>
                <a:gd name="connsiteY26" fmla="*/ 409657 h 834218"/>
                <a:gd name="connsiteX27" fmla="*/ 336431 w 3024845"/>
                <a:gd name="connsiteY27" fmla="*/ 417223 h 834218"/>
                <a:gd name="connsiteX28" fmla="*/ 338457 w 3024845"/>
                <a:gd name="connsiteY28" fmla="*/ 417223 h 834218"/>
                <a:gd name="connsiteX29" fmla="*/ 352644 w 3024845"/>
                <a:gd name="connsiteY29" fmla="*/ 417223 h 834218"/>
                <a:gd name="connsiteX30" fmla="*/ 352644 w 3024845"/>
                <a:gd name="connsiteY30" fmla="*/ 386958 h 834218"/>
                <a:gd name="connsiteX31" fmla="*/ 397231 w 3024845"/>
                <a:gd name="connsiteY31" fmla="*/ 386958 h 834218"/>
                <a:gd name="connsiteX32" fmla="*/ 397231 w 3024845"/>
                <a:gd name="connsiteY32" fmla="*/ 385607 h 834218"/>
                <a:gd name="connsiteX33" fmla="*/ 397231 w 3024845"/>
                <a:gd name="connsiteY33" fmla="*/ 376149 h 834218"/>
                <a:gd name="connsiteX34" fmla="*/ 398245 w 3024845"/>
                <a:gd name="connsiteY34" fmla="*/ 376149 h 834218"/>
                <a:gd name="connsiteX35" fmla="*/ 405338 w 3024845"/>
                <a:gd name="connsiteY35" fmla="*/ 376149 h 834218"/>
                <a:gd name="connsiteX36" fmla="*/ 405338 w 3024845"/>
                <a:gd name="connsiteY36" fmla="*/ 374258 h 834218"/>
                <a:gd name="connsiteX37" fmla="*/ 405338 w 3024845"/>
                <a:gd name="connsiteY37" fmla="*/ 361017 h 834218"/>
                <a:gd name="connsiteX38" fmla="*/ 406098 w 3024845"/>
                <a:gd name="connsiteY38" fmla="*/ 361017 h 834218"/>
                <a:gd name="connsiteX39" fmla="*/ 411418 w 3024845"/>
                <a:gd name="connsiteY39" fmla="*/ 361017 h 834218"/>
                <a:gd name="connsiteX40" fmla="*/ 411418 w 3024845"/>
                <a:gd name="connsiteY40" fmla="*/ 359936 h 834218"/>
                <a:gd name="connsiteX41" fmla="*/ 411418 w 3024845"/>
                <a:gd name="connsiteY41" fmla="*/ 352369 h 834218"/>
                <a:gd name="connsiteX42" fmla="*/ 413445 w 3024845"/>
                <a:gd name="connsiteY42" fmla="*/ 352369 h 834218"/>
                <a:gd name="connsiteX43" fmla="*/ 427632 w 3024845"/>
                <a:gd name="connsiteY43" fmla="*/ 352369 h 834218"/>
                <a:gd name="connsiteX44" fmla="*/ 427632 w 3024845"/>
                <a:gd name="connsiteY44" fmla="*/ 353450 h 834218"/>
                <a:gd name="connsiteX45" fmla="*/ 427632 w 3024845"/>
                <a:gd name="connsiteY45" fmla="*/ 361017 h 834218"/>
                <a:gd name="connsiteX46" fmla="*/ 449925 w 3024845"/>
                <a:gd name="connsiteY46" fmla="*/ 361017 h 834218"/>
                <a:gd name="connsiteX47" fmla="*/ 449925 w 3024845"/>
                <a:gd name="connsiteY47" fmla="*/ 359125 h 834218"/>
                <a:gd name="connsiteX48" fmla="*/ 449925 w 3024845"/>
                <a:gd name="connsiteY48" fmla="*/ 345884 h 834218"/>
                <a:gd name="connsiteX49" fmla="*/ 451699 w 3024845"/>
                <a:gd name="connsiteY49" fmla="*/ 345884 h 834218"/>
                <a:gd name="connsiteX50" fmla="*/ 464112 w 3024845"/>
                <a:gd name="connsiteY50" fmla="*/ 345884 h 834218"/>
                <a:gd name="connsiteX51" fmla="*/ 464112 w 3024845"/>
                <a:gd name="connsiteY51" fmla="*/ 369664 h 834218"/>
                <a:gd name="connsiteX52" fmla="*/ 465126 w 3024845"/>
                <a:gd name="connsiteY52" fmla="*/ 369664 h 834218"/>
                <a:gd name="connsiteX53" fmla="*/ 472219 w 3024845"/>
                <a:gd name="connsiteY53" fmla="*/ 369664 h 834218"/>
                <a:gd name="connsiteX54" fmla="*/ 472219 w 3024845"/>
                <a:gd name="connsiteY54" fmla="*/ 368583 h 834218"/>
                <a:gd name="connsiteX55" fmla="*/ 472219 w 3024845"/>
                <a:gd name="connsiteY55" fmla="*/ 361017 h 834218"/>
                <a:gd name="connsiteX56" fmla="*/ 473992 w 3024845"/>
                <a:gd name="connsiteY56" fmla="*/ 361017 h 834218"/>
                <a:gd name="connsiteX57" fmla="*/ 486406 w 3024845"/>
                <a:gd name="connsiteY57" fmla="*/ 361017 h 834218"/>
                <a:gd name="connsiteX58" fmla="*/ 486406 w 3024845"/>
                <a:gd name="connsiteY58" fmla="*/ 386958 h 834218"/>
                <a:gd name="connsiteX59" fmla="*/ 488433 w 3024845"/>
                <a:gd name="connsiteY59" fmla="*/ 386958 h 834218"/>
                <a:gd name="connsiteX60" fmla="*/ 502619 w 3024845"/>
                <a:gd name="connsiteY60" fmla="*/ 386958 h 834218"/>
                <a:gd name="connsiteX61" fmla="*/ 502619 w 3024845"/>
                <a:gd name="connsiteY61" fmla="*/ 388579 h 834218"/>
                <a:gd name="connsiteX62" fmla="*/ 502619 w 3024845"/>
                <a:gd name="connsiteY62" fmla="*/ 399929 h 834218"/>
                <a:gd name="connsiteX63" fmla="*/ 503379 w 3024845"/>
                <a:gd name="connsiteY63" fmla="*/ 399929 h 834218"/>
                <a:gd name="connsiteX64" fmla="*/ 508700 w 3024845"/>
                <a:gd name="connsiteY64" fmla="*/ 399929 h 834218"/>
                <a:gd name="connsiteX65" fmla="*/ 508700 w 3024845"/>
                <a:gd name="connsiteY65" fmla="*/ 399118 h 834218"/>
                <a:gd name="connsiteX66" fmla="*/ 508700 w 3024845"/>
                <a:gd name="connsiteY66" fmla="*/ 393443 h 834218"/>
                <a:gd name="connsiteX67" fmla="*/ 539100 w 3024845"/>
                <a:gd name="connsiteY67" fmla="*/ 393443 h 834218"/>
                <a:gd name="connsiteX68" fmla="*/ 539100 w 3024845"/>
                <a:gd name="connsiteY68" fmla="*/ 417223 h 834218"/>
                <a:gd name="connsiteX69" fmla="*/ 540113 w 3024845"/>
                <a:gd name="connsiteY69" fmla="*/ 417223 h 834218"/>
                <a:gd name="connsiteX70" fmla="*/ 547207 w 3024845"/>
                <a:gd name="connsiteY70" fmla="*/ 417223 h 834218"/>
                <a:gd name="connsiteX71" fmla="*/ 547207 w 3024845"/>
                <a:gd name="connsiteY71" fmla="*/ 418304 h 834218"/>
                <a:gd name="connsiteX72" fmla="*/ 547207 w 3024845"/>
                <a:gd name="connsiteY72" fmla="*/ 425870 h 834218"/>
                <a:gd name="connsiteX73" fmla="*/ 547967 w 3024845"/>
                <a:gd name="connsiteY73" fmla="*/ 425870 h 834218"/>
                <a:gd name="connsiteX74" fmla="*/ 553287 w 3024845"/>
                <a:gd name="connsiteY74" fmla="*/ 425870 h 834218"/>
                <a:gd name="connsiteX75" fmla="*/ 553287 w 3024845"/>
                <a:gd name="connsiteY75" fmla="*/ 423708 h 834218"/>
                <a:gd name="connsiteX76" fmla="*/ 553287 w 3024845"/>
                <a:gd name="connsiteY76" fmla="*/ 408576 h 834218"/>
                <a:gd name="connsiteX77" fmla="*/ 554300 w 3024845"/>
                <a:gd name="connsiteY77" fmla="*/ 408576 h 834218"/>
                <a:gd name="connsiteX78" fmla="*/ 561394 w 3024845"/>
                <a:gd name="connsiteY78" fmla="*/ 408576 h 834218"/>
                <a:gd name="connsiteX79" fmla="*/ 561394 w 3024845"/>
                <a:gd name="connsiteY79" fmla="*/ 409657 h 834218"/>
                <a:gd name="connsiteX80" fmla="*/ 561394 w 3024845"/>
                <a:gd name="connsiteY80" fmla="*/ 417223 h 834218"/>
                <a:gd name="connsiteX81" fmla="*/ 566714 w 3024845"/>
                <a:gd name="connsiteY81" fmla="*/ 415230 h 834218"/>
                <a:gd name="connsiteX82" fmla="*/ 567474 w 3024845"/>
                <a:gd name="connsiteY82" fmla="*/ 414250 h 834218"/>
                <a:gd name="connsiteX83" fmla="*/ 567474 w 3024845"/>
                <a:gd name="connsiteY83" fmla="*/ 408576 h 834218"/>
                <a:gd name="connsiteX84" fmla="*/ 605981 w 3024845"/>
                <a:gd name="connsiteY84" fmla="*/ 408576 h 834218"/>
                <a:gd name="connsiteX85" fmla="*/ 605981 w 3024845"/>
                <a:gd name="connsiteY85" fmla="*/ 432355 h 834218"/>
                <a:gd name="connsiteX86" fmla="*/ 608007 w 3024845"/>
                <a:gd name="connsiteY86" fmla="*/ 432355 h 834218"/>
                <a:gd name="connsiteX87" fmla="*/ 622194 w 3024845"/>
                <a:gd name="connsiteY87" fmla="*/ 432355 h 834218"/>
                <a:gd name="connsiteX88" fmla="*/ 622194 w 3024845"/>
                <a:gd name="connsiteY88" fmla="*/ 433436 h 834218"/>
                <a:gd name="connsiteX89" fmla="*/ 622194 w 3024845"/>
                <a:gd name="connsiteY89" fmla="*/ 441002 h 834218"/>
                <a:gd name="connsiteX90" fmla="*/ 623968 w 3024845"/>
                <a:gd name="connsiteY90" fmla="*/ 441002 h 834218"/>
                <a:gd name="connsiteX91" fmla="*/ 636381 w 3024845"/>
                <a:gd name="connsiteY91" fmla="*/ 441002 h 834218"/>
                <a:gd name="connsiteX92" fmla="*/ 636381 w 3024845"/>
                <a:gd name="connsiteY92" fmla="*/ 417223 h 834218"/>
                <a:gd name="connsiteX93" fmla="*/ 637394 w 3024845"/>
                <a:gd name="connsiteY93" fmla="*/ 417223 h 834218"/>
                <a:gd name="connsiteX94" fmla="*/ 644488 w 3024845"/>
                <a:gd name="connsiteY94" fmla="*/ 417223 h 834218"/>
                <a:gd name="connsiteX95" fmla="*/ 644488 w 3024845"/>
                <a:gd name="connsiteY95" fmla="*/ 384796 h 834218"/>
                <a:gd name="connsiteX96" fmla="*/ 645501 w 3024845"/>
                <a:gd name="connsiteY96" fmla="*/ 384796 h 834218"/>
                <a:gd name="connsiteX97" fmla="*/ 652595 w 3024845"/>
                <a:gd name="connsiteY97" fmla="*/ 384796 h 834218"/>
                <a:gd name="connsiteX98" fmla="*/ 652595 w 3024845"/>
                <a:gd name="connsiteY98" fmla="*/ 382905 h 834218"/>
                <a:gd name="connsiteX99" fmla="*/ 652595 w 3024845"/>
                <a:gd name="connsiteY99" fmla="*/ 369664 h 834218"/>
                <a:gd name="connsiteX100" fmla="*/ 651328 w 3024845"/>
                <a:gd name="connsiteY100" fmla="*/ 368042 h 834218"/>
                <a:gd name="connsiteX101" fmla="*/ 656648 w 3024845"/>
                <a:gd name="connsiteY101" fmla="*/ 356693 h 834218"/>
                <a:gd name="connsiteX102" fmla="*/ 664755 w 3024845"/>
                <a:gd name="connsiteY102" fmla="*/ 384796 h 834218"/>
                <a:gd name="connsiteX103" fmla="*/ 665515 w 3024845"/>
                <a:gd name="connsiteY103" fmla="*/ 384796 h 834218"/>
                <a:gd name="connsiteX104" fmla="*/ 670835 w 3024845"/>
                <a:gd name="connsiteY104" fmla="*/ 384796 h 834218"/>
                <a:gd name="connsiteX105" fmla="*/ 670835 w 3024845"/>
                <a:gd name="connsiteY105" fmla="*/ 278869 h 834218"/>
                <a:gd name="connsiteX106" fmla="*/ 672355 w 3024845"/>
                <a:gd name="connsiteY106" fmla="*/ 278869 h 834218"/>
                <a:gd name="connsiteX107" fmla="*/ 682995 w 3024845"/>
                <a:gd name="connsiteY107" fmla="*/ 278869 h 834218"/>
                <a:gd name="connsiteX108" fmla="*/ 682995 w 3024845"/>
                <a:gd name="connsiteY108" fmla="*/ 231310 h 834218"/>
                <a:gd name="connsiteX109" fmla="*/ 709342 w 3024845"/>
                <a:gd name="connsiteY109" fmla="*/ 231310 h 834218"/>
                <a:gd name="connsiteX110" fmla="*/ 709342 w 3024845"/>
                <a:gd name="connsiteY110" fmla="*/ 209692 h 834218"/>
                <a:gd name="connsiteX111" fmla="*/ 743796 w 3024845"/>
                <a:gd name="connsiteY111" fmla="*/ 209692 h 834218"/>
                <a:gd name="connsiteX112" fmla="*/ 743796 w 3024845"/>
                <a:gd name="connsiteY112" fmla="*/ 212124 h 834218"/>
                <a:gd name="connsiteX113" fmla="*/ 743796 w 3024845"/>
                <a:gd name="connsiteY113" fmla="*/ 229148 h 834218"/>
                <a:gd name="connsiteX114" fmla="*/ 746076 w 3024845"/>
                <a:gd name="connsiteY114" fmla="*/ 229148 h 834218"/>
                <a:gd name="connsiteX115" fmla="*/ 762036 w 3024845"/>
                <a:gd name="connsiteY115" fmla="*/ 229148 h 834218"/>
                <a:gd name="connsiteX116" fmla="*/ 762036 w 3024845"/>
                <a:gd name="connsiteY116" fmla="*/ 276707 h 834218"/>
                <a:gd name="connsiteX117" fmla="*/ 763049 w 3024845"/>
                <a:gd name="connsiteY117" fmla="*/ 276707 h 834218"/>
                <a:gd name="connsiteX118" fmla="*/ 770143 w 3024845"/>
                <a:gd name="connsiteY118" fmla="*/ 276707 h 834218"/>
                <a:gd name="connsiteX119" fmla="*/ 784330 w 3024845"/>
                <a:gd name="connsiteY119" fmla="*/ 281031 h 834218"/>
                <a:gd name="connsiteX120" fmla="*/ 784330 w 3024845"/>
                <a:gd name="connsiteY120" fmla="*/ 319943 h 834218"/>
                <a:gd name="connsiteX121" fmla="*/ 785343 w 3024845"/>
                <a:gd name="connsiteY121" fmla="*/ 319943 h 834218"/>
                <a:gd name="connsiteX122" fmla="*/ 792436 w 3024845"/>
                <a:gd name="connsiteY122" fmla="*/ 319943 h 834218"/>
                <a:gd name="connsiteX123" fmla="*/ 792436 w 3024845"/>
                <a:gd name="connsiteY123" fmla="*/ 321564 h 834218"/>
                <a:gd name="connsiteX124" fmla="*/ 792436 w 3024845"/>
                <a:gd name="connsiteY124" fmla="*/ 332913 h 834218"/>
                <a:gd name="connsiteX125" fmla="*/ 794463 w 3024845"/>
                <a:gd name="connsiteY125" fmla="*/ 332913 h 834218"/>
                <a:gd name="connsiteX126" fmla="*/ 808650 w 3024845"/>
                <a:gd name="connsiteY126" fmla="*/ 332913 h 834218"/>
                <a:gd name="connsiteX127" fmla="*/ 814730 w 3024845"/>
                <a:gd name="connsiteY127" fmla="*/ 339399 h 834218"/>
                <a:gd name="connsiteX128" fmla="*/ 814730 w 3024845"/>
                <a:gd name="connsiteY128" fmla="*/ 361017 h 834218"/>
                <a:gd name="connsiteX129" fmla="*/ 817010 w 3024845"/>
                <a:gd name="connsiteY129" fmla="*/ 361017 h 834218"/>
                <a:gd name="connsiteX130" fmla="*/ 832970 w 3024845"/>
                <a:gd name="connsiteY130" fmla="*/ 361017 h 834218"/>
                <a:gd name="connsiteX131" fmla="*/ 832970 w 3024845"/>
                <a:gd name="connsiteY131" fmla="*/ 362097 h 834218"/>
                <a:gd name="connsiteX132" fmla="*/ 832970 w 3024845"/>
                <a:gd name="connsiteY132" fmla="*/ 369664 h 834218"/>
                <a:gd name="connsiteX133" fmla="*/ 834237 w 3024845"/>
                <a:gd name="connsiteY133" fmla="*/ 369664 h 834218"/>
                <a:gd name="connsiteX134" fmla="*/ 843104 w 3024845"/>
                <a:gd name="connsiteY134" fmla="*/ 369664 h 834218"/>
                <a:gd name="connsiteX135" fmla="*/ 843104 w 3024845"/>
                <a:gd name="connsiteY135" fmla="*/ 371825 h 834218"/>
                <a:gd name="connsiteX136" fmla="*/ 843104 w 3024845"/>
                <a:gd name="connsiteY136" fmla="*/ 386958 h 834218"/>
                <a:gd name="connsiteX137" fmla="*/ 847157 w 3024845"/>
                <a:gd name="connsiteY137" fmla="*/ 385066 h 834218"/>
                <a:gd name="connsiteX138" fmla="*/ 847157 w 3024845"/>
                <a:gd name="connsiteY138" fmla="*/ 371825 h 834218"/>
                <a:gd name="connsiteX139" fmla="*/ 848170 w 3024845"/>
                <a:gd name="connsiteY139" fmla="*/ 371825 h 834218"/>
                <a:gd name="connsiteX140" fmla="*/ 855264 w 3024845"/>
                <a:gd name="connsiteY140" fmla="*/ 371825 h 834218"/>
                <a:gd name="connsiteX141" fmla="*/ 855264 w 3024845"/>
                <a:gd name="connsiteY141" fmla="*/ 373447 h 834218"/>
                <a:gd name="connsiteX142" fmla="*/ 855264 w 3024845"/>
                <a:gd name="connsiteY142" fmla="*/ 384796 h 834218"/>
                <a:gd name="connsiteX143" fmla="*/ 856024 w 3024845"/>
                <a:gd name="connsiteY143" fmla="*/ 384796 h 834218"/>
                <a:gd name="connsiteX144" fmla="*/ 861344 w 3024845"/>
                <a:gd name="connsiteY144" fmla="*/ 384796 h 834218"/>
                <a:gd name="connsiteX145" fmla="*/ 909984 w 3024845"/>
                <a:gd name="connsiteY145" fmla="*/ 380473 h 834218"/>
                <a:gd name="connsiteX146" fmla="*/ 909984 w 3024845"/>
                <a:gd name="connsiteY146" fmla="*/ 381824 h 834218"/>
                <a:gd name="connsiteX147" fmla="*/ 909984 w 3024845"/>
                <a:gd name="connsiteY147" fmla="*/ 391281 h 834218"/>
                <a:gd name="connsiteX148" fmla="*/ 910744 w 3024845"/>
                <a:gd name="connsiteY148" fmla="*/ 391281 h 834218"/>
                <a:gd name="connsiteX149" fmla="*/ 916065 w 3024845"/>
                <a:gd name="connsiteY149" fmla="*/ 391281 h 834218"/>
                <a:gd name="connsiteX150" fmla="*/ 916065 w 3024845"/>
                <a:gd name="connsiteY150" fmla="*/ 393443 h 834218"/>
                <a:gd name="connsiteX151" fmla="*/ 916065 w 3024845"/>
                <a:gd name="connsiteY151" fmla="*/ 408576 h 834218"/>
                <a:gd name="connsiteX152" fmla="*/ 918091 w 3024845"/>
                <a:gd name="connsiteY152" fmla="*/ 407225 h 834218"/>
                <a:gd name="connsiteX153" fmla="*/ 932278 w 3024845"/>
                <a:gd name="connsiteY153" fmla="*/ 397767 h 834218"/>
                <a:gd name="connsiteX154" fmla="*/ 938358 w 3024845"/>
                <a:gd name="connsiteY154" fmla="*/ 356693 h 834218"/>
                <a:gd name="connsiteX155" fmla="*/ 939118 w 3024845"/>
                <a:gd name="connsiteY155" fmla="*/ 356423 h 834218"/>
                <a:gd name="connsiteX156" fmla="*/ 944438 w 3024845"/>
                <a:gd name="connsiteY156" fmla="*/ 354531 h 834218"/>
                <a:gd name="connsiteX157" fmla="*/ 946465 w 3024845"/>
                <a:gd name="connsiteY157" fmla="*/ 285354 h 834218"/>
                <a:gd name="connsiteX158" fmla="*/ 948492 w 3024845"/>
                <a:gd name="connsiteY158" fmla="*/ 354531 h 834218"/>
                <a:gd name="connsiteX159" fmla="*/ 949252 w 3024845"/>
                <a:gd name="connsiteY159" fmla="*/ 354801 h 834218"/>
                <a:gd name="connsiteX160" fmla="*/ 954572 w 3024845"/>
                <a:gd name="connsiteY160" fmla="*/ 356693 h 834218"/>
                <a:gd name="connsiteX161" fmla="*/ 954572 w 3024845"/>
                <a:gd name="connsiteY161" fmla="*/ 270222 h 834218"/>
                <a:gd name="connsiteX162" fmla="*/ 958625 w 3024845"/>
                <a:gd name="connsiteY162" fmla="*/ 237795 h 834218"/>
                <a:gd name="connsiteX163" fmla="*/ 997132 w 3024845"/>
                <a:gd name="connsiteY163" fmla="*/ 237795 h 834218"/>
                <a:gd name="connsiteX164" fmla="*/ 997132 w 3024845"/>
                <a:gd name="connsiteY164" fmla="*/ 270222 h 834218"/>
                <a:gd name="connsiteX165" fmla="*/ 997892 w 3024845"/>
                <a:gd name="connsiteY165" fmla="*/ 270222 h 834218"/>
                <a:gd name="connsiteX166" fmla="*/ 1003212 w 3024845"/>
                <a:gd name="connsiteY166" fmla="*/ 270222 h 834218"/>
                <a:gd name="connsiteX167" fmla="*/ 1003212 w 3024845"/>
                <a:gd name="connsiteY167" fmla="*/ 188074 h 834218"/>
                <a:gd name="connsiteX168" fmla="*/ 1004986 w 3024845"/>
                <a:gd name="connsiteY168" fmla="*/ 188074 h 834218"/>
                <a:gd name="connsiteX169" fmla="*/ 1017399 w 3024845"/>
                <a:gd name="connsiteY169" fmla="*/ 188074 h 834218"/>
                <a:gd name="connsiteX170" fmla="*/ 1017399 w 3024845"/>
                <a:gd name="connsiteY170" fmla="*/ 186183 h 834218"/>
                <a:gd name="connsiteX171" fmla="*/ 1017399 w 3024845"/>
                <a:gd name="connsiteY171" fmla="*/ 172942 h 834218"/>
                <a:gd name="connsiteX172" fmla="*/ 1039693 w 3024845"/>
                <a:gd name="connsiteY172" fmla="*/ 172942 h 834218"/>
                <a:gd name="connsiteX173" fmla="*/ 1039693 w 3024845"/>
                <a:gd name="connsiteY173" fmla="*/ 171861 h 834218"/>
                <a:gd name="connsiteX174" fmla="*/ 1039693 w 3024845"/>
                <a:gd name="connsiteY174" fmla="*/ 164295 h 834218"/>
                <a:gd name="connsiteX175" fmla="*/ 1041466 w 3024845"/>
                <a:gd name="connsiteY175" fmla="*/ 164295 h 834218"/>
                <a:gd name="connsiteX176" fmla="*/ 1053880 w 3024845"/>
                <a:gd name="connsiteY176" fmla="*/ 164295 h 834218"/>
                <a:gd name="connsiteX177" fmla="*/ 1053880 w 3024845"/>
                <a:gd name="connsiteY177" fmla="*/ 165376 h 834218"/>
                <a:gd name="connsiteX178" fmla="*/ 1053880 w 3024845"/>
                <a:gd name="connsiteY178" fmla="*/ 172942 h 834218"/>
                <a:gd name="connsiteX179" fmla="*/ 1054640 w 3024845"/>
                <a:gd name="connsiteY179" fmla="*/ 172942 h 834218"/>
                <a:gd name="connsiteX180" fmla="*/ 1059960 w 3024845"/>
                <a:gd name="connsiteY180" fmla="*/ 172942 h 834218"/>
                <a:gd name="connsiteX181" fmla="*/ 1070093 w 3024845"/>
                <a:gd name="connsiteY181" fmla="*/ 168618 h 834218"/>
                <a:gd name="connsiteX182" fmla="*/ 1074146 w 3024845"/>
                <a:gd name="connsiteY182" fmla="*/ 171861 h 834218"/>
                <a:gd name="connsiteX183" fmla="*/ 1074146 w 3024845"/>
                <a:gd name="connsiteY183" fmla="*/ 164295 h 834218"/>
                <a:gd name="connsiteX184" fmla="*/ 1076426 w 3024845"/>
                <a:gd name="connsiteY184" fmla="*/ 164295 h 834218"/>
                <a:gd name="connsiteX185" fmla="*/ 1092387 w 3024845"/>
                <a:gd name="connsiteY185" fmla="*/ 164295 h 834218"/>
                <a:gd name="connsiteX186" fmla="*/ 1092387 w 3024845"/>
                <a:gd name="connsiteY186" fmla="*/ 165376 h 834218"/>
                <a:gd name="connsiteX187" fmla="*/ 1092387 w 3024845"/>
                <a:gd name="connsiteY187" fmla="*/ 172942 h 834218"/>
                <a:gd name="connsiteX188" fmla="*/ 1122787 w 3024845"/>
                <a:gd name="connsiteY188" fmla="*/ 172942 h 834218"/>
                <a:gd name="connsiteX189" fmla="*/ 1122787 w 3024845"/>
                <a:gd name="connsiteY189" fmla="*/ 174563 h 834218"/>
                <a:gd name="connsiteX190" fmla="*/ 1122787 w 3024845"/>
                <a:gd name="connsiteY190" fmla="*/ 185913 h 834218"/>
                <a:gd name="connsiteX191" fmla="*/ 1149134 w 3024845"/>
                <a:gd name="connsiteY191" fmla="*/ 185913 h 834218"/>
                <a:gd name="connsiteX192" fmla="*/ 1149134 w 3024845"/>
                <a:gd name="connsiteY192" fmla="*/ 216177 h 834218"/>
                <a:gd name="connsiteX193" fmla="*/ 1149894 w 3024845"/>
                <a:gd name="connsiteY193" fmla="*/ 216177 h 834218"/>
                <a:gd name="connsiteX194" fmla="*/ 1155214 w 3024845"/>
                <a:gd name="connsiteY194" fmla="*/ 216177 h 834218"/>
                <a:gd name="connsiteX195" fmla="*/ 1155214 w 3024845"/>
                <a:gd name="connsiteY195" fmla="*/ 217258 h 834218"/>
                <a:gd name="connsiteX196" fmla="*/ 1155214 w 3024845"/>
                <a:gd name="connsiteY196" fmla="*/ 224825 h 834218"/>
                <a:gd name="connsiteX197" fmla="*/ 1159268 w 3024845"/>
                <a:gd name="connsiteY197" fmla="*/ 255089 h 834218"/>
                <a:gd name="connsiteX198" fmla="*/ 1160028 w 3024845"/>
                <a:gd name="connsiteY198" fmla="*/ 255089 h 834218"/>
                <a:gd name="connsiteX199" fmla="*/ 1165348 w 3024845"/>
                <a:gd name="connsiteY199" fmla="*/ 255089 h 834218"/>
                <a:gd name="connsiteX200" fmla="*/ 1165348 w 3024845"/>
                <a:gd name="connsiteY200" fmla="*/ 255900 h 834218"/>
                <a:gd name="connsiteX201" fmla="*/ 1165348 w 3024845"/>
                <a:gd name="connsiteY201" fmla="*/ 261575 h 834218"/>
                <a:gd name="connsiteX202" fmla="*/ 1166361 w 3024845"/>
                <a:gd name="connsiteY202" fmla="*/ 261575 h 834218"/>
                <a:gd name="connsiteX203" fmla="*/ 1173454 w 3024845"/>
                <a:gd name="connsiteY203" fmla="*/ 261575 h 834218"/>
                <a:gd name="connsiteX204" fmla="*/ 1173454 w 3024845"/>
                <a:gd name="connsiteY204" fmla="*/ 291840 h 834218"/>
                <a:gd name="connsiteX205" fmla="*/ 1175481 w 3024845"/>
                <a:gd name="connsiteY205" fmla="*/ 291840 h 834218"/>
                <a:gd name="connsiteX206" fmla="*/ 1189668 w 3024845"/>
                <a:gd name="connsiteY206" fmla="*/ 291840 h 834218"/>
                <a:gd name="connsiteX207" fmla="*/ 1189668 w 3024845"/>
                <a:gd name="connsiteY207" fmla="*/ 315619 h 834218"/>
                <a:gd name="connsiteX208" fmla="*/ 1191695 w 3024845"/>
                <a:gd name="connsiteY208" fmla="*/ 317240 h 834218"/>
                <a:gd name="connsiteX209" fmla="*/ 1191695 w 3024845"/>
                <a:gd name="connsiteY209" fmla="*/ 328590 h 834218"/>
                <a:gd name="connsiteX210" fmla="*/ 1192455 w 3024845"/>
                <a:gd name="connsiteY210" fmla="*/ 328590 h 834218"/>
                <a:gd name="connsiteX211" fmla="*/ 1197775 w 3024845"/>
                <a:gd name="connsiteY211" fmla="*/ 328590 h 834218"/>
                <a:gd name="connsiteX212" fmla="*/ 1197775 w 3024845"/>
                <a:gd name="connsiteY212" fmla="*/ 352369 h 834218"/>
                <a:gd name="connsiteX213" fmla="*/ 1199041 w 3024845"/>
                <a:gd name="connsiteY213" fmla="*/ 352369 h 834218"/>
                <a:gd name="connsiteX214" fmla="*/ 1207908 w 3024845"/>
                <a:gd name="connsiteY214" fmla="*/ 352369 h 834218"/>
                <a:gd name="connsiteX215" fmla="*/ 1209935 w 3024845"/>
                <a:gd name="connsiteY215" fmla="*/ 356423 h 834218"/>
                <a:gd name="connsiteX216" fmla="*/ 1209935 w 3024845"/>
                <a:gd name="connsiteY216" fmla="*/ 369664 h 834218"/>
                <a:gd name="connsiteX217" fmla="*/ 1211455 w 3024845"/>
                <a:gd name="connsiteY217" fmla="*/ 367772 h 834218"/>
                <a:gd name="connsiteX218" fmla="*/ 1222095 w 3024845"/>
                <a:gd name="connsiteY218" fmla="*/ 354531 h 834218"/>
                <a:gd name="connsiteX219" fmla="*/ 1250469 w 3024845"/>
                <a:gd name="connsiteY219" fmla="*/ 354531 h 834218"/>
                <a:gd name="connsiteX220" fmla="*/ 1250469 w 3024845"/>
                <a:gd name="connsiteY220" fmla="*/ 441002 h 834218"/>
                <a:gd name="connsiteX221" fmla="*/ 1251229 w 3024845"/>
                <a:gd name="connsiteY221" fmla="*/ 441002 h 834218"/>
                <a:gd name="connsiteX222" fmla="*/ 1256549 w 3024845"/>
                <a:gd name="connsiteY222" fmla="*/ 441002 h 834218"/>
                <a:gd name="connsiteX223" fmla="*/ 1257309 w 3024845"/>
                <a:gd name="connsiteY223" fmla="*/ 439651 h 834218"/>
                <a:gd name="connsiteX224" fmla="*/ 1262629 w 3024845"/>
                <a:gd name="connsiteY224" fmla="*/ 430193 h 834218"/>
                <a:gd name="connsiteX225" fmla="*/ 1262629 w 3024845"/>
                <a:gd name="connsiteY225" fmla="*/ 432085 h 834218"/>
                <a:gd name="connsiteX226" fmla="*/ 1262629 w 3024845"/>
                <a:gd name="connsiteY226" fmla="*/ 445326 h 834218"/>
                <a:gd name="connsiteX227" fmla="*/ 1266682 w 3024845"/>
                <a:gd name="connsiteY227" fmla="*/ 399929 h 834218"/>
                <a:gd name="connsiteX228" fmla="*/ 1267442 w 3024845"/>
                <a:gd name="connsiteY228" fmla="*/ 399929 h 834218"/>
                <a:gd name="connsiteX229" fmla="*/ 1272762 w 3024845"/>
                <a:gd name="connsiteY229" fmla="*/ 399929 h 834218"/>
                <a:gd name="connsiteX230" fmla="*/ 1272762 w 3024845"/>
                <a:gd name="connsiteY230" fmla="*/ 335075 h 834218"/>
                <a:gd name="connsiteX231" fmla="*/ 1273776 w 3024845"/>
                <a:gd name="connsiteY231" fmla="*/ 335075 h 834218"/>
                <a:gd name="connsiteX232" fmla="*/ 1280869 w 3024845"/>
                <a:gd name="connsiteY232" fmla="*/ 335075 h 834218"/>
                <a:gd name="connsiteX233" fmla="*/ 1293029 w 3024845"/>
                <a:gd name="connsiteY233" fmla="*/ 291840 h 834218"/>
                <a:gd name="connsiteX234" fmla="*/ 1294296 w 3024845"/>
                <a:gd name="connsiteY234" fmla="*/ 291840 h 834218"/>
                <a:gd name="connsiteX235" fmla="*/ 1303163 w 3024845"/>
                <a:gd name="connsiteY235" fmla="*/ 291840 h 834218"/>
                <a:gd name="connsiteX236" fmla="*/ 1313296 w 3024845"/>
                <a:gd name="connsiteY236" fmla="*/ 335075 h 834218"/>
                <a:gd name="connsiteX237" fmla="*/ 1314309 w 3024845"/>
                <a:gd name="connsiteY237" fmla="*/ 335075 h 834218"/>
                <a:gd name="connsiteX238" fmla="*/ 1321403 w 3024845"/>
                <a:gd name="connsiteY238" fmla="*/ 335075 h 834218"/>
                <a:gd name="connsiteX239" fmla="*/ 1321403 w 3024845"/>
                <a:gd name="connsiteY239" fmla="*/ 373987 h 834218"/>
                <a:gd name="connsiteX240" fmla="*/ 1323176 w 3024845"/>
                <a:gd name="connsiteY240" fmla="*/ 373987 h 834218"/>
                <a:gd name="connsiteX241" fmla="*/ 1335590 w 3024845"/>
                <a:gd name="connsiteY241" fmla="*/ 373987 h 834218"/>
                <a:gd name="connsiteX242" fmla="*/ 1335590 w 3024845"/>
                <a:gd name="connsiteY242" fmla="*/ 376149 h 834218"/>
                <a:gd name="connsiteX243" fmla="*/ 1335590 w 3024845"/>
                <a:gd name="connsiteY243" fmla="*/ 391281 h 834218"/>
                <a:gd name="connsiteX244" fmla="*/ 1339643 w 3024845"/>
                <a:gd name="connsiteY244" fmla="*/ 389120 h 834218"/>
                <a:gd name="connsiteX245" fmla="*/ 1339643 w 3024845"/>
                <a:gd name="connsiteY245" fmla="*/ 373987 h 834218"/>
                <a:gd name="connsiteX246" fmla="*/ 1341163 w 3024845"/>
                <a:gd name="connsiteY246" fmla="*/ 373987 h 834218"/>
                <a:gd name="connsiteX247" fmla="*/ 1351803 w 3024845"/>
                <a:gd name="connsiteY247" fmla="*/ 373987 h 834218"/>
                <a:gd name="connsiteX248" fmla="*/ 1351803 w 3024845"/>
                <a:gd name="connsiteY248" fmla="*/ 375608 h 834218"/>
                <a:gd name="connsiteX249" fmla="*/ 1351803 w 3024845"/>
                <a:gd name="connsiteY249" fmla="*/ 386958 h 834218"/>
                <a:gd name="connsiteX250" fmla="*/ 1382204 w 3024845"/>
                <a:gd name="connsiteY250" fmla="*/ 386958 h 834218"/>
                <a:gd name="connsiteX251" fmla="*/ 1382204 w 3024845"/>
                <a:gd name="connsiteY251" fmla="*/ 350208 h 834218"/>
                <a:gd name="connsiteX252" fmla="*/ 1383470 w 3024845"/>
                <a:gd name="connsiteY252" fmla="*/ 350208 h 834218"/>
                <a:gd name="connsiteX253" fmla="*/ 1392337 w 3024845"/>
                <a:gd name="connsiteY253" fmla="*/ 350208 h 834218"/>
                <a:gd name="connsiteX254" fmla="*/ 1392337 w 3024845"/>
                <a:gd name="connsiteY254" fmla="*/ 371825 h 834218"/>
                <a:gd name="connsiteX255" fmla="*/ 1394364 w 3024845"/>
                <a:gd name="connsiteY255" fmla="*/ 339399 h 834218"/>
                <a:gd name="connsiteX256" fmla="*/ 1416657 w 3024845"/>
                <a:gd name="connsiteY256" fmla="*/ 339399 h 834218"/>
                <a:gd name="connsiteX257" fmla="*/ 1416657 w 3024845"/>
                <a:gd name="connsiteY257" fmla="*/ 337777 h 834218"/>
                <a:gd name="connsiteX258" fmla="*/ 1416657 w 3024845"/>
                <a:gd name="connsiteY258" fmla="*/ 326428 h 834218"/>
                <a:gd name="connsiteX259" fmla="*/ 1417417 w 3024845"/>
                <a:gd name="connsiteY259" fmla="*/ 326428 h 834218"/>
                <a:gd name="connsiteX260" fmla="*/ 1422737 w 3024845"/>
                <a:gd name="connsiteY260" fmla="*/ 326428 h 834218"/>
                <a:gd name="connsiteX261" fmla="*/ 1422737 w 3024845"/>
                <a:gd name="connsiteY261" fmla="*/ 324537 h 834218"/>
                <a:gd name="connsiteX262" fmla="*/ 1422737 w 3024845"/>
                <a:gd name="connsiteY262" fmla="*/ 311296 h 834218"/>
                <a:gd name="connsiteX263" fmla="*/ 1426791 w 3024845"/>
                <a:gd name="connsiteY263" fmla="*/ 317781 h 834218"/>
                <a:gd name="connsiteX264" fmla="*/ 1429071 w 3024845"/>
                <a:gd name="connsiteY264" fmla="*/ 317781 h 834218"/>
                <a:gd name="connsiteX265" fmla="*/ 1445031 w 3024845"/>
                <a:gd name="connsiteY265" fmla="*/ 317781 h 834218"/>
                <a:gd name="connsiteX266" fmla="*/ 1445031 w 3024845"/>
                <a:gd name="connsiteY266" fmla="*/ 316970 h 834218"/>
                <a:gd name="connsiteX267" fmla="*/ 1445031 w 3024845"/>
                <a:gd name="connsiteY267" fmla="*/ 311296 h 834218"/>
                <a:gd name="connsiteX268" fmla="*/ 1445791 w 3024845"/>
                <a:gd name="connsiteY268" fmla="*/ 311296 h 834218"/>
                <a:gd name="connsiteX269" fmla="*/ 1451111 w 3024845"/>
                <a:gd name="connsiteY269" fmla="*/ 311296 h 834218"/>
                <a:gd name="connsiteX270" fmla="*/ 1451111 w 3024845"/>
                <a:gd name="connsiteY270" fmla="*/ 312647 h 834218"/>
                <a:gd name="connsiteX271" fmla="*/ 1451111 w 3024845"/>
                <a:gd name="connsiteY271" fmla="*/ 322105 h 834218"/>
                <a:gd name="connsiteX272" fmla="*/ 1489618 w 3024845"/>
                <a:gd name="connsiteY272" fmla="*/ 322105 h 834218"/>
                <a:gd name="connsiteX273" fmla="*/ 1489618 w 3024845"/>
                <a:gd name="connsiteY273" fmla="*/ 460458 h 834218"/>
                <a:gd name="connsiteX274" fmla="*/ 1491138 w 3024845"/>
                <a:gd name="connsiteY274" fmla="*/ 460458 h 834218"/>
                <a:gd name="connsiteX275" fmla="*/ 1501778 w 3024845"/>
                <a:gd name="connsiteY275" fmla="*/ 460458 h 834218"/>
                <a:gd name="connsiteX276" fmla="*/ 1501778 w 3024845"/>
                <a:gd name="connsiteY276" fmla="*/ 447488 h 834218"/>
                <a:gd name="connsiteX277" fmla="*/ 1505832 w 3024845"/>
                <a:gd name="connsiteY277" fmla="*/ 447488 h 834218"/>
                <a:gd name="connsiteX278" fmla="*/ 1505832 w 3024845"/>
                <a:gd name="connsiteY278" fmla="*/ 460458 h 834218"/>
                <a:gd name="connsiteX279" fmla="*/ 1536232 w 3024845"/>
                <a:gd name="connsiteY279" fmla="*/ 460458 h 834218"/>
                <a:gd name="connsiteX280" fmla="*/ 1536232 w 3024845"/>
                <a:gd name="connsiteY280" fmla="*/ 430193 h 834218"/>
                <a:gd name="connsiteX281" fmla="*/ 1548392 w 3024845"/>
                <a:gd name="connsiteY281" fmla="*/ 430193 h 834218"/>
                <a:gd name="connsiteX282" fmla="*/ 1560552 w 3024845"/>
                <a:gd name="connsiteY282" fmla="*/ 428032 h 834218"/>
                <a:gd name="connsiteX283" fmla="*/ 1564606 w 3024845"/>
                <a:gd name="connsiteY283" fmla="*/ 430193 h 834218"/>
                <a:gd name="connsiteX284" fmla="*/ 1574739 w 3024845"/>
                <a:gd name="connsiteY284" fmla="*/ 430193 h 834218"/>
                <a:gd name="connsiteX285" fmla="*/ 1574739 w 3024845"/>
                <a:gd name="connsiteY285" fmla="*/ 460458 h 834218"/>
                <a:gd name="connsiteX286" fmla="*/ 1582846 w 3024845"/>
                <a:gd name="connsiteY286" fmla="*/ 460458 h 834218"/>
                <a:gd name="connsiteX287" fmla="*/ 1582846 w 3024845"/>
                <a:gd name="connsiteY287" fmla="*/ 477753 h 834218"/>
                <a:gd name="connsiteX288" fmla="*/ 1592182 w 3024845"/>
                <a:gd name="connsiteY288" fmla="*/ 478658 h 834218"/>
                <a:gd name="connsiteX289" fmla="*/ 1605140 w 3024845"/>
                <a:gd name="connsiteY289" fmla="*/ 478658 h 834218"/>
                <a:gd name="connsiteX290" fmla="*/ 1605140 w 3024845"/>
                <a:gd name="connsiteY290" fmla="*/ 462620 h 834218"/>
                <a:gd name="connsiteX291" fmla="*/ 1673096 w 3024845"/>
                <a:gd name="connsiteY291" fmla="*/ 462620 h 834218"/>
                <a:gd name="connsiteX292" fmla="*/ 1673096 w 3024845"/>
                <a:gd name="connsiteY292" fmla="*/ 377367 h 834218"/>
                <a:gd name="connsiteX293" fmla="*/ 1745104 w 3024845"/>
                <a:gd name="connsiteY293" fmla="*/ 377367 h 834218"/>
                <a:gd name="connsiteX294" fmla="*/ 1745104 w 3024845"/>
                <a:gd name="connsiteY294" fmla="*/ 456135 h 834218"/>
                <a:gd name="connsiteX295" fmla="*/ 1747008 w 3024845"/>
                <a:gd name="connsiteY295" fmla="*/ 456135 h 834218"/>
                <a:gd name="connsiteX296" fmla="*/ 1748250 w 3024845"/>
                <a:gd name="connsiteY296" fmla="*/ 478658 h 834218"/>
                <a:gd name="connsiteX297" fmla="*/ 1757926 w 3024845"/>
                <a:gd name="connsiteY297" fmla="*/ 478658 h 834218"/>
                <a:gd name="connsiteX298" fmla="*/ 1759168 w 3024845"/>
                <a:gd name="connsiteY298" fmla="*/ 456135 h 834218"/>
                <a:gd name="connsiteX299" fmla="*/ 1765248 w 3024845"/>
                <a:gd name="connsiteY299" fmla="*/ 456135 h 834218"/>
                <a:gd name="connsiteX300" fmla="*/ 1766490 w 3024845"/>
                <a:gd name="connsiteY300" fmla="*/ 478658 h 834218"/>
                <a:gd name="connsiteX301" fmla="*/ 1817112 w 3024845"/>
                <a:gd name="connsiteY301" fmla="*/ 478658 h 834218"/>
                <a:gd name="connsiteX302" fmla="*/ 1817112 w 3024845"/>
                <a:gd name="connsiteY302" fmla="*/ 315630 h 834218"/>
                <a:gd name="connsiteX303" fmla="*/ 2014439 w 3024845"/>
                <a:gd name="connsiteY303" fmla="*/ 315630 h 834218"/>
                <a:gd name="connsiteX304" fmla="*/ 2014439 w 3024845"/>
                <a:gd name="connsiteY304" fmla="*/ 478658 h 834218"/>
                <a:gd name="connsiteX305" fmla="*/ 2033136 w 3024845"/>
                <a:gd name="connsiteY305" fmla="*/ 478658 h 834218"/>
                <a:gd name="connsiteX306" fmla="*/ 2033136 w 3024845"/>
                <a:gd name="connsiteY306" fmla="*/ 395965 h 834218"/>
                <a:gd name="connsiteX307" fmla="*/ 2128256 w 3024845"/>
                <a:gd name="connsiteY307" fmla="*/ 395965 h 834218"/>
                <a:gd name="connsiteX308" fmla="*/ 2180720 w 3024845"/>
                <a:gd name="connsiteY308" fmla="*/ 330752 h 834218"/>
                <a:gd name="connsiteX309" fmla="*/ 2245574 w 3024845"/>
                <a:gd name="connsiteY309" fmla="*/ 330752 h 834218"/>
                <a:gd name="connsiteX310" fmla="*/ 2245574 w 3024845"/>
                <a:gd name="connsiteY310" fmla="*/ 406414 h 834218"/>
                <a:gd name="connsiteX311" fmla="*/ 2253681 w 3024845"/>
                <a:gd name="connsiteY311" fmla="*/ 406414 h 834218"/>
                <a:gd name="connsiteX312" fmla="*/ 2255708 w 3024845"/>
                <a:gd name="connsiteY312" fmla="*/ 399929 h 834218"/>
                <a:gd name="connsiteX313" fmla="*/ 2261788 w 3024845"/>
                <a:gd name="connsiteY313" fmla="*/ 399929 h 834218"/>
                <a:gd name="connsiteX314" fmla="*/ 2263815 w 3024845"/>
                <a:gd name="connsiteY314" fmla="*/ 408576 h 834218"/>
                <a:gd name="connsiteX315" fmla="*/ 2275975 w 3024845"/>
                <a:gd name="connsiteY315" fmla="*/ 408576 h 834218"/>
                <a:gd name="connsiteX316" fmla="*/ 2275975 w 3024845"/>
                <a:gd name="connsiteY316" fmla="*/ 402090 h 834218"/>
                <a:gd name="connsiteX317" fmla="*/ 2298268 w 3024845"/>
                <a:gd name="connsiteY317" fmla="*/ 402090 h 834218"/>
                <a:gd name="connsiteX318" fmla="*/ 2298268 w 3024845"/>
                <a:gd name="connsiteY318" fmla="*/ 408576 h 834218"/>
                <a:gd name="connsiteX319" fmla="*/ 2318535 w 3024845"/>
                <a:gd name="connsiteY319" fmla="*/ 408576 h 834218"/>
                <a:gd name="connsiteX320" fmla="*/ 2318535 w 3024845"/>
                <a:gd name="connsiteY320" fmla="*/ 453973 h 834218"/>
                <a:gd name="connsiteX321" fmla="*/ 2332722 w 3024845"/>
                <a:gd name="connsiteY321" fmla="*/ 453973 h 834218"/>
                <a:gd name="connsiteX322" fmla="*/ 2332722 w 3024845"/>
                <a:gd name="connsiteY322" fmla="*/ 441002 h 834218"/>
                <a:gd name="connsiteX323" fmla="*/ 2348936 w 3024845"/>
                <a:gd name="connsiteY323" fmla="*/ 441002 h 834218"/>
                <a:gd name="connsiteX324" fmla="*/ 2348936 w 3024845"/>
                <a:gd name="connsiteY324" fmla="*/ 261575 h 834218"/>
                <a:gd name="connsiteX325" fmla="*/ 2355016 w 3024845"/>
                <a:gd name="connsiteY325" fmla="*/ 255089 h 834218"/>
                <a:gd name="connsiteX326" fmla="*/ 2427977 w 3024845"/>
                <a:gd name="connsiteY326" fmla="*/ 255089 h 834218"/>
                <a:gd name="connsiteX327" fmla="*/ 2427977 w 3024845"/>
                <a:gd name="connsiteY327" fmla="*/ 263737 h 834218"/>
                <a:gd name="connsiteX328" fmla="*/ 2438110 w 3024845"/>
                <a:gd name="connsiteY328" fmla="*/ 263737 h 834218"/>
                <a:gd name="connsiteX329" fmla="*/ 2438110 w 3024845"/>
                <a:gd name="connsiteY329" fmla="*/ 378311 h 834218"/>
                <a:gd name="connsiteX330" fmla="*/ 2460404 w 3024845"/>
                <a:gd name="connsiteY330" fmla="*/ 378311 h 834218"/>
                <a:gd name="connsiteX331" fmla="*/ 2460404 w 3024845"/>
                <a:gd name="connsiteY331" fmla="*/ 311296 h 834218"/>
                <a:gd name="connsiteX332" fmla="*/ 2486751 w 3024845"/>
                <a:gd name="connsiteY332" fmla="*/ 311296 h 834218"/>
                <a:gd name="connsiteX333" fmla="*/ 2490804 w 3024845"/>
                <a:gd name="connsiteY333" fmla="*/ 306972 h 834218"/>
                <a:gd name="connsiteX334" fmla="*/ 2498911 w 3024845"/>
                <a:gd name="connsiteY334" fmla="*/ 306972 h 834218"/>
                <a:gd name="connsiteX335" fmla="*/ 2502964 w 3024845"/>
                <a:gd name="connsiteY335" fmla="*/ 311296 h 834218"/>
                <a:gd name="connsiteX336" fmla="*/ 2525258 w 3024845"/>
                <a:gd name="connsiteY336" fmla="*/ 311296 h 834218"/>
                <a:gd name="connsiteX337" fmla="*/ 2525258 w 3024845"/>
                <a:gd name="connsiteY337" fmla="*/ 194560 h 834218"/>
                <a:gd name="connsiteX338" fmla="*/ 2582005 w 3024845"/>
                <a:gd name="connsiteY338" fmla="*/ 183751 h 834218"/>
                <a:gd name="connsiteX339" fmla="*/ 2582005 w 3024845"/>
                <a:gd name="connsiteY339" fmla="*/ 184832 h 834218"/>
                <a:gd name="connsiteX340" fmla="*/ 2582005 w 3024845"/>
                <a:gd name="connsiteY340" fmla="*/ 192398 h 834218"/>
                <a:gd name="connsiteX341" fmla="*/ 2608352 w 3024845"/>
                <a:gd name="connsiteY341" fmla="*/ 192398 h 834218"/>
                <a:gd name="connsiteX342" fmla="*/ 2608352 w 3024845"/>
                <a:gd name="connsiteY342" fmla="*/ 447488 h 834218"/>
                <a:gd name="connsiteX343" fmla="*/ 2630646 w 3024845"/>
                <a:gd name="connsiteY343" fmla="*/ 447488 h 834218"/>
                <a:gd name="connsiteX344" fmla="*/ 2630646 w 3024845"/>
                <a:gd name="connsiteY344" fmla="*/ 443164 h 834218"/>
                <a:gd name="connsiteX345" fmla="*/ 2642806 w 3024845"/>
                <a:gd name="connsiteY345" fmla="*/ 443164 h 834218"/>
                <a:gd name="connsiteX346" fmla="*/ 2642806 w 3024845"/>
                <a:gd name="connsiteY346" fmla="*/ 447488 h 834218"/>
                <a:gd name="connsiteX347" fmla="*/ 2667126 w 3024845"/>
                <a:gd name="connsiteY347" fmla="*/ 447488 h 834218"/>
                <a:gd name="connsiteX348" fmla="*/ 2667126 w 3024845"/>
                <a:gd name="connsiteY348" fmla="*/ 434517 h 834218"/>
                <a:gd name="connsiteX349" fmla="*/ 2695500 w 3024845"/>
                <a:gd name="connsiteY349" fmla="*/ 434517 h 834218"/>
                <a:gd name="connsiteX350" fmla="*/ 2707660 w 3024845"/>
                <a:gd name="connsiteY350" fmla="*/ 430193 h 834218"/>
                <a:gd name="connsiteX351" fmla="*/ 2727927 w 3024845"/>
                <a:gd name="connsiteY351" fmla="*/ 434517 h 834218"/>
                <a:gd name="connsiteX352" fmla="*/ 2727927 w 3024845"/>
                <a:gd name="connsiteY352" fmla="*/ 417223 h 834218"/>
                <a:gd name="connsiteX353" fmla="*/ 2736034 w 3024845"/>
                <a:gd name="connsiteY353" fmla="*/ 417223 h 834218"/>
                <a:gd name="connsiteX354" fmla="*/ 2736034 w 3024845"/>
                <a:gd name="connsiteY354" fmla="*/ 404252 h 834218"/>
                <a:gd name="connsiteX355" fmla="*/ 2792781 w 3024845"/>
                <a:gd name="connsiteY355" fmla="*/ 404252 h 834218"/>
                <a:gd name="connsiteX356" fmla="*/ 2792781 w 3024845"/>
                <a:gd name="connsiteY356" fmla="*/ 373987 h 834218"/>
                <a:gd name="connsiteX357" fmla="*/ 2811021 w 3024845"/>
                <a:gd name="connsiteY357" fmla="*/ 373987 h 834218"/>
                <a:gd name="connsiteX358" fmla="*/ 2811021 w 3024845"/>
                <a:gd name="connsiteY358" fmla="*/ 367502 h 834218"/>
                <a:gd name="connsiteX359" fmla="*/ 2823181 w 3024845"/>
                <a:gd name="connsiteY359" fmla="*/ 367502 h 834218"/>
                <a:gd name="connsiteX360" fmla="*/ 2823181 w 3024845"/>
                <a:gd name="connsiteY360" fmla="*/ 373987 h 834218"/>
                <a:gd name="connsiteX361" fmla="*/ 2839395 w 3024845"/>
                <a:gd name="connsiteY361" fmla="*/ 373987 h 834218"/>
                <a:gd name="connsiteX362" fmla="*/ 2839395 w 3024845"/>
                <a:gd name="connsiteY362" fmla="*/ 423708 h 834218"/>
                <a:gd name="connsiteX363" fmla="*/ 2871822 w 3024845"/>
                <a:gd name="connsiteY363" fmla="*/ 423708 h 834218"/>
                <a:gd name="connsiteX364" fmla="*/ 2871822 w 3024845"/>
                <a:gd name="connsiteY364" fmla="*/ 397767 h 834218"/>
                <a:gd name="connsiteX365" fmla="*/ 2910329 w 3024845"/>
                <a:gd name="connsiteY365" fmla="*/ 397767 h 834218"/>
                <a:gd name="connsiteX366" fmla="*/ 2910329 w 3024845"/>
                <a:gd name="connsiteY366" fmla="*/ 367502 h 834218"/>
                <a:gd name="connsiteX367" fmla="*/ 2958970 w 3024845"/>
                <a:gd name="connsiteY367" fmla="*/ 367502 h 834218"/>
                <a:gd name="connsiteX368" fmla="*/ 2958970 w 3024845"/>
                <a:gd name="connsiteY368" fmla="*/ 478658 h 834218"/>
                <a:gd name="connsiteX369" fmla="*/ 2958970 w 3024845"/>
                <a:gd name="connsiteY369" fmla="*/ 492437 h 834218"/>
                <a:gd name="connsiteX370" fmla="*/ 3024845 w 3024845"/>
                <a:gd name="connsiteY370" fmla="*/ 492437 h 834218"/>
                <a:gd name="connsiteX371" fmla="*/ 3024845 w 3024845"/>
                <a:gd name="connsiteY371" fmla="*/ 834218 h 834218"/>
                <a:gd name="connsiteX372" fmla="*/ 2054 w 3024845"/>
                <a:gd name="connsiteY372" fmla="*/ 831885 h 834218"/>
                <a:gd name="connsiteX373" fmla="*/ 0 w 3024845"/>
                <a:gd name="connsiteY373" fmla="*/ 397767 h 834218"/>
                <a:gd name="connsiteX374" fmla="*/ 20267 w 3024845"/>
                <a:gd name="connsiteY374" fmla="*/ 397767 h 834218"/>
                <a:gd name="connsiteX375" fmla="*/ 20774 w 3024845"/>
                <a:gd name="connsiteY375" fmla="*/ 396686 h 834218"/>
                <a:gd name="connsiteX376" fmla="*/ 24320 w 3024845"/>
                <a:gd name="connsiteY376" fmla="*/ 389120 h 834218"/>
                <a:gd name="connsiteX377" fmla="*/ 26094 w 3024845"/>
                <a:gd name="connsiteY377" fmla="*/ 389390 h 834218"/>
                <a:gd name="connsiteX378" fmla="*/ 38507 w 3024845"/>
                <a:gd name="connsiteY378" fmla="*/ 391281 h 834218"/>
                <a:gd name="connsiteX379" fmla="*/ 39014 w 3024845"/>
                <a:gd name="connsiteY379" fmla="*/ 392633 h 834218"/>
                <a:gd name="connsiteX380" fmla="*/ 42560 w 3024845"/>
                <a:gd name="connsiteY380" fmla="*/ 402090 h 834218"/>
                <a:gd name="connsiteX381" fmla="*/ 68907 w 3024845"/>
                <a:gd name="connsiteY381" fmla="*/ 404252 h 834218"/>
                <a:gd name="connsiteX382" fmla="*/ 68907 w 3024845"/>
                <a:gd name="connsiteY382" fmla="*/ 281031 h 834218"/>
                <a:gd name="connsiteX383" fmla="*/ 70934 w 3024845"/>
                <a:gd name="connsiteY383" fmla="*/ 281031 h 834218"/>
                <a:gd name="connsiteX384" fmla="*/ 85121 w 3024845"/>
                <a:gd name="connsiteY384" fmla="*/ 281031 h 834218"/>
                <a:gd name="connsiteX385" fmla="*/ 85121 w 3024845"/>
                <a:gd name="connsiteY385" fmla="*/ 144839 h 834218"/>
                <a:gd name="connsiteX386" fmla="*/ 86894 w 3024845"/>
                <a:gd name="connsiteY386" fmla="*/ 144839 h 834218"/>
                <a:gd name="connsiteX387" fmla="*/ 99308 w 3024845"/>
                <a:gd name="connsiteY387" fmla="*/ 144839 h 834218"/>
                <a:gd name="connsiteX388" fmla="*/ 99308 w 3024845"/>
                <a:gd name="connsiteY388" fmla="*/ 30265 h 834218"/>
                <a:gd name="connsiteX389" fmla="*/ 103361 w 3024845"/>
                <a:gd name="connsiteY389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20909 w 3024845"/>
                <a:gd name="connsiteY4" fmla="*/ 144839 h 834218"/>
                <a:gd name="connsiteX5" fmla="*/ 223189 w 3024845"/>
                <a:gd name="connsiteY5" fmla="*/ 144839 h 834218"/>
                <a:gd name="connsiteX6" fmla="*/ 239150 w 3024845"/>
                <a:gd name="connsiteY6" fmla="*/ 144839 h 834218"/>
                <a:gd name="connsiteX7" fmla="*/ 239150 w 3024845"/>
                <a:gd name="connsiteY7" fmla="*/ 285354 h 834218"/>
                <a:gd name="connsiteX8" fmla="*/ 240670 w 3024845"/>
                <a:gd name="connsiteY8" fmla="*/ 285084 h 834218"/>
                <a:gd name="connsiteX9" fmla="*/ 251310 w 3024845"/>
                <a:gd name="connsiteY9" fmla="*/ 283193 h 834218"/>
                <a:gd name="connsiteX10" fmla="*/ 249283 w 3024845"/>
                <a:gd name="connsiteY10" fmla="*/ 371825 h 834218"/>
                <a:gd name="connsiteX11" fmla="*/ 250803 w 3024845"/>
                <a:gd name="connsiteY11" fmla="*/ 372096 h 834218"/>
                <a:gd name="connsiteX12" fmla="*/ 261443 w 3024845"/>
                <a:gd name="connsiteY12" fmla="*/ 373987 h 834218"/>
                <a:gd name="connsiteX13" fmla="*/ 261696 w 3024845"/>
                <a:gd name="connsiteY13" fmla="*/ 374798 h 834218"/>
                <a:gd name="connsiteX14" fmla="*/ 263470 w 3024845"/>
                <a:gd name="connsiteY14" fmla="*/ 380473 h 834218"/>
                <a:gd name="connsiteX15" fmla="*/ 264230 w 3024845"/>
                <a:gd name="connsiteY15" fmla="*/ 378041 h 834218"/>
                <a:gd name="connsiteX16" fmla="*/ 269550 w 3024845"/>
                <a:gd name="connsiteY16" fmla="*/ 361017 h 834218"/>
                <a:gd name="connsiteX17" fmla="*/ 271323 w 3024845"/>
                <a:gd name="connsiteY17" fmla="*/ 361017 h 834218"/>
                <a:gd name="connsiteX18" fmla="*/ 283737 w 3024845"/>
                <a:gd name="connsiteY18" fmla="*/ 361017 h 834218"/>
                <a:gd name="connsiteX19" fmla="*/ 283737 w 3024845"/>
                <a:gd name="connsiteY19" fmla="*/ 393443 h 834218"/>
                <a:gd name="connsiteX20" fmla="*/ 284750 w 3024845"/>
                <a:gd name="connsiteY20" fmla="*/ 393984 h 834218"/>
                <a:gd name="connsiteX21" fmla="*/ 291844 w 3024845"/>
                <a:gd name="connsiteY21" fmla="*/ 397767 h 834218"/>
                <a:gd name="connsiteX22" fmla="*/ 291844 w 3024845"/>
                <a:gd name="connsiteY22" fmla="*/ 399118 h 834218"/>
                <a:gd name="connsiteX23" fmla="*/ 291844 w 3024845"/>
                <a:gd name="connsiteY23" fmla="*/ 408576 h 834218"/>
                <a:gd name="connsiteX24" fmla="*/ 336431 w 3024845"/>
                <a:gd name="connsiteY24" fmla="*/ 408576 h 834218"/>
                <a:gd name="connsiteX25" fmla="*/ 336431 w 3024845"/>
                <a:gd name="connsiteY25" fmla="*/ 409657 h 834218"/>
                <a:gd name="connsiteX26" fmla="*/ 336431 w 3024845"/>
                <a:gd name="connsiteY26" fmla="*/ 417223 h 834218"/>
                <a:gd name="connsiteX27" fmla="*/ 338457 w 3024845"/>
                <a:gd name="connsiteY27" fmla="*/ 417223 h 834218"/>
                <a:gd name="connsiteX28" fmla="*/ 352644 w 3024845"/>
                <a:gd name="connsiteY28" fmla="*/ 417223 h 834218"/>
                <a:gd name="connsiteX29" fmla="*/ 352644 w 3024845"/>
                <a:gd name="connsiteY29" fmla="*/ 386958 h 834218"/>
                <a:gd name="connsiteX30" fmla="*/ 397231 w 3024845"/>
                <a:gd name="connsiteY30" fmla="*/ 386958 h 834218"/>
                <a:gd name="connsiteX31" fmla="*/ 397231 w 3024845"/>
                <a:gd name="connsiteY31" fmla="*/ 385607 h 834218"/>
                <a:gd name="connsiteX32" fmla="*/ 397231 w 3024845"/>
                <a:gd name="connsiteY32" fmla="*/ 376149 h 834218"/>
                <a:gd name="connsiteX33" fmla="*/ 398245 w 3024845"/>
                <a:gd name="connsiteY33" fmla="*/ 376149 h 834218"/>
                <a:gd name="connsiteX34" fmla="*/ 405338 w 3024845"/>
                <a:gd name="connsiteY34" fmla="*/ 376149 h 834218"/>
                <a:gd name="connsiteX35" fmla="*/ 405338 w 3024845"/>
                <a:gd name="connsiteY35" fmla="*/ 374258 h 834218"/>
                <a:gd name="connsiteX36" fmla="*/ 405338 w 3024845"/>
                <a:gd name="connsiteY36" fmla="*/ 361017 h 834218"/>
                <a:gd name="connsiteX37" fmla="*/ 406098 w 3024845"/>
                <a:gd name="connsiteY37" fmla="*/ 361017 h 834218"/>
                <a:gd name="connsiteX38" fmla="*/ 411418 w 3024845"/>
                <a:gd name="connsiteY38" fmla="*/ 361017 h 834218"/>
                <a:gd name="connsiteX39" fmla="*/ 411418 w 3024845"/>
                <a:gd name="connsiteY39" fmla="*/ 359936 h 834218"/>
                <a:gd name="connsiteX40" fmla="*/ 411418 w 3024845"/>
                <a:gd name="connsiteY40" fmla="*/ 352369 h 834218"/>
                <a:gd name="connsiteX41" fmla="*/ 413445 w 3024845"/>
                <a:gd name="connsiteY41" fmla="*/ 352369 h 834218"/>
                <a:gd name="connsiteX42" fmla="*/ 427632 w 3024845"/>
                <a:gd name="connsiteY42" fmla="*/ 352369 h 834218"/>
                <a:gd name="connsiteX43" fmla="*/ 427632 w 3024845"/>
                <a:gd name="connsiteY43" fmla="*/ 353450 h 834218"/>
                <a:gd name="connsiteX44" fmla="*/ 427632 w 3024845"/>
                <a:gd name="connsiteY44" fmla="*/ 361017 h 834218"/>
                <a:gd name="connsiteX45" fmla="*/ 449925 w 3024845"/>
                <a:gd name="connsiteY45" fmla="*/ 361017 h 834218"/>
                <a:gd name="connsiteX46" fmla="*/ 449925 w 3024845"/>
                <a:gd name="connsiteY46" fmla="*/ 359125 h 834218"/>
                <a:gd name="connsiteX47" fmla="*/ 449925 w 3024845"/>
                <a:gd name="connsiteY47" fmla="*/ 345884 h 834218"/>
                <a:gd name="connsiteX48" fmla="*/ 451699 w 3024845"/>
                <a:gd name="connsiteY48" fmla="*/ 345884 h 834218"/>
                <a:gd name="connsiteX49" fmla="*/ 464112 w 3024845"/>
                <a:gd name="connsiteY49" fmla="*/ 345884 h 834218"/>
                <a:gd name="connsiteX50" fmla="*/ 464112 w 3024845"/>
                <a:gd name="connsiteY50" fmla="*/ 369664 h 834218"/>
                <a:gd name="connsiteX51" fmla="*/ 465126 w 3024845"/>
                <a:gd name="connsiteY51" fmla="*/ 369664 h 834218"/>
                <a:gd name="connsiteX52" fmla="*/ 472219 w 3024845"/>
                <a:gd name="connsiteY52" fmla="*/ 369664 h 834218"/>
                <a:gd name="connsiteX53" fmla="*/ 472219 w 3024845"/>
                <a:gd name="connsiteY53" fmla="*/ 368583 h 834218"/>
                <a:gd name="connsiteX54" fmla="*/ 472219 w 3024845"/>
                <a:gd name="connsiteY54" fmla="*/ 361017 h 834218"/>
                <a:gd name="connsiteX55" fmla="*/ 473992 w 3024845"/>
                <a:gd name="connsiteY55" fmla="*/ 361017 h 834218"/>
                <a:gd name="connsiteX56" fmla="*/ 486406 w 3024845"/>
                <a:gd name="connsiteY56" fmla="*/ 361017 h 834218"/>
                <a:gd name="connsiteX57" fmla="*/ 486406 w 3024845"/>
                <a:gd name="connsiteY57" fmla="*/ 386958 h 834218"/>
                <a:gd name="connsiteX58" fmla="*/ 488433 w 3024845"/>
                <a:gd name="connsiteY58" fmla="*/ 386958 h 834218"/>
                <a:gd name="connsiteX59" fmla="*/ 502619 w 3024845"/>
                <a:gd name="connsiteY59" fmla="*/ 386958 h 834218"/>
                <a:gd name="connsiteX60" fmla="*/ 502619 w 3024845"/>
                <a:gd name="connsiteY60" fmla="*/ 388579 h 834218"/>
                <a:gd name="connsiteX61" fmla="*/ 502619 w 3024845"/>
                <a:gd name="connsiteY61" fmla="*/ 399929 h 834218"/>
                <a:gd name="connsiteX62" fmla="*/ 503379 w 3024845"/>
                <a:gd name="connsiteY62" fmla="*/ 399929 h 834218"/>
                <a:gd name="connsiteX63" fmla="*/ 508700 w 3024845"/>
                <a:gd name="connsiteY63" fmla="*/ 399929 h 834218"/>
                <a:gd name="connsiteX64" fmla="*/ 508700 w 3024845"/>
                <a:gd name="connsiteY64" fmla="*/ 399118 h 834218"/>
                <a:gd name="connsiteX65" fmla="*/ 508700 w 3024845"/>
                <a:gd name="connsiteY65" fmla="*/ 393443 h 834218"/>
                <a:gd name="connsiteX66" fmla="*/ 539100 w 3024845"/>
                <a:gd name="connsiteY66" fmla="*/ 393443 h 834218"/>
                <a:gd name="connsiteX67" fmla="*/ 539100 w 3024845"/>
                <a:gd name="connsiteY67" fmla="*/ 417223 h 834218"/>
                <a:gd name="connsiteX68" fmla="*/ 540113 w 3024845"/>
                <a:gd name="connsiteY68" fmla="*/ 417223 h 834218"/>
                <a:gd name="connsiteX69" fmla="*/ 547207 w 3024845"/>
                <a:gd name="connsiteY69" fmla="*/ 417223 h 834218"/>
                <a:gd name="connsiteX70" fmla="*/ 547207 w 3024845"/>
                <a:gd name="connsiteY70" fmla="*/ 418304 h 834218"/>
                <a:gd name="connsiteX71" fmla="*/ 547207 w 3024845"/>
                <a:gd name="connsiteY71" fmla="*/ 425870 h 834218"/>
                <a:gd name="connsiteX72" fmla="*/ 547967 w 3024845"/>
                <a:gd name="connsiteY72" fmla="*/ 425870 h 834218"/>
                <a:gd name="connsiteX73" fmla="*/ 553287 w 3024845"/>
                <a:gd name="connsiteY73" fmla="*/ 425870 h 834218"/>
                <a:gd name="connsiteX74" fmla="*/ 553287 w 3024845"/>
                <a:gd name="connsiteY74" fmla="*/ 423708 h 834218"/>
                <a:gd name="connsiteX75" fmla="*/ 553287 w 3024845"/>
                <a:gd name="connsiteY75" fmla="*/ 408576 h 834218"/>
                <a:gd name="connsiteX76" fmla="*/ 554300 w 3024845"/>
                <a:gd name="connsiteY76" fmla="*/ 408576 h 834218"/>
                <a:gd name="connsiteX77" fmla="*/ 561394 w 3024845"/>
                <a:gd name="connsiteY77" fmla="*/ 408576 h 834218"/>
                <a:gd name="connsiteX78" fmla="*/ 561394 w 3024845"/>
                <a:gd name="connsiteY78" fmla="*/ 409657 h 834218"/>
                <a:gd name="connsiteX79" fmla="*/ 561394 w 3024845"/>
                <a:gd name="connsiteY79" fmla="*/ 417223 h 834218"/>
                <a:gd name="connsiteX80" fmla="*/ 566714 w 3024845"/>
                <a:gd name="connsiteY80" fmla="*/ 415230 h 834218"/>
                <a:gd name="connsiteX81" fmla="*/ 567474 w 3024845"/>
                <a:gd name="connsiteY81" fmla="*/ 414250 h 834218"/>
                <a:gd name="connsiteX82" fmla="*/ 567474 w 3024845"/>
                <a:gd name="connsiteY82" fmla="*/ 408576 h 834218"/>
                <a:gd name="connsiteX83" fmla="*/ 605981 w 3024845"/>
                <a:gd name="connsiteY83" fmla="*/ 408576 h 834218"/>
                <a:gd name="connsiteX84" fmla="*/ 605981 w 3024845"/>
                <a:gd name="connsiteY84" fmla="*/ 432355 h 834218"/>
                <a:gd name="connsiteX85" fmla="*/ 608007 w 3024845"/>
                <a:gd name="connsiteY85" fmla="*/ 432355 h 834218"/>
                <a:gd name="connsiteX86" fmla="*/ 622194 w 3024845"/>
                <a:gd name="connsiteY86" fmla="*/ 432355 h 834218"/>
                <a:gd name="connsiteX87" fmla="*/ 622194 w 3024845"/>
                <a:gd name="connsiteY87" fmla="*/ 433436 h 834218"/>
                <a:gd name="connsiteX88" fmla="*/ 622194 w 3024845"/>
                <a:gd name="connsiteY88" fmla="*/ 441002 h 834218"/>
                <a:gd name="connsiteX89" fmla="*/ 623968 w 3024845"/>
                <a:gd name="connsiteY89" fmla="*/ 441002 h 834218"/>
                <a:gd name="connsiteX90" fmla="*/ 636381 w 3024845"/>
                <a:gd name="connsiteY90" fmla="*/ 441002 h 834218"/>
                <a:gd name="connsiteX91" fmla="*/ 636381 w 3024845"/>
                <a:gd name="connsiteY91" fmla="*/ 417223 h 834218"/>
                <a:gd name="connsiteX92" fmla="*/ 637394 w 3024845"/>
                <a:gd name="connsiteY92" fmla="*/ 417223 h 834218"/>
                <a:gd name="connsiteX93" fmla="*/ 644488 w 3024845"/>
                <a:gd name="connsiteY93" fmla="*/ 417223 h 834218"/>
                <a:gd name="connsiteX94" fmla="*/ 644488 w 3024845"/>
                <a:gd name="connsiteY94" fmla="*/ 384796 h 834218"/>
                <a:gd name="connsiteX95" fmla="*/ 645501 w 3024845"/>
                <a:gd name="connsiteY95" fmla="*/ 384796 h 834218"/>
                <a:gd name="connsiteX96" fmla="*/ 652595 w 3024845"/>
                <a:gd name="connsiteY96" fmla="*/ 384796 h 834218"/>
                <a:gd name="connsiteX97" fmla="*/ 652595 w 3024845"/>
                <a:gd name="connsiteY97" fmla="*/ 382905 h 834218"/>
                <a:gd name="connsiteX98" fmla="*/ 652595 w 3024845"/>
                <a:gd name="connsiteY98" fmla="*/ 369664 h 834218"/>
                <a:gd name="connsiteX99" fmla="*/ 651328 w 3024845"/>
                <a:gd name="connsiteY99" fmla="*/ 368042 h 834218"/>
                <a:gd name="connsiteX100" fmla="*/ 656648 w 3024845"/>
                <a:gd name="connsiteY100" fmla="*/ 356693 h 834218"/>
                <a:gd name="connsiteX101" fmla="*/ 664755 w 3024845"/>
                <a:gd name="connsiteY101" fmla="*/ 384796 h 834218"/>
                <a:gd name="connsiteX102" fmla="*/ 665515 w 3024845"/>
                <a:gd name="connsiteY102" fmla="*/ 384796 h 834218"/>
                <a:gd name="connsiteX103" fmla="*/ 670835 w 3024845"/>
                <a:gd name="connsiteY103" fmla="*/ 384796 h 834218"/>
                <a:gd name="connsiteX104" fmla="*/ 670835 w 3024845"/>
                <a:gd name="connsiteY104" fmla="*/ 278869 h 834218"/>
                <a:gd name="connsiteX105" fmla="*/ 672355 w 3024845"/>
                <a:gd name="connsiteY105" fmla="*/ 278869 h 834218"/>
                <a:gd name="connsiteX106" fmla="*/ 682995 w 3024845"/>
                <a:gd name="connsiteY106" fmla="*/ 278869 h 834218"/>
                <a:gd name="connsiteX107" fmla="*/ 682995 w 3024845"/>
                <a:gd name="connsiteY107" fmla="*/ 231310 h 834218"/>
                <a:gd name="connsiteX108" fmla="*/ 709342 w 3024845"/>
                <a:gd name="connsiteY108" fmla="*/ 231310 h 834218"/>
                <a:gd name="connsiteX109" fmla="*/ 709342 w 3024845"/>
                <a:gd name="connsiteY109" fmla="*/ 209692 h 834218"/>
                <a:gd name="connsiteX110" fmla="*/ 743796 w 3024845"/>
                <a:gd name="connsiteY110" fmla="*/ 209692 h 834218"/>
                <a:gd name="connsiteX111" fmla="*/ 743796 w 3024845"/>
                <a:gd name="connsiteY111" fmla="*/ 212124 h 834218"/>
                <a:gd name="connsiteX112" fmla="*/ 743796 w 3024845"/>
                <a:gd name="connsiteY112" fmla="*/ 229148 h 834218"/>
                <a:gd name="connsiteX113" fmla="*/ 746076 w 3024845"/>
                <a:gd name="connsiteY113" fmla="*/ 229148 h 834218"/>
                <a:gd name="connsiteX114" fmla="*/ 762036 w 3024845"/>
                <a:gd name="connsiteY114" fmla="*/ 229148 h 834218"/>
                <a:gd name="connsiteX115" fmla="*/ 762036 w 3024845"/>
                <a:gd name="connsiteY115" fmla="*/ 276707 h 834218"/>
                <a:gd name="connsiteX116" fmla="*/ 763049 w 3024845"/>
                <a:gd name="connsiteY116" fmla="*/ 276707 h 834218"/>
                <a:gd name="connsiteX117" fmla="*/ 770143 w 3024845"/>
                <a:gd name="connsiteY117" fmla="*/ 276707 h 834218"/>
                <a:gd name="connsiteX118" fmla="*/ 784330 w 3024845"/>
                <a:gd name="connsiteY118" fmla="*/ 281031 h 834218"/>
                <a:gd name="connsiteX119" fmla="*/ 784330 w 3024845"/>
                <a:gd name="connsiteY119" fmla="*/ 319943 h 834218"/>
                <a:gd name="connsiteX120" fmla="*/ 785343 w 3024845"/>
                <a:gd name="connsiteY120" fmla="*/ 319943 h 834218"/>
                <a:gd name="connsiteX121" fmla="*/ 792436 w 3024845"/>
                <a:gd name="connsiteY121" fmla="*/ 319943 h 834218"/>
                <a:gd name="connsiteX122" fmla="*/ 792436 w 3024845"/>
                <a:gd name="connsiteY122" fmla="*/ 321564 h 834218"/>
                <a:gd name="connsiteX123" fmla="*/ 792436 w 3024845"/>
                <a:gd name="connsiteY123" fmla="*/ 332913 h 834218"/>
                <a:gd name="connsiteX124" fmla="*/ 794463 w 3024845"/>
                <a:gd name="connsiteY124" fmla="*/ 332913 h 834218"/>
                <a:gd name="connsiteX125" fmla="*/ 808650 w 3024845"/>
                <a:gd name="connsiteY125" fmla="*/ 332913 h 834218"/>
                <a:gd name="connsiteX126" fmla="*/ 814730 w 3024845"/>
                <a:gd name="connsiteY126" fmla="*/ 339399 h 834218"/>
                <a:gd name="connsiteX127" fmla="*/ 814730 w 3024845"/>
                <a:gd name="connsiteY127" fmla="*/ 361017 h 834218"/>
                <a:gd name="connsiteX128" fmla="*/ 817010 w 3024845"/>
                <a:gd name="connsiteY128" fmla="*/ 361017 h 834218"/>
                <a:gd name="connsiteX129" fmla="*/ 832970 w 3024845"/>
                <a:gd name="connsiteY129" fmla="*/ 361017 h 834218"/>
                <a:gd name="connsiteX130" fmla="*/ 832970 w 3024845"/>
                <a:gd name="connsiteY130" fmla="*/ 362097 h 834218"/>
                <a:gd name="connsiteX131" fmla="*/ 832970 w 3024845"/>
                <a:gd name="connsiteY131" fmla="*/ 369664 h 834218"/>
                <a:gd name="connsiteX132" fmla="*/ 834237 w 3024845"/>
                <a:gd name="connsiteY132" fmla="*/ 369664 h 834218"/>
                <a:gd name="connsiteX133" fmla="*/ 843104 w 3024845"/>
                <a:gd name="connsiteY133" fmla="*/ 369664 h 834218"/>
                <a:gd name="connsiteX134" fmla="*/ 843104 w 3024845"/>
                <a:gd name="connsiteY134" fmla="*/ 371825 h 834218"/>
                <a:gd name="connsiteX135" fmla="*/ 843104 w 3024845"/>
                <a:gd name="connsiteY135" fmla="*/ 386958 h 834218"/>
                <a:gd name="connsiteX136" fmla="*/ 847157 w 3024845"/>
                <a:gd name="connsiteY136" fmla="*/ 385066 h 834218"/>
                <a:gd name="connsiteX137" fmla="*/ 847157 w 3024845"/>
                <a:gd name="connsiteY137" fmla="*/ 371825 h 834218"/>
                <a:gd name="connsiteX138" fmla="*/ 848170 w 3024845"/>
                <a:gd name="connsiteY138" fmla="*/ 371825 h 834218"/>
                <a:gd name="connsiteX139" fmla="*/ 855264 w 3024845"/>
                <a:gd name="connsiteY139" fmla="*/ 371825 h 834218"/>
                <a:gd name="connsiteX140" fmla="*/ 855264 w 3024845"/>
                <a:gd name="connsiteY140" fmla="*/ 373447 h 834218"/>
                <a:gd name="connsiteX141" fmla="*/ 855264 w 3024845"/>
                <a:gd name="connsiteY141" fmla="*/ 384796 h 834218"/>
                <a:gd name="connsiteX142" fmla="*/ 856024 w 3024845"/>
                <a:gd name="connsiteY142" fmla="*/ 384796 h 834218"/>
                <a:gd name="connsiteX143" fmla="*/ 861344 w 3024845"/>
                <a:gd name="connsiteY143" fmla="*/ 384796 h 834218"/>
                <a:gd name="connsiteX144" fmla="*/ 909984 w 3024845"/>
                <a:gd name="connsiteY144" fmla="*/ 380473 h 834218"/>
                <a:gd name="connsiteX145" fmla="*/ 909984 w 3024845"/>
                <a:gd name="connsiteY145" fmla="*/ 381824 h 834218"/>
                <a:gd name="connsiteX146" fmla="*/ 909984 w 3024845"/>
                <a:gd name="connsiteY146" fmla="*/ 391281 h 834218"/>
                <a:gd name="connsiteX147" fmla="*/ 910744 w 3024845"/>
                <a:gd name="connsiteY147" fmla="*/ 391281 h 834218"/>
                <a:gd name="connsiteX148" fmla="*/ 916065 w 3024845"/>
                <a:gd name="connsiteY148" fmla="*/ 391281 h 834218"/>
                <a:gd name="connsiteX149" fmla="*/ 916065 w 3024845"/>
                <a:gd name="connsiteY149" fmla="*/ 393443 h 834218"/>
                <a:gd name="connsiteX150" fmla="*/ 916065 w 3024845"/>
                <a:gd name="connsiteY150" fmla="*/ 408576 h 834218"/>
                <a:gd name="connsiteX151" fmla="*/ 918091 w 3024845"/>
                <a:gd name="connsiteY151" fmla="*/ 407225 h 834218"/>
                <a:gd name="connsiteX152" fmla="*/ 932278 w 3024845"/>
                <a:gd name="connsiteY152" fmla="*/ 397767 h 834218"/>
                <a:gd name="connsiteX153" fmla="*/ 938358 w 3024845"/>
                <a:gd name="connsiteY153" fmla="*/ 356693 h 834218"/>
                <a:gd name="connsiteX154" fmla="*/ 939118 w 3024845"/>
                <a:gd name="connsiteY154" fmla="*/ 356423 h 834218"/>
                <a:gd name="connsiteX155" fmla="*/ 944438 w 3024845"/>
                <a:gd name="connsiteY155" fmla="*/ 354531 h 834218"/>
                <a:gd name="connsiteX156" fmla="*/ 946465 w 3024845"/>
                <a:gd name="connsiteY156" fmla="*/ 285354 h 834218"/>
                <a:gd name="connsiteX157" fmla="*/ 948492 w 3024845"/>
                <a:gd name="connsiteY157" fmla="*/ 354531 h 834218"/>
                <a:gd name="connsiteX158" fmla="*/ 949252 w 3024845"/>
                <a:gd name="connsiteY158" fmla="*/ 354801 h 834218"/>
                <a:gd name="connsiteX159" fmla="*/ 954572 w 3024845"/>
                <a:gd name="connsiteY159" fmla="*/ 356693 h 834218"/>
                <a:gd name="connsiteX160" fmla="*/ 954572 w 3024845"/>
                <a:gd name="connsiteY160" fmla="*/ 270222 h 834218"/>
                <a:gd name="connsiteX161" fmla="*/ 958625 w 3024845"/>
                <a:gd name="connsiteY161" fmla="*/ 237795 h 834218"/>
                <a:gd name="connsiteX162" fmla="*/ 997132 w 3024845"/>
                <a:gd name="connsiteY162" fmla="*/ 237795 h 834218"/>
                <a:gd name="connsiteX163" fmla="*/ 997132 w 3024845"/>
                <a:gd name="connsiteY163" fmla="*/ 270222 h 834218"/>
                <a:gd name="connsiteX164" fmla="*/ 997892 w 3024845"/>
                <a:gd name="connsiteY164" fmla="*/ 270222 h 834218"/>
                <a:gd name="connsiteX165" fmla="*/ 1003212 w 3024845"/>
                <a:gd name="connsiteY165" fmla="*/ 270222 h 834218"/>
                <a:gd name="connsiteX166" fmla="*/ 1003212 w 3024845"/>
                <a:gd name="connsiteY166" fmla="*/ 188074 h 834218"/>
                <a:gd name="connsiteX167" fmla="*/ 1004986 w 3024845"/>
                <a:gd name="connsiteY167" fmla="*/ 188074 h 834218"/>
                <a:gd name="connsiteX168" fmla="*/ 1017399 w 3024845"/>
                <a:gd name="connsiteY168" fmla="*/ 188074 h 834218"/>
                <a:gd name="connsiteX169" fmla="*/ 1017399 w 3024845"/>
                <a:gd name="connsiteY169" fmla="*/ 186183 h 834218"/>
                <a:gd name="connsiteX170" fmla="*/ 1017399 w 3024845"/>
                <a:gd name="connsiteY170" fmla="*/ 172942 h 834218"/>
                <a:gd name="connsiteX171" fmla="*/ 1039693 w 3024845"/>
                <a:gd name="connsiteY171" fmla="*/ 172942 h 834218"/>
                <a:gd name="connsiteX172" fmla="*/ 1039693 w 3024845"/>
                <a:gd name="connsiteY172" fmla="*/ 171861 h 834218"/>
                <a:gd name="connsiteX173" fmla="*/ 1039693 w 3024845"/>
                <a:gd name="connsiteY173" fmla="*/ 164295 h 834218"/>
                <a:gd name="connsiteX174" fmla="*/ 1041466 w 3024845"/>
                <a:gd name="connsiteY174" fmla="*/ 164295 h 834218"/>
                <a:gd name="connsiteX175" fmla="*/ 1053880 w 3024845"/>
                <a:gd name="connsiteY175" fmla="*/ 164295 h 834218"/>
                <a:gd name="connsiteX176" fmla="*/ 1053880 w 3024845"/>
                <a:gd name="connsiteY176" fmla="*/ 165376 h 834218"/>
                <a:gd name="connsiteX177" fmla="*/ 1053880 w 3024845"/>
                <a:gd name="connsiteY177" fmla="*/ 172942 h 834218"/>
                <a:gd name="connsiteX178" fmla="*/ 1054640 w 3024845"/>
                <a:gd name="connsiteY178" fmla="*/ 172942 h 834218"/>
                <a:gd name="connsiteX179" fmla="*/ 1059960 w 3024845"/>
                <a:gd name="connsiteY179" fmla="*/ 172942 h 834218"/>
                <a:gd name="connsiteX180" fmla="*/ 1070093 w 3024845"/>
                <a:gd name="connsiteY180" fmla="*/ 168618 h 834218"/>
                <a:gd name="connsiteX181" fmla="*/ 1074146 w 3024845"/>
                <a:gd name="connsiteY181" fmla="*/ 171861 h 834218"/>
                <a:gd name="connsiteX182" fmla="*/ 1074146 w 3024845"/>
                <a:gd name="connsiteY182" fmla="*/ 164295 h 834218"/>
                <a:gd name="connsiteX183" fmla="*/ 1076426 w 3024845"/>
                <a:gd name="connsiteY183" fmla="*/ 164295 h 834218"/>
                <a:gd name="connsiteX184" fmla="*/ 1092387 w 3024845"/>
                <a:gd name="connsiteY184" fmla="*/ 164295 h 834218"/>
                <a:gd name="connsiteX185" fmla="*/ 1092387 w 3024845"/>
                <a:gd name="connsiteY185" fmla="*/ 165376 h 834218"/>
                <a:gd name="connsiteX186" fmla="*/ 1092387 w 3024845"/>
                <a:gd name="connsiteY186" fmla="*/ 172942 h 834218"/>
                <a:gd name="connsiteX187" fmla="*/ 1122787 w 3024845"/>
                <a:gd name="connsiteY187" fmla="*/ 172942 h 834218"/>
                <a:gd name="connsiteX188" fmla="*/ 1122787 w 3024845"/>
                <a:gd name="connsiteY188" fmla="*/ 174563 h 834218"/>
                <a:gd name="connsiteX189" fmla="*/ 1122787 w 3024845"/>
                <a:gd name="connsiteY189" fmla="*/ 185913 h 834218"/>
                <a:gd name="connsiteX190" fmla="*/ 1149134 w 3024845"/>
                <a:gd name="connsiteY190" fmla="*/ 185913 h 834218"/>
                <a:gd name="connsiteX191" fmla="*/ 1149134 w 3024845"/>
                <a:gd name="connsiteY191" fmla="*/ 216177 h 834218"/>
                <a:gd name="connsiteX192" fmla="*/ 1149894 w 3024845"/>
                <a:gd name="connsiteY192" fmla="*/ 216177 h 834218"/>
                <a:gd name="connsiteX193" fmla="*/ 1155214 w 3024845"/>
                <a:gd name="connsiteY193" fmla="*/ 216177 h 834218"/>
                <a:gd name="connsiteX194" fmla="*/ 1155214 w 3024845"/>
                <a:gd name="connsiteY194" fmla="*/ 217258 h 834218"/>
                <a:gd name="connsiteX195" fmla="*/ 1155214 w 3024845"/>
                <a:gd name="connsiteY195" fmla="*/ 224825 h 834218"/>
                <a:gd name="connsiteX196" fmla="*/ 1159268 w 3024845"/>
                <a:gd name="connsiteY196" fmla="*/ 255089 h 834218"/>
                <a:gd name="connsiteX197" fmla="*/ 1160028 w 3024845"/>
                <a:gd name="connsiteY197" fmla="*/ 255089 h 834218"/>
                <a:gd name="connsiteX198" fmla="*/ 1165348 w 3024845"/>
                <a:gd name="connsiteY198" fmla="*/ 255089 h 834218"/>
                <a:gd name="connsiteX199" fmla="*/ 1165348 w 3024845"/>
                <a:gd name="connsiteY199" fmla="*/ 255900 h 834218"/>
                <a:gd name="connsiteX200" fmla="*/ 1165348 w 3024845"/>
                <a:gd name="connsiteY200" fmla="*/ 261575 h 834218"/>
                <a:gd name="connsiteX201" fmla="*/ 1166361 w 3024845"/>
                <a:gd name="connsiteY201" fmla="*/ 261575 h 834218"/>
                <a:gd name="connsiteX202" fmla="*/ 1173454 w 3024845"/>
                <a:gd name="connsiteY202" fmla="*/ 261575 h 834218"/>
                <a:gd name="connsiteX203" fmla="*/ 1173454 w 3024845"/>
                <a:gd name="connsiteY203" fmla="*/ 291840 h 834218"/>
                <a:gd name="connsiteX204" fmla="*/ 1175481 w 3024845"/>
                <a:gd name="connsiteY204" fmla="*/ 291840 h 834218"/>
                <a:gd name="connsiteX205" fmla="*/ 1189668 w 3024845"/>
                <a:gd name="connsiteY205" fmla="*/ 291840 h 834218"/>
                <a:gd name="connsiteX206" fmla="*/ 1189668 w 3024845"/>
                <a:gd name="connsiteY206" fmla="*/ 315619 h 834218"/>
                <a:gd name="connsiteX207" fmla="*/ 1191695 w 3024845"/>
                <a:gd name="connsiteY207" fmla="*/ 317240 h 834218"/>
                <a:gd name="connsiteX208" fmla="*/ 1191695 w 3024845"/>
                <a:gd name="connsiteY208" fmla="*/ 328590 h 834218"/>
                <a:gd name="connsiteX209" fmla="*/ 1192455 w 3024845"/>
                <a:gd name="connsiteY209" fmla="*/ 328590 h 834218"/>
                <a:gd name="connsiteX210" fmla="*/ 1197775 w 3024845"/>
                <a:gd name="connsiteY210" fmla="*/ 328590 h 834218"/>
                <a:gd name="connsiteX211" fmla="*/ 1197775 w 3024845"/>
                <a:gd name="connsiteY211" fmla="*/ 352369 h 834218"/>
                <a:gd name="connsiteX212" fmla="*/ 1199041 w 3024845"/>
                <a:gd name="connsiteY212" fmla="*/ 352369 h 834218"/>
                <a:gd name="connsiteX213" fmla="*/ 1207908 w 3024845"/>
                <a:gd name="connsiteY213" fmla="*/ 352369 h 834218"/>
                <a:gd name="connsiteX214" fmla="*/ 1209935 w 3024845"/>
                <a:gd name="connsiteY214" fmla="*/ 356423 h 834218"/>
                <a:gd name="connsiteX215" fmla="*/ 1209935 w 3024845"/>
                <a:gd name="connsiteY215" fmla="*/ 369664 h 834218"/>
                <a:gd name="connsiteX216" fmla="*/ 1211455 w 3024845"/>
                <a:gd name="connsiteY216" fmla="*/ 367772 h 834218"/>
                <a:gd name="connsiteX217" fmla="*/ 1222095 w 3024845"/>
                <a:gd name="connsiteY217" fmla="*/ 354531 h 834218"/>
                <a:gd name="connsiteX218" fmla="*/ 1250469 w 3024845"/>
                <a:gd name="connsiteY218" fmla="*/ 354531 h 834218"/>
                <a:gd name="connsiteX219" fmla="*/ 1250469 w 3024845"/>
                <a:gd name="connsiteY219" fmla="*/ 441002 h 834218"/>
                <a:gd name="connsiteX220" fmla="*/ 1251229 w 3024845"/>
                <a:gd name="connsiteY220" fmla="*/ 441002 h 834218"/>
                <a:gd name="connsiteX221" fmla="*/ 1256549 w 3024845"/>
                <a:gd name="connsiteY221" fmla="*/ 441002 h 834218"/>
                <a:gd name="connsiteX222" fmla="*/ 1257309 w 3024845"/>
                <a:gd name="connsiteY222" fmla="*/ 439651 h 834218"/>
                <a:gd name="connsiteX223" fmla="*/ 1262629 w 3024845"/>
                <a:gd name="connsiteY223" fmla="*/ 430193 h 834218"/>
                <a:gd name="connsiteX224" fmla="*/ 1262629 w 3024845"/>
                <a:gd name="connsiteY224" fmla="*/ 432085 h 834218"/>
                <a:gd name="connsiteX225" fmla="*/ 1262629 w 3024845"/>
                <a:gd name="connsiteY225" fmla="*/ 445326 h 834218"/>
                <a:gd name="connsiteX226" fmla="*/ 1266682 w 3024845"/>
                <a:gd name="connsiteY226" fmla="*/ 399929 h 834218"/>
                <a:gd name="connsiteX227" fmla="*/ 1267442 w 3024845"/>
                <a:gd name="connsiteY227" fmla="*/ 399929 h 834218"/>
                <a:gd name="connsiteX228" fmla="*/ 1272762 w 3024845"/>
                <a:gd name="connsiteY228" fmla="*/ 399929 h 834218"/>
                <a:gd name="connsiteX229" fmla="*/ 1272762 w 3024845"/>
                <a:gd name="connsiteY229" fmla="*/ 335075 h 834218"/>
                <a:gd name="connsiteX230" fmla="*/ 1273776 w 3024845"/>
                <a:gd name="connsiteY230" fmla="*/ 335075 h 834218"/>
                <a:gd name="connsiteX231" fmla="*/ 1280869 w 3024845"/>
                <a:gd name="connsiteY231" fmla="*/ 335075 h 834218"/>
                <a:gd name="connsiteX232" fmla="*/ 1293029 w 3024845"/>
                <a:gd name="connsiteY232" fmla="*/ 291840 h 834218"/>
                <a:gd name="connsiteX233" fmla="*/ 1294296 w 3024845"/>
                <a:gd name="connsiteY233" fmla="*/ 291840 h 834218"/>
                <a:gd name="connsiteX234" fmla="*/ 1303163 w 3024845"/>
                <a:gd name="connsiteY234" fmla="*/ 291840 h 834218"/>
                <a:gd name="connsiteX235" fmla="*/ 1313296 w 3024845"/>
                <a:gd name="connsiteY235" fmla="*/ 335075 h 834218"/>
                <a:gd name="connsiteX236" fmla="*/ 1314309 w 3024845"/>
                <a:gd name="connsiteY236" fmla="*/ 335075 h 834218"/>
                <a:gd name="connsiteX237" fmla="*/ 1321403 w 3024845"/>
                <a:gd name="connsiteY237" fmla="*/ 335075 h 834218"/>
                <a:gd name="connsiteX238" fmla="*/ 1321403 w 3024845"/>
                <a:gd name="connsiteY238" fmla="*/ 373987 h 834218"/>
                <a:gd name="connsiteX239" fmla="*/ 1323176 w 3024845"/>
                <a:gd name="connsiteY239" fmla="*/ 373987 h 834218"/>
                <a:gd name="connsiteX240" fmla="*/ 1335590 w 3024845"/>
                <a:gd name="connsiteY240" fmla="*/ 373987 h 834218"/>
                <a:gd name="connsiteX241" fmla="*/ 1335590 w 3024845"/>
                <a:gd name="connsiteY241" fmla="*/ 376149 h 834218"/>
                <a:gd name="connsiteX242" fmla="*/ 1335590 w 3024845"/>
                <a:gd name="connsiteY242" fmla="*/ 391281 h 834218"/>
                <a:gd name="connsiteX243" fmla="*/ 1339643 w 3024845"/>
                <a:gd name="connsiteY243" fmla="*/ 389120 h 834218"/>
                <a:gd name="connsiteX244" fmla="*/ 1339643 w 3024845"/>
                <a:gd name="connsiteY244" fmla="*/ 373987 h 834218"/>
                <a:gd name="connsiteX245" fmla="*/ 1341163 w 3024845"/>
                <a:gd name="connsiteY245" fmla="*/ 373987 h 834218"/>
                <a:gd name="connsiteX246" fmla="*/ 1351803 w 3024845"/>
                <a:gd name="connsiteY246" fmla="*/ 373987 h 834218"/>
                <a:gd name="connsiteX247" fmla="*/ 1351803 w 3024845"/>
                <a:gd name="connsiteY247" fmla="*/ 375608 h 834218"/>
                <a:gd name="connsiteX248" fmla="*/ 1351803 w 3024845"/>
                <a:gd name="connsiteY248" fmla="*/ 386958 h 834218"/>
                <a:gd name="connsiteX249" fmla="*/ 1382204 w 3024845"/>
                <a:gd name="connsiteY249" fmla="*/ 386958 h 834218"/>
                <a:gd name="connsiteX250" fmla="*/ 1382204 w 3024845"/>
                <a:gd name="connsiteY250" fmla="*/ 350208 h 834218"/>
                <a:gd name="connsiteX251" fmla="*/ 1383470 w 3024845"/>
                <a:gd name="connsiteY251" fmla="*/ 350208 h 834218"/>
                <a:gd name="connsiteX252" fmla="*/ 1392337 w 3024845"/>
                <a:gd name="connsiteY252" fmla="*/ 350208 h 834218"/>
                <a:gd name="connsiteX253" fmla="*/ 1392337 w 3024845"/>
                <a:gd name="connsiteY253" fmla="*/ 371825 h 834218"/>
                <a:gd name="connsiteX254" fmla="*/ 1394364 w 3024845"/>
                <a:gd name="connsiteY254" fmla="*/ 339399 h 834218"/>
                <a:gd name="connsiteX255" fmla="*/ 1416657 w 3024845"/>
                <a:gd name="connsiteY255" fmla="*/ 339399 h 834218"/>
                <a:gd name="connsiteX256" fmla="*/ 1416657 w 3024845"/>
                <a:gd name="connsiteY256" fmla="*/ 337777 h 834218"/>
                <a:gd name="connsiteX257" fmla="*/ 1416657 w 3024845"/>
                <a:gd name="connsiteY257" fmla="*/ 326428 h 834218"/>
                <a:gd name="connsiteX258" fmla="*/ 1417417 w 3024845"/>
                <a:gd name="connsiteY258" fmla="*/ 326428 h 834218"/>
                <a:gd name="connsiteX259" fmla="*/ 1422737 w 3024845"/>
                <a:gd name="connsiteY259" fmla="*/ 326428 h 834218"/>
                <a:gd name="connsiteX260" fmla="*/ 1422737 w 3024845"/>
                <a:gd name="connsiteY260" fmla="*/ 324537 h 834218"/>
                <a:gd name="connsiteX261" fmla="*/ 1422737 w 3024845"/>
                <a:gd name="connsiteY261" fmla="*/ 311296 h 834218"/>
                <a:gd name="connsiteX262" fmla="*/ 1426791 w 3024845"/>
                <a:gd name="connsiteY262" fmla="*/ 317781 h 834218"/>
                <a:gd name="connsiteX263" fmla="*/ 1429071 w 3024845"/>
                <a:gd name="connsiteY263" fmla="*/ 317781 h 834218"/>
                <a:gd name="connsiteX264" fmla="*/ 1445031 w 3024845"/>
                <a:gd name="connsiteY264" fmla="*/ 317781 h 834218"/>
                <a:gd name="connsiteX265" fmla="*/ 1445031 w 3024845"/>
                <a:gd name="connsiteY265" fmla="*/ 316970 h 834218"/>
                <a:gd name="connsiteX266" fmla="*/ 1445031 w 3024845"/>
                <a:gd name="connsiteY266" fmla="*/ 311296 h 834218"/>
                <a:gd name="connsiteX267" fmla="*/ 1445791 w 3024845"/>
                <a:gd name="connsiteY267" fmla="*/ 311296 h 834218"/>
                <a:gd name="connsiteX268" fmla="*/ 1451111 w 3024845"/>
                <a:gd name="connsiteY268" fmla="*/ 311296 h 834218"/>
                <a:gd name="connsiteX269" fmla="*/ 1451111 w 3024845"/>
                <a:gd name="connsiteY269" fmla="*/ 312647 h 834218"/>
                <a:gd name="connsiteX270" fmla="*/ 1451111 w 3024845"/>
                <a:gd name="connsiteY270" fmla="*/ 322105 h 834218"/>
                <a:gd name="connsiteX271" fmla="*/ 1489618 w 3024845"/>
                <a:gd name="connsiteY271" fmla="*/ 322105 h 834218"/>
                <a:gd name="connsiteX272" fmla="*/ 1489618 w 3024845"/>
                <a:gd name="connsiteY272" fmla="*/ 460458 h 834218"/>
                <a:gd name="connsiteX273" fmla="*/ 1491138 w 3024845"/>
                <a:gd name="connsiteY273" fmla="*/ 460458 h 834218"/>
                <a:gd name="connsiteX274" fmla="*/ 1501778 w 3024845"/>
                <a:gd name="connsiteY274" fmla="*/ 460458 h 834218"/>
                <a:gd name="connsiteX275" fmla="*/ 1501778 w 3024845"/>
                <a:gd name="connsiteY275" fmla="*/ 447488 h 834218"/>
                <a:gd name="connsiteX276" fmla="*/ 1505832 w 3024845"/>
                <a:gd name="connsiteY276" fmla="*/ 447488 h 834218"/>
                <a:gd name="connsiteX277" fmla="*/ 1505832 w 3024845"/>
                <a:gd name="connsiteY277" fmla="*/ 460458 h 834218"/>
                <a:gd name="connsiteX278" fmla="*/ 1536232 w 3024845"/>
                <a:gd name="connsiteY278" fmla="*/ 460458 h 834218"/>
                <a:gd name="connsiteX279" fmla="*/ 1536232 w 3024845"/>
                <a:gd name="connsiteY279" fmla="*/ 430193 h 834218"/>
                <a:gd name="connsiteX280" fmla="*/ 1548392 w 3024845"/>
                <a:gd name="connsiteY280" fmla="*/ 430193 h 834218"/>
                <a:gd name="connsiteX281" fmla="*/ 1560552 w 3024845"/>
                <a:gd name="connsiteY281" fmla="*/ 428032 h 834218"/>
                <a:gd name="connsiteX282" fmla="*/ 1564606 w 3024845"/>
                <a:gd name="connsiteY282" fmla="*/ 430193 h 834218"/>
                <a:gd name="connsiteX283" fmla="*/ 1574739 w 3024845"/>
                <a:gd name="connsiteY283" fmla="*/ 430193 h 834218"/>
                <a:gd name="connsiteX284" fmla="*/ 1574739 w 3024845"/>
                <a:gd name="connsiteY284" fmla="*/ 460458 h 834218"/>
                <a:gd name="connsiteX285" fmla="*/ 1582846 w 3024845"/>
                <a:gd name="connsiteY285" fmla="*/ 460458 h 834218"/>
                <a:gd name="connsiteX286" fmla="*/ 1582846 w 3024845"/>
                <a:gd name="connsiteY286" fmla="*/ 477753 h 834218"/>
                <a:gd name="connsiteX287" fmla="*/ 1592182 w 3024845"/>
                <a:gd name="connsiteY287" fmla="*/ 478658 h 834218"/>
                <a:gd name="connsiteX288" fmla="*/ 1605140 w 3024845"/>
                <a:gd name="connsiteY288" fmla="*/ 478658 h 834218"/>
                <a:gd name="connsiteX289" fmla="*/ 1605140 w 3024845"/>
                <a:gd name="connsiteY289" fmla="*/ 462620 h 834218"/>
                <a:gd name="connsiteX290" fmla="*/ 1673096 w 3024845"/>
                <a:gd name="connsiteY290" fmla="*/ 462620 h 834218"/>
                <a:gd name="connsiteX291" fmla="*/ 1673096 w 3024845"/>
                <a:gd name="connsiteY291" fmla="*/ 377367 h 834218"/>
                <a:gd name="connsiteX292" fmla="*/ 1745104 w 3024845"/>
                <a:gd name="connsiteY292" fmla="*/ 377367 h 834218"/>
                <a:gd name="connsiteX293" fmla="*/ 1745104 w 3024845"/>
                <a:gd name="connsiteY293" fmla="*/ 456135 h 834218"/>
                <a:gd name="connsiteX294" fmla="*/ 1747008 w 3024845"/>
                <a:gd name="connsiteY294" fmla="*/ 456135 h 834218"/>
                <a:gd name="connsiteX295" fmla="*/ 1748250 w 3024845"/>
                <a:gd name="connsiteY295" fmla="*/ 478658 h 834218"/>
                <a:gd name="connsiteX296" fmla="*/ 1757926 w 3024845"/>
                <a:gd name="connsiteY296" fmla="*/ 478658 h 834218"/>
                <a:gd name="connsiteX297" fmla="*/ 1759168 w 3024845"/>
                <a:gd name="connsiteY297" fmla="*/ 456135 h 834218"/>
                <a:gd name="connsiteX298" fmla="*/ 1765248 w 3024845"/>
                <a:gd name="connsiteY298" fmla="*/ 456135 h 834218"/>
                <a:gd name="connsiteX299" fmla="*/ 1766490 w 3024845"/>
                <a:gd name="connsiteY299" fmla="*/ 478658 h 834218"/>
                <a:gd name="connsiteX300" fmla="*/ 1817112 w 3024845"/>
                <a:gd name="connsiteY300" fmla="*/ 478658 h 834218"/>
                <a:gd name="connsiteX301" fmla="*/ 1817112 w 3024845"/>
                <a:gd name="connsiteY301" fmla="*/ 315630 h 834218"/>
                <a:gd name="connsiteX302" fmla="*/ 2014439 w 3024845"/>
                <a:gd name="connsiteY302" fmla="*/ 315630 h 834218"/>
                <a:gd name="connsiteX303" fmla="*/ 2014439 w 3024845"/>
                <a:gd name="connsiteY303" fmla="*/ 478658 h 834218"/>
                <a:gd name="connsiteX304" fmla="*/ 2033136 w 3024845"/>
                <a:gd name="connsiteY304" fmla="*/ 478658 h 834218"/>
                <a:gd name="connsiteX305" fmla="*/ 2033136 w 3024845"/>
                <a:gd name="connsiteY305" fmla="*/ 395965 h 834218"/>
                <a:gd name="connsiteX306" fmla="*/ 2128256 w 3024845"/>
                <a:gd name="connsiteY306" fmla="*/ 395965 h 834218"/>
                <a:gd name="connsiteX307" fmla="*/ 2180720 w 3024845"/>
                <a:gd name="connsiteY307" fmla="*/ 330752 h 834218"/>
                <a:gd name="connsiteX308" fmla="*/ 2245574 w 3024845"/>
                <a:gd name="connsiteY308" fmla="*/ 330752 h 834218"/>
                <a:gd name="connsiteX309" fmla="*/ 2245574 w 3024845"/>
                <a:gd name="connsiteY309" fmla="*/ 406414 h 834218"/>
                <a:gd name="connsiteX310" fmla="*/ 2253681 w 3024845"/>
                <a:gd name="connsiteY310" fmla="*/ 406414 h 834218"/>
                <a:gd name="connsiteX311" fmla="*/ 2255708 w 3024845"/>
                <a:gd name="connsiteY311" fmla="*/ 399929 h 834218"/>
                <a:gd name="connsiteX312" fmla="*/ 2261788 w 3024845"/>
                <a:gd name="connsiteY312" fmla="*/ 399929 h 834218"/>
                <a:gd name="connsiteX313" fmla="*/ 2263815 w 3024845"/>
                <a:gd name="connsiteY313" fmla="*/ 408576 h 834218"/>
                <a:gd name="connsiteX314" fmla="*/ 2275975 w 3024845"/>
                <a:gd name="connsiteY314" fmla="*/ 408576 h 834218"/>
                <a:gd name="connsiteX315" fmla="*/ 2275975 w 3024845"/>
                <a:gd name="connsiteY315" fmla="*/ 402090 h 834218"/>
                <a:gd name="connsiteX316" fmla="*/ 2298268 w 3024845"/>
                <a:gd name="connsiteY316" fmla="*/ 402090 h 834218"/>
                <a:gd name="connsiteX317" fmla="*/ 2298268 w 3024845"/>
                <a:gd name="connsiteY317" fmla="*/ 408576 h 834218"/>
                <a:gd name="connsiteX318" fmla="*/ 2318535 w 3024845"/>
                <a:gd name="connsiteY318" fmla="*/ 408576 h 834218"/>
                <a:gd name="connsiteX319" fmla="*/ 2318535 w 3024845"/>
                <a:gd name="connsiteY319" fmla="*/ 453973 h 834218"/>
                <a:gd name="connsiteX320" fmla="*/ 2332722 w 3024845"/>
                <a:gd name="connsiteY320" fmla="*/ 453973 h 834218"/>
                <a:gd name="connsiteX321" fmla="*/ 2332722 w 3024845"/>
                <a:gd name="connsiteY321" fmla="*/ 441002 h 834218"/>
                <a:gd name="connsiteX322" fmla="*/ 2348936 w 3024845"/>
                <a:gd name="connsiteY322" fmla="*/ 441002 h 834218"/>
                <a:gd name="connsiteX323" fmla="*/ 2348936 w 3024845"/>
                <a:gd name="connsiteY323" fmla="*/ 261575 h 834218"/>
                <a:gd name="connsiteX324" fmla="*/ 2355016 w 3024845"/>
                <a:gd name="connsiteY324" fmla="*/ 255089 h 834218"/>
                <a:gd name="connsiteX325" fmla="*/ 2427977 w 3024845"/>
                <a:gd name="connsiteY325" fmla="*/ 255089 h 834218"/>
                <a:gd name="connsiteX326" fmla="*/ 2427977 w 3024845"/>
                <a:gd name="connsiteY326" fmla="*/ 263737 h 834218"/>
                <a:gd name="connsiteX327" fmla="*/ 2438110 w 3024845"/>
                <a:gd name="connsiteY327" fmla="*/ 263737 h 834218"/>
                <a:gd name="connsiteX328" fmla="*/ 2438110 w 3024845"/>
                <a:gd name="connsiteY328" fmla="*/ 378311 h 834218"/>
                <a:gd name="connsiteX329" fmla="*/ 2460404 w 3024845"/>
                <a:gd name="connsiteY329" fmla="*/ 378311 h 834218"/>
                <a:gd name="connsiteX330" fmla="*/ 2460404 w 3024845"/>
                <a:gd name="connsiteY330" fmla="*/ 311296 h 834218"/>
                <a:gd name="connsiteX331" fmla="*/ 2486751 w 3024845"/>
                <a:gd name="connsiteY331" fmla="*/ 311296 h 834218"/>
                <a:gd name="connsiteX332" fmla="*/ 2490804 w 3024845"/>
                <a:gd name="connsiteY332" fmla="*/ 306972 h 834218"/>
                <a:gd name="connsiteX333" fmla="*/ 2498911 w 3024845"/>
                <a:gd name="connsiteY333" fmla="*/ 306972 h 834218"/>
                <a:gd name="connsiteX334" fmla="*/ 2502964 w 3024845"/>
                <a:gd name="connsiteY334" fmla="*/ 311296 h 834218"/>
                <a:gd name="connsiteX335" fmla="*/ 2525258 w 3024845"/>
                <a:gd name="connsiteY335" fmla="*/ 311296 h 834218"/>
                <a:gd name="connsiteX336" fmla="*/ 2525258 w 3024845"/>
                <a:gd name="connsiteY336" fmla="*/ 194560 h 834218"/>
                <a:gd name="connsiteX337" fmla="*/ 2582005 w 3024845"/>
                <a:gd name="connsiteY337" fmla="*/ 183751 h 834218"/>
                <a:gd name="connsiteX338" fmla="*/ 2582005 w 3024845"/>
                <a:gd name="connsiteY338" fmla="*/ 184832 h 834218"/>
                <a:gd name="connsiteX339" fmla="*/ 2582005 w 3024845"/>
                <a:gd name="connsiteY339" fmla="*/ 192398 h 834218"/>
                <a:gd name="connsiteX340" fmla="*/ 2608352 w 3024845"/>
                <a:gd name="connsiteY340" fmla="*/ 192398 h 834218"/>
                <a:gd name="connsiteX341" fmla="*/ 2608352 w 3024845"/>
                <a:gd name="connsiteY341" fmla="*/ 447488 h 834218"/>
                <a:gd name="connsiteX342" fmla="*/ 2630646 w 3024845"/>
                <a:gd name="connsiteY342" fmla="*/ 447488 h 834218"/>
                <a:gd name="connsiteX343" fmla="*/ 2630646 w 3024845"/>
                <a:gd name="connsiteY343" fmla="*/ 443164 h 834218"/>
                <a:gd name="connsiteX344" fmla="*/ 2642806 w 3024845"/>
                <a:gd name="connsiteY344" fmla="*/ 443164 h 834218"/>
                <a:gd name="connsiteX345" fmla="*/ 2642806 w 3024845"/>
                <a:gd name="connsiteY345" fmla="*/ 447488 h 834218"/>
                <a:gd name="connsiteX346" fmla="*/ 2667126 w 3024845"/>
                <a:gd name="connsiteY346" fmla="*/ 447488 h 834218"/>
                <a:gd name="connsiteX347" fmla="*/ 2667126 w 3024845"/>
                <a:gd name="connsiteY347" fmla="*/ 434517 h 834218"/>
                <a:gd name="connsiteX348" fmla="*/ 2695500 w 3024845"/>
                <a:gd name="connsiteY348" fmla="*/ 434517 h 834218"/>
                <a:gd name="connsiteX349" fmla="*/ 2707660 w 3024845"/>
                <a:gd name="connsiteY349" fmla="*/ 430193 h 834218"/>
                <a:gd name="connsiteX350" fmla="*/ 2727927 w 3024845"/>
                <a:gd name="connsiteY350" fmla="*/ 434517 h 834218"/>
                <a:gd name="connsiteX351" fmla="*/ 2727927 w 3024845"/>
                <a:gd name="connsiteY351" fmla="*/ 417223 h 834218"/>
                <a:gd name="connsiteX352" fmla="*/ 2736034 w 3024845"/>
                <a:gd name="connsiteY352" fmla="*/ 417223 h 834218"/>
                <a:gd name="connsiteX353" fmla="*/ 2736034 w 3024845"/>
                <a:gd name="connsiteY353" fmla="*/ 404252 h 834218"/>
                <a:gd name="connsiteX354" fmla="*/ 2792781 w 3024845"/>
                <a:gd name="connsiteY354" fmla="*/ 404252 h 834218"/>
                <a:gd name="connsiteX355" fmla="*/ 2792781 w 3024845"/>
                <a:gd name="connsiteY355" fmla="*/ 373987 h 834218"/>
                <a:gd name="connsiteX356" fmla="*/ 2811021 w 3024845"/>
                <a:gd name="connsiteY356" fmla="*/ 373987 h 834218"/>
                <a:gd name="connsiteX357" fmla="*/ 2811021 w 3024845"/>
                <a:gd name="connsiteY357" fmla="*/ 367502 h 834218"/>
                <a:gd name="connsiteX358" fmla="*/ 2823181 w 3024845"/>
                <a:gd name="connsiteY358" fmla="*/ 367502 h 834218"/>
                <a:gd name="connsiteX359" fmla="*/ 2823181 w 3024845"/>
                <a:gd name="connsiteY359" fmla="*/ 373987 h 834218"/>
                <a:gd name="connsiteX360" fmla="*/ 2839395 w 3024845"/>
                <a:gd name="connsiteY360" fmla="*/ 373987 h 834218"/>
                <a:gd name="connsiteX361" fmla="*/ 2839395 w 3024845"/>
                <a:gd name="connsiteY361" fmla="*/ 423708 h 834218"/>
                <a:gd name="connsiteX362" fmla="*/ 2871822 w 3024845"/>
                <a:gd name="connsiteY362" fmla="*/ 423708 h 834218"/>
                <a:gd name="connsiteX363" fmla="*/ 2871822 w 3024845"/>
                <a:gd name="connsiteY363" fmla="*/ 397767 h 834218"/>
                <a:gd name="connsiteX364" fmla="*/ 2910329 w 3024845"/>
                <a:gd name="connsiteY364" fmla="*/ 397767 h 834218"/>
                <a:gd name="connsiteX365" fmla="*/ 2910329 w 3024845"/>
                <a:gd name="connsiteY365" fmla="*/ 367502 h 834218"/>
                <a:gd name="connsiteX366" fmla="*/ 2958970 w 3024845"/>
                <a:gd name="connsiteY366" fmla="*/ 367502 h 834218"/>
                <a:gd name="connsiteX367" fmla="*/ 2958970 w 3024845"/>
                <a:gd name="connsiteY367" fmla="*/ 478658 h 834218"/>
                <a:gd name="connsiteX368" fmla="*/ 2958970 w 3024845"/>
                <a:gd name="connsiteY368" fmla="*/ 492437 h 834218"/>
                <a:gd name="connsiteX369" fmla="*/ 3024845 w 3024845"/>
                <a:gd name="connsiteY369" fmla="*/ 492437 h 834218"/>
                <a:gd name="connsiteX370" fmla="*/ 3024845 w 3024845"/>
                <a:gd name="connsiteY370" fmla="*/ 834218 h 834218"/>
                <a:gd name="connsiteX371" fmla="*/ 2054 w 3024845"/>
                <a:gd name="connsiteY371" fmla="*/ 831885 h 834218"/>
                <a:gd name="connsiteX372" fmla="*/ 0 w 3024845"/>
                <a:gd name="connsiteY372" fmla="*/ 397767 h 834218"/>
                <a:gd name="connsiteX373" fmla="*/ 20267 w 3024845"/>
                <a:gd name="connsiteY373" fmla="*/ 397767 h 834218"/>
                <a:gd name="connsiteX374" fmla="*/ 20774 w 3024845"/>
                <a:gd name="connsiteY374" fmla="*/ 396686 h 834218"/>
                <a:gd name="connsiteX375" fmla="*/ 24320 w 3024845"/>
                <a:gd name="connsiteY375" fmla="*/ 389120 h 834218"/>
                <a:gd name="connsiteX376" fmla="*/ 26094 w 3024845"/>
                <a:gd name="connsiteY376" fmla="*/ 389390 h 834218"/>
                <a:gd name="connsiteX377" fmla="*/ 38507 w 3024845"/>
                <a:gd name="connsiteY377" fmla="*/ 391281 h 834218"/>
                <a:gd name="connsiteX378" fmla="*/ 39014 w 3024845"/>
                <a:gd name="connsiteY378" fmla="*/ 392633 h 834218"/>
                <a:gd name="connsiteX379" fmla="*/ 42560 w 3024845"/>
                <a:gd name="connsiteY379" fmla="*/ 402090 h 834218"/>
                <a:gd name="connsiteX380" fmla="*/ 68907 w 3024845"/>
                <a:gd name="connsiteY380" fmla="*/ 404252 h 834218"/>
                <a:gd name="connsiteX381" fmla="*/ 68907 w 3024845"/>
                <a:gd name="connsiteY381" fmla="*/ 281031 h 834218"/>
                <a:gd name="connsiteX382" fmla="*/ 70934 w 3024845"/>
                <a:gd name="connsiteY382" fmla="*/ 281031 h 834218"/>
                <a:gd name="connsiteX383" fmla="*/ 85121 w 3024845"/>
                <a:gd name="connsiteY383" fmla="*/ 281031 h 834218"/>
                <a:gd name="connsiteX384" fmla="*/ 85121 w 3024845"/>
                <a:gd name="connsiteY384" fmla="*/ 144839 h 834218"/>
                <a:gd name="connsiteX385" fmla="*/ 86894 w 3024845"/>
                <a:gd name="connsiteY385" fmla="*/ 144839 h 834218"/>
                <a:gd name="connsiteX386" fmla="*/ 99308 w 3024845"/>
                <a:gd name="connsiteY386" fmla="*/ 144839 h 834218"/>
                <a:gd name="connsiteX387" fmla="*/ 99308 w 3024845"/>
                <a:gd name="connsiteY387" fmla="*/ 30265 h 834218"/>
                <a:gd name="connsiteX388" fmla="*/ 103361 w 3024845"/>
                <a:gd name="connsiteY388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20909 w 3024845"/>
                <a:gd name="connsiteY3" fmla="*/ 144839 h 834218"/>
                <a:gd name="connsiteX4" fmla="*/ 223189 w 3024845"/>
                <a:gd name="connsiteY4" fmla="*/ 144839 h 834218"/>
                <a:gd name="connsiteX5" fmla="*/ 239150 w 3024845"/>
                <a:gd name="connsiteY5" fmla="*/ 144839 h 834218"/>
                <a:gd name="connsiteX6" fmla="*/ 239150 w 3024845"/>
                <a:gd name="connsiteY6" fmla="*/ 285354 h 834218"/>
                <a:gd name="connsiteX7" fmla="*/ 240670 w 3024845"/>
                <a:gd name="connsiteY7" fmla="*/ 285084 h 834218"/>
                <a:gd name="connsiteX8" fmla="*/ 251310 w 3024845"/>
                <a:gd name="connsiteY8" fmla="*/ 283193 h 834218"/>
                <a:gd name="connsiteX9" fmla="*/ 249283 w 3024845"/>
                <a:gd name="connsiteY9" fmla="*/ 371825 h 834218"/>
                <a:gd name="connsiteX10" fmla="*/ 250803 w 3024845"/>
                <a:gd name="connsiteY10" fmla="*/ 372096 h 834218"/>
                <a:gd name="connsiteX11" fmla="*/ 261443 w 3024845"/>
                <a:gd name="connsiteY11" fmla="*/ 373987 h 834218"/>
                <a:gd name="connsiteX12" fmla="*/ 261696 w 3024845"/>
                <a:gd name="connsiteY12" fmla="*/ 374798 h 834218"/>
                <a:gd name="connsiteX13" fmla="*/ 263470 w 3024845"/>
                <a:gd name="connsiteY13" fmla="*/ 380473 h 834218"/>
                <a:gd name="connsiteX14" fmla="*/ 264230 w 3024845"/>
                <a:gd name="connsiteY14" fmla="*/ 378041 h 834218"/>
                <a:gd name="connsiteX15" fmla="*/ 269550 w 3024845"/>
                <a:gd name="connsiteY15" fmla="*/ 361017 h 834218"/>
                <a:gd name="connsiteX16" fmla="*/ 271323 w 3024845"/>
                <a:gd name="connsiteY16" fmla="*/ 361017 h 834218"/>
                <a:gd name="connsiteX17" fmla="*/ 283737 w 3024845"/>
                <a:gd name="connsiteY17" fmla="*/ 361017 h 834218"/>
                <a:gd name="connsiteX18" fmla="*/ 283737 w 3024845"/>
                <a:gd name="connsiteY18" fmla="*/ 393443 h 834218"/>
                <a:gd name="connsiteX19" fmla="*/ 284750 w 3024845"/>
                <a:gd name="connsiteY19" fmla="*/ 393984 h 834218"/>
                <a:gd name="connsiteX20" fmla="*/ 291844 w 3024845"/>
                <a:gd name="connsiteY20" fmla="*/ 397767 h 834218"/>
                <a:gd name="connsiteX21" fmla="*/ 291844 w 3024845"/>
                <a:gd name="connsiteY21" fmla="*/ 399118 h 834218"/>
                <a:gd name="connsiteX22" fmla="*/ 291844 w 3024845"/>
                <a:gd name="connsiteY22" fmla="*/ 408576 h 834218"/>
                <a:gd name="connsiteX23" fmla="*/ 336431 w 3024845"/>
                <a:gd name="connsiteY23" fmla="*/ 408576 h 834218"/>
                <a:gd name="connsiteX24" fmla="*/ 336431 w 3024845"/>
                <a:gd name="connsiteY24" fmla="*/ 409657 h 834218"/>
                <a:gd name="connsiteX25" fmla="*/ 336431 w 3024845"/>
                <a:gd name="connsiteY25" fmla="*/ 417223 h 834218"/>
                <a:gd name="connsiteX26" fmla="*/ 338457 w 3024845"/>
                <a:gd name="connsiteY26" fmla="*/ 417223 h 834218"/>
                <a:gd name="connsiteX27" fmla="*/ 352644 w 3024845"/>
                <a:gd name="connsiteY27" fmla="*/ 417223 h 834218"/>
                <a:gd name="connsiteX28" fmla="*/ 352644 w 3024845"/>
                <a:gd name="connsiteY28" fmla="*/ 386958 h 834218"/>
                <a:gd name="connsiteX29" fmla="*/ 397231 w 3024845"/>
                <a:gd name="connsiteY29" fmla="*/ 386958 h 834218"/>
                <a:gd name="connsiteX30" fmla="*/ 397231 w 3024845"/>
                <a:gd name="connsiteY30" fmla="*/ 385607 h 834218"/>
                <a:gd name="connsiteX31" fmla="*/ 397231 w 3024845"/>
                <a:gd name="connsiteY31" fmla="*/ 376149 h 834218"/>
                <a:gd name="connsiteX32" fmla="*/ 398245 w 3024845"/>
                <a:gd name="connsiteY32" fmla="*/ 376149 h 834218"/>
                <a:gd name="connsiteX33" fmla="*/ 405338 w 3024845"/>
                <a:gd name="connsiteY33" fmla="*/ 376149 h 834218"/>
                <a:gd name="connsiteX34" fmla="*/ 405338 w 3024845"/>
                <a:gd name="connsiteY34" fmla="*/ 374258 h 834218"/>
                <a:gd name="connsiteX35" fmla="*/ 405338 w 3024845"/>
                <a:gd name="connsiteY35" fmla="*/ 361017 h 834218"/>
                <a:gd name="connsiteX36" fmla="*/ 406098 w 3024845"/>
                <a:gd name="connsiteY36" fmla="*/ 361017 h 834218"/>
                <a:gd name="connsiteX37" fmla="*/ 411418 w 3024845"/>
                <a:gd name="connsiteY37" fmla="*/ 361017 h 834218"/>
                <a:gd name="connsiteX38" fmla="*/ 411418 w 3024845"/>
                <a:gd name="connsiteY38" fmla="*/ 359936 h 834218"/>
                <a:gd name="connsiteX39" fmla="*/ 411418 w 3024845"/>
                <a:gd name="connsiteY39" fmla="*/ 352369 h 834218"/>
                <a:gd name="connsiteX40" fmla="*/ 413445 w 3024845"/>
                <a:gd name="connsiteY40" fmla="*/ 352369 h 834218"/>
                <a:gd name="connsiteX41" fmla="*/ 427632 w 3024845"/>
                <a:gd name="connsiteY41" fmla="*/ 352369 h 834218"/>
                <a:gd name="connsiteX42" fmla="*/ 427632 w 3024845"/>
                <a:gd name="connsiteY42" fmla="*/ 353450 h 834218"/>
                <a:gd name="connsiteX43" fmla="*/ 427632 w 3024845"/>
                <a:gd name="connsiteY43" fmla="*/ 361017 h 834218"/>
                <a:gd name="connsiteX44" fmla="*/ 449925 w 3024845"/>
                <a:gd name="connsiteY44" fmla="*/ 361017 h 834218"/>
                <a:gd name="connsiteX45" fmla="*/ 449925 w 3024845"/>
                <a:gd name="connsiteY45" fmla="*/ 359125 h 834218"/>
                <a:gd name="connsiteX46" fmla="*/ 449925 w 3024845"/>
                <a:gd name="connsiteY46" fmla="*/ 345884 h 834218"/>
                <a:gd name="connsiteX47" fmla="*/ 451699 w 3024845"/>
                <a:gd name="connsiteY47" fmla="*/ 345884 h 834218"/>
                <a:gd name="connsiteX48" fmla="*/ 464112 w 3024845"/>
                <a:gd name="connsiteY48" fmla="*/ 345884 h 834218"/>
                <a:gd name="connsiteX49" fmla="*/ 464112 w 3024845"/>
                <a:gd name="connsiteY49" fmla="*/ 369664 h 834218"/>
                <a:gd name="connsiteX50" fmla="*/ 465126 w 3024845"/>
                <a:gd name="connsiteY50" fmla="*/ 369664 h 834218"/>
                <a:gd name="connsiteX51" fmla="*/ 472219 w 3024845"/>
                <a:gd name="connsiteY51" fmla="*/ 369664 h 834218"/>
                <a:gd name="connsiteX52" fmla="*/ 472219 w 3024845"/>
                <a:gd name="connsiteY52" fmla="*/ 368583 h 834218"/>
                <a:gd name="connsiteX53" fmla="*/ 472219 w 3024845"/>
                <a:gd name="connsiteY53" fmla="*/ 361017 h 834218"/>
                <a:gd name="connsiteX54" fmla="*/ 473992 w 3024845"/>
                <a:gd name="connsiteY54" fmla="*/ 361017 h 834218"/>
                <a:gd name="connsiteX55" fmla="*/ 486406 w 3024845"/>
                <a:gd name="connsiteY55" fmla="*/ 361017 h 834218"/>
                <a:gd name="connsiteX56" fmla="*/ 486406 w 3024845"/>
                <a:gd name="connsiteY56" fmla="*/ 386958 h 834218"/>
                <a:gd name="connsiteX57" fmla="*/ 488433 w 3024845"/>
                <a:gd name="connsiteY57" fmla="*/ 386958 h 834218"/>
                <a:gd name="connsiteX58" fmla="*/ 502619 w 3024845"/>
                <a:gd name="connsiteY58" fmla="*/ 386958 h 834218"/>
                <a:gd name="connsiteX59" fmla="*/ 502619 w 3024845"/>
                <a:gd name="connsiteY59" fmla="*/ 388579 h 834218"/>
                <a:gd name="connsiteX60" fmla="*/ 502619 w 3024845"/>
                <a:gd name="connsiteY60" fmla="*/ 399929 h 834218"/>
                <a:gd name="connsiteX61" fmla="*/ 503379 w 3024845"/>
                <a:gd name="connsiteY61" fmla="*/ 399929 h 834218"/>
                <a:gd name="connsiteX62" fmla="*/ 508700 w 3024845"/>
                <a:gd name="connsiteY62" fmla="*/ 399929 h 834218"/>
                <a:gd name="connsiteX63" fmla="*/ 508700 w 3024845"/>
                <a:gd name="connsiteY63" fmla="*/ 399118 h 834218"/>
                <a:gd name="connsiteX64" fmla="*/ 508700 w 3024845"/>
                <a:gd name="connsiteY64" fmla="*/ 393443 h 834218"/>
                <a:gd name="connsiteX65" fmla="*/ 539100 w 3024845"/>
                <a:gd name="connsiteY65" fmla="*/ 393443 h 834218"/>
                <a:gd name="connsiteX66" fmla="*/ 539100 w 3024845"/>
                <a:gd name="connsiteY66" fmla="*/ 417223 h 834218"/>
                <a:gd name="connsiteX67" fmla="*/ 540113 w 3024845"/>
                <a:gd name="connsiteY67" fmla="*/ 417223 h 834218"/>
                <a:gd name="connsiteX68" fmla="*/ 547207 w 3024845"/>
                <a:gd name="connsiteY68" fmla="*/ 417223 h 834218"/>
                <a:gd name="connsiteX69" fmla="*/ 547207 w 3024845"/>
                <a:gd name="connsiteY69" fmla="*/ 418304 h 834218"/>
                <a:gd name="connsiteX70" fmla="*/ 547207 w 3024845"/>
                <a:gd name="connsiteY70" fmla="*/ 425870 h 834218"/>
                <a:gd name="connsiteX71" fmla="*/ 547967 w 3024845"/>
                <a:gd name="connsiteY71" fmla="*/ 425870 h 834218"/>
                <a:gd name="connsiteX72" fmla="*/ 553287 w 3024845"/>
                <a:gd name="connsiteY72" fmla="*/ 425870 h 834218"/>
                <a:gd name="connsiteX73" fmla="*/ 553287 w 3024845"/>
                <a:gd name="connsiteY73" fmla="*/ 423708 h 834218"/>
                <a:gd name="connsiteX74" fmla="*/ 553287 w 3024845"/>
                <a:gd name="connsiteY74" fmla="*/ 408576 h 834218"/>
                <a:gd name="connsiteX75" fmla="*/ 554300 w 3024845"/>
                <a:gd name="connsiteY75" fmla="*/ 408576 h 834218"/>
                <a:gd name="connsiteX76" fmla="*/ 561394 w 3024845"/>
                <a:gd name="connsiteY76" fmla="*/ 408576 h 834218"/>
                <a:gd name="connsiteX77" fmla="*/ 561394 w 3024845"/>
                <a:gd name="connsiteY77" fmla="*/ 409657 h 834218"/>
                <a:gd name="connsiteX78" fmla="*/ 561394 w 3024845"/>
                <a:gd name="connsiteY78" fmla="*/ 417223 h 834218"/>
                <a:gd name="connsiteX79" fmla="*/ 566714 w 3024845"/>
                <a:gd name="connsiteY79" fmla="*/ 415230 h 834218"/>
                <a:gd name="connsiteX80" fmla="*/ 567474 w 3024845"/>
                <a:gd name="connsiteY80" fmla="*/ 414250 h 834218"/>
                <a:gd name="connsiteX81" fmla="*/ 567474 w 3024845"/>
                <a:gd name="connsiteY81" fmla="*/ 408576 h 834218"/>
                <a:gd name="connsiteX82" fmla="*/ 605981 w 3024845"/>
                <a:gd name="connsiteY82" fmla="*/ 408576 h 834218"/>
                <a:gd name="connsiteX83" fmla="*/ 605981 w 3024845"/>
                <a:gd name="connsiteY83" fmla="*/ 432355 h 834218"/>
                <a:gd name="connsiteX84" fmla="*/ 608007 w 3024845"/>
                <a:gd name="connsiteY84" fmla="*/ 432355 h 834218"/>
                <a:gd name="connsiteX85" fmla="*/ 622194 w 3024845"/>
                <a:gd name="connsiteY85" fmla="*/ 432355 h 834218"/>
                <a:gd name="connsiteX86" fmla="*/ 622194 w 3024845"/>
                <a:gd name="connsiteY86" fmla="*/ 433436 h 834218"/>
                <a:gd name="connsiteX87" fmla="*/ 622194 w 3024845"/>
                <a:gd name="connsiteY87" fmla="*/ 441002 h 834218"/>
                <a:gd name="connsiteX88" fmla="*/ 623968 w 3024845"/>
                <a:gd name="connsiteY88" fmla="*/ 441002 h 834218"/>
                <a:gd name="connsiteX89" fmla="*/ 636381 w 3024845"/>
                <a:gd name="connsiteY89" fmla="*/ 441002 h 834218"/>
                <a:gd name="connsiteX90" fmla="*/ 636381 w 3024845"/>
                <a:gd name="connsiteY90" fmla="*/ 417223 h 834218"/>
                <a:gd name="connsiteX91" fmla="*/ 637394 w 3024845"/>
                <a:gd name="connsiteY91" fmla="*/ 417223 h 834218"/>
                <a:gd name="connsiteX92" fmla="*/ 644488 w 3024845"/>
                <a:gd name="connsiteY92" fmla="*/ 417223 h 834218"/>
                <a:gd name="connsiteX93" fmla="*/ 644488 w 3024845"/>
                <a:gd name="connsiteY93" fmla="*/ 384796 h 834218"/>
                <a:gd name="connsiteX94" fmla="*/ 645501 w 3024845"/>
                <a:gd name="connsiteY94" fmla="*/ 384796 h 834218"/>
                <a:gd name="connsiteX95" fmla="*/ 652595 w 3024845"/>
                <a:gd name="connsiteY95" fmla="*/ 384796 h 834218"/>
                <a:gd name="connsiteX96" fmla="*/ 652595 w 3024845"/>
                <a:gd name="connsiteY96" fmla="*/ 382905 h 834218"/>
                <a:gd name="connsiteX97" fmla="*/ 652595 w 3024845"/>
                <a:gd name="connsiteY97" fmla="*/ 369664 h 834218"/>
                <a:gd name="connsiteX98" fmla="*/ 651328 w 3024845"/>
                <a:gd name="connsiteY98" fmla="*/ 368042 h 834218"/>
                <a:gd name="connsiteX99" fmla="*/ 656648 w 3024845"/>
                <a:gd name="connsiteY99" fmla="*/ 356693 h 834218"/>
                <a:gd name="connsiteX100" fmla="*/ 664755 w 3024845"/>
                <a:gd name="connsiteY100" fmla="*/ 384796 h 834218"/>
                <a:gd name="connsiteX101" fmla="*/ 665515 w 3024845"/>
                <a:gd name="connsiteY101" fmla="*/ 384796 h 834218"/>
                <a:gd name="connsiteX102" fmla="*/ 670835 w 3024845"/>
                <a:gd name="connsiteY102" fmla="*/ 384796 h 834218"/>
                <a:gd name="connsiteX103" fmla="*/ 670835 w 3024845"/>
                <a:gd name="connsiteY103" fmla="*/ 278869 h 834218"/>
                <a:gd name="connsiteX104" fmla="*/ 672355 w 3024845"/>
                <a:gd name="connsiteY104" fmla="*/ 278869 h 834218"/>
                <a:gd name="connsiteX105" fmla="*/ 682995 w 3024845"/>
                <a:gd name="connsiteY105" fmla="*/ 278869 h 834218"/>
                <a:gd name="connsiteX106" fmla="*/ 682995 w 3024845"/>
                <a:gd name="connsiteY106" fmla="*/ 231310 h 834218"/>
                <a:gd name="connsiteX107" fmla="*/ 709342 w 3024845"/>
                <a:gd name="connsiteY107" fmla="*/ 231310 h 834218"/>
                <a:gd name="connsiteX108" fmla="*/ 709342 w 3024845"/>
                <a:gd name="connsiteY108" fmla="*/ 209692 h 834218"/>
                <a:gd name="connsiteX109" fmla="*/ 743796 w 3024845"/>
                <a:gd name="connsiteY109" fmla="*/ 209692 h 834218"/>
                <a:gd name="connsiteX110" fmla="*/ 743796 w 3024845"/>
                <a:gd name="connsiteY110" fmla="*/ 212124 h 834218"/>
                <a:gd name="connsiteX111" fmla="*/ 743796 w 3024845"/>
                <a:gd name="connsiteY111" fmla="*/ 229148 h 834218"/>
                <a:gd name="connsiteX112" fmla="*/ 746076 w 3024845"/>
                <a:gd name="connsiteY112" fmla="*/ 229148 h 834218"/>
                <a:gd name="connsiteX113" fmla="*/ 762036 w 3024845"/>
                <a:gd name="connsiteY113" fmla="*/ 229148 h 834218"/>
                <a:gd name="connsiteX114" fmla="*/ 762036 w 3024845"/>
                <a:gd name="connsiteY114" fmla="*/ 276707 h 834218"/>
                <a:gd name="connsiteX115" fmla="*/ 763049 w 3024845"/>
                <a:gd name="connsiteY115" fmla="*/ 276707 h 834218"/>
                <a:gd name="connsiteX116" fmla="*/ 770143 w 3024845"/>
                <a:gd name="connsiteY116" fmla="*/ 276707 h 834218"/>
                <a:gd name="connsiteX117" fmla="*/ 784330 w 3024845"/>
                <a:gd name="connsiteY117" fmla="*/ 281031 h 834218"/>
                <a:gd name="connsiteX118" fmla="*/ 784330 w 3024845"/>
                <a:gd name="connsiteY118" fmla="*/ 319943 h 834218"/>
                <a:gd name="connsiteX119" fmla="*/ 785343 w 3024845"/>
                <a:gd name="connsiteY119" fmla="*/ 319943 h 834218"/>
                <a:gd name="connsiteX120" fmla="*/ 792436 w 3024845"/>
                <a:gd name="connsiteY120" fmla="*/ 319943 h 834218"/>
                <a:gd name="connsiteX121" fmla="*/ 792436 w 3024845"/>
                <a:gd name="connsiteY121" fmla="*/ 321564 h 834218"/>
                <a:gd name="connsiteX122" fmla="*/ 792436 w 3024845"/>
                <a:gd name="connsiteY122" fmla="*/ 332913 h 834218"/>
                <a:gd name="connsiteX123" fmla="*/ 794463 w 3024845"/>
                <a:gd name="connsiteY123" fmla="*/ 332913 h 834218"/>
                <a:gd name="connsiteX124" fmla="*/ 808650 w 3024845"/>
                <a:gd name="connsiteY124" fmla="*/ 332913 h 834218"/>
                <a:gd name="connsiteX125" fmla="*/ 814730 w 3024845"/>
                <a:gd name="connsiteY125" fmla="*/ 339399 h 834218"/>
                <a:gd name="connsiteX126" fmla="*/ 814730 w 3024845"/>
                <a:gd name="connsiteY126" fmla="*/ 361017 h 834218"/>
                <a:gd name="connsiteX127" fmla="*/ 817010 w 3024845"/>
                <a:gd name="connsiteY127" fmla="*/ 361017 h 834218"/>
                <a:gd name="connsiteX128" fmla="*/ 832970 w 3024845"/>
                <a:gd name="connsiteY128" fmla="*/ 361017 h 834218"/>
                <a:gd name="connsiteX129" fmla="*/ 832970 w 3024845"/>
                <a:gd name="connsiteY129" fmla="*/ 362097 h 834218"/>
                <a:gd name="connsiteX130" fmla="*/ 832970 w 3024845"/>
                <a:gd name="connsiteY130" fmla="*/ 369664 h 834218"/>
                <a:gd name="connsiteX131" fmla="*/ 834237 w 3024845"/>
                <a:gd name="connsiteY131" fmla="*/ 369664 h 834218"/>
                <a:gd name="connsiteX132" fmla="*/ 843104 w 3024845"/>
                <a:gd name="connsiteY132" fmla="*/ 369664 h 834218"/>
                <a:gd name="connsiteX133" fmla="*/ 843104 w 3024845"/>
                <a:gd name="connsiteY133" fmla="*/ 371825 h 834218"/>
                <a:gd name="connsiteX134" fmla="*/ 843104 w 3024845"/>
                <a:gd name="connsiteY134" fmla="*/ 386958 h 834218"/>
                <a:gd name="connsiteX135" fmla="*/ 847157 w 3024845"/>
                <a:gd name="connsiteY135" fmla="*/ 385066 h 834218"/>
                <a:gd name="connsiteX136" fmla="*/ 847157 w 3024845"/>
                <a:gd name="connsiteY136" fmla="*/ 371825 h 834218"/>
                <a:gd name="connsiteX137" fmla="*/ 848170 w 3024845"/>
                <a:gd name="connsiteY137" fmla="*/ 371825 h 834218"/>
                <a:gd name="connsiteX138" fmla="*/ 855264 w 3024845"/>
                <a:gd name="connsiteY138" fmla="*/ 371825 h 834218"/>
                <a:gd name="connsiteX139" fmla="*/ 855264 w 3024845"/>
                <a:gd name="connsiteY139" fmla="*/ 373447 h 834218"/>
                <a:gd name="connsiteX140" fmla="*/ 855264 w 3024845"/>
                <a:gd name="connsiteY140" fmla="*/ 384796 h 834218"/>
                <a:gd name="connsiteX141" fmla="*/ 856024 w 3024845"/>
                <a:gd name="connsiteY141" fmla="*/ 384796 h 834218"/>
                <a:gd name="connsiteX142" fmla="*/ 861344 w 3024845"/>
                <a:gd name="connsiteY142" fmla="*/ 384796 h 834218"/>
                <a:gd name="connsiteX143" fmla="*/ 909984 w 3024845"/>
                <a:gd name="connsiteY143" fmla="*/ 380473 h 834218"/>
                <a:gd name="connsiteX144" fmla="*/ 909984 w 3024845"/>
                <a:gd name="connsiteY144" fmla="*/ 381824 h 834218"/>
                <a:gd name="connsiteX145" fmla="*/ 909984 w 3024845"/>
                <a:gd name="connsiteY145" fmla="*/ 391281 h 834218"/>
                <a:gd name="connsiteX146" fmla="*/ 910744 w 3024845"/>
                <a:gd name="connsiteY146" fmla="*/ 391281 h 834218"/>
                <a:gd name="connsiteX147" fmla="*/ 916065 w 3024845"/>
                <a:gd name="connsiteY147" fmla="*/ 391281 h 834218"/>
                <a:gd name="connsiteX148" fmla="*/ 916065 w 3024845"/>
                <a:gd name="connsiteY148" fmla="*/ 393443 h 834218"/>
                <a:gd name="connsiteX149" fmla="*/ 916065 w 3024845"/>
                <a:gd name="connsiteY149" fmla="*/ 408576 h 834218"/>
                <a:gd name="connsiteX150" fmla="*/ 918091 w 3024845"/>
                <a:gd name="connsiteY150" fmla="*/ 407225 h 834218"/>
                <a:gd name="connsiteX151" fmla="*/ 932278 w 3024845"/>
                <a:gd name="connsiteY151" fmla="*/ 397767 h 834218"/>
                <a:gd name="connsiteX152" fmla="*/ 938358 w 3024845"/>
                <a:gd name="connsiteY152" fmla="*/ 356693 h 834218"/>
                <a:gd name="connsiteX153" fmla="*/ 939118 w 3024845"/>
                <a:gd name="connsiteY153" fmla="*/ 356423 h 834218"/>
                <a:gd name="connsiteX154" fmla="*/ 944438 w 3024845"/>
                <a:gd name="connsiteY154" fmla="*/ 354531 h 834218"/>
                <a:gd name="connsiteX155" fmla="*/ 946465 w 3024845"/>
                <a:gd name="connsiteY155" fmla="*/ 285354 h 834218"/>
                <a:gd name="connsiteX156" fmla="*/ 948492 w 3024845"/>
                <a:gd name="connsiteY156" fmla="*/ 354531 h 834218"/>
                <a:gd name="connsiteX157" fmla="*/ 949252 w 3024845"/>
                <a:gd name="connsiteY157" fmla="*/ 354801 h 834218"/>
                <a:gd name="connsiteX158" fmla="*/ 954572 w 3024845"/>
                <a:gd name="connsiteY158" fmla="*/ 356693 h 834218"/>
                <a:gd name="connsiteX159" fmla="*/ 954572 w 3024845"/>
                <a:gd name="connsiteY159" fmla="*/ 270222 h 834218"/>
                <a:gd name="connsiteX160" fmla="*/ 958625 w 3024845"/>
                <a:gd name="connsiteY160" fmla="*/ 237795 h 834218"/>
                <a:gd name="connsiteX161" fmla="*/ 997132 w 3024845"/>
                <a:gd name="connsiteY161" fmla="*/ 237795 h 834218"/>
                <a:gd name="connsiteX162" fmla="*/ 997132 w 3024845"/>
                <a:gd name="connsiteY162" fmla="*/ 270222 h 834218"/>
                <a:gd name="connsiteX163" fmla="*/ 997892 w 3024845"/>
                <a:gd name="connsiteY163" fmla="*/ 270222 h 834218"/>
                <a:gd name="connsiteX164" fmla="*/ 1003212 w 3024845"/>
                <a:gd name="connsiteY164" fmla="*/ 270222 h 834218"/>
                <a:gd name="connsiteX165" fmla="*/ 1003212 w 3024845"/>
                <a:gd name="connsiteY165" fmla="*/ 188074 h 834218"/>
                <a:gd name="connsiteX166" fmla="*/ 1004986 w 3024845"/>
                <a:gd name="connsiteY166" fmla="*/ 188074 h 834218"/>
                <a:gd name="connsiteX167" fmla="*/ 1017399 w 3024845"/>
                <a:gd name="connsiteY167" fmla="*/ 188074 h 834218"/>
                <a:gd name="connsiteX168" fmla="*/ 1017399 w 3024845"/>
                <a:gd name="connsiteY168" fmla="*/ 186183 h 834218"/>
                <a:gd name="connsiteX169" fmla="*/ 1017399 w 3024845"/>
                <a:gd name="connsiteY169" fmla="*/ 172942 h 834218"/>
                <a:gd name="connsiteX170" fmla="*/ 1039693 w 3024845"/>
                <a:gd name="connsiteY170" fmla="*/ 172942 h 834218"/>
                <a:gd name="connsiteX171" fmla="*/ 1039693 w 3024845"/>
                <a:gd name="connsiteY171" fmla="*/ 171861 h 834218"/>
                <a:gd name="connsiteX172" fmla="*/ 1039693 w 3024845"/>
                <a:gd name="connsiteY172" fmla="*/ 164295 h 834218"/>
                <a:gd name="connsiteX173" fmla="*/ 1041466 w 3024845"/>
                <a:gd name="connsiteY173" fmla="*/ 164295 h 834218"/>
                <a:gd name="connsiteX174" fmla="*/ 1053880 w 3024845"/>
                <a:gd name="connsiteY174" fmla="*/ 164295 h 834218"/>
                <a:gd name="connsiteX175" fmla="*/ 1053880 w 3024845"/>
                <a:gd name="connsiteY175" fmla="*/ 165376 h 834218"/>
                <a:gd name="connsiteX176" fmla="*/ 1053880 w 3024845"/>
                <a:gd name="connsiteY176" fmla="*/ 172942 h 834218"/>
                <a:gd name="connsiteX177" fmla="*/ 1054640 w 3024845"/>
                <a:gd name="connsiteY177" fmla="*/ 172942 h 834218"/>
                <a:gd name="connsiteX178" fmla="*/ 1059960 w 3024845"/>
                <a:gd name="connsiteY178" fmla="*/ 172942 h 834218"/>
                <a:gd name="connsiteX179" fmla="*/ 1070093 w 3024845"/>
                <a:gd name="connsiteY179" fmla="*/ 168618 h 834218"/>
                <a:gd name="connsiteX180" fmla="*/ 1074146 w 3024845"/>
                <a:gd name="connsiteY180" fmla="*/ 171861 h 834218"/>
                <a:gd name="connsiteX181" fmla="*/ 1074146 w 3024845"/>
                <a:gd name="connsiteY181" fmla="*/ 164295 h 834218"/>
                <a:gd name="connsiteX182" fmla="*/ 1076426 w 3024845"/>
                <a:gd name="connsiteY182" fmla="*/ 164295 h 834218"/>
                <a:gd name="connsiteX183" fmla="*/ 1092387 w 3024845"/>
                <a:gd name="connsiteY183" fmla="*/ 164295 h 834218"/>
                <a:gd name="connsiteX184" fmla="*/ 1092387 w 3024845"/>
                <a:gd name="connsiteY184" fmla="*/ 165376 h 834218"/>
                <a:gd name="connsiteX185" fmla="*/ 1092387 w 3024845"/>
                <a:gd name="connsiteY185" fmla="*/ 172942 h 834218"/>
                <a:gd name="connsiteX186" fmla="*/ 1122787 w 3024845"/>
                <a:gd name="connsiteY186" fmla="*/ 172942 h 834218"/>
                <a:gd name="connsiteX187" fmla="*/ 1122787 w 3024845"/>
                <a:gd name="connsiteY187" fmla="*/ 174563 h 834218"/>
                <a:gd name="connsiteX188" fmla="*/ 1122787 w 3024845"/>
                <a:gd name="connsiteY188" fmla="*/ 185913 h 834218"/>
                <a:gd name="connsiteX189" fmla="*/ 1149134 w 3024845"/>
                <a:gd name="connsiteY189" fmla="*/ 185913 h 834218"/>
                <a:gd name="connsiteX190" fmla="*/ 1149134 w 3024845"/>
                <a:gd name="connsiteY190" fmla="*/ 216177 h 834218"/>
                <a:gd name="connsiteX191" fmla="*/ 1149894 w 3024845"/>
                <a:gd name="connsiteY191" fmla="*/ 216177 h 834218"/>
                <a:gd name="connsiteX192" fmla="*/ 1155214 w 3024845"/>
                <a:gd name="connsiteY192" fmla="*/ 216177 h 834218"/>
                <a:gd name="connsiteX193" fmla="*/ 1155214 w 3024845"/>
                <a:gd name="connsiteY193" fmla="*/ 217258 h 834218"/>
                <a:gd name="connsiteX194" fmla="*/ 1155214 w 3024845"/>
                <a:gd name="connsiteY194" fmla="*/ 224825 h 834218"/>
                <a:gd name="connsiteX195" fmla="*/ 1159268 w 3024845"/>
                <a:gd name="connsiteY195" fmla="*/ 255089 h 834218"/>
                <a:gd name="connsiteX196" fmla="*/ 1160028 w 3024845"/>
                <a:gd name="connsiteY196" fmla="*/ 255089 h 834218"/>
                <a:gd name="connsiteX197" fmla="*/ 1165348 w 3024845"/>
                <a:gd name="connsiteY197" fmla="*/ 255089 h 834218"/>
                <a:gd name="connsiteX198" fmla="*/ 1165348 w 3024845"/>
                <a:gd name="connsiteY198" fmla="*/ 255900 h 834218"/>
                <a:gd name="connsiteX199" fmla="*/ 1165348 w 3024845"/>
                <a:gd name="connsiteY199" fmla="*/ 261575 h 834218"/>
                <a:gd name="connsiteX200" fmla="*/ 1166361 w 3024845"/>
                <a:gd name="connsiteY200" fmla="*/ 261575 h 834218"/>
                <a:gd name="connsiteX201" fmla="*/ 1173454 w 3024845"/>
                <a:gd name="connsiteY201" fmla="*/ 261575 h 834218"/>
                <a:gd name="connsiteX202" fmla="*/ 1173454 w 3024845"/>
                <a:gd name="connsiteY202" fmla="*/ 291840 h 834218"/>
                <a:gd name="connsiteX203" fmla="*/ 1175481 w 3024845"/>
                <a:gd name="connsiteY203" fmla="*/ 291840 h 834218"/>
                <a:gd name="connsiteX204" fmla="*/ 1189668 w 3024845"/>
                <a:gd name="connsiteY204" fmla="*/ 291840 h 834218"/>
                <a:gd name="connsiteX205" fmla="*/ 1189668 w 3024845"/>
                <a:gd name="connsiteY205" fmla="*/ 315619 h 834218"/>
                <a:gd name="connsiteX206" fmla="*/ 1191695 w 3024845"/>
                <a:gd name="connsiteY206" fmla="*/ 317240 h 834218"/>
                <a:gd name="connsiteX207" fmla="*/ 1191695 w 3024845"/>
                <a:gd name="connsiteY207" fmla="*/ 328590 h 834218"/>
                <a:gd name="connsiteX208" fmla="*/ 1192455 w 3024845"/>
                <a:gd name="connsiteY208" fmla="*/ 328590 h 834218"/>
                <a:gd name="connsiteX209" fmla="*/ 1197775 w 3024845"/>
                <a:gd name="connsiteY209" fmla="*/ 328590 h 834218"/>
                <a:gd name="connsiteX210" fmla="*/ 1197775 w 3024845"/>
                <a:gd name="connsiteY210" fmla="*/ 352369 h 834218"/>
                <a:gd name="connsiteX211" fmla="*/ 1199041 w 3024845"/>
                <a:gd name="connsiteY211" fmla="*/ 352369 h 834218"/>
                <a:gd name="connsiteX212" fmla="*/ 1207908 w 3024845"/>
                <a:gd name="connsiteY212" fmla="*/ 352369 h 834218"/>
                <a:gd name="connsiteX213" fmla="*/ 1209935 w 3024845"/>
                <a:gd name="connsiteY213" fmla="*/ 356423 h 834218"/>
                <a:gd name="connsiteX214" fmla="*/ 1209935 w 3024845"/>
                <a:gd name="connsiteY214" fmla="*/ 369664 h 834218"/>
                <a:gd name="connsiteX215" fmla="*/ 1211455 w 3024845"/>
                <a:gd name="connsiteY215" fmla="*/ 367772 h 834218"/>
                <a:gd name="connsiteX216" fmla="*/ 1222095 w 3024845"/>
                <a:gd name="connsiteY216" fmla="*/ 354531 h 834218"/>
                <a:gd name="connsiteX217" fmla="*/ 1250469 w 3024845"/>
                <a:gd name="connsiteY217" fmla="*/ 354531 h 834218"/>
                <a:gd name="connsiteX218" fmla="*/ 1250469 w 3024845"/>
                <a:gd name="connsiteY218" fmla="*/ 441002 h 834218"/>
                <a:gd name="connsiteX219" fmla="*/ 1251229 w 3024845"/>
                <a:gd name="connsiteY219" fmla="*/ 441002 h 834218"/>
                <a:gd name="connsiteX220" fmla="*/ 1256549 w 3024845"/>
                <a:gd name="connsiteY220" fmla="*/ 441002 h 834218"/>
                <a:gd name="connsiteX221" fmla="*/ 1257309 w 3024845"/>
                <a:gd name="connsiteY221" fmla="*/ 439651 h 834218"/>
                <a:gd name="connsiteX222" fmla="*/ 1262629 w 3024845"/>
                <a:gd name="connsiteY222" fmla="*/ 430193 h 834218"/>
                <a:gd name="connsiteX223" fmla="*/ 1262629 w 3024845"/>
                <a:gd name="connsiteY223" fmla="*/ 432085 h 834218"/>
                <a:gd name="connsiteX224" fmla="*/ 1262629 w 3024845"/>
                <a:gd name="connsiteY224" fmla="*/ 445326 h 834218"/>
                <a:gd name="connsiteX225" fmla="*/ 1266682 w 3024845"/>
                <a:gd name="connsiteY225" fmla="*/ 399929 h 834218"/>
                <a:gd name="connsiteX226" fmla="*/ 1267442 w 3024845"/>
                <a:gd name="connsiteY226" fmla="*/ 399929 h 834218"/>
                <a:gd name="connsiteX227" fmla="*/ 1272762 w 3024845"/>
                <a:gd name="connsiteY227" fmla="*/ 399929 h 834218"/>
                <a:gd name="connsiteX228" fmla="*/ 1272762 w 3024845"/>
                <a:gd name="connsiteY228" fmla="*/ 335075 h 834218"/>
                <a:gd name="connsiteX229" fmla="*/ 1273776 w 3024845"/>
                <a:gd name="connsiteY229" fmla="*/ 335075 h 834218"/>
                <a:gd name="connsiteX230" fmla="*/ 1280869 w 3024845"/>
                <a:gd name="connsiteY230" fmla="*/ 335075 h 834218"/>
                <a:gd name="connsiteX231" fmla="*/ 1293029 w 3024845"/>
                <a:gd name="connsiteY231" fmla="*/ 291840 h 834218"/>
                <a:gd name="connsiteX232" fmla="*/ 1294296 w 3024845"/>
                <a:gd name="connsiteY232" fmla="*/ 291840 h 834218"/>
                <a:gd name="connsiteX233" fmla="*/ 1303163 w 3024845"/>
                <a:gd name="connsiteY233" fmla="*/ 291840 h 834218"/>
                <a:gd name="connsiteX234" fmla="*/ 1313296 w 3024845"/>
                <a:gd name="connsiteY234" fmla="*/ 335075 h 834218"/>
                <a:gd name="connsiteX235" fmla="*/ 1314309 w 3024845"/>
                <a:gd name="connsiteY235" fmla="*/ 335075 h 834218"/>
                <a:gd name="connsiteX236" fmla="*/ 1321403 w 3024845"/>
                <a:gd name="connsiteY236" fmla="*/ 335075 h 834218"/>
                <a:gd name="connsiteX237" fmla="*/ 1321403 w 3024845"/>
                <a:gd name="connsiteY237" fmla="*/ 373987 h 834218"/>
                <a:gd name="connsiteX238" fmla="*/ 1323176 w 3024845"/>
                <a:gd name="connsiteY238" fmla="*/ 373987 h 834218"/>
                <a:gd name="connsiteX239" fmla="*/ 1335590 w 3024845"/>
                <a:gd name="connsiteY239" fmla="*/ 373987 h 834218"/>
                <a:gd name="connsiteX240" fmla="*/ 1335590 w 3024845"/>
                <a:gd name="connsiteY240" fmla="*/ 376149 h 834218"/>
                <a:gd name="connsiteX241" fmla="*/ 1335590 w 3024845"/>
                <a:gd name="connsiteY241" fmla="*/ 391281 h 834218"/>
                <a:gd name="connsiteX242" fmla="*/ 1339643 w 3024845"/>
                <a:gd name="connsiteY242" fmla="*/ 389120 h 834218"/>
                <a:gd name="connsiteX243" fmla="*/ 1339643 w 3024845"/>
                <a:gd name="connsiteY243" fmla="*/ 373987 h 834218"/>
                <a:gd name="connsiteX244" fmla="*/ 1341163 w 3024845"/>
                <a:gd name="connsiteY244" fmla="*/ 373987 h 834218"/>
                <a:gd name="connsiteX245" fmla="*/ 1351803 w 3024845"/>
                <a:gd name="connsiteY245" fmla="*/ 373987 h 834218"/>
                <a:gd name="connsiteX246" fmla="*/ 1351803 w 3024845"/>
                <a:gd name="connsiteY246" fmla="*/ 375608 h 834218"/>
                <a:gd name="connsiteX247" fmla="*/ 1351803 w 3024845"/>
                <a:gd name="connsiteY247" fmla="*/ 386958 h 834218"/>
                <a:gd name="connsiteX248" fmla="*/ 1382204 w 3024845"/>
                <a:gd name="connsiteY248" fmla="*/ 386958 h 834218"/>
                <a:gd name="connsiteX249" fmla="*/ 1382204 w 3024845"/>
                <a:gd name="connsiteY249" fmla="*/ 350208 h 834218"/>
                <a:gd name="connsiteX250" fmla="*/ 1383470 w 3024845"/>
                <a:gd name="connsiteY250" fmla="*/ 350208 h 834218"/>
                <a:gd name="connsiteX251" fmla="*/ 1392337 w 3024845"/>
                <a:gd name="connsiteY251" fmla="*/ 350208 h 834218"/>
                <a:gd name="connsiteX252" fmla="*/ 1392337 w 3024845"/>
                <a:gd name="connsiteY252" fmla="*/ 371825 h 834218"/>
                <a:gd name="connsiteX253" fmla="*/ 1394364 w 3024845"/>
                <a:gd name="connsiteY253" fmla="*/ 339399 h 834218"/>
                <a:gd name="connsiteX254" fmla="*/ 1416657 w 3024845"/>
                <a:gd name="connsiteY254" fmla="*/ 339399 h 834218"/>
                <a:gd name="connsiteX255" fmla="*/ 1416657 w 3024845"/>
                <a:gd name="connsiteY255" fmla="*/ 337777 h 834218"/>
                <a:gd name="connsiteX256" fmla="*/ 1416657 w 3024845"/>
                <a:gd name="connsiteY256" fmla="*/ 326428 h 834218"/>
                <a:gd name="connsiteX257" fmla="*/ 1417417 w 3024845"/>
                <a:gd name="connsiteY257" fmla="*/ 326428 h 834218"/>
                <a:gd name="connsiteX258" fmla="*/ 1422737 w 3024845"/>
                <a:gd name="connsiteY258" fmla="*/ 326428 h 834218"/>
                <a:gd name="connsiteX259" fmla="*/ 1422737 w 3024845"/>
                <a:gd name="connsiteY259" fmla="*/ 324537 h 834218"/>
                <a:gd name="connsiteX260" fmla="*/ 1422737 w 3024845"/>
                <a:gd name="connsiteY260" fmla="*/ 311296 h 834218"/>
                <a:gd name="connsiteX261" fmla="*/ 1426791 w 3024845"/>
                <a:gd name="connsiteY261" fmla="*/ 317781 h 834218"/>
                <a:gd name="connsiteX262" fmla="*/ 1429071 w 3024845"/>
                <a:gd name="connsiteY262" fmla="*/ 317781 h 834218"/>
                <a:gd name="connsiteX263" fmla="*/ 1445031 w 3024845"/>
                <a:gd name="connsiteY263" fmla="*/ 317781 h 834218"/>
                <a:gd name="connsiteX264" fmla="*/ 1445031 w 3024845"/>
                <a:gd name="connsiteY264" fmla="*/ 316970 h 834218"/>
                <a:gd name="connsiteX265" fmla="*/ 1445031 w 3024845"/>
                <a:gd name="connsiteY265" fmla="*/ 311296 h 834218"/>
                <a:gd name="connsiteX266" fmla="*/ 1445791 w 3024845"/>
                <a:gd name="connsiteY266" fmla="*/ 311296 h 834218"/>
                <a:gd name="connsiteX267" fmla="*/ 1451111 w 3024845"/>
                <a:gd name="connsiteY267" fmla="*/ 311296 h 834218"/>
                <a:gd name="connsiteX268" fmla="*/ 1451111 w 3024845"/>
                <a:gd name="connsiteY268" fmla="*/ 312647 h 834218"/>
                <a:gd name="connsiteX269" fmla="*/ 1451111 w 3024845"/>
                <a:gd name="connsiteY269" fmla="*/ 322105 h 834218"/>
                <a:gd name="connsiteX270" fmla="*/ 1489618 w 3024845"/>
                <a:gd name="connsiteY270" fmla="*/ 322105 h 834218"/>
                <a:gd name="connsiteX271" fmla="*/ 1489618 w 3024845"/>
                <a:gd name="connsiteY271" fmla="*/ 460458 h 834218"/>
                <a:gd name="connsiteX272" fmla="*/ 1491138 w 3024845"/>
                <a:gd name="connsiteY272" fmla="*/ 460458 h 834218"/>
                <a:gd name="connsiteX273" fmla="*/ 1501778 w 3024845"/>
                <a:gd name="connsiteY273" fmla="*/ 460458 h 834218"/>
                <a:gd name="connsiteX274" fmla="*/ 1501778 w 3024845"/>
                <a:gd name="connsiteY274" fmla="*/ 447488 h 834218"/>
                <a:gd name="connsiteX275" fmla="*/ 1505832 w 3024845"/>
                <a:gd name="connsiteY275" fmla="*/ 447488 h 834218"/>
                <a:gd name="connsiteX276" fmla="*/ 1505832 w 3024845"/>
                <a:gd name="connsiteY276" fmla="*/ 460458 h 834218"/>
                <a:gd name="connsiteX277" fmla="*/ 1536232 w 3024845"/>
                <a:gd name="connsiteY277" fmla="*/ 460458 h 834218"/>
                <a:gd name="connsiteX278" fmla="*/ 1536232 w 3024845"/>
                <a:gd name="connsiteY278" fmla="*/ 430193 h 834218"/>
                <a:gd name="connsiteX279" fmla="*/ 1548392 w 3024845"/>
                <a:gd name="connsiteY279" fmla="*/ 430193 h 834218"/>
                <a:gd name="connsiteX280" fmla="*/ 1560552 w 3024845"/>
                <a:gd name="connsiteY280" fmla="*/ 428032 h 834218"/>
                <a:gd name="connsiteX281" fmla="*/ 1564606 w 3024845"/>
                <a:gd name="connsiteY281" fmla="*/ 430193 h 834218"/>
                <a:gd name="connsiteX282" fmla="*/ 1574739 w 3024845"/>
                <a:gd name="connsiteY282" fmla="*/ 430193 h 834218"/>
                <a:gd name="connsiteX283" fmla="*/ 1574739 w 3024845"/>
                <a:gd name="connsiteY283" fmla="*/ 460458 h 834218"/>
                <a:gd name="connsiteX284" fmla="*/ 1582846 w 3024845"/>
                <a:gd name="connsiteY284" fmla="*/ 460458 h 834218"/>
                <a:gd name="connsiteX285" fmla="*/ 1582846 w 3024845"/>
                <a:gd name="connsiteY285" fmla="*/ 477753 h 834218"/>
                <a:gd name="connsiteX286" fmla="*/ 1592182 w 3024845"/>
                <a:gd name="connsiteY286" fmla="*/ 478658 h 834218"/>
                <a:gd name="connsiteX287" fmla="*/ 1605140 w 3024845"/>
                <a:gd name="connsiteY287" fmla="*/ 478658 h 834218"/>
                <a:gd name="connsiteX288" fmla="*/ 1605140 w 3024845"/>
                <a:gd name="connsiteY288" fmla="*/ 462620 h 834218"/>
                <a:gd name="connsiteX289" fmla="*/ 1673096 w 3024845"/>
                <a:gd name="connsiteY289" fmla="*/ 462620 h 834218"/>
                <a:gd name="connsiteX290" fmla="*/ 1673096 w 3024845"/>
                <a:gd name="connsiteY290" fmla="*/ 377367 h 834218"/>
                <a:gd name="connsiteX291" fmla="*/ 1745104 w 3024845"/>
                <a:gd name="connsiteY291" fmla="*/ 377367 h 834218"/>
                <a:gd name="connsiteX292" fmla="*/ 1745104 w 3024845"/>
                <a:gd name="connsiteY292" fmla="*/ 456135 h 834218"/>
                <a:gd name="connsiteX293" fmla="*/ 1747008 w 3024845"/>
                <a:gd name="connsiteY293" fmla="*/ 456135 h 834218"/>
                <a:gd name="connsiteX294" fmla="*/ 1748250 w 3024845"/>
                <a:gd name="connsiteY294" fmla="*/ 478658 h 834218"/>
                <a:gd name="connsiteX295" fmla="*/ 1757926 w 3024845"/>
                <a:gd name="connsiteY295" fmla="*/ 478658 h 834218"/>
                <a:gd name="connsiteX296" fmla="*/ 1759168 w 3024845"/>
                <a:gd name="connsiteY296" fmla="*/ 456135 h 834218"/>
                <a:gd name="connsiteX297" fmla="*/ 1765248 w 3024845"/>
                <a:gd name="connsiteY297" fmla="*/ 456135 h 834218"/>
                <a:gd name="connsiteX298" fmla="*/ 1766490 w 3024845"/>
                <a:gd name="connsiteY298" fmla="*/ 478658 h 834218"/>
                <a:gd name="connsiteX299" fmla="*/ 1817112 w 3024845"/>
                <a:gd name="connsiteY299" fmla="*/ 478658 h 834218"/>
                <a:gd name="connsiteX300" fmla="*/ 1817112 w 3024845"/>
                <a:gd name="connsiteY300" fmla="*/ 315630 h 834218"/>
                <a:gd name="connsiteX301" fmla="*/ 2014439 w 3024845"/>
                <a:gd name="connsiteY301" fmla="*/ 315630 h 834218"/>
                <a:gd name="connsiteX302" fmla="*/ 2014439 w 3024845"/>
                <a:gd name="connsiteY302" fmla="*/ 478658 h 834218"/>
                <a:gd name="connsiteX303" fmla="*/ 2033136 w 3024845"/>
                <a:gd name="connsiteY303" fmla="*/ 478658 h 834218"/>
                <a:gd name="connsiteX304" fmla="*/ 2033136 w 3024845"/>
                <a:gd name="connsiteY304" fmla="*/ 395965 h 834218"/>
                <a:gd name="connsiteX305" fmla="*/ 2128256 w 3024845"/>
                <a:gd name="connsiteY305" fmla="*/ 395965 h 834218"/>
                <a:gd name="connsiteX306" fmla="*/ 2180720 w 3024845"/>
                <a:gd name="connsiteY306" fmla="*/ 330752 h 834218"/>
                <a:gd name="connsiteX307" fmla="*/ 2245574 w 3024845"/>
                <a:gd name="connsiteY307" fmla="*/ 330752 h 834218"/>
                <a:gd name="connsiteX308" fmla="*/ 2245574 w 3024845"/>
                <a:gd name="connsiteY308" fmla="*/ 406414 h 834218"/>
                <a:gd name="connsiteX309" fmla="*/ 2253681 w 3024845"/>
                <a:gd name="connsiteY309" fmla="*/ 406414 h 834218"/>
                <a:gd name="connsiteX310" fmla="*/ 2255708 w 3024845"/>
                <a:gd name="connsiteY310" fmla="*/ 399929 h 834218"/>
                <a:gd name="connsiteX311" fmla="*/ 2261788 w 3024845"/>
                <a:gd name="connsiteY311" fmla="*/ 399929 h 834218"/>
                <a:gd name="connsiteX312" fmla="*/ 2263815 w 3024845"/>
                <a:gd name="connsiteY312" fmla="*/ 408576 h 834218"/>
                <a:gd name="connsiteX313" fmla="*/ 2275975 w 3024845"/>
                <a:gd name="connsiteY313" fmla="*/ 408576 h 834218"/>
                <a:gd name="connsiteX314" fmla="*/ 2275975 w 3024845"/>
                <a:gd name="connsiteY314" fmla="*/ 402090 h 834218"/>
                <a:gd name="connsiteX315" fmla="*/ 2298268 w 3024845"/>
                <a:gd name="connsiteY315" fmla="*/ 402090 h 834218"/>
                <a:gd name="connsiteX316" fmla="*/ 2298268 w 3024845"/>
                <a:gd name="connsiteY316" fmla="*/ 408576 h 834218"/>
                <a:gd name="connsiteX317" fmla="*/ 2318535 w 3024845"/>
                <a:gd name="connsiteY317" fmla="*/ 408576 h 834218"/>
                <a:gd name="connsiteX318" fmla="*/ 2318535 w 3024845"/>
                <a:gd name="connsiteY318" fmla="*/ 453973 h 834218"/>
                <a:gd name="connsiteX319" fmla="*/ 2332722 w 3024845"/>
                <a:gd name="connsiteY319" fmla="*/ 453973 h 834218"/>
                <a:gd name="connsiteX320" fmla="*/ 2332722 w 3024845"/>
                <a:gd name="connsiteY320" fmla="*/ 441002 h 834218"/>
                <a:gd name="connsiteX321" fmla="*/ 2348936 w 3024845"/>
                <a:gd name="connsiteY321" fmla="*/ 441002 h 834218"/>
                <a:gd name="connsiteX322" fmla="*/ 2348936 w 3024845"/>
                <a:gd name="connsiteY322" fmla="*/ 261575 h 834218"/>
                <a:gd name="connsiteX323" fmla="*/ 2355016 w 3024845"/>
                <a:gd name="connsiteY323" fmla="*/ 255089 h 834218"/>
                <a:gd name="connsiteX324" fmla="*/ 2427977 w 3024845"/>
                <a:gd name="connsiteY324" fmla="*/ 255089 h 834218"/>
                <a:gd name="connsiteX325" fmla="*/ 2427977 w 3024845"/>
                <a:gd name="connsiteY325" fmla="*/ 263737 h 834218"/>
                <a:gd name="connsiteX326" fmla="*/ 2438110 w 3024845"/>
                <a:gd name="connsiteY326" fmla="*/ 263737 h 834218"/>
                <a:gd name="connsiteX327" fmla="*/ 2438110 w 3024845"/>
                <a:gd name="connsiteY327" fmla="*/ 378311 h 834218"/>
                <a:gd name="connsiteX328" fmla="*/ 2460404 w 3024845"/>
                <a:gd name="connsiteY328" fmla="*/ 378311 h 834218"/>
                <a:gd name="connsiteX329" fmla="*/ 2460404 w 3024845"/>
                <a:gd name="connsiteY329" fmla="*/ 311296 h 834218"/>
                <a:gd name="connsiteX330" fmla="*/ 2486751 w 3024845"/>
                <a:gd name="connsiteY330" fmla="*/ 311296 h 834218"/>
                <a:gd name="connsiteX331" fmla="*/ 2490804 w 3024845"/>
                <a:gd name="connsiteY331" fmla="*/ 306972 h 834218"/>
                <a:gd name="connsiteX332" fmla="*/ 2498911 w 3024845"/>
                <a:gd name="connsiteY332" fmla="*/ 306972 h 834218"/>
                <a:gd name="connsiteX333" fmla="*/ 2502964 w 3024845"/>
                <a:gd name="connsiteY333" fmla="*/ 311296 h 834218"/>
                <a:gd name="connsiteX334" fmla="*/ 2525258 w 3024845"/>
                <a:gd name="connsiteY334" fmla="*/ 311296 h 834218"/>
                <a:gd name="connsiteX335" fmla="*/ 2525258 w 3024845"/>
                <a:gd name="connsiteY335" fmla="*/ 194560 h 834218"/>
                <a:gd name="connsiteX336" fmla="*/ 2582005 w 3024845"/>
                <a:gd name="connsiteY336" fmla="*/ 183751 h 834218"/>
                <a:gd name="connsiteX337" fmla="*/ 2582005 w 3024845"/>
                <a:gd name="connsiteY337" fmla="*/ 184832 h 834218"/>
                <a:gd name="connsiteX338" fmla="*/ 2582005 w 3024845"/>
                <a:gd name="connsiteY338" fmla="*/ 192398 h 834218"/>
                <a:gd name="connsiteX339" fmla="*/ 2608352 w 3024845"/>
                <a:gd name="connsiteY339" fmla="*/ 192398 h 834218"/>
                <a:gd name="connsiteX340" fmla="*/ 2608352 w 3024845"/>
                <a:gd name="connsiteY340" fmla="*/ 447488 h 834218"/>
                <a:gd name="connsiteX341" fmla="*/ 2630646 w 3024845"/>
                <a:gd name="connsiteY341" fmla="*/ 447488 h 834218"/>
                <a:gd name="connsiteX342" fmla="*/ 2630646 w 3024845"/>
                <a:gd name="connsiteY342" fmla="*/ 443164 h 834218"/>
                <a:gd name="connsiteX343" fmla="*/ 2642806 w 3024845"/>
                <a:gd name="connsiteY343" fmla="*/ 443164 h 834218"/>
                <a:gd name="connsiteX344" fmla="*/ 2642806 w 3024845"/>
                <a:gd name="connsiteY344" fmla="*/ 447488 h 834218"/>
                <a:gd name="connsiteX345" fmla="*/ 2667126 w 3024845"/>
                <a:gd name="connsiteY345" fmla="*/ 447488 h 834218"/>
                <a:gd name="connsiteX346" fmla="*/ 2667126 w 3024845"/>
                <a:gd name="connsiteY346" fmla="*/ 434517 h 834218"/>
                <a:gd name="connsiteX347" fmla="*/ 2695500 w 3024845"/>
                <a:gd name="connsiteY347" fmla="*/ 434517 h 834218"/>
                <a:gd name="connsiteX348" fmla="*/ 2707660 w 3024845"/>
                <a:gd name="connsiteY348" fmla="*/ 430193 h 834218"/>
                <a:gd name="connsiteX349" fmla="*/ 2727927 w 3024845"/>
                <a:gd name="connsiteY349" fmla="*/ 434517 h 834218"/>
                <a:gd name="connsiteX350" fmla="*/ 2727927 w 3024845"/>
                <a:gd name="connsiteY350" fmla="*/ 417223 h 834218"/>
                <a:gd name="connsiteX351" fmla="*/ 2736034 w 3024845"/>
                <a:gd name="connsiteY351" fmla="*/ 417223 h 834218"/>
                <a:gd name="connsiteX352" fmla="*/ 2736034 w 3024845"/>
                <a:gd name="connsiteY352" fmla="*/ 404252 h 834218"/>
                <a:gd name="connsiteX353" fmla="*/ 2792781 w 3024845"/>
                <a:gd name="connsiteY353" fmla="*/ 404252 h 834218"/>
                <a:gd name="connsiteX354" fmla="*/ 2792781 w 3024845"/>
                <a:gd name="connsiteY354" fmla="*/ 373987 h 834218"/>
                <a:gd name="connsiteX355" fmla="*/ 2811021 w 3024845"/>
                <a:gd name="connsiteY355" fmla="*/ 373987 h 834218"/>
                <a:gd name="connsiteX356" fmla="*/ 2811021 w 3024845"/>
                <a:gd name="connsiteY356" fmla="*/ 367502 h 834218"/>
                <a:gd name="connsiteX357" fmla="*/ 2823181 w 3024845"/>
                <a:gd name="connsiteY357" fmla="*/ 367502 h 834218"/>
                <a:gd name="connsiteX358" fmla="*/ 2823181 w 3024845"/>
                <a:gd name="connsiteY358" fmla="*/ 373987 h 834218"/>
                <a:gd name="connsiteX359" fmla="*/ 2839395 w 3024845"/>
                <a:gd name="connsiteY359" fmla="*/ 373987 h 834218"/>
                <a:gd name="connsiteX360" fmla="*/ 2839395 w 3024845"/>
                <a:gd name="connsiteY360" fmla="*/ 423708 h 834218"/>
                <a:gd name="connsiteX361" fmla="*/ 2871822 w 3024845"/>
                <a:gd name="connsiteY361" fmla="*/ 423708 h 834218"/>
                <a:gd name="connsiteX362" fmla="*/ 2871822 w 3024845"/>
                <a:gd name="connsiteY362" fmla="*/ 397767 h 834218"/>
                <a:gd name="connsiteX363" fmla="*/ 2910329 w 3024845"/>
                <a:gd name="connsiteY363" fmla="*/ 397767 h 834218"/>
                <a:gd name="connsiteX364" fmla="*/ 2910329 w 3024845"/>
                <a:gd name="connsiteY364" fmla="*/ 367502 h 834218"/>
                <a:gd name="connsiteX365" fmla="*/ 2958970 w 3024845"/>
                <a:gd name="connsiteY365" fmla="*/ 367502 h 834218"/>
                <a:gd name="connsiteX366" fmla="*/ 2958970 w 3024845"/>
                <a:gd name="connsiteY366" fmla="*/ 478658 h 834218"/>
                <a:gd name="connsiteX367" fmla="*/ 2958970 w 3024845"/>
                <a:gd name="connsiteY367" fmla="*/ 492437 h 834218"/>
                <a:gd name="connsiteX368" fmla="*/ 3024845 w 3024845"/>
                <a:gd name="connsiteY368" fmla="*/ 492437 h 834218"/>
                <a:gd name="connsiteX369" fmla="*/ 3024845 w 3024845"/>
                <a:gd name="connsiteY369" fmla="*/ 834218 h 834218"/>
                <a:gd name="connsiteX370" fmla="*/ 2054 w 3024845"/>
                <a:gd name="connsiteY370" fmla="*/ 831885 h 834218"/>
                <a:gd name="connsiteX371" fmla="*/ 0 w 3024845"/>
                <a:gd name="connsiteY371" fmla="*/ 397767 h 834218"/>
                <a:gd name="connsiteX372" fmla="*/ 20267 w 3024845"/>
                <a:gd name="connsiteY372" fmla="*/ 397767 h 834218"/>
                <a:gd name="connsiteX373" fmla="*/ 20774 w 3024845"/>
                <a:gd name="connsiteY373" fmla="*/ 396686 h 834218"/>
                <a:gd name="connsiteX374" fmla="*/ 24320 w 3024845"/>
                <a:gd name="connsiteY374" fmla="*/ 389120 h 834218"/>
                <a:gd name="connsiteX375" fmla="*/ 26094 w 3024845"/>
                <a:gd name="connsiteY375" fmla="*/ 389390 h 834218"/>
                <a:gd name="connsiteX376" fmla="*/ 38507 w 3024845"/>
                <a:gd name="connsiteY376" fmla="*/ 391281 h 834218"/>
                <a:gd name="connsiteX377" fmla="*/ 39014 w 3024845"/>
                <a:gd name="connsiteY377" fmla="*/ 392633 h 834218"/>
                <a:gd name="connsiteX378" fmla="*/ 42560 w 3024845"/>
                <a:gd name="connsiteY378" fmla="*/ 402090 h 834218"/>
                <a:gd name="connsiteX379" fmla="*/ 68907 w 3024845"/>
                <a:gd name="connsiteY379" fmla="*/ 404252 h 834218"/>
                <a:gd name="connsiteX380" fmla="*/ 68907 w 3024845"/>
                <a:gd name="connsiteY380" fmla="*/ 281031 h 834218"/>
                <a:gd name="connsiteX381" fmla="*/ 70934 w 3024845"/>
                <a:gd name="connsiteY381" fmla="*/ 281031 h 834218"/>
                <a:gd name="connsiteX382" fmla="*/ 85121 w 3024845"/>
                <a:gd name="connsiteY382" fmla="*/ 281031 h 834218"/>
                <a:gd name="connsiteX383" fmla="*/ 85121 w 3024845"/>
                <a:gd name="connsiteY383" fmla="*/ 144839 h 834218"/>
                <a:gd name="connsiteX384" fmla="*/ 86894 w 3024845"/>
                <a:gd name="connsiteY384" fmla="*/ 144839 h 834218"/>
                <a:gd name="connsiteX385" fmla="*/ 99308 w 3024845"/>
                <a:gd name="connsiteY385" fmla="*/ 144839 h 834218"/>
                <a:gd name="connsiteX386" fmla="*/ 99308 w 3024845"/>
                <a:gd name="connsiteY386" fmla="*/ 30265 h 834218"/>
                <a:gd name="connsiteX387" fmla="*/ 103361 w 3024845"/>
                <a:gd name="connsiteY387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20909 w 3024845"/>
                <a:gd name="connsiteY2" fmla="*/ 144839 h 834218"/>
                <a:gd name="connsiteX3" fmla="*/ 223189 w 3024845"/>
                <a:gd name="connsiteY3" fmla="*/ 144839 h 834218"/>
                <a:gd name="connsiteX4" fmla="*/ 239150 w 3024845"/>
                <a:gd name="connsiteY4" fmla="*/ 144839 h 834218"/>
                <a:gd name="connsiteX5" fmla="*/ 239150 w 3024845"/>
                <a:gd name="connsiteY5" fmla="*/ 285354 h 834218"/>
                <a:gd name="connsiteX6" fmla="*/ 240670 w 3024845"/>
                <a:gd name="connsiteY6" fmla="*/ 285084 h 834218"/>
                <a:gd name="connsiteX7" fmla="*/ 251310 w 3024845"/>
                <a:gd name="connsiteY7" fmla="*/ 283193 h 834218"/>
                <a:gd name="connsiteX8" fmla="*/ 249283 w 3024845"/>
                <a:gd name="connsiteY8" fmla="*/ 371825 h 834218"/>
                <a:gd name="connsiteX9" fmla="*/ 250803 w 3024845"/>
                <a:gd name="connsiteY9" fmla="*/ 372096 h 834218"/>
                <a:gd name="connsiteX10" fmla="*/ 261443 w 3024845"/>
                <a:gd name="connsiteY10" fmla="*/ 373987 h 834218"/>
                <a:gd name="connsiteX11" fmla="*/ 261696 w 3024845"/>
                <a:gd name="connsiteY11" fmla="*/ 374798 h 834218"/>
                <a:gd name="connsiteX12" fmla="*/ 263470 w 3024845"/>
                <a:gd name="connsiteY12" fmla="*/ 380473 h 834218"/>
                <a:gd name="connsiteX13" fmla="*/ 264230 w 3024845"/>
                <a:gd name="connsiteY13" fmla="*/ 378041 h 834218"/>
                <a:gd name="connsiteX14" fmla="*/ 269550 w 3024845"/>
                <a:gd name="connsiteY14" fmla="*/ 361017 h 834218"/>
                <a:gd name="connsiteX15" fmla="*/ 271323 w 3024845"/>
                <a:gd name="connsiteY15" fmla="*/ 361017 h 834218"/>
                <a:gd name="connsiteX16" fmla="*/ 283737 w 3024845"/>
                <a:gd name="connsiteY16" fmla="*/ 361017 h 834218"/>
                <a:gd name="connsiteX17" fmla="*/ 283737 w 3024845"/>
                <a:gd name="connsiteY17" fmla="*/ 393443 h 834218"/>
                <a:gd name="connsiteX18" fmla="*/ 284750 w 3024845"/>
                <a:gd name="connsiteY18" fmla="*/ 393984 h 834218"/>
                <a:gd name="connsiteX19" fmla="*/ 291844 w 3024845"/>
                <a:gd name="connsiteY19" fmla="*/ 397767 h 834218"/>
                <a:gd name="connsiteX20" fmla="*/ 291844 w 3024845"/>
                <a:gd name="connsiteY20" fmla="*/ 399118 h 834218"/>
                <a:gd name="connsiteX21" fmla="*/ 291844 w 3024845"/>
                <a:gd name="connsiteY21" fmla="*/ 408576 h 834218"/>
                <a:gd name="connsiteX22" fmla="*/ 336431 w 3024845"/>
                <a:gd name="connsiteY22" fmla="*/ 408576 h 834218"/>
                <a:gd name="connsiteX23" fmla="*/ 336431 w 3024845"/>
                <a:gd name="connsiteY23" fmla="*/ 409657 h 834218"/>
                <a:gd name="connsiteX24" fmla="*/ 336431 w 3024845"/>
                <a:gd name="connsiteY24" fmla="*/ 417223 h 834218"/>
                <a:gd name="connsiteX25" fmla="*/ 338457 w 3024845"/>
                <a:gd name="connsiteY25" fmla="*/ 417223 h 834218"/>
                <a:gd name="connsiteX26" fmla="*/ 352644 w 3024845"/>
                <a:gd name="connsiteY26" fmla="*/ 417223 h 834218"/>
                <a:gd name="connsiteX27" fmla="*/ 352644 w 3024845"/>
                <a:gd name="connsiteY27" fmla="*/ 386958 h 834218"/>
                <a:gd name="connsiteX28" fmla="*/ 397231 w 3024845"/>
                <a:gd name="connsiteY28" fmla="*/ 386958 h 834218"/>
                <a:gd name="connsiteX29" fmla="*/ 397231 w 3024845"/>
                <a:gd name="connsiteY29" fmla="*/ 385607 h 834218"/>
                <a:gd name="connsiteX30" fmla="*/ 397231 w 3024845"/>
                <a:gd name="connsiteY30" fmla="*/ 376149 h 834218"/>
                <a:gd name="connsiteX31" fmla="*/ 398245 w 3024845"/>
                <a:gd name="connsiteY31" fmla="*/ 376149 h 834218"/>
                <a:gd name="connsiteX32" fmla="*/ 405338 w 3024845"/>
                <a:gd name="connsiteY32" fmla="*/ 376149 h 834218"/>
                <a:gd name="connsiteX33" fmla="*/ 405338 w 3024845"/>
                <a:gd name="connsiteY33" fmla="*/ 374258 h 834218"/>
                <a:gd name="connsiteX34" fmla="*/ 405338 w 3024845"/>
                <a:gd name="connsiteY34" fmla="*/ 361017 h 834218"/>
                <a:gd name="connsiteX35" fmla="*/ 406098 w 3024845"/>
                <a:gd name="connsiteY35" fmla="*/ 361017 h 834218"/>
                <a:gd name="connsiteX36" fmla="*/ 411418 w 3024845"/>
                <a:gd name="connsiteY36" fmla="*/ 361017 h 834218"/>
                <a:gd name="connsiteX37" fmla="*/ 411418 w 3024845"/>
                <a:gd name="connsiteY37" fmla="*/ 359936 h 834218"/>
                <a:gd name="connsiteX38" fmla="*/ 411418 w 3024845"/>
                <a:gd name="connsiteY38" fmla="*/ 352369 h 834218"/>
                <a:gd name="connsiteX39" fmla="*/ 413445 w 3024845"/>
                <a:gd name="connsiteY39" fmla="*/ 352369 h 834218"/>
                <a:gd name="connsiteX40" fmla="*/ 427632 w 3024845"/>
                <a:gd name="connsiteY40" fmla="*/ 352369 h 834218"/>
                <a:gd name="connsiteX41" fmla="*/ 427632 w 3024845"/>
                <a:gd name="connsiteY41" fmla="*/ 353450 h 834218"/>
                <a:gd name="connsiteX42" fmla="*/ 427632 w 3024845"/>
                <a:gd name="connsiteY42" fmla="*/ 361017 h 834218"/>
                <a:gd name="connsiteX43" fmla="*/ 449925 w 3024845"/>
                <a:gd name="connsiteY43" fmla="*/ 361017 h 834218"/>
                <a:gd name="connsiteX44" fmla="*/ 449925 w 3024845"/>
                <a:gd name="connsiteY44" fmla="*/ 359125 h 834218"/>
                <a:gd name="connsiteX45" fmla="*/ 449925 w 3024845"/>
                <a:gd name="connsiteY45" fmla="*/ 345884 h 834218"/>
                <a:gd name="connsiteX46" fmla="*/ 451699 w 3024845"/>
                <a:gd name="connsiteY46" fmla="*/ 345884 h 834218"/>
                <a:gd name="connsiteX47" fmla="*/ 464112 w 3024845"/>
                <a:gd name="connsiteY47" fmla="*/ 345884 h 834218"/>
                <a:gd name="connsiteX48" fmla="*/ 464112 w 3024845"/>
                <a:gd name="connsiteY48" fmla="*/ 369664 h 834218"/>
                <a:gd name="connsiteX49" fmla="*/ 465126 w 3024845"/>
                <a:gd name="connsiteY49" fmla="*/ 369664 h 834218"/>
                <a:gd name="connsiteX50" fmla="*/ 472219 w 3024845"/>
                <a:gd name="connsiteY50" fmla="*/ 369664 h 834218"/>
                <a:gd name="connsiteX51" fmla="*/ 472219 w 3024845"/>
                <a:gd name="connsiteY51" fmla="*/ 368583 h 834218"/>
                <a:gd name="connsiteX52" fmla="*/ 472219 w 3024845"/>
                <a:gd name="connsiteY52" fmla="*/ 361017 h 834218"/>
                <a:gd name="connsiteX53" fmla="*/ 473992 w 3024845"/>
                <a:gd name="connsiteY53" fmla="*/ 361017 h 834218"/>
                <a:gd name="connsiteX54" fmla="*/ 486406 w 3024845"/>
                <a:gd name="connsiteY54" fmla="*/ 361017 h 834218"/>
                <a:gd name="connsiteX55" fmla="*/ 486406 w 3024845"/>
                <a:gd name="connsiteY55" fmla="*/ 386958 h 834218"/>
                <a:gd name="connsiteX56" fmla="*/ 488433 w 3024845"/>
                <a:gd name="connsiteY56" fmla="*/ 386958 h 834218"/>
                <a:gd name="connsiteX57" fmla="*/ 502619 w 3024845"/>
                <a:gd name="connsiteY57" fmla="*/ 386958 h 834218"/>
                <a:gd name="connsiteX58" fmla="*/ 502619 w 3024845"/>
                <a:gd name="connsiteY58" fmla="*/ 388579 h 834218"/>
                <a:gd name="connsiteX59" fmla="*/ 502619 w 3024845"/>
                <a:gd name="connsiteY59" fmla="*/ 399929 h 834218"/>
                <a:gd name="connsiteX60" fmla="*/ 503379 w 3024845"/>
                <a:gd name="connsiteY60" fmla="*/ 399929 h 834218"/>
                <a:gd name="connsiteX61" fmla="*/ 508700 w 3024845"/>
                <a:gd name="connsiteY61" fmla="*/ 399929 h 834218"/>
                <a:gd name="connsiteX62" fmla="*/ 508700 w 3024845"/>
                <a:gd name="connsiteY62" fmla="*/ 399118 h 834218"/>
                <a:gd name="connsiteX63" fmla="*/ 508700 w 3024845"/>
                <a:gd name="connsiteY63" fmla="*/ 393443 h 834218"/>
                <a:gd name="connsiteX64" fmla="*/ 539100 w 3024845"/>
                <a:gd name="connsiteY64" fmla="*/ 393443 h 834218"/>
                <a:gd name="connsiteX65" fmla="*/ 539100 w 3024845"/>
                <a:gd name="connsiteY65" fmla="*/ 417223 h 834218"/>
                <a:gd name="connsiteX66" fmla="*/ 540113 w 3024845"/>
                <a:gd name="connsiteY66" fmla="*/ 417223 h 834218"/>
                <a:gd name="connsiteX67" fmla="*/ 547207 w 3024845"/>
                <a:gd name="connsiteY67" fmla="*/ 417223 h 834218"/>
                <a:gd name="connsiteX68" fmla="*/ 547207 w 3024845"/>
                <a:gd name="connsiteY68" fmla="*/ 418304 h 834218"/>
                <a:gd name="connsiteX69" fmla="*/ 547207 w 3024845"/>
                <a:gd name="connsiteY69" fmla="*/ 425870 h 834218"/>
                <a:gd name="connsiteX70" fmla="*/ 547967 w 3024845"/>
                <a:gd name="connsiteY70" fmla="*/ 425870 h 834218"/>
                <a:gd name="connsiteX71" fmla="*/ 553287 w 3024845"/>
                <a:gd name="connsiteY71" fmla="*/ 425870 h 834218"/>
                <a:gd name="connsiteX72" fmla="*/ 553287 w 3024845"/>
                <a:gd name="connsiteY72" fmla="*/ 423708 h 834218"/>
                <a:gd name="connsiteX73" fmla="*/ 553287 w 3024845"/>
                <a:gd name="connsiteY73" fmla="*/ 408576 h 834218"/>
                <a:gd name="connsiteX74" fmla="*/ 554300 w 3024845"/>
                <a:gd name="connsiteY74" fmla="*/ 408576 h 834218"/>
                <a:gd name="connsiteX75" fmla="*/ 561394 w 3024845"/>
                <a:gd name="connsiteY75" fmla="*/ 408576 h 834218"/>
                <a:gd name="connsiteX76" fmla="*/ 561394 w 3024845"/>
                <a:gd name="connsiteY76" fmla="*/ 409657 h 834218"/>
                <a:gd name="connsiteX77" fmla="*/ 561394 w 3024845"/>
                <a:gd name="connsiteY77" fmla="*/ 417223 h 834218"/>
                <a:gd name="connsiteX78" fmla="*/ 566714 w 3024845"/>
                <a:gd name="connsiteY78" fmla="*/ 415230 h 834218"/>
                <a:gd name="connsiteX79" fmla="*/ 567474 w 3024845"/>
                <a:gd name="connsiteY79" fmla="*/ 414250 h 834218"/>
                <a:gd name="connsiteX80" fmla="*/ 567474 w 3024845"/>
                <a:gd name="connsiteY80" fmla="*/ 408576 h 834218"/>
                <a:gd name="connsiteX81" fmla="*/ 605981 w 3024845"/>
                <a:gd name="connsiteY81" fmla="*/ 408576 h 834218"/>
                <a:gd name="connsiteX82" fmla="*/ 605981 w 3024845"/>
                <a:gd name="connsiteY82" fmla="*/ 432355 h 834218"/>
                <a:gd name="connsiteX83" fmla="*/ 608007 w 3024845"/>
                <a:gd name="connsiteY83" fmla="*/ 432355 h 834218"/>
                <a:gd name="connsiteX84" fmla="*/ 622194 w 3024845"/>
                <a:gd name="connsiteY84" fmla="*/ 432355 h 834218"/>
                <a:gd name="connsiteX85" fmla="*/ 622194 w 3024845"/>
                <a:gd name="connsiteY85" fmla="*/ 433436 h 834218"/>
                <a:gd name="connsiteX86" fmla="*/ 622194 w 3024845"/>
                <a:gd name="connsiteY86" fmla="*/ 441002 h 834218"/>
                <a:gd name="connsiteX87" fmla="*/ 623968 w 3024845"/>
                <a:gd name="connsiteY87" fmla="*/ 441002 h 834218"/>
                <a:gd name="connsiteX88" fmla="*/ 636381 w 3024845"/>
                <a:gd name="connsiteY88" fmla="*/ 441002 h 834218"/>
                <a:gd name="connsiteX89" fmla="*/ 636381 w 3024845"/>
                <a:gd name="connsiteY89" fmla="*/ 417223 h 834218"/>
                <a:gd name="connsiteX90" fmla="*/ 637394 w 3024845"/>
                <a:gd name="connsiteY90" fmla="*/ 417223 h 834218"/>
                <a:gd name="connsiteX91" fmla="*/ 644488 w 3024845"/>
                <a:gd name="connsiteY91" fmla="*/ 417223 h 834218"/>
                <a:gd name="connsiteX92" fmla="*/ 644488 w 3024845"/>
                <a:gd name="connsiteY92" fmla="*/ 384796 h 834218"/>
                <a:gd name="connsiteX93" fmla="*/ 645501 w 3024845"/>
                <a:gd name="connsiteY93" fmla="*/ 384796 h 834218"/>
                <a:gd name="connsiteX94" fmla="*/ 652595 w 3024845"/>
                <a:gd name="connsiteY94" fmla="*/ 384796 h 834218"/>
                <a:gd name="connsiteX95" fmla="*/ 652595 w 3024845"/>
                <a:gd name="connsiteY95" fmla="*/ 382905 h 834218"/>
                <a:gd name="connsiteX96" fmla="*/ 652595 w 3024845"/>
                <a:gd name="connsiteY96" fmla="*/ 369664 h 834218"/>
                <a:gd name="connsiteX97" fmla="*/ 651328 w 3024845"/>
                <a:gd name="connsiteY97" fmla="*/ 368042 h 834218"/>
                <a:gd name="connsiteX98" fmla="*/ 656648 w 3024845"/>
                <a:gd name="connsiteY98" fmla="*/ 356693 h 834218"/>
                <a:gd name="connsiteX99" fmla="*/ 664755 w 3024845"/>
                <a:gd name="connsiteY99" fmla="*/ 384796 h 834218"/>
                <a:gd name="connsiteX100" fmla="*/ 665515 w 3024845"/>
                <a:gd name="connsiteY100" fmla="*/ 384796 h 834218"/>
                <a:gd name="connsiteX101" fmla="*/ 670835 w 3024845"/>
                <a:gd name="connsiteY101" fmla="*/ 384796 h 834218"/>
                <a:gd name="connsiteX102" fmla="*/ 670835 w 3024845"/>
                <a:gd name="connsiteY102" fmla="*/ 278869 h 834218"/>
                <a:gd name="connsiteX103" fmla="*/ 672355 w 3024845"/>
                <a:gd name="connsiteY103" fmla="*/ 278869 h 834218"/>
                <a:gd name="connsiteX104" fmla="*/ 682995 w 3024845"/>
                <a:gd name="connsiteY104" fmla="*/ 278869 h 834218"/>
                <a:gd name="connsiteX105" fmla="*/ 682995 w 3024845"/>
                <a:gd name="connsiteY105" fmla="*/ 231310 h 834218"/>
                <a:gd name="connsiteX106" fmla="*/ 709342 w 3024845"/>
                <a:gd name="connsiteY106" fmla="*/ 231310 h 834218"/>
                <a:gd name="connsiteX107" fmla="*/ 709342 w 3024845"/>
                <a:gd name="connsiteY107" fmla="*/ 209692 h 834218"/>
                <a:gd name="connsiteX108" fmla="*/ 743796 w 3024845"/>
                <a:gd name="connsiteY108" fmla="*/ 209692 h 834218"/>
                <a:gd name="connsiteX109" fmla="*/ 743796 w 3024845"/>
                <a:gd name="connsiteY109" fmla="*/ 212124 h 834218"/>
                <a:gd name="connsiteX110" fmla="*/ 743796 w 3024845"/>
                <a:gd name="connsiteY110" fmla="*/ 229148 h 834218"/>
                <a:gd name="connsiteX111" fmla="*/ 746076 w 3024845"/>
                <a:gd name="connsiteY111" fmla="*/ 229148 h 834218"/>
                <a:gd name="connsiteX112" fmla="*/ 762036 w 3024845"/>
                <a:gd name="connsiteY112" fmla="*/ 229148 h 834218"/>
                <a:gd name="connsiteX113" fmla="*/ 762036 w 3024845"/>
                <a:gd name="connsiteY113" fmla="*/ 276707 h 834218"/>
                <a:gd name="connsiteX114" fmla="*/ 763049 w 3024845"/>
                <a:gd name="connsiteY114" fmla="*/ 276707 h 834218"/>
                <a:gd name="connsiteX115" fmla="*/ 770143 w 3024845"/>
                <a:gd name="connsiteY115" fmla="*/ 276707 h 834218"/>
                <a:gd name="connsiteX116" fmla="*/ 784330 w 3024845"/>
                <a:gd name="connsiteY116" fmla="*/ 281031 h 834218"/>
                <a:gd name="connsiteX117" fmla="*/ 784330 w 3024845"/>
                <a:gd name="connsiteY117" fmla="*/ 319943 h 834218"/>
                <a:gd name="connsiteX118" fmla="*/ 785343 w 3024845"/>
                <a:gd name="connsiteY118" fmla="*/ 319943 h 834218"/>
                <a:gd name="connsiteX119" fmla="*/ 792436 w 3024845"/>
                <a:gd name="connsiteY119" fmla="*/ 319943 h 834218"/>
                <a:gd name="connsiteX120" fmla="*/ 792436 w 3024845"/>
                <a:gd name="connsiteY120" fmla="*/ 321564 h 834218"/>
                <a:gd name="connsiteX121" fmla="*/ 792436 w 3024845"/>
                <a:gd name="connsiteY121" fmla="*/ 332913 h 834218"/>
                <a:gd name="connsiteX122" fmla="*/ 794463 w 3024845"/>
                <a:gd name="connsiteY122" fmla="*/ 332913 h 834218"/>
                <a:gd name="connsiteX123" fmla="*/ 808650 w 3024845"/>
                <a:gd name="connsiteY123" fmla="*/ 332913 h 834218"/>
                <a:gd name="connsiteX124" fmla="*/ 814730 w 3024845"/>
                <a:gd name="connsiteY124" fmla="*/ 339399 h 834218"/>
                <a:gd name="connsiteX125" fmla="*/ 814730 w 3024845"/>
                <a:gd name="connsiteY125" fmla="*/ 361017 h 834218"/>
                <a:gd name="connsiteX126" fmla="*/ 817010 w 3024845"/>
                <a:gd name="connsiteY126" fmla="*/ 361017 h 834218"/>
                <a:gd name="connsiteX127" fmla="*/ 832970 w 3024845"/>
                <a:gd name="connsiteY127" fmla="*/ 361017 h 834218"/>
                <a:gd name="connsiteX128" fmla="*/ 832970 w 3024845"/>
                <a:gd name="connsiteY128" fmla="*/ 362097 h 834218"/>
                <a:gd name="connsiteX129" fmla="*/ 832970 w 3024845"/>
                <a:gd name="connsiteY129" fmla="*/ 369664 h 834218"/>
                <a:gd name="connsiteX130" fmla="*/ 834237 w 3024845"/>
                <a:gd name="connsiteY130" fmla="*/ 369664 h 834218"/>
                <a:gd name="connsiteX131" fmla="*/ 843104 w 3024845"/>
                <a:gd name="connsiteY131" fmla="*/ 369664 h 834218"/>
                <a:gd name="connsiteX132" fmla="*/ 843104 w 3024845"/>
                <a:gd name="connsiteY132" fmla="*/ 371825 h 834218"/>
                <a:gd name="connsiteX133" fmla="*/ 843104 w 3024845"/>
                <a:gd name="connsiteY133" fmla="*/ 386958 h 834218"/>
                <a:gd name="connsiteX134" fmla="*/ 847157 w 3024845"/>
                <a:gd name="connsiteY134" fmla="*/ 385066 h 834218"/>
                <a:gd name="connsiteX135" fmla="*/ 847157 w 3024845"/>
                <a:gd name="connsiteY135" fmla="*/ 371825 h 834218"/>
                <a:gd name="connsiteX136" fmla="*/ 848170 w 3024845"/>
                <a:gd name="connsiteY136" fmla="*/ 371825 h 834218"/>
                <a:gd name="connsiteX137" fmla="*/ 855264 w 3024845"/>
                <a:gd name="connsiteY137" fmla="*/ 371825 h 834218"/>
                <a:gd name="connsiteX138" fmla="*/ 855264 w 3024845"/>
                <a:gd name="connsiteY138" fmla="*/ 373447 h 834218"/>
                <a:gd name="connsiteX139" fmla="*/ 855264 w 3024845"/>
                <a:gd name="connsiteY139" fmla="*/ 384796 h 834218"/>
                <a:gd name="connsiteX140" fmla="*/ 856024 w 3024845"/>
                <a:gd name="connsiteY140" fmla="*/ 384796 h 834218"/>
                <a:gd name="connsiteX141" fmla="*/ 861344 w 3024845"/>
                <a:gd name="connsiteY141" fmla="*/ 384796 h 834218"/>
                <a:gd name="connsiteX142" fmla="*/ 909984 w 3024845"/>
                <a:gd name="connsiteY142" fmla="*/ 380473 h 834218"/>
                <a:gd name="connsiteX143" fmla="*/ 909984 w 3024845"/>
                <a:gd name="connsiteY143" fmla="*/ 381824 h 834218"/>
                <a:gd name="connsiteX144" fmla="*/ 909984 w 3024845"/>
                <a:gd name="connsiteY144" fmla="*/ 391281 h 834218"/>
                <a:gd name="connsiteX145" fmla="*/ 910744 w 3024845"/>
                <a:gd name="connsiteY145" fmla="*/ 391281 h 834218"/>
                <a:gd name="connsiteX146" fmla="*/ 916065 w 3024845"/>
                <a:gd name="connsiteY146" fmla="*/ 391281 h 834218"/>
                <a:gd name="connsiteX147" fmla="*/ 916065 w 3024845"/>
                <a:gd name="connsiteY147" fmla="*/ 393443 h 834218"/>
                <a:gd name="connsiteX148" fmla="*/ 916065 w 3024845"/>
                <a:gd name="connsiteY148" fmla="*/ 408576 h 834218"/>
                <a:gd name="connsiteX149" fmla="*/ 918091 w 3024845"/>
                <a:gd name="connsiteY149" fmla="*/ 407225 h 834218"/>
                <a:gd name="connsiteX150" fmla="*/ 932278 w 3024845"/>
                <a:gd name="connsiteY150" fmla="*/ 397767 h 834218"/>
                <a:gd name="connsiteX151" fmla="*/ 938358 w 3024845"/>
                <a:gd name="connsiteY151" fmla="*/ 356693 h 834218"/>
                <a:gd name="connsiteX152" fmla="*/ 939118 w 3024845"/>
                <a:gd name="connsiteY152" fmla="*/ 356423 h 834218"/>
                <a:gd name="connsiteX153" fmla="*/ 944438 w 3024845"/>
                <a:gd name="connsiteY153" fmla="*/ 354531 h 834218"/>
                <a:gd name="connsiteX154" fmla="*/ 946465 w 3024845"/>
                <a:gd name="connsiteY154" fmla="*/ 285354 h 834218"/>
                <a:gd name="connsiteX155" fmla="*/ 948492 w 3024845"/>
                <a:gd name="connsiteY155" fmla="*/ 354531 h 834218"/>
                <a:gd name="connsiteX156" fmla="*/ 949252 w 3024845"/>
                <a:gd name="connsiteY156" fmla="*/ 354801 h 834218"/>
                <a:gd name="connsiteX157" fmla="*/ 954572 w 3024845"/>
                <a:gd name="connsiteY157" fmla="*/ 356693 h 834218"/>
                <a:gd name="connsiteX158" fmla="*/ 954572 w 3024845"/>
                <a:gd name="connsiteY158" fmla="*/ 270222 h 834218"/>
                <a:gd name="connsiteX159" fmla="*/ 958625 w 3024845"/>
                <a:gd name="connsiteY159" fmla="*/ 237795 h 834218"/>
                <a:gd name="connsiteX160" fmla="*/ 997132 w 3024845"/>
                <a:gd name="connsiteY160" fmla="*/ 237795 h 834218"/>
                <a:gd name="connsiteX161" fmla="*/ 997132 w 3024845"/>
                <a:gd name="connsiteY161" fmla="*/ 270222 h 834218"/>
                <a:gd name="connsiteX162" fmla="*/ 997892 w 3024845"/>
                <a:gd name="connsiteY162" fmla="*/ 270222 h 834218"/>
                <a:gd name="connsiteX163" fmla="*/ 1003212 w 3024845"/>
                <a:gd name="connsiteY163" fmla="*/ 270222 h 834218"/>
                <a:gd name="connsiteX164" fmla="*/ 1003212 w 3024845"/>
                <a:gd name="connsiteY164" fmla="*/ 188074 h 834218"/>
                <a:gd name="connsiteX165" fmla="*/ 1004986 w 3024845"/>
                <a:gd name="connsiteY165" fmla="*/ 188074 h 834218"/>
                <a:gd name="connsiteX166" fmla="*/ 1017399 w 3024845"/>
                <a:gd name="connsiteY166" fmla="*/ 188074 h 834218"/>
                <a:gd name="connsiteX167" fmla="*/ 1017399 w 3024845"/>
                <a:gd name="connsiteY167" fmla="*/ 186183 h 834218"/>
                <a:gd name="connsiteX168" fmla="*/ 1017399 w 3024845"/>
                <a:gd name="connsiteY168" fmla="*/ 172942 h 834218"/>
                <a:gd name="connsiteX169" fmla="*/ 1039693 w 3024845"/>
                <a:gd name="connsiteY169" fmla="*/ 172942 h 834218"/>
                <a:gd name="connsiteX170" fmla="*/ 1039693 w 3024845"/>
                <a:gd name="connsiteY170" fmla="*/ 171861 h 834218"/>
                <a:gd name="connsiteX171" fmla="*/ 1039693 w 3024845"/>
                <a:gd name="connsiteY171" fmla="*/ 164295 h 834218"/>
                <a:gd name="connsiteX172" fmla="*/ 1041466 w 3024845"/>
                <a:gd name="connsiteY172" fmla="*/ 164295 h 834218"/>
                <a:gd name="connsiteX173" fmla="*/ 1053880 w 3024845"/>
                <a:gd name="connsiteY173" fmla="*/ 164295 h 834218"/>
                <a:gd name="connsiteX174" fmla="*/ 1053880 w 3024845"/>
                <a:gd name="connsiteY174" fmla="*/ 165376 h 834218"/>
                <a:gd name="connsiteX175" fmla="*/ 1053880 w 3024845"/>
                <a:gd name="connsiteY175" fmla="*/ 172942 h 834218"/>
                <a:gd name="connsiteX176" fmla="*/ 1054640 w 3024845"/>
                <a:gd name="connsiteY176" fmla="*/ 172942 h 834218"/>
                <a:gd name="connsiteX177" fmla="*/ 1059960 w 3024845"/>
                <a:gd name="connsiteY177" fmla="*/ 172942 h 834218"/>
                <a:gd name="connsiteX178" fmla="*/ 1070093 w 3024845"/>
                <a:gd name="connsiteY178" fmla="*/ 168618 h 834218"/>
                <a:gd name="connsiteX179" fmla="*/ 1074146 w 3024845"/>
                <a:gd name="connsiteY179" fmla="*/ 171861 h 834218"/>
                <a:gd name="connsiteX180" fmla="*/ 1074146 w 3024845"/>
                <a:gd name="connsiteY180" fmla="*/ 164295 h 834218"/>
                <a:gd name="connsiteX181" fmla="*/ 1076426 w 3024845"/>
                <a:gd name="connsiteY181" fmla="*/ 164295 h 834218"/>
                <a:gd name="connsiteX182" fmla="*/ 1092387 w 3024845"/>
                <a:gd name="connsiteY182" fmla="*/ 164295 h 834218"/>
                <a:gd name="connsiteX183" fmla="*/ 1092387 w 3024845"/>
                <a:gd name="connsiteY183" fmla="*/ 165376 h 834218"/>
                <a:gd name="connsiteX184" fmla="*/ 1092387 w 3024845"/>
                <a:gd name="connsiteY184" fmla="*/ 172942 h 834218"/>
                <a:gd name="connsiteX185" fmla="*/ 1122787 w 3024845"/>
                <a:gd name="connsiteY185" fmla="*/ 172942 h 834218"/>
                <a:gd name="connsiteX186" fmla="*/ 1122787 w 3024845"/>
                <a:gd name="connsiteY186" fmla="*/ 174563 h 834218"/>
                <a:gd name="connsiteX187" fmla="*/ 1122787 w 3024845"/>
                <a:gd name="connsiteY187" fmla="*/ 185913 h 834218"/>
                <a:gd name="connsiteX188" fmla="*/ 1149134 w 3024845"/>
                <a:gd name="connsiteY188" fmla="*/ 185913 h 834218"/>
                <a:gd name="connsiteX189" fmla="*/ 1149134 w 3024845"/>
                <a:gd name="connsiteY189" fmla="*/ 216177 h 834218"/>
                <a:gd name="connsiteX190" fmla="*/ 1149894 w 3024845"/>
                <a:gd name="connsiteY190" fmla="*/ 216177 h 834218"/>
                <a:gd name="connsiteX191" fmla="*/ 1155214 w 3024845"/>
                <a:gd name="connsiteY191" fmla="*/ 216177 h 834218"/>
                <a:gd name="connsiteX192" fmla="*/ 1155214 w 3024845"/>
                <a:gd name="connsiteY192" fmla="*/ 217258 h 834218"/>
                <a:gd name="connsiteX193" fmla="*/ 1155214 w 3024845"/>
                <a:gd name="connsiteY193" fmla="*/ 224825 h 834218"/>
                <a:gd name="connsiteX194" fmla="*/ 1159268 w 3024845"/>
                <a:gd name="connsiteY194" fmla="*/ 255089 h 834218"/>
                <a:gd name="connsiteX195" fmla="*/ 1160028 w 3024845"/>
                <a:gd name="connsiteY195" fmla="*/ 255089 h 834218"/>
                <a:gd name="connsiteX196" fmla="*/ 1165348 w 3024845"/>
                <a:gd name="connsiteY196" fmla="*/ 255089 h 834218"/>
                <a:gd name="connsiteX197" fmla="*/ 1165348 w 3024845"/>
                <a:gd name="connsiteY197" fmla="*/ 255900 h 834218"/>
                <a:gd name="connsiteX198" fmla="*/ 1165348 w 3024845"/>
                <a:gd name="connsiteY198" fmla="*/ 261575 h 834218"/>
                <a:gd name="connsiteX199" fmla="*/ 1166361 w 3024845"/>
                <a:gd name="connsiteY199" fmla="*/ 261575 h 834218"/>
                <a:gd name="connsiteX200" fmla="*/ 1173454 w 3024845"/>
                <a:gd name="connsiteY200" fmla="*/ 261575 h 834218"/>
                <a:gd name="connsiteX201" fmla="*/ 1173454 w 3024845"/>
                <a:gd name="connsiteY201" fmla="*/ 291840 h 834218"/>
                <a:gd name="connsiteX202" fmla="*/ 1175481 w 3024845"/>
                <a:gd name="connsiteY202" fmla="*/ 291840 h 834218"/>
                <a:gd name="connsiteX203" fmla="*/ 1189668 w 3024845"/>
                <a:gd name="connsiteY203" fmla="*/ 291840 h 834218"/>
                <a:gd name="connsiteX204" fmla="*/ 1189668 w 3024845"/>
                <a:gd name="connsiteY204" fmla="*/ 315619 h 834218"/>
                <a:gd name="connsiteX205" fmla="*/ 1191695 w 3024845"/>
                <a:gd name="connsiteY205" fmla="*/ 317240 h 834218"/>
                <a:gd name="connsiteX206" fmla="*/ 1191695 w 3024845"/>
                <a:gd name="connsiteY206" fmla="*/ 328590 h 834218"/>
                <a:gd name="connsiteX207" fmla="*/ 1192455 w 3024845"/>
                <a:gd name="connsiteY207" fmla="*/ 328590 h 834218"/>
                <a:gd name="connsiteX208" fmla="*/ 1197775 w 3024845"/>
                <a:gd name="connsiteY208" fmla="*/ 328590 h 834218"/>
                <a:gd name="connsiteX209" fmla="*/ 1197775 w 3024845"/>
                <a:gd name="connsiteY209" fmla="*/ 352369 h 834218"/>
                <a:gd name="connsiteX210" fmla="*/ 1199041 w 3024845"/>
                <a:gd name="connsiteY210" fmla="*/ 352369 h 834218"/>
                <a:gd name="connsiteX211" fmla="*/ 1207908 w 3024845"/>
                <a:gd name="connsiteY211" fmla="*/ 352369 h 834218"/>
                <a:gd name="connsiteX212" fmla="*/ 1209935 w 3024845"/>
                <a:gd name="connsiteY212" fmla="*/ 356423 h 834218"/>
                <a:gd name="connsiteX213" fmla="*/ 1209935 w 3024845"/>
                <a:gd name="connsiteY213" fmla="*/ 369664 h 834218"/>
                <a:gd name="connsiteX214" fmla="*/ 1211455 w 3024845"/>
                <a:gd name="connsiteY214" fmla="*/ 367772 h 834218"/>
                <a:gd name="connsiteX215" fmla="*/ 1222095 w 3024845"/>
                <a:gd name="connsiteY215" fmla="*/ 354531 h 834218"/>
                <a:gd name="connsiteX216" fmla="*/ 1250469 w 3024845"/>
                <a:gd name="connsiteY216" fmla="*/ 354531 h 834218"/>
                <a:gd name="connsiteX217" fmla="*/ 1250469 w 3024845"/>
                <a:gd name="connsiteY217" fmla="*/ 441002 h 834218"/>
                <a:gd name="connsiteX218" fmla="*/ 1251229 w 3024845"/>
                <a:gd name="connsiteY218" fmla="*/ 441002 h 834218"/>
                <a:gd name="connsiteX219" fmla="*/ 1256549 w 3024845"/>
                <a:gd name="connsiteY219" fmla="*/ 441002 h 834218"/>
                <a:gd name="connsiteX220" fmla="*/ 1257309 w 3024845"/>
                <a:gd name="connsiteY220" fmla="*/ 439651 h 834218"/>
                <a:gd name="connsiteX221" fmla="*/ 1262629 w 3024845"/>
                <a:gd name="connsiteY221" fmla="*/ 430193 h 834218"/>
                <a:gd name="connsiteX222" fmla="*/ 1262629 w 3024845"/>
                <a:gd name="connsiteY222" fmla="*/ 432085 h 834218"/>
                <a:gd name="connsiteX223" fmla="*/ 1262629 w 3024845"/>
                <a:gd name="connsiteY223" fmla="*/ 445326 h 834218"/>
                <a:gd name="connsiteX224" fmla="*/ 1266682 w 3024845"/>
                <a:gd name="connsiteY224" fmla="*/ 399929 h 834218"/>
                <a:gd name="connsiteX225" fmla="*/ 1267442 w 3024845"/>
                <a:gd name="connsiteY225" fmla="*/ 399929 h 834218"/>
                <a:gd name="connsiteX226" fmla="*/ 1272762 w 3024845"/>
                <a:gd name="connsiteY226" fmla="*/ 399929 h 834218"/>
                <a:gd name="connsiteX227" fmla="*/ 1272762 w 3024845"/>
                <a:gd name="connsiteY227" fmla="*/ 335075 h 834218"/>
                <a:gd name="connsiteX228" fmla="*/ 1273776 w 3024845"/>
                <a:gd name="connsiteY228" fmla="*/ 335075 h 834218"/>
                <a:gd name="connsiteX229" fmla="*/ 1280869 w 3024845"/>
                <a:gd name="connsiteY229" fmla="*/ 335075 h 834218"/>
                <a:gd name="connsiteX230" fmla="*/ 1293029 w 3024845"/>
                <a:gd name="connsiteY230" fmla="*/ 291840 h 834218"/>
                <a:gd name="connsiteX231" fmla="*/ 1294296 w 3024845"/>
                <a:gd name="connsiteY231" fmla="*/ 291840 h 834218"/>
                <a:gd name="connsiteX232" fmla="*/ 1303163 w 3024845"/>
                <a:gd name="connsiteY232" fmla="*/ 291840 h 834218"/>
                <a:gd name="connsiteX233" fmla="*/ 1313296 w 3024845"/>
                <a:gd name="connsiteY233" fmla="*/ 335075 h 834218"/>
                <a:gd name="connsiteX234" fmla="*/ 1314309 w 3024845"/>
                <a:gd name="connsiteY234" fmla="*/ 335075 h 834218"/>
                <a:gd name="connsiteX235" fmla="*/ 1321403 w 3024845"/>
                <a:gd name="connsiteY235" fmla="*/ 335075 h 834218"/>
                <a:gd name="connsiteX236" fmla="*/ 1321403 w 3024845"/>
                <a:gd name="connsiteY236" fmla="*/ 373987 h 834218"/>
                <a:gd name="connsiteX237" fmla="*/ 1323176 w 3024845"/>
                <a:gd name="connsiteY237" fmla="*/ 373987 h 834218"/>
                <a:gd name="connsiteX238" fmla="*/ 1335590 w 3024845"/>
                <a:gd name="connsiteY238" fmla="*/ 373987 h 834218"/>
                <a:gd name="connsiteX239" fmla="*/ 1335590 w 3024845"/>
                <a:gd name="connsiteY239" fmla="*/ 376149 h 834218"/>
                <a:gd name="connsiteX240" fmla="*/ 1335590 w 3024845"/>
                <a:gd name="connsiteY240" fmla="*/ 391281 h 834218"/>
                <a:gd name="connsiteX241" fmla="*/ 1339643 w 3024845"/>
                <a:gd name="connsiteY241" fmla="*/ 389120 h 834218"/>
                <a:gd name="connsiteX242" fmla="*/ 1339643 w 3024845"/>
                <a:gd name="connsiteY242" fmla="*/ 373987 h 834218"/>
                <a:gd name="connsiteX243" fmla="*/ 1341163 w 3024845"/>
                <a:gd name="connsiteY243" fmla="*/ 373987 h 834218"/>
                <a:gd name="connsiteX244" fmla="*/ 1351803 w 3024845"/>
                <a:gd name="connsiteY244" fmla="*/ 373987 h 834218"/>
                <a:gd name="connsiteX245" fmla="*/ 1351803 w 3024845"/>
                <a:gd name="connsiteY245" fmla="*/ 375608 h 834218"/>
                <a:gd name="connsiteX246" fmla="*/ 1351803 w 3024845"/>
                <a:gd name="connsiteY246" fmla="*/ 386958 h 834218"/>
                <a:gd name="connsiteX247" fmla="*/ 1382204 w 3024845"/>
                <a:gd name="connsiteY247" fmla="*/ 386958 h 834218"/>
                <a:gd name="connsiteX248" fmla="*/ 1382204 w 3024845"/>
                <a:gd name="connsiteY248" fmla="*/ 350208 h 834218"/>
                <a:gd name="connsiteX249" fmla="*/ 1383470 w 3024845"/>
                <a:gd name="connsiteY249" fmla="*/ 350208 h 834218"/>
                <a:gd name="connsiteX250" fmla="*/ 1392337 w 3024845"/>
                <a:gd name="connsiteY250" fmla="*/ 350208 h 834218"/>
                <a:gd name="connsiteX251" fmla="*/ 1392337 w 3024845"/>
                <a:gd name="connsiteY251" fmla="*/ 371825 h 834218"/>
                <a:gd name="connsiteX252" fmla="*/ 1394364 w 3024845"/>
                <a:gd name="connsiteY252" fmla="*/ 339399 h 834218"/>
                <a:gd name="connsiteX253" fmla="*/ 1416657 w 3024845"/>
                <a:gd name="connsiteY253" fmla="*/ 339399 h 834218"/>
                <a:gd name="connsiteX254" fmla="*/ 1416657 w 3024845"/>
                <a:gd name="connsiteY254" fmla="*/ 337777 h 834218"/>
                <a:gd name="connsiteX255" fmla="*/ 1416657 w 3024845"/>
                <a:gd name="connsiteY255" fmla="*/ 326428 h 834218"/>
                <a:gd name="connsiteX256" fmla="*/ 1417417 w 3024845"/>
                <a:gd name="connsiteY256" fmla="*/ 326428 h 834218"/>
                <a:gd name="connsiteX257" fmla="*/ 1422737 w 3024845"/>
                <a:gd name="connsiteY257" fmla="*/ 326428 h 834218"/>
                <a:gd name="connsiteX258" fmla="*/ 1422737 w 3024845"/>
                <a:gd name="connsiteY258" fmla="*/ 324537 h 834218"/>
                <a:gd name="connsiteX259" fmla="*/ 1422737 w 3024845"/>
                <a:gd name="connsiteY259" fmla="*/ 311296 h 834218"/>
                <a:gd name="connsiteX260" fmla="*/ 1426791 w 3024845"/>
                <a:gd name="connsiteY260" fmla="*/ 317781 h 834218"/>
                <a:gd name="connsiteX261" fmla="*/ 1429071 w 3024845"/>
                <a:gd name="connsiteY261" fmla="*/ 317781 h 834218"/>
                <a:gd name="connsiteX262" fmla="*/ 1445031 w 3024845"/>
                <a:gd name="connsiteY262" fmla="*/ 317781 h 834218"/>
                <a:gd name="connsiteX263" fmla="*/ 1445031 w 3024845"/>
                <a:gd name="connsiteY263" fmla="*/ 316970 h 834218"/>
                <a:gd name="connsiteX264" fmla="*/ 1445031 w 3024845"/>
                <a:gd name="connsiteY264" fmla="*/ 311296 h 834218"/>
                <a:gd name="connsiteX265" fmla="*/ 1445791 w 3024845"/>
                <a:gd name="connsiteY265" fmla="*/ 311296 h 834218"/>
                <a:gd name="connsiteX266" fmla="*/ 1451111 w 3024845"/>
                <a:gd name="connsiteY266" fmla="*/ 311296 h 834218"/>
                <a:gd name="connsiteX267" fmla="*/ 1451111 w 3024845"/>
                <a:gd name="connsiteY267" fmla="*/ 312647 h 834218"/>
                <a:gd name="connsiteX268" fmla="*/ 1451111 w 3024845"/>
                <a:gd name="connsiteY268" fmla="*/ 322105 h 834218"/>
                <a:gd name="connsiteX269" fmla="*/ 1489618 w 3024845"/>
                <a:gd name="connsiteY269" fmla="*/ 322105 h 834218"/>
                <a:gd name="connsiteX270" fmla="*/ 1489618 w 3024845"/>
                <a:gd name="connsiteY270" fmla="*/ 460458 h 834218"/>
                <a:gd name="connsiteX271" fmla="*/ 1491138 w 3024845"/>
                <a:gd name="connsiteY271" fmla="*/ 460458 h 834218"/>
                <a:gd name="connsiteX272" fmla="*/ 1501778 w 3024845"/>
                <a:gd name="connsiteY272" fmla="*/ 460458 h 834218"/>
                <a:gd name="connsiteX273" fmla="*/ 1501778 w 3024845"/>
                <a:gd name="connsiteY273" fmla="*/ 447488 h 834218"/>
                <a:gd name="connsiteX274" fmla="*/ 1505832 w 3024845"/>
                <a:gd name="connsiteY274" fmla="*/ 447488 h 834218"/>
                <a:gd name="connsiteX275" fmla="*/ 1505832 w 3024845"/>
                <a:gd name="connsiteY275" fmla="*/ 460458 h 834218"/>
                <a:gd name="connsiteX276" fmla="*/ 1536232 w 3024845"/>
                <a:gd name="connsiteY276" fmla="*/ 460458 h 834218"/>
                <a:gd name="connsiteX277" fmla="*/ 1536232 w 3024845"/>
                <a:gd name="connsiteY277" fmla="*/ 430193 h 834218"/>
                <a:gd name="connsiteX278" fmla="*/ 1548392 w 3024845"/>
                <a:gd name="connsiteY278" fmla="*/ 430193 h 834218"/>
                <a:gd name="connsiteX279" fmla="*/ 1560552 w 3024845"/>
                <a:gd name="connsiteY279" fmla="*/ 428032 h 834218"/>
                <a:gd name="connsiteX280" fmla="*/ 1564606 w 3024845"/>
                <a:gd name="connsiteY280" fmla="*/ 430193 h 834218"/>
                <a:gd name="connsiteX281" fmla="*/ 1574739 w 3024845"/>
                <a:gd name="connsiteY281" fmla="*/ 430193 h 834218"/>
                <a:gd name="connsiteX282" fmla="*/ 1574739 w 3024845"/>
                <a:gd name="connsiteY282" fmla="*/ 460458 h 834218"/>
                <a:gd name="connsiteX283" fmla="*/ 1582846 w 3024845"/>
                <a:gd name="connsiteY283" fmla="*/ 460458 h 834218"/>
                <a:gd name="connsiteX284" fmla="*/ 1582846 w 3024845"/>
                <a:gd name="connsiteY284" fmla="*/ 477753 h 834218"/>
                <a:gd name="connsiteX285" fmla="*/ 1592182 w 3024845"/>
                <a:gd name="connsiteY285" fmla="*/ 478658 h 834218"/>
                <a:gd name="connsiteX286" fmla="*/ 1605140 w 3024845"/>
                <a:gd name="connsiteY286" fmla="*/ 478658 h 834218"/>
                <a:gd name="connsiteX287" fmla="*/ 1605140 w 3024845"/>
                <a:gd name="connsiteY287" fmla="*/ 462620 h 834218"/>
                <a:gd name="connsiteX288" fmla="*/ 1673096 w 3024845"/>
                <a:gd name="connsiteY288" fmla="*/ 462620 h 834218"/>
                <a:gd name="connsiteX289" fmla="*/ 1673096 w 3024845"/>
                <a:gd name="connsiteY289" fmla="*/ 377367 h 834218"/>
                <a:gd name="connsiteX290" fmla="*/ 1745104 w 3024845"/>
                <a:gd name="connsiteY290" fmla="*/ 377367 h 834218"/>
                <a:gd name="connsiteX291" fmla="*/ 1745104 w 3024845"/>
                <a:gd name="connsiteY291" fmla="*/ 456135 h 834218"/>
                <a:gd name="connsiteX292" fmla="*/ 1747008 w 3024845"/>
                <a:gd name="connsiteY292" fmla="*/ 456135 h 834218"/>
                <a:gd name="connsiteX293" fmla="*/ 1748250 w 3024845"/>
                <a:gd name="connsiteY293" fmla="*/ 478658 h 834218"/>
                <a:gd name="connsiteX294" fmla="*/ 1757926 w 3024845"/>
                <a:gd name="connsiteY294" fmla="*/ 478658 h 834218"/>
                <a:gd name="connsiteX295" fmla="*/ 1759168 w 3024845"/>
                <a:gd name="connsiteY295" fmla="*/ 456135 h 834218"/>
                <a:gd name="connsiteX296" fmla="*/ 1765248 w 3024845"/>
                <a:gd name="connsiteY296" fmla="*/ 456135 h 834218"/>
                <a:gd name="connsiteX297" fmla="*/ 1766490 w 3024845"/>
                <a:gd name="connsiteY297" fmla="*/ 478658 h 834218"/>
                <a:gd name="connsiteX298" fmla="*/ 1817112 w 3024845"/>
                <a:gd name="connsiteY298" fmla="*/ 478658 h 834218"/>
                <a:gd name="connsiteX299" fmla="*/ 1817112 w 3024845"/>
                <a:gd name="connsiteY299" fmla="*/ 315630 h 834218"/>
                <a:gd name="connsiteX300" fmla="*/ 2014439 w 3024845"/>
                <a:gd name="connsiteY300" fmla="*/ 315630 h 834218"/>
                <a:gd name="connsiteX301" fmla="*/ 2014439 w 3024845"/>
                <a:gd name="connsiteY301" fmla="*/ 478658 h 834218"/>
                <a:gd name="connsiteX302" fmla="*/ 2033136 w 3024845"/>
                <a:gd name="connsiteY302" fmla="*/ 478658 h 834218"/>
                <a:gd name="connsiteX303" fmla="*/ 2033136 w 3024845"/>
                <a:gd name="connsiteY303" fmla="*/ 395965 h 834218"/>
                <a:gd name="connsiteX304" fmla="*/ 2128256 w 3024845"/>
                <a:gd name="connsiteY304" fmla="*/ 395965 h 834218"/>
                <a:gd name="connsiteX305" fmla="*/ 2180720 w 3024845"/>
                <a:gd name="connsiteY305" fmla="*/ 330752 h 834218"/>
                <a:gd name="connsiteX306" fmla="*/ 2245574 w 3024845"/>
                <a:gd name="connsiteY306" fmla="*/ 330752 h 834218"/>
                <a:gd name="connsiteX307" fmla="*/ 2245574 w 3024845"/>
                <a:gd name="connsiteY307" fmla="*/ 406414 h 834218"/>
                <a:gd name="connsiteX308" fmla="*/ 2253681 w 3024845"/>
                <a:gd name="connsiteY308" fmla="*/ 406414 h 834218"/>
                <a:gd name="connsiteX309" fmla="*/ 2255708 w 3024845"/>
                <a:gd name="connsiteY309" fmla="*/ 399929 h 834218"/>
                <a:gd name="connsiteX310" fmla="*/ 2261788 w 3024845"/>
                <a:gd name="connsiteY310" fmla="*/ 399929 h 834218"/>
                <a:gd name="connsiteX311" fmla="*/ 2263815 w 3024845"/>
                <a:gd name="connsiteY311" fmla="*/ 408576 h 834218"/>
                <a:gd name="connsiteX312" fmla="*/ 2275975 w 3024845"/>
                <a:gd name="connsiteY312" fmla="*/ 408576 h 834218"/>
                <a:gd name="connsiteX313" fmla="*/ 2275975 w 3024845"/>
                <a:gd name="connsiteY313" fmla="*/ 402090 h 834218"/>
                <a:gd name="connsiteX314" fmla="*/ 2298268 w 3024845"/>
                <a:gd name="connsiteY314" fmla="*/ 402090 h 834218"/>
                <a:gd name="connsiteX315" fmla="*/ 2298268 w 3024845"/>
                <a:gd name="connsiteY315" fmla="*/ 408576 h 834218"/>
                <a:gd name="connsiteX316" fmla="*/ 2318535 w 3024845"/>
                <a:gd name="connsiteY316" fmla="*/ 408576 h 834218"/>
                <a:gd name="connsiteX317" fmla="*/ 2318535 w 3024845"/>
                <a:gd name="connsiteY317" fmla="*/ 453973 h 834218"/>
                <a:gd name="connsiteX318" fmla="*/ 2332722 w 3024845"/>
                <a:gd name="connsiteY318" fmla="*/ 453973 h 834218"/>
                <a:gd name="connsiteX319" fmla="*/ 2332722 w 3024845"/>
                <a:gd name="connsiteY319" fmla="*/ 441002 h 834218"/>
                <a:gd name="connsiteX320" fmla="*/ 2348936 w 3024845"/>
                <a:gd name="connsiteY320" fmla="*/ 441002 h 834218"/>
                <a:gd name="connsiteX321" fmla="*/ 2348936 w 3024845"/>
                <a:gd name="connsiteY321" fmla="*/ 261575 h 834218"/>
                <a:gd name="connsiteX322" fmla="*/ 2355016 w 3024845"/>
                <a:gd name="connsiteY322" fmla="*/ 255089 h 834218"/>
                <a:gd name="connsiteX323" fmla="*/ 2427977 w 3024845"/>
                <a:gd name="connsiteY323" fmla="*/ 255089 h 834218"/>
                <a:gd name="connsiteX324" fmla="*/ 2427977 w 3024845"/>
                <a:gd name="connsiteY324" fmla="*/ 263737 h 834218"/>
                <a:gd name="connsiteX325" fmla="*/ 2438110 w 3024845"/>
                <a:gd name="connsiteY325" fmla="*/ 263737 h 834218"/>
                <a:gd name="connsiteX326" fmla="*/ 2438110 w 3024845"/>
                <a:gd name="connsiteY326" fmla="*/ 378311 h 834218"/>
                <a:gd name="connsiteX327" fmla="*/ 2460404 w 3024845"/>
                <a:gd name="connsiteY327" fmla="*/ 378311 h 834218"/>
                <a:gd name="connsiteX328" fmla="*/ 2460404 w 3024845"/>
                <a:gd name="connsiteY328" fmla="*/ 311296 h 834218"/>
                <a:gd name="connsiteX329" fmla="*/ 2486751 w 3024845"/>
                <a:gd name="connsiteY329" fmla="*/ 311296 h 834218"/>
                <a:gd name="connsiteX330" fmla="*/ 2490804 w 3024845"/>
                <a:gd name="connsiteY330" fmla="*/ 306972 h 834218"/>
                <a:gd name="connsiteX331" fmla="*/ 2498911 w 3024845"/>
                <a:gd name="connsiteY331" fmla="*/ 306972 h 834218"/>
                <a:gd name="connsiteX332" fmla="*/ 2502964 w 3024845"/>
                <a:gd name="connsiteY332" fmla="*/ 311296 h 834218"/>
                <a:gd name="connsiteX333" fmla="*/ 2525258 w 3024845"/>
                <a:gd name="connsiteY333" fmla="*/ 311296 h 834218"/>
                <a:gd name="connsiteX334" fmla="*/ 2525258 w 3024845"/>
                <a:gd name="connsiteY334" fmla="*/ 194560 h 834218"/>
                <a:gd name="connsiteX335" fmla="*/ 2582005 w 3024845"/>
                <a:gd name="connsiteY335" fmla="*/ 183751 h 834218"/>
                <a:gd name="connsiteX336" fmla="*/ 2582005 w 3024845"/>
                <a:gd name="connsiteY336" fmla="*/ 184832 h 834218"/>
                <a:gd name="connsiteX337" fmla="*/ 2582005 w 3024845"/>
                <a:gd name="connsiteY337" fmla="*/ 192398 h 834218"/>
                <a:gd name="connsiteX338" fmla="*/ 2608352 w 3024845"/>
                <a:gd name="connsiteY338" fmla="*/ 192398 h 834218"/>
                <a:gd name="connsiteX339" fmla="*/ 2608352 w 3024845"/>
                <a:gd name="connsiteY339" fmla="*/ 447488 h 834218"/>
                <a:gd name="connsiteX340" fmla="*/ 2630646 w 3024845"/>
                <a:gd name="connsiteY340" fmla="*/ 447488 h 834218"/>
                <a:gd name="connsiteX341" fmla="*/ 2630646 w 3024845"/>
                <a:gd name="connsiteY341" fmla="*/ 443164 h 834218"/>
                <a:gd name="connsiteX342" fmla="*/ 2642806 w 3024845"/>
                <a:gd name="connsiteY342" fmla="*/ 443164 h 834218"/>
                <a:gd name="connsiteX343" fmla="*/ 2642806 w 3024845"/>
                <a:gd name="connsiteY343" fmla="*/ 447488 h 834218"/>
                <a:gd name="connsiteX344" fmla="*/ 2667126 w 3024845"/>
                <a:gd name="connsiteY344" fmla="*/ 447488 h 834218"/>
                <a:gd name="connsiteX345" fmla="*/ 2667126 w 3024845"/>
                <a:gd name="connsiteY345" fmla="*/ 434517 h 834218"/>
                <a:gd name="connsiteX346" fmla="*/ 2695500 w 3024845"/>
                <a:gd name="connsiteY346" fmla="*/ 434517 h 834218"/>
                <a:gd name="connsiteX347" fmla="*/ 2707660 w 3024845"/>
                <a:gd name="connsiteY347" fmla="*/ 430193 h 834218"/>
                <a:gd name="connsiteX348" fmla="*/ 2727927 w 3024845"/>
                <a:gd name="connsiteY348" fmla="*/ 434517 h 834218"/>
                <a:gd name="connsiteX349" fmla="*/ 2727927 w 3024845"/>
                <a:gd name="connsiteY349" fmla="*/ 417223 h 834218"/>
                <a:gd name="connsiteX350" fmla="*/ 2736034 w 3024845"/>
                <a:gd name="connsiteY350" fmla="*/ 417223 h 834218"/>
                <a:gd name="connsiteX351" fmla="*/ 2736034 w 3024845"/>
                <a:gd name="connsiteY351" fmla="*/ 404252 h 834218"/>
                <a:gd name="connsiteX352" fmla="*/ 2792781 w 3024845"/>
                <a:gd name="connsiteY352" fmla="*/ 404252 h 834218"/>
                <a:gd name="connsiteX353" fmla="*/ 2792781 w 3024845"/>
                <a:gd name="connsiteY353" fmla="*/ 373987 h 834218"/>
                <a:gd name="connsiteX354" fmla="*/ 2811021 w 3024845"/>
                <a:gd name="connsiteY354" fmla="*/ 373987 h 834218"/>
                <a:gd name="connsiteX355" fmla="*/ 2811021 w 3024845"/>
                <a:gd name="connsiteY355" fmla="*/ 367502 h 834218"/>
                <a:gd name="connsiteX356" fmla="*/ 2823181 w 3024845"/>
                <a:gd name="connsiteY356" fmla="*/ 367502 h 834218"/>
                <a:gd name="connsiteX357" fmla="*/ 2823181 w 3024845"/>
                <a:gd name="connsiteY357" fmla="*/ 373987 h 834218"/>
                <a:gd name="connsiteX358" fmla="*/ 2839395 w 3024845"/>
                <a:gd name="connsiteY358" fmla="*/ 373987 h 834218"/>
                <a:gd name="connsiteX359" fmla="*/ 2839395 w 3024845"/>
                <a:gd name="connsiteY359" fmla="*/ 423708 h 834218"/>
                <a:gd name="connsiteX360" fmla="*/ 2871822 w 3024845"/>
                <a:gd name="connsiteY360" fmla="*/ 423708 h 834218"/>
                <a:gd name="connsiteX361" fmla="*/ 2871822 w 3024845"/>
                <a:gd name="connsiteY361" fmla="*/ 397767 h 834218"/>
                <a:gd name="connsiteX362" fmla="*/ 2910329 w 3024845"/>
                <a:gd name="connsiteY362" fmla="*/ 397767 h 834218"/>
                <a:gd name="connsiteX363" fmla="*/ 2910329 w 3024845"/>
                <a:gd name="connsiteY363" fmla="*/ 367502 h 834218"/>
                <a:gd name="connsiteX364" fmla="*/ 2958970 w 3024845"/>
                <a:gd name="connsiteY364" fmla="*/ 367502 h 834218"/>
                <a:gd name="connsiteX365" fmla="*/ 2958970 w 3024845"/>
                <a:gd name="connsiteY365" fmla="*/ 478658 h 834218"/>
                <a:gd name="connsiteX366" fmla="*/ 2958970 w 3024845"/>
                <a:gd name="connsiteY366" fmla="*/ 492437 h 834218"/>
                <a:gd name="connsiteX367" fmla="*/ 3024845 w 3024845"/>
                <a:gd name="connsiteY367" fmla="*/ 492437 h 834218"/>
                <a:gd name="connsiteX368" fmla="*/ 3024845 w 3024845"/>
                <a:gd name="connsiteY368" fmla="*/ 834218 h 834218"/>
                <a:gd name="connsiteX369" fmla="*/ 2054 w 3024845"/>
                <a:gd name="connsiteY369" fmla="*/ 831885 h 834218"/>
                <a:gd name="connsiteX370" fmla="*/ 0 w 3024845"/>
                <a:gd name="connsiteY370" fmla="*/ 397767 h 834218"/>
                <a:gd name="connsiteX371" fmla="*/ 20267 w 3024845"/>
                <a:gd name="connsiteY371" fmla="*/ 397767 h 834218"/>
                <a:gd name="connsiteX372" fmla="*/ 20774 w 3024845"/>
                <a:gd name="connsiteY372" fmla="*/ 396686 h 834218"/>
                <a:gd name="connsiteX373" fmla="*/ 24320 w 3024845"/>
                <a:gd name="connsiteY373" fmla="*/ 389120 h 834218"/>
                <a:gd name="connsiteX374" fmla="*/ 26094 w 3024845"/>
                <a:gd name="connsiteY374" fmla="*/ 389390 h 834218"/>
                <a:gd name="connsiteX375" fmla="*/ 38507 w 3024845"/>
                <a:gd name="connsiteY375" fmla="*/ 391281 h 834218"/>
                <a:gd name="connsiteX376" fmla="*/ 39014 w 3024845"/>
                <a:gd name="connsiteY376" fmla="*/ 392633 h 834218"/>
                <a:gd name="connsiteX377" fmla="*/ 42560 w 3024845"/>
                <a:gd name="connsiteY377" fmla="*/ 402090 h 834218"/>
                <a:gd name="connsiteX378" fmla="*/ 68907 w 3024845"/>
                <a:gd name="connsiteY378" fmla="*/ 404252 h 834218"/>
                <a:gd name="connsiteX379" fmla="*/ 68907 w 3024845"/>
                <a:gd name="connsiteY379" fmla="*/ 281031 h 834218"/>
                <a:gd name="connsiteX380" fmla="*/ 70934 w 3024845"/>
                <a:gd name="connsiteY380" fmla="*/ 281031 h 834218"/>
                <a:gd name="connsiteX381" fmla="*/ 85121 w 3024845"/>
                <a:gd name="connsiteY381" fmla="*/ 281031 h 834218"/>
                <a:gd name="connsiteX382" fmla="*/ 85121 w 3024845"/>
                <a:gd name="connsiteY382" fmla="*/ 144839 h 834218"/>
                <a:gd name="connsiteX383" fmla="*/ 86894 w 3024845"/>
                <a:gd name="connsiteY383" fmla="*/ 144839 h 834218"/>
                <a:gd name="connsiteX384" fmla="*/ 99308 w 3024845"/>
                <a:gd name="connsiteY384" fmla="*/ 144839 h 834218"/>
                <a:gd name="connsiteX385" fmla="*/ 99308 w 3024845"/>
                <a:gd name="connsiteY385" fmla="*/ 30265 h 834218"/>
                <a:gd name="connsiteX386" fmla="*/ 103361 w 3024845"/>
                <a:gd name="connsiteY386" fmla="*/ 2161 h 834218"/>
                <a:gd name="connsiteX0" fmla="*/ 99308 w 3024845"/>
                <a:gd name="connsiteY0" fmla="*/ 36988 h 840941"/>
                <a:gd name="connsiteX1" fmla="*/ 200642 w 3024845"/>
                <a:gd name="connsiteY1" fmla="*/ 6723 h 840941"/>
                <a:gd name="connsiteX2" fmla="*/ 220909 w 3024845"/>
                <a:gd name="connsiteY2" fmla="*/ 151562 h 840941"/>
                <a:gd name="connsiteX3" fmla="*/ 223189 w 3024845"/>
                <a:gd name="connsiteY3" fmla="*/ 151562 h 840941"/>
                <a:gd name="connsiteX4" fmla="*/ 239150 w 3024845"/>
                <a:gd name="connsiteY4" fmla="*/ 151562 h 840941"/>
                <a:gd name="connsiteX5" fmla="*/ 239150 w 3024845"/>
                <a:gd name="connsiteY5" fmla="*/ 292077 h 840941"/>
                <a:gd name="connsiteX6" fmla="*/ 240670 w 3024845"/>
                <a:gd name="connsiteY6" fmla="*/ 291807 h 840941"/>
                <a:gd name="connsiteX7" fmla="*/ 251310 w 3024845"/>
                <a:gd name="connsiteY7" fmla="*/ 289916 h 840941"/>
                <a:gd name="connsiteX8" fmla="*/ 249283 w 3024845"/>
                <a:gd name="connsiteY8" fmla="*/ 378548 h 840941"/>
                <a:gd name="connsiteX9" fmla="*/ 250803 w 3024845"/>
                <a:gd name="connsiteY9" fmla="*/ 378819 h 840941"/>
                <a:gd name="connsiteX10" fmla="*/ 261443 w 3024845"/>
                <a:gd name="connsiteY10" fmla="*/ 380710 h 840941"/>
                <a:gd name="connsiteX11" fmla="*/ 261696 w 3024845"/>
                <a:gd name="connsiteY11" fmla="*/ 381521 h 840941"/>
                <a:gd name="connsiteX12" fmla="*/ 263470 w 3024845"/>
                <a:gd name="connsiteY12" fmla="*/ 387196 h 840941"/>
                <a:gd name="connsiteX13" fmla="*/ 264230 w 3024845"/>
                <a:gd name="connsiteY13" fmla="*/ 384764 h 840941"/>
                <a:gd name="connsiteX14" fmla="*/ 269550 w 3024845"/>
                <a:gd name="connsiteY14" fmla="*/ 367740 h 840941"/>
                <a:gd name="connsiteX15" fmla="*/ 271323 w 3024845"/>
                <a:gd name="connsiteY15" fmla="*/ 367740 h 840941"/>
                <a:gd name="connsiteX16" fmla="*/ 283737 w 3024845"/>
                <a:gd name="connsiteY16" fmla="*/ 367740 h 840941"/>
                <a:gd name="connsiteX17" fmla="*/ 283737 w 3024845"/>
                <a:gd name="connsiteY17" fmla="*/ 400166 h 840941"/>
                <a:gd name="connsiteX18" fmla="*/ 284750 w 3024845"/>
                <a:gd name="connsiteY18" fmla="*/ 400707 h 840941"/>
                <a:gd name="connsiteX19" fmla="*/ 291844 w 3024845"/>
                <a:gd name="connsiteY19" fmla="*/ 404490 h 840941"/>
                <a:gd name="connsiteX20" fmla="*/ 291844 w 3024845"/>
                <a:gd name="connsiteY20" fmla="*/ 405841 h 840941"/>
                <a:gd name="connsiteX21" fmla="*/ 291844 w 3024845"/>
                <a:gd name="connsiteY21" fmla="*/ 415299 h 840941"/>
                <a:gd name="connsiteX22" fmla="*/ 336431 w 3024845"/>
                <a:gd name="connsiteY22" fmla="*/ 415299 h 840941"/>
                <a:gd name="connsiteX23" fmla="*/ 336431 w 3024845"/>
                <a:gd name="connsiteY23" fmla="*/ 416380 h 840941"/>
                <a:gd name="connsiteX24" fmla="*/ 336431 w 3024845"/>
                <a:gd name="connsiteY24" fmla="*/ 423946 h 840941"/>
                <a:gd name="connsiteX25" fmla="*/ 338457 w 3024845"/>
                <a:gd name="connsiteY25" fmla="*/ 423946 h 840941"/>
                <a:gd name="connsiteX26" fmla="*/ 352644 w 3024845"/>
                <a:gd name="connsiteY26" fmla="*/ 423946 h 840941"/>
                <a:gd name="connsiteX27" fmla="*/ 352644 w 3024845"/>
                <a:gd name="connsiteY27" fmla="*/ 393681 h 840941"/>
                <a:gd name="connsiteX28" fmla="*/ 397231 w 3024845"/>
                <a:gd name="connsiteY28" fmla="*/ 393681 h 840941"/>
                <a:gd name="connsiteX29" fmla="*/ 397231 w 3024845"/>
                <a:gd name="connsiteY29" fmla="*/ 392330 h 840941"/>
                <a:gd name="connsiteX30" fmla="*/ 397231 w 3024845"/>
                <a:gd name="connsiteY30" fmla="*/ 382872 h 840941"/>
                <a:gd name="connsiteX31" fmla="*/ 398245 w 3024845"/>
                <a:gd name="connsiteY31" fmla="*/ 382872 h 840941"/>
                <a:gd name="connsiteX32" fmla="*/ 405338 w 3024845"/>
                <a:gd name="connsiteY32" fmla="*/ 382872 h 840941"/>
                <a:gd name="connsiteX33" fmla="*/ 405338 w 3024845"/>
                <a:gd name="connsiteY33" fmla="*/ 380981 h 840941"/>
                <a:gd name="connsiteX34" fmla="*/ 405338 w 3024845"/>
                <a:gd name="connsiteY34" fmla="*/ 367740 h 840941"/>
                <a:gd name="connsiteX35" fmla="*/ 406098 w 3024845"/>
                <a:gd name="connsiteY35" fmla="*/ 367740 h 840941"/>
                <a:gd name="connsiteX36" fmla="*/ 411418 w 3024845"/>
                <a:gd name="connsiteY36" fmla="*/ 367740 h 840941"/>
                <a:gd name="connsiteX37" fmla="*/ 411418 w 3024845"/>
                <a:gd name="connsiteY37" fmla="*/ 366659 h 840941"/>
                <a:gd name="connsiteX38" fmla="*/ 411418 w 3024845"/>
                <a:gd name="connsiteY38" fmla="*/ 359092 h 840941"/>
                <a:gd name="connsiteX39" fmla="*/ 413445 w 3024845"/>
                <a:gd name="connsiteY39" fmla="*/ 359092 h 840941"/>
                <a:gd name="connsiteX40" fmla="*/ 427632 w 3024845"/>
                <a:gd name="connsiteY40" fmla="*/ 359092 h 840941"/>
                <a:gd name="connsiteX41" fmla="*/ 427632 w 3024845"/>
                <a:gd name="connsiteY41" fmla="*/ 360173 h 840941"/>
                <a:gd name="connsiteX42" fmla="*/ 427632 w 3024845"/>
                <a:gd name="connsiteY42" fmla="*/ 367740 h 840941"/>
                <a:gd name="connsiteX43" fmla="*/ 449925 w 3024845"/>
                <a:gd name="connsiteY43" fmla="*/ 367740 h 840941"/>
                <a:gd name="connsiteX44" fmla="*/ 449925 w 3024845"/>
                <a:gd name="connsiteY44" fmla="*/ 365848 h 840941"/>
                <a:gd name="connsiteX45" fmla="*/ 449925 w 3024845"/>
                <a:gd name="connsiteY45" fmla="*/ 352607 h 840941"/>
                <a:gd name="connsiteX46" fmla="*/ 451699 w 3024845"/>
                <a:gd name="connsiteY46" fmla="*/ 352607 h 840941"/>
                <a:gd name="connsiteX47" fmla="*/ 464112 w 3024845"/>
                <a:gd name="connsiteY47" fmla="*/ 352607 h 840941"/>
                <a:gd name="connsiteX48" fmla="*/ 464112 w 3024845"/>
                <a:gd name="connsiteY48" fmla="*/ 376387 h 840941"/>
                <a:gd name="connsiteX49" fmla="*/ 465126 w 3024845"/>
                <a:gd name="connsiteY49" fmla="*/ 376387 h 840941"/>
                <a:gd name="connsiteX50" fmla="*/ 472219 w 3024845"/>
                <a:gd name="connsiteY50" fmla="*/ 376387 h 840941"/>
                <a:gd name="connsiteX51" fmla="*/ 472219 w 3024845"/>
                <a:gd name="connsiteY51" fmla="*/ 375306 h 840941"/>
                <a:gd name="connsiteX52" fmla="*/ 472219 w 3024845"/>
                <a:gd name="connsiteY52" fmla="*/ 367740 h 840941"/>
                <a:gd name="connsiteX53" fmla="*/ 473992 w 3024845"/>
                <a:gd name="connsiteY53" fmla="*/ 367740 h 840941"/>
                <a:gd name="connsiteX54" fmla="*/ 486406 w 3024845"/>
                <a:gd name="connsiteY54" fmla="*/ 367740 h 840941"/>
                <a:gd name="connsiteX55" fmla="*/ 486406 w 3024845"/>
                <a:gd name="connsiteY55" fmla="*/ 393681 h 840941"/>
                <a:gd name="connsiteX56" fmla="*/ 488433 w 3024845"/>
                <a:gd name="connsiteY56" fmla="*/ 393681 h 840941"/>
                <a:gd name="connsiteX57" fmla="*/ 502619 w 3024845"/>
                <a:gd name="connsiteY57" fmla="*/ 393681 h 840941"/>
                <a:gd name="connsiteX58" fmla="*/ 502619 w 3024845"/>
                <a:gd name="connsiteY58" fmla="*/ 395302 h 840941"/>
                <a:gd name="connsiteX59" fmla="*/ 502619 w 3024845"/>
                <a:gd name="connsiteY59" fmla="*/ 406652 h 840941"/>
                <a:gd name="connsiteX60" fmla="*/ 503379 w 3024845"/>
                <a:gd name="connsiteY60" fmla="*/ 406652 h 840941"/>
                <a:gd name="connsiteX61" fmla="*/ 508700 w 3024845"/>
                <a:gd name="connsiteY61" fmla="*/ 406652 h 840941"/>
                <a:gd name="connsiteX62" fmla="*/ 508700 w 3024845"/>
                <a:gd name="connsiteY62" fmla="*/ 405841 h 840941"/>
                <a:gd name="connsiteX63" fmla="*/ 508700 w 3024845"/>
                <a:gd name="connsiteY63" fmla="*/ 400166 h 840941"/>
                <a:gd name="connsiteX64" fmla="*/ 539100 w 3024845"/>
                <a:gd name="connsiteY64" fmla="*/ 400166 h 840941"/>
                <a:gd name="connsiteX65" fmla="*/ 539100 w 3024845"/>
                <a:gd name="connsiteY65" fmla="*/ 423946 h 840941"/>
                <a:gd name="connsiteX66" fmla="*/ 540113 w 3024845"/>
                <a:gd name="connsiteY66" fmla="*/ 423946 h 840941"/>
                <a:gd name="connsiteX67" fmla="*/ 547207 w 3024845"/>
                <a:gd name="connsiteY67" fmla="*/ 423946 h 840941"/>
                <a:gd name="connsiteX68" fmla="*/ 547207 w 3024845"/>
                <a:gd name="connsiteY68" fmla="*/ 425027 h 840941"/>
                <a:gd name="connsiteX69" fmla="*/ 547207 w 3024845"/>
                <a:gd name="connsiteY69" fmla="*/ 432593 h 840941"/>
                <a:gd name="connsiteX70" fmla="*/ 547967 w 3024845"/>
                <a:gd name="connsiteY70" fmla="*/ 432593 h 840941"/>
                <a:gd name="connsiteX71" fmla="*/ 553287 w 3024845"/>
                <a:gd name="connsiteY71" fmla="*/ 432593 h 840941"/>
                <a:gd name="connsiteX72" fmla="*/ 553287 w 3024845"/>
                <a:gd name="connsiteY72" fmla="*/ 430431 h 840941"/>
                <a:gd name="connsiteX73" fmla="*/ 553287 w 3024845"/>
                <a:gd name="connsiteY73" fmla="*/ 415299 h 840941"/>
                <a:gd name="connsiteX74" fmla="*/ 554300 w 3024845"/>
                <a:gd name="connsiteY74" fmla="*/ 415299 h 840941"/>
                <a:gd name="connsiteX75" fmla="*/ 561394 w 3024845"/>
                <a:gd name="connsiteY75" fmla="*/ 415299 h 840941"/>
                <a:gd name="connsiteX76" fmla="*/ 561394 w 3024845"/>
                <a:gd name="connsiteY76" fmla="*/ 416380 h 840941"/>
                <a:gd name="connsiteX77" fmla="*/ 561394 w 3024845"/>
                <a:gd name="connsiteY77" fmla="*/ 423946 h 840941"/>
                <a:gd name="connsiteX78" fmla="*/ 566714 w 3024845"/>
                <a:gd name="connsiteY78" fmla="*/ 421953 h 840941"/>
                <a:gd name="connsiteX79" fmla="*/ 567474 w 3024845"/>
                <a:gd name="connsiteY79" fmla="*/ 420973 h 840941"/>
                <a:gd name="connsiteX80" fmla="*/ 567474 w 3024845"/>
                <a:gd name="connsiteY80" fmla="*/ 415299 h 840941"/>
                <a:gd name="connsiteX81" fmla="*/ 605981 w 3024845"/>
                <a:gd name="connsiteY81" fmla="*/ 415299 h 840941"/>
                <a:gd name="connsiteX82" fmla="*/ 605981 w 3024845"/>
                <a:gd name="connsiteY82" fmla="*/ 439078 h 840941"/>
                <a:gd name="connsiteX83" fmla="*/ 608007 w 3024845"/>
                <a:gd name="connsiteY83" fmla="*/ 439078 h 840941"/>
                <a:gd name="connsiteX84" fmla="*/ 622194 w 3024845"/>
                <a:gd name="connsiteY84" fmla="*/ 439078 h 840941"/>
                <a:gd name="connsiteX85" fmla="*/ 622194 w 3024845"/>
                <a:gd name="connsiteY85" fmla="*/ 440159 h 840941"/>
                <a:gd name="connsiteX86" fmla="*/ 622194 w 3024845"/>
                <a:gd name="connsiteY86" fmla="*/ 447725 h 840941"/>
                <a:gd name="connsiteX87" fmla="*/ 623968 w 3024845"/>
                <a:gd name="connsiteY87" fmla="*/ 447725 h 840941"/>
                <a:gd name="connsiteX88" fmla="*/ 636381 w 3024845"/>
                <a:gd name="connsiteY88" fmla="*/ 447725 h 840941"/>
                <a:gd name="connsiteX89" fmla="*/ 636381 w 3024845"/>
                <a:gd name="connsiteY89" fmla="*/ 423946 h 840941"/>
                <a:gd name="connsiteX90" fmla="*/ 637394 w 3024845"/>
                <a:gd name="connsiteY90" fmla="*/ 423946 h 840941"/>
                <a:gd name="connsiteX91" fmla="*/ 644488 w 3024845"/>
                <a:gd name="connsiteY91" fmla="*/ 423946 h 840941"/>
                <a:gd name="connsiteX92" fmla="*/ 644488 w 3024845"/>
                <a:gd name="connsiteY92" fmla="*/ 391519 h 840941"/>
                <a:gd name="connsiteX93" fmla="*/ 645501 w 3024845"/>
                <a:gd name="connsiteY93" fmla="*/ 391519 h 840941"/>
                <a:gd name="connsiteX94" fmla="*/ 652595 w 3024845"/>
                <a:gd name="connsiteY94" fmla="*/ 391519 h 840941"/>
                <a:gd name="connsiteX95" fmla="*/ 652595 w 3024845"/>
                <a:gd name="connsiteY95" fmla="*/ 389628 h 840941"/>
                <a:gd name="connsiteX96" fmla="*/ 652595 w 3024845"/>
                <a:gd name="connsiteY96" fmla="*/ 376387 h 840941"/>
                <a:gd name="connsiteX97" fmla="*/ 651328 w 3024845"/>
                <a:gd name="connsiteY97" fmla="*/ 374765 h 840941"/>
                <a:gd name="connsiteX98" fmla="*/ 656648 w 3024845"/>
                <a:gd name="connsiteY98" fmla="*/ 363416 h 840941"/>
                <a:gd name="connsiteX99" fmla="*/ 664755 w 3024845"/>
                <a:gd name="connsiteY99" fmla="*/ 391519 h 840941"/>
                <a:gd name="connsiteX100" fmla="*/ 665515 w 3024845"/>
                <a:gd name="connsiteY100" fmla="*/ 391519 h 840941"/>
                <a:gd name="connsiteX101" fmla="*/ 670835 w 3024845"/>
                <a:gd name="connsiteY101" fmla="*/ 391519 h 840941"/>
                <a:gd name="connsiteX102" fmla="*/ 670835 w 3024845"/>
                <a:gd name="connsiteY102" fmla="*/ 285592 h 840941"/>
                <a:gd name="connsiteX103" fmla="*/ 672355 w 3024845"/>
                <a:gd name="connsiteY103" fmla="*/ 285592 h 840941"/>
                <a:gd name="connsiteX104" fmla="*/ 682995 w 3024845"/>
                <a:gd name="connsiteY104" fmla="*/ 285592 h 840941"/>
                <a:gd name="connsiteX105" fmla="*/ 682995 w 3024845"/>
                <a:gd name="connsiteY105" fmla="*/ 238033 h 840941"/>
                <a:gd name="connsiteX106" fmla="*/ 709342 w 3024845"/>
                <a:gd name="connsiteY106" fmla="*/ 238033 h 840941"/>
                <a:gd name="connsiteX107" fmla="*/ 709342 w 3024845"/>
                <a:gd name="connsiteY107" fmla="*/ 216415 h 840941"/>
                <a:gd name="connsiteX108" fmla="*/ 743796 w 3024845"/>
                <a:gd name="connsiteY108" fmla="*/ 216415 h 840941"/>
                <a:gd name="connsiteX109" fmla="*/ 743796 w 3024845"/>
                <a:gd name="connsiteY109" fmla="*/ 218847 h 840941"/>
                <a:gd name="connsiteX110" fmla="*/ 743796 w 3024845"/>
                <a:gd name="connsiteY110" fmla="*/ 235871 h 840941"/>
                <a:gd name="connsiteX111" fmla="*/ 746076 w 3024845"/>
                <a:gd name="connsiteY111" fmla="*/ 235871 h 840941"/>
                <a:gd name="connsiteX112" fmla="*/ 762036 w 3024845"/>
                <a:gd name="connsiteY112" fmla="*/ 235871 h 840941"/>
                <a:gd name="connsiteX113" fmla="*/ 762036 w 3024845"/>
                <a:gd name="connsiteY113" fmla="*/ 283430 h 840941"/>
                <a:gd name="connsiteX114" fmla="*/ 763049 w 3024845"/>
                <a:gd name="connsiteY114" fmla="*/ 283430 h 840941"/>
                <a:gd name="connsiteX115" fmla="*/ 770143 w 3024845"/>
                <a:gd name="connsiteY115" fmla="*/ 283430 h 840941"/>
                <a:gd name="connsiteX116" fmla="*/ 784330 w 3024845"/>
                <a:gd name="connsiteY116" fmla="*/ 287754 h 840941"/>
                <a:gd name="connsiteX117" fmla="*/ 784330 w 3024845"/>
                <a:gd name="connsiteY117" fmla="*/ 326666 h 840941"/>
                <a:gd name="connsiteX118" fmla="*/ 785343 w 3024845"/>
                <a:gd name="connsiteY118" fmla="*/ 326666 h 840941"/>
                <a:gd name="connsiteX119" fmla="*/ 792436 w 3024845"/>
                <a:gd name="connsiteY119" fmla="*/ 326666 h 840941"/>
                <a:gd name="connsiteX120" fmla="*/ 792436 w 3024845"/>
                <a:gd name="connsiteY120" fmla="*/ 328287 h 840941"/>
                <a:gd name="connsiteX121" fmla="*/ 792436 w 3024845"/>
                <a:gd name="connsiteY121" fmla="*/ 339636 h 840941"/>
                <a:gd name="connsiteX122" fmla="*/ 794463 w 3024845"/>
                <a:gd name="connsiteY122" fmla="*/ 339636 h 840941"/>
                <a:gd name="connsiteX123" fmla="*/ 808650 w 3024845"/>
                <a:gd name="connsiteY123" fmla="*/ 339636 h 840941"/>
                <a:gd name="connsiteX124" fmla="*/ 814730 w 3024845"/>
                <a:gd name="connsiteY124" fmla="*/ 346122 h 840941"/>
                <a:gd name="connsiteX125" fmla="*/ 814730 w 3024845"/>
                <a:gd name="connsiteY125" fmla="*/ 367740 h 840941"/>
                <a:gd name="connsiteX126" fmla="*/ 817010 w 3024845"/>
                <a:gd name="connsiteY126" fmla="*/ 367740 h 840941"/>
                <a:gd name="connsiteX127" fmla="*/ 832970 w 3024845"/>
                <a:gd name="connsiteY127" fmla="*/ 367740 h 840941"/>
                <a:gd name="connsiteX128" fmla="*/ 832970 w 3024845"/>
                <a:gd name="connsiteY128" fmla="*/ 368820 h 840941"/>
                <a:gd name="connsiteX129" fmla="*/ 832970 w 3024845"/>
                <a:gd name="connsiteY129" fmla="*/ 376387 h 840941"/>
                <a:gd name="connsiteX130" fmla="*/ 834237 w 3024845"/>
                <a:gd name="connsiteY130" fmla="*/ 376387 h 840941"/>
                <a:gd name="connsiteX131" fmla="*/ 843104 w 3024845"/>
                <a:gd name="connsiteY131" fmla="*/ 376387 h 840941"/>
                <a:gd name="connsiteX132" fmla="*/ 843104 w 3024845"/>
                <a:gd name="connsiteY132" fmla="*/ 378548 h 840941"/>
                <a:gd name="connsiteX133" fmla="*/ 843104 w 3024845"/>
                <a:gd name="connsiteY133" fmla="*/ 393681 h 840941"/>
                <a:gd name="connsiteX134" fmla="*/ 847157 w 3024845"/>
                <a:gd name="connsiteY134" fmla="*/ 391789 h 840941"/>
                <a:gd name="connsiteX135" fmla="*/ 847157 w 3024845"/>
                <a:gd name="connsiteY135" fmla="*/ 378548 h 840941"/>
                <a:gd name="connsiteX136" fmla="*/ 848170 w 3024845"/>
                <a:gd name="connsiteY136" fmla="*/ 378548 h 840941"/>
                <a:gd name="connsiteX137" fmla="*/ 855264 w 3024845"/>
                <a:gd name="connsiteY137" fmla="*/ 378548 h 840941"/>
                <a:gd name="connsiteX138" fmla="*/ 855264 w 3024845"/>
                <a:gd name="connsiteY138" fmla="*/ 380170 h 840941"/>
                <a:gd name="connsiteX139" fmla="*/ 855264 w 3024845"/>
                <a:gd name="connsiteY139" fmla="*/ 391519 h 840941"/>
                <a:gd name="connsiteX140" fmla="*/ 856024 w 3024845"/>
                <a:gd name="connsiteY140" fmla="*/ 391519 h 840941"/>
                <a:gd name="connsiteX141" fmla="*/ 861344 w 3024845"/>
                <a:gd name="connsiteY141" fmla="*/ 391519 h 840941"/>
                <a:gd name="connsiteX142" fmla="*/ 909984 w 3024845"/>
                <a:gd name="connsiteY142" fmla="*/ 387196 h 840941"/>
                <a:gd name="connsiteX143" fmla="*/ 909984 w 3024845"/>
                <a:gd name="connsiteY143" fmla="*/ 388547 h 840941"/>
                <a:gd name="connsiteX144" fmla="*/ 909984 w 3024845"/>
                <a:gd name="connsiteY144" fmla="*/ 398004 h 840941"/>
                <a:gd name="connsiteX145" fmla="*/ 910744 w 3024845"/>
                <a:gd name="connsiteY145" fmla="*/ 398004 h 840941"/>
                <a:gd name="connsiteX146" fmla="*/ 916065 w 3024845"/>
                <a:gd name="connsiteY146" fmla="*/ 398004 h 840941"/>
                <a:gd name="connsiteX147" fmla="*/ 916065 w 3024845"/>
                <a:gd name="connsiteY147" fmla="*/ 400166 h 840941"/>
                <a:gd name="connsiteX148" fmla="*/ 916065 w 3024845"/>
                <a:gd name="connsiteY148" fmla="*/ 415299 h 840941"/>
                <a:gd name="connsiteX149" fmla="*/ 918091 w 3024845"/>
                <a:gd name="connsiteY149" fmla="*/ 413948 h 840941"/>
                <a:gd name="connsiteX150" fmla="*/ 932278 w 3024845"/>
                <a:gd name="connsiteY150" fmla="*/ 404490 h 840941"/>
                <a:gd name="connsiteX151" fmla="*/ 938358 w 3024845"/>
                <a:gd name="connsiteY151" fmla="*/ 363416 h 840941"/>
                <a:gd name="connsiteX152" fmla="*/ 939118 w 3024845"/>
                <a:gd name="connsiteY152" fmla="*/ 363146 h 840941"/>
                <a:gd name="connsiteX153" fmla="*/ 944438 w 3024845"/>
                <a:gd name="connsiteY153" fmla="*/ 361254 h 840941"/>
                <a:gd name="connsiteX154" fmla="*/ 946465 w 3024845"/>
                <a:gd name="connsiteY154" fmla="*/ 292077 h 840941"/>
                <a:gd name="connsiteX155" fmla="*/ 948492 w 3024845"/>
                <a:gd name="connsiteY155" fmla="*/ 361254 h 840941"/>
                <a:gd name="connsiteX156" fmla="*/ 949252 w 3024845"/>
                <a:gd name="connsiteY156" fmla="*/ 361524 h 840941"/>
                <a:gd name="connsiteX157" fmla="*/ 954572 w 3024845"/>
                <a:gd name="connsiteY157" fmla="*/ 363416 h 840941"/>
                <a:gd name="connsiteX158" fmla="*/ 954572 w 3024845"/>
                <a:gd name="connsiteY158" fmla="*/ 276945 h 840941"/>
                <a:gd name="connsiteX159" fmla="*/ 958625 w 3024845"/>
                <a:gd name="connsiteY159" fmla="*/ 244518 h 840941"/>
                <a:gd name="connsiteX160" fmla="*/ 997132 w 3024845"/>
                <a:gd name="connsiteY160" fmla="*/ 244518 h 840941"/>
                <a:gd name="connsiteX161" fmla="*/ 997132 w 3024845"/>
                <a:gd name="connsiteY161" fmla="*/ 276945 h 840941"/>
                <a:gd name="connsiteX162" fmla="*/ 997892 w 3024845"/>
                <a:gd name="connsiteY162" fmla="*/ 276945 h 840941"/>
                <a:gd name="connsiteX163" fmla="*/ 1003212 w 3024845"/>
                <a:gd name="connsiteY163" fmla="*/ 276945 h 840941"/>
                <a:gd name="connsiteX164" fmla="*/ 1003212 w 3024845"/>
                <a:gd name="connsiteY164" fmla="*/ 194797 h 840941"/>
                <a:gd name="connsiteX165" fmla="*/ 1004986 w 3024845"/>
                <a:gd name="connsiteY165" fmla="*/ 194797 h 840941"/>
                <a:gd name="connsiteX166" fmla="*/ 1017399 w 3024845"/>
                <a:gd name="connsiteY166" fmla="*/ 194797 h 840941"/>
                <a:gd name="connsiteX167" fmla="*/ 1017399 w 3024845"/>
                <a:gd name="connsiteY167" fmla="*/ 192906 h 840941"/>
                <a:gd name="connsiteX168" fmla="*/ 1017399 w 3024845"/>
                <a:gd name="connsiteY168" fmla="*/ 179665 h 840941"/>
                <a:gd name="connsiteX169" fmla="*/ 1039693 w 3024845"/>
                <a:gd name="connsiteY169" fmla="*/ 179665 h 840941"/>
                <a:gd name="connsiteX170" fmla="*/ 1039693 w 3024845"/>
                <a:gd name="connsiteY170" fmla="*/ 178584 h 840941"/>
                <a:gd name="connsiteX171" fmla="*/ 1039693 w 3024845"/>
                <a:gd name="connsiteY171" fmla="*/ 171018 h 840941"/>
                <a:gd name="connsiteX172" fmla="*/ 1041466 w 3024845"/>
                <a:gd name="connsiteY172" fmla="*/ 171018 h 840941"/>
                <a:gd name="connsiteX173" fmla="*/ 1053880 w 3024845"/>
                <a:gd name="connsiteY173" fmla="*/ 171018 h 840941"/>
                <a:gd name="connsiteX174" fmla="*/ 1053880 w 3024845"/>
                <a:gd name="connsiteY174" fmla="*/ 172099 h 840941"/>
                <a:gd name="connsiteX175" fmla="*/ 1053880 w 3024845"/>
                <a:gd name="connsiteY175" fmla="*/ 179665 h 840941"/>
                <a:gd name="connsiteX176" fmla="*/ 1054640 w 3024845"/>
                <a:gd name="connsiteY176" fmla="*/ 179665 h 840941"/>
                <a:gd name="connsiteX177" fmla="*/ 1059960 w 3024845"/>
                <a:gd name="connsiteY177" fmla="*/ 179665 h 840941"/>
                <a:gd name="connsiteX178" fmla="*/ 1070093 w 3024845"/>
                <a:gd name="connsiteY178" fmla="*/ 175341 h 840941"/>
                <a:gd name="connsiteX179" fmla="*/ 1074146 w 3024845"/>
                <a:gd name="connsiteY179" fmla="*/ 178584 h 840941"/>
                <a:gd name="connsiteX180" fmla="*/ 1074146 w 3024845"/>
                <a:gd name="connsiteY180" fmla="*/ 171018 h 840941"/>
                <a:gd name="connsiteX181" fmla="*/ 1076426 w 3024845"/>
                <a:gd name="connsiteY181" fmla="*/ 171018 h 840941"/>
                <a:gd name="connsiteX182" fmla="*/ 1092387 w 3024845"/>
                <a:gd name="connsiteY182" fmla="*/ 171018 h 840941"/>
                <a:gd name="connsiteX183" fmla="*/ 1092387 w 3024845"/>
                <a:gd name="connsiteY183" fmla="*/ 172099 h 840941"/>
                <a:gd name="connsiteX184" fmla="*/ 1092387 w 3024845"/>
                <a:gd name="connsiteY184" fmla="*/ 179665 h 840941"/>
                <a:gd name="connsiteX185" fmla="*/ 1122787 w 3024845"/>
                <a:gd name="connsiteY185" fmla="*/ 179665 h 840941"/>
                <a:gd name="connsiteX186" fmla="*/ 1122787 w 3024845"/>
                <a:gd name="connsiteY186" fmla="*/ 181286 h 840941"/>
                <a:gd name="connsiteX187" fmla="*/ 1122787 w 3024845"/>
                <a:gd name="connsiteY187" fmla="*/ 192636 h 840941"/>
                <a:gd name="connsiteX188" fmla="*/ 1149134 w 3024845"/>
                <a:gd name="connsiteY188" fmla="*/ 192636 h 840941"/>
                <a:gd name="connsiteX189" fmla="*/ 1149134 w 3024845"/>
                <a:gd name="connsiteY189" fmla="*/ 222900 h 840941"/>
                <a:gd name="connsiteX190" fmla="*/ 1149894 w 3024845"/>
                <a:gd name="connsiteY190" fmla="*/ 222900 h 840941"/>
                <a:gd name="connsiteX191" fmla="*/ 1155214 w 3024845"/>
                <a:gd name="connsiteY191" fmla="*/ 222900 h 840941"/>
                <a:gd name="connsiteX192" fmla="*/ 1155214 w 3024845"/>
                <a:gd name="connsiteY192" fmla="*/ 223981 h 840941"/>
                <a:gd name="connsiteX193" fmla="*/ 1155214 w 3024845"/>
                <a:gd name="connsiteY193" fmla="*/ 231548 h 840941"/>
                <a:gd name="connsiteX194" fmla="*/ 1159268 w 3024845"/>
                <a:gd name="connsiteY194" fmla="*/ 261812 h 840941"/>
                <a:gd name="connsiteX195" fmla="*/ 1160028 w 3024845"/>
                <a:gd name="connsiteY195" fmla="*/ 261812 h 840941"/>
                <a:gd name="connsiteX196" fmla="*/ 1165348 w 3024845"/>
                <a:gd name="connsiteY196" fmla="*/ 261812 h 840941"/>
                <a:gd name="connsiteX197" fmla="*/ 1165348 w 3024845"/>
                <a:gd name="connsiteY197" fmla="*/ 262623 h 840941"/>
                <a:gd name="connsiteX198" fmla="*/ 1165348 w 3024845"/>
                <a:gd name="connsiteY198" fmla="*/ 268298 h 840941"/>
                <a:gd name="connsiteX199" fmla="*/ 1166361 w 3024845"/>
                <a:gd name="connsiteY199" fmla="*/ 268298 h 840941"/>
                <a:gd name="connsiteX200" fmla="*/ 1173454 w 3024845"/>
                <a:gd name="connsiteY200" fmla="*/ 268298 h 840941"/>
                <a:gd name="connsiteX201" fmla="*/ 1173454 w 3024845"/>
                <a:gd name="connsiteY201" fmla="*/ 298563 h 840941"/>
                <a:gd name="connsiteX202" fmla="*/ 1175481 w 3024845"/>
                <a:gd name="connsiteY202" fmla="*/ 298563 h 840941"/>
                <a:gd name="connsiteX203" fmla="*/ 1189668 w 3024845"/>
                <a:gd name="connsiteY203" fmla="*/ 298563 h 840941"/>
                <a:gd name="connsiteX204" fmla="*/ 1189668 w 3024845"/>
                <a:gd name="connsiteY204" fmla="*/ 322342 h 840941"/>
                <a:gd name="connsiteX205" fmla="*/ 1191695 w 3024845"/>
                <a:gd name="connsiteY205" fmla="*/ 323963 h 840941"/>
                <a:gd name="connsiteX206" fmla="*/ 1191695 w 3024845"/>
                <a:gd name="connsiteY206" fmla="*/ 335313 h 840941"/>
                <a:gd name="connsiteX207" fmla="*/ 1192455 w 3024845"/>
                <a:gd name="connsiteY207" fmla="*/ 335313 h 840941"/>
                <a:gd name="connsiteX208" fmla="*/ 1197775 w 3024845"/>
                <a:gd name="connsiteY208" fmla="*/ 335313 h 840941"/>
                <a:gd name="connsiteX209" fmla="*/ 1197775 w 3024845"/>
                <a:gd name="connsiteY209" fmla="*/ 359092 h 840941"/>
                <a:gd name="connsiteX210" fmla="*/ 1199041 w 3024845"/>
                <a:gd name="connsiteY210" fmla="*/ 359092 h 840941"/>
                <a:gd name="connsiteX211" fmla="*/ 1207908 w 3024845"/>
                <a:gd name="connsiteY211" fmla="*/ 359092 h 840941"/>
                <a:gd name="connsiteX212" fmla="*/ 1209935 w 3024845"/>
                <a:gd name="connsiteY212" fmla="*/ 363146 h 840941"/>
                <a:gd name="connsiteX213" fmla="*/ 1209935 w 3024845"/>
                <a:gd name="connsiteY213" fmla="*/ 376387 h 840941"/>
                <a:gd name="connsiteX214" fmla="*/ 1211455 w 3024845"/>
                <a:gd name="connsiteY214" fmla="*/ 374495 h 840941"/>
                <a:gd name="connsiteX215" fmla="*/ 1222095 w 3024845"/>
                <a:gd name="connsiteY215" fmla="*/ 361254 h 840941"/>
                <a:gd name="connsiteX216" fmla="*/ 1250469 w 3024845"/>
                <a:gd name="connsiteY216" fmla="*/ 361254 h 840941"/>
                <a:gd name="connsiteX217" fmla="*/ 1250469 w 3024845"/>
                <a:gd name="connsiteY217" fmla="*/ 447725 h 840941"/>
                <a:gd name="connsiteX218" fmla="*/ 1251229 w 3024845"/>
                <a:gd name="connsiteY218" fmla="*/ 447725 h 840941"/>
                <a:gd name="connsiteX219" fmla="*/ 1256549 w 3024845"/>
                <a:gd name="connsiteY219" fmla="*/ 447725 h 840941"/>
                <a:gd name="connsiteX220" fmla="*/ 1257309 w 3024845"/>
                <a:gd name="connsiteY220" fmla="*/ 446374 h 840941"/>
                <a:gd name="connsiteX221" fmla="*/ 1262629 w 3024845"/>
                <a:gd name="connsiteY221" fmla="*/ 436916 h 840941"/>
                <a:gd name="connsiteX222" fmla="*/ 1262629 w 3024845"/>
                <a:gd name="connsiteY222" fmla="*/ 438808 h 840941"/>
                <a:gd name="connsiteX223" fmla="*/ 1262629 w 3024845"/>
                <a:gd name="connsiteY223" fmla="*/ 452049 h 840941"/>
                <a:gd name="connsiteX224" fmla="*/ 1266682 w 3024845"/>
                <a:gd name="connsiteY224" fmla="*/ 406652 h 840941"/>
                <a:gd name="connsiteX225" fmla="*/ 1267442 w 3024845"/>
                <a:gd name="connsiteY225" fmla="*/ 406652 h 840941"/>
                <a:gd name="connsiteX226" fmla="*/ 1272762 w 3024845"/>
                <a:gd name="connsiteY226" fmla="*/ 406652 h 840941"/>
                <a:gd name="connsiteX227" fmla="*/ 1272762 w 3024845"/>
                <a:gd name="connsiteY227" fmla="*/ 341798 h 840941"/>
                <a:gd name="connsiteX228" fmla="*/ 1273776 w 3024845"/>
                <a:gd name="connsiteY228" fmla="*/ 341798 h 840941"/>
                <a:gd name="connsiteX229" fmla="*/ 1280869 w 3024845"/>
                <a:gd name="connsiteY229" fmla="*/ 341798 h 840941"/>
                <a:gd name="connsiteX230" fmla="*/ 1293029 w 3024845"/>
                <a:gd name="connsiteY230" fmla="*/ 298563 h 840941"/>
                <a:gd name="connsiteX231" fmla="*/ 1294296 w 3024845"/>
                <a:gd name="connsiteY231" fmla="*/ 298563 h 840941"/>
                <a:gd name="connsiteX232" fmla="*/ 1303163 w 3024845"/>
                <a:gd name="connsiteY232" fmla="*/ 298563 h 840941"/>
                <a:gd name="connsiteX233" fmla="*/ 1313296 w 3024845"/>
                <a:gd name="connsiteY233" fmla="*/ 341798 h 840941"/>
                <a:gd name="connsiteX234" fmla="*/ 1314309 w 3024845"/>
                <a:gd name="connsiteY234" fmla="*/ 341798 h 840941"/>
                <a:gd name="connsiteX235" fmla="*/ 1321403 w 3024845"/>
                <a:gd name="connsiteY235" fmla="*/ 341798 h 840941"/>
                <a:gd name="connsiteX236" fmla="*/ 1321403 w 3024845"/>
                <a:gd name="connsiteY236" fmla="*/ 380710 h 840941"/>
                <a:gd name="connsiteX237" fmla="*/ 1323176 w 3024845"/>
                <a:gd name="connsiteY237" fmla="*/ 380710 h 840941"/>
                <a:gd name="connsiteX238" fmla="*/ 1335590 w 3024845"/>
                <a:gd name="connsiteY238" fmla="*/ 380710 h 840941"/>
                <a:gd name="connsiteX239" fmla="*/ 1335590 w 3024845"/>
                <a:gd name="connsiteY239" fmla="*/ 382872 h 840941"/>
                <a:gd name="connsiteX240" fmla="*/ 1335590 w 3024845"/>
                <a:gd name="connsiteY240" fmla="*/ 398004 h 840941"/>
                <a:gd name="connsiteX241" fmla="*/ 1339643 w 3024845"/>
                <a:gd name="connsiteY241" fmla="*/ 395843 h 840941"/>
                <a:gd name="connsiteX242" fmla="*/ 1339643 w 3024845"/>
                <a:gd name="connsiteY242" fmla="*/ 380710 h 840941"/>
                <a:gd name="connsiteX243" fmla="*/ 1341163 w 3024845"/>
                <a:gd name="connsiteY243" fmla="*/ 380710 h 840941"/>
                <a:gd name="connsiteX244" fmla="*/ 1351803 w 3024845"/>
                <a:gd name="connsiteY244" fmla="*/ 380710 h 840941"/>
                <a:gd name="connsiteX245" fmla="*/ 1351803 w 3024845"/>
                <a:gd name="connsiteY245" fmla="*/ 382331 h 840941"/>
                <a:gd name="connsiteX246" fmla="*/ 1351803 w 3024845"/>
                <a:gd name="connsiteY246" fmla="*/ 393681 h 840941"/>
                <a:gd name="connsiteX247" fmla="*/ 1382204 w 3024845"/>
                <a:gd name="connsiteY247" fmla="*/ 393681 h 840941"/>
                <a:gd name="connsiteX248" fmla="*/ 1382204 w 3024845"/>
                <a:gd name="connsiteY248" fmla="*/ 356931 h 840941"/>
                <a:gd name="connsiteX249" fmla="*/ 1383470 w 3024845"/>
                <a:gd name="connsiteY249" fmla="*/ 356931 h 840941"/>
                <a:gd name="connsiteX250" fmla="*/ 1392337 w 3024845"/>
                <a:gd name="connsiteY250" fmla="*/ 356931 h 840941"/>
                <a:gd name="connsiteX251" fmla="*/ 1392337 w 3024845"/>
                <a:gd name="connsiteY251" fmla="*/ 378548 h 840941"/>
                <a:gd name="connsiteX252" fmla="*/ 1394364 w 3024845"/>
                <a:gd name="connsiteY252" fmla="*/ 346122 h 840941"/>
                <a:gd name="connsiteX253" fmla="*/ 1416657 w 3024845"/>
                <a:gd name="connsiteY253" fmla="*/ 346122 h 840941"/>
                <a:gd name="connsiteX254" fmla="*/ 1416657 w 3024845"/>
                <a:gd name="connsiteY254" fmla="*/ 344500 h 840941"/>
                <a:gd name="connsiteX255" fmla="*/ 1416657 w 3024845"/>
                <a:gd name="connsiteY255" fmla="*/ 333151 h 840941"/>
                <a:gd name="connsiteX256" fmla="*/ 1417417 w 3024845"/>
                <a:gd name="connsiteY256" fmla="*/ 333151 h 840941"/>
                <a:gd name="connsiteX257" fmla="*/ 1422737 w 3024845"/>
                <a:gd name="connsiteY257" fmla="*/ 333151 h 840941"/>
                <a:gd name="connsiteX258" fmla="*/ 1422737 w 3024845"/>
                <a:gd name="connsiteY258" fmla="*/ 331260 h 840941"/>
                <a:gd name="connsiteX259" fmla="*/ 1422737 w 3024845"/>
                <a:gd name="connsiteY259" fmla="*/ 318019 h 840941"/>
                <a:gd name="connsiteX260" fmla="*/ 1426791 w 3024845"/>
                <a:gd name="connsiteY260" fmla="*/ 324504 h 840941"/>
                <a:gd name="connsiteX261" fmla="*/ 1429071 w 3024845"/>
                <a:gd name="connsiteY261" fmla="*/ 324504 h 840941"/>
                <a:gd name="connsiteX262" fmla="*/ 1445031 w 3024845"/>
                <a:gd name="connsiteY262" fmla="*/ 324504 h 840941"/>
                <a:gd name="connsiteX263" fmla="*/ 1445031 w 3024845"/>
                <a:gd name="connsiteY263" fmla="*/ 323693 h 840941"/>
                <a:gd name="connsiteX264" fmla="*/ 1445031 w 3024845"/>
                <a:gd name="connsiteY264" fmla="*/ 318019 h 840941"/>
                <a:gd name="connsiteX265" fmla="*/ 1445791 w 3024845"/>
                <a:gd name="connsiteY265" fmla="*/ 318019 h 840941"/>
                <a:gd name="connsiteX266" fmla="*/ 1451111 w 3024845"/>
                <a:gd name="connsiteY266" fmla="*/ 318019 h 840941"/>
                <a:gd name="connsiteX267" fmla="*/ 1451111 w 3024845"/>
                <a:gd name="connsiteY267" fmla="*/ 319370 h 840941"/>
                <a:gd name="connsiteX268" fmla="*/ 1451111 w 3024845"/>
                <a:gd name="connsiteY268" fmla="*/ 328828 h 840941"/>
                <a:gd name="connsiteX269" fmla="*/ 1489618 w 3024845"/>
                <a:gd name="connsiteY269" fmla="*/ 328828 h 840941"/>
                <a:gd name="connsiteX270" fmla="*/ 1489618 w 3024845"/>
                <a:gd name="connsiteY270" fmla="*/ 467181 h 840941"/>
                <a:gd name="connsiteX271" fmla="*/ 1491138 w 3024845"/>
                <a:gd name="connsiteY271" fmla="*/ 467181 h 840941"/>
                <a:gd name="connsiteX272" fmla="*/ 1501778 w 3024845"/>
                <a:gd name="connsiteY272" fmla="*/ 467181 h 840941"/>
                <a:gd name="connsiteX273" fmla="*/ 1501778 w 3024845"/>
                <a:gd name="connsiteY273" fmla="*/ 454211 h 840941"/>
                <a:gd name="connsiteX274" fmla="*/ 1505832 w 3024845"/>
                <a:gd name="connsiteY274" fmla="*/ 454211 h 840941"/>
                <a:gd name="connsiteX275" fmla="*/ 1505832 w 3024845"/>
                <a:gd name="connsiteY275" fmla="*/ 467181 h 840941"/>
                <a:gd name="connsiteX276" fmla="*/ 1536232 w 3024845"/>
                <a:gd name="connsiteY276" fmla="*/ 467181 h 840941"/>
                <a:gd name="connsiteX277" fmla="*/ 1536232 w 3024845"/>
                <a:gd name="connsiteY277" fmla="*/ 436916 h 840941"/>
                <a:gd name="connsiteX278" fmla="*/ 1548392 w 3024845"/>
                <a:gd name="connsiteY278" fmla="*/ 436916 h 840941"/>
                <a:gd name="connsiteX279" fmla="*/ 1560552 w 3024845"/>
                <a:gd name="connsiteY279" fmla="*/ 434755 h 840941"/>
                <a:gd name="connsiteX280" fmla="*/ 1564606 w 3024845"/>
                <a:gd name="connsiteY280" fmla="*/ 436916 h 840941"/>
                <a:gd name="connsiteX281" fmla="*/ 1574739 w 3024845"/>
                <a:gd name="connsiteY281" fmla="*/ 436916 h 840941"/>
                <a:gd name="connsiteX282" fmla="*/ 1574739 w 3024845"/>
                <a:gd name="connsiteY282" fmla="*/ 467181 h 840941"/>
                <a:gd name="connsiteX283" fmla="*/ 1582846 w 3024845"/>
                <a:gd name="connsiteY283" fmla="*/ 467181 h 840941"/>
                <a:gd name="connsiteX284" fmla="*/ 1582846 w 3024845"/>
                <a:gd name="connsiteY284" fmla="*/ 484476 h 840941"/>
                <a:gd name="connsiteX285" fmla="*/ 1592182 w 3024845"/>
                <a:gd name="connsiteY285" fmla="*/ 485381 h 840941"/>
                <a:gd name="connsiteX286" fmla="*/ 1605140 w 3024845"/>
                <a:gd name="connsiteY286" fmla="*/ 485381 h 840941"/>
                <a:gd name="connsiteX287" fmla="*/ 1605140 w 3024845"/>
                <a:gd name="connsiteY287" fmla="*/ 469343 h 840941"/>
                <a:gd name="connsiteX288" fmla="*/ 1673096 w 3024845"/>
                <a:gd name="connsiteY288" fmla="*/ 469343 h 840941"/>
                <a:gd name="connsiteX289" fmla="*/ 1673096 w 3024845"/>
                <a:gd name="connsiteY289" fmla="*/ 384090 h 840941"/>
                <a:gd name="connsiteX290" fmla="*/ 1745104 w 3024845"/>
                <a:gd name="connsiteY290" fmla="*/ 384090 h 840941"/>
                <a:gd name="connsiteX291" fmla="*/ 1745104 w 3024845"/>
                <a:gd name="connsiteY291" fmla="*/ 462858 h 840941"/>
                <a:gd name="connsiteX292" fmla="*/ 1747008 w 3024845"/>
                <a:gd name="connsiteY292" fmla="*/ 462858 h 840941"/>
                <a:gd name="connsiteX293" fmla="*/ 1748250 w 3024845"/>
                <a:gd name="connsiteY293" fmla="*/ 485381 h 840941"/>
                <a:gd name="connsiteX294" fmla="*/ 1757926 w 3024845"/>
                <a:gd name="connsiteY294" fmla="*/ 485381 h 840941"/>
                <a:gd name="connsiteX295" fmla="*/ 1759168 w 3024845"/>
                <a:gd name="connsiteY295" fmla="*/ 462858 h 840941"/>
                <a:gd name="connsiteX296" fmla="*/ 1765248 w 3024845"/>
                <a:gd name="connsiteY296" fmla="*/ 462858 h 840941"/>
                <a:gd name="connsiteX297" fmla="*/ 1766490 w 3024845"/>
                <a:gd name="connsiteY297" fmla="*/ 485381 h 840941"/>
                <a:gd name="connsiteX298" fmla="*/ 1817112 w 3024845"/>
                <a:gd name="connsiteY298" fmla="*/ 485381 h 840941"/>
                <a:gd name="connsiteX299" fmla="*/ 1817112 w 3024845"/>
                <a:gd name="connsiteY299" fmla="*/ 322353 h 840941"/>
                <a:gd name="connsiteX300" fmla="*/ 2014439 w 3024845"/>
                <a:gd name="connsiteY300" fmla="*/ 322353 h 840941"/>
                <a:gd name="connsiteX301" fmla="*/ 2014439 w 3024845"/>
                <a:gd name="connsiteY301" fmla="*/ 485381 h 840941"/>
                <a:gd name="connsiteX302" fmla="*/ 2033136 w 3024845"/>
                <a:gd name="connsiteY302" fmla="*/ 485381 h 840941"/>
                <a:gd name="connsiteX303" fmla="*/ 2033136 w 3024845"/>
                <a:gd name="connsiteY303" fmla="*/ 402688 h 840941"/>
                <a:gd name="connsiteX304" fmla="*/ 2128256 w 3024845"/>
                <a:gd name="connsiteY304" fmla="*/ 402688 h 840941"/>
                <a:gd name="connsiteX305" fmla="*/ 2180720 w 3024845"/>
                <a:gd name="connsiteY305" fmla="*/ 337475 h 840941"/>
                <a:gd name="connsiteX306" fmla="*/ 2245574 w 3024845"/>
                <a:gd name="connsiteY306" fmla="*/ 337475 h 840941"/>
                <a:gd name="connsiteX307" fmla="*/ 2245574 w 3024845"/>
                <a:gd name="connsiteY307" fmla="*/ 413137 h 840941"/>
                <a:gd name="connsiteX308" fmla="*/ 2253681 w 3024845"/>
                <a:gd name="connsiteY308" fmla="*/ 413137 h 840941"/>
                <a:gd name="connsiteX309" fmla="*/ 2255708 w 3024845"/>
                <a:gd name="connsiteY309" fmla="*/ 406652 h 840941"/>
                <a:gd name="connsiteX310" fmla="*/ 2261788 w 3024845"/>
                <a:gd name="connsiteY310" fmla="*/ 406652 h 840941"/>
                <a:gd name="connsiteX311" fmla="*/ 2263815 w 3024845"/>
                <a:gd name="connsiteY311" fmla="*/ 415299 h 840941"/>
                <a:gd name="connsiteX312" fmla="*/ 2275975 w 3024845"/>
                <a:gd name="connsiteY312" fmla="*/ 415299 h 840941"/>
                <a:gd name="connsiteX313" fmla="*/ 2275975 w 3024845"/>
                <a:gd name="connsiteY313" fmla="*/ 408813 h 840941"/>
                <a:gd name="connsiteX314" fmla="*/ 2298268 w 3024845"/>
                <a:gd name="connsiteY314" fmla="*/ 408813 h 840941"/>
                <a:gd name="connsiteX315" fmla="*/ 2298268 w 3024845"/>
                <a:gd name="connsiteY315" fmla="*/ 415299 h 840941"/>
                <a:gd name="connsiteX316" fmla="*/ 2318535 w 3024845"/>
                <a:gd name="connsiteY316" fmla="*/ 415299 h 840941"/>
                <a:gd name="connsiteX317" fmla="*/ 2318535 w 3024845"/>
                <a:gd name="connsiteY317" fmla="*/ 460696 h 840941"/>
                <a:gd name="connsiteX318" fmla="*/ 2332722 w 3024845"/>
                <a:gd name="connsiteY318" fmla="*/ 460696 h 840941"/>
                <a:gd name="connsiteX319" fmla="*/ 2332722 w 3024845"/>
                <a:gd name="connsiteY319" fmla="*/ 447725 h 840941"/>
                <a:gd name="connsiteX320" fmla="*/ 2348936 w 3024845"/>
                <a:gd name="connsiteY320" fmla="*/ 447725 h 840941"/>
                <a:gd name="connsiteX321" fmla="*/ 2348936 w 3024845"/>
                <a:gd name="connsiteY321" fmla="*/ 268298 h 840941"/>
                <a:gd name="connsiteX322" fmla="*/ 2355016 w 3024845"/>
                <a:gd name="connsiteY322" fmla="*/ 261812 h 840941"/>
                <a:gd name="connsiteX323" fmla="*/ 2427977 w 3024845"/>
                <a:gd name="connsiteY323" fmla="*/ 261812 h 840941"/>
                <a:gd name="connsiteX324" fmla="*/ 2427977 w 3024845"/>
                <a:gd name="connsiteY324" fmla="*/ 270460 h 840941"/>
                <a:gd name="connsiteX325" fmla="*/ 2438110 w 3024845"/>
                <a:gd name="connsiteY325" fmla="*/ 270460 h 840941"/>
                <a:gd name="connsiteX326" fmla="*/ 2438110 w 3024845"/>
                <a:gd name="connsiteY326" fmla="*/ 385034 h 840941"/>
                <a:gd name="connsiteX327" fmla="*/ 2460404 w 3024845"/>
                <a:gd name="connsiteY327" fmla="*/ 385034 h 840941"/>
                <a:gd name="connsiteX328" fmla="*/ 2460404 w 3024845"/>
                <a:gd name="connsiteY328" fmla="*/ 318019 h 840941"/>
                <a:gd name="connsiteX329" fmla="*/ 2486751 w 3024845"/>
                <a:gd name="connsiteY329" fmla="*/ 318019 h 840941"/>
                <a:gd name="connsiteX330" fmla="*/ 2490804 w 3024845"/>
                <a:gd name="connsiteY330" fmla="*/ 313695 h 840941"/>
                <a:gd name="connsiteX331" fmla="*/ 2498911 w 3024845"/>
                <a:gd name="connsiteY331" fmla="*/ 313695 h 840941"/>
                <a:gd name="connsiteX332" fmla="*/ 2502964 w 3024845"/>
                <a:gd name="connsiteY332" fmla="*/ 318019 h 840941"/>
                <a:gd name="connsiteX333" fmla="*/ 2525258 w 3024845"/>
                <a:gd name="connsiteY333" fmla="*/ 318019 h 840941"/>
                <a:gd name="connsiteX334" fmla="*/ 2525258 w 3024845"/>
                <a:gd name="connsiteY334" fmla="*/ 201283 h 840941"/>
                <a:gd name="connsiteX335" fmla="*/ 2582005 w 3024845"/>
                <a:gd name="connsiteY335" fmla="*/ 190474 h 840941"/>
                <a:gd name="connsiteX336" fmla="*/ 2582005 w 3024845"/>
                <a:gd name="connsiteY336" fmla="*/ 191555 h 840941"/>
                <a:gd name="connsiteX337" fmla="*/ 2582005 w 3024845"/>
                <a:gd name="connsiteY337" fmla="*/ 199121 h 840941"/>
                <a:gd name="connsiteX338" fmla="*/ 2608352 w 3024845"/>
                <a:gd name="connsiteY338" fmla="*/ 199121 h 840941"/>
                <a:gd name="connsiteX339" fmla="*/ 2608352 w 3024845"/>
                <a:gd name="connsiteY339" fmla="*/ 454211 h 840941"/>
                <a:gd name="connsiteX340" fmla="*/ 2630646 w 3024845"/>
                <a:gd name="connsiteY340" fmla="*/ 454211 h 840941"/>
                <a:gd name="connsiteX341" fmla="*/ 2630646 w 3024845"/>
                <a:gd name="connsiteY341" fmla="*/ 449887 h 840941"/>
                <a:gd name="connsiteX342" fmla="*/ 2642806 w 3024845"/>
                <a:gd name="connsiteY342" fmla="*/ 449887 h 840941"/>
                <a:gd name="connsiteX343" fmla="*/ 2642806 w 3024845"/>
                <a:gd name="connsiteY343" fmla="*/ 454211 h 840941"/>
                <a:gd name="connsiteX344" fmla="*/ 2667126 w 3024845"/>
                <a:gd name="connsiteY344" fmla="*/ 454211 h 840941"/>
                <a:gd name="connsiteX345" fmla="*/ 2667126 w 3024845"/>
                <a:gd name="connsiteY345" fmla="*/ 441240 h 840941"/>
                <a:gd name="connsiteX346" fmla="*/ 2695500 w 3024845"/>
                <a:gd name="connsiteY346" fmla="*/ 441240 h 840941"/>
                <a:gd name="connsiteX347" fmla="*/ 2707660 w 3024845"/>
                <a:gd name="connsiteY347" fmla="*/ 436916 h 840941"/>
                <a:gd name="connsiteX348" fmla="*/ 2727927 w 3024845"/>
                <a:gd name="connsiteY348" fmla="*/ 441240 h 840941"/>
                <a:gd name="connsiteX349" fmla="*/ 2727927 w 3024845"/>
                <a:gd name="connsiteY349" fmla="*/ 423946 h 840941"/>
                <a:gd name="connsiteX350" fmla="*/ 2736034 w 3024845"/>
                <a:gd name="connsiteY350" fmla="*/ 423946 h 840941"/>
                <a:gd name="connsiteX351" fmla="*/ 2736034 w 3024845"/>
                <a:gd name="connsiteY351" fmla="*/ 410975 h 840941"/>
                <a:gd name="connsiteX352" fmla="*/ 2792781 w 3024845"/>
                <a:gd name="connsiteY352" fmla="*/ 410975 h 840941"/>
                <a:gd name="connsiteX353" fmla="*/ 2792781 w 3024845"/>
                <a:gd name="connsiteY353" fmla="*/ 380710 h 840941"/>
                <a:gd name="connsiteX354" fmla="*/ 2811021 w 3024845"/>
                <a:gd name="connsiteY354" fmla="*/ 380710 h 840941"/>
                <a:gd name="connsiteX355" fmla="*/ 2811021 w 3024845"/>
                <a:gd name="connsiteY355" fmla="*/ 374225 h 840941"/>
                <a:gd name="connsiteX356" fmla="*/ 2823181 w 3024845"/>
                <a:gd name="connsiteY356" fmla="*/ 374225 h 840941"/>
                <a:gd name="connsiteX357" fmla="*/ 2823181 w 3024845"/>
                <a:gd name="connsiteY357" fmla="*/ 380710 h 840941"/>
                <a:gd name="connsiteX358" fmla="*/ 2839395 w 3024845"/>
                <a:gd name="connsiteY358" fmla="*/ 380710 h 840941"/>
                <a:gd name="connsiteX359" fmla="*/ 2839395 w 3024845"/>
                <a:gd name="connsiteY359" fmla="*/ 430431 h 840941"/>
                <a:gd name="connsiteX360" fmla="*/ 2871822 w 3024845"/>
                <a:gd name="connsiteY360" fmla="*/ 430431 h 840941"/>
                <a:gd name="connsiteX361" fmla="*/ 2871822 w 3024845"/>
                <a:gd name="connsiteY361" fmla="*/ 404490 h 840941"/>
                <a:gd name="connsiteX362" fmla="*/ 2910329 w 3024845"/>
                <a:gd name="connsiteY362" fmla="*/ 404490 h 840941"/>
                <a:gd name="connsiteX363" fmla="*/ 2910329 w 3024845"/>
                <a:gd name="connsiteY363" fmla="*/ 374225 h 840941"/>
                <a:gd name="connsiteX364" fmla="*/ 2958970 w 3024845"/>
                <a:gd name="connsiteY364" fmla="*/ 374225 h 840941"/>
                <a:gd name="connsiteX365" fmla="*/ 2958970 w 3024845"/>
                <a:gd name="connsiteY365" fmla="*/ 485381 h 840941"/>
                <a:gd name="connsiteX366" fmla="*/ 2958970 w 3024845"/>
                <a:gd name="connsiteY366" fmla="*/ 499160 h 840941"/>
                <a:gd name="connsiteX367" fmla="*/ 3024845 w 3024845"/>
                <a:gd name="connsiteY367" fmla="*/ 499160 h 840941"/>
                <a:gd name="connsiteX368" fmla="*/ 3024845 w 3024845"/>
                <a:gd name="connsiteY368" fmla="*/ 840941 h 840941"/>
                <a:gd name="connsiteX369" fmla="*/ 2054 w 3024845"/>
                <a:gd name="connsiteY369" fmla="*/ 838608 h 840941"/>
                <a:gd name="connsiteX370" fmla="*/ 0 w 3024845"/>
                <a:gd name="connsiteY370" fmla="*/ 404490 h 840941"/>
                <a:gd name="connsiteX371" fmla="*/ 20267 w 3024845"/>
                <a:gd name="connsiteY371" fmla="*/ 404490 h 840941"/>
                <a:gd name="connsiteX372" fmla="*/ 20774 w 3024845"/>
                <a:gd name="connsiteY372" fmla="*/ 403409 h 840941"/>
                <a:gd name="connsiteX373" fmla="*/ 24320 w 3024845"/>
                <a:gd name="connsiteY373" fmla="*/ 395843 h 840941"/>
                <a:gd name="connsiteX374" fmla="*/ 26094 w 3024845"/>
                <a:gd name="connsiteY374" fmla="*/ 396113 h 840941"/>
                <a:gd name="connsiteX375" fmla="*/ 38507 w 3024845"/>
                <a:gd name="connsiteY375" fmla="*/ 398004 h 840941"/>
                <a:gd name="connsiteX376" fmla="*/ 39014 w 3024845"/>
                <a:gd name="connsiteY376" fmla="*/ 399356 h 840941"/>
                <a:gd name="connsiteX377" fmla="*/ 42560 w 3024845"/>
                <a:gd name="connsiteY377" fmla="*/ 408813 h 840941"/>
                <a:gd name="connsiteX378" fmla="*/ 68907 w 3024845"/>
                <a:gd name="connsiteY378" fmla="*/ 410975 h 840941"/>
                <a:gd name="connsiteX379" fmla="*/ 68907 w 3024845"/>
                <a:gd name="connsiteY379" fmla="*/ 287754 h 840941"/>
                <a:gd name="connsiteX380" fmla="*/ 70934 w 3024845"/>
                <a:gd name="connsiteY380" fmla="*/ 287754 h 840941"/>
                <a:gd name="connsiteX381" fmla="*/ 85121 w 3024845"/>
                <a:gd name="connsiteY381" fmla="*/ 287754 h 840941"/>
                <a:gd name="connsiteX382" fmla="*/ 85121 w 3024845"/>
                <a:gd name="connsiteY382" fmla="*/ 151562 h 840941"/>
                <a:gd name="connsiteX383" fmla="*/ 86894 w 3024845"/>
                <a:gd name="connsiteY383" fmla="*/ 151562 h 840941"/>
                <a:gd name="connsiteX384" fmla="*/ 99308 w 3024845"/>
                <a:gd name="connsiteY384" fmla="*/ 151562 h 840941"/>
                <a:gd name="connsiteX385" fmla="*/ 99308 w 3024845"/>
                <a:gd name="connsiteY385" fmla="*/ 36988 h 840941"/>
                <a:gd name="connsiteX0" fmla="*/ 99308 w 3024845"/>
                <a:gd name="connsiteY0" fmla="*/ 0 h 803953"/>
                <a:gd name="connsiteX1" fmla="*/ 220909 w 3024845"/>
                <a:gd name="connsiteY1" fmla="*/ 114574 h 803953"/>
                <a:gd name="connsiteX2" fmla="*/ 223189 w 3024845"/>
                <a:gd name="connsiteY2" fmla="*/ 114574 h 803953"/>
                <a:gd name="connsiteX3" fmla="*/ 239150 w 3024845"/>
                <a:gd name="connsiteY3" fmla="*/ 114574 h 803953"/>
                <a:gd name="connsiteX4" fmla="*/ 239150 w 3024845"/>
                <a:gd name="connsiteY4" fmla="*/ 255089 h 803953"/>
                <a:gd name="connsiteX5" fmla="*/ 240670 w 3024845"/>
                <a:gd name="connsiteY5" fmla="*/ 254819 h 803953"/>
                <a:gd name="connsiteX6" fmla="*/ 251310 w 3024845"/>
                <a:gd name="connsiteY6" fmla="*/ 252928 h 803953"/>
                <a:gd name="connsiteX7" fmla="*/ 249283 w 3024845"/>
                <a:gd name="connsiteY7" fmla="*/ 341560 h 803953"/>
                <a:gd name="connsiteX8" fmla="*/ 250803 w 3024845"/>
                <a:gd name="connsiteY8" fmla="*/ 341831 h 803953"/>
                <a:gd name="connsiteX9" fmla="*/ 261443 w 3024845"/>
                <a:gd name="connsiteY9" fmla="*/ 343722 h 803953"/>
                <a:gd name="connsiteX10" fmla="*/ 261696 w 3024845"/>
                <a:gd name="connsiteY10" fmla="*/ 344533 h 803953"/>
                <a:gd name="connsiteX11" fmla="*/ 263470 w 3024845"/>
                <a:gd name="connsiteY11" fmla="*/ 350208 h 803953"/>
                <a:gd name="connsiteX12" fmla="*/ 264230 w 3024845"/>
                <a:gd name="connsiteY12" fmla="*/ 347776 h 803953"/>
                <a:gd name="connsiteX13" fmla="*/ 269550 w 3024845"/>
                <a:gd name="connsiteY13" fmla="*/ 330752 h 803953"/>
                <a:gd name="connsiteX14" fmla="*/ 271323 w 3024845"/>
                <a:gd name="connsiteY14" fmla="*/ 330752 h 803953"/>
                <a:gd name="connsiteX15" fmla="*/ 283737 w 3024845"/>
                <a:gd name="connsiteY15" fmla="*/ 330752 h 803953"/>
                <a:gd name="connsiteX16" fmla="*/ 283737 w 3024845"/>
                <a:gd name="connsiteY16" fmla="*/ 363178 h 803953"/>
                <a:gd name="connsiteX17" fmla="*/ 284750 w 3024845"/>
                <a:gd name="connsiteY17" fmla="*/ 363719 h 803953"/>
                <a:gd name="connsiteX18" fmla="*/ 291844 w 3024845"/>
                <a:gd name="connsiteY18" fmla="*/ 367502 h 803953"/>
                <a:gd name="connsiteX19" fmla="*/ 291844 w 3024845"/>
                <a:gd name="connsiteY19" fmla="*/ 368853 h 803953"/>
                <a:gd name="connsiteX20" fmla="*/ 291844 w 3024845"/>
                <a:gd name="connsiteY20" fmla="*/ 378311 h 803953"/>
                <a:gd name="connsiteX21" fmla="*/ 336431 w 3024845"/>
                <a:gd name="connsiteY21" fmla="*/ 378311 h 803953"/>
                <a:gd name="connsiteX22" fmla="*/ 336431 w 3024845"/>
                <a:gd name="connsiteY22" fmla="*/ 379392 h 803953"/>
                <a:gd name="connsiteX23" fmla="*/ 336431 w 3024845"/>
                <a:gd name="connsiteY23" fmla="*/ 386958 h 803953"/>
                <a:gd name="connsiteX24" fmla="*/ 338457 w 3024845"/>
                <a:gd name="connsiteY24" fmla="*/ 386958 h 803953"/>
                <a:gd name="connsiteX25" fmla="*/ 352644 w 3024845"/>
                <a:gd name="connsiteY25" fmla="*/ 386958 h 803953"/>
                <a:gd name="connsiteX26" fmla="*/ 352644 w 3024845"/>
                <a:gd name="connsiteY26" fmla="*/ 356693 h 803953"/>
                <a:gd name="connsiteX27" fmla="*/ 397231 w 3024845"/>
                <a:gd name="connsiteY27" fmla="*/ 356693 h 803953"/>
                <a:gd name="connsiteX28" fmla="*/ 397231 w 3024845"/>
                <a:gd name="connsiteY28" fmla="*/ 355342 h 803953"/>
                <a:gd name="connsiteX29" fmla="*/ 397231 w 3024845"/>
                <a:gd name="connsiteY29" fmla="*/ 345884 h 803953"/>
                <a:gd name="connsiteX30" fmla="*/ 398245 w 3024845"/>
                <a:gd name="connsiteY30" fmla="*/ 345884 h 803953"/>
                <a:gd name="connsiteX31" fmla="*/ 405338 w 3024845"/>
                <a:gd name="connsiteY31" fmla="*/ 345884 h 803953"/>
                <a:gd name="connsiteX32" fmla="*/ 405338 w 3024845"/>
                <a:gd name="connsiteY32" fmla="*/ 343993 h 803953"/>
                <a:gd name="connsiteX33" fmla="*/ 405338 w 3024845"/>
                <a:gd name="connsiteY33" fmla="*/ 330752 h 803953"/>
                <a:gd name="connsiteX34" fmla="*/ 406098 w 3024845"/>
                <a:gd name="connsiteY34" fmla="*/ 330752 h 803953"/>
                <a:gd name="connsiteX35" fmla="*/ 411418 w 3024845"/>
                <a:gd name="connsiteY35" fmla="*/ 330752 h 803953"/>
                <a:gd name="connsiteX36" fmla="*/ 411418 w 3024845"/>
                <a:gd name="connsiteY36" fmla="*/ 329671 h 803953"/>
                <a:gd name="connsiteX37" fmla="*/ 411418 w 3024845"/>
                <a:gd name="connsiteY37" fmla="*/ 322104 h 803953"/>
                <a:gd name="connsiteX38" fmla="*/ 413445 w 3024845"/>
                <a:gd name="connsiteY38" fmla="*/ 322104 h 803953"/>
                <a:gd name="connsiteX39" fmla="*/ 427632 w 3024845"/>
                <a:gd name="connsiteY39" fmla="*/ 322104 h 803953"/>
                <a:gd name="connsiteX40" fmla="*/ 427632 w 3024845"/>
                <a:gd name="connsiteY40" fmla="*/ 323185 h 803953"/>
                <a:gd name="connsiteX41" fmla="*/ 427632 w 3024845"/>
                <a:gd name="connsiteY41" fmla="*/ 330752 h 803953"/>
                <a:gd name="connsiteX42" fmla="*/ 449925 w 3024845"/>
                <a:gd name="connsiteY42" fmla="*/ 330752 h 803953"/>
                <a:gd name="connsiteX43" fmla="*/ 449925 w 3024845"/>
                <a:gd name="connsiteY43" fmla="*/ 328860 h 803953"/>
                <a:gd name="connsiteX44" fmla="*/ 449925 w 3024845"/>
                <a:gd name="connsiteY44" fmla="*/ 315619 h 803953"/>
                <a:gd name="connsiteX45" fmla="*/ 451699 w 3024845"/>
                <a:gd name="connsiteY45" fmla="*/ 315619 h 803953"/>
                <a:gd name="connsiteX46" fmla="*/ 464112 w 3024845"/>
                <a:gd name="connsiteY46" fmla="*/ 315619 h 803953"/>
                <a:gd name="connsiteX47" fmla="*/ 464112 w 3024845"/>
                <a:gd name="connsiteY47" fmla="*/ 339399 h 803953"/>
                <a:gd name="connsiteX48" fmla="*/ 465126 w 3024845"/>
                <a:gd name="connsiteY48" fmla="*/ 339399 h 803953"/>
                <a:gd name="connsiteX49" fmla="*/ 472219 w 3024845"/>
                <a:gd name="connsiteY49" fmla="*/ 339399 h 803953"/>
                <a:gd name="connsiteX50" fmla="*/ 472219 w 3024845"/>
                <a:gd name="connsiteY50" fmla="*/ 338318 h 803953"/>
                <a:gd name="connsiteX51" fmla="*/ 472219 w 3024845"/>
                <a:gd name="connsiteY51" fmla="*/ 330752 h 803953"/>
                <a:gd name="connsiteX52" fmla="*/ 473992 w 3024845"/>
                <a:gd name="connsiteY52" fmla="*/ 330752 h 803953"/>
                <a:gd name="connsiteX53" fmla="*/ 486406 w 3024845"/>
                <a:gd name="connsiteY53" fmla="*/ 330752 h 803953"/>
                <a:gd name="connsiteX54" fmla="*/ 486406 w 3024845"/>
                <a:gd name="connsiteY54" fmla="*/ 356693 h 803953"/>
                <a:gd name="connsiteX55" fmla="*/ 488433 w 3024845"/>
                <a:gd name="connsiteY55" fmla="*/ 356693 h 803953"/>
                <a:gd name="connsiteX56" fmla="*/ 502619 w 3024845"/>
                <a:gd name="connsiteY56" fmla="*/ 356693 h 803953"/>
                <a:gd name="connsiteX57" fmla="*/ 502619 w 3024845"/>
                <a:gd name="connsiteY57" fmla="*/ 358314 h 803953"/>
                <a:gd name="connsiteX58" fmla="*/ 502619 w 3024845"/>
                <a:gd name="connsiteY58" fmla="*/ 369664 h 803953"/>
                <a:gd name="connsiteX59" fmla="*/ 503379 w 3024845"/>
                <a:gd name="connsiteY59" fmla="*/ 369664 h 803953"/>
                <a:gd name="connsiteX60" fmla="*/ 508700 w 3024845"/>
                <a:gd name="connsiteY60" fmla="*/ 369664 h 803953"/>
                <a:gd name="connsiteX61" fmla="*/ 508700 w 3024845"/>
                <a:gd name="connsiteY61" fmla="*/ 368853 h 803953"/>
                <a:gd name="connsiteX62" fmla="*/ 508700 w 3024845"/>
                <a:gd name="connsiteY62" fmla="*/ 363178 h 803953"/>
                <a:gd name="connsiteX63" fmla="*/ 539100 w 3024845"/>
                <a:gd name="connsiteY63" fmla="*/ 363178 h 803953"/>
                <a:gd name="connsiteX64" fmla="*/ 539100 w 3024845"/>
                <a:gd name="connsiteY64" fmla="*/ 386958 h 803953"/>
                <a:gd name="connsiteX65" fmla="*/ 540113 w 3024845"/>
                <a:gd name="connsiteY65" fmla="*/ 386958 h 803953"/>
                <a:gd name="connsiteX66" fmla="*/ 547207 w 3024845"/>
                <a:gd name="connsiteY66" fmla="*/ 386958 h 803953"/>
                <a:gd name="connsiteX67" fmla="*/ 547207 w 3024845"/>
                <a:gd name="connsiteY67" fmla="*/ 388039 h 803953"/>
                <a:gd name="connsiteX68" fmla="*/ 547207 w 3024845"/>
                <a:gd name="connsiteY68" fmla="*/ 395605 h 803953"/>
                <a:gd name="connsiteX69" fmla="*/ 547967 w 3024845"/>
                <a:gd name="connsiteY69" fmla="*/ 395605 h 803953"/>
                <a:gd name="connsiteX70" fmla="*/ 553287 w 3024845"/>
                <a:gd name="connsiteY70" fmla="*/ 395605 h 803953"/>
                <a:gd name="connsiteX71" fmla="*/ 553287 w 3024845"/>
                <a:gd name="connsiteY71" fmla="*/ 393443 h 803953"/>
                <a:gd name="connsiteX72" fmla="*/ 553287 w 3024845"/>
                <a:gd name="connsiteY72" fmla="*/ 378311 h 803953"/>
                <a:gd name="connsiteX73" fmla="*/ 554300 w 3024845"/>
                <a:gd name="connsiteY73" fmla="*/ 378311 h 803953"/>
                <a:gd name="connsiteX74" fmla="*/ 561394 w 3024845"/>
                <a:gd name="connsiteY74" fmla="*/ 378311 h 803953"/>
                <a:gd name="connsiteX75" fmla="*/ 561394 w 3024845"/>
                <a:gd name="connsiteY75" fmla="*/ 379392 h 803953"/>
                <a:gd name="connsiteX76" fmla="*/ 561394 w 3024845"/>
                <a:gd name="connsiteY76" fmla="*/ 386958 h 803953"/>
                <a:gd name="connsiteX77" fmla="*/ 566714 w 3024845"/>
                <a:gd name="connsiteY77" fmla="*/ 384965 h 803953"/>
                <a:gd name="connsiteX78" fmla="*/ 567474 w 3024845"/>
                <a:gd name="connsiteY78" fmla="*/ 383985 h 803953"/>
                <a:gd name="connsiteX79" fmla="*/ 567474 w 3024845"/>
                <a:gd name="connsiteY79" fmla="*/ 378311 h 803953"/>
                <a:gd name="connsiteX80" fmla="*/ 605981 w 3024845"/>
                <a:gd name="connsiteY80" fmla="*/ 378311 h 803953"/>
                <a:gd name="connsiteX81" fmla="*/ 605981 w 3024845"/>
                <a:gd name="connsiteY81" fmla="*/ 402090 h 803953"/>
                <a:gd name="connsiteX82" fmla="*/ 608007 w 3024845"/>
                <a:gd name="connsiteY82" fmla="*/ 402090 h 803953"/>
                <a:gd name="connsiteX83" fmla="*/ 622194 w 3024845"/>
                <a:gd name="connsiteY83" fmla="*/ 402090 h 803953"/>
                <a:gd name="connsiteX84" fmla="*/ 622194 w 3024845"/>
                <a:gd name="connsiteY84" fmla="*/ 403171 h 803953"/>
                <a:gd name="connsiteX85" fmla="*/ 622194 w 3024845"/>
                <a:gd name="connsiteY85" fmla="*/ 410737 h 803953"/>
                <a:gd name="connsiteX86" fmla="*/ 623968 w 3024845"/>
                <a:gd name="connsiteY86" fmla="*/ 410737 h 803953"/>
                <a:gd name="connsiteX87" fmla="*/ 636381 w 3024845"/>
                <a:gd name="connsiteY87" fmla="*/ 410737 h 803953"/>
                <a:gd name="connsiteX88" fmla="*/ 636381 w 3024845"/>
                <a:gd name="connsiteY88" fmla="*/ 386958 h 803953"/>
                <a:gd name="connsiteX89" fmla="*/ 637394 w 3024845"/>
                <a:gd name="connsiteY89" fmla="*/ 386958 h 803953"/>
                <a:gd name="connsiteX90" fmla="*/ 644488 w 3024845"/>
                <a:gd name="connsiteY90" fmla="*/ 386958 h 803953"/>
                <a:gd name="connsiteX91" fmla="*/ 644488 w 3024845"/>
                <a:gd name="connsiteY91" fmla="*/ 354531 h 803953"/>
                <a:gd name="connsiteX92" fmla="*/ 645501 w 3024845"/>
                <a:gd name="connsiteY92" fmla="*/ 354531 h 803953"/>
                <a:gd name="connsiteX93" fmla="*/ 652595 w 3024845"/>
                <a:gd name="connsiteY93" fmla="*/ 354531 h 803953"/>
                <a:gd name="connsiteX94" fmla="*/ 652595 w 3024845"/>
                <a:gd name="connsiteY94" fmla="*/ 352640 h 803953"/>
                <a:gd name="connsiteX95" fmla="*/ 652595 w 3024845"/>
                <a:gd name="connsiteY95" fmla="*/ 339399 h 803953"/>
                <a:gd name="connsiteX96" fmla="*/ 651328 w 3024845"/>
                <a:gd name="connsiteY96" fmla="*/ 337777 h 803953"/>
                <a:gd name="connsiteX97" fmla="*/ 656648 w 3024845"/>
                <a:gd name="connsiteY97" fmla="*/ 326428 h 803953"/>
                <a:gd name="connsiteX98" fmla="*/ 664755 w 3024845"/>
                <a:gd name="connsiteY98" fmla="*/ 354531 h 803953"/>
                <a:gd name="connsiteX99" fmla="*/ 665515 w 3024845"/>
                <a:gd name="connsiteY99" fmla="*/ 354531 h 803953"/>
                <a:gd name="connsiteX100" fmla="*/ 670835 w 3024845"/>
                <a:gd name="connsiteY100" fmla="*/ 354531 h 803953"/>
                <a:gd name="connsiteX101" fmla="*/ 670835 w 3024845"/>
                <a:gd name="connsiteY101" fmla="*/ 248604 h 803953"/>
                <a:gd name="connsiteX102" fmla="*/ 672355 w 3024845"/>
                <a:gd name="connsiteY102" fmla="*/ 248604 h 803953"/>
                <a:gd name="connsiteX103" fmla="*/ 682995 w 3024845"/>
                <a:gd name="connsiteY103" fmla="*/ 248604 h 803953"/>
                <a:gd name="connsiteX104" fmla="*/ 682995 w 3024845"/>
                <a:gd name="connsiteY104" fmla="*/ 201045 h 803953"/>
                <a:gd name="connsiteX105" fmla="*/ 709342 w 3024845"/>
                <a:gd name="connsiteY105" fmla="*/ 201045 h 803953"/>
                <a:gd name="connsiteX106" fmla="*/ 709342 w 3024845"/>
                <a:gd name="connsiteY106" fmla="*/ 179427 h 803953"/>
                <a:gd name="connsiteX107" fmla="*/ 743796 w 3024845"/>
                <a:gd name="connsiteY107" fmla="*/ 179427 h 803953"/>
                <a:gd name="connsiteX108" fmla="*/ 743796 w 3024845"/>
                <a:gd name="connsiteY108" fmla="*/ 181859 h 803953"/>
                <a:gd name="connsiteX109" fmla="*/ 743796 w 3024845"/>
                <a:gd name="connsiteY109" fmla="*/ 198883 h 803953"/>
                <a:gd name="connsiteX110" fmla="*/ 746076 w 3024845"/>
                <a:gd name="connsiteY110" fmla="*/ 198883 h 803953"/>
                <a:gd name="connsiteX111" fmla="*/ 762036 w 3024845"/>
                <a:gd name="connsiteY111" fmla="*/ 198883 h 803953"/>
                <a:gd name="connsiteX112" fmla="*/ 762036 w 3024845"/>
                <a:gd name="connsiteY112" fmla="*/ 246442 h 803953"/>
                <a:gd name="connsiteX113" fmla="*/ 763049 w 3024845"/>
                <a:gd name="connsiteY113" fmla="*/ 246442 h 803953"/>
                <a:gd name="connsiteX114" fmla="*/ 770143 w 3024845"/>
                <a:gd name="connsiteY114" fmla="*/ 246442 h 803953"/>
                <a:gd name="connsiteX115" fmla="*/ 784330 w 3024845"/>
                <a:gd name="connsiteY115" fmla="*/ 250766 h 803953"/>
                <a:gd name="connsiteX116" fmla="*/ 784330 w 3024845"/>
                <a:gd name="connsiteY116" fmla="*/ 289678 h 803953"/>
                <a:gd name="connsiteX117" fmla="*/ 785343 w 3024845"/>
                <a:gd name="connsiteY117" fmla="*/ 289678 h 803953"/>
                <a:gd name="connsiteX118" fmla="*/ 792436 w 3024845"/>
                <a:gd name="connsiteY118" fmla="*/ 289678 h 803953"/>
                <a:gd name="connsiteX119" fmla="*/ 792436 w 3024845"/>
                <a:gd name="connsiteY119" fmla="*/ 291299 h 803953"/>
                <a:gd name="connsiteX120" fmla="*/ 792436 w 3024845"/>
                <a:gd name="connsiteY120" fmla="*/ 302648 h 803953"/>
                <a:gd name="connsiteX121" fmla="*/ 794463 w 3024845"/>
                <a:gd name="connsiteY121" fmla="*/ 302648 h 803953"/>
                <a:gd name="connsiteX122" fmla="*/ 808650 w 3024845"/>
                <a:gd name="connsiteY122" fmla="*/ 302648 h 803953"/>
                <a:gd name="connsiteX123" fmla="*/ 814730 w 3024845"/>
                <a:gd name="connsiteY123" fmla="*/ 309134 h 803953"/>
                <a:gd name="connsiteX124" fmla="*/ 814730 w 3024845"/>
                <a:gd name="connsiteY124" fmla="*/ 330752 h 803953"/>
                <a:gd name="connsiteX125" fmla="*/ 817010 w 3024845"/>
                <a:gd name="connsiteY125" fmla="*/ 330752 h 803953"/>
                <a:gd name="connsiteX126" fmla="*/ 832970 w 3024845"/>
                <a:gd name="connsiteY126" fmla="*/ 330752 h 803953"/>
                <a:gd name="connsiteX127" fmla="*/ 832970 w 3024845"/>
                <a:gd name="connsiteY127" fmla="*/ 331832 h 803953"/>
                <a:gd name="connsiteX128" fmla="*/ 832970 w 3024845"/>
                <a:gd name="connsiteY128" fmla="*/ 339399 h 803953"/>
                <a:gd name="connsiteX129" fmla="*/ 834237 w 3024845"/>
                <a:gd name="connsiteY129" fmla="*/ 339399 h 803953"/>
                <a:gd name="connsiteX130" fmla="*/ 843104 w 3024845"/>
                <a:gd name="connsiteY130" fmla="*/ 339399 h 803953"/>
                <a:gd name="connsiteX131" fmla="*/ 843104 w 3024845"/>
                <a:gd name="connsiteY131" fmla="*/ 341560 h 803953"/>
                <a:gd name="connsiteX132" fmla="*/ 843104 w 3024845"/>
                <a:gd name="connsiteY132" fmla="*/ 356693 h 803953"/>
                <a:gd name="connsiteX133" fmla="*/ 847157 w 3024845"/>
                <a:gd name="connsiteY133" fmla="*/ 354801 h 803953"/>
                <a:gd name="connsiteX134" fmla="*/ 847157 w 3024845"/>
                <a:gd name="connsiteY134" fmla="*/ 341560 h 803953"/>
                <a:gd name="connsiteX135" fmla="*/ 848170 w 3024845"/>
                <a:gd name="connsiteY135" fmla="*/ 341560 h 803953"/>
                <a:gd name="connsiteX136" fmla="*/ 855264 w 3024845"/>
                <a:gd name="connsiteY136" fmla="*/ 341560 h 803953"/>
                <a:gd name="connsiteX137" fmla="*/ 855264 w 3024845"/>
                <a:gd name="connsiteY137" fmla="*/ 343182 h 803953"/>
                <a:gd name="connsiteX138" fmla="*/ 855264 w 3024845"/>
                <a:gd name="connsiteY138" fmla="*/ 354531 h 803953"/>
                <a:gd name="connsiteX139" fmla="*/ 856024 w 3024845"/>
                <a:gd name="connsiteY139" fmla="*/ 354531 h 803953"/>
                <a:gd name="connsiteX140" fmla="*/ 861344 w 3024845"/>
                <a:gd name="connsiteY140" fmla="*/ 354531 h 803953"/>
                <a:gd name="connsiteX141" fmla="*/ 909984 w 3024845"/>
                <a:gd name="connsiteY141" fmla="*/ 350208 h 803953"/>
                <a:gd name="connsiteX142" fmla="*/ 909984 w 3024845"/>
                <a:gd name="connsiteY142" fmla="*/ 351559 h 803953"/>
                <a:gd name="connsiteX143" fmla="*/ 909984 w 3024845"/>
                <a:gd name="connsiteY143" fmla="*/ 361016 h 803953"/>
                <a:gd name="connsiteX144" fmla="*/ 910744 w 3024845"/>
                <a:gd name="connsiteY144" fmla="*/ 361016 h 803953"/>
                <a:gd name="connsiteX145" fmla="*/ 916065 w 3024845"/>
                <a:gd name="connsiteY145" fmla="*/ 361016 h 803953"/>
                <a:gd name="connsiteX146" fmla="*/ 916065 w 3024845"/>
                <a:gd name="connsiteY146" fmla="*/ 363178 h 803953"/>
                <a:gd name="connsiteX147" fmla="*/ 916065 w 3024845"/>
                <a:gd name="connsiteY147" fmla="*/ 378311 h 803953"/>
                <a:gd name="connsiteX148" fmla="*/ 918091 w 3024845"/>
                <a:gd name="connsiteY148" fmla="*/ 376960 h 803953"/>
                <a:gd name="connsiteX149" fmla="*/ 932278 w 3024845"/>
                <a:gd name="connsiteY149" fmla="*/ 367502 h 803953"/>
                <a:gd name="connsiteX150" fmla="*/ 938358 w 3024845"/>
                <a:gd name="connsiteY150" fmla="*/ 326428 h 803953"/>
                <a:gd name="connsiteX151" fmla="*/ 939118 w 3024845"/>
                <a:gd name="connsiteY151" fmla="*/ 326158 h 803953"/>
                <a:gd name="connsiteX152" fmla="*/ 944438 w 3024845"/>
                <a:gd name="connsiteY152" fmla="*/ 324266 h 803953"/>
                <a:gd name="connsiteX153" fmla="*/ 946465 w 3024845"/>
                <a:gd name="connsiteY153" fmla="*/ 255089 h 803953"/>
                <a:gd name="connsiteX154" fmla="*/ 948492 w 3024845"/>
                <a:gd name="connsiteY154" fmla="*/ 324266 h 803953"/>
                <a:gd name="connsiteX155" fmla="*/ 949252 w 3024845"/>
                <a:gd name="connsiteY155" fmla="*/ 324536 h 803953"/>
                <a:gd name="connsiteX156" fmla="*/ 954572 w 3024845"/>
                <a:gd name="connsiteY156" fmla="*/ 326428 h 803953"/>
                <a:gd name="connsiteX157" fmla="*/ 954572 w 3024845"/>
                <a:gd name="connsiteY157" fmla="*/ 239957 h 803953"/>
                <a:gd name="connsiteX158" fmla="*/ 958625 w 3024845"/>
                <a:gd name="connsiteY158" fmla="*/ 207530 h 803953"/>
                <a:gd name="connsiteX159" fmla="*/ 997132 w 3024845"/>
                <a:gd name="connsiteY159" fmla="*/ 207530 h 803953"/>
                <a:gd name="connsiteX160" fmla="*/ 997132 w 3024845"/>
                <a:gd name="connsiteY160" fmla="*/ 239957 h 803953"/>
                <a:gd name="connsiteX161" fmla="*/ 997892 w 3024845"/>
                <a:gd name="connsiteY161" fmla="*/ 239957 h 803953"/>
                <a:gd name="connsiteX162" fmla="*/ 1003212 w 3024845"/>
                <a:gd name="connsiteY162" fmla="*/ 239957 h 803953"/>
                <a:gd name="connsiteX163" fmla="*/ 1003212 w 3024845"/>
                <a:gd name="connsiteY163" fmla="*/ 157809 h 803953"/>
                <a:gd name="connsiteX164" fmla="*/ 1004986 w 3024845"/>
                <a:gd name="connsiteY164" fmla="*/ 157809 h 803953"/>
                <a:gd name="connsiteX165" fmla="*/ 1017399 w 3024845"/>
                <a:gd name="connsiteY165" fmla="*/ 157809 h 803953"/>
                <a:gd name="connsiteX166" fmla="*/ 1017399 w 3024845"/>
                <a:gd name="connsiteY166" fmla="*/ 155918 h 803953"/>
                <a:gd name="connsiteX167" fmla="*/ 1017399 w 3024845"/>
                <a:gd name="connsiteY167" fmla="*/ 142677 h 803953"/>
                <a:gd name="connsiteX168" fmla="*/ 1039693 w 3024845"/>
                <a:gd name="connsiteY168" fmla="*/ 142677 h 803953"/>
                <a:gd name="connsiteX169" fmla="*/ 1039693 w 3024845"/>
                <a:gd name="connsiteY169" fmla="*/ 141596 h 803953"/>
                <a:gd name="connsiteX170" fmla="*/ 1039693 w 3024845"/>
                <a:gd name="connsiteY170" fmla="*/ 134030 h 803953"/>
                <a:gd name="connsiteX171" fmla="*/ 1041466 w 3024845"/>
                <a:gd name="connsiteY171" fmla="*/ 134030 h 803953"/>
                <a:gd name="connsiteX172" fmla="*/ 1053880 w 3024845"/>
                <a:gd name="connsiteY172" fmla="*/ 134030 h 803953"/>
                <a:gd name="connsiteX173" fmla="*/ 1053880 w 3024845"/>
                <a:gd name="connsiteY173" fmla="*/ 135111 h 803953"/>
                <a:gd name="connsiteX174" fmla="*/ 1053880 w 3024845"/>
                <a:gd name="connsiteY174" fmla="*/ 142677 h 803953"/>
                <a:gd name="connsiteX175" fmla="*/ 1054640 w 3024845"/>
                <a:gd name="connsiteY175" fmla="*/ 142677 h 803953"/>
                <a:gd name="connsiteX176" fmla="*/ 1059960 w 3024845"/>
                <a:gd name="connsiteY176" fmla="*/ 142677 h 803953"/>
                <a:gd name="connsiteX177" fmla="*/ 1070093 w 3024845"/>
                <a:gd name="connsiteY177" fmla="*/ 138353 h 803953"/>
                <a:gd name="connsiteX178" fmla="*/ 1074146 w 3024845"/>
                <a:gd name="connsiteY178" fmla="*/ 141596 h 803953"/>
                <a:gd name="connsiteX179" fmla="*/ 1074146 w 3024845"/>
                <a:gd name="connsiteY179" fmla="*/ 134030 h 803953"/>
                <a:gd name="connsiteX180" fmla="*/ 1076426 w 3024845"/>
                <a:gd name="connsiteY180" fmla="*/ 134030 h 803953"/>
                <a:gd name="connsiteX181" fmla="*/ 1092387 w 3024845"/>
                <a:gd name="connsiteY181" fmla="*/ 134030 h 803953"/>
                <a:gd name="connsiteX182" fmla="*/ 1092387 w 3024845"/>
                <a:gd name="connsiteY182" fmla="*/ 135111 h 803953"/>
                <a:gd name="connsiteX183" fmla="*/ 1092387 w 3024845"/>
                <a:gd name="connsiteY183" fmla="*/ 142677 h 803953"/>
                <a:gd name="connsiteX184" fmla="*/ 1122787 w 3024845"/>
                <a:gd name="connsiteY184" fmla="*/ 142677 h 803953"/>
                <a:gd name="connsiteX185" fmla="*/ 1122787 w 3024845"/>
                <a:gd name="connsiteY185" fmla="*/ 144298 h 803953"/>
                <a:gd name="connsiteX186" fmla="*/ 1122787 w 3024845"/>
                <a:gd name="connsiteY186" fmla="*/ 155648 h 803953"/>
                <a:gd name="connsiteX187" fmla="*/ 1149134 w 3024845"/>
                <a:gd name="connsiteY187" fmla="*/ 155648 h 803953"/>
                <a:gd name="connsiteX188" fmla="*/ 1149134 w 3024845"/>
                <a:gd name="connsiteY188" fmla="*/ 185912 h 803953"/>
                <a:gd name="connsiteX189" fmla="*/ 1149894 w 3024845"/>
                <a:gd name="connsiteY189" fmla="*/ 185912 h 803953"/>
                <a:gd name="connsiteX190" fmla="*/ 1155214 w 3024845"/>
                <a:gd name="connsiteY190" fmla="*/ 185912 h 803953"/>
                <a:gd name="connsiteX191" fmla="*/ 1155214 w 3024845"/>
                <a:gd name="connsiteY191" fmla="*/ 186993 h 803953"/>
                <a:gd name="connsiteX192" fmla="*/ 1155214 w 3024845"/>
                <a:gd name="connsiteY192" fmla="*/ 194560 h 803953"/>
                <a:gd name="connsiteX193" fmla="*/ 1159268 w 3024845"/>
                <a:gd name="connsiteY193" fmla="*/ 224824 h 803953"/>
                <a:gd name="connsiteX194" fmla="*/ 1160028 w 3024845"/>
                <a:gd name="connsiteY194" fmla="*/ 224824 h 803953"/>
                <a:gd name="connsiteX195" fmla="*/ 1165348 w 3024845"/>
                <a:gd name="connsiteY195" fmla="*/ 224824 h 803953"/>
                <a:gd name="connsiteX196" fmla="*/ 1165348 w 3024845"/>
                <a:gd name="connsiteY196" fmla="*/ 225635 h 803953"/>
                <a:gd name="connsiteX197" fmla="*/ 1165348 w 3024845"/>
                <a:gd name="connsiteY197" fmla="*/ 231310 h 803953"/>
                <a:gd name="connsiteX198" fmla="*/ 1166361 w 3024845"/>
                <a:gd name="connsiteY198" fmla="*/ 231310 h 803953"/>
                <a:gd name="connsiteX199" fmla="*/ 1173454 w 3024845"/>
                <a:gd name="connsiteY199" fmla="*/ 231310 h 803953"/>
                <a:gd name="connsiteX200" fmla="*/ 1173454 w 3024845"/>
                <a:gd name="connsiteY200" fmla="*/ 261575 h 803953"/>
                <a:gd name="connsiteX201" fmla="*/ 1175481 w 3024845"/>
                <a:gd name="connsiteY201" fmla="*/ 261575 h 803953"/>
                <a:gd name="connsiteX202" fmla="*/ 1189668 w 3024845"/>
                <a:gd name="connsiteY202" fmla="*/ 261575 h 803953"/>
                <a:gd name="connsiteX203" fmla="*/ 1189668 w 3024845"/>
                <a:gd name="connsiteY203" fmla="*/ 285354 h 803953"/>
                <a:gd name="connsiteX204" fmla="*/ 1191695 w 3024845"/>
                <a:gd name="connsiteY204" fmla="*/ 286975 h 803953"/>
                <a:gd name="connsiteX205" fmla="*/ 1191695 w 3024845"/>
                <a:gd name="connsiteY205" fmla="*/ 298325 h 803953"/>
                <a:gd name="connsiteX206" fmla="*/ 1192455 w 3024845"/>
                <a:gd name="connsiteY206" fmla="*/ 298325 h 803953"/>
                <a:gd name="connsiteX207" fmla="*/ 1197775 w 3024845"/>
                <a:gd name="connsiteY207" fmla="*/ 298325 h 803953"/>
                <a:gd name="connsiteX208" fmla="*/ 1197775 w 3024845"/>
                <a:gd name="connsiteY208" fmla="*/ 322104 h 803953"/>
                <a:gd name="connsiteX209" fmla="*/ 1199041 w 3024845"/>
                <a:gd name="connsiteY209" fmla="*/ 322104 h 803953"/>
                <a:gd name="connsiteX210" fmla="*/ 1207908 w 3024845"/>
                <a:gd name="connsiteY210" fmla="*/ 322104 h 803953"/>
                <a:gd name="connsiteX211" fmla="*/ 1209935 w 3024845"/>
                <a:gd name="connsiteY211" fmla="*/ 326158 h 803953"/>
                <a:gd name="connsiteX212" fmla="*/ 1209935 w 3024845"/>
                <a:gd name="connsiteY212" fmla="*/ 339399 h 803953"/>
                <a:gd name="connsiteX213" fmla="*/ 1211455 w 3024845"/>
                <a:gd name="connsiteY213" fmla="*/ 337507 h 803953"/>
                <a:gd name="connsiteX214" fmla="*/ 1222095 w 3024845"/>
                <a:gd name="connsiteY214" fmla="*/ 324266 h 803953"/>
                <a:gd name="connsiteX215" fmla="*/ 1250469 w 3024845"/>
                <a:gd name="connsiteY215" fmla="*/ 324266 h 803953"/>
                <a:gd name="connsiteX216" fmla="*/ 1250469 w 3024845"/>
                <a:gd name="connsiteY216" fmla="*/ 410737 h 803953"/>
                <a:gd name="connsiteX217" fmla="*/ 1251229 w 3024845"/>
                <a:gd name="connsiteY217" fmla="*/ 410737 h 803953"/>
                <a:gd name="connsiteX218" fmla="*/ 1256549 w 3024845"/>
                <a:gd name="connsiteY218" fmla="*/ 410737 h 803953"/>
                <a:gd name="connsiteX219" fmla="*/ 1257309 w 3024845"/>
                <a:gd name="connsiteY219" fmla="*/ 409386 h 803953"/>
                <a:gd name="connsiteX220" fmla="*/ 1262629 w 3024845"/>
                <a:gd name="connsiteY220" fmla="*/ 399928 h 803953"/>
                <a:gd name="connsiteX221" fmla="*/ 1262629 w 3024845"/>
                <a:gd name="connsiteY221" fmla="*/ 401820 h 803953"/>
                <a:gd name="connsiteX222" fmla="*/ 1262629 w 3024845"/>
                <a:gd name="connsiteY222" fmla="*/ 415061 h 803953"/>
                <a:gd name="connsiteX223" fmla="*/ 1266682 w 3024845"/>
                <a:gd name="connsiteY223" fmla="*/ 369664 h 803953"/>
                <a:gd name="connsiteX224" fmla="*/ 1267442 w 3024845"/>
                <a:gd name="connsiteY224" fmla="*/ 369664 h 803953"/>
                <a:gd name="connsiteX225" fmla="*/ 1272762 w 3024845"/>
                <a:gd name="connsiteY225" fmla="*/ 369664 h 803953"/>
                <a:gd name="connsiteX226" fmla="*/ 1272762 w 3024845"/>
                <a:gd name="connsiteY226" fmla="*/ 304810 h 803953"/>
                <a:gd name="connsiteX227" fmla="*/ 1273776 w 3024845"/>
                <a:gd name="connsiteY227" fmla="*/ 304810 h 803953"/>
                <a:gd name="connsiteX228" fmla="*/ 1280869 w 3024845"/>
                <a:gd name="connsiteY228" fmla="*/ 304810 h 803953"/>
                <a:gd name="connsiteX229" fmla="*/ 1293029 w 3024845"/>
                <a:gd name="connsiteY229" fmla="*/ 261575 h 803953"/>
                <a:gd name="connsiteX230" fmla="*/ 1294296 w 3024845"/>
                <a:gd name="connsiteY230" fmla="*/ 261575 h 803953"/>
                <a:gd name="connsiteX231" fmla="*/ 1303163 w 3024845"/>
                <a:gd name="connsiteY231" fmla="*/ 261575 h 803953"/>
                <a:gd name="connsiteX232" fmla="*/ 1313296 w 3024845"/>
                <a:gd name="connsiteY232" fmla="*/ 304810 h 803953"/>
                <a:gd name="connsiteX233" fmla="*/ 1314309 w 3024845"/>
                <a:gd name="connsiteY233" fmla="*/ 304810 h 803953"/>
                <a:gd name="connsiteX234" fmla="*/ 1321403 w 3024845"/>
                <a:gd name="connsiteY234" fmla="*/ 304810 h 803953"/>
                <a:gd name="connsiteX235" fmla="*/ 1321403 w 3024845"/>
                <a:gd name="connsiteY235" fmla="*/ 343722 h 803953"/>
                <a:gd name="connsiteX236" fmla="*/ 1323176 w 3024845"/>
                <a:gd name="connsiteY236" fmla="*/ 343722 h 803953"/>
                <a:gd name="connsiteX237" fmla="*/ 1335590 w 3024845"/>
                <a:gd name="connsiteY237" fmla="*/ 343722 h 803953"/>
                <a:gd name="connsiteX238" fmla="*/ 1335590 w 3024845"/>
                <a:gd name="connsiteY238" fmla="*/ 345884 h 803953"/>
                <a:gd name="connsiteX239" fmla="*/ 1335590 w 3024845"/>
                <a:gd name="connsiteY239" fmla="*/ 361016 h 803953"/>
                <a:gd name="connsiteX240" fmla="*/ 1339643 w 3024845"/>
                <a:gd name="connsiteY240" fmla="*/ 358855 h 803953"/>
                <a:gd name="connsiteX241" fmla="*/ 1339643 w 3024845"/>
                <a:gd name="connsiteY241" fmla="*/ 343722 h 803953"/>
                <a:gd name="connsiteX242" fmla="*/ 1341163 w 3024845"/>
                <a:gd name="connsiteY242" fmla="*/ 343722 h 803953"/>
                <a:gd name="connsiteX243" fmla="*/ 1351803 w 3024845"/>
                <a:gd name="connsiteY243" fmla="*/ 343722 h 803953"/>
                <a:gd name="connsiteX244" fmla="*/ 1351803 w 3024845"/>
                <a:gd name="connsiteY244" fmla="*/ 345343 h 803953"/>
                <a:gd name="connsiteX245" fmla="*/ 1351803 w 3024845"/>
                <a:gd name="connsiteY245" fmla="*/ 356693 h 803953"/>
                <a:gd name="connsiteX246" fmla="*/ 1382204 w 3024845"/>
                <a:gd name="connsiteY246" fmla="*/ 356693 h 803953"/>
                <a:gd name="connsiteX247" fmla="*/ 1382204 w 3024845"/>
                <a:gd name="connsiteY247" fmla="*/ 319943 h 803953"/>
                <a:gd name="connsiteX248" fmla="*/ 1383470 w 3024845"/>
                <a:gd name="connsiteY248" fmla="*/ 319943 h 803953"/>
                <a:gd name="connsiteX249" fmla="*/ 1392337 w 3024845"/>
                <a:gd name="connsiteY249" fmla="*/ 319943 h 803953"/>
                <a:gd name="connsiteX250" fmla="*/ 1392337 w 3024845"/>
                <a:gd name="connsiteY250" fmla="*/ 341560 h 803953"/>
                <a:gd name="connsiteX251" fmla="*/ 1394364 w 3024845"/>
                <a:gd name="connsiteY251" fmla="*/ 309134 h 803953"/>
                <a:gd name="connsiteX252" fmla="*/ 1416657 w 3024845"/>
                <a:gd name="connsiteY252" fmla="*/ 309134 h 803953"/>
                <a:gd name="connsiteX253" fmla="*/ 1416657 w 3024845"/>
                <a:gd name="connsiteY253" fmla="*/ 307512 h 803953"/>
                <a:gd name="connsiteX254" fmla="*/ 1416657 w 3024845"/>
                <a:gd name="connsiteY254" fmla="*/ 296163 h 803953"/>
                <a:gd name="connsiteX255" fmla="*/ 1417417 w 3024845"/>
                <a:gd name="connsiteY255" fmla="*/ 296163 h 803953"/>
                <a:gd name="connsiteX256" fmla="*/ 1422737 w 3024845"/>
                <a:gd name="connsiteY256" fmla="*/ 296163 h 803953"/>
                <a:gd name="connsiteX257" fmla="*/ 1422737 w 3024845"/>
                <a:gd name="connsiteY257" fmla="*/ 294272 h 803953"/>
                <a:gd name="connsiteX258" fmla="*/ 1422737 w 3024845"/>
                <a:gd name="connsiteY258" fmla="*/ 281031 h 803953"/>
                <a:gd name="connsiteX259" fmla="*/ 1426791 w 3024845"/>
                <a:gd name="connsiteY259" fmla="*/ 287516 h 803953"/>
                <a:gd name="connsiteX260" fmla="*/ 1429071 w 3024845"/>
                <a:gd name="connsiteY260" fmla="*/ 287516 h 803953"/>
                <a:gd name="connsiteX261" fmla="*/ 1445031 w 3024845"/>
                <a:gd name="connsiteY261" fmla="*/ 287516 h 803953"/>
                <a:gd name="connsiteX262" fmla="*/ 1445031 w 3024845"/>
                <a:gd name="connsiteY262" fmla="*/ 286705 h 803953"/>
                <a:gd name="connsiteX263" fmla="*/ 1445031 w 3024845"/>
                <a:gd name="connsiteY263" fmla="*/ 281031 h 803953"/>
                <a:gd name="connsiteX264" fmla="*/ 1445791 w 3024845"/>
                <a:gd name="connsiteY264" fmla="*/ 281031 h 803953"/>
                <a:gd name="connsiteX265" fmla="*/ 1451111 w 3024845"/>
                <a:gd name="connsiteY265" fmla="*/ 281031 h 803953"/>
                <a:gd name="connsiteX266" fmla="*/ 1451111 w 3024845"/>
                <a:gd name="connsiteY266" fmla="*/ 282382 h 803953"/>
                <a:gd name="connsiteX267" fmla="*/ 1451111 w 3024845"/>
                <a:gd name="connsiteY267" fmla="*/ 291840 h 803953"/>
                <a:gd name="connsiteX268" fmla="*/ 1489618 w 3024845"/>
                <a:gd name="connsiteY268" fmla="*/ 291840 h 803953"/>
                <a:gd name="connsiteX269" fmla="*/ 1489618 w 3024845"/>
                <a:gd name="connsiteY269" fmla="*/ 430193 h 803953"/>
                <a:gd name="connsiteX270" fmla="*/ 1491138 w 3024845"/>
                <a:gd name="connsiteY270" fmla="*/ 430193 h 803953"/>
                <a:gd name="connsiteX271" fmla="*/ 1501778 w 3024845"/>
                <a:gd name="connsiteY271" fmla="*/ 430193 h 803953"/>
                <a:gd name="connsiteX272" fmla="*/ 1501778 w 3024845"/>
                <a:gd name="connsiteY272" fmla="*/ 417223 h 803953"/>
                <a:gd name="connsiteX273" fmla="*/ 1505832 w 3024845"/>
                <a:gd name="connsiteY273" fmla="*/ 417223 h 803953"/>
                <a:gd name="connsiteX274" fmla="*/ 1505832 w 3024845"/>
                <a:gd name="connsiteY274" fmla="*/ 430193 h 803953"/>
                <a:gd name="connsiteX275" fmla="*/ 1536232 w 3024845"/>
                <a:gd name="connsiteY275" fmla="*/ 430193 h 803953"/>
                <a:gd name="connsiteX276" fmla="*/ 1536232 w 3024845"/>
                <a:gd name="connsiteY276" fmla="*/ 399928 h 803953"/>
                <a:gd name="connsiteX277" fmla="*/ 1548392 w 3024845"/>
                <a:gd name="connsiteY277" fmla="*/ 399928 h 803953"/>
                <a:gd name="connsiteX278" fmla="*/ 1560552 w 3024845"/>
                <a:gd name="connsiteY278" fmla="*/ 397767 h 803953"/>
                <a:gd name="connsiteX279" fmla="*/ 1564606 w 3024845"/>
                <a:gd name="connsiteY279" fmla="*/ 399928 h 803953"/>
                <a:gd name="connsiteX280" fmla="*/ 1574739 w 3024845"/>
                <a:gd name="connsiteY280" fmla="*/ 399928 h 803953"/>
                <a:gd name="connsiteX281" fmla="*/ 1574739 w 3024845"/>
                <a:gd name="connsiteY281" fmla="*/ 430193 h 803953"/>
                <a:gd name="connsiteX282" fmla="*/ 1582846 w 3024845"/>
                <a:gd name="connsiteY282" fmla="*/ 430193 h 803953"/>
                <a:gd name="connsiteX283" fmla="*/ 1582846 w 3024845"/>
                <a:gd name="connsiteY283" fmla="*/ 447488 h 803953"/>
                <a:gd name="connsiteX284" fmla="*/ 1592182 w 3024845"/>
                <a:gd name="connsiteY284" fmla="*/ 448393 h 803953"/>
                <a:gd name="connsiteX285" fmla="*/ 1605140 w 3024845"/>
                <a:gd name="connsiteY285" fmla="*/ 448393 h 803953"/>
                <a:gd name="connsiteX286" fmla="*/ 1605140 w 3024845"/>
                <a:gd name="connsiteY286" fmla="*/ 432355 h 803953"/>
                <a:gd name="connsiteX287" fmla="*/ 1673096 w 3024845"/>
                <a:gd name="connsiteY287" fmla="*/ 432355 h 803953"/>
                <a:gd name="connsiteX288" fmla="*/ 1673096 w 3024845"/>
                <a:gd name="connsiteY288" fmla="*/ 347102 h 803953"/>
                <a:gd name="connsiteX289" fmla="*/ 1745104 w 3024845"/>
                <a:gd name="connsiteY289" fmla="*/ 347102 h 803953"/>
                <a:gd name="connsiteX290" fmla="*/ 1745104 w 3024845"/>
                <a:gd name="connsiteY290" fmla="*/ 425870 h 803953"/>
                <a:gd name="connsiteX291" fmla="*/ 1747008 w 3024845"/>
                <a:gd name="connsiteY291" fmla="*/ 425870 h 803953"/>
                <a:gd name="connsiteX292" fmla="*/ 1748250 w 3024845"/>
                <a:gd name="connsiteY292" fmla="*/ 448393 h 803953"/>
                <a:gd name="connsiteX293" fmla="*/ 1757926 w 3024845"/>
                <a:gd name="connsiteY293" fmla="*/ 448393 h 803953"/>
                <a:gd name="connsiteX294" fmla="*/ 1759168 w 3024845"/>
                <a:gd name="connsiteY294" fmla="*/ 425870 h 803953"/>
                <a:gd name="connsiteX295" fmla="*/ 1765248 w 3024845"/>
                <a:gd name="connsiteY295" fmla="*/ 425870 h 803953"/>
                <a:gd name="connsiteX296" fmla="*/ 1766490 w 3024845"/>
                <a:gd name="connsiteY296" fmla="*/ 448393 h 803953"/>
                <a:gd name="connsiteX297" fmla="*/ 1817112 w 3024845"/>
                <a:gd name="connsiteY297" fmla="*/ 448393 h 803953"/>
                <a:gd name="connsiteX298" fmla="*/ 1817112 w 3024845"/>
                <a:gd name="connsiteY298" fmla="*/ 285365 h 803953"/>
                <a:gd name="connsiteX299" fmla="*/ 2014439 w 3024845"/>
                <a:gd name="connsiteY299" fmla="*/ 285365 h 803953"/>
                <a:gd name="connsiteX300" fmla="*/ 2014439 w 3024845"/>
                <a:gd name="connsiteY300" fmla="*/ 448393 h 803953"/>
                <a:gd name="connsiteX301" fmla="*/ 2033136 w 3024845"/>
                <a:gd name="connsiteY301" fmla="*/ 448393 h 803953"/>
                <a:gd name="connsiteX302" fmla="*/ 2033136 w 3024845"/>
                <a:gd name="connsiteY302" fmla="*/ 365700 h 803953"/>
                <a:gd name="connsiteX303" fmla="*/ 2128256 w 3024845"/>
                <a:gd name="connsiteY303" fmla="*/ 365700 h 803953"/>
                <a:gd name="connsiteX304" fmla="*/ 2180720 w 3024845"/>
                <a:gd name="connsiteY304" fmla="*/ 300487 h 803953"/>
                <a:gd name="connsiteX305" fmla="*/ 2245574 w 3024845"/>
                <a:gd name="connsiteY305" fmla="*/ 300487 h 803953"/>
                <a:gd name="connsiteX306" fmla="*/ 2245574 w 3024845"/>
                <a:gd name="connsiteY306" fmla="*/ 376149 h 803953"/>
                <a:gd name="connsiteX307" fmla="*/ 2253681 w 3024845"/>
                <a:gd name="connsiteY307" fmla="*/ 376149 h 803953"/>
                <a:gd name="connsiteX308" fmla="*/ 2255708 w 3024845"/>
                <a:gd name="connsiteY308" fmla="*/ 369664 h 803953"/>
                <a:gd name="connsiteX309" fmla="*/ 2261788 w 3024845"/>
                <a:gd name="connsiteY309" fmla="*/ 369664 h 803953"/>
                <a:gd name="connsiteX310" fmla="*/ 2263815 w 3024845"/>
                <a:gd name="connsiteY310" fmla="*/ 378311 h 803953"/>
                <a:gd name="connsiteX311" fmla="*/ 2275975 w 3024845"/>
                <a:gd name="connsiteY311" fmla="*/ 378311 h 803953"/>
                <a:gd name="connsiteX312" fmla="*/ 2275975 w 3024845"/>
                <a:gd name="connsiteY312" fmla="*/ 371825 h 803953"/>
                <a:gd name="connsiteX313" fmla="*/ 2298268 w 3024845"/>
                <a:gd name="connsiteY313" fmla="*/ 371825 h 803953"/>
                <a:gd name="connsiteX314" fmla="*/ 2298268 w 3024845"/>
                <a:gd name="connsiteY314" fmla="*/ 378311 h 803953"/>
                <a:gd name="connsiteX315" fmla="*/ 2318535 w 3024845"/>
                <a:gd name="connsiteY315" fmla="*/ 378311 h 803953"/>
                <a:gd name="connsiteX316" fmla="*/ 2318535 w 3024845"/>
                <a:gd name="connsiteY316" fmla="*/ 423708 h 803953"/>
                <a:gd name="connsiteX317" fmla="*/ 2332722 w 3024845"/>
                <a:gd name="connsiteY317" fmla="*/ 423708 h 803953"/>
                <a:gd name="connsiteX318" fmla="*/ 2332722 w 3024845"/>
                <a:gd name="connsiteY318" fmla="*/ 410737 h 803953"/>
                <a:gd name="connsiteX319" fmla="*/ 2348936 w 3024845"/>
                <a:gd name="connsiteY319" fmla="*/ 410737 h 803953"/>
                <a:gd name="connsiteX320" fmla="*/ 2348936 w 3024845"/>
                <a:gd name="connsiteY320" fmla="*/ 231310 h 803953"/>
                <a:gd name="connsiteX321" fmla="*/ 2355016 w 3024845"/>
                <a:gd name="connsiteY321" fmla="*/ 224824 h 803953"/>
                <a:gd name="connsiteX322" fmla="*/ 2427977 w 3024845"/>
                <a:gd name="connsiteY322" fmla="*/ 224824 h 803953"/>
                <a:gd name="connsiteX323" fmla="*/ 2427977 w 3024845"/>
                <a:gd name="connsiteY323" fmla="*/ 233472 h 803953"/>
                <a:gd name="connsiteX324" fmla="*/ 2438110 w 3024845"/>
                <a:gd name="connsiteY324" fmla="*/ 233472 h 803953"/>
                <a:gd name="connsiteX325" fmla="*/ 2438110 w 3024845"/>
                <a:gd name="connsiteY325" fmla="*/ 348046 h 803953"/>
                <a:gd name="connsiteX326" fmla="*/ 2460404 w 3024845"/>
                <a:gd name="connsiteY326" fmla="*/ 348046 h 803953"/>
                <a:gd name="connsiteX327" fmla="*/ 2460404 w 3024845"/>
                <a:gd name="connsiteY327" fmla="*/ 281031 h 803953"/>
                <a:gd name="connsiteX328" fmla="*/ 2486751 w 3024845"/>
                <a:gd name="connsiteY328" fmla="*/ 281031 h 803953"/>
                <a:gd name="connsiteX329" fmla="*/ 2490804 w 3024845"/>
                <a:gd name="connsiteY329" fmla="*/ 276707 h 803953"/>
                <a:gd name="connsiteX330" fmla="*/ 2498911 w 3024845"/>
                <a:gd name="connsiteY330" fmla="*/ 276707 h 803953"/>
                <a:gd name="connsiteX331" fmla="*/ 2502964 w 3024845"/>
                <a:gd name="connsiteY331" fmla="*/ 281031 h 803953"/>
                <a:gd name="connsiteX332" fmla="*/ 2525258 w 3024845"/>
                <a:gd name="connsiteY332" fmla="*/ 281031 h 803953"/>
                <a:gd name="connsiteX333" fmla="*/ 2525258 w 3024845"/>
                <a:gd name="connsiteY333" fmla="*/ 164295 h 803953"/>
                <a:gd name="connsiteX334" fmla="*/ 2582005 w 3024845"/>
                <a:gd name="connsiteY334" fmla="*/ 153486 h 803953"/>
                <a:gd name="connsiteX335" fmla="*/ 2582005 w 3024845"/>
                <a:gd name="connsiteY335" fmla="*/ 154567 h 803953"/>
                <a:gd name="connsiteX336" fmla="*/ 2582005 w 3024845"/>
                <a:gd name="connsiteY336" fmla="*/ 162133 h 803953"/>
                <a:gd name="connsiteX337" fmla="*/ 2608352 w 3024845"/>
                <a:gd name="connsiteY337" fmla="*/ 162133 h 803953"/>
                <a:gd name="connsiteX338" fmla="*/ 2608352 w 3024845"/>
                <a:gd name="connsiteY338" fmla="*/ 417223 h 803953"/>
                <a:gd name="connsiteX339" fmla="*/ 2630646 w 3024845"/>
                <a:gd name="connsiteY339" fmla="*/ 417223 h 803953"/>
                <a:gd name="connsiteX340" fmla="*/ 2630646 w 3024845"/>
                <a:gd name="connsiteY340" fmla="*/ 412899 h 803953"/>
                <a:gd name="connsiteX341" fmla="*/ 2642806 w 3024845"/>
                <a:gd name="connsiteY341" fmla="*/ 412899 h 803953"/>
                <a:gd name="connsiteX342" fmla="*/ 2642806 w 3024845"/>
                <a:gd name="connsiteY342" fmla="*/ 417223 h 803953"/>
                <a:gd name="connsiteX343" fmla="*/ 2667126 w 3024845"/>
                <a:gd name="connsiteY343" fmla="*/ 417223 h 803953"/>
                <a:gd name="connsiteX344" fmla="*/ 2667126 w 3024845"/>
                <a:gd name="connsiteY344" fmla="*/ 404252 h 803953"/>
                <a:gd name="connsiteX345" fmla="*/ 2695500 w 3024845"/>
                <a:gd name="connsiteY345" fmla="*/ 404252 h 803953"/>
                <a:gd name="connsiteX346" fmla="*/ 2707660 w 3024845"/>
                <a:gd name="connsiteY346" fmla="*/ 399928 h 803953"/>
                <a:gd name="connsiteX347" fmla="*/ 2727927 w 3024845"/>
                <a:gd name="connsiteY347" fmla="*/ 404252 h 803953"/>
                <a:gd name="connsiteX348" fmla="*/ 2727927 w 3024845"/>
                <a:gd name="connsiteY348" fmla="*/ 386958 h 803953"/>
                <a:gd name="connsiteX349" fmla="*/ 2736034 w 3024845"/>
                <a:gd name="connsiteY349" fmla="*/ 386958 h 803953"/>
                <a:gd name="connsiteX350" fmla="*/ 2736034 w 3024845"/>
                <a:gd name="connsiteY350" fmla="*/ 373987 h 803953"/>
                <a:gd name="connsiteX351" fmla="*/ 2792781 w 3024845"/>
                <a:gd name="connsiteY351" fmla="*/ 373987 h 803953"/>
                <a:gd name="connsiteX352" fmla="*/ 2792781 w 3024845"/>
                <a:gd name="connsiteY352" fmla="*/ 343722 h 803953"/>
                <a:gd name="connsiteX353" fmla="*/ 2811021 w 3024845"/>
                <a:gd name="connsiteY353" fmla="*/ 343722 h 803953"/>
                <a:gd name="connsiteX354" fmla="*/ 2811021 w 3024845"/>
                <a:gd name="connsiteY354" fmla="*/ 337237 h 803953"/>
                <a:gd name="connsiteX355" fmla="*/ 2823181 w 3024845"/>
                <a:gd name="connsiteY355" fmla="*/ 337237 h 803953"/>
                <a:gd name="connsiteX356" fmla="*/ 2823181 w 3024845"/>
                <a:gd name="connsiteY356" fmla="*/ 343722 h 803953"/>
                <a:gd name="connsiteX357" fmla="*/ 2839395 w 3024845"/>
                <a:gd name="connsiteY357" fmla="*/ 343722 h 803953"/>
                <a:gd name="connsiteX358" fmla="*/ 2839395 w 3024845"/>
                <a:gd name="connsiteY358" fmla="*/ 393443 h 803953"/>
                <a:gd name="connsiteX359" fmla="*/ 2871822 w 3024845"/>
                <a:gd name="connsiteY359" fmla="*/ 393443 h 803953"/>
                <a:gd name="connsiteX360" fmla="*/ 2871822 w 3024845"/>
                <a:gd name="connsiteY360" fmla="*/ 367502 h 803953"/>
                <a:gd name="connsiteX361" fmla="*/ 2910329 w 3024845"/>
                <a:gd name="connsiteY361" fmla="*/ 367502 h 803953"/>
                <a:gd name="connsiteX362" fmla="*/ 2910329 w 3024845"/>
                <a:gd name="connsiteY362" fmla="*/ 337237 h 803953"/>
                <a:gd name="connsiteX363" fmla="*/ 2958970 w 3024845"/>
                <a:gd name="connsiteY363" fmla="*/ 337237 h 803953"/>
                <a:gd name="connsiteX364" fmla="*/ 2958970 w 3024845"/>
                <a:gd name="connsiteY364" fmla="*/ 448393 h 803953"/>
                <a:gd name="connsiteX365" fmla="*/ 2958970 w 3024845"/>
                <a:gd name="connsiteY365" fmla="*/ 462172 h 803953"/>
                <a:gd name="connsiteX366" fmla="*/ 3024845 w 3024845"/>
                <a:gd name="connsiteY366" fmla="*/ 462172 h 803953"/>
                <a:gd name="connsiteX367" fmla="*/ 3024845 w 3024845"/>
                <a:gd name="connsiteY367" fmla="*/ 803953 h 803953"/>
                <a:gd name="connsiteX368" fmla="*/ 2054 w 3024845"/>
                <a:gd name="connsiteY368" fmla="*/ 801620 h 803953"/>
                <a:gd name="connsiteX369" fmla="*/ 0 w 3024845"/>
                <a:gd name="connsiteY369" fmla="*/ 367502 h 803953"/>
                <a:gd name="connsiteX370" fmla="*/ 20267 w 3024845"/>
                <a:gd name="connsiteY370" fmla="*/ 367502 h 803953"/>
                <a:gd name="connsiteX371" fmla="*/ 20774 w 3024845"/>
                <a:gd name="connsiteY371" fmla="*/ 366421 h 803953"/>
                <a:gd name="connsiteX372" fmla="*/ 24320 w 3024845"/>
                <a:gd name="connsiteY372" fmla="*/ 358855 h 803953"/>
                <a:gd name="connsiteX373" fmla="*/ 26094 w 3024845"/>
                <a:gd name="connsiteY373" fmla="*/ 359125 h 803953"/>
                <a:gd name="connsiteX374" fmla="*/ 38507 w 3024845"/>
                <a:gd name="connsiteY374" fmla="*/ 361016 h 803953"/>
                <a:gd name="connsiteX375" fmla="*/ 39014 w 3024845"/>
                <a:gd name="connsiteY375" fmla="*/ 362368 h 803953"/>
                <a:gd name="connsiteX376" fmla="*/ 42560 w 3024845"/>
                <a:gd name="connsiteY376" fmla="*/ 371825 h 803953"/>
                <a:gd name="connsiteX377" fmla="*/ 68907 w 3024845"/>
                <a:gd name="connsiteY377" fmla="*/ 373987 h 803953"/>
                <a:gd name="connsiteX378" fmla="*/ 68907 w 3024845"/>
                <a:gd name="connsiteY378" fmla="*/ 250766 h 803953"/>
                <a:gd name="connsiteX379" fmla="*/ 70934 w 3024845"/>
                <a:gd name="connsiteY379" fmla="*/ 250766 h 803953"/>
                <a:gd name="connsiteX380" fmla="*/ 85121 w 3024845"/>
                <a:gd name="connsiteY380" fmla="*/ 250766 h 803953"/>
                <a:gd name="connsiteX381" fmla="*/ 85121 w 3024845"/>
                <a:gd name="connsiteY381" fmla="*/ 114574 h 803953"/>
                <a:gd name="connsiteX382" fmla="*/ 86894 w 3024845"/>
                <a:gd name="connsiteY382" fmla="*/ 114574 h 803953"/>
                <a:gd name="connsiteX383" fmla="*/ 99308 w 3024845"/>
                <a:gd name="connsiteY383" fmla="*/ 114574 h 803953"/>
                <a:gd name="connsiteX384" fmla="*/ 99308 w 3024845"/>
                <a:gd name="connsiteY384" fmla="*/ 0 h 803953"/>
                <a:gd name="connsiteX0" fmla="*/ 99308 w 3024845"/>
                <a:gd name="connsiteY0" fmla="*/ 0 h 689379"/>
                <a:gd name="connsiteX1" fmla="*/ 220909 w 3024845"/>
                <a:gd name="connsiteY1" fmla="*/ 0 h 689379"/>
                <a:gd name="connsiteX2" fmla="*/ 223189 w 3024845"/>
                <a:gd name="connsiteY2" fmla="*/ 0 h 689379"/>
                <a:gd name="connsiteX3" fmla="*/ 239150 w 3024845"/>
                <a:gd name="connsiteY3" fmla="*/ 0 h 689379"/>
                <a:gd name="connsiteX4" fmla="*/ 239150 w 3024845"/>
                <a:gd name="connsiteY4" fmla="*/ 140515 h 689379"/>
                <a:gd name="connsiteX5" fmla="*/ 240670 w 3024845"/>
                <a:gd name="connsiteY5" fmla="*/ 140245 h 689379"/>
                <a:gd name="connsiteX6" fmla="*/ 251310 w 3024845"/>
                <a:gd name="connsiteY6" fmla="*/ 138354 h 689379"/>
                <a:gd name="connsiteX7" fmla="*/ 249283 w 3024845"/>
                <a:gd name="connsiteY7" fmla="*/ 226986 h 689379"/>
                <a:gd name="connsiteX8" fmla="*/ 250803 w 3024845"/>
                <a:gd name="connsiteY8" fmla="*/ 227257 h 689379"/>
                <a:gd name="connsiteX9" fmla="*/ 261443 w 3024845"/>
                <a:gd name="connsiteY9" fmla="*/ 229148 h 689379"/>
                <a:gd name="connsiteX10" fmla="*/ 261696 w 3024845"/>
                <a:gd name="connsiteY10" fmla="*/ 229959 h 689379"/>
                <a:gd name="connsiteX11" fmla="*/ 263470 w 3024845"/>
                <a:gd name="connsiteY11" fmla="*/ 235634 h 689379"/>
                <a:gd name="connsiteX12" fmla="*/ 264230 w 3024845"/>
                <a:gd name="connsiteY12" fmla="*/ 233202 h 689379"/>
                <a:gd name="connsiteX13" fmla="*/ 269550 w 3024845"/>
                <a:gd name="connsiteY13" fmla="*/ 216178 h 689379"/>
                <a:gd name="connsiteX14" fmla="*/ 271323 w 3024845"/>
                <a:gd name="connsiteY14" fmla="*/ 216178 h 689379"/>
                <a:gd name="connsiteX15" fmla="*/ 283737 w 3024845"/>
                <a:gd name="connsiteY15" fmla="*/ 216178 h 689379"/>
                <a:gd name="connsiteX16" fmla="*/ 283737 w 3024845"/>
                <a:gd name="connsiteY16" fmla="*/ 248604 h 689379"/>
                <a:gd name="connsiteX17" fmla="*/ 284750 w 3024845"/>
                <a:gd name="connsiteY17" fmla="*/ 249145 h 689379"/>
                <a:gd name="connsiteX18" fmla="*/ 291844 w 3024845"/>
                <a:gd name="connsiteY18" fmla="*/ 252928 h 689379"/>
                <a:gd name="connsiteX19" fmla="*/ 291844 w 3024845"/>
                <a:gd name="connsiteY19" fmla="*/ 254279 h 689379"/>
                <a:gd name="connsiteX20" fmla="*/ 291844 w 3024845"/>
                <a:gd name="connsiteY20" fmla="*/ 263737 h 689379"/>
                <a:gd name="connsiteX21" fmla="*/ 336431 w 3024845"/>
                <a:gd name="connsiteY21" fmla="*/ 263737 h 689379"/>
                <a:gd name="connsiteX22" fmla="*/ 336431 w 3024845"/>
                <a:gd name="connsiteY22" fmla="*/ 264818 h 689379"/>
                <a:gd name="connsiteX23" fmla="*/ 336431 w 3024845"/>
                <a:gd name="connsiteY23" fmla="*/ 272384 h 689379"/>
                <a:gd name="connsiteX24" fmla="*/ 338457 w 3024845"/>
                <a:gd name="connsiteY24" fmla="*/ 272384 h 689379"/>
                <a:gd name="connsiteX25" fmla="*/ 352644 w 3024845"/>
                <a:gd name="connsiteY25" fmla="*/ 272384 h 689379"/>
                <a:gd name="connsiteX26" fmla="*/ 352644 w 3024845"/>
                <a:gd name="connsiteY26" fmla="*/ 242119 h 689379"/>
                <a:gd name="connsiteX27" fmla="*/ 397231 w 3024845"/>
                <a:gd name="connsiteY27" fmla="*/ 242119 h 689379"/>
                <a:gd name="connsiteX28" fmla="*/ 397231 w 3024845"/>
                <a:gd name="connsiteY28" fmla="*/ 240768 h 689379"/>
                <a:gd name="connsiteX29" fmla="*/ 397231 w 3024845"/>
                <a:gd name="connsiteY29" fmla="*/ 231310 h 689379"/>
                <a:gd name="connsiteX30" fmla="*/ 398245 w 3024845"/>
                <a:gd name="connsiteY30" fmla="*/ 231310 h 689379"/>
                <a:gd name="connsiteX31" fmla="*/ 405338 w 3024845"/>
                <a:gd name="connsiteY31" fmla="*/ 231310 h 689379"/>
                <a:gd name="connsiteX32" fmla="*/ 405338 w 3024845"/>
                <a:gd name="connsiteY32" fmla="*/ 229419 h 689379"/>
                <a:gd name="connsiteX33" fmla="*/ 405338 w 3024845"/>
                <a:gd name="connsiteY33" fmla="*/ 216178 h 689379"/>
                <a:gd name="connsiteX34" fmla="*/ 406098 w 3024845"/>
                <a:gd name="connsiteY34" fmla="*/ 216178 h 689379"/>
                <a:gd name="connsiteX35" fmla="*/ 411418 w 3024845"/>
                <a:gd name="connsiteY35" fmla="*/ 216178 h 689379"/>
                <a:gd name="connsiteX36" fmla="*/ 411418 w 3024845"/>
                <a:gd name="connsiteY36" fmla="*/ 215097 h 689379"/>
                <a:gd name="connsiteX37" fmla="*/ 411418 w 3024845"/>
                <a:gd name="connsiteY37" fmla="*/ 207530 h 689379"/>
                <a:gd name="connsiteX38" fmla="*/ 413445 w 3024845"/>
                <a:gd name="connsiteY38" fmla="*/ 207530 h 689379"/>
                <a:gd name="connsiteX39" fmla="*/ 427632 w 3024845"/>
                <a:gd name="connsiteY39" fmla="*/ 207530 h 689379"/>
                <a:gd name="connsiteX40" fmla="*/ 427632 w 3024845"/>
                <a:gd name="connsiteY40" fmla="*/ 208611 h 689379"/>
                <a:gd name="connsiteX41" fmla="*/ 427632 w 3024845"/>
                <a:gd name="connsiteY41" fmla="*/ 216178 h 689379"/>
                <a:gd name="connsiteX42" fmla="*/ 449925 w 3024845"/>
                <a:gd name="connsiteY42" fmla="*/ 216178 h 689379"/>
                <a:gd name="connsiteX43" fmla="*/ 449925 w 3024845"/>
                <a:gd name="connsiteY43" fmla="*/ 214286 h 689379"/>
                <a:gd name="connsiteX44" fmla="*/ 449925 w 3024845"/>
                <a:gd name="connsiteY44" fmla="*/ 201045 h 689379"/>
                <a:gd name="connsiteX45" fmla="*/ 451699 w 3024845"/>
                <a:gd name="connsiteY45" fmla="*/ 201045 h 689379"/>
                <a:gd name="connsiteX46" fmla="*/ 464112 w 3024845"/>
                <a:gd name="connsiteY46" fmla="*/ 201045 h 689379"/>
                <a:gd name="connsiteX47" fmla="*/ 464112 w 3024845"/>
                <a:gd name="connsiteY47" fmla="*/ 224825 h 689379"/>
                <a:gd name="connsiteX48" fmla="*/ 465126 w 3024845"/>
                <a:gd name="connsiteY48" fmla="*/ 224825 h 689379"/>
                <a:gd name="connsiteX49" fmla="*/ 472219 w 3024845"/>
                <a:gd name="connsiteY49" fmla="*/ 224825 h 689379"/>
                <a:gd name="connsiteX50" fmla="*/ 472219 w 3024845"/>
                <a:gd name="connsiteY50" fmla="*/ 223744 h 689379"/>
                <a:gd name="connsiteX51" fmla="*/ 472219 w 3024845"/>
                <a:gd name="connsiteY51" fmla="*/ 216178 h 689379"/>
                <a:gd name="connsiteX52" fmla="*/ 473992 w 3024845"/>
                <a:gd name="connsiteY52" fmla="*/ 216178 h 689379"/>
                <a:gd name="connsiteX53" fmla="*/ 486406 w 3024845"/>
                <a:gd name="connsiteY53" fmla="*/ 216178 h 689379"/>
                <a:gd name="connsiteX54" fmla="*/ 486406 w 3024845"/>
                <a:gd name="connsiteY54" fmla="*/ 242119 h 689379"/>
                <a:gd name="connsiteX55" fmla="*/ 488433 w 3024845"/>
                <a:gd name="connsiteY55" fmla="*/ 242119 h 689379"/>
                <a:gd name="connsiteX56" fmla="*/ 502619 w 3024845"/>
                <a:gd name="connsiteY56" fmla="*/ 242119 h 689379"/>
                <a:gd name="connsiteX57" fmla="*/ 502619 w 3024845"/>
                <a:gd name="connsiteY57" fmla="*/ 243740 h 689379"/>
                <a:gd name="connsiteX58" fmla="*/ 502619 w 3024845"/>
                <a:gd name="connsiteY58" fmla="*/ 255090 h 689379"/>
                <a:gd name="connsiteX59" fmla="*/ 503379 w 3024845"/>
                <a:gd name="connsiteY59" fmla="*/ 255090 h 689379"/>
                <a:gd name="connsiteX60" fmla="*/ 508700 w 3024845"/>
                <a:gd name="connsiteY60" fmla="*/ 255090 h 689379"/>
                <a:gd name="connsiteX61" fmla="*/ 508700 w 3024845"/>
                <a:gd name="connsiteY61" fmla="*/ 254279 h 689379"/>
                <a:gd name="connsiteX62" fmla="*/ 508700 w 3024845"/>
                <a:gd name="connsiteY62" fmla="*/ 248604 h 689379"/>
                <a:gd name="connsiteX63" fmla="*/ 539100 w 3024845"/>
                <a:gd name="connsiteY63" fmla="*/ 248604 h 689379"/>
                <a:gd name="connsiteX64" fmla="*/ 539100 w 3024845"/>
                <a:gd name="connsiteY64" fmla="*/ 272384 h 689379"/>
                <a:gd name="connsiteX65" fmla="*/ 540113 w 3024845"/>
                <a:gd name="connsiteY65" fmla="*/ 272384 h 689379"/>
                <a:gd name="connsiteX66" fmla="*/ 547207 w 3024845"/>
                <a:gd name="connsiteY66" fmla="*/ 272384 h 689379"/>
                <a:gd name="connsiteX67" fmla="*/ 547207 w 3024845"/>
                <a:gd name="connsiteY67" fmla="*/ 273465 h 689379"/>
                <a:gd name="connsiteX68" fmla="*/ 547207 w 3024845"/>
                <a:gd name="connsiteY68" fmla="*/ 281031 h 689379"/>
                <a:gd name="connsiteX69" fmla="*/ 547967 w 3024845"/>
                <a:gd name="connsiteY69" fmla="*/ 281031 h 689379"/>
                <a:gd name="connsiteX70" fmla="*/ 553287 w 3024845"/>
                <a:gd name="connsiteY70" fmla="*/ 281031 h 689379"/>
                <a:gd name="connsiteX71" fmla="*/ 553287 w 3024845"/>
                <a:gd name="connsiteY71" fmla="*/ 278869 h 689379"/>
                <a:gd name="connsiteX72" fmla="*/ 553287 w 3024845"/>
                <a:gd name="connsiteY72" fmla="*/ 263737 h 689379"/>
                <a:gd name="connsiteX73" fmla="*/ 554300 w 3024845"/>
                <a:gd name="connsiteY73" fmla="*/ 263737 h 689379"/>
                <a:gd name="connsiteX74" fmla="*/ 561394 w 3024845"/>
                <a:gd name="connsiteY74" fmla="*/ 263737 h 689379"/>
                <a:gd name="connsiteX75" fmla="*/ 561394 w 3024845"/>
                <a:gd name="connsiteY75" fmla="*/ 264818 h 689379"/>
                <a:gd name="connsiteX76" fmla="*/ 561394 w 3024845"/>
                <a:gd name="connsiteY76" fmla="*/ 272384 h 689379"/>
                <a:gd name="connsiteX77" fmla="*/ 566714 w 3024845"/>
                <a:gd name="connsiteY77" fmla="*/ 270391 h 689379"/>
                <a:gd name="connsiteX78" fmla="*/ 567474 w 3024845"/>
                <a:gd name="connsiteY78" fmla="*/ 269411 h 689379"/>
                <a:gd name="connsiteX79" fmla="*/ 567474 w 3024845"/>
                <a:gd name="connsiteY79" fmla="*/ 263737 h 689379"/>
                <a:gd name="connsiteX80" fmla="*/ 605981 w 3024845"/>
                <a:gd name="connsiteY80" fmla="*/ 263737 h 689379"/>
                <a:gd name="connsiteX81" fmla="*/ 605981 w 3024845"/>
                <a:gd name="connsiteY81" fmla="*/ 287516 h 689379"/>
                <a:gd name="connsiteX82" fmla="*/ 608007 w 3024845"/>
                <a:gd name="connsiteY82" fmla="*/ 287516 h 689379"/>
                <a:gd name="connsiteX83" fmla="*/ 622194 w 3024845"/>
                <a:gd name="connsiteY83" fmla="*/ 287516 h 689379"/>
                <a:gd name="connsiteX84" fmla="*/ 622194 w 3024845"/>
                <a:gd name="connsiteY84" fmla="*/ 288597 h 689379"/>
                <a:gd name="connsiteX85" fmla="*/ 622194 w 3024845"/>
                <a:gd name="connsiteY85" fmla="*/ 296163 h 689379"/>
                <a:gd name="connsiteX86" fmla="*/ 623968 w 3024845"/>
                <a:gd name="connsiteY86" fmla="*/ 296163 h 689379"/>
                <a:gd name="connsiteX87" fmla="*/ 636381 w 3024845"/>
                <a:gd name="connsiteY87" fmla="*/ 296163 h 689379"/>
                <a:gd name="connsiteX88" fmla="*/ 636381 w 3024845"/>
                <a:gd name="connsiteY88" fmla="*/ 272384 h 689379"/>
                <a:gd name="connsiteX89" fmla="*/ 637394 w 3024845"/>
                <a:gd name="connsiteY89" fmla="*/ 272384 h 689379"/>
                <a:gd name="connsiteX90" fmla="*/ 644488 w 3024845"/>
                <a:gd name="connsiteY90" fmla="*/ 272384 h 689379"/>
                <a:gd name="connsiteX91" fmla="*/ 644488 w 3024845"/>
                <a:gd name="connsiteY91" fmla="*/ 239957 h 689379"/>
                <a:gd name="connsiteX92" fmla="*/ 645501 w 3024845"/>
                <a:gd name="connsiteY92" fmla="*/ 239957 h 689379"/>
                <a:gd name="connsiteX93" fmla="*/ 652595 w 3024845"/>
                <a:gd name="connsiteY93" fmla="*/ 239957 h 689379"/>
                <a:gd name="connsiteX94" fmla="*/ 652595 w 3024845"/>
                <a:gd name="connsiteY94" fmla="*/ 238066 h 689379"/>
                <a:gd name="connsiteX95" fmla="*/ 652595 w 3024845"/>
                <a:gd name="connsiteY95" fmla="*/ 224825 h 689379"/>
                <a:gd name="connsiteX96" fmla="*/ 651328 w 3024845"/>
                <a:gd name="connsiteY96" fmla="*/ 223203 h 689379"/>
                <a:gd name="connsiteX97" fmla="*/ 656648 w 3024845"/>
                <a:gd name="connsiteY97" fmla="*/ 211854 h 689379"/>
                <a:gd name="connsiteX98" fmla="*/ 664755 w 3024845"/>
                <a:gd name="connsiteY98" fmla="*/ 239957 h 689379"/>
                <a:gd name="connsiteX99" fmla="*/ 665515 w 3024845"/>
                <a:gd name="connsiteY99" fmla="*/ 239957 h 689379"/>
                <a:gd name="connsiteX100" fmla="*/ 670835 w 3024845"/>
                <a:gd name="connsiteY100" fmla="*/ 239957 h 689379"/>
                <a:gd name="connsiteX101" fmla="*/ 670835 w 3024845"/>
                <a:gd name="connsiteY101" fmla="*/ 134030 h 689379"/>
                <a:gd name="connsiteX102" fmla="*/ 672355 w 3024845"/>
                <a:gd name="connsiteY102" fmla="*/ 134030 h 689379"/>
                <a:gd name="connsiteX103" fmla="*/ 682995 w 3024845"/>
                <a:gd name="connsiteY103" fmla="*/ 134030 h 689379"/>
                <a:gd name="connsiteX104" fmla="*/ 682995 w 3024845"/>
                <a:gd name="connsiteY104" fmla="*/ 86471 h 689379"/>
                <a:gd name="connsiteX105" fmla="*/ 709342 w 3024845"/>
                <a:gd name="connsiteY105" fmla="*/ 86471 h 689379"/>
                <a:gd name="connsiteX106" fmla="*/ 709342 w 3024845"/>
                <a:gd name="connsiteY106" fmla="*/ 64853 h 689379"/>
                <a:gd name="connsiteX107" fmla="*/ 743796 w 3024845"/>
                <a:gd name="connsiteY107" fmla="*/ 64853 h 689379"/>
                <a:gd name="connsiteX108" fmla="*/ 743796 w 3024845"/>
                <a:gd name="connsiteY108" fmla="*/ 67285 h 689379"/>
                <a:gd name="connsiteX109" fmla="*/ 743796 w 3024845"/>
                <a:gd name="connsiteY109" fmla="*/ 84309 h 689379"/>
                <a:gd name="connsiteX110" fmla="*/ 746076 w 3024845"/>
                <a:gd name="connsiteY110" fmla="*/ 84309 h 689379"/>
                <a:gd name="connsiteX111" fmla="*/ 762036 w 3024845"/>
                <a:gd name="connsiteY111" fmla="*/ 84309 h 689379"/>
                <a:gd name="connsiteX112" fmla="*/ 762036 w 3024845"/>
                <a:gd name="connsiteY112" fmla="*/ 131868 h 689379"/>
                <a:gd name="connsiteX113" fmla="*/ 763049 w 3024845"/>
                <a:gd name="connsiteY113" fmla="*/ 131868 h 689379"/>
                <a:gd name="connsiteX114" fmla="*/ 770143 w 3024845"/>
                <a:gd name="connsiteY114" fmla="*/ 131868 h 689379"/>
                <a:gd name="connsiteX115" fmla="*/ 784330 w 3024845"/>
                <a:gd name="connsiteY115" fmla="*/ 136192 h 689379"/>
                <a:gd name="connsiteX116" fmla="*/ 784330 w 3024845"/>
                <a:gd name="connsiteY116" fmla="*/ 175104 h 689379"/>
                <a:gd name="connsiteX117" fmla="*/ 785343 w 3024845"/>
                <a:gd name="connsiteY117" fmla="*/ 175104 h 689379"/>
                <a:gd name="connsiteX118" fmla="*/ 792436 w 3024845"/>
                <a:gd name="connsiteY118" fmla="*/ 175104 h 689379"/>
                <a:gd name="connsiteX119" fmla="*/ 792436 w 3024845"/>
                <a:gd name="connsiteY119" fmla="*/ 176725 h 689379"/>
                <a:gd name="connsiteX120" fmla="*/ 792436 w 3024845"/>
                <a:gd name="connsiteY120" fmla="*/ 188074 h 689379"/>
                <a:gd name="connsiteX121" fmla="*/ 794463 w 3024845"/>
                <a:gd name="connsiteY121" fmla="*/ 188074 h 689379"/>
                <a:gd name="connsiteX122" fmla="*/ 808650 w 3024845"/>
                <a:gd name="connsiteY122" fmla="*/ 188074 h 689379"/>
                <a:gd name="connsiteX123" fmla="*/ 814730 w 3024845"/>
                <a:gd name="connsiteY123" fmla="*/ 194560 h 689379"/>
                <a:gd name="connsiteX124" fmla="*/ 814730 w 3024845"/>
                <a:gd name="connsiteY124" fmla="*/ 216178 h 689379"/>
                <a:gd name="connsiteX125" fmla="*/ 817010 w 3024845"/>
                <a:gd name="connsiteY125" fmla="*/ 216178 h 689379"/>
                <a:gd name="connsiteX126" fmla="*/ 832970 w 3024845"/>
                <a:gd name="connsiteY126" fmla="*/ 216178 h 689379"/>
                <a:gd name="connsiteX127" fmla="*/ 832970 w 3024845"/>
                <a:gd name="connsiteY127" fmla="*/ 217258 h 689379"/>
                <a:gd name="connsiteX128" fmla="*/ 832970 w 3024845"/>
                <a:gd name="connsiteY128" fmla="*/ 224825 h 689379"/>
                <a:gd name="connsiteX129" fmla="*/ 834237 w 3024845"/>
                <a:gd name="connsiteY129" fmla="*/ 224825 h 689379"/>
                <a:gd name="connsiteX130" fmla="*/ 843104 w 3024845"/>
                <a:gd name="connsiteY130" fmla="*/ 224825 h 689379"/>
                <a:gd name="connsiteX131" fmla="*/ 843104 w 3024845"/>
                <a:gd name="connsiteY131" fmla="*/ 226986 h 689379"/>
                <a:gd name="connsiteX132" fmla="*/ 843104 w 3024845"/>
                <a:gd name="connsiteY132" fmla="*/ 242119 h 689379"/>
                <a:gd name="connsiteX133" fmla="*/ 847157 w 3024845"/>
                <a:gd name="connsiteY133" fmla="*/ 240227 h 689379"/>
                <a:gd name="connsiteX134" fmla="*/ 847157 w 3024845"/>
                <a:gd name="connsiteY134" fmla="*/ 226986 h 689379"/>
                <a:gd name="connsiteX135" fmla="*/ 848170 w 3024845"/>
                <a:gd name="connsiteY135" fmla="*/ 226986 h 689379"/>
                <a:gd name="connsiteX136" fmla="*/ 855264 w 3024845"/>
                <a:gd name="connsiteY136" fmla="*/ 226986 h 689379"/>
                <a:gd name="connsiteX137" fmla="*/ 855264 w 3024845"/>
                <a:gd name="connsiteY137" fmla="*/ 228608 h 689379"/>
                <a:gd name="connsiteX138" fmla="*/ 855264 w 3024845"/>
                <a:gd name="connsiteY138" fmla="*/ 239957 h 689379"/>
                <a:gd name="connsiteX139" fmla="*/ 856024 w 3024845"/>
                <a:gd name="connsiteY139" fmla="*/ 239957 h 689379"/>
                <a:gd name="connsiteX140" fmla="*/ 861344 w 3024845"/>
                <a:gd name="connsiteY140" fmla="*/ 239957 h 689379"/>
                <a:gd name="connsiteX141" fmla="*/ 909984 w 3024845"/>
                <a:gd name="connsiteY141" fmla="*/ 235634 h 689379"/>
                <a:gd name="connsiteX142" fmla="*/ 909984 w 3024845"/>
                <a:gd name="connsiteY142" fmla="*/ 236985 h 689379"/>
                <a:gd name="connsiteX143" fmla="*/ 909984 w 3024845"/>
                <a:gd name="connsiteY143" fmla="*/ 246442 h 689379"/>
                <a:gd name="connsiteX144" fmla="*/ 910744 w 3024845"/>
                <a:gd name="connsiteY144" fmla="*/ 246442 h 689379"/>
                <a:gd name="connsiteX145" fmla="*/ 916065 w 3024845"/>
                <a:gd name="connsiteY145" fmla="*/ 246442 h 689379"/>
                <a:gd name="connsiteX146" fmla="*/ 916065 w 3024845"/>
                <a:gd name="connsiteY146" fmla="*/ 248604 h 689379"/>
                <a:gd name="connsiteX147" fmla="*/ 916065 w 3024845"/>
                <a:gd name="connsiteY147" fmla="*/ 263737 h 689379"/>
                <a:gd name="connsiteX148" fmla="*/ 918091 w 3024845"/>
                <a:gd name="connsiteY148" fmla="*/ 262386 h 689379"/>
                <a:gd name="connsiteX149" fmla="*/ 932278 w 3024845"/>
                <a:gd name="connsiteY149" fmla="*/ 252928 h 689379"/>
                <a:gd name="connsiteX150" fmla="*/ 938358 w 3024845"/>
                <a:gd name="connsiteY150" fmla="*/ 211854 h 689379"/>
                <a:gd name="connsiteX151" fmla="*/ 939118 w 3024845"/>
                <a:gd name="connsiteY151" fmla="*/ 211584 h 689379"/>
                <a:gd name="connsiteX152" fmla="*/ 944438 w 3024845"/>
                <a:gd name="connsiteY152" fmla="*/ 209692 h 689379"/>
                <a:gd name="connsiteX153" fmla="*/ 946465 w 3024845"/>
                <a:gd name="connsiteY153" fmla="*/ 140515 h 689379"/>
                <a:gd name="connsiteX154" fmla="*/ 948492 w 3024845"/>
                <a:gd name="connsiteY154" fmla="*/ 209692 h 689379"/>
                <a:gd name="connsiteX155" fmla="*/ 949252 w 3024845"/>
                <a:gd name="connsiteY155" fmla="*/ 209962 h 689379"/>
                <a:gd name="connsiteX156" fmla="*/ 954572 w 3024845"/>
                <a:gd name="connsiteY156" fmla="*/ 211854 h 689379"/>
                <a:gd name="connsiteX157" fmla="*/ 954572 w 3024845"/>
                <a:gd name="connsiteY157" fmla="*/ 125383 h 689379"/>
                <a:gd name="connsiteX158" fmla="*/ 958625 w 3024845"/>
                <a:gd name="connsiteY158" fmla="*/ 92956 h 689379"/>
                <a:gd name="connsiteX159" fmla="*/ 997132 w 3024845"/>
                <a:gd name="connsiteY159" fmla="*/ 92956 h 689379"/>
                <a:gd name="connsiteX160" fmla="*/ 997132 w 3024845"/>
                <a:gd name="connsiteY160" fmla="*/ 125383 h 689379"/>
                <a:gd name="connsiteX161" fmla="*/ 997892 w 3024845"/>
                <a:gd name="connsiteY161" fmla="*/ 125383 h 689379"/>
                <a:gd name="connsiteX162" fmla="*/ 1003212 w 3024845"/>
                <a:gd name="connsiteY162" fmla="*/ 125383 h 689379"/>
                <a:gd name="connsiteX163" fmla="*/ 1003212 w 3024845"/>
                <a:gd name="connsiteY163" fmla="*/ 43235 h 689379"/>
                <a:gd name="connsiteX164" fmla="*/ 1004986 w 3024845"/>
                <a:gd name="connsiteY164" fmla="*/ 43235 h 689379"/>
                <a:gd name="connsiteX165" fmla="*/ 1017399 w 3024845"/>
                <a:gd name="connsiteY165" fmla="*/ 43235 h 689379"/>
                <a:gd name="connsiteX166" fmla="*/ 1017399 w 3024845"/>
                <a:gd name="connsiteY166" fmla="*/ 41344 h 689379"/>
                <a:gd name="connsiteX167" fmla="*/ 1017399 w 3024845"/>
                <a:gd name="connsiteY167" fmla="*/ 28103 h 689379"/>
                <a:gd name="connsiteX168" fmla="*/ 1039693 w 3024845"/>
                <a:gd name="connsiteY168" fmla="*/ 28103 h 689379"/>
                <a:gd name="connsiteX169" fmla="*/ 1039693 w 3024845"/>
                <a:gd name="connsiteY169" fmla="*/ 27022 h 689379"/>
                <a:gd name="connsiteX170" fmla="*/ 1039693 w 3024845"/>
                <a:gd name="connsiteY170" fmla="*/ 19456 h 689379"/>
                <a:gd name="connsiteX171" fmla="*/ 1041466 w 3024845"/>
                <a:gd name="connsiteY171" fmla="*/ 19456 h 689379"/>
                <a:gd name="connsiteX172" fmla="*/ 1053880 w 3024845"/>
                <a:gd name="connsiteY172" fmla="*/ 19456 h 689379"/>
                <a:gd name="connsiteX173" fmla="*/ 1053880 w 3024845"/>
                <a:gd name="connsiteY173" fmla="*/ 20537 h 689379"/>
                <a:gd name="connsiteX174" fmla="*/ 1053880 w 3024845"/>
                <a:gd name="connsiteY174" fmla="*/ 28103 h 689379"/>
                <a:gd name="connsiteX175" fmla="*/ 1054640 w 3024845"/>
                <a:gd name="connsiteY175" fmla="*/ 28103 h 689379"/>
                <a:gd name="connsiteX176" fmla="*/ 1059960 w 3024845"/>
                <a:gd name="connsiteY176" fmla="*/ 28103 h 689379"/>
                <a:gd name="connsiteX177" fmla="*/ 1070093 w 3024845"/>
                <a:gd name="connsiteY177" fmla="*/ 23779 h 689379"/>
                <a:gd name="connsiteX178" fmla="*/ 1074146 w 3024845"/>
                <a:gd name="connsiteY178" fmla="*/ 27022 h 689379"/>
                <a:gd name="connsiteX179" fmla="*/ 1074146 w 3024845"/>
                <a:gd name="connsiteY179" fmla="*/ 19456 h 689379"/>
                <a:gd name="connsiteX180" fmla="*/ 1076426 w 3024845"/>
                <a:gd name="connsiteY180" fmla="*/ 19456 h 689379"/>
                <a:gd name="connsiteX181" fmla="*/ 1092387 w 3024845"/>
                <a:gd name="connsiteY181" fmla="*/ 19456 h 689379"/>
                <a:gd name="connsiteX182" fmla="*/ 1092387 w 3024845"/>
                <a:gd name="connsiteY182" fmla="*/ 20537 h 689379"/>
                <a:gd name="connsiteX183" fmla="*/ 1092387 w 3024845"/>
                <a:gd name="connsiteY183" fmla="*/ 28103 h 689379"/>
                <a:gd name="connsiteX184" fmla="*/ 1122787 w 3024845"/>
                <a:gd name="connsiteY184" fmla="*/ 28103 h 689379"/>
                <a:gd name="connsiteX185" fmla="*/ 1122787 w 3024845"/>
                <a:gd name="connsiteY185" fmla="*/ 29724 h 689379"/>
                <a:gd name="connsiteX186" fmla="*/ 1122787 w 3024845"/>
                <a:gd name="connsiteY186" fmla="*/ 41074 h 689379"/>
                <a:gd name="connsiteX187" fmla="*/ 1149134 w 3024845"/>
                <a:gd name="connsiteY187" fmla="*/ 41074 h 689379"/>
                <a:gd name="connsiteX188" fmla="*/ 1149134 w 3024845"/>
                <a:gd name="connsiteY188" fmla="*/ 71338 h 689379"/>
                <a:gd name="connsiteX189" fmla="*/ 1149894 w 3024845"/>
                <a:gd name="connsiteY189" fmla="*/ 71338 h 689379"/>
                <a:gd name="connsiteX190" fmla="*/ 1155214 w 3024845"/>
                <a:gd name="connsiteY190" fmla="*/ 71338 h 689379"/>
                <a:gd name="connsiteX191" fmla="*/ 1155214 w 3024845"/>
                <a:gd name="connsiteY191" fmla="*/ 72419 h 689379"/>
                <a:gd name="connsiteX192" fmla="*/ 1155214 w 3024845"/>
                <a:gd name="connsiteY192" fmla="*/ 79986 h 689379"/>
                <a:gd name="connsiteX193" fmla="*/ 1159268 w 3024845"/>
                <a:gd name="connsiteY193" fmla="*/ 110250 h 689379"/>
                <a:gd name="connsiteX194" fmla="*/ 1160028 w 3024845"/>
                <a:gd name="connsiteY194" fmla="*/ 110250 h 689379"/>
                <a:gd name="connsiteX195" fmla="*/ 1165348 w 3024845"/>
                <a:gd name="connsiteY195" fmla="*/ 110250 h 689379"/>
                <a:gd name="connsiteX196" fmla="*/ 1165348 w 3024845"/>
                <a:gd name="connsiteY196" fmla="*/ 111061 h 689379"/>
                <a:gd name="connsiteX197" fmla="*/ 1165348 w 3024845"/>
                <a:gd name="connsiteY197" fmla="*/ 116736 h 689379"/>
                <a:gd name="connsiteX198" fmla="*/ 1166361 w 3024845"/>
                <a:gd name="connsiteY198" fmla="*/ 116736 h 689379"/>
                <a:gd name="connsiteX199" fmla="*/ 1173454 w 3024845"/>
                <a:gd name="connsiteY199" fmla="*/ 116736 h 689379"/>
                <a:gd name="connsiteX200" fmla="*/ 1173454 w 3024845"/>
                <a:gd name="connsiteY200" fmla="*/ 147001 h 689379"/>
                <a:gd name="connsiteX201" fmla="*/ 1175481 w 3024845"/>
                <a:gd name="connsiteY201" fmla="*/ 147001 h 689379"/>
                <a:gd name="connsiteX202" fmla="*/ 1189668 w 3024845"/>
                <a:gd name="connsiteY202" fmla="*/ 147001 h 689379"/>
                <a:gd name="connsiteX203" fmla="*/ 1189668 w 3024845"/>
                <a:gd name="connsiteY203" fmla="*/ 170780 h 689379"/>
                <a:gd name="connsiteX204" fmla="*/ 1191695 w 3024845"/>
                <a:gd name="connsiteY204" fmla="*/ 172401 h 689379"/>
                <a:gd name="connsiteX205" fmla="*/ 1191695 w 3024845"/>
                <a:gd name="connsiteY205" fmla="*/ 183751 h 689379"/>
                <a:gd name="connsiteX206" fmla="*/ 1192455 w 3024845"/>
                <a:gd name="connsiteY206" fmla="*/ 183751 h 689379"/>
                <a:gd name="connsiteX207" fmla="*/ 1197775 w 3024845"/>
                <a:gd name="connsiteY207" fmla="*/ 183751 h 689379"/>
                <a:gd name="connsiteX208" fmla="*/ 1197775 w 3024845"/>
                <a:gd name="connsiteY208" fmla="*/ 207530 h 689379"/>
                <a:gd name="connsiteX209" fmla="*/ 1199041 w 3024845"/>
                <a:gd name="connsiteY209" fmla="*/ 207530 h 689379"/>
                <a:gd name="connsiteX210" fmla="*/ 1207908 w 3024845"/>
                <a:gd name="connsiteY210" fmla="*/ 207530 h 689379"/>
                <a:gd name="connsiteX211" fmla="*/ 1209935 w 3024845"/>
                <a:gd name="connsiteY211" fmla="*/ 211584 h 689379"/>
                <a:gd name="connsiteX212" fmla="*/ 1209935 w 3024845"/>
                <a:gd name="connsiteY212" fmla="*/ 224825 h 689379"/>
                <a:gd name="connsiteX213" fmla="*/ 1211455 w 3024845"/>
                <a:gd name="connsiteY213" fmla="*/ 222933 h 689379"/>
                <a:gd name="connsiteX214" fmla="*/ 1222095 w 3024845"/>
                <a:gd name="connsiteY214" fmla="*/ 209692 h 689379"/>
                <a:gd name="connsiteX215" fmla="*/ 1250469 w 3024845"/>
                <a:gd name="connsiteY215" fmla="*/ 209692 h 689379"/>
                <a:gd name="connsiteX216" fmla="*/ 1250469 w 3024845"/>
                <a:gd name="connsiteY216" fmla="*/ 296163 h 689379"/>
                <a:gd name="connsiteX217" fmla="*/ 1251229 w 3024845"/>
                <a:gd name="connsiteY217" fmla="*/ 296163 h 689379"/>
                <a:gd name="connsiteX218" fmla="*/ 1256549 w 3024845"/>
                <a:gd name="connsiteY218" fmla="*/ 296163 h 689379"/>
                <a:gd name="connsiteX219" fmla="*/ 1257309 w 3024845"/>
                <a:gd name="connsiteY219" fmla="*/ 294812 h 689379"/>
                <a:gd name="connsiteX220" fmla="*/ 1262629 w 3024845"/>
                <a:gd name="connsiteY220" fmla="*/ 285354 h 689379"/>
                <a:gd name="connsiteX221" fmla="*/ 1262629 w 3024845"/>
                <a:gd name="connsiteY221" fmla="*/ 287246 h 689379"/>
                <a:gd name="connsiteX222" fmla="*/ 1262629 w 3024845"/>
                <a:gd name="connsiteY222" fmla="*/ 300487 h 689379"/>
                <a:gd name="connsiteX223" fmla="*/ 1266682 w 3024845"/>
                <a:gd name="connsiteY223" fmla="*/ 255090 h 689379"/>
                <a:gd name="connsiteX224" fmla="*/ 1267442 w 3024845"/>
                <a:gd name="connsiteY224" fmla="*/ 255090 h 689379"/>
                <a:gd name="connsiteX225" fmla="*/ 1272762 w 3024845"/>
                <a:gd name="connsiteY225" fmla="*/ 255090 h 689379"/>
                <a:gd name="connsiteX226" fmla="*/ 1272762 w 3024845"/>
                <a:gd name="connsiteY226" fmla="*/ 190236 h 689379"/>
                <a:gd name="connsiteX227" fmla="*/ 1273776 w 3024845"/>
                <a:gd name="connsiteY227" fmla="*/ 190236 h 689379"/>
                <a:gd name="connsiteX228" fmla="*/ 1280869 w 3024845"/>
                <a:gd name="connsiteY228" fmla="*/ 190236 h 689379"/>
                <a:gd name="connsiteX229" fmla="*/ 1293029 w 3024845"/>
                <a:gd name="connsiteY229" fmla="*/ 147001 h 689379"/>
                <a:gd name="connsiteX230" fmla="*/ 1294296 w 3024845"/>
                <a:gd name="connsiteY230" fmla="*/ 147001 h 689379"/>
                <a:gd name="connsiteX231" fmla="*/ 1303163 w 3024845"/>
                <a:gd name="connsiteY231" fmla="*/ 147001 h 689379"/>
                <a:gd name="connsiteX232" fmla="*/ 1313296 w 3024845"/>
                <a:gd name="connsiteY232" fmla="*/ 190236 h 689379"/>
                <a:gd name="connsiteX233" fmla="*/ 1314309 w 3024845"/>
                <a:gd name="connsiteY233" fmla="*/ 190236 h 689379"/>
                <a:gd name="connsiteX234" fmla="*/ 1321403 w 3024845"/>
                <a:gd name="connsiteY234" fmla="*/ 190236 h 689379"/>
                <a:gd name="connsiteX235" fmla="*/ 1321403 w 3024845"/>
                <a:gd name="connsiteY235" fmla="*/ 229148 h 689379"/>
                <a:gd name="connsiteX236" fmla="*/ 1323176 w 3024845"/>
                <a:gd name="connsiteY236" fmla="*/ 229148 h 689379"/>
                <a:gd name="connsiteX237" fmla="*/ 1335590 w 3024845"/>
                <a:gd name="connsiteY237" fmla="*/ 229148 h 689379"/>
                <a:gd name="connsiteX238" fmla="*/ 1335590 w 3024845"/>
                <a:gd name="connsiteY238" fmla="*/ 231310 h 689379"/>
                <a:gd name="connsiteX239" fmla="*/ 1335590 w 3024845"/>
                <a:gd name="connsiteY239" fmla="*/ 246442 h 689379"/>
                <a:gd name="connsiteX240" fmla="*/ 1339643 w 3024845"/>
                <a:gd name="connsiteY240" fmla="*/ 244281 h 689379"/>
                <a:gd name="connsiteX241" fmla="*/ 1339643 w 3024845"/>
                <a:gd name="connsiteY241" fmla="*/ 229148 h 689379"/>
                <a:gd name="connsiteX242" fmla="*/ 1341163 w 3024845"/>
                <a:gd name="connsiteY242" fmla="*/ 229148 h 689379"/>
                <a:gd name="connsiteX243" fmla="*/ 1351803 w 3024845"/>
                <a:gd name="connsiteY243" fmla="*/ 229148 h 689379"/>
                <a:gd name="connsiteX244" fmla="*/ 1351803 w 3024845"/>
                <a:gd name="connsiteY244" fmla="*/ 230769 h 689379"/>
                <a:gd name="connsiteX245" fmla="*/ 1351803 w 3024845"/>
                <a:gd name="connsiteY245" fmla="*/ 242119 h 689379"/>
                <a:gd name="connsiteX246" fmla="*/ 1382204 w 3024845"/>
                <a:gd name="connsiteY246" fmla="*/ 242119 h 689379"/>
                <a:gd name="connsiteX247" fmla="*/ 1382204 w 3024845"/>
                <a:gd name="connsiteY247" fmla="*/ 205369 h 689379"/>
                <a:gd name="connsiteX248" fmla="*/ 1383470 w 3024845"/>
                <a:gd name="connsiteY248" fmla="*/ 205369 h 689379"/>
                <a:gd name="connsiteX249" fmla="*/ 1392337 w 3024845"/>
                <a:gd name="connsiteY249" fmla="*/ 205369 h 689379"/>
                <a:gd name="connsiteX250" fmla="*/ 1392337 w 3024845"/>
                <a:gd name="connsiteY250" fmla="*/ 226986 h 689379"/>
                <a:gd name="connsiteX251" fmla="*/ 1394364 w 3024845"/>
                <a:gd name="connsiteY251" fmla="*/ 194560 h 689379"/>
                <a:gd name="connsiteX252" fmla="*/ 1416657 w 3024845"/>
                <a:gd name="connsiteY252" fmla="*/ 194560 h 689379"/>
                <a:gd name="connsiteX253" fmla="*/ 1416657 w 3024845"/>
                <a:gd name="connsiteY253" fmla="*/ 192938 h 689379"/>
                <a:gd name="connsiteX254" fmla="*/ 1416657 w 3024845"/>
                <a:gd name="connsiteY254" fmla="*/ 181589 h 689379"/>
                <a:gd name="connsiteX255" fmla="*/ 1417417 w 3024845"/>
                <a:gd name="connsiteY255" fmla="*/ 181589 h 689379"/>
                <a:gd name="connsiteX256" fmla="*/ 1422737 w 3024845"/>
                <a:gd name="connsiteY256" fmla="*/ 181589 h 689379"/>
                <a:gd name="connsiteX257" fmla="*/ 1422737 w 3024845"/>
                <a:gd name="connsiteY257" fmla="*/ 179698 h 689379"/>
                <a:gd name="connsiteX258" fmla="*/ 1422737 w 3024845"/>
                <a:gd name="connsiteY258" fmla="*/ 166457 h 689379"/>
                <a:gd name="connsiteX259" fmla="*/ 1426791 w 3024845"/>
                <a:gd name="connsiteY259" fmla="*/ 172942 h 689379"/>
                <a:gd name="connsiteX260" fmla="*/ 1429071 w 3024845"/>
                <a:gd name="connsiteY260" fmla="*/ 172942 h 689379"/>
                <a:gd name="connsiteX261" fmla="*/ 1445031 w 3024845"/>
                <a:gd name="connsiteY261" fmla="*/ 172942 h 689379"/>
                <a:gd name="connsiteX262" fmla="*/ 1445031 w 3024845"/>
                <a:gd name="connsiteY262" fmla="*/ 172131 h 689379"/>
                <a:gd name="connsiteX263" fmla="*/ 1445031 w 3024845"/>
                <a:gd name="connsiteY263" fmla="*/ 166457 h 689379"/>
                <a:gd name="connsiteX264" fmla="*/ 1445791 w 3024845"/>
                <a:gd name="connsiteY264" fmla="*/ 166457 h 689379"/>
                <a:gd name="connsiteX265" fmla="*/ 1451111 w 3024845"/>
                <a:gd name="connsiteY265" fmla="*/ 166457 h 689379"/>
                <a:gd name="connsiteX266" fmla="*/ 1451111 w 3024845"/>
                <a:gd name="connsiteY266" fmla="*/ 167808 h 689379"/>
                <a:gd name="connsiteX267" fmla="*/ 1451111 w 3024845"/>
                <a:gd name="connsiteY267" fmla="*/ 177266 h 689379"/>
                <a:gd name="connsiteX268" fmla="*/ 1489618 w 3024845"/>
                <a:gd name="connsiteY268" fmla="*/ 177266 h 689379"/>
                <a:gd name="connsiteX269" fmla="*/ 1489618 w 3024845"/>
                <a:gd name="connsiteY269" fmla="*/ 315619 h 689379"/>
                <a:gd name="connsiteX270" fmla="*/ 1491138 w 3024845"/>
                <a:gd name="connsiteY270" fmla="*/ 315619 h 689379"/>
                <a:gd name="connsiteX271" fmla="*/ 1501778 w 3024845"/>
                <a:gd name="connsiteY271" fmla="*/ 315619 h 689379"/>
                <a:gd name="connsiteX272" fmla="*/ 1501778 w 3024845"/>
                <a:gd name="connsiteY272" fmla="*/ 302649 h 689379"/>
                <a:gd name="connsiteX273" fmla="*/ 1505832 w 3024845"/>
                <a:gd name="connsiteY273" fmla="*/ 302649 h 689379"/>
                <a:gd name="connsiteX274" fmla="*/ 1505832 w 3024845"/>
                <a:gd name="connsiteY274" fmla="*/ 315619 h 689379"/>
                <a:gd name="connsiteX275" fmla="*/ 1536232 w 3024845"/>
                <a:gd name="connsiteY275" fmla="*/ 315619 h 689379"/>
                <a:gd name="connsiteX276" fmla="*/ 1536232 w 3024845"/>
                <a:gd name="connsiteY276" fmla="*/ 285354 h 689379"/>
                <a:gd name="connsiteX277" fmla="*/ 1548392 w 3024845"/>
                <a:gd name="connsiteY277" fmla="*/ 285354 h 689379"/>
                <a:gd name="connsiteX278" fmla="*/ 1560552 w 3024845"/>
                <a:gd name="connsiteY278" fmla="*/ 283193 h 689379"/>
                <a:gd name="connsiteX279" fmla="*/ 1564606 w 3024845"/>
                <a:gd name="connsiteY279" fmla="*/ 285354 h 689379"/>
                <a:gd name="connsiteX280" fmla="*/ 1574739 w 3024845"/>
                <a:gd name="connsiteY280" fmla="*/ 285354 h 689379"/>
                <a:gd name="connsiteX281" fmla="*/ 1574739 w 3024845"/>
                <a:gd name="connsiteY281" fmla="*/ 315619 h 689379"/>
                <a:gd name="connsiteX282" fmla="*/ 1582846 w 3024845"/>
                <a:gd name="connsiteY282" fmla="*/ 315619 h 689379"/>
                <a:gd name="connsiteX283" fmla="*/ 1582846 w 3024845"/>
                <a:gd name="connsiteY283" fmla="*/ 332914 h 689379"/>
                <a:gd name="connsiteX284" fmla="*/ 1592182 w 3024845"/>
                <a:gd name="connsiteY284" fmla="*/ 333819 h 689379"/>
                <a:gd name="connsiteX285" fmla="*/ 1605140 w 3024845"/>
                <a:gd name="connsiteY285" fmla="*/ 333819 h 689379"/>
                <a:gd name="connsiteX286" fmla="*/ 1605140 w 3024845"/>
                <a:gd name="connsiteY286" fmla="*/ 317781 h 689379"/>
                <a:gd name="connsiteX287" fmla="*/ 1673096 w 3024845"/>
                <a:gd name="connsiteY287" fmla="*/ 317781 h 689379"/>
                <a:gd name="connsiteX288" fmla="*/ 1673096 w 3024845"/>
                <a:gd name="connsiteY288" fmla="*/ 232528 h 689379"/>
                <a:gd name="connsiteX289" fmla="*/ 1745104 w 3024845"/>
                <a:gd name="connsiteY289" fmla="*/ 232528 h 689379"/>
                <a:gd name="connsiteX290" fmla="*/ 1745104 w 3024845"/>
                <a:gd name="connsiteY290" fmla="*/ 311296 h 689379"/>
                <a:gd name="connsiteX291" fmla="*/ 1747008 w 3024845"/>
                <a:gd name="connsiteY291" fmla="*/ 311296 h 689379"/>
                <a:gd name="connsiteX292" fmla="*/ 1748250 w 3024845"/>
                <a:gd name="connsiteY292" fmla="*/ 333819 h 689379"/>
                <a:gd name="connsiteX293" fmla="*/ 1757926 w 3024845"/>
                <a:gd name="connsiteY293" fmla="*/ 333819 h 689379"/>
                <a:gd name="connsiteX294" fmla="*/ 1759168 w 3024845"/>
                <a:gd name="connsiteY294" fmla="*/ 311296 h 689379"/>
                <a:gd name="connsiteX295" fmla="*/ 1765248 w 3024845"/>
                <a:gd name="connsiteY295" fmla="*/ 311296 h 689379"/>
                <a:gd name="connsiteX296" fmla="*/ 1766490 w 3024845"/>
                <a:gd name="connsiteY296" fmla="*/ 333819 h 689379"/>
                <a:gd name="connsiteX297" fmla="*/ 1817112 w 3024845"/>
                <a:gd name="connsiteY297" fmla="*/ 333819 h 689379"/>
                <a:gd name="connsiteX298" fmla="*/ 1817112 w 3024845"/>
                <a:gd name="connsiteY298" fmla="*/ 170791 h 689379"/>
                <a:gd name="connsiteX299" fmla="*/ 2014439 w 3024845"/>
                <a:gd name="connsiteY299" fmla="*/ 170791 h 689379"/>
                <a:gd name="connsiteX300" fmla="*/ 2014439 w 3024845"/>
                <a:gd name="connsiteY300" fmla="*/ 333819 h 689379"/>
                <a:gd name="connsiteX301" fmla="*/ 2033136 w 3024845"/>
                <a:gd name="connsiteY301" fmla="*/ 333819 h 689379"/>
                <a:gd name="connsiteX302" fmla="*/ 2033136 w 3024845"/>
                <a:gd name="connsiteY302" fmla="*/ 251126 h 689379"/>
                <a:gd name="connsiteX303" fmla="*/ 2128256 w 3024845"/>
                <a:gd name="connsiteY303" fmla="*/ 251126 h 689379"/>
                <a:gd name="connsiteX304" fmla="*/ 2180720 w 3024845"/>
                <a:gd name="connsiteY304" fmla="*/ 185913 h 689379"/>
                <a:gd name="connsiteX305" fmla="*/ 2245574 w 3024845"/>
                <a:gd name="connsiteY305" fmla="*/ 185913 h 689379"/>
                <a:gd name="connsiteX306" fmla="*/ 2245574 w 3024845"/>
                <a:gd name="connsiteY306" fmla="*/ 261575 h 689379"/>
                <a:gd name="connsiteX307" fmla="*/ 2253681 w 3024845"/>
                <a:gd name="connsiteY307" fmla="*/ 261575 h 689379"/>
                <a:gd name="connsiteX308" fmla="*/ 2255708 w 3024845"/>
                <a:gd name="connsiteY308" fmla="*/ 255090 h 689379"/>
                <a:gd name="connsiteX309" fmla="*/ 2261788 w 3024845"/>
                <a:gd name="connsiteY309" fmla="*/ 255090 h 689379"/>
                <a:gd name="connsiteX310" fmla="*/ 2263815 w 3024845"/>
                <a:gd name="connsiteY310" fmla="*/ 263737 h 689379"/>
                <a:gd name="connsiteX311" fmla="*/ 2275975 w 3024845"/>
                <a:gd name="connsiteY311" fmla="*/ 263737 h 689379"/>
                <a:gd name="connsiteX312" fmla="*/ 2275975 w 3024845"/>
                <a:gd name="connsiteY312" fmla="*/ 257251 h 689379"/>
                <a:gd name="connsiteX313" fmla="*/ 2298268 w 3024845"/>
                <a:gd name="connsiteY313" fmla="*/ 257251 h 689379"/>
                <a:gd name="connsiteX314" fmla="*/ 2298268 w 3024845"/>
                <a:gd name="connsiteY314" fmla="*/ 263737 h 689379"/>
                <a:gd name="connsiteX315" fmla="*/ 2318535 w 3024845"/>
                <a:gd name="connsiteY315" fmla="*/ 263737 h 689379"/>
                <a:gd name="connsiteX316" fmla="*/ 2318535 w 3024845"/>
                <a:gd name="connsiteY316" fmla="*/ 309134 h 689379"/>
                <a:gd name="connsiteX317" fmla="*/ 2332722 w 3024845"/>
                <a:gd name="connsiteY317" fmla="*/ 309134 h 689379"/>
                <a:gd name="connsiteX318" fmla="*/ 2332722 w 3024845"/>
                <a:gd name="connsiteY318" fmla="*/ 296163 h 689379"/>
                <a:gd name="connsiteX319" fmla="*/ 2348936 w 3024845"/>
                <a:gd name="connsiteY319" fmla="*/ 296163 h 689379"/>
                <a:gd name="connsiteX320" fmla="*/ 2348936 w 3024845"/>
                <a:gd name="connsiteY320" fmla="*/ 116736 h 689379"/>
                <a:gd name="connsiteX321" fmla="*/ 2355016 w 3024845"/>
                <a:gd name="connsiteY321" fmla="*/ 110250 h 689379"/>
                <a:gd name="connsiteX322" fmla="*/ 2427977 w 3024845"/>
                <a:gd name="connsiteY322" fmla="*/ 110250 h 689379"/>
                <a:gd name="connsiteX323" fmla="*/ 2427977 w 3024845"/>
                <a:gd name="connsiteY323" fmla="*/ 118898 h 689379"/>
                <a:gd name="connsiteX324" fmla="*/ 2438110 w 3024845"/>
                <a:gd name="connsiteY324" fmla="*/ 118898 h 689379"/>
                <a:gd name="connsiteX325" fmla="*/ 2438110 w 3024845"/>
                <a:gd name="connsiteY325" fmla="*/ 233472 h 689379"/>
                <a:gd name="connsiteX326" fmla="*/ 2460404 w 3024845"/>
                <a:gd name="connsiteY326" fmla="*/ 233472 h 689379"/>
                <a:gd name="connsiteX327" fmla="*/ 2460404 w 3024845"/>
                <a:gd name="connsiteY327" fmla="*/ 166457 h 689379"/>
                <a:gd name="connsiteX328" fmla="*/ 2486751 w 3024845"/>
                <a:gd name="connsiteY328" fmla="*/ 166457 h 689379"/>
                <a:gd name="connsiteX329" fmla="*/ 2490804 w 3024845"/>
                <a:gd name="connsiteY329" fmla="*/ 162133 h 689379"/>
                <a:gd name="connsiteX330" fmla="*/ 2498911 w 3024845"/>
                <a:gd name="connsiteY330" fmla="*/ 162133 h 689379"/>
                <a:gd name="connsiteX331" fmla="*/ 2502964 w 3024845"/>
                <a:gd name="connsiteY331" fmla="*/ 166457 h 689379"/>
                <a:gd name="connsiteX332" fmla="*/ 2525258 w 3024845"/>
                <a:gd name="connsiteY332" fmla="*/ 166457 h 689379"/>
                <a:gd name="connsiteX333" fmla="*/ 2525258 w 3024845"/>
                <a:gd name="connsiteY333" fmla="*/ 49721 h 689379"/>
                <a:gd name="connsiteX334" fmla="*/ 2582005 w 3024845"/>
                <a:gd name="connsiteY334" fmla="*/ 38912 h 689379"/>
                <a:gd name="connsiteX335" fmla="*/ 2582005 w 3024845"/>
                <a:gd name="connsiteY335" fmla="*/ 39993 h 689379"/>
                <a:gd name="connsiteX336" fmla="*/ 2582005 w 3024845"/>
                <a:gd name="connsiteY336" fmla="*/ 47559 h 689379"/>
                <a:gd name="connsiteX337" fmla="*/ 2608352 w 3024845"/>
                <a:gd name="connsiteY337" fmla="*/ 47559 h 689379"/>
                <a:gd name="connsiteX338" fmla="*/ 2608352 w 3024845"/>
                <a:gd name="connsiteY338" fmla="*/ 302649 h 689379"/>
                <a:gd name="connsiteX339" fmla="*/ 2630646 w 3024845"/>
                <a:gd name="connsiteY339" fmla="*/ 302649 h 689379"/>
                <a:gd name="connsiteX340" fmla="*/ 2630646 w 3024845"/>
                <a:gd name="connsiteY340" fmla="*/ 298325 h 689379"/>
                <a:gd name="connsiteX341" fmla="*/ 2642806 w 3024845"/>
                <a:gd name="connsiteY341" fmla="*/ 298325 h 689379"/>
                <a:gd name="connsiteX342" fmla="*/ 2642806 w 3024845"/>
                <a:gd name="connsiteY342" fmla="*/ 302649 h 689379"/>
                <a:gd name="connsiteX343" fmla="*/ 2667126 w 3024845"/>
                <a:gd name="connsiteY343" fmla="*/ 302649 h 689379"/>
                <a:gd name="connsiteX344" fmla="*/ 2667126 w 3024845"/>
                <a:gd name="connsiteY344" fmla="*/ 289678 h 689379"/>
                <a:gd name="connsiteX345" fmla="*/ 2695500 w 3024845"/>
                <a:gd name="connsiteY345" fmla="*/ 289678 h 689379"/>
                <a:gd name="connsiteX346" fmla="*/ 2707660 w 3024845"/>
                <a:gd name="connsiteY346" fmla="*/ 285354 h 689379"/>
                <a:gd name="connsiteX347" fmla="*/ 2727927 w 3024845"/>
                <a:gd name="connsiteY347" fmla="*/ 289678 h 689379"/>
                <a:gd name="connsiteX348" fmla="*/ 2727927 w 3024845"/>
                <a:gd name="connsiteY348" fmla="*/ 272384 h 689379"/>
                <a:gd name="connsiteX349" fmla="*/ 2736034 w 3024845"/>
                <a:gd name="connsiteY349" fmla="*/ 272384 h 689379"/>
                <a:gd name="connsiteX350" fmla="*/ 2736034 w 3024845"/>
                <a:gd name="connsiteY350" fmla="*/ 259413 h 689379"/>
                <a:gd name="connsiteX351" fmla="*/ 2792781 w 3024845"/>
                <a:gd name="connsiteY351" fmla="*/ 259413 h 689379"/>
                <a:gd name="connsiteX352" fmla="*/ 2792781 w 3024845"/>
                <a:gd name="connsiteY352" fmla="*/ 229148 h 689379"/>
                <a:gd name="connsiteX353" fmla="*/ 2811021 w 3024845"/>
                <a:gd name="connsiteY353" fmla="*/ 229148 h 689379"/>
                <a:gd name="connsiteX354" fmla="*/ 2811021 w 3024845"/>
                <a:gd name="connsiteY354" fmla="*/ 222663 h 689379"/>
                <a:gd name="connsiteX355" fmla="*/ 2823181 w 3024845"/>
                <a:gd name="connsiteY355" fmla="*/ 222663 h 689379"/>
                <a:gd name="connsiteX356" fmla="*/ 2823181 w 3024845"/>
                <a:gd name="connsiteY356" fmla="*/ 229148 h 689379"/>
                <a:gd name="connsiteX357" fmla="*/ 2839395 w 3024845"/>
                <a:gd name="connsiteY357" fmla="*/ 229148 h 689379"/>
                <a:gd name="connsiteX358" fmla="*/ 2839395 w 3024845"/>
                <a:gd name="connsiteY358" fmla="*/ 278869 h 689379"/>
                <a:gd name="connsiteX359" fmla="*/ 2871822 w 3024845"/>
                <a:gd name="connsiteY359" fmla="*/ 278869 h 689379"/>
                <a:gd name="connsiteX360" fmla="*/ 2871822 w 3024845"/>
                <a:gd name="connsiteY360" fmla="*/ 252928 h 689379"/>
                <a:gd name="connsiteX361" fmla="*/ 2910329 w 3024845"/>
                <a:gd name="connsiteY361" fmla="*/ 252928 h 689379"/>
                <a:gd name="connsiteX362" fmla="*/ 2910329 w 3024845"/>
                <a:gd name="connsiteY362" fmla="*/ 222663 h 689379"/>
                <a:gd name="connsiteX363" fmla="*/ 2958970 w 3024845"/>
                <a:gd name="connsiteY363" fmla="*/ 222663 h 689379"/>
                <a:gd name="connsiteX364" fmla="*/ 2958970 w 3024845"/>
                <a:gd name="connsiteY364" fmla="*/ 333819 h 689379"/>
                <a:gd name="connsiteX365" fmla="*/ 2958970 w 3024845"/>
                <a:gd name="connsiteY365" fmla="*/ 347598 h 689379"/>
                <a:gd name="connsiteX366" fmla="*/ 3024845 w 3024845"/>
                <a:gd name="connsiteY366" fmla="*/ 347598 h 689379"/>
                <a:gd name="connsiteX367" fmla="*/ 3024845 w 3024845"/>
                <a:gd name="connsiteY367" fmla="*/ 689379 h 689379"/>
                <a:gd name="connsiteX368" fmla="*/ 2054 w 3024845"/>
                <a:gd name="connsiteY368" fmla="*/ 687046 h 689379"/>
                <a:gd name="connsiteX369" fmla="*/ 0 w 3024845"/>
                <a:gd name="connsiteY369" fmla="*/ 252928 h 689379"/>
                <a:gd name="connsiteX370" fmla="*/ 20267 w 3024845"/>
                <a:gd name="connsiteY370" fmla="*/ 252928 h 689379"/>
                <a:gd name="connsiteX371" fmla="*/ 20774 w 3024845"/>
                <a:gd name="connsiteY371" fmla="*/ 251847 h 689379"/>
                <a:gd name="connsiteX372" fmla="*/ 24320 w 3024845"/>
                <a:gd name="connsiteY372" fmla="*/ 244281 h 689379"/>
                <a:gd name="connsiteX373" fmla="*/ 26094 w 3024845"/>
                <a:gd name="connsiteY373" fmla="*/ 244551 h 689379"/>
                <a:gd name="connsiteX374" fmla="*/ 38507 w 3024845"/>
                <a:gd name="connsiteY374" fmla="*/ 246442 h 689379"/>
                <a:gd name="connsiteX375" fmla="*/ 39014 w 3024845"/>
                <a:gd name="connsiteY375" fmla="*/ 247794 h 689379"/>
                <a:gd name="connsiteX376" fmla="*/ 42560 w 3024845"/>
                <a:gd name="connsiteY376" fmla="*/ 257251 h 689379"/>
                <a:gd name="connsiteX377" fmla="*/ 68907 w 3024845"/>
                <a:gd name="connsiteY377" fmla="*/ 259413 h 689379"/>
                <a:gd name="connsiteX378" fmla="*/ 68907 w 3024845"/>
                <a:gd name="connsiteY378" fmla="*/ 136192 h 689379"/>
                <a:gd name="connsiteX379" fmla="*/ 70934 w 3024845"/>
                <a:gd name="connsiteY379" fmla="*/ 136192 h 689379"/>
                <a:gd name="connsiteX380" fmla="*/ 85121 w 3024845"/>
                <a:gd name="connsiteY380" fmla="*/ 136192 h 689379"/>
                <a:gd name="connsiteX381" fmla="*/ 85121 w 3024845"/>
                <a:gd name="connsiteY381" fmla="*/ 0 h 689379"/>
                <a:gd name="connsiteX382" fmla="*/ 86894 w 3024845"/>
                <a:gd name="connsiteY382" fmla="*/ 0 h 689379"/>
                <a:gd name="connsiteX383" fmla="*/ 99308 w 3024845"/>
                <a:gd name="connsiteY383" fmla="*/ 0 h 68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</a:cxnLst>
              <a:rect l="l" t="t" r="r" b="b"/>
              <a:pathLst>
                <a:path w="3024845" h="689379">
                  <a:moveTo>
                    <a:pt x="99308" y="0"/>
                  </a:moveTo>
                  <a:lnTo>
                    <a:pt x="220909" y="0"/>
                  </a:lnTo>
                  <a:lnTo>
                    <a:pt x="223189" y="0"/>
                  </a:lnTo>
                  <a:lnTo>
                    <a:pt x="239150" y="0"/>
                  </a:lnTo>
                  <a:lnTo>
                    <a:pt x="239150" y="140515"/>
                  </a:lnTo>
                  <a:cubicBezTo>
                    <a:pt x="239160" y="140514"/>
                    <a:pt x="239272" y="140493"/>
                    <a:pt x="240670" y="140245"/>
                  </a:cubicBezTo>
                  <a:lnTo>
                    <a:pt x="251310" y="138354"/>
                  </a:lnTo>
                  <a:cubicBezTo>
                    <a:pt x="251310" y="138376"/>
                    <a:pt x="251280" y="139710"/>
                    <a:pt x="249283" y="226986"/>
                  </a:cubicBezTo>
                  <a:cubicBezTo>
                    <a:pt x="249293" y="226988"/>
                    <a:pt x="249404" y="227008"/>
                    <a:pt x="250803" y="227257"/>
                  </a:cubicBezTo>
                  <a:lnTo>
                    <a:pt x="261443" y="229148"/>
                  </a:lnTo>
                  <a:cubicBezTo>
                    <a:pt x="261445" y="229155"/>
                    <a:pt x="261465" y="229219"/>
                    <a:pt x="261696" y="229959"/>
                  </a:cubicBezTo>
                  <a:lnTo>
                    <a:pt x="263470" y="235634"/>
                  </a:lnTo>
                  <a:cubicBezTo>
                    <a:pt x="263472" y="235625"/>
                    <a:pt x="263517" y="235482"/>
                    <a:pt x="264230" y="233202"/>
                  </a:cubicBezTo>
                  <a:lnTo>
                    <a:pt x="269550" y="216178"/>
                  </a:lnTo>
                  <a:lnTo>
                    <a:pt x="271323" y="216178"/>
                  </a:lnTo>
                  <a:lnTo>
                    <a:pt x="283737" y="216178"/>
                  </a:lnTo>
                  <a:lnTo>
                    <a:pt x="283737" y="248604"/>
                  </a:lnTo>
                  <a:cubicBezTo>
                    <a:pt x="283743" y="248609"/>
                    <a:pt x="283820" y="248649"/>
                    <a:pt x="284750" y="249145"/>
                  </a:cubicBezTo>
                  <a:lnTo>
                    <a:pt x="291844" y="252928"/>
                  </a:lnTo>
                  <a:lnTo>
                    <a:pt x="291844" y="254279"/>
                  </a:lnTo>
                  <a:lnTo>
                    <a:pt x="291844" y="263737"/>
                  </a:lnTo>
                  <a:lnTo>
                    <a:pt x="336431" y="263737"/>
                  </a:lnTo>
                  <a:lnTo>
                    <a:pt x="336431" y="264818"/>
                  </a:lnTo>
                  <a:lnTo>
                    <a:pt x="336431" y="272384"/>
                  </a:lnTo>
                  <a:lnTo>
                    <a:pt x="338457" y="272384"/>
                  </a:lnTo>
                  <a:lnTo>
                    <a:pt x="352644" y="272384"/>
                  </a:lnTo>
                  <a:lnTo>
                    <a:pt x="352644" y="242119"/>
                  </a:lnTo>
                  <a:lnTo>
                    <a:pt x="397231" y="242119"/>
                  </a:lnTo>
                  <a:lnTo>
                    <a:pt x="397231" y="240768"/>
                  </a:lnTo>
                  <a:lnTo>
                    <a:pt x="397231" y="231310"/>
                  </a:lnTo>
                  <a:lnTo>
                    <a:pt x="398245" y="231310"/>
                  </a:lnTo>
                  <a:lnTo>
                    <a:pt x="405338" y="231310"/>
                  </a:lnTo>
                  <a:lnTo>
                    <a:pt x="405338" y="229419"/>
                  </a:lnTo>
                  <a:lnTo>
                    <a:pt x="405338" y="216178"/>
                  </a:lnTo>
                  <a:lnTo>
                    <a:pt x="406098" y="216178"/>
                  </a:lnTo>
                  <a:lnTo>
                    <a:pt x="411418" y="216178"/>
                  </a:lnTo>
                  <a:lnTo>
                    <a:pt x="411418" y="215097"/>
                  </a:lnTo>
                  <a:lnTo>
                    <a:pt x="411418" y="207530"/>
                  </a:lnTo>
                  <a:lnTo>
                    <a:pt x="413445" y="207530"/>
                  </a:lnTo>
                  <a:lnTo>
                    <a:pt x="427632" y="207530"/>
                  </a:lnTo>
                  <a:lnTo>
                    <a:pt x="427632" y="208611"/>
                  </a:lnTo>
                  <a:lnTo>
                    <a:pt x="427632" y="216178"/>
                  </a:lnTo>
                  <a:lnTo>
                    <a:pt x="449925" y="216178"/>
                  </a:lnTo>
                  <a:lnTo>
                    <a:pt x="449925" y="214286"/>
                  </a:lnTo>
                  <a:lnTo>
                    <a:pt x="449925" y="201045"/>
                  </a:lnTo>
                  <a:lnTo>
                    <a:pt x="451699" y="201045"/>
                  </a:lnTo>
                  <a:lnTo>
                    <a:pt x="464112" y="201045"/>
                  </a:lnTo>
                  <a:lnTo>
                    <a:pt x="464112" y="224825"/>
                  </a:lnTo>
                  <a:lnTo>
                    <a:pt x="465126" y="224825"/>
                  </a:lnTo>
                  <a:lnTo>
                    <a:pt x="472219" y="224825"/>
                  </a:lnTo>
                  <a:lnTo>
                    <a:pt x="472219" y="223744"/>
                  </a:lnTo>
                  <a:lnTo>
                    <a:pt x="472219" y="216178"/>
                  </a:lnTo>
                  <a:lnTo>
                    <a:pt x="473992" y="216178"/>
                  </a:lnTo>
                  <a:lnTo>
                    <a:pt x="486406" y="216178"/>
                  </a:lnTo>
                  <a:lnTo>
                    <a:pt x="486406" y="242119"/>
                  </a:lnTo>
                  <a:lnTo>
                    <a:pt x="488433" y="242119"/>
                  </a:lnTo>
                  <a:lnTo>
                    <a:pt x="502619" y="242119"/>
                  </a:lnTo>
                  <a:lnTo>
                    <a:pt x="502619" y="243740"/>
                  </a:lnTo>
                  <a:lnTo>
                    <a:pt x="502619" y="255090"/>
                  </a:lnTo>
                  <a:lnTo>
                    <a:pt x="503379" y="255090"/>
                  </a:lnTo>
                  <a:lnTo>
                    <a:pt x="508700" y="255090"/>
                  </a:lnTo>
                  <a:lnTo>
                    <a:pt x="508700" y="254279"/>
                  </a:lnTo>
                  <a:lnTo>
                    <a:pt x="508700" y="248604"/>
                  </a:lnTo>
                  <a:lnTo>
                    <a:pt x="539100" y="248604"/>
                  </a:lnTo>
                  <a:lnTo>
                    <a:pt x="539100" y="272384"/>
                  </a:lnTo>
                  <a:lnTo>
                    <a:pt x="540113" y="272384"/>
                  </a:lnTo>
                  <a:lnTo>
                    <a:pt x="547207" y="272384"/>
                  </a:lnTo>
                  <a:lnTo>
                    <a:pt x="547207" y="273465"/>
                  </a:lnTo>
                  <a:lnTo>
                    <a:pt x="547207" y="281031"/>
                  </a:lnTo>
                  <a:lnTo>
                    <a:pt x="547967" y="281031"/>
                  </a:lnTo>
                  <a:lnTo>
                    <a:pt x="553287" y="281031"/>
                  </a:lnTo>
                  <a:lnTo>
                    <a:pt x="553287" y="278869"/>
                  </a:lnTo>
                  <a:lnTo>
                    <a:pt x="553287" y="263737"/>
                  </a:lnTo>
                  <a:lnTo>
                    <a:pt x="554300" y="263737"/>
                  </a:lnTo>
                  <a:lnTo>
                    <a:pt x="561394" y="263737"/>
                  </a:lnTo>
                  <a:lnTo>
                    <a:pt x="561394" y="264818"/>
                  </a:lnTo>
                  <a:lnTo>
                    <a:pt x="561394" y="272384"/>
                  </a:lnTo>
                  <a:lnTo>
                    <a:pt x="566714" y="270391"/>
                  </a:lnTo>
                  <a:cubicBezTo>
                    <a:pt x="567474" y="270019"/>
                    <a:pt x="567474" y="269817"/>
                    <a:pt x="567474" y="269411"/>
                  </a:cubicBezTo>
                  <a:lnTo>
                    <a:pt x="567474" y="263737"/>
                  </a:lnTo>
                  <a:lnTo>
                    <a:pt x="605981" y="263737"/>
                  </a:lnTo>
                  <a:lnTo>
                    <a:pt x="605981" y="287516"/>
                  </a:lnTo>
                  <a:lnTo>
                    <a:pt x="608007" y="287516"/>
                  </a:lnTo>
                  <a:lnTo>
                    <a:pt x="622194" y="287516"/>
                  </a:lnTo>
                  <a:lnTo>
                    <a:pt x="622194" y="288597"/>
                  </a:lnTo>
                  <a:lnTo>
                    <a:pt x="622194" y="296163"/>
                  </a:lnTo>
                  <a:lnTo>
                    <a:pt x="623968" y="296163"/>
                  </a:lnTo>
                  <a:lnTo>
                    <a:pt x="636381" y="296163"/>
                  </a:lnTo>
                  <a:lnTo>
                    <a:pt x="636381" y="272384"/>
                  </a:lnTo>
                  <a:lnTo>
                    <a:pt x="637394" y="272384"/>
                  </a:lnTo>
                  <a:lnTo>
                    <a:pt x="644488" y="272384"/>
                  </a:lnTo>
                  <a:lnTo>
                    <a:pt x="644488" y="239957"/>
                  </a:lnTo>
                  <a:lnTo>
                    <a:pt x="645501" y="239957"/>
                  </a:lnTo>
                  <a:lnTo>
                    <a:pt x="652595" y="239957"/>
                  </a:lnTo>
                  <a:lnTo>
                    <a:pt x="652595" y="238066"/>
                  </a:lnTo>
                  <a:lnTo>
                    <a:pt x="652595" y="224825"/>
                  </a:lnTo>
                  <a:cubicBezTo>
                    <a:pt x="650568" y="224825"/>
                    <a:pt x="650568" y="224825"/>
                    <a:pt x="651328" y="223203"/>
                  </a:cubicBezTo>
                  <a:lnTo>
                    <a:pt x="656648" y="211854"/>
                  </a:lnTo>
                  <a:cubicBezTo>
                    <a:pt x="656653" y="211871"/>
                    <a:pt x="656848" y="212545"/>
                    <a:pt x="664755" y="239957"/>
                  </a:cubicBezTo>
                  <a:lnTo>
                    <a:pt x="665515" y="239957"/>
                  </a:lnTo>
                  <a:lnTo>
                    <a:pt x="670835" y="239957"/>
                  </a:lnTo>
                  <a:lnTo>
                    <a:pt x="670835" y="134030"/>
                  </a:lnTo>
                  <a:lnTo>
                    <a:pt x="672355" y="134030"/>
                  </a:lnTo>
                  <a:lnTo>
                    <a:pt x="682995" y="134030"/>
                  </a:lnTo>
                  <a:lnTo>
                    <a:pt x="682995" y="86471"/>
                  </a:lnTo>
                  <a:lnTo>
                    <a:pt x="709342" y="86471"/>
                  </a:lnTo>
                  <a:lnTo>
                    <a:pt x="709342" y="64853"/>
                  </a:lnTo>
                  <a:lnTo>
                    <a:pt x="743796" y="64853"/>
                  </a:lnTo>
                  <a:lnTo>
                    <a:pt x="743796" y="67285"/>
                  </a:lnTo>
                  <a:lnTo>
                    <a:pt x="743796" y="84309"/>
                  </a:lnTo>
                  <a:lnTo>
                    <a:pt x="746076" y="84309"/>
                  </a:lnTo>
                  <a:lnTo>
                    <a:pt x="762036" y="84309"/>
                  </a:lnTo>
                  <a:lnTo>
                    <a:pt x="762036" y="131868"/>
                  </a:lnTo>
                  <a:lnTo>
                    <a:pt x="763049" y="131868"/>
                  </a:lnTo>
                  <a:lnTo>
                    <a:pt x="770143" y="131868"/>
                  </a:lnTo>
                  <a:lnTo>
                    <a:pt x="784330" y="136192"/>
                  </a:lnTo>
                  <a:lnTo>
                    <a:pt x="784330" y="175104"/>
                  </a:lnTo>
                  <a:lnTo>
                    <a:pt x="785343" y="175104"/>
                  </a:lnTo>
                  <a:lnTo>
                    <a:pt x="792436" y="175104"/>
                  </a:lnTo>
                  <a:lnTo>
                    <a:pt x="792436" y="176725"/>
                  </a:lnTo>
                  <a:lnTo>
                    <a:pt x="792436" y="188074"/>
                  </a:lnTo>
                  <a:lnTo>
                    <a:pt x="794463" y="188074"/>
                  </a:lnTo>
                  <a:lnTo>
                    <a:pt x="808650" y="188074"/>
                  </a:lnTo>
                  <a:lnTo>
                    <a:pt x="814730" y="194560"/>
                  </a:lnTo>
                  <a:lnTo>
                    <a:pt x="814730" y="216178"/>
                  </a:lnTo>
                  <a:lnTo>
                    <a:pt x="817010" y="216178"/>
                  </a:lnTo>
                  <a:lnTo>
                    <a:pt x="832970" y="216178"/>
                  </a:lnTo>
                  <a:lnTo>
                    <a:pt x="832970" y="217258"/>
                  </a:lnTo>
                  <a:lnTo>
                    <a:pt x="832970" y="224825"/>
                  </a:lnTo>
                  <a:lnTo>
                    <a:pt x="834237" y="224825"/>
                  </a:lnTo>
                  <a:lnTo>
                    <a:pt x="843104" y="224825"/>
                  </a:lnTo>
                  <a:lnTo>
                    <a:pt x="843104" y="226986"/>
                  </a:lnTo>
                  <a:lnTo>
                    <a:pt x="843104" y="242119"/>
                  </a:lnTo>
                  <a:cubicBezTo>
                    <a:pt x="847157" y="242119"/>
                    <a:pt x="847157" y="242119"/>
                    <a:pt x="847157" y="240227"/>
                  </a:cubicBezTo>
                  <a:lnTo>
                    <a:pt x="847157" y="226986"/>
                  </a:lnTo>
                  <a:lnTo>
                    <a:pt x="848170" y="226986"/>
                  </a:lnTo>
                  <a:lnTo>
                    <a:pt x="855264" y="226986"/>
                  </a:lnTo>
                  <a:lnTo>
                    <a:pt x="855264" y="228608"/>
                  </a:lnTo>
                  <a:lnTo>
                    <a:pt x="855264" y="239957"/>
                  </a:lnTo>
                  <a:lnTo>
                    <a:pt x="856024" y="239957"/>
                  </a:lnTo>
                  <a:lnTo>
                    <a:pt x="861344" y="239957"/>
                  </a:lnTo>
                  <a:cubicBezTo>
                    <a:pt x="861344" y="235634"/>
                    <a:pt x="861344" y="235634"/>
                    <a:pt x="909984" y="235634"/>
                  </a:cubicBezTo>
                  <a:lnTo>
                    <a:pt x="909984" y="236985"/>
                  </a:lnTo>
                  <a:lnTo>
                    <a:pt x="909984" y="246442"/>
                  </a:lnTo>
                  <a:lnTo>
                    <a:pt x="910744" y="246442"/>
                  </a:lnTo>
                  <a:lnTo>
                    <a:pt x="916065" y="246442"/>
                  </a:lnTo>
                  <a:lnTo>
                    <a:pt x="916065" y="248604"/>
                  </a:lnTo>
                  <a:lnTo>
                    <a:pt x="916065" y="263737"/>
                  </a:lnTo>
                  <a:cubicBezTo>
                    <a:pt x="916073" y="263733"/>
                    <a:pt x="916189" y="263655"/>
                    <a:pt x="918091" y="262386"/>
                  </a:cubicBezTo>
                  <a:lnTo>
                    <a:pt x="932278" y="252928"/>
                  </a:lnTo>
                  <a:cubicBezTo>
                    <a:pt x="932280" y="252909"/>
                    <a:pt x="932411" y="252034"/>
                    <a:pt x="938358" y="211854"/>
                  </a:cubicBezTo>
                  <a:cubicBezTo>
                    <a:pt x="938367" y="211852"/>
                    <a:pt x="938436" y="211826"/>
                    <a:pt x="939118" y="211584"/>
                  </a:cubicBezTo>
                  <a:lnTo>
                    <a:pt x="944438" y="209692"/>
                  </a:lnTo>
                  <a:cubicBezTo>
                    <a:pt x="944438" y="209676"/>
                    <a:pt x="944471" y="208615"/>
                    <a:pt x="946465" y="140515"/>
                  </a:cubicBezTo>
                  <a:cubicBezTo>
                    <a:pt x="946465" y="140533"/>
                    <a:pt x="946498" y="141624"/>
                    <a:pt x="948492" y="209692"/>
                  </a:cubicBezTo>
                  <a:cubicBezTo>
                    <a:pt x="948501" y="209695"/>
                    <a:pt x="948572" y="209720"/>
                    <a:pt x="949252" y="209962"/>
                  </a:cubicBezTo>
                  <a:lnTo>
                    <a:pt x="954572" y="211854"/>
                  </a:lnTo>
                  <a:lnTo>
                    <a:pt x="954572" y="125383"/>
                  </a:lnTo>
                  <a:cubicBezTo>
                    <a:pt x="958625" y="125383"/>
                    <a:pt x="958625" y="125383"/>
                    <a:pt x="958625" y="92956"/>
                  </a:cubicBezTo>
                  <a:lnTo>
                    <a:pt x="997132" y="92956"/>
                  </a:lnTo>
                  <a:lnTo>
                    <a:pt x="997132" y="125383"/>
                  </a:lnTo>
                  <a:lnTo>
                    <a:pt x="997892" y="125383"/>
                  </a:lnTo>
                  <a:lnTo>
                    <a:pt x="1003212" y="125383"/>
                  </a:lnTo>
                  <a:lnTo>
                    <a:pt x="1003212" y="43235"/>
                  </a:lnTo>
                  <a:lnTo>
                    <a:pt x="1004986" y="43235"/>
                  </a:lnTo>
                  <a:lnTo>
                    <a:pt x="1017399" y="43235"/>
                  </a:lnTo>
                  <a:lnTo>
                    <a:pt x="1017399" y="41344"/>
                  </a:lnTo>
                  <a:lnTo>
                    <a:pt x="1017399" y="28103"/>
                  </a:lnTo>
                  <a:lnTo>
                    <a:pt x="1039693" y="28103"/>
                  </a:lnTo>
                  <a:lnTo>
                    <a:pt x="1039693" y="27022"/>
                  </a:lnTo>
                  <a:lnTo>
                    <a:pt x="1039693" y="19456"/>
                  </a:lnTo>
                  <a:lnTo>
                    <a:pt x="1041466" y="19456"/>
                  </a:lnTo>
                  <a:lnTo>
                    <a:pt x="1053880" y="19456"/>
                  </a:lnTo>
                  <a:lnTo>
                    <a:pt x="1053880" y="20537"/>
                  </a:lnTo>
                  <a:lnTo>
                    <a:pt x="1053880" y="28103"/>
                  </a:lnTo>
                  <a:lnTo>
                    <a:pt x="1054640" y="28103"/>
                  </a:lnTo>
                  <a:lnTo>
                    <a:pt x="1059960" y="28103"/>
                  </a:lnTo>
                  <a:lnTo>
                    <a:pt x="1070093" y="23779"/>
                  </a:lnTo>
                  <a:lnTo>
                    <a:pt x="1074146" y="27022"/>
                  </a:lnTo>
                  <a:lnTo>
                    <a:pt x="1074146" y="19456"/>
                  </a:lnTo>
                  <a:lnTo>
                    <a:pt x="1076426" y="19456"/>
                  </a:lnTo>
                  <a:lnTo>
                    <a:pt x="1092387" y="19456"/>
                  </a:lnTo>
                  <a:lnTo>
                    <a:pt x="1092387" y="20537"/>
                  </a:lnTo>
                  <a:lnTo>
                    <a:pt x="1092387" y="28103"/>
                  </a:lnTo>
                  <a:lnTo>
                    <a:pt x="1122787" y="28103"/>
                  </a:lnTo>
                  <a:lnTo>
                    <a:pt x="1122787" y="29724"/>
                  </a:lnTo>
                  <a:lnTo>
                    <a:pt x="1122787" y="41074"/>
                  </a:lnTo>
                  <a:lnTo>
                    <a:pt x="1149134" y="41074"/>
                  </a:lnTo>
                  <a:lnTo>
                    <a:pt x="1149134" y="71338"/>
                  </a:lnTo>
                  <a:lnTo>
                    <a:pt x="1149894" y="71338"/>
                  </a:lnTo>
                  <a:lnTo>
                    <a:pt x="1155214" y="71338"/>
                  </a:lnTo>
                  <a:lnTo>
                    <a:pt x="1155214" y="72419"/>
                  </a:lnTo>
                  <a:lnTo>
                    <a:pt x="1155214" y="79986"/>
                  </a:lnTo>
                  <a:cubicBezTo>
                    <a:pt x="1159268" y="79986"/>
                    <a:pt x="1159268" y="79986"/>
                    <a:pt x="1159268" y="110250"/>
                  </a:cubicBezTo>
                  <a:lnTo>
                    <a:pt x="1160028" y="110250"/>
                  </a:lnTo>
                  <a:lnTo>
                    <a:pt x="1165348" y="110250"/>
                  </a:lnTo>
                  <a:lnTo>
                    <a:pt x="1165348" y="111061"/>
                  </a:lnTo>
                  <a:lnTo>
                    <a:pt x="1165348" y="116736"/>
                  </a:lnTo>
                  <a:lnTo>
                    <a:pt x="1166361" y="116736"/>
                  </a:lnTo>
                  <a:lnTo>
                    <a:pt x="1173454" y="116736"/>
                  </a:lnTo>
                  <a:lnTo>
                    <a:pt x="1173454" y="147001"/>
                  </a:lnTo>
                  <a:lnTo>
                    <a:pt x="1175481" y="147001"/>
                  </a:lnTo>
                  <a:lnTo>
                    <a:pt x="1189668" y="147001"/>
                  </a:lnTo>
                  <a:lnTo>
                    <a:pt x="1189668" y="170780"/>
                  </a:lnTo>
                  <a:cubicBezTo>
                    <a:pt x="1191695" y="170780"/>
                    <a:pt x="1191695" y="170780"/>
                    <a:pt x="1191695" y="172401"/>
                  </a:cubicBezTo>
                  <a:lnTo>
                    <a:pt x="1191695" y="183751"/>
                  </a:lnTo>
                  <a:lnTo>
                    <a:pt x="1192455" y="183751"/>
                  </a:lnTo>
                  <a:lnTo>
                    <a:pt x="1197775" y="183751"/>
                  </a:lnTo>
                  <a:lnTo>
                    <a:pt x="1197775" y="207530"/>
                  </a:lnTo>
                  <a:lnTo>
                    <a:pt x="1199041" y="207530"/>
                  </a:lnTo>
                  <a:lnTo>
                    <a:pt x="1207908" y="207530"/>
                  </a:lnTo>
                  <a:cubicBezTo>
                    <a:pt x="1209935" y="209692"/>
                    <a:pt x="1209935" y="209692"/>
                    <a:pt x="1209935" y="211584"/>
                  </a:cubicBezTo>
                  <a:lnTo>
                    <a:pt x="1209935" y="224825"/>
                  </a:lnTo>
                  <a:cubicBezTo>
                    <a:pt x="1209940" y="224818"/>
                    <a:pt x="1210027" y="224711"/>
                    <a:pt x="1211455" y="222933"/>
                  </a:cubicBezTo>
                  <a:lnTo>
                    <a:pt x="1222095" y="209692"/>
                  </a:lnTo>
                  <a:lnTo>
                    <a:pt x="1250469" y="209692"/>
                  </a:lnTo>
                  <a:lnTo>
                    <a:pt x="1250469" y="296163"/>
                  </a:lnTo>
                  <a:lnTo>
                    <a:pt x="1251229" y="296163"/>
                  </a:lnTo>
                  <a:lnTo>
                    <a:pt x="1256549" y="296163"/>
                  </a:lnTo>
                  <a:cubicBezTo>
                    <a:pt x="1256553" y="296155"/>
                    <a:pt x="1256612" y="296055"/>
                    <a:pt x="1257309" y="294812"/>
                  </a:cubicBezTo>
                  <a:lnTo>
                    <a:pt x="1262629" y="285354"/>
                  </a:lnTo>
                  <a:lnTo>
                    <a:pt x="1262629" y="287246"/>
                  </a:lnTo>
                  <a:lnTo>
                    <a:pt x="1262629" y="300487"/>
                  </a:lnTo>
                  <a:cubicBezTo>
                    <a:pt x="1266682" y="300487"/>
                    <a:pt x="1266682" y="300487"/>
                    <a:pt x="1266682" y="255090"/>
                  </a:cubicBezTo>
                  <a:lnTo>
                    <a:pt x="1267442" y="255090"/>
                  </a:lnTo>
                  <a:lnTo>
                    <a:pt x="1272762" y="255090"/>
                  </a:lnTo>
                  <a:lnTo>
                    <a:pt x="1272762" y="190236"/>
                  </a:lnTo>
                  <a:lnTo>
                    <a:pt x="1273776" y="190236"/>
                  </a:lnTo>
                  <a:lnTo>
                    <a:pt x="1280869" y="190236"/>
                  </a:lnTo>
                  <a:cubicBezTo>
                    <a:pt x="1280875" y="190215"/>
                    <a:pt x="1281139" y="189275"/>
                    <a:pt x="1293029" y="147001"/>
                  </a:cubicBezTo>
                  <a:lnTo>
                    <a:pt x="1294296" y="147001"/>
                  </a:lnTo>
                  <a:lnTo>
                    <a:pt x="1303163" y="147001"/>
                  </a:lnTo>
                  <a:cubicBezTo>
                    <a:pt x="1303168" y="147024"/>
                    <a:pt x="1303394" y="147990"/>
                    <a:pt x="1313296" y="190236"/>
                  </a:cubicBezTo>
                  <a:lnTo>
                    <a:pt x="1314309" y="190236"/>
                  </a:lnTo>
                  <a:lnTo>
                    <a:pt x="1321403" y="190236"/>
                  </a:lnTo>
                  <a:lnTo>
                    <a:pt x="1321403" y="229148"/>
                  </a:lnTo>
                  <a:lnTo>
                    <a:pt x="1323176" y="229148"/>
                  </a:lnTo>
                  <a:lnTo>
                    <a:pt x="1335590" y="229148"/>
                  </a:lnTo>
                  <a:lnTo>
                    <a:pt x="1335590" y="231310"/>
                  </a:lnTo>
                  <a:lnTo>
                    <a:pt x="1335590" y="246442"/>
                  </a:lnTo>
                  <a:cubicBezTo>
                    <a:pt x="1339643" y="246442"/>
                    <a:pt x="1339643" y="246442"/>
                    <a:pt x="1339643" y="244281"/>
                  </a:cubicBezTo>
                  <a:lnTo>
                    <a:pt x="1339643" y="229148"/>
                  </a:lnTo>
                  <a:lnTo>
                    <a:pt x="1341163" y="229148"/>
                  </a:lnTo>
                  <a:lnTo>
                    <a:pt x="1351803" y="229148"/>
                  </a:lnTo>
                  <a:lnTo>
                    <a:pt x="1351803" y="230769"/>
                  </a:lnTo>
                  <a:lnTo>
                    <a:pt x="1351803" y="242119"/>
                  </a:lnTo>
                  <a:lnTo>
                    <a:pt x="1382204" y="242119"/>
                  </a:lnTo>
                  <a:lnTo>
                    <a:pt x="1382204" y="205369"/>
                  </a:lnTo>
                  <a:lnTo>
                    <a:pt x="1383470" y="205369"/>
                  </a:lnTo>
                  <a:lnTo>
                    <a:pt x="1392337" y="205369"/>
                  </a:lnTo>
                  <a:lnTo>
                    <a:pt x="1392337" y="226986"/>
                  </a:lnTo>
                  <a:cubicBezTo>
                    <a:pt x="1394364" y="226986"/>
                    <a:pt x="1394364" y="226986"/>
                    <a:pt x="1394364" y="194560"/>
                  </a:cubicBezTo>
                  <a:lnTo>
                    <a:pt x="1416657" y="194560"/>
                  </a:lnTo>
                  <a:lnTo>
                    <a:pt x="1416657" y="192938"/>
                  </a:lnTo>
                  <a:lnTo>
                    <a:pt x="1416657" y="181589"/>
                  </a:lnTo>
                  <a:lnTo>
                    <a:pt x="1417417" y="181589"/>
                  </a:lnTo>
                  <a:lnTo>
                    <a:pt x="1422737" y="181589"/>
                  </a:lnTo>
                  <a:lnTo>
                    <a:pt x="1422737" y="179698"/>
                  </a:lnTo>
                  <a:lnTo>
                    <a:pt x="1422737" y="166457"/>
                  </a:lnTo>
                  <a:lnTo>
                    <a:pt x="1426791" y="172942"/>
                  </a:lnTo>
                  <a:lnTo>
                    <a:pt x="1429071" y="172942"/>
                  </a:lnTo>
                  <a:lnTo>
                    <a:pt x="1445031" y="172942"/>
                  </a:lnTo>
                  <a:lnTo>
                    <a:pt x="1445031" y="172131"/>
                  </a:lnTo>
                  <a:lnTo>
                    <a:pt x="1445031" y="166457"/>
                  </a:lnTo>
                  <a:lnTo>
                    <a:pt x="1445791" y="166457"/>
                  </a:lnTo>
                  <a:lnTo>
                    <a:pt x="1451111" y="166457"/>
                  </a:lnTo>
                  <a:lnTo>
                    <a:pt x="1451111" y="167808"/>
                  </a:lnTo>
                  <a:lnTo>
                    <a:pt x="1451111" y="177266"/>
                  </a:lnTo>
                  <a:lnTo>
                    <a:pt x="1489618" y="177266"/>
                  </a:lnTo>
                  <a:lnTo>
                    <a:pt x="1489618" y="315619"/>
                  </a:lnTo>
                  <a:lnTo>
                    <a:pt x="1491138" y="315619"/>
                  </a:lnTo>
                  <a:lnTo>
                    <a:pt x="1501778" y="315619"/>
                  </a:lnTo>
                  <a:lnTo>
                    <a:pt x="1501778" y="302649"/>
                  </a:lnTo>
                  <a:lnTo>
                    <a:pt x="1505832" y="302649"/>
                  </a:lnTo>
                  <a:lnTo>
                    <a:pt x="1505832" y="315619"/>
                  </a:lnTo>
                  <a:lnTo>
                    <a:pt x="1536232" y="315619"/>
                  </a:lnTo>
                  <a:lnTo>
                    <a:pt x="1536232" y="285354"/>
                  </a:lnTo>
                  <a:lnTo>
                    <a:pt x="1548392" y="285354"/>
                  </a:lnTo>
                  <a:lnTo>
                    <a:pt x="1560552" y="283193"/>
                  </a:lnTo>
                  <a:cubicBezTo>
                    <a:pt x="1562579" y="283193"/>
                    <a:pt x="1562579" y="285354"/>
                    <a:pt x="1564606" y="285354"/>
                  </a:cubicBezTo>
                  <a:lnTo>
                    <a:pt x="1574739" y="285354"/>
                  </a:lnTo>
                  <a:lnTo>
                    <a:pt x="1574739" y="315619"/>
                  </a:lnTo>
                  <a:lnTo>
                    <a:pt x="1582846" y="315619"/>
                  </a:lnTo>
                  <a:lnTo>
                    <a:pt x="1582846" y="332914"/>
                  </a:lnTo>
                  <a:lnTo>
                    <a:pt x="1592182" y="333819"/>
                  </a:lnTo>
                  <a:lnTo>
                    <a:pt x="1605140" y="333819"/>
                  </a:lnTo>
                  <a:lnTo>
                    <a:pt x="1605140" y="317781"/>
                  </a:lnTo>
                  <a:lnTo>
                    <a:pt x="1673096" y="317781"/>
                  </a:lnTo>
                  <a:lnTo>
                    <a:pt x="1673096" y="232528"/>
                  </a:lnTo>
                  <a:lnTo>
                    <a:pt x="1745104" y="232528"/>
                  </a:lnTo>
                  <a:lnTo>
                    <a:pt x="1745104" y="311296"/>
                  </a:lnTo>
                  <a:lnTo>
                    <a:pt x="1747008" y="311296"/>
                  </a:lnTo>
                  <a:lnTo>
                    <a:pt x="1748250" y="333819"/>
                  </a:lnTo>
                  <a:lnTo>
                    <a:pt x="1757926" y="333819"/>
                  </a:lnTo>
                  <a:cubicBezTo>
                    <a:pt x="1758462" y="326605"/>
                    <a:pt x="1759168" y="318951"/>
                    <a:pt x="1759168" y="311296"/>
                  </a:cubicBezTo>
                  <a:lnTo>
                    <a:pt x="1765248" y="311296"/>
                  </a:lnTo>
                  <a:lnTo>
                    <a:pt x="1766490" y="333819"/>
                  </a:lnTo>
                  <a:lnTo>
                    <a:pt x="1817112" y="333819"/>
                  </a:lnTo>
                  <a:lnTo>
                    <a:pt x="1817112" y="170791"/>
                  </a:lnTo>
                  <a:lnTo>
                    <a:pt x="2014439" y="170791"/>
                  </a:lnTo>
                  <a:lnTo>
                    <a:pt x="2014439" y="333819"/>
                  </a:lnTo>
                  <a:lnTo>
                    <a:pt x="2033136" y="333819"/>
                  </a:lnTo>
                  <a:lnTo>
                    <a:pt x="2033136" y="251126"/>
                  </a:lnTo>
                  <a:lnTo>
                    <a:pt x="2128256" y="251126"/>
                  </a:lnTo>
                  <a:cubicBezTo>
                    <a:pt x="2152853" y="240257"/>
                    <a:pt x="2161167" y="196782"/>
                    <a:pt x="2180720" y="185913"/>
                  </a:cubicBezTo>
                  <a:lnTo>
                    <a:pt x="2245574" y="185913"/>
                  </a:lnTo>
                  <a:lnTo>
                    <a:pt x="2245574" y="261575"/>
                  </a:lnTo>
                  <a:lnTo>
                    <a:pt x="2253681" y="261575"/>
                  </a:lnTo>
                  <a:cubicBezTo>
                    <a:pt x="2253681" y="259413"/>
                    <a:pt x="2255708" y="257251"/>
                    <a:pt x="2255708" y="255090"/>
                  </a:cubicBezTo>
                  <a:lnTo>
                    <a:pt x="2261788" y="255090"/>
                  </a:lnTo>
                  <a:cubicBezTo>
                    <a:pt x="2261788" y="257251"/>
                    <a:pt x="2261788" y="259413"/>
                    <a:pt x="2263815" y="263737"/>
                  </a:cubicBezTo>
                  <a:lnTo>
                    <a:pt x="2275975" y="263737"/>
                  </a:lnTo>
                  <a:lnTo>
                    <a:pt x="2275975" y="257251"/>
                  </a:lnTo>
                  <a:lnTo>
                    <a:pt x="2298268" y="257251"/>
                  </a:lnTo>
                  <a:lnTo>
                    <a:pt x="2298268" y="263737"/>
                  </a:lnTo>
                  <a:lnTo>
                    <a:pt x="2318535" y="263737"/>
                  </a:lnTo>
                  <a:lnTo>
                    <a:pt x="2318535" y="309134"/>
                  </a:lnTo>
                  <a:lnTo>
                    <a:pt x="2332722" y="309134"/>
                  </a:lnTo>
                  <a:lnTo>
                    <a:pt x="2332722" y="296163"/>
                  </a:lnTo>
                  <a:lnTo>
                    <a:pt x="2348936" y="296163"/>
                  </a:lnTo>
                  <a:lnTo>
                    <a:pt x="2348936" y="116736"/>
                  </a:lnTo>
                  <a:lnTo>
                    <a:pt x="2355016" y="110250"/>
                  </a:lnTo>
                  <a:lnTo>
                    <a:pt x="2427977" y="110250"/>
                  </a:lnTo>
                  <a:lnTo>
                    <a:pt x="2427977" y="118898"/>
                  </a:lnTo>
                  <a:lnTo>
                    <a:pt x="2438110" y="118898"/>
                  </a:lnTo>
                  <a:lnTo>
                    <a:pt x="2438110" y="233472"/>
                  </a:lnTo>
                  <a:lnTo>
                    <a:pt x="2460404" y="233472"/>
                  </a:lnTo>
                  <a:lnTo>
                    <a:pt x="2460404" y="166457"/>
                  </a:lnTo>
                  <a:lnTo>
                    <a:pt x="2486751" y="166457"/>
                  </a:lnTo>
                  <a:cubicBezTo>
                    <a:pt x="2488777" y="166457"/>
                    <a:pt x="2488777" y="164295"/>
                    <a:pt x="2490804" y="162133"/>
                  </a:cubicBezTo>
                  <a:lnTo>
                    <a:pt x="2498911" y="162133"/>
                  </a:lnTo>
                  <a:cubicBezTo>
                    <a:pt x="2500937" y="164295"/>
                    <a:pt x="2500937" y="166457"/>
                    <a:pt x="2502964" y="166457"/>
                  </a:cubicBezTo>
                  <a:lnTo>
                    <a:pt x="2525258" y="166457"/>
                  </a:lnTo>
                  <a:lnTo>
                    <a:pt x="2525258" y="49721"/>
                  </a:lnTo>
                  <a:cubicBezTo>
                    <a:pt x="2525272" y="49718"/>
                    <a:pt x="2526139" y="49554"/>
                    <a:pt x="2582005" y="38912"/>
                  </a:cubicBezTo>
                  <a:lnTo>
                    <a:pt x="2582005" y="39993"/>
                  </a:lnTo>
                  <a:lnTo>
                    <a:pt x="2582005" y="47559"/>
                  </a:lnTo>
                  <a:lnTo>
                    <a:pt x="2608352" y="47559"/>
                  </a:lnTo>
                  <a:lnTo>
                    <a:pt x="2608352" y="302649"/>
                  </a:lnTo>
                  <a:lnTo>
                    <a:pt x="2630646" y="302649"/>
                  </a:lnTo>
                  <a:lnTo>
                    <a:pt x="2630646" y="298325"/>
                  </a:lnTo>
                  <a:lnTo>
                    <a:pt x="2642806" y="298325"/>
                  </a:lnTo>
                  <a:lnTo>
                    <a:pt x="2642806" y="302649"/>
                  </a:lnTo>
                  <a:lnTo>
                    <a:pt x="2667126" y="302649"/>
                  </a:lnTo>
                  <a:lnTo>
                    <a:pt x="2667126" y="289678"/>
                  </a:lnTo>
                  <a:lnTo>
                    <a:pt x="2695500" y="289678"/>
                  </a:lnTo>
                  <a:cubicBezTo>
                    <a:pt x="2699553" y="285354"/>
                    <a:pt x="2703607" y="285354"/>
                    <a:pt x="2707660" y="285354"/>
                  </a:cubicBezTo>
                  <a:cubicBezTo>
                    <a:pt x="2713740" y="289678"/>
                    <a:pt x="2721847" y="289678"/>
                    <a:pt x="2727927" y="289678"/>
                  </a:cubicBezTo>
                  <a:lnTo>
                    <a:pt x="2727927" y="272384"/>
                  </a:lnTo>
                  <a:lnTo>
                    <a:pt x="2736034" y="272384"/>
                  </a:lnTo>
                  <a:lnTo>
                    <a:pt x="2736034" y="259413"/>
                  </a:lnTo>
                  <a:lnTo>
                    <a:pt x="2792781" y="259413"/>
                  </a:lnTo>
                  <a:lnTo>
                    <a:pt x="2792781" y="229148"/>
                  </a:lnTo>
                  <a:lnTo>
                    <a:pt x="2811021" y="229148"/>
                  </a:lnTo>
                  <a:lnTo>
                    <a:pt x="2811021" y="222663"/>
                  </a:lnTo>
                  <a:lnTo>
                    <a:pt x="2823181" y="222663"/>
                  </a:lnTo>
                  <a:lnTo>
                    <a:pt x="2823181" y="229148"/>
                  </a:lnTo>
                  <a:lnTo>
                    <a:pt x="2839395" y="229148"/>
                  </a:lnTo>
                  <a:lnTo>
                    <a:pt x="2839395" y="278869"/>
                  </a:lnTo>
                  <a:lnTo>
                    <a:pt x="2871822" y="278869"/>
                  </a:lnTo>
                  <a:lnTo>
                    <a:pt x="2871822" y="252928"/>
                  </a:lnTo>
                  <a:lnTo>
                    <a:pt x="2910329" y="252928"/>
                  </a:lnTo>
                  <a:lnTo>
                    <a:pt x="2910329" y="222663"/>
                  </a:lnTo>
                  <a:lnTo>
                    <a:pt x="2958970" y="222663"/>
                  </a:lnTo>
                  <a:lnTo>
                    <a:pt x="2958970" y="333819"/>
                  </a:lnTo>
                  <a:lnTo>
                    <a:pt x="2958970" y="347598"/>
                  </a:lnTo>
                  <a:lnTo>
                    <a:pt x="3024845" y="347598"/>
                  </a:lnTo>
                  <a:lnTo>
                    <a:pt x="3024845" y="689379"/>
                  </a:lnTo>
                  <a:lnTo>
                    <a:pt x="2054" y="687046"/>
                  </a:lnTo>
                  <a:cubicBezTo>
                    <a:pt x="1369" y="539482"/>
                    <a:pt x="685" y="400492"/>
                    <a:pt x="0" y="252928"/>
                  </a:cubicBezTo>
                  <a:lnTo>
                    <a:pt x="20267" y="252928"/>
                  </a:lnTo>
                  <a:cubicBezTo>
                    <a:pt x="20271" y="252922"/>
                    <a:pt x="20308" y="252840"/>
                    <a:pt x="20774" y="251847"/>
                  </a:cubicBezTo>
                  <a:lnTo>
                    <a:pt x="24320" y="244281"/>
                  </a:lnTo>
                  <a:cubicBezTo>
                    <a:pt x="24329" y="244282"/>
                    <a:pt x="24442" y="244300"/>
                    <a:pt x="26094" y="244551"/>
                  </a:cubicBezTo>
                  <a:lnTo>
                    <a:pt x="38507" y="246442"/>
                  </a:lnTo>
                  <a:cubicBezTo>
                    <a:pt x="38510" y="246452"/>
                    <a:pt x="38548" y="246553"/>
                    <a:pt x="39014" y="247794"/>
                  </a:cubicBezTo>
                  <a:lnTo>
                    <a:pt x="42560" y="257251"/>
                  </a:lnTo>
                  <a:cubicBezTo>
                    <a:pt x="42574" y="257252"/>
                    <a:pt x="43170" y="257302"/>
                    <a:pt x="68907" y="259413"/>
                  </a:cubicBezTo>
                  <a:lnTo>
                    <a:pt x="68907" y="136192"/>
                  </a:lnTo>
                  <a:lnTo>
                    <a:pt x="70934" y="136192"/>
                  </a:lnTo>
                  <a:lnTo>
                    <a:pt x="85121" y="136192"/>
                  </a:lnTo>
                  <a:lnTo>
                    <a:pt x="85121" y="0"/>
                  </a:lnTo>
                  <a:lnTo>
                    <a:pt x="86894" y="0"/>
                  </a:lnTo>
                  <a:lnTo>
                    <a:pt x="993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sz="2701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6" name="Rectangle 35">
              <a:extLst>
                <a:ext uri="{FF2B5EF4-FFF2-40B4-BE49-F238E27FC236}">
                  <a16:creationId xmlns:a16="http://schemas.microsoft.com/office/drawing/2014/main" xmlns="" id="{94685EEA-14FF-463D-B036-564F83FE7A00}"/>
                </a:ext>
              </a:extLst>
            </p:cNvPr>
            <p:cNvSpPr/>
            <p:nvPr/>
          </p:nvSpPr>
          <p:spPr>
            <a:xfrm>
              <a:off x="6047165" y="1883798"/>
              <a:ext cx="2961438" cy="689379"/>
            </a:xfrm>
            <a:custGeom>
              <a:avLst/>
              <a:gdLst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842946 w 3079941"/>
                <a:gd name="connsiteY405" fmla="*/ 1160647 h 1160647"/>
                <a:gd name="connsiteX406" fmla="*/ 200958 w 3079941"/>
                <a:gd name="connsiteY406" fmla="*/ 1160647 h 1160647"/>
                <a:gd name="connsiteX407" fmla="*/ 200958 w 3079941"/>
                <a:gd name="connsiteY407" fmla="*/ 1126882 h 1160647"/>
                <a:gd name="connsiteX408" fmla="*/ 0 w 3079941"/>
                <a:gd name="connsiteY408" fmla="*/ 1126882 h 1160647"/>
                <a:gd name="connsiteX409" fmla="*/ 0 w 3079941"/>
                <a:gd name="connsiteY409" fmla="*/ 915339 h 1160647"/>
                <a:gd name="connsiteX410" fmla="*/ 103377 w 3079941"/>
                <a:gd name="connsiteY410" fmla="*/ 915339 h 1160647"/>
                <a:gd name="connsiteX411" fmla="*/ 103377 w 3079941"/>
                <a:gd name="connsiteY411" fmla="*/ 886329 h 1160647"/>
                <a:gd name="connsiteX412" fmla="*/ 55096 w 3079941"/>
                <a:gd name="connsiteY412" fmla="*/ 886329 h 1160647"/>
                <a:gd name="connsiteX413" fmla="*/ 55096 w 3079941"/>
                <a:gd name="connsiteY413" fmla="*/ 724196 h 1160647"/>
                <a:gd name="connsiteX414" fmla="*/ 75363 w 3079941"/>
                <a:gd name="connsiteY414" fmla="*/ 724196 h 1160647"/>
                <a:gd name="connsiteX415" fmla="*/ 75870 w 3079941"/>
                <a:gd name="connsiteY415" fmla="*/ 723115 h 1160647"/>
                <a:gd name="connsiteX416" fmla="*/ 79416 w 3079941"/>
                <a:gd name="connsiteY416" fmla="*/ 715549 h 1160647"/>
                <a:gd name="connsiteX417" fmla="*/ 81190 w 3079941"/>
                <a:gd name="connsiteY417" fmla="*/ 715819 h 1160647"/>
                <a:gd name="connsiteX418" fmla="*/ 93603 w 3079941"/>
                <a:gd name="connsiteY418" fmla="*/ 717710 h 1160647"/>
                <a:gd name="connsiteX419" fmla="*/ 94110 w 3079941"/>
                <a:gd name="connsiteY419" fmla="*/ 719062 h 1160647"/>
                <a:gd name="connsiteX420" fmla="*/ 97656 w 3079941"/>
                <a:gd name="connsiteY420" fmla="*/ 728519 h 1160647"/>
                <a:gd name="connsiteX421" fmla="*/ 124003 w 3079941"/>
                <a:gd name="connsiteY421" fmla="*/ 730681 h 1160647"/>
                <a:gd name="connsiteX422" fmla="*/ 124003 w 3079941"/>
                <a:gd name="connsiteY422" fmla="*/ 607460 h 1160647"/>
                <a:gd name="connsiteX423" fmla="*/ 126030 w 3079941"/>
                <a:gd name="connsiteY423" fmla="*/ 607460 h 1160647"/>
                <a:gd name="connsiteX424" fmla="*/ 140217 w 3079941"/>
                <a:gd name="connsiteY424" fmla="*/ 607460 h 1160647"/>
                <a:gd name="connsiteX425" fmla="*/ 140217 w 3079941"/>
                <a:gd name="connsiteY425" fmla="*/ 471268 h 1160647"/>
                <a:gd name="connsiteX426" fmla="*/ 141990 w 3079941"/>
                <a:gd name="connsiteY426" fmla="*/ 471268 h 1160647"/>
                <a:gd name="connsiteX427" fmla="*/ 154404 w 3079941"/>
                <a:gd name="connsiteY427" fmla="*/ 471268 h 1160647"/>
                <a:gd name="connsiteX428" fmla="*/ 154404 w 3079941"/>
                <a:gd name="connsiteY428" fmla="*/ 356694 h 1160647"/>
                <a:gd name="connsiteX429" fmla="*/ 158457 w 3079941"/>
                <a:gd name="connsiteY429" fmla="*/ 328590 h 1160647"/>
                <a:gd name="connsiteX430" fmla="*/ 160484 w 3079941"/>
                <a:gd name="connsiteY430" fmla="*/ 328590 h 1160647"/>
                <a:gd name="connsiteX431" fmla="*/ 174671 w 3079941"/>
                <a:gd name="connsiteY431" fmla="*/ 328590 h 1160647"/>
                <a:gd name="connsiteX432" fmla="*/ 211151 w 3079941"/>
                <a:gd name="connsiteY432" fmla="*/ 246443 h 1160647"/>
                <a:gd name="connsiteX433" fmla="*/ 215205 w 3079941"/>
                <a:gd name="connsiteY433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924638 h 1160647"/>
                <a:gd name="connsiteX403" fmla="*/ 3079941 w 3079941"/>
                <a:gd name="connsiteY403" fmla="*/ 1030409 h 1160647"/>
                <a:gd name="connsiteX404" fmla="*/ 3079941 w 3079941"/>
                <a:gd name="connsiteY404" fmla="*/ 1160647 h 1160647"/>
                <a:gd name="connsiteX405" fmla="*/ 200958 w 3079941"/>
                <a:gd name="connsiteY405" fmla="*/ 1160647 h 1160647"/>
                <a:gd name="connsiteX406" fmla="*/ 200958 w 3079941"/>
                <a:gd name="connsiteY406" fmla="*/ 1126882 h 1160647"/>
                <a:gd name="connsiteX407" fmla="*/ 0 w 3079941"/>
                <a:gd name="connsiteY407" fmla="*/ 1126882 h 1160647"/>
                <a:gd name="connsiteX408" fmla="*/ 0 w 3079941"/>
                <a:gd name="connsiteY408" fmla="*/ 915339 h 1160647"/>
                <a:gd name="connsiteX409" fmla="*/ 103377 w 3079941"/>
                <a:gd name="connsiteY409" fmla="*/ 915339 h 1160647"/>
                <a:gd name="connsiteX410" fmla="*/ 103377 w 3079941"/>
                <a:gd name="connsiteY410" fmla="*/ 886329 h 1160647"/>
                <a:gd name="connsiteX411" fmla="*/ 55096 w 3079941"/>
                <a:gd name="connsiteY411" fmla="*/ 886329 h 1160647"/>
                <a:gd name="connsiteX412" fmla="*/ 55096 w 3079941"/>
                <a:gd name="connsiteY412" fmla="*/ 724196 h 1160647"/>
                <a:gd name="connsiteX413" fmla="*/ 75363 w 3079941"/>
                <a:gd name="connsiteY413" fmla="*/ 724196 h 1160647"/>
                <a:gd name="connsiteX414" fmla="*/ 75870 w 3079941"/>
                <a:gd name="connsiteY414" fmla="*/ 723115 h 1160647"/>
                <a:gd name="connsiteX415" fmla="*/ 79416 w 3079941"/>
                <a:gd name="connsiteY415" fmla="*/ 715549 h 1160647"/>
                <a:gd name="connsiteX416" fmla="*/ 81190 w 3079941"/>
                <a:gd name="connsiteY416" fmla="*/ 715819 h 1160647"/>
                <a:gd name="connsiteX417" fmla="*/ 93603 w 3079941"/>
                <a:gd name="connsiteY417" fmla="*/ 717710 h 1160647"/>
                <a:gd name="connsiteX418" fmla="*/ 94110 w 3079941"/>
                <a:gd name="connsiteY418" fmla="*/ 719062 h 1160647"/>
                <a:gd name="connsiteX419" fmla="*/ 97656 w 3079941"/>
                <a:gd name="connsiteY419" fmla="*/ 728519 h 1160647"/>
                <a:gd name="connsiteX420" fmla="*/ 124003 w 3079941"/>
                <a:gd name="connsiteY420" fmla="*/ 730681 h 1160647"/>
                <a:gd name="connsiteX421" fmla="*/ 124003 w 3079941"/>
                <a:gd name="connsiteY421" fmla="*/ 607460 h 1160647"/>
                <a:gd name="connsiteX422" fmla="*/ 126030 w 3079941"/>
                <a:gd name="connsiteY422" fmla="*/ 607460 h 1160647"/>
                <a:gd name="connsiteX423" fmla="*/ 140217 w 3079941"/>
                <a:gd name="connsiteY423" fmla="*/ 607460 h 1160647"/>
                <a:gd name="connsiteX424" fmla="*/ 140217 w 3079941"/>
                <a:gd name="connsiteY424" fmla="*/ 471268 h 1160647"/>
                <a:gd name="connsiteX425" fmla="*/ 141990 w 3079941"/>
                <a:gd name="connsiteY425" fmla="*/ 471268 h 1160647"/>
                <a:gd name="connsiteX426" fmla="*/ 154404 w 3079941"/>
                <a:gd name="connsiteY426" fmla="*/ 471268 h 1160647"/>
                <a:gd name="connsiteX427" fmla="*/ 154404 w 3079941"/>
                <a:gd name="connsiteY427" fmla="*/ 356694 h 1160647"/>
                <a:gd name="connsiteX428" fmla="*/ 158457 w 3079941"/>
                <a:gd name="connsiteY428" fmla="*/ 328590 h 1160647"/>
                <a:gd name="connsiteX429" fmla="*/ 160484 w 3079941"/>
                <a:gd name="connsiteY429" fmla="*/ 328590 h 1160647"/>
                <a:gd name="connsiteX430" fmla="*/ 174671 w 3079941"/>
                <a:gd name="connsiteY430" fmla="*/ 328590 h 1160647"/>
                <a:gd name="connsiteX431" fmla="*/ 211151 w 3079941"/>
                <a:gd name="connsiteY431" fmla="*/ 246443 h 1160647"/>
                <a:gd name="connsiteX432" fmla="*/ 215205 w 3079941"/>
                <a:gd name="connsiteY432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030409 h 1160647"/>
                <a:gd name="connsiteX403" fmla="*/ 3079941 w 3079941"/>
                <a:gd name="connsiteY403" fmla="*/ 1160647 h 1160647"/>
                <a:gd name="connsiteX404" fmla="*/ 200958 w 3079941"/>
                <a:gd name="connsiteY404" fmla="*/ 1160647 h 1160647"/>
                <a:gd name="connsiteX405" fmla="*/ 200958 w 3079941"/>
                <a:gd name="connsiteY405" fmla="*/ 1126882 h 1160647"/>
                <a:gd name="connsiteX406" fmla="*/ 0 w 3079941"/>
                <a:gd name="connsiteY406" fmla="*/ 1126882 h 1160647"/>
                <a:gd name="connsiteX407" fmla="*/ 0 w 3079941"/>
                <a:gd name="connsiteY407" fmla="*/ 915339 h 1160647"/>
                <a:gd name="connsiteX408" fmla="*/ 103377 w 3079941"/>
                <a:gd name="connsiteY408" fmla="*/ 915339 h 1160647"/>
                <a:gd name="connsiteX409" fmla="*/ 103377 w 3079941"/>
                <a:gd name="connsiteY409" fmla="*/ 886329 h 1160647"/>
                <a:gd name="connsiteX410" fmla="*/ 55096 w 3079941"/>
                <a:gd name="connsiteY410" fmla="*/ 886329 h 1160647"/>
                <a:gd name="connsiteX411" fmla="*/ 55096 w 3079941"/>
                <a:gd name="connsiteY411" fmla="*/ 724196 h 1160647"/>
                <a:gd name="connsiteX412" fmla="*/ 75363 w 3079941"/>
                <a:gd name="connsiteY412" fmla="*/ 724196 h 1160647"/>
                <a:gd name="connsiteX413" fmla="*/ 75870 w 3079941"/>
                <a:gd name="connsiteY413" fmla="*/ 723115 h 1160647"/>
                <a:gd name="connsiteX414" fmla="*/ 79416 w 3079941"/>
                <a:gd name="connsiteY414" fmla="*/ 715549 h 1160647"/>
                <a:gd name="connsiteX415" fmla="*/ 81190 w 3079941"/>
                <a:gd name="connsiteY415" fmla="*/ 715819 h 1160647"/>
                <a:gd name="connsiteX416" fmla="*/ 93603 w 3079941"/>
                <a:gd name="connsiteY416" fmla="*/ 717710 h 1160647"/>
                <a:gd name="connsiteX417" fmla="*/ 94110 w 3079941"/>
                <a:gd name="connsiteY417" fmla="*/ 719062 h 1160647"/>
                <a:gd name="connsiteX418" fmla="*/ 97656 w 3079941"/>
                <a:gd name="connsiteY418" fmla="*/ 728519 h 1160647"/>
                <a:gd name="connsiteX419" fmla="*/ 124003 w 3079941"/>
                <a:gd name="connsiteY419" fmla="*/ 730681 h 1160647"/>
                <a:gd name="connsiteX420" fmla="*/ 124003 w 3079941"/>
                <a:gd name="connsiteY420" fmla="*/ 607460 h 1160647"/>
                <a:gd name="connsiteX421" fmla="*/ 126030 w 3079941"/>
                <a:gd name="connsiteY421" fmla="*/ 607460 h 1160647"/>
                <a:gd name="connsiteX422" fmla="*/ 140217 w 3079941"/>
                <a:gd name="connsiteY422" fmla="*/ 607460 h 1160647"/>
                <a:gd name="connsiteX423" fmla="*/ 140217 w 3079941"/>
                <a:gd name="connsiteY423" fmla="*/ 471268 h 1160647"/>
                <a:gd name="connsiteX424" fmla="*/ 141990 w 3079941"/>
                <a:gd name="connsiteY424" fmla="*/ 471268 h 1160647"/>
                <a:gd name="connsiteX425" fmla="*/ 154404 w 3079941"/>
                <a:gd name="connsiteY425" fmla="*/ 471268 h 1160647"/>
                <a:gd name="connsiteX426" fmla="*/ 154404 w 3079941"/>
                <a:gd name="connsiteY426" fmla="*/ 356694 h 1160647"/>
                <a:gd name="connsiteX427" fmla="*/ 158457 w 3079941"/>
                <a:gd name="connsiteY427" fmla="*/ 328590 h 1160647"/>
                <a:gd name="connsiteX428" fmla="*/ 160484 w 3079941"/>
                <a:gd name="connsiteY428" fmla="*/ 328590 h 1160647"/>
                <a:gd name="connsiteX429" fmla="*/ 174671 w 3079941"/>
                <a:gd name="connsiteY429" fmla="*/ 328590 h 1160647"/>
                <a:gd name="connsiteX430" fmla="*/ 211151 w 3079941"/>
                <a:gd name="connsiteY430" fmla="*/ 246443 h 1160647"/>
                <a:gd name="connsiteX431" fmla="*/ 215205 w 3079941"/>
                <a:gd name="connsiteY431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200958 w 3079941"/>
                <a:gd name="connsiteY404" fmla="*/ 1126882 h 1160647"/>
                <a:gd name="connsiteX405" fmla="*/ 0 w 3079941"/>
                <a:gd name="connsiteY405" fmla="*/ 1126882 h 1160647"/>
                <a:gd name="connsiteX406" fmla="*/ 0 w 3079941"/>
                <a:gd name="connsiteY406" fmla="*/ 915339 h 1160647"/>
                <a:gd name="connsiteX407" fmla="*/ 103377 w 3079941"/>
                <a:gd name="connsiteY407" fmla="*/ 915339 h 1160647"/>
                <a:gd name="connsiteX408" fmla="*/ 103377 w 3079941"/>
                <a:gd name="connsiteY408" fmla="*/ 886329 h 1160647"/>
                <a:gd name="connsiteX409" fmla="*/ 55096 w 3079941"/>
                <a:gd name="connsiteY409" fmla="*/ 886329 h 1160647"/>
                <a:gd name="connsiteX410" fmla="*/ 55096 w 3079941"/>
                <a:gd name="connsiteY410" fmla="*/ 724196 h 1160647"/>
                <a:gd name="connsiteX411" fmla="*/ 75363 w 3079941"/>
                <a:gd name="connsiteY411" fmla="*/ 724196 h 1160647"/>
                <a:gd name="connsiteX412" fmla="*/ 75870 w 3079941"/>
                <a:gd name="connsiteY412" fmla="*/ 723115 h 1160647"/>
                <a:gd name="connsiteX413" fmla="*/ 79416 w 3079941"/>
                <a:gd name="connsiteY413" fmla="*/ 715549 h 1160647"/>
                <a:gd name="connsiteX414" fmla="*/ 81190 w 3079941"/>
                <a:gd name="connsiteY414" fmla="*/ 715819 h 1160647"/>
                <a:gd name="connsiteX415" fmla="*/ 93603 w 3079941"/>
                <a:gd name="connsiteY415" fmla="*/ 717710 h 1160647"/>
                <a:gd name="connsiteX416" fmla="*/ 94110 w 3079941"/>
                <a:gd name="connsiteY416" fmla="*/ 719062 h 1160647"/>
                <a:gd name="connsiteX417" fmla="*/ 97656 w 3079941"/>
                <a:gd name="connsiteY417" fmla="*/ 728519 h 1160647"/>
                <a:gd name="connsiteX418" fmla="*/ 124003 w 3079941"/>
                <a:gd name="connsiteY418" fmla="*/ 730681 h 1160647"/>
                <a:gd name="connsiteX419" fmla="*/ 124003 w 3079941"/>
                <a:gd name="connsiteY419" fmla="*/ 607460 h 1160647"/>
                <a:gd name="connsiteX420" fmla="*/ 126030 w 3079941"/>
                <a:gd name="connsiteY420" fmla="*/ 607460 h 1160647"/>
                <a:gd name="connsiteX421" fmla="*/ 140217 w 3079941"/>
                <a:gd name="connsiteY421" fmla="*/ 607460 h 1160647"/>
                <a:gd name="connsiteX422" fmla="*/ 140217 w 3079941"/>
                <a:gd name="connsiteY422" fmla="*/ 471268 h 1160647"/>
                <a:gd name="connsiteX423" fmla="*/ 141990 w 3079941"/>
                <a:gd name="connsiteY423" fmla="*/ 471268 h 1160647"/>
                <a:gd name="connsiteX424" fmla="*/ 154404 w 3079941"/>
                <a:gd name="connsiteY424" fmla="*/ 471268 h 1160647"/>
                <a:gd name="connsiteX425" fmla="*/ 154404 w 3079941"/>
                <a:gd name="connsiteY425" fmla="*/ 356694 h 1160647"/>
                <a:gd name="connsiteX426" fmla="*/ 158457 w 3079941"/>
                <a:gd name="connsiteY426" fmla="*/ 328590 h 1160647"/>
                <a:gd name="connsiteX427" fmla="*/ 160484 w 3079941"/>
                <a:gd name="connsiteY427" fmla="*/ 328590 h 1160647"/>
                <a:gd name="connsiteX428" fmla="*/ 174671 w 3079941"/>
                <a:gd name="connsiteY428" fmla="*/ 328590 h 1160647"/>
                <a:gd name="connsiteX429" fmla="*/ 211151 w 3079941"/>
                <a:gd name="connsiteY429" fmla="*/ 246443 h 1160647"/>
                <a:gd name="connsiteX430" fmla="*/ 215205 w 3079941"/>
                <a:gd name="connsiteY430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103377 w 3079941"/>
                <a:gd name="connsiteY407" fmla="*/ 886329 h 1160647"/>
                <a:gd name="connsiteX408" fmla="*/ 55096 w 3079941"/>
                <a:gd name="connsiteY408" fmla="*/ 886329 h 1160647"/>
                <a:gd name="connsiteX409" fmla="*/ 55096 w 3079941"/>
                <a:gd name="connsiteY409" fmla="*/ 724196 h 1160647"/>
                <a:gd name="connsiteX410" fmla="*/ 75363 w 3079941"/>
                <a:gd name="connsiteY410" fmla="*/ 724196 h 1160647"/>
                <a:gd name="connsiteX411" fmla="*/ 75870 w 3079941"/>
                <a:gd name="connsiteY411" fmla="*/ 723115 h 1160647"/>
                <a:gd name="connsiteX412" fmla="*/ 79416 w 3079941"/>
                <a:gd name="connsiteY412" fmla="*/ 715549 h 1160647"/>
                <a:gd name="connsiteX413" fmla="*/ 81190 w 3079941"/>
                <a:gd name="connsiteY413" fmla="*/ 715819 h 1160647"/>
                <a:gd name="connsiteX414" fmla="*/ 93603 w 3079941"/>
                <a:gd name="connsiteY414" fmla="*/ 717710 h 1160647"/>
                <a:gd name="connsiteX415" fmla="*/ 94110 w 3079941"/>
                <a:gd name="connsiteY415" fmla="*/ 719062 h 1160647"/>
                <a:gd name="connsiteX416" fmla="*/ 97656 w 3079941"/>
                <a:gd name="connsiteY416" fmla="*/ 728519 h 1160647"/>
                <a:gd name="connsiteX417" fmla="*/ 124003 w 3079941"/>
                <a:gd name="connsiteY417" fmla="*/ 730681 h 1160647"/>
                <a:gd name="connsiteX418" fmla="*/ 124003 w 3079941"/>
                <a:gd name="connsiteY418" fmla="*/ 607460 h 1160647"/>
                <a:gd name="connsiteX419" fmla="*/ 126030 w 3079941"/>
                <a:gd name="connsiteY419" fmla="*/ 607460 h 1160647"/>
                <a:gd name="connsiteX420" fmla="*/ 140217 w 3079941"/>
                <a:gd name="connsiteY420" fmla="*/ 607460 h 1160647"/>
                <a:gd name="connsiteX421" fmla="*/ 140217 w 3079941"/>
                <a:gd name="connsiteY421" fmla="*/ 471268 h 1160647"/>
                <a:gd name="connsiteX422" fmla="*/ 141990 w 3079941"/>
                <a:gd name="connsiteY422" fmla="*/ 471268 h 1160647"/>
                <a:gd name="connsiteX423" fmla="*/ 154404 w 3079941"/>
                <a:gd name="connsiteY423" fmla="*/ 471268 h 1160647"/>
                <a:gd name="connsiteX424" fmla="*/ 154404 w 3079941"/>
                <a:gd name="connsiteY424" fmla="*/ 356694 h 1160647"/>
                <a:gd name="connsiteX425" fmla="*/ 158457 w 3079941"/>
                <a:gd name="connsiteY425" fmla="*/ 328590 h 1160647"/>
                <a:gd name="connsiteX426" fmla="*/ 160484 w 3079941"/>
                <a:gd name="connsiteY426" fmla="*/ 328590 h 1160647"/>
                <a:gd name="connsiteX427" fmla="*/ 174671 w 3079941"/>
                <a:gd name="connsiteY427" fmla="*/ 328590 h 1160647"/>
                <a:gd name="connsiteX428" fmla="*/ 211151 w 3079941"/>
                <a:gd name="connsiteY428" fmla="*/ 246443 h 1160647"/>
                <a:gd name="connsiteX429" fmla="*/ 215205 w 3079941"/>
                <a:gd name="connsiteY429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103377 w 3079941"/>
                <a:gd name="connsiteY406" fmla="*/ 915339 h 1160647"/>
                <a:gd name="connsiteX407" fmla="*/ 55096 w 3079941"/>
                <a:gd name="connsiteY407" fmla="*/ 886329 h 1160647"/>
                <a:gd name="connsiteX408" fmla="*/ 55096 w 3079941"/>
                <a:gd name="connsiteY408" fmla="*/ 724196 h 1160647"/>
                <a:gd name="connsiteX409" fmla="*/ 75363 w 3079941"/>
                <a:gd name="connsiteY409" fmla="*/ 724196 h 1160647"/>
                <a:gd name="connsiteX410" fmla="*/ 75870 w 3079941"/>
                <a:gd name="connsiteY410" fmla="*/ 723115 h 1160647"/>
                <a:gd name="connsiteX411" fmla="*/ 79416 w 3079941"/>
                <a:gd name="connsiteY411" fmla="*/ 715549 h 1160647"/>
                <a:gd name="connsiteX412" fmla="*/ 81190 w 3079941"/>
                <a:gd name="connsiteY412" fmla="*/ 715819 h 1160647"/>
                <a:gd name="connsiteX413" fmla="*/ 93603 w 3079941"/>
                <a:gd name="connsiteY413" fmla="*/ 717710 h 1160647"/>
                <a:gd name="connsiteX414" fmla="*/ 94110 w 3079941"/>
                <a:gd name="connsiteY414" fmla="*/ 719062 h 1160647"/>
                <a:gd name="connsiteX415" fmla="*/ 97656 w 3079941"/>
                <a:gd name="connsiteY415" fmla="*/ 728519 h 1160647"/>
                <a:gd name="connsiteX416" fmla="*/ 124003 w 3079941"/>
                <a:gd name="connsiteY416" fmla="*/ 730681 h 1160647"/>
                <a:gd name="connsiteX417" fmla="*/ 124003 w 3079941"/>
                <a:gd name="connsiteY417" fmla="*/ 607460 h 1160647"/>
                <a:gd name="connsiteX418" fmla="*/ 126030 w 3079941"/>
                <a:gd name="connsiteY418" fmla="*/ 607460 h 1160647"/>
                <a:gd name="connsiteX419" fmla="*/ 140217 w 3079941"/>
                <a:gd name="connsiteY419" fmla="*/ 607460 h 1160647"/>
                <a:gd name="connsiteX420" fmla="*/ 140217 w 3079941"/>
                <a:gd name="connsiteY420" fmla="*/ 471268 h 1160647"/>
                <a:gd name="connsiteX421" fmla="*/ 141990 w 3079941"/>
                <a:gd name="connsiteY421" fmla="*/ 471268 h 1160647"/>
                <a:gd name="connsiteX422" fmla="*/ 154404 w 3079941"/>
                <a:gd name="connsiteY422" fmla="*/ 471268 h 1160647"/>
                <a:gd name="connsiteX423" fmla="*/ 154404 w 3079941"/>
                <a:gd name="connsiteY423" fmla="*/ 356694 h 1160647"/>
                <a:gd name="connsiteX424" fmla="*/ 158457 w 3079941"/>
                <a:gd name="connsiteY424" fmla="*/ 328590 h 1160647"/>
                <a:gd name="connsiteX425" fmla="*/ 160484 w 3079941"/>
                <a:gd name="connsiteY425" fmla="*/ 328590 h 1160647"/>
                <a:gd name="connsiteX426" fmla="*/ 174671 w 3079941"/>
                <a:gd name="connsiteY426" fmla="*/ 328590 h 1160647"/>
                <a:gd name="connsiteX427" fmla="*/ 211151 w 3079941"/>
                <a:gd name="connsiteY427" fmla="*/ 246443 h 1160647"/>
                <a:gd name="connsiteX428" fmla="*/ 215205 w 3079941"/>
                <a:gd name="connsiteY428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0 w 3079941"/>
                <a:gd name="connsiteY405" fmla="*/ 915339 h 1160647"/>
                <a:gd name="connsiteX406" fmla="*/ 55096 w 3079941"/>
                <a:gd name="connsiteY406" fmla="*/ 886329 h 1160647"/>
                <a:gd name="connsiteX407" fmla="*/ 55096 w 3079941"/>
                <a:gd name="connsiteY407" fmla="*/ 724196 h 1160647"/>
                <a:gd name="connsiteX408" fmla="*/ 75363 w 3079941"/>
                <a:gd name="connsiteY408" fmla="*/ 724196 h 1160647"/>
                <a:gd name="connsiteX409" fmla="*/ 75870 w 3079941"/>
                <a:gd name="connsiteY409" fmla="*/ 723115 h 1160647"/>
                <a:gd name="connsiteX410" fmla="*/ 79416 w 3079941"/>
                <a:gd name="connsiteY410" fmla="*/ 715549 h 1160647"/>
                <a:gd name="connsiteX411" fmla="*/ 81190 w 3079941"/>
                <a:gd name="connsiteY411" fmla="*/ 715819 h 1160647"/>
                <a:gd name="connsiteX412" fmla="*/ 93603 w 3079941"/>
                <a:gd name="connsiteY412" fmla="*/ 717710 h 1160647"/>
                <a:gd name="connsiteX413" fmla="*/ 94110 w 3079941"/>
                <a:gd name="connsiteY413" fmla="*/ 719062 h 1160647"/>
                <a:gd name="connsiteX414" fmla="*/ 97656 w 3079941"/>
                <a:gd name="connsiteY414" fmla="*/ 728519 h 1160647"/>
                <a:gd name="connsiteX415" fmla="*/ 124003 w 3079941"/>
                <a:gd name="connsiteY415" fmla="*/ 730681 h 1160647"/>
                <a:gd name="connsiteX416" fmla="*/ 124003 w 3079941"/>
                <a:gd name="connsiteY416" fmla="*/ 607460 h 1160647"/>
                <a:gd name="connsiteX417" fmla="*/ 126030 w 3079941"/>
                <a:gd name="connsiteY417" fmla="*/ 607460 h 1160647"/>
                <a:gd name="connsiteX418" fmla="*/ 140217 w 3079941"/>
                <a:gd name="connsiteY418" fmla="*/ 607460 h 1160647"/>
                <a:gd name="connsiteX419" fmla="*/ 140217 w 3079941"/>
                <a:gd name="connsiteY419" fmla="*/ 471268 h 1160647"/>
                <a:gd name="connsiteX420" fmla="*/ 141990 w 3079941"/>
                <a:gd name="connsiteY420" fmla="*/ 471268 h 1160647"/>
                <a:gd name="connsiteX421" fmla="*/ 154404 w 3079941"/>
                <a:gd name="connsiteY421" fmla="*/ 471268 h 1160647"/>
                <a:gd name="connsiteX422" fmla="*/ 154404 w 3079941"/>
                <a:gd name="connsiteY422" fmla="*/ 356694 h 1160647"/>
                <a:gd name="connsiteX423" fmla="*/ 158457 w 3079941"/>
                <a:gd name="connsiteY423" fmla="*/ 328590 h 1160647"/>
                <a:gd name="connsiteX424" fmla="*/ 160484 w 3079941"/>
                <a:gd name="connsiteY424" fmla="*/ 328590 h 1160647"/>
                <a:gd name="connsiteX425" fmla="*/ 174671 w 3079941"/>
                <a:gd name="connsiteY425" fmla="*/ 328590 h 1160647"/>
                <a:gd name="connsiteX426" fmla="*/ 211151 w 3079941"/>
                <a:gd name="connsiteY426" fmla="*/ 246443 h 1160647"/>
                <a:gd name="connsiteX427" fmla="*/ 215205 w 3079941"/>
                <a:gd name="connsiteY427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886329 h 1160647"/>
                <a:gd name="connsiteX406" fmla="*/ 55096 w 3079941"/>
                <a:gd name="connsiteY406" fmla="*/ 724196 h 1160647"/>
                <a:gd name="connsiteX407" fmla="*/ 75363 w 3079941"/>
                <a:gd name="connsiteY407" fmla="*/ 724196 h 1160647"/>
                <a:gd name="connsiteX408" fmla="*/ 75870 w 3079941"/>
                <a:gd name="connsiteY408" fmla="*/ 723115 h 1160647"/>
                <a:gd name="connsiteX409" fmla="*/ 79416 w 3079941"/>
                <a:gd name="connsiteY409" fmla="*/ 715549 h 1160647"/>
                <a:gd name="connsiteX410" fmla="*/ 81190 w 3079941"/>
                <a:gd name="connsiteY410" fmla="*/ 715819 h 1160647"/>
                <a:gd name="connsiteX411" fmla="*/ 93603 w 3079941"/>
                <a:gd name="connsiteY411" fmla="*/ 717710 h 1160647"/>
                <a:gd name="connsiteX412" fmla="*/ 94110 w 3079941"/>
                <a:gd name="connsiteY412" fmla="*/ 719062 h 1160647"/>
                <a:gd name="connsiteX413" fmla="*/ 97656 w 3079941"/>
                <a:gd name="connsiteY413" fmla="*/ 728519 h 1160647"/>
                <a:gd name="connsiteX414" fmla="*/ 124003 w 3079941"/>
                <a:gd name="connsiteY414" fmla="*/ 730681 h 1160647"/>
                <a:gd name="connsiteX415" fmla="*/ 124003 w 3079941"/>
                <a:gd name="connsiteY415" fmla="*/ 607460 h 1160647"/>
                <a:gd name="connsiteX416" fmla="*/ 126030 w 3079941"/>
                <a:gd name="connsiteY416" fmla="*/ 607460 h 1160647"/>
                <a:gd name="connsiteX417" fmla="*/ 140217 w 3079941"/>
                <a:gd name="connsiteY417" fmla="*/ 607460 h 1160647"/>
                <a:gd name="connsiteX418" fmla="*/ 140217 w 3079941"/>
                <a:gd name="connsiteY418" fmla="*/ 471268 h 1160647"/>
                <a:gd name="connsiteX419" fmla="*/ 141990 w 3079941"/>
                <a:gd name="connsiteY419" fmla="*/ 471268 h 1160647"/>
                <a:gd name="connsiteX420" fmla="*/ 154404 w 3079941"/>
                <a:gd name="connsiteY420" fmla="*/ 471268 h 1160647"/>
                <a:gd name="connsiteX421" fmla="*/ 154404 w 3079941"/>
                <a:gd name="connsiteY421" fmla="*/ 356694 h 1160647"/>
                <a:gd name="connsiteX422" fmla="*/ 158457 w 3079941"/>
                <a:gd name="connsiteY422" fmla="*/ 328590 h 1160647"/>
                <a:gd name="connsiteX423" fmla="*/ 160484 w 3079941"/>
                <a:gd name="connsiteY423" fmla="*/ 328590 h 1160647"/>
                <a:gd name="connsiteX424" fmla="*/ 174671 w 3079941"/>
                <a:gd name="connsiteY424" fmla="*/ 328590 h 1160647"/>
                <a:gd name="connsiteX425" fmla="*/ 211151 w 3079941"/>
                <a:gd name="connsiteY425" fmla="*/ 246443 h 1160647"/>
                <a:gd name="connsiteX426" fmla="*/ 215205 w 3079941"/>
                <a:gd name="connsiteY426" fmla="*/ 0 h 1160647"/>
                <a:gd name="connsiteX0" fmla="*/ 215205 w 3079941"/>
                <a:gd name="connsiteY0" fmla="*/ 0 h 1160647"/>
                <a:gd name="connsiteX1" fmla="*/ 217231 w 3079941"/>
                <a:gd name="connsiteY1" fmla="*/ 246443 h 1160647"/>
                <a:gd name="connsiteX2" fmla="*/ 255738 w 3079941"/>
                <a:gd name="connsiteY2" fmla="*/ 326429 h 1160647"/>
                <a:gd name="connsiteX3" fmla="*/ 257765 w 3079941"/>
                <a:gd name="connsiteY3" fmla="*/ 326429 h 1160647"/>
                <a:gd name="connsiteX4" fmla="*/ 271952 w 3079941"/>
                <a:gd name="connsiteY4" fmla="*/ 326429 h 1160647"/>
                <a:gd name="connsiteX5" fmla="*/ 271952 w 3079941"/>
                <a:gd name="connsiteY5" fmla="*/ 350208 h 1160647"/>
                <a:gd name="connsiteX6" fmla="*/ 272459 w 3079941"/>
                <a:gd name="connsiteY6" fmla="*/ 351019 h 1160647"/>
                <a:gd name="connsiteX7" fmla="*/ 276005 w 3079941"/>
                <a:gd name="connsiteY7" fmla="*/ 356694 h 1160647"/>
                <a:gd name="connsiteX8" fmla="*/ 276005 w 3079941"/>
                <a:gd name="connsiteY8" fmla="*/ 471268 h 1160647"/>
                <a:gd name="connsiteX9" fmla="*/ 278285 w 3079941"/>
                <a:gd name="connsiteY9" fmla="*/ 471268 h 1160647"/>
                <a:gd name="connsiteX10" fmla="*/ 294246 w 3079941"/>
                <a:gd name="connsiteY10" fmla="*/ 471268 h 1160647"/>
                <a:gd name="connsiteX11" fmla="*/ 294246 w 3079941"/>
                <a:gd name="connsiteY11" fmla="*/ 611783 h 1160647"/>
                <a:gd name="connsiteX12" fmla="*/ 295766 w 3079941"/>
                <a:gd name="connsiteY12" fmla="*/ 611513 h 1160647"/>
                <a:gd name="connsiteX13" fmla="*/ 306406 w 3079941"/>
                <a:gd name="connsiteY13" fmla="*/ 609622 h 1160647"/>
                <a:gd name="connsiteX14" fmla="*/ 304379 w 3079941"/>
                <a:gd name="connsiteY14" fmla="*/ 698254 h 1160647"/>
                <a:gd name="connsiteX15" fmla="*/ 305899 w 3079941"/>
                <a:gd name="connsiteY15" fmla="*/ 698525 h 1160647"/>
                <a:gd name="connsiteX16" fmla="*/ 316539 w 3079941"/>
                <a:gd name="connsiteY16" fmla="*/ 700416 h 1160647"/>
                <a:gd name="connsiteX17" fmla="*/ 316792 w 3079941"/>
                <a:gd name="connsiteY17" fmla="*/ 701227 h 1160647"/>
                <a:gd name="connsiteX18" fmla="*/ 318566 w 3079941"/>
                <a:gd name="connsiteY18" fmla="*/ 706902 h 1160647"/>
                <a:gd name="connsiteX19" fmla="*/ 319326 w 3079941"/>
                <a:gd name="connsiteY19" fmla="*/ 704470 h 1160647"/>
                <a:gd name="connsiteX20" fmla="*/ 324646 w 3079941"/>
                <a:gd name="connsiteY20" fmla="*/ 687446 h 1160647"/>
                <a:gd name="connsiteX21" fmla="*/ 326419 w 3079941"/>
                <a:gd name="connsiteY21" fmla="*/ 687446 h 1160647"/>
                <a:gd name="connsiteX22" fmla="*/ 338833 w 3079941"/>
                <a:gd name="connsiteY22" fmla="*/ 687446 h 1160647"/>
                <a:gd name="connsiteX23" fmla="*/ 338833 w 3079941"/>
                <a:gd name="connsiteY23" fmla="*/ 719872 h 1160647"/>
                <a:gd name="connsiteX24" fmla="*/ 339846 w 3079941"/>
                <a:gd name="connsiteY24" fmla="*/ 720413 h 1160647"/>
                <a:gd name="connsiteX25" fmla="*/ 346940 w 3079941"/>
                <a:gd name="connsiteY25" fmla="*/ 724196 h 1160647"/>
                <a:gd name="connsiteX26" fmla="*/ 346940 w 3079941"/>
                <a:gd name="connsiteY26" fmla="*/ 725547 h 1160647"/>
                <a:gd name="connsiteX27" fmla="*/ 346940 w 3079941"/>
                <a:gd name="connsiteY27" fmla="*/ 735005 h 1160647"/>
                <a:gd name="connsiteX28" fmla="*/ 391527 w 3079941"/>
                <a:gd name="connsiteY28" fmla="*/ 735005 h 1160647"/>
                <a:gd name="connsiteX29" fmla="*/ 391527 w 3079941"/>
                <a:gd name="connsiteY29" fmla="*/ 736086 h 1160647"/>
                <a:gd name="connsiteX30" fmla="*/ 391527 w 3079941"/>
                <a:gd name="connsiteY30" fmla="*/ 743652 h 1160647"/>
                <a:gd name="connsiteX31" fmla="*/ 393553 w 3079941"/>
                <a:gd name="connsiteY31" fmla="*/ 743652 h 1160647"/>
                <a:gd name="connsiteX32" fmla="*/ 407740 w 3079941"/>
                <a:gd name="connsiteY32" fmla="*/ 743652 h 1160647"/>
                <a:gd name="connsiteX33" fmla="*/ 407740 w 3079941"/>
                <a:gd name="connsiteY33" fmla="*/ 713387 h 1160647"/>
                <a:gd name="connsiteX34" fmla="*/ 452327 w 3079941"/>
                <a:gd name="connsiteY34" fmla="*/ 713387 h 1160647"/>
                <a:gd name="connsiteX35" fmla="*/ 452327 w 3079941"/>
                <a:gd name="connsiteY35" fmla="*/ 712036 h 1160647"/>
                <a:gd name="connsiteX36" fmla="*/ 452327 w 3079941"/>
                <a:gd name="connsiteY36" fmla="*/ 702578 h 1160647"/>
                <a:gd name="connsiteX37" fmla="*/ 453341 w 3079941"/>
                <a:gd name="connsiteY37" fmla="*/ 702578 h 1160647"/>
                <a:gd name="connsiteX38" fmla="*/ 460434 w 3079941"/>
                <a:gd name="connsiteY38" fmla="*/ 702578 h 1160647"/>
                <a:gd name="connsiteX39" fmla="*/ 460434 w 3079941"/>
                <a:gd name="connsiteY39" fmla="*/ 700687 h 1160647"/>
                <a:gd name="connsiteX40" fmla="*/ 460434 w 3079941"/>
                <a:gd name="connsiteY40" fmla="*/ 687446 h 1160647"/>
                <a:gd name="connsiteX41" fmla="*/ 461194 w 3079941"/>
                <a:gd name="connsiteY41" fmla="*/ 687446 h 1160647"/>
                <a:gd name="connsiteX42" fmla="*/ 466514 w 3079941"/>
                <a:gd name="connsiteY42" fmla="*/ 687446 h 1160647"/>
                <a:gd name="connsiteX43" fmla="*/ 466514 w 3079941"/>
                <a:gd name="connsiteY43" fmla="*/ 686365 h 1160647"/>
                <a:gd name="connsiteX44" fmla="*/ 466514 w 3079941"/>
                <a:gd name="connsiteY44" fmla="*/ 678798 h 1160647"/>
                <a:gd name="connsiteX45" fmla="*/ 468541 w 3079941"/>
                <a:gd name="connsiteY45" fmla="*/ 678798 h 1160647"/>
                <a:gd name="connsiteX46" fmla="*/ 482728 w 3079941"/>
                <a:gd name="connsiteY46" fmla="*/ 678798 h 1160647"/>
                <a:gd name="connsiteX47" fmla="*/ 482728 w 3079941"/>
                <a:gd name="connsiteY47" fmla="*/ 679879 h 1160647"/>
                <a:gd name="connsiteX48" fmla="*/ 482728 w 3079941"/>
                <a:gd name="connsiteY48" fmla="*/ 687446 h 1160647"/>
                <a:gd name="connsiteX49" fmla="*/ 505021 w 3079941"/>
                <a:gd name="connsiteY49" fmla="*/ 687446 h 1160647"/>
                <a:gd name="connsiteX50" fmla="*/ 505021 w 3079941"/>
                <a:gd name="connsiteY50" fmla="*/ 685554 h 1160647"/>
                <a:gd name="connsiteX51" fmla="*/ 505021 w 3079941"/>
                <a:gd name="connsiteY51" fmla="*/ 672313 h 1160647"/>
                <a:gd name="connsiteX52" fmla="*/ 506795 w 3079941"/>
                <a:gd name="connsiteY52" fmla="*/ 672313 h 1160647"/>
                <a:gd name="connsiteX53" fmla="*/ 519208 w 3079941"/>
                <a:gd name="connsiteY53" fmla="*/ 672313 h 1160647"/>
                <a:gd name="connsiteX54" fmla="*/ 519208 w 3079941"/>
                <a:gd name="connsiteY54" fmla="*/ 696093 h 1160647"/>
                <a:gd name="connsiteX55" fmla="*/ 520222 w 3079941"/>
                <a:gd name="connsiteY55" fmla="*/ 696093 h 1160647"/>
                <a:gd name="connsiteX56" fmla="*/ 527315 w 3079941"/>
                <a:gd name="connsiteY56" fmla="*/ 696093 h 1160647"/>
                <a:gd name="connsiteX57" fmla="*/ 527315 w 3079941"/>
                <a:gd name="connsiteY57" fmla="*/ 695012 h 1160647"/>
                <a:gd name="connsiteX58" fmla="*/ 527315 w 3079941"/>
                <a:gd name="connsiteY58" fmla="*/ 687446 h 1160647"/>
                <a:gd name="connsiteX59" fmla="*/ 529088 w 3079941"/>
                <a:gd name="connsiteY59" fmla="*/ 687446 h 1160647"/>
                <a:gd name="connsiteX60" fmla="*/ 541502 w 3079941"/>
                <a:gd name="connsiteY60" fmla="*/ 687446 h 1160647"/>
                <a:gd name="connsiteX61" fmla="*/ 541502 w 3079941"/>
                <a:gd name="connsiteY61" fmla="*/ 713387 h 1160647"/>
                <a:gd name="connsiteX62" fmla="*/ 543529 w 3079941"/>
                <a:gd name="connsiteY62" fmla="*/ 713387 h 1160647"/>
                <a:gd name="connsiteX63" fmla="*/ 557715 w 3079941"/>
                <a:gd name="connsiteY63" fmla="*/ 713387 h 1160647"/>
                <a:gd name="connsiteX64" fmla="*/ 557715 w 3079941"/>
                <a:gd name="connsiteY64" fmla="*/ 715008 h 1160647"/>
                <a:gd name="connsiteX65" fmla="*/ 557715 w 3079941"/>
                <a:gd name="connsiteY65" fmla="*/ 726358 h 1160647"/>
                <a:gd name="connsiteX66" fmla="*/ 558475 w 3079941"/>
                <a:gd name="connsiteY66" fmla="*/ 726358 h 1160647"/>
                <a:gd name="connsiteX67" fmla="*/ 563796 w 3079941"/>
                <a:gd name="connsiteY67" fmla="*/ 726358 h 1160647"/>
                <a:gd name="connsiteX68" fmla="*/ 563796 w 3079941"/>
                <a:gd name="connsiteY68" fmla="*/ 725547 h 1160647"/>
                <a:gd name="connsiteX69" fmla="*/ 563796 w 3079941"/>
                <a:gd name="connsiteY69" fmla="*/ 719872 h 1160647"/>
                <a:gd name="connsiteX70" fmla="*/ 594196 w 3079941"/>
                <a:gd name="connsiteY70" fmla="*/ 719872 h 1160647"/>
                <a:gd name="connsiteX71" fmla="*/ 594196 w 3079941"/>
                <a:gd name="connsiteY71" fmla="*/ 743652 h 1160647"/>
                <a:gd name="connsiteX72" fmla="*/ 595209 w 3079941"/>
                <a:gd name="connsiteY72" fmla="*/ 743652 h 1160647"/>
                <a:gd name="connsiteX73" fmla="*/ 602303 w 3079941"/>
                <a:gd name="connsiteY73" fmla="*/ 743652 h 1160647"/>
                <a:gd name="connsiteX74" fmla="*/ 602303 w 3079941"/>
                <a:gd name="connsiteY74" fmla="*/ 744733 h 1160647"/>
                <a:gd name="connsiteX75" fmla="*/ 602303 w 3079941"/>
                <a:gd name="connsiteY75" fmla="*/ 752299 h 1160647"/>
                <a:gd name="connsiteX76" fmla="*/ 603063 w 3079941"/>
                <a:gd name="connsiteY76" fmla="*/ 752299 h 1160647"/>
                <a:gd name="connsiteX77" fmla="*/ 608383 w 3079941"/>
                <a:gd name="connsiteY77" fmla="*/ 752299 h 1160647"/>
                <a:gd name="connsiteX78" fmla="*/ 608383 w 3079941"/>
                <a:gd name="connsiteY78" fmla="*/ 750137 h 1160647"/>
                <a:gd name="connsiteX79" fmla="*/ 608383 w 3079941"/>
                <a:gd name="connsiteY79" fmla="*/ 735005 h 1160647"/>
                <a:gd name="connsiteX80" fmla="*/ 609396 w 3079941"/>
                <a:gd name="connsiteY80" fmla="*/ 735005 h 1160647"/>
                <a:gd name="connsiteX81" fmla="*/ 616490 w 3079941"/>
                <a:gd name="connsiteY81" fmla="*/ 735005 h 1160647"/>
                <a:gd name="connsiteX82" fmla="*/ 616490 w 3079941"/>
                <a:gd name="connsiteY82" fmla="*/ 736086 h 1160647"/>
                <a:gd name="connsiteX83" fmla="*/ 616490 w 3079941"/>
                <a:gd name="connsiteY83" fmla="*/ 743652 h 1160647"/>
                <a:gd name="connsiteX84" fmla="*/ 621810 w 3079941"/>
                <a:gd name="connsiteY84" fmla="*/ 741659 h 1160647"/>
                <a:gd name="connsiteX85" fmla="*/ 622570 w 3079941"/>
                <a:gd name="connsiteY85" fmla="*/ 740679 h 1160647"/>
                <a:gd name="connsiteX86" fmla="*/ 622570 w 3079941"/>
                <a:gd name="connsiteY86" fmla="*/ 735005 h 1160647"/>
                <a:gd name="connsiteX87" fmla="*/ 661077 w 3079941"/>
                <a:gd name="connsiteY87" fmla="*/ 735005 h 1160647"/>
                <a:gd name="connsiteX88" fmla="*/ 661077 w 3079941"/>
                <a:gd name="connsiteY88" fmla="*/ 758784 h 1160647"/>
                <a:gd name="connsiteX89" fmla="*/ 663103 w 3079941"/>
                <a:gd name="connsiteY89" fmla="*/ 758784 h 1160647"/>
                <a:gd name="connsiteX90" fmla="*/ 677290 w 3079941"/>
                <a:gd name="connsiteY90" fmla="*/ 758784 h 1160647"/>
                <a:gd name="connsiteX91" fmla="*/ 677290 w 3079941"/>
                <a:gd name="connsiteY91" fmla="*/ 759865 h 1160647"/>
                <a:gd name="connsiteX92" fmla="*/ 677290 w 3079941"/>
                <a:gd name="connsiteY92" fmla="*/ 767431 h 1160647"/>
                <a:gd name="connsiteX93" fmla="*/ 679064 w 3079941"/>
                <a:gd name="connsiteY93" fmla="*/ 767431 h 1160647"/>
                <a:gd name="connsiteX94" fmla="*/ 691477 w 3079941"/>
                <a:gd name="connsiteY94" fmla="*/ 767431 h 1160647"/>
                <a:gd name="connsiteX95" fmla="*/ 691477 w 3079941"/>
                <a:gd name="connsiteY95" fmla="*/ 743652 h 1160647"/>
                <a:gd name="connsiteX96" fmla="*/ 692490 w 3079941"/>
                <a:gd name="connsiteY96" fmla="*/ 743652 h 1160647"/>
                <a:gd name="connsiteX97" fmla="*/ 699584 w 3079941"/>
                <a:gd name="connsiteY97" fmla="*/ 743652 h 1160647"/>
                <a:gd name="connsiteX98" fmla="*/ 699584 w 3079941"/>
                <a:gd name="connsiteY98" fmla="*/ 711225 h 1160647"/>
                <a:gd name="connsiteX99" fmla="*/ 700597 w 3079941"/>
                <a:gd name="connsiteY99" fmla="*/ 711225 h 1160647"/>
                <a:gd name="connsiteX100" fmla="*/ 707691 w 3079941"/>
                <a:gd name="connsiteY100" fmla="*/ 711225 h 1160647"/>
                <a:gd name="connsiteX101" fmla="*/ 707691 w 3079941"/>
                <a:gd name="connsiteY101" fmla="*/ 709334 h 1160647"/>
                <a:gd name="connsiteX102" fmla="*/ 707691 w 3079941"/>
                <a:gd name="connsiteY102" fmla="*/ 696093 h 1160647"/>
                <a:gd name="connsiteX103" fmla="*/ 706424 w 3079941"/>
                <a:gd name="connsiteY103" fmla="*/ 694471 h 1160647"/>
                <a:gd name="connsiteX104" fmla="*/ 711744 w 3079941"/>
                <a:gd name="connsiteY104" fmla="*/ 683122 h 1160647"/>
                <a:gd name="connsiteX105" fmla="*/ 719851 w 3079941"/>
                <a:gd name="connsiteY105" fmla="*/ 711225 h 1160647"/>
                <a:gd name="connsiteX106" fmla="*/ 720611 w 3079941"/>
                <a:gd name="connsiteY106" fmla="*/ 711225 h 1160647"/>
                <a:gd name="connsiteX107" fmla="*/ 725931 w 3079941"/>
                <a:gd name="connsiteY107" fmla="*/ 711225 h 1160647"/>
                <a:gd name="connsiteX108" fmla="*/ 725931 w 3079941"/>
                <a:gd name="connsiteY108" fmla="*/ 605298 h 1160647"/>
                <a:gd name="connsiteX109" fmla="*/ 727451 w 3079941"/>
                <a:gd name="connsiteY109" fmla="*/ 605298 h 1160647"/>
                <a:gd name="connsiteX110" fmla="*/ 738091 w 3079941"/>
                <a:gd name="connsiteY110" fmla="*/ 605298 h 1160647"/>
                <a:gd name="connsiteX111" fmla="*/ 738091 w 3079941"/>
                <a:gd name="connsiteY111" fmla="*/ 557739 h 1160647"/>
                <a:gd name="connsiteX112" fmla="*/ 764438 w 3079941"/>
                <a:gd name="connsiteY112" fmla="*/ 557739 h 1160647"/>
                <a:gd name="connsiteX113" fmla="*/ 764438 w 3079941"/>
                <a:gd name="connsiteY113" fmla="*/ 536121 h 1160647"/>
                <a:gd name="connsiteX114" fmla="*/ 798892 w 3079941"/>
                <a:gd name="connsiteY114" fmla="*/ 536121 h 1160647"/>
                <a:gd name="connsiteX115" fmla="*/ 798892 w 3079941"/>
                <a:gd name="connsiteY115" fmla="*/ 538553 h 1160647"/>
                <a:gd name="connsiteX116" fmla="*/ 798892 w 3079941"/>
                <a:gd name="connsiteY116" fmla="*/ 555577 h 1160647"/>
                <a:gd name="connsiteX117" fmla="*/ 801172 w 3079941"/>
                <a:gd name="connsiteY117" fmla="*/ 555577 h 1160647"/>
                <a:gd name="connsiteX118" fmla="*/ 817132 w 3079941"/>
                <a:gd name="connsiteY118" fmla="*/ 555577 h 1160647"/>
                <a:gd name="connsiteX119" fmla="*/ 817132 w 3079941"/>
                <a:gd name="connsiteY119" fmla="*/ 603136 h 1160647"/>
                <a:gd name="connsiteX120" fmla="*/ 818145 w 3079941"/>
                <a:gd name="connsiteY120" fmla="*/ 603136 h 1160647"/>
                <a:gd name="connsiteX121" fmla="*/ 825239 w 3079941"/>
                <a:gd name="connsiteY121" fmla="*/ 603136 h 1160647"/>
                <a:gd name="connsiteX122" fmla="*/ 839426 w 3079941"/>
                <a:gd name="connsiteY122" fmla="*/ 607460 h 1160647"/>
                <a:gd name="connsiteX123" fmla="*/ 839426 w 3079941"/>
                <a:gd name="connsiteY123" fmla="*/ 646372 h 1160647"/>
                <a:gd name="connsiteX124" fmla="*/ 840439 w 3079941"/>
                <a:gd name="connsiteY124" fmla="*/ 646372 h 1160647"/>
                <a:gd name="connsiteX125" fmla="*/ 847532 w 3079941"/>
                <a:gd name="connsiteY125" fmla="*/ 646372 h 1160647"/>
                <a:gd name="connsiteX126" fmla="*/ 847532 w 3079941"/>
                <a:gd name="connsiteY126" fmla="*/ 647993 h 1160647"/>
                <a:gd name="connsiteX127" fmla="*/ 847532 w 3079941"/>
                <a:gd name="connsiteY127" fmla="*/ 659342 h 1160647"/>
                <a:gd name="connsiteX128" fmla="*/ 849559 w 3079941"/>
                <a:gd name="connsiteY128" fmla="*/ 659342 h 1160647"/>
                <a:gd name="connsiteX129" fmla="*/ 863746 w 3079941"/>
                <a:gd name="connsiteY129" fmla="*/ 659342 h 1160647"/>
                <a:gd name="connsiteX130" fmla="*/ 869826 w 3079941"/>
                <a:gd name="connsiteY130" fmla="*/ 665828 h 1160647"/>
                <a:gd name="connsiteX131" fmla="*/ 869826 w 3079941"/>
                <a:gd name="connsiteY131" fmla="*/ 687446 h 1160647"/>
                <a:gd name="connsiteX132" fmla="*/ 872106 w 3079941"/>
                <a:gd name="connsiteY132" fmla="*/ 687446 h 1160647"/>
                <a:gd name="connsiteX133" fmla="*/ 888066 w 3079941"/>
                <a:gd name="connsiteY133" fmla="*/ 687446 h 1160647"/>
                <a:gd name="connsiteX134" fmla="*/ 888066 w 3079941"/>
                <a:gd name="connsiteY134" fmla="*/ 688526 h 1160647"/>
                <a:gd name="connsiteX135" fmla="*/ 888066 w 3079941"/>
                <a:gd name="connsiteY135" fmla="*/ 696093 h 1160647"/>
                <a:gd name="connsiteX136" fmla="*/ 889333 w 3079941"/>
                <a:gd name="connsiteY136" fmla="*/ 696093 h 1160647"/>
                <a:gd name="connsiteX137" fmla="*/ 898200 w 3079941"/>
                <a:gd name="connsiteY137" fmla="*/ 696093 h 1160647"/>
                <a:gd name="connsiteX138" fmla="*/ 898200 w 3079941"/>
                <a:gd name="connsiteY138" fmla="*/ 698254 h 1160647"/>
                <a:gd name="connsiteX139" fmla="*/ 898200 w 3079941"/>
                <a:gd name="connsiteY139" fmla="*/ 713387 h 1160647"/>
                <a:gd name="connsiteX140" fmla="*/ 902253 w 3079941"/>
                <a:gd name="connsiteY140" fmla="*/ 711495 h 1160647"/>
                <a:gd name="connsiteX141" fmla="*/ 902253 w 3079941"/>
                <a:gd name="connsiteY141" fmla="*/ 698254 h 1160647"/>
                <a:gd name="connsiteX142" fmla="*/ 903266 w 3079941"/>
                <a:gd name="connsiteY142" fmla="*/ 698254 h 1160647"/>
                <a:gd name="connsiteX143" fmla="*/ 910360 w 3079941"/>
                <a:gd name="connsiteY143" fmla="*/ 698254 h 1160647"/>
                <a:gd name="connsiteX144" fmla="*/ 910360 w 3079941"/>
                <a:gd name="connsiteY144" fmla="*/ 699876 h 1160647"/>
                <a:gd name="connsiteX145" fmla="*/ 910360 w 3079941"/>
                <a:gd name="connsiteY145" fmla="*/ 711225 h 1160647"/>
                <a:gd name="connsiteX146" fmla="*/ 911120 w 3079941"/>
                <a:gd name="connsiteY146" fmla="*/ 711225 h 1160647"/>
                <a:gd name="connsiteX147" fmla="*/ 916440 w 3079941"/>
                <a:gd name="connsiteY147" fmla="*/ 711225 h 1160647"/>
                <a:gd name="connsiteX148" fmla="*/ 965080 w 3079941"/>
                <a:gd name="connsiteY148" fmla="*/ 706902 h 1160647"/>
                <a:gd name="connsiteX149" fmla="*/ 965080 w 3079941"/>
                <a:gd name="connsiteY149" fmla="*/ 708253 h 1160647"/>
                <a:gd name="connsiteX150" fmla="*/ 965080 w 3079941"/>
                <a:gd name="connsiteY150" fmla="*/ 717710 h 1160647"/>
                <a:gd name="connsiteX151" fmla="*/ 965840 w 3079941"/>
                <a:gd name="connsiteY151" fmla="*/ 717710 h 1160647"/>
                <a:gd name="connsiteX152" fmla="*/ 971161 w 3079941"/>
                <a:gd name="connsiteY152" fmla="*/ 717710 h 1160647"/>
                <a:gd name="connsiteX153" fmla="*/ 971161 w 3079941"/>
                <a:gd name="connsiteY153" fmla="*/ 719872 h 1160647"/>
                <a:gd name="connsiteX154" fmla="*/ 971161 w 3079941"/>
                <a:gd name="connsiteY154" fmla="*/ 735005 h 1160647"/>
                <a:gd name="connsiteX155" fmla="*/ 973187 w 3079941"/>
                <a:gd name="connsiteY155" fmla="*/ 733654 h 1160647"/>
                <a:gd name="connsiteX156" fmla="*/ 987374 w 3079941"/>
                <a:gd name="connsiteY156" fmla="*/ 724196 h 1160647"/>
                <a:gd name="connsiteX157" fmla="*/ 993454 w 3079941"/>
                <a:gd name="connsiteY157" fmla="*/ 683122 h 1160647"/>
                <a:gd name="connsiteX158" fmla="*/ 994214 w 3079941"/>
                <a:gd name="connsiteY158" fmla="*/ 682852 h 1160647"/>
                <a:gd name="connsiteX159" fmla="*/ 999534 w 3079941"/>
                <a:gd name="connsiteY159" fmla="*/ 680960 h 1160647"/>
                <a:gd name="connsiteX160" fmla="*/ 1001561 w 3079941"/>
                <a:gd name="connsiteY160" fmla="*/ 611783 h 1160647"/>
                <a:gd name="connsiteX161" fmla="*/ 1003588 w 3079941"/>
                <a:gd name="connsiteY161" fmla="*/ 680960 h 1160647"/>
                <a:gd name="connsiteX162" fmla="*/ 1004348 w 3079941"/>
                <a:gd name="connsiteY162" fmla="*/ 681230 h 1160647"/>
                <a:gd name="connsiteX163" fmla="*/ 1009668 w 3079941"/>
                <a:gd name="connsiteY163" fmla="*/ 683122 h 1160647"/>
                <a:gd name="connsiteX164" fmla="*/ 1009668 w 3079941"/>
                <a:gd name="connsiteY164" fmla="*/ 596651 h 1160647"/>
                <a:gd name="connsiteX165" fmla="*/ 1013721 w 3079941"/>
                <a:gd name="connsiteY165" fmla="*/ 564224 h 1160647"/>
                <a:gd name="connsiteX166" fmla="*/ 1052228 w 3079941"/>
                <a:gd name="connsiteY166" fmla="*/ 564224 h 1160647"/>
                <a:gd name="connsiteX167" fmla="*/ 1052228 w 3079941"/>
                <a:gd name="connsiteY167" fmla="*/ 596651 h 1160647"/>
                <a:gd name="connsiteX168" fmla="*/ 1052988 w 3079941"/>
                <a:gd name="connsiteY168" fmla="*/ 596651 h 1160647"/>
                <a:gd name="connsiteX169" fmla="*/ 1058308 w 3079941"/>
                <a:gd name="connsiteY169" fmla="*/ 596651 h 1160647"/>
                <a:gd name="connsiteX170" fmla="*/ 1058308 w 3079941"/>
                <a:gd name="connsiteY170" fmla="*/ 514503 h 1160647"/>
                <a:gd name="connsiteX171" fmla="*/ 1060082 w 3079941"/>
                <a:gd name="connsiteY171" fmla="*/ 514503 h 1160647"/>
                <a:gd name="connsiteX172" fmla="*/ 1072495 w 3079941"/>
                <a:gd name="connsiteY172" fmla="*/ 514503 h 1160647"/>
                <a:gd name="connsiteX173" fmla="*/ 1072495 w 3079941"/>
                <a:gd name="connsiteY173" fmla="*/ 512612 h 1160647"/>
                <a:gd name="connsiteX174" fmla="*/ 1072495 w 3079941"/>
                <a:gd name="connsiteY174" fmla="*/ 499371 h 1160647"/>
                <a:gd name="connsiteX175" fmla="*/ 1094789 w 3079941"/>
                <a:gd name="connsiteY175" fmla="*/ 499371 h 1160647"/>
                <a:gd name="connsiteX176" fmla="*/ 1094789 w 3079941"/>
                <a:gd name="connsiteY176" fmla="*/ 498290 h 1160647"/>
                <a:gd name="connsiteX177" fmla="*/ 1094789 w 3079941"/>
                <a:gd name="connsiteY177" fmla="*/ 490724 h 1160647"/>
                <a:gd name="connsiteX178" fmla="*/ 1096562 w 3079941"/>
                <a:gd name="connsiteY178" fmla="*/ 490724 h 1160647"/>
                <a:gd name="connsiteX179" fmla="*/ 1108976 w 3079941"/>
                <a:gd name="connsiteY179" fmla="*/ 490724 h 1160647"/>
                <a:gd name="connsiteX180" fmla="*/ 1108976 w 3079941"/>
                <a:gd name="connsiteY180" fmla="*/ 491805 h 1160647"/>
                <a:gd name="connsiteX181" fmla="*/ 1108976 w 3079941"/>
                <a:gd name="connsiteY181" fmla="*/ 499371 h 1160647"/>
                <a:gd name="connsiteX182" fmla="*/ 1109736 w 3079941"/>
                <a:gd name="connsiteY182" fmla="*/ 499371 h 1160647"/>
                <a:gd name="connsiteX183" fmla="*/ 1115056 w 3079941"/>
                <a:gd name="connsiteY183" fmla="*/ 499371 h 1160647"/>
                <a:gd name="connsiteX184" fmla="*/ 1125189 w 3079941"/>
                <a:gd name="connsiteY184" fmla="*/ 495047 h 1160647"/>
                <a:gd name="connsiteX185" fmla="*/ 1129242 w 3079941"/>
                <a:gd name="connsiteY185" fmla="*/ 498290 h 1160647"/>
                <a:gd name="connsiteX186" fmla="*/ 1129242 w 3079941"/>
                <a:gd name="connsiteY186" fmla="*/ 490724 h 1160647"/>
                <a:gd name="connsiteX187" fmla="*/ 1131522 w 3079941"/>
                <a:gd name="connsiteY187" fmla="*/ 490724 h 1160647"/>
                <a:gd name="connsiteX188" fmla="*/ 1147483 w 3079941"/>
                <a:gd name="connsiteY188" fmla="*/ 490724 h 1160647"/>
                <a:gd name="connsiteX189" fmla="*/ 1147483 w 3079941"/>
                <a:gd name="connsiteY189" fmla="*/ 491805 h 1160647"/>
                <a:gd name="connsiteX190" fmla="*/ 1147483 w 3079941"/>
                <a:gd name="connsiteY190" fmla="*/ 499371 h 1160647"/>
                <a:gd name="connsiteX191" fmla="*/ 1177883 w 3079941"/>
                <a:gd name="connsiteY191" fmla="*/ 499371 h 1160647"/>
                <a:gd name="connsiteX192" fmla="*/ 1177883 w 3079941"/>
                <a:gd name="connsiteY192" fmla="*/ 500992 h 1160647"/>
                <a:gd name="connsiteX193" fmla="*/ 1177883 w 3079941"/>
                <a:gd name="connsiteY193" fmla="*/ 512342 h 1160647"/>
                <a:gd name="connsiteX194" fmla="*/ 1204230 w 3079941"/>
                <a:gd name="connsiteY194" fmla="*/ 512342 h 1160647"/>
                <a:gd name="connsiteX195" fmla="*/ 1204230 w 3079941"/>
                <a:gd name="connsiteY195" fmla="*/ 542606 h 1160647"/>
                <a:gd name="connsiteX196" fmla="*/ 1204990 w 3079941"/>
                <a:gd name="connsiteY196" fmla="*/ 542606 h 1160647"/>
                <a:gd name="connsiteX197" fmla="*/ 1210310 w 3079941"/>
                <a:gd name="connsiteY197" fmla="*/ 542606 h 1160647"/>
                <a:gd name="connsiteX198" fmla="*/ 1210310 w 3079941"/>
                <a:gd name="connsiteY198" fmla="*/ 543687 h 1160647"/>
                <a:gd name="connsiteX199" fmla="*/ 1210310 w 3079941"/>
                <a:gd name="connsiteY199" fmla="*/ 551254 h 1160647"/>
                <a:gd name="connsiteX200" fmla="*/ 1214364 w 3079941"/>
                <a:gd name="connsiteY200" fmla="*/ 581518 h 1160647"/>
                <a:gd name="connsiteX201" fmla="*/ 1215124 w 3079941"/>
                <a:gd name="connsiteY201" fmla="*/ 581518 h 1160647"/>
                <a:gd name="connsiteX202" fmla="*/ 1220444 w 3079941"/>
                <a:gd name="connsiteY202" fmla="*/ 581518 h 1160647"/>
                <a:gd name="connsiteX203" fmla="*/ 1220444 w 3079941"/>
                <a:gd name="connsiteY203" fmla="*/ 582329 h 1160647"/>
                <a:gd name="connsiteX204" fmla="*/ 1220444 w 3079941"/>
                <a:gd name="connsiteY204" fmla="*/ 588004 h 1160647"/>
                <a:gd name="connsiteX205" fmla="*/ 1221457 w 3079941"/>
                <a:gd name="connsiteY205" fmla="*/ 588004 h 1160647"/>
                <a:gd name="connsiteX206" fmla="*/ 1228550 w 3079941"/>
                <a:gd name="connsiteY206" fmla="*/ 588004 h 1160647"/>
                <a:gd name="connsiteX207" fmla="*/ 1228550 w 3079941"/>
                <a:gd name="connsiteY207" fmla="*/ 618269 h 1160647"/>
                <a:gd name="connsiteX208" fmla="*/ 1230577 w 3079941"/>
                <a:gd name="connsiteY208" fmla="*/ 618269 h 1160647"/>
                <a:gd name="connsiteX209" fmla="*/ 1244764 w 3079941"/>
                <a:gd name="connsiteY209" fmla="*/ 618269 h 1160647"/>
                <a:gd name="connsiteX210" fmla="*/ 1244764 w 3079941"/>
                <a:gd name="connsiteY210" fmla="*/ 642048 h 1160647"/>
                <a:gd name="connsiteX211" fmla="*/ 1246791 w 3079941"/>
                <a:gd name="connsiteY211" fmla="*/ 643669 h 1160647"/>
                <a:gd name="connsiteX212" fmla="*/ 1246791 w 3079941"/>
                <a:gd name="connsiteY212" fmla="*/ 655019 h 1160647"/>
                <a:gd name="connsiteX213" fmla="*/ 1247551 w 3079941"/>
                <a:gd name="connsiteY213" fmla="*/ 655019 h 1160647"/>
                <a:gd name="connsiteX214" fmla="*/ 1252871 w 3079941"/>
                <a:gd name="connsiteY214" fmla="*/ 655019 h 1160647"/>
                <a:gd name="connsiteX215" fmla="*/ 1252871 w 3079941"/>
                <a:gd name="connsiteY215" fmla="*/ 678798 h 1160647"/>
                <a:gd name="connsiteX216" fmla="*/ 1254137 w 3079941"/>
                <a:gd name="connsiteY216" fmla="*/ 678798 h 1160647"/>
                <a:gd name="connsiteX217" fmla="*/ 1263004 w 3079941"/>
                <a:gd name="connsiteY217" fmla="*/ 678798 h 1160647"/>
                <a:gd name="connsiteX218" fmla="*/ 1265031 w 3079941"/>
                <a:gd name="connsiteY218" fmla="*/ 682852 h 1160647"/>
                <a:gd name="connsiteX219" fmla="*/ 1265031 w 3079941"/>
                <a:gd name="connsiteY219" fmla="*/ 696093 h 1160647"/>
                <a:gd name="connsiteX220" fmla="*/ 1266551 w 3079941"/>
                <a:gd name="connsiteY220" fmla="*/ 694201 h 1160647"/>
                <a:gd name="connsiteX221" fmla="*/ 1277191 w 3079941"/>
                <a:gd name="connsiteY221" fmla="*/ 680960 h 1160647"/>
                <a:gd name="connsiteX222" fmla="*/ 1305565 w 3079941"/>
                <a:gd name="connsiteY222" fmla="*/ 680960 h 1160647"/>
                <a:gd name="connsiteX223" fmla="*/ 1305565 w 3079941"/>
                <a:gd name="connsiteY223" fmla="*/ 767431 h 1160647"/>
                <a:gd name="connsiteX224" fmla="*/ 1306325 w 3079941"/>
                <a:gd name="connsiteY224" fmla="*/ 767431 h 1160647"/>
                <a:gd name="connsiteX225" fmla="*/ 1311645 w 3079941"/>
                <a:gd name="connsiteY225" fmla="*/ 767431 h 1160647"/>
                <a:gd name="connsiteX226" fmla="*/ 1312405 w 3079941"/>
                <a:gd name="connsiteY226" fmla="*/ 766080 h 1160647"/>
                <a:gd name="connsiteX227" fmla="*/ 1317725 w 3079941"/>
                <a:gd name="connsiteY227" fmla="*/ 756622 h 1160647"/>
                <a:gd name="connsiteX228" fmla="*/ 1317725 w 3079941"/>
                <a:gd name="connsiteY228" fmla="*/ 758514 h 1160647"/>
                <a:gd name="connsiteX229" fmla="*/ 1317725 w 3079941"/>
                <a:gd name="connsiteY229" fmla="*/ 771755 h 1160647"/>
                <a:gd name="connsiteX230" fmla="*/ 1321778 w 3079941"/>
                <a:gd name="connsiteY230" fmla="*/ 726358 h 1160647"/>
                <a:gd name="connsiteX231" fmla="*/ 1322538 w 3079941"/>
                <a:gd name="connsiteY231" fmla="*/ 726358 h 1160647"/>
                <a:gd name="connsiteX232" fmla="*/ 1327858 w 3079941"/>
                <a:gd name="connsiteY232" fmla="*/ 726358 h 1160647"/>
                <a:gd name="connsiteX233" fmla="*/ 1327858 w 3079941"/>
                <a:gd name="connsiteY233" fmla="*/ 661504 h 1160647"/>
                <a:gd name="connsiteX234" fmla="*/ 1328872 w 3079941"/>
                <a:gd name="connsiteY234" fmla="*/ 661504 h 1160647"/>
                <a:gd name="connsiteX235" fmla="*/ 1335965 w 3079941"/>
                <a:gd name="connsiteY235" fmla="*/ 661504 h 1160647"/>
                <a:gd name="connsiteX236" fmla="*/ 1348125 w 3079941"/>
                <a:gd name="connsiteY236" fmla="*/ 618269 h 1160647"/>
                <a:gd name="connsiteX237" fmla="*/ 1349392 w 3079941"/>
                <a:gd name="connsiteY237" fmla="*/ 618269 h 1160647"/>
                <a:gd name="connsiteX238" fmla="*/ 1358259 w 3079941"/>
                <a:gd name="connsiteY238" fmla="*/ 618269 h 1160647"/>
                <a:gd name="connsiteX239" fmla="*/ 1368392 w 3079941"/>
                <a:gd name="connsiteY239" fmla="*/ 661504 h 1160647"/>
                <a:gd name="connsiteX240" fmla="*/ 1369405 w 3079941"/>
                <a:gd name="connsiteY240" fmla="*/ 661504 h 1160647"/>
                <a:gd name="connsiteX241" fmla="*/ 1376499 w 3079941"/>
                <a:gd name="connsiteY241" fmla="*/ 661504 h 1160647"/>
                <a:gd name="connsiteX242" fmla="*/ 1376499 w 3079941"/>
                <a:gd name="connsiteY242" fmla="*/ 700416 h 1160647"/>
                <a:gd name="connsiteX243" fmla="*/ 1378272 w 3079941"/>
                <a:gd name="connsiteY243" fmla="*/ 700416 h 1160647"/>
                <a:gd name="connsiteX244" fmla="*/ 1390686 w 3079941"/>
                <a:gd name="connsiteY244" fmla="*/ 700416 h 1160647"/>
                <a:gd name="connsiteX245" fmla="*/ 1390686 w 3079941"/>
                <a:gd name="connsiteY245" fmla="*/ 702578 h 1160647"/>
                <a:gd name="connsiteX246" fmla="*/ 1390686 w 3079941"/>
                <a:gd name="connsiteY246" fmla="*/ 717710 h 1160647"/>
                <a:gd name="connsiteX247" fmla="*/ 1394739 w 3079941"/>
                <a:gd name="connsiteY247" fmla="*/ 715549 h 1160647"/>
                <a:gd name="connsiteX248" fmla="*/ 1394739 w 3079941"/>
                <a:gd name="connsiteY248" fmla="*/ 700416 h 1160647"/>
                <a:gd name="connsiteX249" fmla="*/ 1396259 w 3079941"/>
                <a:gd name="connsiteY249" fmla="*/ 700416 h 1160647"/>
                <a:gd name="connsiteX250" fmla="*/ 1406899 w 3079941"/>
                <a:gd name="connsiteY250" fmla="*/ 700416 h 1160647"/>
                <a:gd name="connsiteX251" fmla="*/ 1406899 w 3079941"/>
                <a:gd name="connsiteY251" fmla="*/ 702037 h 1160647"/>
                <a:gd name="connsiteX252" fmla="*/ 1406899 w 3079941"/>
                <a:gd name="connsiteY252" fmla="*/ 713387 h 1160647"/>
                <a:gd name="connsiteX253" fmla="*/ 1437300 w 3079941"/>
                <a:gd name="connsiteY253" fmla="*/ 713387 h 1160647"/>
                <a:gd name="connsiteX254" fmla="*/ 1437300 w 3079941"/>
                <a:gd name="connsiteY254" fmla="*/ 676637 h 1160647"/>
                <a:gd name="connsiteX255" fmla="*/ 1438566 w 3079941"/>
                <a:gd name="connsiteY255" fmla="*/ 676637 h 1160647"/>
                <a:gd name="connsiteX256" fmla="*/ 1447433 w 3079941"/>
                <a:gd name="connsiteY256" fmla="*/ 676637 h 1160647"/>
                <a:gd name="connsiteX257" fmla="*/ 1447433 w 3079941"/>
                <a:gd name="connsiteY257" fmla="*/ 698254 h 1160647"/>
                <a:gd name="connsiteX258" fmla="*/ 1449460 w 3079941"/>
                <a:gd name="connsiteY258" fmla="*/ 665828 h 1160647"/>
                <a:gd name="connsiteX259" fmla="*/ 1471753 w 3079941"/>
                <a:gd name="connsiteY259" fmla="*/ 665828 h 1160647"/>
                <a:gd name="connsiteX260" fmla="*/ 1471753 w 3079941"/>
                <a:gd name="connsiteY260" fmla="*/ 664206 h 1160647"/>
                <a:gd name="connsiteX261" fmla="*/ 1471753 w 3079941"/>
                <a:gd name="connsiteY261" fmla="*/ 652857 h 1160647"/>
                <a:gd name="connsiteX262" fmla="*/ 1472513 w 3079941"/>
                <a:gd name="connsiteY262" fmla="*/ 652857 h 1160647"/>
                <a:gd name="connsiteX263" fmla="*/ 1477833 w 3079941"/>
                <a:gd name="connsiteY263" fmla="*/ 652857 h 1160647"/>
                <a:gd name="connsiteX264" fmla="*/ 1477833 w 3079941"/>
                <a:gd name="connsiteY264" fmla="*/ 650966 h 1160647"/>
                <a:gd name="connsiteX265" fmla="*/ 1477833 w 3079941"/>
                <a:gd name="connsiteY265" fmla="*/ 637725 h 1160647"/>
                <a:gd name="connsiteX266" fmla="*/ 1481887 w 3079941"/>
                <a:gd name="connsiteY266" fmla="*/ 644210 h 1160647"/>
                <a:gd name="connsiteX267" fmla="*/ 1484167 w 3079941"/>
                <a:gd name="connsiteY267" fmla="*/ 644210 h 1160647"/>
                <a:gd name="connsiteX268" fmla="*/ 1500127 w 3079941"/>
                <a:gd name="connsiteY268" fmla="*/ 644210 h 1160647"/>
                <a:gd name="connsiteX269" fmla="*/ 1500127 w 3079941"/>
                <a:gd name="connsiteY269" fmla="*/ 643399 h 1160647"/>
                <a:gd name="connsiteX270" fmla="*/ 1500127 w 3079941"/>
                <a:gd name="connsiteY270" fmla="*/ 637725 h 1160647"/>
                <a:gd name="connsiteX271" fmla="*/ 1500887 w 3079941"/>
                <a:gd name="connsiteY271" fmla="*/ 637725 h 1160647"/>
                <a:gd name="connsiteX272" fmla="*/ 1506207 w 3079941"/>
                <a:gd name="connsiteY272" fmla="*/ 637725 h 1160647"/>
                <a:gd name="connsiteX273" fmla="*/ 1506207 w 3079941"/>
                <a:gd name="connsiteY273" fmla="*/ 639076 h 1160647"/>
                <a:gd name="connsiteX274" fmla="*/ 1506207 w 3079941"/>
                <a:gd name="connsiteY274" fmla="*/ 648534 h 1160647"/>
                <a:gd name="connsiteX275" fmla="*/ 1544714 w 3079941"/>
                <a:gd name="connsiteY275" fmla="*/ 648534 h 1160647"/>
                <a:gd name="connsiteX276" fmla="*/ 1544714 w 3079941"/>
                <a:gd name="connsiteY276" fmla="*/ 786887 h 1160647"/>
                <a:gd name="connsiteX277" fmla="*/ 1546234 w 3079941"/>
                <a:gd name="connsiteY277" fmla="*/ 786887 h 1160647"/>
                <a:gd name="connsiteX278" fmla="*/ 1556874 w 3079941"/>
                <a:gd name="connsiteY278" fmla="*/ 786887 h 1160647"/>
                <a:gd name="connsiteX279" fmla="*/ 1556874 w 3079941"/>
                <a:gd name="connsiteY279" fmla="*/ 773917 h 1160647"/>
                <a:gd name="connsiteX280" fmla="*/ 1560928 w 3079941"/>
                <a:gd name="connsiteY280" fmla="*/ 773917 h 1160647"/>
                <a:gd name="connsiteX281" fmla="*/ 1560928 w 3079941"/>
                <a:gd name="connsiteY281" fmla="*/ 786887 h 1160647"/>
                <a:gd name="connsiteX282" fmla="*/ 1591328 w 3079941"/>
                <a:gd name="connsiteY282" fmla="*/ 786887 h 1160647"/>
                <a:gd name="connsiteX283" fmla="*/ 1591328 w 3079941"/>
                <a:gd name="connsiteY283" fmla="*/ 756622 h 1160647"/>
                <a:gd name="connsiteX284" fmla="*/ 1603488 w 3079941"/>
                <a:gd name="connsiteY284" fmla="*/ 756622 h 1160647"/>
                <a:gd name="connsiteX285" fmla="*/ 1615648 w 3079941"/>
                <a:gd name="connsiteY285" fmla="*/ 754461 h 1160647"/>
                <a:gd name="connsiteX286" fmla="*/ 1619702 w 3079941"/>
                <a:gd name="connsiteY286" fmla="*/ 756622 h 1160647"/>
                <a:gd name="connsiteX287" fmla="*/ 1629835 w 3079941"/>
                <a:gd name="connsiteY287" fmla="*/ 756622 h 1160647"/>
                <a:gd name="connsiteX288" fmla="*/ 1629835 w 3079941"/>
                <a:gd name="connsiteY288" fmla="*/ 786887 h 1160647"/>
                <a:gd name="connsiteX289" fmla="*/ 1637942 w 3079941"/>
                <a:gd name="connsiteY289" fmla="*/ 786887 h 1160647"/>
                <a:gd name="connsiteX290" fmla="*/ 1637942 w 3079941"/>
                <a:gd name="connsiteY290" fmla="*/ 804182 h 1160647"/>
                <a:gd name="connsiteX291" fmla="*/ 1647278 w 3079941"/>
                <a:gd name="connsiteY291" fmla="*/ 805087 h 1160647"/>
                <a:gd name="connsiteX292" fmla="*/ 1660236 w 3079941"/>
                <a:gd name="connsiteY292" fmla="*/ 805087 h 1160647"/>
                <a:gd name="connsiteX293" fmla="*/ 1660236 w 3079941"/>
                <a:gd name="connsiteY293" fmla="*/ 789049 h 1160647"/>
                <a:gd name="connsiteX294" fmla="*/ 1728192 w 3079941"/>
                <a:gd name="connsiteY294" fmla="*/ 789049 h 1160647"/>
                <a:gd name="connsiteX295" fmla="*/ 1728192 w 3079941"/>
                <a:gd name="connsiteY295" fmla="*/ 703796 h 1160647"/>
                <a:gd name="connsiteX296" fmla="*/ 1800200 w 3079941"/>
                <a:gd name="connsiteY296" fmla="*/ 703796 h 1160647"/>
                <a:gd name="connsiteX297" fmla="*/ 1800200 w 3079941"/>
                <a:gd name="connsiteY297" fmla="*/ 782564 h 1160647"/>
                <a:gd name="connsiteX298" fmla="*/ 1802104 w 3079941"/>
                <a:gd name="connsiteY298" fmla="*/ 782564 h 1160647"/>
                <a:gd name="connsiteX299" fmla="*/ 1803346 w 3079941"/>
                <a:gd name="connsiteY299" fmla="*/ 805087 h 1160647"/>
                <a:gd name="connsiteX300" fmla="*/ 1813022 w 3079941"/>
                <a:gd name="connsiteY300" fmla="*/ 805087 h 1160647"/>
                <a:gd name="connsiteX301" fmla="*/ 1814264 w 3079941"/>
                <a:gd name="connsiteY301" fmla="*/ 782564 h 1160647"/>
                <a:gd name="connsiteX302" fmla="*/ 1820344 w 3079941"/>
                <a:gd name="connsiteY302" fmla="*/ 782564 h 1160647"/>
                <a:gd name="connsiteX303" fmla="*/ 1821586 w 3079941"/>
                <a:gd name="connsiteY303" fmla="*/ 805087 h 1160647"/>
                <a:gd name="connsiteX304" fmla="*/ 1872208 w 3079941"/>
                <a:gd name="connsiteY304" fmla="*/ 805087 h 1160647"/>
                <a:gd name="connsiteX305" fmla="*/ 1872208 w 3079941"/>
                <a:gd name="connsiteY305" fmla="*/ 642059 h 1160647"/>
                <a:gd name="connsiteX306" fmla="*/ 2069535 w 3079941"/>
                <a:gd name="connsiteY306" fmla="*/ 642059 h 1160647"/>
                <a:gd name="connsiteX307" fmla="*/ 2069535 w 3079941"/>
                <a:gd name="connsiteY307" fmla="*/ 805087 h 1160647"/>
                <a:gd name="connsiteX308" fmla="*/ 2088232 w 3079941"/>
                <a:gd name="connsiteY308" fmla="*/ 805087 h 1160647"/>
                <a:gd name="connsiteX309" fmla="*/ 2088232 w 3079941"/>
                <a:gd name="connsiteY309" fmla="*/ 722394 h 1160647"/>
                <a:gd name="connsiteX310" fmla="*/ 2183352 w 3079941"/>
                <a:gd name="connsiteY310" fmla="*/ 722394 h 1160647"/>
                <a:gd name="connsiteX311" fmla="*/ 2195282 w 3079941"/>
                <a:gd name="connsiteY311" fmla="*/ 404253 h 1160647"/>
                <a:gd name="connsiteX312" fmla="*/ 2183122 w 3079941"/>
                <a:gd name="connsiteY312" fmla="*/ 382635 h 1160647"/>
                <a:gd name="connsiteX313" fmla="*/ 2177042 w 3079941"/>
                <a:gd name="connsiteY313" fmla="*/ 378311 h 1160647"/>
                <a:gd name="connsiteX314" fmla="*/ 2185149 w 3079941"/>
                <a:gd name="connsiteY314" fmla="*/ 354532 h 1160647"/>
                <a:gd name="connsiteX315" fmla="*/ 2185149 w 3079941"/>
                <a:gd name="connsiteY315" fmla="*/ 337238 h 1160647"/>
                <a:gd name="connsiteX316" fmla="*/ 2199336 w 3079941"/>
                <a:gd name="connsiteY316" fmla="*/ 337238 h 1160647"/>
                <a:gd name="connsiteX317" fmla="*/ 2199336 w 3079941"/>
                <a:gd name="connsiteY317" fmla="*/ 315620 h 1160647"/>
                <a:gd name="connsiteX318" fmla="*/ 2201362 w 3079941"/>
                <a:gd name="connsiteY318" fmla="*/ 311296 h 1160647"/>
                <a:gd name="connsiteX319" fmla="*/ 2201362 w 3079941"/>
                <a:gd name="connsiteY319" fmla="*/ 233472 h 1160647"/>
                <a:gd name="connsiteX320" fmla="*/ 2199336 w 3079941"/>
                <a:gd name="connsiteY320" fmla="*/ 226987 h 1160647"/>
                <a:gd name="connsiteX321" fmla="*/ 2205416 w 3079941"/>
                <a:gd name="connsiteY321" fmla="*/ 220501 h 1160647"/>
                <a:gd name="connsiteX322" fmla="*/ 2205416 w 3079941"/>
                <a:gd name="connsiteY322" fmla="*/ 162133 h 1160647"/>
                <a:gd name="connsiteX323" fmla="*/ 2207442 w 3079941"/>
                <a:gd name="connsiteY323" fmla="*/ 157810 h 1160647"/>
                <a:gd name="connsiteX324" fmla="*/ 2207442 w 3079941"/>
                <a:gd name="connsiteY324" fmla="*/ 101604 h 1160647"/>
                <a:gd name="connsiteX325" fmla="*/ 2209469 w 3079941"/>
                <a:gd name="connsiteY325" fmla="*/ 82148 h 1160647"/>
                <a:gd name="connsiteX326" fmla="*/ 2213523 w 3079941"/>
                <a:gd name="connsiteY326" fmla="*/ 99442 h 1160647"/>
                <a:gd name="connsiteX327" fmla="*/ 2215549 w 3079941"/>
                <a:gd name="connsiteY327" fmla="*/ 157810 h 1160647"/>
                <a:gd name="connsiteX328" fmla="*/ 2217576 w 3079941"/>
                <a:gd name="connsiteY328" fmla="*/ 220501 h 1160647"/>
                <a:gd name="connsiteX329" fmla="*/ 2223656 w 3079941"/>
                <a:gd name="connsiteY329" fmla="*/ 226987 h 1160647"/>
                <a:gd name="connsiteX330" fmla="*/ 2221629 w 3079941"/>
                <a:gd name="connsiteY330" fmla="*/ 233472 h 1160647"/>
                <a:gd name="connsiteX331" fmla="*/ 2221629 w 3079941"/>
                <a:gd name="connsiteY331" fmla="*/ 311296 h 1160647"/>
                <a:gd name="connsiteX332" fmla="*/ 2223656 w 3079941"/>
                <a:gd name="connsiteY332" fmla="*/ 315620 h 1160647"/>
                <a:gd name="connsiteX333" fmla="*/ 2223656 w 3079941"/>
                <a:gd name="connsiteY333" fmla="*/ 337238 h 1160647"/>
                <a:gd name="connsiteX334" fmla="*/ 2237843 w 3079941"/>
                <a:gd name="connsiteY334" fmla="*/ 337238 h 1160647"/>
                <a:gd name="connsiteX335" fmla="*/ 2237843 w 3079941"/>
                <a:gd name="connsiteY335" fmla="*/ 354532 h 1160647"/>
                <a:gd name="connsiteX336" fmla="*/ 2245950 w 3079941"/>
                <a:gd name="connsiteY336" fmla="*/ 378311 h 1160647"/>
                <a:gd name="connsiteX337" fmla="*/ 2239870 w 3079941"/>
                <a:gd name="connsiteY337" fmla="*/ 382635 h 1160647"/>
                <a:gd name="connsiteX338" fmla="*/ 2227709 w 3079941"/>
                <a:gd name="connsiteY338" fmla="*/ 404253 h 1160647"/>
                <a:gd name="connsiteX339" fmla="*/ 2235816 w 3079941"/>
                <a:gd name="connsiteY339" fmla="*/ 657181 h 1160647"/>
                <a:gd name="connsiteX340" fmla="*/ 2300670 w 3079941"/>
                <a:gd name="connsiteY340" fmla="*/ 657181 h 1160647"/>
                <a:gd name="connsiteX341" fmla="*/ 2300670 w 3079941"/>
                <a:gd name="connsiteY341" fmla="*/ 732843 h 1160647"/>
                <a:gd name="connsiteX342" fmla="*/ 2308777 w 3079941"/>
                <a:gd name="connsiteY342" fmla="*/ 732843 h 1160647"/>
                <a:gd name="connsiteX343" fmla="*/ 2310804 w 3079941"/>
                <a:gd name="connsiteY343" fmla="*/ 726358 h 1160647"/>
                <a:gd name="connsiteX344" fmla="*/ 2316884 w 3079941"/>
                <a:gd name="connsiteY344" fmla="*/ 726358 h 1160647"/>
                <a:gd name="connsiteX345" fmla="*/ 2318911 w 3079941"/>
                <a:gd name="connsiteY345" fmla="*/ 735005 h 1160647"/>
                <a:gd name="connsiteX346" fmla="*/ 2331071 w 3079941"/>
                <a:gd name="connsiteY346" fmla="*/ 735005 h 1160647"/>
                <a:gd name="connsiteX347" fmla="*/ 2331071 w 3079941"/>
                <a:gd name="connsiteY347" fmla="*/ 728519 h 1160647"/>
                <a:gd name="connsiteX348" fmla="*/ 2353364 w 3079941"/>
                <a:gd name="connsiteY348" fmla="*/ 728519 h 1160647"/>
                <a:gd name="connsiteX349" fmla="*/ 2353364 w 3079941"/>
                <a:gd name="connsiteY349" fmla="*/ 735005 h 1160647"/>
                <a:gd name="connsiteX350" fmla="*/ 2373631 w 3079941"/>
                <a:gd name="connsiteY350" fmla="*/ 735005 h 1160647"/>
                <a:gd name="connsiteX351" fmla="*/ 2373631 w 3079941"/>
                <a:gd name="connsiteY351" fmla="*/ 780402 h 1160647"/>
                <a:gd name="connsiteX352" fmla="*/ 2387818 w 3079941"/>
                <a:gd name="connsiteY352" fmla="*/ 780402 h 1160647"/>
                <a:gd name="connsiteX353" fmla="*/ 2387818 w 3079941"/>
                <a:gd name="connsiteY353" fmla="*/ 767431 h 1160647"/>
                <a:gd name="connsiteX354" fmla="*/ 2404032 w 3079941"/>
                <a:gd name="connsiteY354" fmla="*/ 767431 h 1160647"/>
                <a:gd name="connsiteX355" fmla="*/ 2404032 w 3079941"/>
                <a:gd name="connsiteY355" fmla="*/ 588004 h 1160647"/>
                <a:gd name="connsiteX356" fmla="*/ 2410112 w 3079941"/>
                <a:gd name="connsiteY356" fmla="*/ 581518 h 1160647"/>
                <a:gd name="connsiteX357" fmla="*/ 2483073 w 3079941"/>
                <a:gd name="connsiteY357" fmla="*/ 581518 h 1160647"/>
                <a:gd name="connsiteX358" fmla="*/ 2483073 w 3079941"/>
                <a:gd name="connsiteY358" fmla="*/ 590166 h 1160647"/>
                <a:gd name="connsiteX359" fmla="*/ 2493206 w 3079941"/>
                <a:gd name="connsiteY359" fmla="*/ 590166 h 1160647"/>
                <a:gd name="connsiteX360" fmla="*/ 2493206 w 3079941"/>
                <a:gd name="connsiteY360" fmla="*/ 704740 h 1160647"/>
                <a:gd name="connsiteX361" fmla="*/ 2515500 w 3079941"/>
                <a:gd name="connsiteY361" fmla="*/ 704740 h 1160647"/>
                <a:gd name="connsiteX362" fmla="*/ 2515500 w 3079941"/>
                <a:gd name="connsiteY362" fmla="*/ 637725 h 1160647"/>
                <a:gd name="connsiteX363" fmla="*/ 2541847 w 3079941"/>
                <a:gd name="connsiteY363" fmla="*/ 637725 h 1160647"/>
                <a:gd name="connsiteX364" fmla="*/ 2545900 w 3079941"/>
                <a:gd name="connsiteY364" fmla="*/ 633401 h 1160647"/>
                <a:gd name="connsiteX365" fmla="*/ 2554007 w 3079941"/>
                <a:gd name="connsiteY365" fmla="*/ 633401 h 1160647"/>
                <a:gd name="connsiteX366" fmla="*/ 2558060 w 3079941"/>
                <a:gd name="connsiteY366" fmla="*/ 637725 h 1160647"/>
                <a:gd name="connsiteX367" fmla="*/ 2580354 w 3079941"/>
                <a:gd name="connsiteY367" fmla="*/ 637725 h 1160647"/>
                <a:gd name="connsiteX368" fmla="*/ 2580354 w 3079941"/>
                <a:gd name="connsiteY368" fmla="*/ 520989 h 1160647"/>
                <a:gd name="connsiteX369" fmla="*/ 2637101 w 3079941"/>
                <a:gd name="connsiteY369" fmla="*/ 510180 h 1160647"/>
                <a:gd name="connsiteX370" fmla="*/ 2637101 w 3079941"/>
                <a:gd name="connsiteY370" fmla="*/ 511261 h 1160647"/>
                <a:gd name="connsiteX371" fmla="*/ 2637101 w 3079941"/>
                <a:gd name="connsiteY371" fmla="*/ 518827 h 1160647"/>
                <a:gd name="connsiteX372" fmla="*/ 2663448 w 3079941"/>
                <a:gd name="connsiteY372" fmla="*/ 518827 h 1160647"/>
                <a:gd name="connsiteX373" fmla="*/ 2663448 w 3079941"/>
                <a:gd name="connsiteY373" fmla="*/ 773917 h 1160647"/>
                <a:gd name="connsiteX374" fmla="*/ 2685742 w 3079941"/>
                <a:gd name="connsiteY374" fmla="*/ 773917 h 1160647"/>
                <a:gd name="connsiteX375" fmla="*/ 2685742 w 3079941"/>
                <a:gd name="connsiteY375" fmla="*/ 769593 h 1160647"/>
                <a:gd name="connsiteX376" fmla="*/ 2697902 w 3079941"/>
                <a:gd name="connsiteY376" fmla="*/ 769593 h 1160647"/>
                <a:gd name="connsiteX377" fmla="*/ 2697902 w 3079941"/>
                <a:gd name="connsiteY377" fmla="*/ 773917 h 1160647"/>
                <a:gd name="connsiteX378" fmla="*/ 2722222 w 3079941"/>
                <a:gd name="connsiteY378" fmla="*/ 773917 h 1160647"/>
                <a:gd name="connsiteX379" fmla="*/ 2722222 w 3079941"/>
                <a:gd name="connsiteY379" fmla="*/ 760946 h 1160647"/>
                <a:gd name="connsiteX380" fmla="*/ 2750596 w 3079941"/>
                <a:gd name="connsiteY380" fmla="*/ 760946 h 1160647"/>
                <a:gd name="connsiteX381" fmla="*/ 2762756 w 3079941"/>
                <a:gd name="connsiteY381" fmla="*/ 756622 h 1160647"/>
                <a:gd name="connsiteX382" fmla="*/ 2783023 w 3079941"/>
                <a:gd name="connsiteY382" fmla="*/ 760946 h 1160647"/>
                <a:gd name="connsiteX383" fmla="*/ 2783023 w 3079941"/>
                <a:gd name="connsiteY383" fmla="*/ 743652 h 1160647"/>
                <a:gd name="connsiteX384" fmla="*/ 2791130 w 3079941"/>
                <a:gd name="connsiteY384" fmla="*/ 743652 h 1160647"/>
                <a:gd name="connsiteX385" fmla="*/ 2791130 w 3079941"/>
                <a:gd name="connsiteY385" fmla="*/ 730681 h 1160647"/>
                <a:gd name="connsiteX386" fmla="*/ 2847877 w 3079941"/>
                <a:gd name="connsiteY386" fmla="*/ 730681 h 1160647"/>
                <a:gd name="connsiteX387" fmla="*/ 2847877 w 3079941"/>
                <a:gd name="connsiteY387" fmla="*/ 700416 h 1160647"/>
                <a:gd name="connsiteX388" fmla="*/ 2866117 w 3079941"/>
                <a:gd name="connsiteY388" fmla="*/ 700416 h 1160647"/>
                <a:gd name="connsiteX389" fmla="*/ 2866117 w 3079941"/>
                <a:gd name="connsiteY389" fmla="*/ 693931 h 1160647"/>
                <a:gd name="connsiteX390" fmla="*/ 2878277 w 3079941"/>
                <a:gd name="connsiteY390" fmla="*/ 693931 h 1160647"/>
                <a:gd name="connsiteX391" fmla="*/ 2878277 w 3079941"/>
                <a:gd name="connsiteY391" fmla="*/ 700416 h 1160647"/>
                <a:gd name="connsiteX392" fmla="*/ 2894491 w 3079941"/>
                <a:gd name="connsiteY392" fmla="*/ 700416 h 1160647"/>
                <a:gd name="connsiteX393" fmla="*/ 2894491 w 3079941"/>
                <a:gd name="connsiteY393" fmla="*/ 750137 h 1160647"/>
                <a:gd name="connsiteX394" fmla="*/ 2926918 w 3079941"/>
                <a:gd name="connsiteY394" fmla="*/ 750137 h 1160647"/>
                <a:gd name="connsiteX395" fmla="*/ 2926918 w 3079941"/>
                <a:gd name="connsiteY395" fmla="*/ 724196 h 1160647"/>
                <a:gd name="connsiteX396" fmla="*/ 2965425 w 3079941"/>
                <a:gd name="connsiteY396" fmla="*/ 724196 h 1160647"/>
                <a:gd name="connsiteX397" fmla="*/ 2965425 w 3079941"/>
                <a:gd name="connsiteY397" fmla="*/ 693931 h 1160647"/>
                <a:gd name="connsiteX398" fmla="*/ 3014066 w 3079941"/>
                <a:gd name="connsiteY398" fmla="*/ 693931 h 1160647"/>
                <a:gd name="connsiteX399" fmla="*/ 3014066 w 3079941"/>
                <a:gd name="connsiteY399" fmla="*/ 805087 h 1160647"/>
                <a:gd name="connsiteX400" fmla="*/ 3014066 w 3079941"/>
                <a:gd name="connsiteY400" fmla="*/ 818866 h 1160647"/>
                <a:gd name="connsiteX401" fmla="*/ 3079941 w 3079941"/>
                <a:gd name="connsiteY401" fmla="*/ 818866 h 1160647"/>
                <a:gd name="connsiteX402" fmla="*/ 3079941 w 3079941"/>
                <a:gd name="connsiteY402" fmla="*/ 1160647 h 1160647"/>
                <a:gd name="connsiteX403" fmla="*/ 200958 w 3079941"/>
                <a:gd name="connsiteY403" fmla="*/ 1160647 h 1160647"/>
                <a:gd name="connsiteX404" fmla="*/ 0 w 3079941"/>
                <a:gd name="connsiteY404" fmla="*/ 1126882 h 1160647"/>
                <a:gd name="connsiteX405" fmla="*/ 55096 w 3079941"/>
                <a:gd name="connsiteY405" fmla="*/ 724196 h 1160647"/>
                <a:gd name="connsiteX406" fmla="*/ 75363 w 3079941"/>
                <a:gd name="connsiteY406" fmla="*/ 724196 h 1160647"/>
                <a:gd name="connsiteX407" fmla="*/ 75870 w 3079941"/>
                <a:gd name="connsiteY407" fmla="*/ 723115 h 1160647"/>
                <a:gd name="connsiteX408" fmla="*/ 79416 w 3079941"/>
                <a:gd name="connsiteY408" fmla="*/ 715549 h 1160647"/>
                <a:gd name="connsiteX409" fmla="*/ 81190 w 3079941"/>
                <a:gd name="connsiteY409" fmla="*/ 715819 h 1160647"/>
                <a:gd name="connsiteX410" fmla="*/ 93603 w 3079941"/>
                <a:gd name="connsiteY410" fmla="*/ 717710 h 1160647"/>
                <a:gd name="connsiteX411" fmla="*/ 94110 w 3079941"/>
                <a:gd name="connsiteY411" fmla="*/ 719062 h 1160647"/>
                <a:gd name="connsiteX412" fmla="*/ 97656 w 3079941"/>
                <a:gd name="connsiteY412" fmla="*/ 728519 h 1160647"/>
                <a:gd name="connsiteX413" fmla="*/ 124003 w 3079941"/>
                <a:gd name="connsiteY413" fmla="*/ 730681 h 1160647"/>
                <a:gd name="connsiteX414" fmla="*/ 124003 w 3079941"/>
                <a:gd name="connsiteY414" fmla="*/ 607460 h 1160647"/>
                <a:gd name="connsiteX415" fmla="*/ 126030 w 3079941"/>
                <a:gd name="connsiteY415" fmla="*/ 607460 h 1160647"/>
                <a:gd name="connsiteX416" fmla="*/ 140217 w 3079941"/>
                <a:gd name="connsiteY416" fmla="*/ 607460 h 1160647"/>
                <a:gd name="connsiteX417" fmla="*/ 140217 w 3079941"/>
                <a:gd name="connsiteY417" fmla="*/ 471268 h 1160647"/>
                <a:gd name="connsiteX418" fmla="*/ 141990 w 3079941"/>
                <a:gd name="connsiteY418" fmla="*/ 471268 h 1160647"/>
                <a:gd name="connsiteX419" fmla="*/ 154404 w 3079941"/>
                <a:gd name="connsiteY419" fmla="*/ 471268 h 1160647"/>
                <a:gd name="connsiteX420" fmla="*/ 154404 w 3079941"/>
                <a:gd name="connsiteY420" fmla="*/ 356694 h 1160647"/>
                <a:gd name="connsiteX421" fmla="*/ 158457 w 3079941"/>
                <a:gd name="connsiteY421" fmla="*/ 328590 h 1160647"/>
                <a:gd name="connsiteX422" fmla="*/ 160484 w 3079941"/>
                <a:gd name="connsiteY422" fmla="*/ 328590 h 1160647"/>
                <a:gd name="connsiteX423" fmla="*/ 174671 w 3079941"/>
                <a:gd name="connsiteY423" fmla="*/ 328590 h 1160647"/>
                <a:gd name="connsiteX424" fmla="*/ 211151 w 3079941"/>
                <a:gd name="connsiteY424" fmla="*/ 246443 h 1160647"/>
                <a:gd name="connsiteX425" fmla="*/ 215205 w 3079941"/>
                <a:gd name="connsiteY425" fmla="*/ 0 h 1160647"/>
                <a:gd name="connsiteX0" fmla="*/ 160109 w 3024845"/>
                <a:gd name="connsiteY0" fmla="*/ 0 h 1166887"/>
                <a:gd name="connsiteX1" fmla="*/ 162135 w 3024845"/>
                <a:gd name="connsiteY1" fmla="*/ 246443 h 1166887"/>
                <a:gd name="connsiteX2" fmla="*/ 200642 w 3024845"/>
                <a:gd name="connsiteY2" fmla="*/ 326429 h 1166887"/>
                <a:gd name="connsiteX3" fmla="*/ 202669 w 3024845"/>
                <a:gd name="connsiteY3" fmla="*/ 326429 h 1166887"/>
                <a:gd name="connsiteX4" fmla="*/ 216856 w 3024845"/>
                <a:gd name="connsiteY4" fmla="*/ 326429 h 1166887"/>
                <a:gd name="connsiteX5" fmla="*/ 216856 w 3024845"/>
                <a:gd name="connsiteY5" fmla="*/ 350208 h 1166887"/>
                <a:gd name="connsiteX6" fmla="*/ 217363 w 3024845"/>
                <a:gd name="connsiteY6" fmla="*/ 351019 h 1166887"/>
                <a:gd name="connsiteX7" fmla="*/ 220909 w 3024845"/>
                <a:gd name="connsiteY7" fmla="*/ 356694 h 1166887"/>
                <a:gd name="connsiteX8" fmla="*/ 220909 w 3024845"/>
                <a:gd name="connsiteY8" fmla="*/ 471268 h 1166887"/>
                <a:gd name="connsiteX9" fmla="*/ 223189 w 3024845"/>
                <a:gd name="connsiteY9" fmla="*/ 471268 h 1166887"/>
                <a:gd name="connsiteX10" fmla="*/ 239150 w 3024845"/>
                <a:gd name="connsiteY10" fmla="*/ 471268 h 1166887"/>
                <a:gd name="connsiteX11" fmla="*/ 239150 w 3024845"/>
                <a:gd name="connsiteY11" fmla="*/ 611783 h 1166887"/>
                <a:gd name="connsiteX12" fmla="*/ 240670 w 3024845"/>
                <a:gd name="connsiteY12" fmla="*/ 611513 h 1166887"/>
                <a:gd name="connsiteX13" fmla="*/ 251310 w 3024845"/>
                <a:gd name="connsiteY13" fmla="*/ 609622 h 1166887"/>
                <a:gd name="connsiteX14" fmla="*/ 249283 w 3024845"/>
                <a:gd name="connsiteY14" fmla="*/ 698254 h 1166887"/>
                <a:gd name="connsiteX15" fmla="*/ 250803 w 3024845"/>
                <a:gd name="connsiteY15" fmla="*/ 698525 h 1166887"/>
                <a:gd name="connsiteX16" fmla="*/ 261443 w 3024845"/>
                <a:gd name="connsiteY16" fmla="*/ 700416 h 1166887"/>
                <a:gd name="connsiteX17" fmla="*/ 261696 w 3024845"/>
                <a:gd name="connsiteY17" fmla="*/ 701227 h 1166887"/>
                <a:gd name="connsiteX18" fmla="*/ 263470 w 3024845"/>
                <a:gd name="connsiteY18" fmla="*/ 706902 h 1166887"/>
                <a:gd name="connsiteX19" fmla="*/ 264230 w 3024845"/>
                <a:gd name="connsiteY19" fmla="*/ 704470 h 1166887"/>
                <a:gd name="connsiteX20" fmla="*/ 269550 w 3024845"/>
                <a:gd name="connsiteY20" fmla="*/ 687446 h 1166887"/>
                <a:gd name="connsiteX21" fmla="*/ 271323 w 3024845"/>
                <a:gd name="connsiteY21" fmla="*/ 687446 h 1166887"/>
                <a:gd name="connsiteX22" fmla="*/ 283737 w 3024845"/>
                <a:gd name="connsiteY22" fmla="*/ 687446 h 1166887"/>
                <a:gd name="connsiteX23" fmla="*/ 283737 w 3024845"/>
                <a:gd name="connsiteY23" fmla="*/ 719872 h 1166887"/>
                <a:gd name="connsiteX24" fmla="*/ 284750 w 3024845"/>
                <a:gd name="connsiteY24" fmla="*/ 720413 h 1166887"/>
                <a:gd name="connsiteX25" fmla="*/ 291844 w 3024845"/>
                <a:gd name="connsiteY25" fmla="*/ 724196 h 1166887"/>
                <a:gd name="connsiteX26" fmla="*/ 291844 w 3024845"/>
                <a:gd name="connsiteY26" fmla="*/ 725547 h 1166887"/>
                <a:gd name="connsiteX27" fmla="*/ 291844 w 3024845"/>
                <a:gd name="connsiteY27" fmla="*/ 735005 h 1166887"/>
                <a:gd name="connsiteX28" fmla="*/ 336431 w 3024845"/>
                <a:gd name="connsiteY28" fmla="*/ 735005 h 1166887"/>
                <a:gd name="connsiteX29" fmla="*/ 336431 w 3024845"/>
                <a:gd name="connsiteY29" fmla="*/ 736086 h 1166887"/>
                <a:gd name="connsiteX30" fmla="*/ 336431 w 3024845"/>
                <a:gd name="connsiteY30" fmla="*/ 743652 h 1166887"/>
                <a:gd name="connsiteX31" fmla="*/ 338457 w 3024845"/>
                <a:gd name="connsiteY31" fmla="*/ 743652 h 1166887"/>
                <a:gd name="connsiteX32" fmla="*/ 352644 w 3024845"/>
                <a:gd name="connsiteY32" fmla="*/ 743652 h 1166887"/>
                <a:gd name="connsiteX33" fmla="*/ 352644 w 3024845"/>
                <a:gd name="connsiteY33" fmla="*/ 713387 h 1166887"/>
                <a:gd name="connsiteX34" fmla="*/ 397231 w 3024845"/>
                <a:gd name="connsiteY34" fmla="*/ 713387 h 1166887"/>
                <a:gd name="connsiteX35" fmla="*/ 397231 w 3024845"/>
                <a:gd name="connsiteY35" fmla="*/ 712036 h 1166887"/>
                <a:gd name="connsiteX36" fmla="*/ 397231 w 3024845"/>
                <a:gd name="connsiteY36" fmla="*/ 702578 h 1166887"/>
                <a:gd name="connsiteX37" fmla="*/ 398245 w 3024845"/>
                <a:gd name="connsiteY37" fmla="*/ 702578 h 1166887"/>
                <a:gd name="connsiteX38" fmla="*/ 405338 w 3024845"/>
                <a:gd name="connsiteY38" fmla="*/ 702578 h 1166887"/>
                <a:gd name="connsiteX39" fmla="*/ 405338 w 3024845"/>
                <a:gd name="connsiteY39" fmla="*/ 700687 h 1166887"/>
                <a:gd name="connsiteX40" fmla="*/ 405338 w 3024845"/>
                <a:gd name="connsiteY40" fmla="*/ 687446 h 1166887"/>
                <a:gd name="connsiteX41" fmla="*/ 406098 w 3024845"/>
                <a:gd name="connsiteY41" fmla="*/ 687446 h 1166887"/>
                <a:gd name="connsiteX42" fmla="*/ 411418 w 3024845"/>
                <a:gd name="connsiteY42" fmla="*/ 687446 h 1166887"/>
                <a:gd name="connsiteX43" fmla="*/ 411418 w 3024845"/>
                <a:gd name="connsiteY43" fmla="*/ 686365 h 1166887"/>
                <a:gd name="connsiteX44" fmla="*/ 411418 w 3024845"/>
                <a:gd name="connsiteY44" fmla="*/ 678798 h 1166887"/>
                <a:gd name="connsiteX45" fmla="*/ 413445 w 3024845"/>
                <a:gd name="connsiteY45" fmla="*/ 678798 h 1166887"/>
                <a:gd name="connsiteX46" fmla="*/ 427632 w 3024845"/>
                <a:gd name="connsiteY46" fmla="*/ 678798 h 1166887"/>
                <a:gd name="connsiteX47" fmla="*/ 427632 w 3024845"/>
                <a:gd name="connsiteY47" fmla="*/ 679879 h 1166887"/>
                <a:gd name="connsiteX48" fmla="*/ 427632 w 3024845"/>
                <a:gd name="connsiteY48" fmla="*/ 687446 h 1166887"/>
                <a:gd name="connsiteX49" fmla="*/ 449925 w 3024845"/>
                <a:gd name="connsiteY49" fmla="*/ 687446 h 1166887"/>
                <a:gd name="connsiteX50" fmla="*/ 449925 w 3024845"/>
                <a:gd name="connsiteY50" fmla="*/ 685554 h 1166887"/>
                <a:gd name="connsiteX51" fmla="*/ 449925 w 3024845"/>
                <a:gd name="connsiteY51" fmla="*/ 672313 h 1166887"/>
                <a:gd name="connsiteX52" fmla="*/ 451699 w 3024845"/>
                <a:gd name="connsiteY52" fmla="*/ 672313 h 1166887"/>
                <a:gd name="connsiteX53" fmla="*/ 464112 w 3024845"/>
                <a:gd name="connsiteY53" fmla="*/ 672313 h 1166887"/>
                <a:gd name="connsiteX54" fmla="*/ 464112 w 3024845"/>
                <a:gd name="connsiteY54" fmla="*/ 696093 h 1166887"/>
                <a:gd name="connsiteX55" fmla="*/ 465126 w 3024845"/>
                <a:gd name="connsiteY55" fmla="*/ 696093 h 1166887"/>
                <a:gd name="connsiteX56" fmla="*/ 472219 w 3024845"/>
                <a:gd name="connsiteY56" fmla="*/ 696093 h 1166887"/>
                <a:gd name="connsiteX57" fmla="*/ 472219 w 3024845"/>
                <a:gd name="connsiteY57" fmla="*/ 695012 h 1166887"/>
                <a:gd name="connsiteX58" fmla="*/ 472219 w 3024845"/>
                <a:gd name="connsiteY58" fmla="*/ 687446 h 1166887"/>
                <a:gd name="connsiteX59" fmla="*/ 473992 w 3024845"/>
                <a:gd name="connsiteY59" fmla="*/ 687446 h 1166887"/>
                <a:gd name="connsiteX60" fmla="*/ 486406 w 3024845"/>
                <a:gd name="connsiteY60" fmla="*/ 687446 h 1166887"/>
                <a:gd name="connsiteX61" fmla="*/ 486406 w 3024845"/>
                <a:gd name="connsiteY61" fmla="*/ 713387 h 1166887"/>
                <a:gd name="connsiteX62" fmla="*/ 488433 w 3024845"/>
                <a:gd name="connsiteY62" fmla="*/ 713387 h 1166887"/>
                <a:gd name="connsiteX63" fmla="*/ 502619 w 3024845"/>
                <a:gd name="connsiteY63" fmla="*/ 713387 h 1166887"/>
                <a:gd name="connsiteX64" fmla="*/ 502619 w 3024845"/>
                <a:gd name="connsiteY64" fmla="*/ 715008 h 1166887"/>
                <a:gd name="connsiteX65" fmla="*/ 502619 w 3024845"/>
                <a:gd name="connsiteY65" fmla="*/ 726358 h 1166887"/>
                <a:gd name="connsiteX66" fmla="*/ 503379 w 3024845"/>
                <a:gd name="connsiteY66" fmla="*/ 726358 h 1166887"/>
                <a:gd name="connsiteX67" fmla="*/ 508700 w 3024845"/>
                <a:gd name="connsiteY67" fmla="*/ 726358 h 1166887"/>
                <a:gd name="connsiteX68" fmla="*/ 508700 w 3024845"/>
                <a:gd name="connsiteY68" fmla="*/ 725547 h 1166887"/>
                <a:gd name="connsiteX69" fmla="*/ 508700 w 3024845"/>
                <a:gd name="connsiteY69" fmla="*/ 719872 h 1166887"/>
                <a:gd name="connsiteX70" fmla="*/ 539100 w 3024845"/>
                <a:gd name="connsiteY70" fmla="*/ 719872 h 1166887"/>
                <a:gd name="connsiteX71" fmla="*/ 539100 w 3024845"/>
                <a:gd name="connsiteY71" fmla="*/ 743652 h 1166887"/>
                <a:gd name="connsiteX72" fmla="*/ 540113 w 3024845"/>
                <a:gd name="connsiteY72" fmla="*/ 743652 h 1166887"/>
                <a:gd name="connsiteX73" fmla="*/ 547207 w 3024845"/>
                <a:gd name="connsiteY73" fmla="*/ 743652 h 1166887"/>
                <a:gd name="connsiteX74" fmla="*/ 547207 w 3024845"/>
                <a:gd name="connsiteY74" fmla="*/ 744733 h 1166887"/>
                <a:gd name="connsiteX75" fmla="*/ 547207 w 3024845"/>
                <a:gd name="connsiteY75" fmla="*/ 752299 h 1166887"/>
                <a:gd name="connsiteX76" fmla="*/ 547967 w 3024845"/>
                <a:gd name="connsiteY76" fmla="*/ 752299 h 1166887"/>
                <a:gd name="connsiteX77" fmla="*/ 553287 w 3024845"/>
                <a:gd name="connsiteY77" fmla="*/ 752299 h 1166887"/>
                <a:gd name="connsiteX78" fmla="*/ 553287 w 3024845"/>
                <a:gd name="connsiteY78" fmla="*/ 750137 h 1166887"/>
                <a:gd name="connsiteX79" fmla="*/ 553287 w 3024845"/>
                <a:gd name="connsiteY79" fmla="*/ 735005 h 1166887"/>
                <a:gd name="connsiteX80" fmla="*/ 554300 w 3024845"/>
                <a:gd name="connsiteY80" fmla="*/ 735005 h 1166887"/>
                <a:gd name="connsiteX81" fmla="*/ 561394 w 3024845"/>
                <a:gd name="connsiteY81" fmla="*/ 735005 h 1166887"/>
                <a:gd name="connsiteX82" fmla="*/ 561394 w 3024845"/>
                <a:gd name="connsiteY82" fmla="*/ 736086 h 1166887"/>
                <a:gd name="connsiteX83" fmla="*/ 561394 w 3024845"/>
                <a:gd name="connsiteY83" fmla="*/ 743652 h 1166887"/>
                <a:gd name="connsiteX84" fmla="*/ 566714 w 3024845"/>
                <a:gd name="connsiteY84" fmla="*/ 741659 h 1166887"/>
                <a:gd name="connsiteX85" fmla="*/ 567474 w 3024845"/>
                <a:gd name="connsiteY85" fmla="*/ 740679 h 1166887"/>
                <a:gd name="connsiteX86" fmla="*/ 567474 w 3024845"/>
                <a:gd name="connsiteY86" fmla="*/ 735005 h 1166887"/>
                <a:gd name="connsiteX87" fmla="*/ 605981 w 3024845"/>
                <a:gd name="connsiteY87" fmla="*/ 735005 h 1166887"/>
                <a:gd name="connsiteX88" fmla="*/ 605981 w 3024845"/>
                <a:gd name="connsiteY88" fmla="*/ 758784 h 1166887"/>
                <a:gd name="connsiteX89" fmla="*/ 608007 w 3024845"/>
                <a:gd name="connsiteY89" fmla="*/ 758784 h 1166887"/>
                <a:gd name="connsiteX90" fmla="*/ 622194 w 3024845"/>
                <a:gd name="connsiteY90" fmla="*/ 758784 h 1166887"/>
                <a:gd name="connsiteX91" fmla="*/ 622194 w 3024845"/>
                <a:gd name="connsiteY91" fmla="*/ 759865 h 1166887"/>
                <a:gd name="connsiteX92" fmla="*/ 622194 w 3024845"/>
                <a:gd name="connsiteY92" fmla="*/ 767431 h 1166887"/>
                <a:gd name="connsiteX93" fmla="*/ 623968 w 3024845"/>
                <a:gd name="connsiteY93" fmla="*/ 767431 h 1166887"/>
                <a:gd name="connsiteX94" fmla="*/ 636381 w 3024845"/>
                <a:gd name="connsiteY94" fmla="*/ 767431 h 1166887"/>
                <a:gd name="connsiteX95" fmla="*/ 636381 w 3024845"/>
                <a:gd name="connsiteY95" fmla="*/ 743652 h 1166887"/>
                <a:gd name="connsiteX96" fmla="*/ 637394 w 3024845"/>
                <a:gd name="connsiteY96" fmla="*/ 743652 h 1166887"/>
                <a:gd name="connsiteX97" fmla="*/ 644488 w 3024845"/>
                <a:gd name="connsiteY97" fmla="*/ 743652 h 1166887"/>
                <a:gd name="connsiteX98" fmla="*/ 644488 w 3024845"/>
                <a:gd name="connsiteY98" fmla="*/ 711225 h 1166887"/>
                <a:gd name="connsiteX99" fmla="*/ 645501 w 3024845"/>
                <a:gd name="connsiteY99" fmla="*/ 711225 h 1166887"/>
                <a:gd name="connsiteX100" fmla="*/ 652595 w 3024845"/>
                <a:gd name="connsiteY100" fmla="*/ 711225 h 1166887"/>
                <a:gd name="connsiteX101" fmla="*/ 652595 w 3024845"/>
                <a:gd name="connsiteY101" fmla="*/ 709334 h 1166887"/>
                <a:gd name="connsiteX102" fmla="*/ 652595 w 3024845"/>
                <a:gd name="connsiteY102" fmla="*/ 696093 h 1166887"/>
                <a:gd name="connsiteX103" fmla="*/ 651328 w 3024845"/>
                <a:gd name="connsiteY103" fmla="*/ 694471 h 1166887"/>
                <a:gd name="connsiteX104" fmla="*/ 656648 w 3024845"/>
                <a:gd name="connsiteY104" fmla="*/ 683122 h 1166887"/>
                <a:gd name="connsiteX105" fmla="*/ 664755 w 3024845"/>
                <a:gd name="connsiteY105" fmla="*/ 711225 h 1166887"/>
                <a:gd name="connsiteX106" fmla="*/ 665515 w 3024845"/>
                <a:gd name="connsiteY106" fmla="*/ 711225 h 1166887"/>
                <a:gd name="connsiteX107" fmla="*/ 670835 w 3024845"/>
                <a:gd name="connsiteY107" fmla="*/ 711225 h 1166887"/>
                <a:gd name="connsiteX108" fmla="*/ 670835 w 3024845"/>
                <a:gd name="connsiteY108" fmla="*/ 605298 h 1166887"/>
                <a:gd name="connsiteX109" fmla="*/ 672355 w 3024845"/>
                <a:gd name="connsiteY109" fmla="*/ 605298 h 1166887"/>
                <a:gd name="connsiteX110" fmla="*/ 682995 w 3024845"/>
                <a:gd name="connsiteY110" fmla="*/ 605298 h 1166887"/>
                <a:gd name="connsiteX111" fmla="*/ 682995 w 3024845"/>
                <a:gd name="connsiteY111" fmla="*/ 557739 h 1166887"/>
                <a:gd name="connsiteX112" fmla="*/ 709342 w 3024845"/>
                <a:gd name="connsiteY112" fmla="*/ 557739 h 1166887"/>
                <a:gd name="connsiteX113" fmla="*/ 709342 w 3024845"/>
                <a:gd name="connsiteY113" fmla="*/ 536121 h 1166887"/>
                <a:gd name="connsiteX114" fmla="*/ 743796 w 3024845"/>
                <a:gd name="connsiteY114" fmla="*/ 536121 h 1166887"/>
                <a:gd name="connsiteX115" fmla="*/ 743796 w 3024845"/>
                <a:gd name="connsiteY115" fmla="*/ 538553 h 1166887"/>
                <a:gd name="connsiteX116" fmla="*/ 743796 w 3024845"/>
                <a:gd name="connsiteY116" fmla="*/ 555577 h 1166887"/>
                <a:gd name="connsiteX117" fmla="*/ 746076 w 3024845"/>
                <a:gd name="connsiteY117" fmla="*/ 555577 h 1166887"/>
                <a:gd name="connsiteX118" fmla="*/ 762036 w 3024845"/>
                <a:gd name="connsiteY118" fmla="*/ 555577 h 1166887"/>
                <a:gd name="connsiteX119" fmla="*/ 762036 w 3024845"/>
                <a:gd name="connsiteY119" fmla="*/ 603136 h 1166887"/>
                <a:gd name="connsiteX120" fmla="*/ 763049 w 3024845"/>
                <a:gd name="connsiteY120" fmla="*/ 603136 h 1166887"/>
                <a:gd name="connsiteX121" fmla="*/ 770143 w 3024845"/>
                <a:gd name="connsiteY121" fmla="*/ 603136 h 1166887"/>
                <a:gd name="connsiteX122" fmla="*/ 784330 w 3024845"/>
                <a:gd name="connsiteY122" fmla="*/ 607460 h 1166887"/>
                <a:gd name="connsiteX123" fmla="*/ 784330 w 3024845"/>
                <a:gd name="connsiteY123" fmla="*/ 646372 h 1166887"/>
                <a:gd name="connsiteX124" fmla="*/ 785343 w 3024845"/>
                <a:gd name="connsiteY124" fmla="*/ 646372 h 1166887"/>
                <a:gd name="connsiteX125" fmla="*/ 792436 w 3024845"/>
                <a:gd name="connsiteY125" fmla="*/ 646372 h 1166887"/>
                <a:gd name="connsiteX126" fmla="*/ 792436 w 3024845"/>
                <a:gd name="connsiteY126" fmla="*/ 647993 h 1166887"/>
                <a:gd name="connsiteX127" fmla="*/ 792436 w 3024845"/>
                <a:gd name="connsiteY127" fmla="*/ 659342 h 1166887"/>
                <a:gd name="connsiteX128" fmla="*/ 794463 w 3024845"/>
                <a:gd name="connsiteY128" fmla="*/ 659342 h 1166887"/>
                <a:gd name="connsiteX129" fmla="*/ 808650 w 3024845"/>
                <a:gd name="connsiteY129" fmla="*/ 659342 h 1166887"/>
                <a:gd name="connsiteX130" fmla="*/ 814730 w 3024845"/>
                <a:gd name="connsiteY130" fmla="*/ 665828 h 1166887"/>
                <a:gd name="connsiteX131" fmla="*/ 814730 w 3024845"/>
                <a:gd name="connsiteY131" fmla="*/ 687446 h 1166887"/>
                <a:gd name="connsiteX132" fmla="*/ 817010 w 3024845"/>
                <a:gd name="connsiteY132" fmla="*/ 687446 h 1166887"/>
                <a:gd name="connsiteX133" fmla="*/ 832970 w 3024845"/>
                <a:gd name="connsiteY133" fmla="*/ 687446 h 1166887"/>
                <a:gd name="connsiteX134" fmla="*/ 832970 w 3024845"/>
                <a:gd name="connsiteY134" fmla="*/ 688526 h 1166887"/>
                <a:gd name="connsiteX135" fmla="*/ 832970 w 3024845"/>
                <a:gd name="connsiteY135" fmla="*/ 696093 h 1166887"/>
                <a:gd name="connsiteX136" fmla="*/ 834237 w 3024845"/>
                <a:gd name="connsiteY136" fmla="*/ 696093 h 1166887"/>
                <a:gd name="connsiteX137" fmla="*/ 843104 w 3024845"/>
                <a:gd name="connsiteY137" fmla="*/ 696093 h 1166887"/>
                <a:gd name="connsiteX138" fmla="*/ 843104 w 3024845"/>
                <a:gd name="connsiteY138" fmla="*/ 698254 h 1166887"/>
                <a:gd name="connsiteX139" fmla="*/ 843104 w 3024845"/>
                <a:gd name="connsiteY139" fmla="*/ 713387 h 1166887"/>
                <a:gd name="connsiteX140" fmla="*/ 847157 w 3024845"/>
                <a:gd name="connsiteY140" fmla="*/ 711495 h 1166887"/>
                <a:gd name="connsiteX141" fmla="*/ 847157 w 3024845"/>
                <a:gd name="connsiteY141" fmla="*/ 698254 h 1166887"/>
                <a:gd name="connsiteX142" fmla="*/ 848170 w 3024845"/>
                <a:gd name="connsiteY142" fmla="*/ 698254 h 1166887"/>
                <a:gd name="connsiteX143" fmla="*/ 855264 w 3024845"/>
                <a:gd name="connsiteY143" fmla="*/ 698254 h 1166887"/>
                <a:gd name="connsiteX144" fmla="*/ 855264 w 3024845"/>
                <a:gd name="connsiteY144" fmla="*/ 699876 h 1166887"/>
                <a:gd name="connsiteX145" fmla="*/ 855264 w 3024845"/>
                <a:gd name="connsiteY145" fmla="*/ 711225 h 1166887"/>
                <a:gd name="connsiteX146" fmla="*/ 856024 w 3024845"/>
                <a:gd name="connsiteY146" fmla="*/ 711225 h 1166887"/>
                <a:gd name="connsiteX147" fmla="*/ 861344 w 3024845"/>
                <a:gd name="connsiteY147" fmla="*/ 711225 h 1166887"/>
                <a:gd name="connsiteX148" fmla="*/ 909984 w 3024845"/>
                <a:gd name="connsiteY148" fmla="*/ 706902 h 1166887"/>
                <a:gd name="connsiteX149" fmla="*/ 909984 w 3024845"/>
                <a:gd name="connsiteY149" fmla="*/ 708253 h 1166887"/>
                <a:gd name="connsiteX150" fmla="*/ 909984 w 3024845"/>
                <a:gd name="connsiteY150" fmla="*/ 717710 h 1166887"/>
                <a:gd name="connsiteX151" fmla="*/ 910744 w 3024845"/>
                <a:gd name="connsiteY151" fmla="*/ 717710 h 1166887"/>
                <a:gd name="connsiteX152" fmla="*/ 916065 w 3024845"/>
                <a:gd name="connsiteY152" fmla="*/ 717710 h 1166887"/>
                <a:gd name="connsiteX153" fmla="*/ 916065 w 3024845"/>
                <a:gd name="connsiteY153" fmla="*/ 719872 h 1166887"/>
                <a:gd name="connsiteX154" fmla="*/ 916065 w 3024845"/>
                <a:gd name="connsiteY154" fmla="*/ 735005 h 1166887"/>
                <a:gd name="connsiteX155" fmla="*/ 918091 w 3024845"/>
                <a:gd name="connsiteY155" fmla="*/ 733654 h 1166887"/>
                <a:gd name="connsiteX156" fmla="*/ 932278 w 3024845"/>
                <a:gd name="connsiteY156" fmla="*/ 724196 h 1166887"/>
                <a:gd name="connsiteX157" fmla="*/ 938358 w 3024845"/>
                <a:gd name="connsiteY157" fmla="*/ 683122 h 1166887"/>
                <a:gd name="connsiteX158" fmla="*/ 939118 w 3024845"/>
                <a:gd name="connsiteY158" fmla="*/ 682852 h 1166887"/>
                <a:gd name="connsiteX159" fmla="*/ 944438 w 3024845"/>
                <a:gd name="connsiteY159" fmla="*/ 680960 h 1166887"/>
                <a:gd name="connsiteX160" fmla="*/ 946465 w 3024845"/>
                <a:gd name="connsiteY160" fmla="*/ 611783 h 1166887"/>
                <a:gd name="connsiteX161" fmla="*/ 948492 w 3024845"/>
                <a:gd name="connsiteY161" fmla="*/ 680960 h 1166887"/>
                <a:gd name="connsiteX162" fmla="*/ 949252 w 3024845"/>
                <a:gd name="connsiteY162" fmla="*/ 681230 h 1166887"/>
                <a:gd name="connsiteX163" fmla="*/ 954572 w 3024845"/>
                <a:gd name="connsiteY163" fmla="*/ 683122 h 1166887"/>
                <a:gd name="connsiteX164" fmla="*/ 954572 w 3024845"/>
                <a:gd name="connsiteY164" fmla="*/ 596651 h 1166887"/>
                <a:gd name="connsiteX165" fmla="*/ 958625 w 3024845"/>
                <a:gd name="connsiteY165" fmla="*/ 564224 h 1166887"/>
                <a:gd name="connsiteX166" fmla="*/ 997132 w 3024845"/>
                <a:gd name="connsiteY166" fmla="*/ 564224 h 1166887"/>
                <a:gd name="connsiteX167" fmla="*/ 997132 w 3024845"/>
                <a:gd name="connsiteY167" fmla="*/ 596651 h 1166887"/>
                <a:gd name="connsiteX168" fmla="*/ 997892 w 3024845"/>
                <a:gd name="connsiteY168" fmla="*/ 596651 h 1166887"/>
                <a:gd name="connsiteX169" fmla="*/ 1003212 w 3024845"/>
                <a:gd name="connsiteY169" fmla="*/ 596651 h 1166887"/>
                <a:gd name="connsiteX170" fmla="*/ 1003212 w 3024845"/>
                <a:gd name="connsiteY170" fmla="*/ 514503 h 1166887"/>
                <a:gd name="connsiteX171" fmla="*/ 1004986 w 3024845"/>
                <a:gd name="connsiteY171" fmla="*/ 514503 h 1166887"/>
                <a:gd name="connsiteX172" fmla="*/ 1017399 w 3024845"/>
                <a:gd name="connsiteY172" fmla="*/ 514503 h 1166887"/>
                <a:gd name="connsiteX173" fmla="*/ 1017399 w 3024845"/>
                <a:gd name="connsiteY173" fmla="*/ 512612 h 1166887"/>
                <a:gd name="connsiteX174" fmla="*/ 1017399 w 3024845"/>
                <a:gd name="connsiteY174" fmla="*/ 499371 h 1166887"/>
                <a:gd name="connsiteX175" fmla="*/ 1039693 w 3024845"/>
                <a:gd name="connsiteY175" fmla="*/ 499371 h 1166887"/>
                <a:gd name="connsiteX176" fmla="*/ 1039693 w 3024845"/>
                <a:gd name="connsiteY176" fmla="*/ 498290 h 1166887"/>
                <a:gd name="connsiteX177" fmla="*/ 1039693 w 3024845"/>
                <a:gd name="connsiteY177" fmla="*/ 490724 h 1166887"/>
                <a:gd name="connsiteX178" fmla="*/ 1041466 w 3024845"/>
                <a:gd name="connsiteY178" fmla="*/ 490724 h 1166887"/>
                <a:gd name="connsiteX179" fmla="*/ 1053880 w 3024845"/>
                <a:gd name="connsiteY179" fmla="*/ 490724 h 1166887"/>
                <a:gd name="connsiteX180" fmla="*/ 1053880 w 3024845"/>
                <a:gd name="connsiteY180" fmla="*/ 491805 h 1166887"/>
                <a:gd name="connsiteX181" fmla="*/ 1053880 w 3024845"/>
                <a:gd name="connsiteY181" fmla="*/ 499371 h 1166887"/>
                <a:gd name="connsiteX182" fmla="*/ 1054640 w 3024845"/>
                <a:gd name="connsiteY182" fmla="*/ 499371 h 1166887"/>
                <a:gd name="connsiteX183" fmla="*/ 1059960 w 3024845"/>
                <a:gd name="connsiteY183" fmla="*/ 499371 h 1166887"/>
                <a:gd name="connsiteX184" fmla="*/ 1070093 w 3024845"/>
                <a:gd name="connsiteY184" fmla="*/ 495047 h 1166887"/>
                <a:gd name="connsiteX185" fmla="*/ 1074146 w 3024845"/>
                <a:gd name="connsiteY185" fmla="*/ 498290 h 1166887"/>
                <a:gd name="connsiteX186" fmla="*/ 1074146 w 3024845"/>
                <a:gd name="connsiteY186" fmla="*/ 490724 h 1166887"/>
                <a:gd name="connsiteX187" fmla="*/ 1076426 w 3024845"/>
                <a:gd name="connsiteY187" fmla="*/ 490724 h 1166887"/>
                <a:gd name="connsiteX188" fmla="*/ 1092387 w 3024845"/>
                <a:gd name="connsiteY188" fmla="*/ 490724 h 1166887"/>
                <a:gd name="connsiteX189" fmla="*/ 1092387 w 3024845"/>
                <a:gd name="connsiteY189" fmla="*/ 491805 h 1166887"/>
                <a:gd name="connsiteX190" fmla="*/ 1092387 w 3024845"/>
                <a:gd name="connsiteY190" fmla="*/ 499371 h 1166887"/>
                <a:gd name="connsiteX191" fmla="*/ 1122787 w 3024845"/>
                <a:gd name="connsiteY191" fmla="*/ 499371 h 1166887"/>
                <a:gd name="connsiteX192" fmla="*/ 1122787 w 3024845"/>
                <a:gd name="connsiteY192" fmla="*/ 500992 h 1166887"/>
                <a:gd name="connsiteX193" fmla="*/ 1122787 w 3024845"/>
                <a:gd name="connsiteY193" fmla="*/ 512342 h 1166887"/>
                <a:gd name="connsiteX194" fmla="*/ 1149134 w 3024845"/>
                <a:gd name="connsiteY194" fmla="*/ 512342 h 1166887"/>
                <a:gd name="connsiteX195" fmla="*/ 1149134 w 3024845"/>
                <a:gd name="connsiteY195" fmla="*/ 542606 h 1166887"/>
                <a:gd name="connsiteX196" fmla="*/ 1149894 w 3024845"/>
                <a:gd name="connsiteY196" fmla="*/ 542606 h 1166887"/>
                <a:gd name="connsiteX197" fmla="*/ 1155214 w 3024845"/>
                <a:gd name="connsiteY197" fmla="*/ 542606 h 1166887"/>
                <a:gd name="connsiteX198" fmla="*/ 1155214 w 3024845"/>
                <a:gd name="connsiteY198" fmla="*/ 543687 h 1166887"/>
                <a:gd name="connsiteX199" fmla="*/ 1155214 w 3024845"/>
                <a:gd name="connsiteY199" fmla="*/ 551254 h 1166887"/>
                <a:gd name="connsiteX200" fmla="*/ 1159268 w 3024845"/>
                <a:gd name="connsiteY200" fmla="*/ 581518 h 1166887"/>
                <a:gd name="connsiteX201" fmla="*/ 1160028 w 3024845"/>
                <a:gd name="connsiteY201" fmla="*/ 581518 h 1166887"/>
                <a:gd name="connsiteX202" fmla="*/ 1165348 w 3024845"/>
                <a:gd name="connsiteY202" fmla="*/ 581518 h 1166887"/>
                <a:gd name="connsiteX203" fmla="*/ 1165348 w 3024845"/>
                <a:gd name="connsiteY203" fmla="*/ 582329 h 1166887"/>
                <a:gd name="connsiteX204" fmla="*/ 1165348 w 3024845"/>
                <a:gd name="connsiteY204" fmla="*/ 588004 h 1166887"/>
                <a:gd name="connsiteX205" fmla="*/ 1166361 w 3024845"/>
                <a:gd name="connsiteY205" fmla="*/ 588004 h 1166887"/>
                <a:gd name="connsiteX206" fmla="*/ 1173454 w 3024845"/>
                <a:gd name="connsiteY206" fmla="*/ 588004 h 1166887"/>
                <a:gd name="connsiteX207" fmla="*/ 1173454 w 3024845"/>
                <a:gd name="connsiteY207" fmla="*/ 618269 h 1166887"/>
                <a:gd name="connsiteX208" fmla="*/ 1175481 w 3024845"/>
                <a:gd name="connsiteY208" fmla="*/ 618269 h 1166887"/>
                <a:gd name="connsiteX209" fmla="*/ 1189668 w 3024845"/>
                <a:gd name="connsiteY209" fmla="*/ 618269 h 1166887"/>
                <a:gd name="connsiteX210" fmla="*/ 1189668 w 3024845"/>
                <a:gd name="connsiteY210" fmla="*/ 642048 h 1166887"/>
                <a:gd name="connsiteX211" fmla="*/ 1191695 w 3024845"/>
                <a:gd name="connsiteY211" fmla="*/ 643669 h 1166887"/>
                <a:gd name="connsiteX212" fmla="*/ 1191695 w 3024845"/>
                <a:gd name="connsiteY212" fmla="*/ 655019 h 1166887"/>
                <a:gd name="connsiteX213" fmla="*/ 1192455 w 3024845"/>
                <a:gd name="connsiteY213" fmla="*/ 655019 h 1166887"/>
                <a:gd name="connsiteX214" fmla="*/ 1197775 w 3024845"/>
                <a:gd name="connsiteY214" fmla="*/ 655019 h 1166887"/>
                <a:gd name="connsiteX215" fmla="*/ 1197775 w 3024845"/>
                <a:gd name="connsiteY215" fmla="*/ 678798 h 1166887"/>
                <a:gd name="connsiteX216" fmla="*/ 1199041 w 3024845"/>
                <a:gd name="connsiteY216" fmla="*/ 678798 h 1166887"/>
                <a:gd name="connsiteX217" fmla="*/ 1207908 w 3024845"/>
                <a:gd name="connsiteY217" fmla="*/ 678798 h 1166887"/>
                <a:gd name="connsiteX218" fmla="*/ 1209935 w 3024845"/>
                <a:gd name="connsiteY218" fmla="*/ 682852 h 1166887"/>
                <a:gd name="connsiteX219" fmla="*/ 1209935 w 3024845"/>
                <a:gd name="connsiteY219" fmla="*/ 696093 h 1166887"/>
                <a:gd name="connsiteX220" fmla="*/ 1211455 w 3024845"/>
                <a:gd name="connsiteY220" fmla="*/ 694201 h 1166887"/>
                <a:gd name="connsiteX221" fmla="*/ 1222095 w 3024845"/>
                <a:gd name="connsiteY221" fmla="*/ 680960 h 1166887"/>
                <a:gd name="connsiteX222" fmla="*/ 1250469 w 3024845"/>
                <a:gd name="connsiteY222" fmla="*/ 680960 h 1166887"/>
                <a:gd name="connsiteX223" fmla="*/ 1250469 w 3024845"/>
                <a:gd name="connsiteY223" fmla="*/ 767431 h 1166887"/>
                <a:gd name="connsiteX224" fmla="*/ 1251229 w 3024845"/>
                <a:gd name="connsiteY224" fmla="*/ 767431 h 1166887"/>
                <a:gd name="connsiteX225" fmla="*/ 1256549 w 3024845"/>
                <a:gd name="connsiteY225" fmla="*/ 767431 h 1166887"/>
                <a:gd name="connsiteX226" fmla="*/ 1257309 w 3024845"/>
                <a:gd name="connsiteY226" fmla="*/ 766080 h 1166887"/>
                <a:gd name="connsiteX227" fmla="*/ 1262629 w 3024845"/>
                <a:gd name="connsiteY227" fmla="*/ 756622 h 1166887"/>
                <a:gd name="connsiteX228" fmla="*/ 1262629 w 3024845"/>
                <a:gd name="connsiteY228" fmla="*/ 758514 h 1166887"/>
                <a:gd name="connsiteX229" fmla="*/ 1262629 w 3024845"/>
                <a:gd name="connsiteY229" fmla="*/ 771755 h 1166887"/>
                <a:gd name="connsiteX230" fmla="*/ 1266682 w 3024845"/>
                <a:gd name="connsiteY230" fmla="*/ 726358 h 1166887"/>
                <a:gd name="connsiteX231" fmla="*/ 1267442 w 3024845"/>
                <a:gd name="connsiteY231" fmla="*/ 726358 h 1166887"/>
                <a:gd name="connsiteX232" fmla="*/ 1272762 w 3024845"/>
                <a:gd name="connsiteY232" fmla="*/ 726358 h 1166887"/>
                <a:gd name="connsiteX233" fmla="*/ 1272762 w 3024845"/>
                <a:gd name="connsiteY233" fmla="*/ 661504 h 1166887"/>
                <a:gd name="connsiteX234" fmla="*/ 1273776 w 3024845"/>
                <a:gd name="connsiteY234" fmla="*/ 661504 h 1166887"/>
                <a:gd name="connsiteX235" fmla="*/ 1280869 w 3024845"/>
                <a:gd name="connsiteY235" fmla="*/ 661504 h 1166887"/>
                <a:gd name="connsiteX236" fmla="*/ 1293029 w 3024845"/>
                <a:gd name="connsiteY236" fmla="*/ 618269 h 1166887"/>
                <a:gd name="connsiteX237" fmla="*/ 1294296 w 3024845"/>
                <a:gd name="connsiteY237" fmla="*/ 618269 h 1166887"/>
                <a:gd name="connsiteX238" fmla="*/ 1303163 w 3024845"/>
                <a:gd name="connsiteY238" fmla="*/ 618269 h 1166887"/>
                <a:gd name="connsiteX239" fmla="*/ 1313296 w 3024845"/>
                <a:gd name="connsiteY239" fmla="*/ 661504 h 1166887"/>
                <a:gd name="connsiteX240" fmla="*/ 1314309 w 3024845"/>
                <a:gd name="connsiteY240" fmla="*/ 661504 h 1166887"/>
                <a:gd name="connsiteX241" fmla="*/ 1321403 w 3024845"/>
                <a:gd name="connsiteY241" fmla="*/ 661504 h 1166887"/>
                <a:gd name="connsiteX242" fmla="*/ 1321403 w 3024845"/>
                <a:gd name="connsiteY242" fmla="*/ 700416 h 1166887"/>
                <a:gd name="connsiteX243" fmla="*/ 1323176 w 3024845"/>
                <a:gd name="connsiteY243" fmla="*/ 700416 h 1166887"/>
                <a:gd name="connsiteX244" fmla="*/ 1335590 w 3024845"/>
                <a:gd name="connsiteY244" fmla="*/ 700416 h 1166887"/>
                <a:gd name="connsiteX245" fmla="*/ 1335590 w 3024845"/>
                <a:gd name="connsiteY245" fmla="*/ 702578 h 1166887"/>
                <a:gd name="connsiteX246" fmla="*/ 1335590 w 3024845"/>
                <a:gd name="connsiteY246" fmla="*/ 717710 h 1166887"/>
                <a:gd name="connsiteX247" fmla="*/ 1339643 w 3024845"/>
                <a:gd name="connsiteY247" fmla="*/ 715549 h 1166887"/>
                <a:gd name="connsiteX248" fmla="*/ 1339643 w 3024845"/>
                <a:gd name="connsiteY248" fmla="*/ 700416 h 1166887"/>
                <a:gd name="connsiteX249" fmla="*/ 1341163 w 3024845"/>
                <a:gd name="connsiteY249" fmla="*/ 700416 h 1166887"/>
                <a:gd name="connsiteX250" fmla="*/ 1351803 w 3024845"/>
                <a:gd name="connsiteY250" fmla="*/ 700416 h 1166887"/>
                <a:gd name="connsiteX251" fmla="*/ 1351803 w 3024845"/>
                <a:gd name="connsiteY251" fmla="*/ 702037 h 1166887"/>
                <a:gd name="connsiteX252" fmla="*/ 1351803 w 3024845"/>
                <a:gd name="connsiteY252" fmla="*/ 713387 h 1166887"/>
                <a:gd name="connsiteX253" fmla="*/ 1382204 w 3024845"/>
                <a:gd name="connsiteY253" fmla="*/ 713387 h 1166887"/>
                <a:gd name="connsiteX254" fmla="*/ 1382204 w 3024845"/>
                <a:gd name="connsiteY254" fmla="*/ 676637 h 1166887"/>
                <a:gd name="connsiteX255" fmla="*/ 1383470 w 3024845"/>
                <a:gd name="connsiteY255" fmla="*/ 676637 h 1166887"/>
                <a:gd name="connsiteX256" fmla="*/ 1392337 w 3024845"/>
                <a:gd name="connsiteY256" fmla="*/ 676637 h 1166887"/>
                <a:gd name="connsiteX257" fmla="*/ 1392337 w 3024845"/>
                <a:gd name="connsiteY257" fmla="*/ 698254 h 1166887"/>
                <a:gd name="connsiteX258" fmla="*/ 1394364 w 3024845"/>
                <a:gd name="connsiteY258" fmla="*/ 665828 h 1166887"/>
                <a:gd name="connsiteX259" fmla="*/ 1416657 w 3024845"/>
                <a:gd name="connsiteY259" fmla="*/ 665828 h 1166887"/>
                <a:gd name="connsiteX260" fmla="*/ 1416657 w 3024845"/>
                <a:gd name="connsiteY260" fmla="*/ 664206 h 1166887"/>
                <a:gd name="connsiteX261" fmla="*/ 1416657 w 3024845"/>
                <a:gd name="connsiteY261" fmla="*/ 652857 h 1166887"/>
                <a:gd name="connsiteX262" fmla="*/ 1417417 w 3024845"/>
                <a:gd name="connsiteY262" fmla="*/ 652857 h 1166887"/>
                <a:gd name="connsiteX263" fmla="*/ 1422737 w 3024845"/>
                <a:gd name="connsiteY263" fmla="*/ 652857 h 1166887"/>
                <a:gd name="connsiteX264" fmla="*/ 1422737 w 3024845"/>
                <a:gd name="connsiteY264" fmla="*/ 650966 h 1166887"/>
                <a:gd name="connsiteX265" fmla="*/ 1422737 w 3024845"/>
                <a:gd name="connsiteY265" fmla="*/ 637725 h 1166887"/>
                <a:gd name="connsiteX266" fmla="*/ 1426791 w 3024845"/>
                <a:gd name="connsiteY266" fmla="*/ 644210 h 1166887"/>
                <a:gd name="connsiteX267" fmla="*/ 1429071 w 3024845"/>
                <a:gd name="connsiteY267" fmla="*/ 644210 h 1166887"/>
                <a:gd name="connsiteX268" fmla="*/ 1445031 w 3024845"/>
                <a:gd name="connsiteY268" fmla="*/ 644210 h 1166887"/>
                <a:gd name="connsiteX269" fmla="*/ 1445031 w 3024845"/>
                <a:gd name="connsiteY269" fmla="*/ 643399 h 1166887"/>
                <a:gd name="connsiteX270" fmla="*/ 1445031 w 3024845"/>
                <a:gd name="connsiteY270" fmla="*/ 637725 h 1166887"/>
                <a:gd name="connsiteX271" fmla="*/ 1445791 w 3024845"/>
                <a:gd name="connsiteY271" fmla="*/ 637725 h 1166887"/>
                <a:gd name="connsiteX272" fmla="*/ 1451111 w 3024845"/>
                <a:gd name="connsiteY272" fmla="*/ 637725 h 1166887"/>
                <a:gd name="connsiteX273" fmla="*/ 1451111 w 3024845"/>
                <a:gd name="connsiteY273" fmla="*/ 639076 h 1166887"/>
                <a:gd name="connsiteX274" fmla="*/ 1451111 w 3024845"/>
                <a:gd name="connsiteY274" fmla="*/ 648534 h 1166887"/>
                <a:gd name="connsiteX275" fmla="*/ 1489618 w 3024845"/>
                <a:gd name="connsiteY275" fmla="*/ 648534 h 1166887"/>
                <a:gd name="connsiteX276" fmla="*/ 1489618 w 3024845"/>
                <a:gd name="connsiteY276" fmla="*/ 786887 h 1166887"/>
                <a:gd name="connsiteX277" fmla="*/ 1491138 w 3024845"/>
                <a:gd name="connsiteY277" fmla="*/ 786887 h 1166887"/>
                <a:gd name="connsiteX278" fmla="*/ 1501778 w 3024845"/>
                <a:gd name="connsiteY278" fmla="*/ 786887 h 1166887"/>
                <a:gd name="connsiteX279" fmla="*/ 1501778 w 3024845"/>
                <a:gd name="connsiteY279" fmla="*/ 773917 h 1166887"/>
                <a:gd name="connsiteX280" fmla="*/ 1505832 w 3024845"/>
                <a:gd name="connsiteY280" fmla="*/ 773917 h 1166887"/>
                <a:gd name="connsiteX281" fmla="*/ 1505832 w 3024845"/>
                <a:gd name="connsiteY281" fmla="*/ 786887 h 1166887"/>
                <a:gd name="connsiteX282" fmla="*/ 1536232 w 3024845"/>
                <a:gd name="connsiteY282" fmla="*/ 786887 h 1166887"/>
                <a:gd name="connsiteX283" fmla="*/ 1536232 w 3024845"/>
                <a:gd name="connsiteY283" fmla="*/ 756622 h 1166887"/>
                <a:gd name="connsiteX284" fmla="*/ 1548392 w 3024845"/>
                <a:gd name="connsiteY284" fmla="*/ 756622 h 1166887"/>
                <a:gd name="connsiteX285" fmla="*/ 1560552 w 3024845"/>
                <a:gd name="connsiteY285" fmla="*/ 754461 h 1166887"/>
                <a:gd name="connsiteX286" fmla="*/ 1564606 w 3024845"/>
                <a:gd name="connsiteY286" fmla="*/ 756622 h 1166887"/>
                <a:gd name="connsiteX287" fmla="*/ 1574739 w 3024845"/>
                <a:gd name="connsiteY287" fmla="*/ 756622 h 1166887"/>
                <a:gd name="connsiteX288" fmla="*/ 1574739 w 3024845"/>
                <a:gd name="connsiteY288" fmla="*/ 786887 h 1166887"/>
                <a:gd name="connsiteX289" fmla="*/ 1582846 w 3024845"/>
                <a:gd name="connsiteY289" fmla="*/ 786887 h 1166887"/>
                <a:gd name="connsiteX290" fmla="*/ 1582846 w 3024845"/>
                <a:gd name="connsiteY290" fmla="*/ 804182 h 1166887"/>
                <a:gd name="connsiteX291" fmla="*/ 1592182 w 3024845"/>
                <a:gd name="connsiteY291" fmla="*/ 805087 h 1166887"/>
                <a:gd name="connsiteX292" fmla="*/ 1605140 w 3024845"/>
                <a:gd name="connsiteY292" fmla="*/ 805087 h 1166887"/>
                <a:gd name="connsiteX293" fmla="*/ 1605140 w 3024845"/>
                <a:gd name="connsiteY293" fmla="*/ 789049 h 1166887"/>
                <a:gd name="connsiteX294" fmla="*/ 1673096 w 3024845"/>
                <a:gd name="connsiteY294" fmla="*/ 789049 h 1166887"/>
                <a:gd name="connsiteX295" fmla="*/ 1673096 w 3024845"/>
                <a:gd name="connsiteY295" fmla="*/ 703796 h 1166887"/>
                <a:gd name="connsiteX296" fmla="*/ 1745104 w 3024845"/>
                <a:gd name="connsiteY296" fmla="*/ 703796 h 1166887"/>
                <a:gd name="connsiteX297" fmla="*/ 1745104 w 3024845"/>
                <a:gd name="connsiteY297" fmla="*/ 782564 h 1166887"/>
                <a:gd name="connsiteX298" fmla="*/ 1747008 w 3024845"/>
                <a:gd name="connsiteY298" fmla="*/ 782564 h 1166887"/>
                <a:gd name="connsiteX299" fmla="*/ 1748250 w 3024845"/>
                <a:gd name="connsiteY299" fmla="*/ 805087 h 1166887"/>
                <a:gd name="connsiteX300" fmla="*/ 1757926 w 3024845"/>
                <a:gd name="connsiteY300" fmla="*/ 805087 h 1166887"/>
                <a:gd name="connsiteX301" fmla="*/ 1759168 w 3024845"/>
                <a:gd name="connsiteY301" fmla="*/ 782564 h 1166887"/>
                <a:gd name="connsiteX302" fmla="*/ 1765248 w 3024845"/>
                <a:gd name="connsiteY302" fmla="*/ 782564 h 1166887"/>
                <a:gd name="connsiteX303" fmla="*/ 1766490 w 3024845"/>
                <a:gd name="connsiteY303" fmla="*/ 805087 h 1166887"/>
                <a:gd name="connsiteX304" fmla="*/ 1817112 w 3024845"/>
                <a:gd name="connsiteY304" fmla="*/ 805087 h 1166887"/>
                <a:gd name="connsiteX305" fmla="*/ 1817112 w 3024845"/>
                <a:gd name="connsiteY305" fmla="*/ 642059 h 1166887"/>
                <a:gd name="connsiteX306" fmla="*/ 2014439 w 3024845"/>
                <a:gd name="connsiteY306" fmla="*/ 642059 h 1166887"/>
                <a:gd name="connsiteX307" fmla="*/ 2014439 w 3024845"/>
                <a:gd name="connsiteY307" fmla="*/ 805087 h 1166887"/>
                <a:gd name="connsiteX308" fmla="*/ 2033136 w 3024845"/>
                <a:gd name="connsiteY308" fmla="*/ 805087 h 1166887"/>
                <a:gd name="connsiteX309" fmla="*/ 2033136 w 3024845"/>
                <a:gd name="connsiteY309" fmla="*/ 722394 h 1166887"/>
                <a:gd name="connsiteX310" fmla="*/ 2128256 w 3024845"/>
                <a:gd name="connsiteY310" fmla="*/ 722394 h 1166887"/>
                <a:gd name="connsiteX311" fmla="*/ 2140186 w 3024845"/>
                <a:gd name="connsiteY311" fmla="*/ 404253 h 1166887"/>
                <a:gd name="connsiteX312" fmla="*/ 2128026 w 3024845"/>
                <a:gd name="connsiteY312" fmla="*/ 382635 h 1166887"/>
                <a:gd name="connsiteX313" fmla="*/ 2121946 w 3024845"/>
                <a:gd name="connsiteY313" fmla="*/ 378311 h 1166887"/>
                <a:gd name="connsiteX314" fmla="*/ 2130053 w 3024845"/>
                <a:gd name="connsiteY314" fmla="*/ 354532 h 1166887"/>
                <a:gd name="connsiteX315" fmla="*/ 2130053 w 3024845"/>
                <a:gd name="connsiteY315" fmla="*/ 337238 h 1166887"/>
                <a:gd name="connsiteX316" fmla="*/ 2144240 w 3024845"/>
                <a:gd name="connsiteY316" fmla="*/ 337238 h 1166887"/>
                <a:gd name="connsiteX317" fmla="*/ 2144240 w 3024845"/>
                <a:gd name="connsiteY317" fmla="*/ 315620 h 1166887"/>
                <a:gd name="connsiteX318" fmla="*/ 2146266 w 3024845"/>
                <a:gd name="connsiteY318" fmla="*/ 311296 h 1166887"/>
                <a:gd name="connsiteX319" fmla="*/ 2146266 w 3024845"/>
                <a:gd name="connsiteY319" fmla="*/ 233472 h 1166887"/>
                <a:gd name="connsiteX320" fmla="*/ 2144240 w 3024845"/>
                <a:gd name="connsiteY320" fmla="*/ 226987 h 1166887"/>
                <a:gd name="connsiteX321" fmla="*/ 2150320 w 3024845"/>
                <a:gd name="connsiteY321" fmla="*/ 220501 h 1166887"/>
                <a:gd name="connsiteX322" fmla="*/ 2150320 w 3024845"/>
                <a:gd name="connsiteY322" fmla="*/ 162133 h 1166887"/>
                <a:gd name="connsiteX323" fmla="*/ 2152346 w 3024845"/>
                <a:gd name="connsiteY323" fmla="*/ 157810 h 1166887"/>
                <a:gd name="connsiteX324" fmla="*/ 2152346 w 3024845"/>
                <a:gd name="connsiteY324" fmla="*/ 101604 h 1166887"/>
                <a:gd name="connsiteX325" fmla="*/ 2154373 w 3024845"/>
                <a:gd name="connsiteY325" fmla="*/ 82148 h 1166887"/>
                <a:gd name="connsiteX326" fmla="*/ 2158427 w 3024845"/>
                <a:gd name="connsiteY326" fmla="*/ 99442 h 1166887"/>
                <a:gd name="connsiteX327" fmla="*/ 2160453 w 3024845"/>
                <a:gd name="connsiteY327" fmla="*/ 157810 h 1166887"/>
                <a:gd name="connsiteX328" fmla="*/ 2162480 w 3024845"/>
                <a:gd name="connsiteY328" fmla="*/ 220501 h 1166887"/>
                <a:gd name="connsiteX329" fmla="*/ 2168560 w 3024845"/>
                <a:gd name="connsiteY329" fmla="*/ 226987 h 1166887"/>
                <a:gd name="connsiteX330" fmla="*/ 2166533 w 3024845"/>
                <a:gd name="connsiteY330" fmla="*/ 233472 h 1166887"/>
                <a:gd name="connsiteX331" fmla="*/ 2166533 w 3024845"/>
                <a:gd name="connsiteY331" fmla="*/ 311296 h 1166887"/>
                <a:gd name="connsiteX332" fmla="*/ 2168560 w 3024845"/>
                <a:gd name="connsiteY332" fmla="*/ 315620 h 1166887"/>
                <a:gd name="connsiteX333" fmla="*/ 2168560 w 3024845"/>
                <a:gd name="connsiteY333" fmla="*/ 337238 h 1166887"/>
                <a:gd name="connsiteX334" fmla="*/ 2182747 w 3024845"/>
                <a:gd name="connsiteY334" fmla="*/ 337238 h 1166887"/>
                <a:gd name="connsiteX335" fmla="*/ 2182747 w 3024845"/>
                <a:gd name="connsiteY335" fmla="*/ 354532 h 1166887"/>
                <a:gd name="connsiteX336" fmla="*/ 2190854 w 3024845"/>
                <a:gd name="connsiteY336" fmla="*/ 378311 h 1166887"/>
                <a:gd name="connsiteX337" fmla="*/ 2184774 w 3024845"/>
                <a:gd name="connsiteY337" fmla="*/ 382635 h 1166887"/>
                <a:gd name="connsiteX338" fmla="*/ 2172613 w 3024845"/>
                <a:gd name="connsiteY338" fmla="*/ 404253 h 1166887"/>
                <a:gd name="connsiteX339" fmla="*/ 2180720 w 3024845"/>
                <a:gd name="connsiteY339" fmla="*/ 657181 h 1166887"/>
                <a:gd name="connsiteX340" fmla="*/ 2245574 w 3024845"/>
                <a:gd name="connsiteY340" fmla="*/ 657181 h 1166887"/>
                <a:gd name="connsiteX341" fmla="*/ 2245574 w 3024845"/>
                <a:gd name="connsiteY341" fmla="*/ 732843 h 1166887"/>
                <a:gd name="connsiteX342" fmla="*/ 2253681 w 3024845"/>
                <a:gd name="connsiteY342" fmla="*/ 732843 h 1166887"/>
                <a:gd name="connsiteX343" fmla="*/ 2255708 w 3024845"/>
                <a:gd name="connsiteY343" fmla="*/ 726358 h 1166887"/>
                <a:gd name="connsiteX344" fmla="*/ 2261788 w 3024845"/>
                <a:gd name="connsiteY344" fmla="*/ 726358 h 1166887"/>
                <a:gd name="connsiteX345" fmla="*/ 2263815 w 3024845"/>
                <a:gd name="connsiteY345" fmla="*/ 735005 h 1166887"/>
                <a:gd name="connsiteX346" fmla="*/ 2275975 w 3024845"/>
                <a:gd name="connsiteY346" fmla="*/ 735005 h 1166887"/>
                <a:gd name="connsiteX347" fmla="*/ 2275975 w 3024845"/>
                <a:gd name="connsiteY347" fmla="*/ 728519 h 1166887"/>
                <a:gd name="connsiteX348" fmla="*/ 2298268 w 3024845"/>
                <a:gd name="connsiteY348" fmla="*/ 728519 h 1166887"/>
                <a:gd name="connsiteX349" fmla="*/ 2298268 w 3024845"/>
                <a:gd name="connsiteY349" fmla="*/ 735005 h 1166887"/>
                <a:gd name="connsiteX350" fmla="*/ 2318535 w 3024845"/>
                <a:gd name="connsiteY350" fmla="*/ 735005 h 1166887"/>
                <a:gd name="connsiteX351" fmla="*/ 2318535 w 3024845"/>
                <a:gd name="connsiteY351" fmla="*/ 780402 h 1166887"/>
                <a:gd name="connsiteX352" fmla="*/ 2332722 w 3024845"/>
                <a:gd name="connsiteY352" fmla="*/ 780402 h 1166887"/>
                <a:gd name="connsiteX353" fmla="*/ 2332722 w 3024845"/>
                <a:gd name="connsiteY353" fmla="*/ 767431 h 1166887"/>
                <a:gd name="connsiteX354" fmla="*/ 2348936 w 3024845"/>
                <a:gd name="connsiteY354" fmla="*/ 767431 h 1166887"/>
                <a:gd name="connsiteX355" fmla="*/ 2348936 w 3024845"/>
                <a:gd name="connsiteY355" fmla="*/ 588004 h 1166887"/>
                <a:gd name="connsiteX356" fmla="*/ 2355016 w 3024845"/>
                <a:gd name="connsiteY356" fmla="*/ 581518 h 1166887"/>
                <a:gd name="connsiteX357" fmla="*/ 2427977 w 3024845"/>
                <a:gd name="connsiteY357" fmla="*/ 581518 h 1166887"/>
                <a:gd name="connsiteX358" fmla="*/ 2427977 w 3024845"/>
                <a:gd name="connsiteY358" fmla="*/ 590166 h 1166887"/>
                <a:gd name="connsiteX359" fmla="*/ 2438110 w 3024845"/>
                <a:gd name="connsiteY359" fmla="*/ 590166 h 1166887"/>
                <a:gd name="connsiteX360" fmla="*/ 2438110 w 3024845"/>
                <a:gd name="connsiteY360" fmla="*/ 704740 h 1166887"/>
                <a:gd name="connsiteX361" fmla="*/ 2460404 w 3024845"/>
                <a:gd name="connsiteY361" fmla="*/ 704740 h 1166887"/>
                <a:gd name="connsiteX362" fmla="*/ 2460404 w 3024845"/>
                <a:gd name="connsiteY362" fmla="*/ 637725 h 1166887"/>
                <a:gd name="connsiteX363" fmla="*/ 2486751 w 3024845"/>
                <a:gd name="connsiteY363" fmla="*/ 637725 h 1166887"/>
                <a:gd name="connsiteX364" fmla="*/ 2490804 w 3024845"/>
                <a:gd name="connsiteY364" fmla="*/ 633401 h 1166887"/>
                <a:gd name="connsiteX365" fmla="*/ 2498911 w 3024845"/>
                <a:gd name="connsiteY365" fmla="*/ 633401 h 1166887"/>
                <a:gd name="connsiteX366" fmla="*/ 2502964 w 3024845"/>
                <a:gd name="connsiteY366" fmla="*/ 637725 h 1166887"/>
                <a:gd name="connsiteX367" fmla="*/ 2525258 w 3024845"/>
                <a:gd name="connsiteY367" fmla="*/ 637725 h 1166887"/>
                <a:gd name="connsiteX368" fmla="*/ 2525258 w 3024845"/>
                <a:gd name="connsiteY368" fmla="*/ 520989 h 1166887"/>
                <a:gd name="connsiteX369" fmla="*/ 2582005 w 3024845"/>
                <a:gd name="connsiteY369" fmla="*/ 510180 h 1166887"/>
                <a:gd name="connsiteX370" fmla="*/ 2582005 w 3024845"/>
                <a:gd name="connsiteY370" fmla="*/ 511261 h 1166887"/>
                <a:gd name="connsiteX371" fmla="*/ 2582005 w 3024845"/>
                <a:gd name="connsiteY371" fmla="*/ 518827 h 1166887"/>
                <a:gd name="connsiteX372" fmla="*/ 2608352 w 3024845"/>
                <a:gd name="connsiteY372" fmla="*/ 518827 h 1166887"/>
                <a:gd name="connsiteX373" fmla="*/ 2608352 w 3024845"/>
                <a:gd name="connsiteY373" fmla="*/ 773917 h 1166887"/>
                <a:gd name="connsiteX374" fmla="*/ 2630646 w 3024845"/>
                <a:gd name="connsiteY374" fmla="*/ 773917 h 1166887"/>
                <a:gd name="connsiteX375" fmla="*/ 2630646 w 3024845"/>
                <a:gd name="connsiteY375" fmla="*/ 769593 h 1166887"/>
                <a:gd name="connsiteX376" fmla="*/ 2642806 w 3024845"/>
                <a:gd name="connsiteY376" fmla="*/ 769593 h 1166887"/>
                <a:gd name="connsiteX377" fmla="*/ 2642806 w 3024845"/>
                <a:gd name="connsiteY377" fmla="*/ 773917 h 1166887"/>
                <a:gd name="connsiteX378" fmla="*/ 2667126 w 3024845"/>
                <a:gd name="connsiteY378" fmla="*/ 773917 h 1166887"/>
                <a:gd name="connsiteX379" fmla="*/ 2667126 w 3024845"/>
                <a:gd name="connsiteY379" fmla="*/ 760946 h 1166887"/>
                <a:gd name="connsiteX380" fmla="*/ 2695500 w 3024845"/>
                <a:gd name="connsiteY380" fmla="*/ 760946 h 1166887"/>
                <a:gd name="connsiteX381" fmla="*/ 2707660 w 3024845"/>
                <a:gd name="connsiteY381" fmla="*/ 756622 h 1166887"/>
                <a:gd name="connsiteX382" fmla="*/ 2727927 w 3024845"/>
                <a:gd name="connsiteY382" fmla="*/ 760946 h 1166887"/>
                <a:gd name="connsiteX383" fmla="*/ 2727927 w 3024845"/>
                <a:gd name="connsiteY383" fmla="*/ 743652 h 1166887"/>
                <a:gd name="connsiteX384" fmla="*/ 2736034 w 3024845"/>
                <a:gd name="connsiteY384" fmla="*/ 743652 h 1166887"/>
                <a:gd name="connsiteX385" fmla="*/ 2736034 w 3024845"/>
                <a:gd name="connsiteY385" fmla="*/ 730681 h 1166887"/>
                <a:gd name="connsiteX386" fmla="*/ 2792781 w 3024845"/>
                <a:gd name="connsiteY386" fmla="*/ 730681 h 1166887"/>
                <a:gd name="connsiteX387" fmla="*/ 2792781 w 3024845"/>
                <a:gd name="connsiteY387" fmla="*/ 700416 h 1166887"/>
                <a:gd name="connsiteX388" fmla="*/ 2811021 w 3024845"/>
                <a:gd name="connsiteY388" fmla="*/ 700416 h 1166887"/>
                <a:gd name="connsiteX389" fmla="*/ 2811021 w 3024845"/>
                <a:gd name="connsiteY389" fmla="*/ 693931 h 1166887"/>
                <a:gd name="connsiteX390" fmla="*/ 2823181 w 3024845"/>
                <a:gd name="connsiteY390" fmla="*/ 693931 h 1166887"/>
                <a:gd name="connsiteX391" fmla="*/ 2823181 w 3024845"/>
                <a:gd name="connsiteY391" fmla="*/ 700416 h 1166887"/>
                <a:gd name="connsiteX392" fmla="*/ 2839395 w 3024845"/>
                <a:gd name="connsiteY392" fmla="*/ 700416 h 1166887"/>
                <a:gd name="connsiteX393" fmla="*/ 2839395 w 3024845"/>
                <a:gd name="connsiteY393" fmla="*/ 750137 h 1166887"/>
                <a:gd name="connsiteX394" fmla="*/ 2871822 w 3024845"/>
                <a:gd name="connsiteY394" fmla="*/ 750137 h 1166887"/>
                <a:gd name="connsiteX395" fmla="*/ 2871822 w 3024845"/>
                <a:gd name="connsiteY395" fmla="*/ 724196 h 1166887"/>
                <a:gd name="connsiteX396" fmla="*/ 2910329 w 3024845"/>
                <a:gd name="connsiteY396" fmla="*/ 724196 h 1166887"/>
                <a:gd name="connsiteX397" fmla="*/ 2910329 w 3024845"/>
                <a:gd name="connsiteY397" fmla="*/ 693931 h 1166887"/>
                <a:gd name="connsiteX398" fmla="*/ 2958970 w 3024845"/>
                <a:gd name="connsiteY398" fmla="*/ 693931 h 1166887"/>
                <a:gd name="connsiteX399" fmla="*/ 2958970 w 3024845"/>
                <a:gd name="connsiteY399" fmla="*/ 805087 h 1166887"/>
                <a:gd name="connsiteX400" fmla="*/ 2958970 w 3024845"/>
                <a:gd name="connsiteY400" fmla="*/ 818866 h 1166887"/>
                <a:gd name="connsiteX401" fmla="*/ 3024845 w 3024845"/>
                <a:gd name="connsiteY401" fmla="*/ 818866 h 1166887"/>
                <a:gd name="connsiteX402" fmla="*/ 3024845 w 3024845"/>
                <a:gd name="connsiteY402" fmla="*/ 1160647 h 1166887"/>
                <a:gd name="connsiteX403" fmla="*/ 145862 w 3024845"/>
                <a:gd name="connsiteY403" fmla="*/ 1160647 h 1166887"/>
                <a:gd name="connsiteX404" fmla="*/ 2054 w 3024845"/>
                <a:gd name="connsiteY404" fmla="*/ 1166887 h 1166887"/>
                <a:gd name="connsiteX405" fmla="*/ 0 w 3024845"/>
                <a:gd name="connsiteY405" fmla="*/ 724196 h 1166887"/>
                <a:gd name="connsiteX406" fmla="*/ 20267 w 3024845"/>
                <a:gd name="connsiteY406" fmla="*/ 724196 h 1166887"/>
                <a:gd name="connsiteX407" fmla="*/ 20774 w 3024845"/>
                <a:gd name="connsiteY407" fmla="*/ 723115 h 1166887"/>
                <a:gd name="connsiteX408" fmla="*/ 24320 w 3024845"/>
                <a:gd name="connsiteY408" fmla="*/ 715549 h 1166887"/>
                <a:gd name="connsiteX409" fmla="*/ 26094 w 3024845"/>
                <a:gd name="connsiteY409" fmla="*/ 715819 h 1166887"/>
                <a:gd name="connsiteX410" fmla="*/ 38507 w 3024845"/>
                <a:gd name="connsiteY410" fmla="*/ 717710 h 1166887"/>
                <a:gd name="connsiteX411" fmla="*/ 39014 w 3024845"/>
                <a:gd name="connsiteY411" fmla="*/ 719062 h 1166887"/>
                <a:gd name="connsiteX412" fmla="*/ 42560 w 3024845"/>
                <a:gd name="connsiteY412" fmla="*/ 728519 h 1166887"/>
                <a:gd name="connsiteX413" fmla="*/ 68907 w 3024845"/>
                <a:gd name="connsiteY413" fmla="*/ 730681 h 1166887"/>
                <a:gd name="connsiteX414" fmla="*/ 68907 w 3024845"/>
                <a:gd name="connsiteY414" fmla="*/ 607460 h 1166887"/>
                <a:gd name="connsiteX415" fmla="*/ 70934 w 3024845"/>
                <a:gd name="connsiteY415" fmla="*/ 607460 h 1166887"/>
                <a:gd name="connsiteX416" fmla="*/ 85121 w 3024845"/>
                <a:gd name="connsiteY416" fmla="*/ 607460 h 1166887"/>
                <a:gd name="connsiteX417" fmla="*/ 85121 w 3024845"/>
                <a:gd name="connsiteY417" fmla="*/ 471268 h 1166887"/>
                <a:gd name="connsiteX418" fmla="*/ 86894 w 3024845"/>
                <a:gd name="connsiteY418" fmla="*/ 471268 h 1166887"/>
                <a:gd name="connsiteX419" fmla="*/ 99308 w 3024845"/>
                <a:gd name="connsiteY419" fmla="*/ 471268 h 1166887"/>
                <a:gd name="connsiteX420" fmla="*/ 99308 w 3024845"/>
                <a:gd name="connsiteY420" fmla="*/ 356694 h 1166887"/>
                <a:gd name="connsiteX421" fmla="*/ 103361 w 3024845"/>
                <a:gd name="connsiteY421" fmla="*/ 328590 h 1166887"/>
                <a:gd name="connsiteX422" fmla="*/ 105388 w 3024845"/>
                <a:gd name="connsiteY422" fmla="*/ 328590 h 1166887"/>
                <a:gd name="connsiteX423" fmla="*/ 119575 w 3024845"/>
                <a:gd name="connsiteY423" fmla="*/ 328590 h 1166887"/>
                <a:gd name="connsiteX424" fmla="*/ 156055 w 3024845"/>
                <a:gd name="connsiteY424" fmla="*/ 246443 h 1166887"/>
                <a:gd name="connsiteX425" fmla="*/ 160109 w 3024845"/>
                <a:gd name="connsiteY425" fmla="*/ 0 h 116688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145862 w 3024845"/>
                <a:gd name="connsiteY403" fmla="*/ 1160647 h 1160647"/>
                <a:gd name="connsiteX404" fmla="*/ 2054 w 3024845"/>
                <a:gd name="connsiteY404" fmla="*/ 1158314 h 1160647"/>
                <a:gd name="connsiteX405" fmla="*/ 0 w 3024845"/>
                <a:gd name="connsiteY405" fmla="*/ 724196 h 1160647"/>
                <a:gd name="connsiteX406" fmla="*/ 20267 w 3024845"/>
                <a:gd name="connsiteY406" fmla="*/ 724196 h 1160647"/>
                <a:gd name="connsiteX407" fmla="*/ 20774 w 3024845"/>
                <a:gd name="connsiteY407" fmla="*/ 723115 h 1160647"/>
                <a:gd name="connsiteX408" fmla="*/ 24320 w 3024845"/>
                <a:gd name="connsiteY408" fmla="*/ 715549 h 1160647"/>
                <a:gd name="connsiteX409" fmla="*/ 26094 w 3024845"/>
                <a:gd name="connsiteY409" fmla="*/ 715819 h 1160647"/>
                <a:gd name="connsiteX410" fmla="*/ 38507 w 3024845"/>
                <a:gd name="connsiteY410" fmla="*/ 717710 h 1160647"/>
                <a:gd name="connsiteX411" fmla="*/ 39014 w 3024845"/>
                <a:gd name="connsiteY411" fmla="*/ 719062 h 1160647"/>
                <a:gd name="connsiteX412" fmla="*/ 42560 w 3024845"/>
                <a:gd name="connsiteY412" fmla="*/ 728519 h 1160647"/>
                <a:gd name="connsiteX413" fmla="*/ 68907 w 3024845"/>
                <a:gd name="connsiteY413" fmla="*/ 730681 h 1160647"/>
                <a:gd name="connsiteX414" fmla="*/ 68907 w 3024845"/>
                <a:gd name="connsiteY414" fmla="*/ 607460 h 1160647"/>
                <a:gd name="connsiteX415" fmla="*/ 70934 w 3024845"/>
                <a:gd name="connsiteY415" fmla="*/ 607460 h 1160647"/>
                <a:gd name="connsiteX416" fmla="*/ 85121 w 3024845"/>
                <a:gd name="connsiteY416" fmla="*/ 607460 h 1160647"/>
                <a:gd name="connsiteX417" fmla="*/ 85121 w 3024845"/>
                <a:gd name="connsiteY417" fmla="*/ 471268 h 1160647"/>
                <a:gd name="connsiteX418" fmla="*/ 86894 w 3024845"/>
                <a:gd name="connsiteY418" fmla="*/ 471268 h 1160647"/>
                <a:gd name="connsiteX419" fmla="*/ 99308 w 3024845"/>
                <a:gd name="connsiteY419" fmla="*/ 471268 h 1160647"/>
                <a:gd name="connsiteX420" fmla="*/ 99308 w 3024845"/>
                <a:gd name="connsiteY420" fmla="*/ 356694 h 1160647"/>
                <a:gd name="connsiteX421" fmla="*/ 103361 w 3024845"/>
                <a:gd name="connsiteY421" fmla="*/ 328590 h 1160647"/>
                <a:gd name="connsiteX422" fmla="*/ 105388 w 3024845"/>
                <a:gd name="connsiteY422" fmla="*/ 328590 h 1160647"/>
                <a:gd name="connsiteX423" fmla="*/ 119575 w 3024845"/>
                <a:gd name="connsiteY423" fmla="*/ 328590 h 1160647"/>
                <a:gd name="connsiteX424" fmla="*/ 156055 w 3024845"/>
                <a:gd name="connsiteY424" fmla="*/ 246443 h 1160647"/>
                <a:gd name="connsiteX425" fmla="*/ 160109 w 3024845"/>
                <a:gd name="connsiteY425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60109 w 3024845"/>
                <a:gd name="connsiteY0" fmla="*/ 0 h 1160647"/>
                <a:gd name="connsiteX1" fmla="*/ 162135 w 3024845"/>
                <a:gd name="connsiteY1" fmla="*/ 246443 h 1160647"/>
                <a:gd name="connsiteX2" fmla="*/ 200642 w 3024845"/>
                <a:gd name="connsiteY2" fmla="*/ 326429 h 1160647"/>
                <a:gd name="connsiteX3" fmla="*/ 202669 w 3024845"/>
                <a:gd name="connsiteY3" fmla="*/ 326429 h 1160647"/>
                <a:gd name="connsiteX4" fmla="*/ 216856 w 3024845"/>
                <a:gd name="connsiteY4" fmla="*/ 326429 h 1160647"/>
                <a:gd name="connsiteX5" fmla="*/ 216856 w 3024845"/>
                <a:gd name="connsiteY5" fmla="*/ 350208 h 1160647"/>
                <a:gd name="connsiteX6" fmla="*/ 217363 w 3024845"/>
                <a:gd name="connsiteY6" fmla="*/ 351019 h 1160647"/>
                <a:gd name="connsiteX7" fmla="*/ 220909 w 3024845"/>
                <a:gd name="connsiteY7" fmla="*/ 356694 h 1160647"/>
                <a:gd name="connsiteX8" fmla="*/ 220909 w 3024845"/>
                <a:gd name="connsiteY8" fmla="*/ 471268 h 1160647"/>
                <a:gd name="connsiteX9" fmla="*/ 223189 w 3024845"/>
                <a:gd name="connsiteY9" fmla="*/ 471268 h 1160647"/>
                <a:gd name="connsiteX10" fmla="*/ 239150 w 3024845"/>
                <a:gd name="connsiteY10" fmla="*/ 471268 h 1160647"/>
                <a:gd name="connsiteX11" fmla="*/ 239150 w 3024845"/>
                <a:gd name="connsiteY11" fmla="*/ 611783 h 1160647"/>
                <a:gd name="connsiteX12" fmla="*/ 240670 w 3024845"/>
                <a:gd name="connsiteY12" fmla="*/ 611513 h 1160647"/>
                <a:gd name="connsiteX13" fmla="*/ 251310 w 3024845"/>
                <a:gd name="connsiteY13" fmla="*/ 609622 h 1160647"/>
                <a:gd name="connsiteX14" fmla="*/ 249283 w 3024845"/>
                <a:gd name="connsiteY14" fmla="*/ 698254 h 1160647"/>
                <a:gd name="connsiteX15" fmla="*/ 250803 w 3024845"/>
                <a:gd name="connsiteY15" fmla="*/ 698525 h 1160647"/>
                <a:gd name="connsiteX16" fmla="*/ 261443 w 3024845"/>
                <a:gd name="connsiteY16" fmla="*/ 700416 h 1160647"/>
                <a:gd name="connsiteX17" fmla="*/ 261696 w 3024845"/>
                <a:gd name="connsiteY17" fmla="*/ 701227 h 1160647"/>
                <a:gd name="connsiteX18" fmla="*/ 263470 w 3024845"/>
                <a:gd name="connsiteY18" fmla="*/ 706902 h 1160647"/>
                <a:gd name="connsiteX19" fmla="*/ 264230 w 3024845"/>
                <a:gd name="connsiteY19" fmla="*/ 704470 h 1160647"/>
                <a:gd name="connsiteX20" fmla="*/ 269550 w 3024845"/>
                <a:gd name="connsiteY20" fmla="*/ 687446 h 1160647"/>
                <a:gd name="connsiteX21" fmla="*/ 271323 w 3024845"/>
                <a:gd name="connsiteY21" fmla="*/ 687446 h 1160647"/>
                <a:gd name="connsiteX22" fmla="*/ 283737 w 3024845"/>
                <a:gd name="connsiteY22" fmla="*/ 687446 h 1160647"/>
                <a:gd name="connsiteX23" fmla="*/ 283737 w 3024845"/>
                <a:gd name="connsiteY23" fmla="*/ 719872 h 1160647"/>
                <a:gd name="connsiteX24" fmla="*/ 284750 w 3024845"/>
                <a:gd name="connsiteY24" fmla="*/ 720413 h 1160647"/>
                <a:gd name="connsiteX25" fmla="*/ 291844 w 3024845"/>
                <a:gd name="connsiteY25" fmla="*/ 724196 h 1160647"/>
                <a:gd name="connsiteX26" fmla="*/ 291844 w 3024845"/>
                <a:gd name="connsiteY26" fmla="*/ 725547 h 1160647"/>
                <a:gd name="connsiteX27" fmla="*/ 291844 w 3024845"/>
                <a:gd name="connsiteY27" fmla="*/ 735005 h 1160647"/>
                <a:gd name="connsiteX28" fmla="*/ 336431 w 3024845"/>
                <a:gd name="connsiteY28" fmla="*/ 735005 h 1160647"/>
                <a:gd name="connsiteX29" fmla="*/ 336431 w 3024845"/>
                <a:gd name="connsiteY29" fmla="*/ 736086 h 1160647"/>
                <a:gd name="connsiteX30" fmla="*/ 336431 w 3024845"/>
                <a:gd name="connsiteY30" fmla="*/ 743652 h 1160647"/>
                <a:gd name="connsiteX31" fmla="*/ 338457 w 3024845"/>
                <a:gd name="connsiteY31" fmla="*/ 743652 h 1160647"/>
                <a:gd name="connsiteX32" fmla="*/ 352644 w 3024845"/>
                <a:gd name="connsiteY32" fmla="*/ 743652 h 1160647"/>
                <a:gd name="connsiteX33" fmla="*/ 352644 w 3024845"/>
                <a:gd name="connsiteY33" fmla="*/ 713387 h 1160647"/>
                <a:gd name="connsiteX34" fmla="*/ 397231 w 3024845"/>
                <a:gd name="connsiteY34" fmla="*/ 713387 h 1160647"/>
                <a:gd name="connsiteX35" fmla="*/ 397231 w 3024845"/>
                <a:gd name="connsiteY35" fmla="*/ 712036 h 1160647"/>
                <a:gd name="connsiteX36" fmla="*/ 397231 w 3024845"/>
                <a:gd name="connsiteY36" fmla="*/ 702578 h 1160647"/>
                <a:gd name="connsiteX37" fmla="*/ 398245 w 3024845"/>
                <a:gd name="connsiteY37" fmla="*/ 702578 h 1160647"/>
                <a:gd name="connsiteX38" fmla="*/ 405338 w 3024845"/>
                <a:gd name="connsiteY38" fmla="*/ 702578 h 1160647"/>
                <a:gd name="connsiteX39" fmla="*/ 405338 w 3024845"/>
                <a:gd name="connsiteY39" fmla="*/ 700687 h 1160647"/>
                <a:gd name="connsiteX40" fmla="*/ 405338 w 3024845"/>
                <a:gd name="connsiteY40" fmla="*/ 687446 h 1160647"/>
                <a:gd name="connsiteX41" fmla="*/ 406098 w 3024845"/>
                <a:gd name="connsiteY41" fmla="*/ 687446 h 1160647"/>
                <a:gd name="connsiteX42" fmla="*/ 411418 w 3024845"/>
                <a:gd name="connsiteY42" fmla="*/ 687446 h 1160647"/>
                <a:gd name="connsiteX43" fmla="*/ 411418 w 3024845"/>
                <a:gd name="connsiteY43" fmla="*/ 686365 h 1160647"/>
                <a:gd name="connsiteX44" fmla="*/ 411418 w 3024845"/>
                <a:gd name="connsiteY44" fmla="*/ 678798 h 1160647"/>
                <a:gd name="connsiteX45" fmla="*/ 413445 w 3024845"/>
                <a:gd name="connsiteY45" fmla="*/ 678798 h 1160647"/>
                <a:gd name="connsiteX46" fmla="*/ 427632 w 3024845"/>
                <a:gd name="connsiteY46" fmla="*/ 678798 h 1160647"/>
                <a:gd name="connsiteX47" fmla="*/ 427632 w 3024845"/>
                <a:gd name="connsiteY47" fmla="*/ 679879 h 1160647"/>
                <a:gd name="connsiteX48" fmla="*/ 427632 w 3024845"/>
                <a:gd name="connsiteY48" fmla="*/ 687446 h 1160647"/>
                <a:gd name="connsiteX49" fmla="*/ 449925 w 3024845"/>
                <a:gd name="connsiteY49" fmla="*/ 687446 h 1160647"/>
                <a:gd name="connsiteX50" fmla="*/ 449925 w 3024845"/>
                <a:gd name="connsiteY50" fmla="*/ 685554 h 1160647"/>
                <a:gd name="connsiteX51" fmla="*/ 449925 w 3024845"/>
                <a:gd name="connsiteY51" fmla="*/ 672313 h 1160647"/>
                <a:gd name="connsiteX52" fmla="*/ 451699 w 3024845"/>
                <a:gd name="connsiteY52" fmla="*/ 672313 h 1160647"/>
                <a:gd name="connsiteX53" fmla="*/ 464112 w 3024845"/>
                <a:gd name="connsiteY53" fmla="*/ 672313 h 1160647"/>
                <a:gd name="connsiteX54" fmla="*/ 464112 w 3024845"/>
                <a:gd name="connsiteY54" fmla="*/ 696093 h 1160647"/>
                <a:gd name="connsiteX55" fmla="*/ 465126 w 3024845"/>
                <a:gd name="connsiteY55" fmla="*/ 696093 h 1160647"/>
                <a:gd name="connsiteX56" fmla="*/ 472219 w 3024845"/>
                <a:gd name="connsiteY56" fmla="*/ 696093 h 1160647"/>
                <a:gd name="connsiteX57" fmla="*/ 472219 w 3024845"/>
                <a:gd name="connsiteY57" fmla="*/ 695012 h 1160647"/>
                <a:gd name="connsiteX58" fmla="*/ 472219 w 3024845"/>
                <a:gd name="connsiteY58" fmla="*/ 687446 h 1160647"/>
                <a:gd name="connsiteX59" fmla="*/ 473992 w 3024845"/>
                <a:gd name="connsiteY59" fmla="*/ 687446 h 1160647"/>
                <a:gd name="connsiteX60" fmla="*/ 486406 w 3024845"/>
                <a:gd name="connsiteY60" fmla="*/ 687446 h 1160647"/>
                <a:gd name="connsiteX61" fmla="*/ 486406 w 3024845"/>
                <a:gd name="connsiteY61" fmla="*/ 713387 h 1160647"/>
                <a:gd name="connsiteX62" fmla="*/ 488433 w 3024845"/>
                <a:gd name="connsiteY62" fmla="*/ 713387 h 1160647"/>
                <a:gd name="connsiteX63" fmla="*/ 502619 w 3024845"/>
                <a:gd name="connsiteY63" fmla="*/ 713387 h 1160647"/>
                <a:gd name="connsiteX64" fmla="*/ 502619 w 3024845"/>
                <a:gd name="connsiteY64" fmla="*/ 715008 h 1160647"/>
                <a:gd name="connsiteX65" fmla="*/ 502619 w 3024845"/>
                <a:gd name="connsiteY65" fmla="*/ 726358 h 1160647"/>
                <a:gd name="connsiteX66" fmla="*/ 503379 w 3024845"/>
                <a:gd name="connsiteY66" fmla="*/ 726358 h 1160647"/>
                <a:gd name="connsiteX67" fmla="*/ 508700 w 3024845"/>
                <a:gd name="connsiteY67" fmla="*/ 726358 h 1160647"/>
                <a:gd name="connsiteX68" fmla="*/ 508700 w 3024845"/>
                <a:gd name="connsiteY68" fmla="*/ 725547 h 1160647"/>
                <a:gd name="connsiteX69" fmla="*/ 508700 w 3024845"/>
                <a:gd name="connsiteY69" fmla="*/ 719872 h 1160647"/>
                <a:gd name="connsiteX70" fmla="*/ 539100 w 3024845"/>
                <a:gd name="connsiteY70" fmla="*/ 719872 h 1160647"/>
                <a:gd name="connsiteX71" fmla="*/ 539100 w 3024845"/>
                <a:gd name="connsiteY71" fmla="*/ 743652 h 1160647"/>
                <a:gd name="connsiteX72" fmla="*/ 540113 w 3024845"/>
                <a:gd name="connsiteY72" fmla="*/ 743652 h 1160647"/>
                <a:gd name="connsiteX73" fmla="*/ 547207 w 3024845"/>
                <a:gd name="connsiteY73" fmla="*/ 743652 h 1160647"/>
                <a:gd name="connsiteX74" fmla="*/ 547207 w 3024845"/>
                <a:gd name="connsiteY74" fmla="*/ 744733 h 1160647"/>
                <a:gd name="connsiteX75" fmla="*/ 547207 w 3024845"/>
                <a:gd name="connsiteY75" fmla="*/ 752299 h 1160647"/>
                <a:gd name="connsiteX76" fmla="*/ 547967 w 3024845"/>
                <a:gd name="connsiteY76" fmla="*/ 752299 h 1160647"/>
                <a:gd name="connsiteX77" fmla="*/ 553287 w 3024845"/>
                <a:gd name="connsiteY77" fmla="*/ 752299 h 1160647"/>
                <a:gd name="connsiteX78" fmla="*/ 553287 w 3024845"/>
                <a:gd name="connsiteY78" fmla="*/ 750137 h 1160647"/>
                <a:gd name="connsiteX79" fmla="*/ 553287 w 3024845"/>
                <a:gd name="connsiteY79" fmla="*/ 735005 h 1160647"/>
                <a:gd name="connsiteX80" fmla="*/ 554300 w 3024845"/>
                <a:gd name="connsiteY80" fmla="*/ 735005 h 1160647"/>
                <a:gd name="connsiteX81" fmla="*/ 561394 w 3024845"/>
                <a:gd name="connsiteY81" fmla="*/ 735005 h 1160647"/>
                <a:gd name="connsiteX82" fmla="*/ 561394 w 3024845"/>
                <a:gd name="connsiteY82" fmla="*/ 736086 h 1160647"/>
                <a:gd name="connsiteX83" fmla="*/ 561394 w 3024845"/>
                <a:gd name="connsiteY83" fmla="*/ 743652 h 1160647"/>
                <a:gd name="connsiteX84" fmla="*/ 566714 w 3024845"/>
                <a:gd name="connsiteY84" fmla="*/ 741659 h 1160647"/>
                <a:gd name="connsiteX85" fmla="*/ 567474 w 3024845"/>
                <a:gd name="connsiteY85" fmla="*/ 740679 h 1160647"/>
                <a:gd name="connsiteX86" fmla="*/ 567474 w 3024845"/>
                <a:gd name="connsiteY86" fmla="*/ 735005 h 1160647"/>
                <a:gd name="connsiteX87" fmla="*/ 605981 w 3024845"/>
                <a:gd name="connsiteY87" fmla="*/ 735005 h 1160647"/>
                <a:gd name="connsiteX88" fmla="*/ 605981 w 3024845"/>
                <a:gd name="connsiteY88" fmla="*/ 758784 h 1160647"/>
                <a:gd name="connsiteX89" fmla="*/ 608007 w 3024845"/>
                <a:gd name="connsiteY89" fmla="*/ 758784 h 1160647"/>
                <a:gd name="connsiteX90" fmla="*/ 622194 w 3024845"/>
                <a:gd name="connsiteY90" fmla="*/ 758784 h 1160647"/>
                <a:gd name="connsiteX91" fmla="*/ 622194 w 3024845"/>
                <a:gd name="connsiteY91" fmla="*/ 759865 h 1160647"/>
                <a:gd name="connsiteX92" fmla="*/ 622194 w 3024845"/>
                <a:gd name="connsiteY92" fmla="*/ 767431 h 1160647"/>
                <a:gd name="connsiteX93" fmla="*/ 623968 w 3024845"/>
                <a:gd name="connsiteY93" fmla="*/ 767431 h 1160647"/>
                <a:gd name="connsiteX94" fmla="*/ 636381 w 3024845"/>
                <a:gd name="connsiteY94" fmla="*/ 767431 h 1160647"/>
                <a:gd name="connsiteX95" fmla="*/ 636381 w 3024845"/>
                <a:gd name="connsiteY95" fmla="*/ 743652 h 1160647"/>
                <a:gd name="connsiteX96" fmla="*/ 637394 w 3024845"/>
                <a:gd name="connsiteY96" fmla="*/ 743652 h 1160647"/>
                <a:gd name="connsiteX97" fmla="*/ 644488 w 3024845"/>
                <a:gd name="connsiteY97" fmla="*/ 743652 h 1160647"/>
                <a:gd name="connsiteX98" fmla="*/ 644488 w 3024845"/>
                <a:gd name="connsiteY98" fmla="*/ 711225 h 1160647"/>
                <a:gd name="connsiteX99" fmla="*/ 645501 w 3024845"/>
                <a:gd name="connsiteY99" fmla="*/ 711225 h 1160647"/>
                <a:gd name="connsiteX100" fmla="*/ 652595 w 3024845"/>
                <a:gd name="connsiteY100" fmla="*/ 711225 h 1160647"/>
                <a:gd name="connsiteX101" fmla="*/ 652595 w 3024845"/>
                <a:gd name="connsiteY101" fmla="*/ 709334 h 1160647"/>
                <a:gd name="connsiteX102" fmla="*/ 652595 w 3024845"/>
                <a:gd name="connsiteY102" fmla="*/ 696093 h 1160647"/>
                <a:gd name="connsiteX103" fmla="*/ 651328 w 3024845"/>
                <a:gd name="connsiteY103" fmla="*/ 694471 h 1160647"/>
                <a:gd name="connsiteX104" fmla="*/ 656648 w 3024845"/>
                <a:gd name="connsiteY104" fmla="*/ 683122 h 1160647"/>
                <a:gd name="connsiteX105" fmla="*/ 664755 w 3024845"/>
                <a:gd name="connsiteY105" fmla="*/ 711225 h 1160647"/>
                <a:gd name="connsiteX106" fmla="*/ 665515 w 3024845"/>
                <a:gd name="connsiteY106" fmla="*/ 711225 h 1160647"/>
                <a:gd name="connsiteX107" fmla="*/ 670835 w 3024845"/>
                <a:gd name="connsiteY107" fmla="*/ 711225 h 1160647"/>
                <a:gd name="connsiteX108" fmla="*/ 670835 w 3024845"/>
                <a:gd name="connsiteY108" fmla="*/ 605298 h 1160647"/>
                <a:gd name="connsiteX109" fmla="*/ 672355 w 3024845"/>
                <a:gd name="connsiteY109" fmla="*/ 605298 h 1160647"/>
                <a:gd name="connsiteX110" fmla="*/ 682995 w 3024845"/>
                <a:gd name="connsiteY110" fmla="*/ 605298 h 1160647"/>
                <a:gd name="connsiteX111" fmla="*/ 682995 w 3024845"/>
                <a:gd name="connsiteY111" fmla="*/ 557739 h 1160647"/>
                <a:gd name="connsiteX112" fmla="*/ 709342 w 3024845"/>
                <a:gd name="connsiteY112" fmla="*/ 557739 h 1160647"/>
                <a:gd name="connsiteX113" fmla="*/ 709342 w 3024845"/>
                <a:gd name="connsiteY113" fmla="*/ 536121 h 1160647"/>
                <a:gd name="connsiteX114" fmla="*/ 743796 w 3024845"/>
                <a:gd name="connsiteY114" fmla="*/ 536121 h 1160647"/>
                <a:gd name="connsiteX115" fmla="*/ 743796 w 3024845"/>
                <a:gd name="connsiteY115" fmla="*/ 538553 h 1160647"/>
                <a:gd name="connsiteX116" fmla="*/ 743796 w 3024845"/>
                <a:gd name="connsiteY116" fmla="*/ 555577 h 1160647"/>
                <a:gd name="connsiteX117" fmla="*/ 746076 w 3024845"/>
                <a:gd name="connsiteY117" fmla="*/ 555577 h 1160647"/>
                <a:gd name="connsiteX118" fmla="*/ 762036 w 3024845"/>
                <a:gd name="connsiteY118" fmla="*/ 555577 h 1160647"/>
                <a:gd name="connsiteX119" fmla="*/ 762036 w 3024845"/>
                <a:gd name="connsiteY119" fmla="*/ 603136 h 1160647"/>
                <a:gd name="connsiteX120" fmla="*/ 763049 w 3024845"/>
                <a:gd name="connsiteY120" fmla="*/ 603136 h 1160647"/>
                <a:gd name="connsiteX121" fmla="*/ 770143 w 3024845"/>
                <a:gd name="connsiteY121" fmla="*/ 603136 h 1160647"/>
                <a:gd name="connsiteX122" fmla="*/ 784330 w 3024845"/>
                <a:gd name="connsiteY122" fmla="*/ 607460 h 1160647"/>
                <a:gd name="connsiteX123" fmla="*/ 784330 w 3024845"/>
                <a:gd name="connsiteY123" fmla="*/ 646372 h 1160647"/>
                <a:gd name="connsiteX124" fmla="*/ 785343 w 3024845"/>
                <a:gd name="connsiteY124" fmla="*/ 646372 h 1160647"/>
                <a:gd name="connsiteX125" fmla="*/ 792436 w 3024845"/>
                <a:gd name="connsiteY125" fmla="*/ 646372 h 1160647"/>
                <a:gd name="connsiteX126" fmla="*/ 792436 w 3024845"/>
                <a:gd name="connsiteY126" fmla="*/ 647993 h 1160647"/>
                <a:gd name="connsiteX127" fmla="*/ 792436 w 3024845"/>
                <a:gd name="connsiteY127" fmla="*/ 659342 h 1160647"/>
                <a:gd name="connsiteX128" fmla="*/ 794463 w 3024845"/>
                <a:gd name="connsiteY128" fmla="*/ 659342 h 1160647"/>
                <a:gd name="connsiteX129" fmla="*/ 808650 w 3024845"/>
                <a:gd name="connsiteY129" fmla="*/ 659342 h 1160647"/>
                <a:gd name="connsiteX130" fmla="*/ 814730 w 3024845"/>
                <a:gd name="connsiteY130" fmla="*/ 665828 h 1160647"/>
                <a:gd name="connsiteX131" fmla="*/ 814730 w 3024845"/>
                <a:gd name="connsiteY131" fmla="*/ 687446 h 1160647"/>
                <a:gd name="connsiteX132" fmla="*/ 817010 w 3024845"/>
                <a:gd name="connsiteY132" fmla="*/ 687446 h 1160647"/>
                <a:gd name="connsiteX133" fmla="*/ 832970 w 3024845"/>
                <a:gd name="connsiteY133" fmla="*/ 687446 h 1160647"/>
                <a:gd name="connsiteX134" fmla="*/ 832970 w 3024845"/>
                <a:gd name="connsiteY134" fmla="*/ 688526 h 1160647"/>
                <a:gd name="connsiteX135" fmla="*/ 832970 w 3024845"/>
                <a:gd name="connsiteY135" fmla="*/ 696093 h 1160647"/>
                <a:gd name="connsiteX136" fmla="*/ 834237 w 3024845"/>
                <a:gd name="connsiteY136" fmla="*/ 696093 h 1160647"/>
                <a:gd name="connsiteX137" fmla="*/ 843104 w 3024845"/>
                <a:gd name="connsiteY137" fmla="*/ 696093 h 1160647"/>
                <a:gd name="connsiteX138" fmla="*/ 843104 w 3024845"/>
                <a:gd name="connsiteY138" fmla="*/ 698254 h 1160647"/>
                <a:gd name="connsiteX139" fmla="*/ 843104 w 3024845"/>
                <a:gd name="connsiteY139" fmla="*/ 713387 h 1160647"/>
                <a:gd name="connsiteX140" fmla="*/ 847157 w 3024845"/>
                <a:gd name="connsiteY140" fmla="*/ 711495 h 1160647"/>
                <a:gd name="connsiteX141" fmla="*/ 847157 w 3024845"/>
                <a:gd name="connsiteY141" fmla="*/ 698254 h 1160647"/>
                <a:gd name="connsiteX142" fmla="*/ 848170 w 3024845"/>
                <a:gd name="connsiteY142" fmla="*/ 698254 h 1160647"/>
                <a:gd name="connsiteX143" fmla="*/ 855264 w 3024845"/>
                <a:gd name="connsiteY143" fmla="*/ 698254 h 1160647"/>
                <a:gd name="connsiteX144" fmla="*/ 855264 w 3024845"/>
                <a:gd name="connsiteY144" fmla="*/ 699876 h 1160647"/>
                <a:gd name="connsiteX145" fmla="*/ 855264 w 3024845"/>
                <a:gd name="connsiteY145" fmla="*/ 711225 h 1160647"/>
                <a:gd name="connsiteX146" fmla="*/ 856024 w 3024845"/>
                <a:gd name="connsiteY146" fmla="*/ 711225 h 1160647"/>
                <a:gd name="connsiteX147" fmla="*/ 861344 w 3024845"/>
                <a:gd name="connsiteY147" fmla="*/ 711225 h 1160647"/>
                <a:gd name="connsiteX148" fmla="*/ 909984 w 3024845"/>
                <a:gd name="connsiteY148" fmla="*/ 706902 h 1160647"/>
                <a:gd name="connsiteX149" fmla="*/ 909984 w 3024845"/>
                <a:gd name="connsiteY149" fmla="*/ 708253 h 1160647"/>
                <a:gd name="connsiteX150" fmla="*/ 909984 w 3024845"/>
                <a:gd name="connsiteY150" fmla="*/ 717710 h 1160647"/>
                <a:gd name="connsiteX151" fmla="*/ 910744 w 3024845"/>
                <a:gd name="connsiteY151" fmla="*/ 717710 h 1160647"/>
                <a:gd name="connsiteX152" fmla="*/ 916065 w 3024845"/>
                <a:gd name="connsiteY152" fmla="*/ 717710 h 1160647"/>
                <a:gd name="connsiteX153" fmla="*/ 916065 w 3024845"/>
                <a:gd name="connsiteY153" fmla="*/ 719872 h 1160647"/>
                <a:gd name="connsiteX154" fmla="*/ 916065 w 3024845"/>
                <a:gd name="connsiteY154" fmla="*/ 735005 h 1160647"/>
                <a:gd name="connsiteX155" fmla="*/ 918091 w 3024845"/>
                <a:gd name="connsiteY155" fmla="*/ 733654 h 1160647"/>
                <a:gd name="connsiteX156" fmla="*/ 932278 w 3024845"/>
                <a:gd name="connsiteY156" fmla="*/ 724196 h 1160647"/>
                <a:gd name="connsiteX157" fmla="*/ 938358 w 3024845"/>
                <a:gd name="connsiteY157" fmla="*/ 683122 h 1160647"/>
                <a:gd name="connsiteX158" fmla="*/ 939118 w 3024845"/>
                <a:gd name="connsiteY158" fmla="*/ 682852 h 1160647"/>
                <a:gd name="connsiteX159" fmla="*/ 944438 w 3024845"/>
                <a:gd name="connsiteY159" fmla="*/ 680960 h 1160647"/>
                <a:gd name="connsiteX160" fmla="*/ 946465 w 3024845"/>
                <a:gd name="connsiteY160" fmla="*/ 611783 h 1160647"/>
                <a:gd name="connsiteX161" fmla="*/ 948492 w 3024845"/>
                <a:gd name="connsiteY161" fmla="*/ 680960 h 1160647"/>
                <a:gd name="connsiteX162" fmla="*/ 949252 w 3024845"/>
                <a:gd name="connsiteY162" fmla="*/ 681230 h 1160647"/>
                <a:gd name="connsiteX163" fmla="*/ 954572 w 3024845"/>
                <a:gd name="connsiteY163" fmla="*/ 683122 h 1160647"/>
                <a:gd name="connsiteX164" fmla="*/ 954572 w 3024845"/>
                <a:gd name="connsiteY164" fmla="*/ 596651 h 1160647"/>
                <a:gd name="connsiteX165" fmla="*/ 958625 w 3024845"/>
                <a:gd name="connsiteY165" fmla="*/ 564224 h 1160647"/>
                <a:gd name="connsiteX166" fmla="*/ 997132 w 3024845"/>
                <a:gd name="connsiteY166" fmla="*/ 564224 h 1160647"/>
                <a:gd name="connsiteX167" fmla="*/ 997132 w 3024845"/>
                <a:gd name="connsiteY167" fmla="*/ 596651 h 1160647"/>
                <a:gd name="connsiteX168" fmla="*/ 997892 w 3024845"/>
                <a:gd name="connsiteY168" fmla="*/ 596651 h 1160647"/>
                <a:gd name="connsiteX169" fmla="*/ 1003212 w 3024845"/>
                <a:gd name="connsiteY169" fmla="*/ 596651 h 1160647"/>
                <a:gd name="connsiteX170" fmla="*/ 1003212 w 3024845"/>
                <a:gd name="connsiteY170" fmla="*/ 514503 h 1160647"/>
                <a:gd name="connsiteX171" fmla="*/ 1004986 w 3024845"/>
                <a:gd name="connsiteY171" fmla="*/ 514503 h 1160647"/>
                <a:gd name="connsiteX172" fmla="*/ 1017399 w 3024845"/>
                <a:gd name="connsiteY172" fmla="*/ 514503 h 1160647"/>
                <a:gd name="connsiteX173" fmla="*/ 1017399 w 3024845"/>
                <a:gd name="connsiteY173" fmla="*/ 512612 h 1160647"/>
                <a:gd name="connsiteX174" fmla="*/ 1017399 w 3024845"/>
                <a:gd name="connsiteY174" fmla="*/ 499371 h 1160647"/>
                <a:gd name="connsiteX175" fmla="*/ 1039693 w 3024845"/>
                <a:gd name="connsiteY175" fmla="*/ 499371 h 1160647"/>
                <a:gd name="connsiteX176" fmla="*/ 1039693 w 3024845"/>
                <a:gd name="connsiteY176" fmla="*/ 498290 h 1160647"/>
                <a:gd name="connsiteX177" fmla="*/ 1039693 w 3024845"/>
                <a:gd name="connsiteY177" fmla="*/ 490724 h 1160647"/>
                <a:gd name="connsiteX178" fmla="*/ 1041466 w 3024845"/>
                <a:gd name="connsiteY178" fmla="*/ 490724 h 1160647"/>
                <a:gd name="connsiteX179" fmla="*/ 1053880 w 3024845"/>
                <a:gd name="connsiteY179" fmla="*/ 490724 h 1160647"/>
                <a:gd name="connsiteX180" fmla="*/ 1053880 w 3024845"/>
                <a:gd name="connsiteY180" fmla="*/ 491805 h 1160647"/>
                <a:gd name="connsiteX181" fmla="*/ 1053880 w 3024845"/>
                <a:gd name="connsiteY181" fmla="*/ 499371 h 1160647"/>
                <a:gd name="connsiteX182" fmla="*/ 1054640 w 3024845"/>
                <a:gd name="connsiteY182" fmla="*/ 499371 h 1160647"/>
                <a:gd name="connsiteX183" fmla="*/ 1059960 w 3024845"/>
                <a:gd name="connsiteY183" fmla="*/ 499371 h 1160647"/>
                <a:gd name="connsiteX184" fmla="*/ 1070093 w 3024845"/>
                <a:gd name="connsiteY184" fmla="*/ 495047 h 1160647"/>
                <a:gd name="connsiteX185" fmla="*/ 1074146 w 3024845"/>
                <a:gd name="connsiteY185" fmla="*/ 498290 h 1160647"/>
                <a:gd name="connsiteX186" fmla="*/ 1074146 w 3024845"/>
                <a:gd name="connsiteY186" fmla="*/ 490724 h 1160647"/>
                <a:gd name="connsiteX187" fmla="*/ 1076426 w 3024845"/>
                <a:gd name="connsiteY187" fmla="*/ 490724 h 1160647"/>
                <a:gd name="connsiteX188" fmla="*/ 1092387 w 3024845"/>
                <a:gd name="connsiteY188" fmla="*/ 490724 h 1160647"/>
                <a:gd name="connsiteX189" fmla="*/ 1092387 w 3024845"/>
                <a:gd name="connsiteY189" fmla="*/ 491805 h 1160647"/>
                <a:gd name="connsiteX190" fmla="*/ 1092387 w 3024845"/>
                <a:gd name="connsiteY190" fmla="*/ 499371 h 1160647"/>
                <a:gd name="connsiteX191" fmla="*/ 1122787 w 3024845"/>
                <a:gd name="connsiteY191" fmla="*/ 499371 h 1160647"/>
                <a:gd name="connsiteX192" fmla="*/ 1122787 w 3024845"/>
                <a:gd name="connsiteY192" fmla="*/ 500992 h 1160647"/>
                <a:gd name="connsiteX193" fmla="*/ 1122787 w 3024845"/>
                <a:gd name="connsiteY193" fmla="*/ 512342 h 1160647"/>
                <a:gd name="connsiteX194" fmla="*/ 1149134 w 3024845"/>
                <a:gd name="connsiteY194" fmla="*/ 512342 h 1160647"/>
                <a:gd name="connsiteX195" fmla="*/ 1149134 w 3024845"/>
                <a:gd name="connsiteY195" fmla="*/ 542606 h 1160647"/>
                <a:gd name="connsiteX196" fmla="*/ 1149894 w 3024845"/>
                <a:gd name="connsiteY196" fmla="*/ 542606 h 1160647"/>
                <a:gd name="connsiteX197" fmla="*/ 1155214 w 3024845"/>
                <a:gd name="connsiteY197" fmla="*/ 542606 h 1160647"/>
                <a:gd name="connsiteX198" fmla="*/ 1155214 w 3024845"/>
                <a:gd name="connsiteY198" fmla="*/ 543687 h 1160647"/>
                <a:gd name="connsiteX199" fmla="*/ 1155214 w 3024845"/>
                <a:gd name="connsiteY199" fmla="*/ 551254 h 1160647"/>
                <a:gd name="connsiteX200" fmla="*/ 1159268 w 3024845"/>
                <a:gd name="connsiteY200" fmla="*/ 581518 h 1160647"/>
                <a:gd name="connsiteX201" fmla="*/ 1160028 w 3024845"/>
                <a:gd name="connsiteY201" fmla="*/ 581518 h 1160647"/>
                <a:gd name="connsiteX202" fmla="*/ 1165348 w 3024845"/>
                <a:gd name="connsiteY202" fmla="*/ 581518 h 1160647"/>
                <a:gd name="connsiteX203" fmla="*/ 1165348 w 3024845"/>
                <a:gd name="connsiteY203" fmla="*/ 582329 h 1160647"/>
                <a:gd name="connsiteX204" fmla="*/ 1165348 w 3024845"/>
                <a:gd name="connsiteY204" fmla="*/ 588004 h 1160647"/>
                <a:gd name="connsiteX205" fmla="*/ 1166361 w 3024845"/>
                <a:gd name="connsiteY205" fmla="*/ 588004 h 1160647"/>
                <a:gd name="connsiteX206" fmla="*/ 1173454 w 3024845"/>
                <a:gd name="connsiteY206" fmla="*/ 588004 h 1160647"/>
                <a:gd name="connsiteX207" fmla="*/ 1173454 w 3024845"/>
                <a:gd name="connsiteY207" fmla="*/ 618269 h 1160647"/>
                <a:gd name="connsiteX208" fmla="*/ 1175481 w 3024845"/>
                <a:gd name="connsiteY208" fmla="*/ 618269 h 1160647"/>
                <a:gd name="connsiteX209" fmla="*/ 1189668 w 3024845"/>
                <a:gd name="connsiteY209" fmla="*/ 618269 h 1160647"/>
                <a:gd name="connsiteX210" fmla="*/ 1189668 w 3024845"/>
                <a:gd name="connsiteY210" fmla="*/ 642048 h 1160647"/>
                <a:gd name="connsiteX211" fmla="*/ 1191695 w 3024845"/>
                <a:gd name="connsiteY211" fmla="*/ 643669 h 1160647"/>
                <a:gd name="connsiteX212" fmla="*/ 1191695 w 3024845"/>
                <a:gd name="connsiteY212" fmla="*/ 655019 h 1160647"/>
                <a:gd name="connsiteX213" fmla="*/ 1192455 w 3024845"/>
                <a:gd name="connsiteY213" fmla="*/ 655019 h 1160647"/>
                <a:gd name="connsiteX214" fmla="*/ 1197775 w 3024845"/>
                <a:gd name="connsiteY214" fmla="*/ 655019 h 1160647"/>
                <a:gd name="connsiteX215" fmla="*/ 1197775 w 3024845"/>
                <a:gd name="connsiteY215" fmla="*/ 678798 h 1160647"/>
                <a:gd name="connsiteX216" fmla="*/ 1199041 w 3024845"/>
                <a:gd name="connsiteY216" fmla="*/ 678798 h 1160647"/>
                <a:gd name="connsiteX217" fmla="*/ 1207908 w 3024845"/>
                <a:gd name="connsiteY217" fmla="*/ 678798 h 1160647"/>
                <a:gd name="connsiteX218" fmla="*/ 1209935 w 3024845"/>
                <a:gd name="connsiteY218" fmla="*/ 682852 h 1160647"/>
                <a:gd name="connsiteX219" fmla="*/ 1209935 w 3024845"/>
                <a:gd name="connsiteY219" fmla="*/ 696093 h 1160647"/>
                <a:gd name="connsiteX220" fmla="*/ 1211455 w 3024845"/>
                <a:gd name="connsiteY220" fmla="*/ 694201 h 1160647"/>
                <a:gd name="connsiteX221" fmla="*/ 1222095 w 3024845"/>
                <a:gd name="connsiteY221" fmla="*/ 680960 h 1160647"/>
                <a:gd name="connsiteX222" fmla="*/ 1250469 w 3024845"/>
                <a:gd name="connsiteY222" fmla="*/ 680960 h 1160647"/>
                <a:gd name="connsiteX223" fmla="*/ 1250469 w 3024845"/>
                <a:gd name="connsiteY223" fmla="*/ 767431 h 1160647"/>
                <a:gd name="connsiteX224" fmla="*/ 1251229 w 3024845"/>
                <a:gd name="connsiteY224" fmla="*/ 767431 h 1160647"/>
                <a:gd name="connsiteX225" fmla="*/ 1256549 w 3024845"/>
                <a:gd name="connsiteY225" fmla="*/ 767431 h 1160647"/>
                <a:gd name="connsiteX226" fmla="*/ 1257309 w 3024845"/>
                <a:gd name="connsiteY226" fmla="*/ 766080 h 1160647"/>
                <a:gd name="connsiteX227" fmla="*/ 1262629 w 3024845"/>
                <a:gd name="connsiteY227" fmla="*/ 756622 h 1160647"/>
                <a:gd name="connsiteX228" fmla="*/ 1262629 w 3024845"/>
                <a:gd name="connsiteY228" fmla="*/ 758514 h 1160647"/>
                <a:gd name="connsiteX229" fmla="*/ 1262629 w 3024845"/>
                <a:gd name="connsiteY229" fmla="*/ 771755 h 1160647"/>
                <a:gd name="connsiteX230" fmla="*/ 1266682 w 3024845"/>
                <a:gd name="connsiteY230" fmla="*/ 726358 h 1160647"/>
                <a:gd name="connsiteX231" fmla="*/ 1267442 w 3024845"/>
                <a:gd name="connsiteY231" fmla="*/ 726358 h 1160647"/>
                <a:gd name="connsiteX232" fmla="*/ 1272762 w 3024845"/>
                <a:gd name="connsiteY232" fmla="*/ 726358 h 1160647"/>
                <a:gd name="connsiteX233" fmla="*/ 1272762 w 3024845"/>
                <a:gd name="connsiteY233" fmla="*/ 661504 h 1160647"/>
                <a:gd name="connsiteX234" fmla="*/ 1273776 w 3024845"/>
                <a:gd name="connsiteY234" fmla="*/ 661504 h 1160647"/>
                <a:gd name="connsiteX235" fmla="*/ 1280869 w 3024845"/>
                <a:gd name="connsiteY235" fmla="*/ 661504 h 1160647"/>
                <a:gd name="connsiteX236" fmla="*/ 1293029 w 3024845"/>
                <a:gd name="connsiteY236" fmla="*/ 618269 h 1160647"/>
                <a:gd name="connsiteX237" fmla="*/ 1294296 w 3024845"/>
                <a:gd name="connsiteY237" fmla="*/ 618269 h 1160647"/>
                <a:gd name="connsiteX238" fmla="*/ 1303163 w 3024845"/>
                <a:gd name="connsiteY238" fmla="*/ 618269 h 1160647"/>
                <a:gd name="connsiteX239" fmla="*/ 1313296 w 3024845"/>
                <a:gd name="connsiteY239" fmla="*/ 661504 h 1160647"/>
                <a:gd name="connsiteX240" fmla="*/ 1314309 w 3024845"/>
                <a:gd name="connsiteY240" fmla="*/ 661504 h 1160647"/>
                <a:gd name="connsiteX241" fmla="*/ 1321403 w 3024845"/>
                <a:gd name="connsiteY241" fmla="*/ 661504 h 1160647"/>
                <a:gd name="connsiteX242" fmla="*/ 1321403 w 3024845"/>
                <a:gd name="connsiteY242" fmla="*/ 700416 h 1160647"/>
                <a:gd name="connsiteX243" fmla="*/ 1323176 w 3024845"/>
                <a:gd name="connsiteY243" fmla="*/ 700416 h 1160647"/>
                <a:gd name="connsiteX244" fmla="*/ 1335590 w 3024845"/>
                <a:gd name="connsiteY244" fmla="*/ 700416 h 1160647"/>
                <a:gd name="connsiteX245" fmla="*/ 1335590 w 3024845"/>
                <a:gd name="connsiteY245" fmla="*/ 702578 h 1160647"/>
                <a:gd name="connsiteX246" fmla="*/ 1335590 w 3024845"/>
                <a:gd name="connsiteY246" fmla="*/ 717710 h 1160647"/>
                <a:gd name="connsiteX247" fmla="*/ 1339643 w 3024845"/>
                <a:gd name="connsiteY247" fmla="*/ 715549 h 1160647"/>
                <a:gd name="connsiteX248" fmla="*/ 1339643 w 3024845"/>
                <a:gd name="connsiteY248" fmla="*/ 700416 h 1160647"/>
                <a:gd name="connsiteX249" fmla="*/ 1341163 w 3024845"/>
                <a:gd name="connsiteY249" fmla="*/ 700416 h 1160647"/>
                <a:gd name="connsiteX250" fmla="*/ 1351803 w 3024845"/>
                <a:gd name="connsiteY250" fmla="*/ 700416 h 1160647"/>
                <a:gd name="connsiteX251" fmla="*/ 1351803 w 3024845"/>
                <a:gd name="connsiteY251" fmla="*/ 702037 h 1160647"/>
                <a:gd name="connsiteX252" fmla="*/ 1351803 w 3024845"/>
                <a:gd name="connsiteY252" fmla="*/ 713387 h 1160647"/>
                <a:gd name="connsiteX253" fmla="*/ 1382204 w 3024845"/>
                <a:gd name="connsiteY253" fmla="*/ 713387 h 1160647"/>
                <a:gd name="connsiteX254" fmla="*/ 1382204 w 3024845"/>
                <a:gd name="connsiteY254" fmla="*/ 676637 h 1160647"/>
                <a:gd name="connsiteX255" fmla="*/ 1383470 w 3024845"/>
                <a:gd name="connsiteY255" fmla="*/ 676637 h 1160647"/>
                <a:gd name="connsiteX256" fmla="*/ 1392337 w 3024845"/>
                <a:gd name="connsiteY256" fmla="*/ 676637 h 1160647"/>
                <a:gd name="connsiteX257" fmla="*/ 1392337 w 3024845"/>
                <a:gd name="connsiteY257" fmla="*/ 698254 h 1160647"/>
                <a:gd name="connsiteX258" fmla="*/ 1394364 w 3024845"/>
                <a:gd name="connsiteY258" fmla="*/ 665828 h 1160647"/>
                <a:gd name="connsiteX259" fmla="*/ 1416657 w 3024845"/>
                <a:gd name="connsiteY259" fmla="*/ 665828 h 1160647"/>
                <a:gd name="connsiteX260" fmla="*/ 1416657 w 3024845"/>
                <a:gd name="connsiteY260" fmla="*/ 664206 h 1160647"/>
                <a:gd name="connsiteX261" fmla="*/ 1416657 w 3024845"/>
                <a:gd name="connsiteY261" fmla="*/ 652857 h 1160647"/>
                <a:gd name="connsiteX262" fmla="*/ 1417417 w 3024845"/>
                <a:gd name="connsiteY262" fmla="*/ 652857 h 1160647"/>
                <a:gd name="connsiteX263" fmla="*/ 1422737 w 3024845"/>
                <a:gd name="connsiteY263" fmla="*/ 652857 h 1160647"/>
                <a:gd name="connsiteX264" fmla="*/ 1422737 w 3024845"/>
                <a:gd name="connsiteY264" fmla="*/ 650966 h 1160647"/>
                <a:gd name="connsiteX265" fmla="*/ 1422737 w 3024845"/>
                <a:gd name="connsiteY265" fmla="*/ 637725 h 1160647"/>
                <a:gd name="connsiteX266" fmla="*/ 1426791 w 3024845"/>
                <a:gd name="connsiteY266" fmla="*/ 644210 h 1160647"/>
                <a:gd name="connsiteX267" fmla="*/ 1429071 w 3024845"/>
                <a:gd name="connsiteY267" fmla="*/ 644210 h 1160647"/>
                <a:gd name="connsiteX268" fmla="*/ 1445031 w 3024845"/>
                <a:gd name="connsiteY268" fmla="*/ 644210 h 1160647"/>
                <a:gd name="connsiteX269" fmla="*/ 1445031 w 3024845"/>
                <a:gd name="connsiteY269" fmla="*/ 643399 h 1160647"/>
                <a:gd name="connsiteX270" fmla="*/ 1445031 w 3024845"/>
                <a:gd name="connsiteY270" fmla="*/ 637725 h 1160647"/>
                <a:gd name="connsiteX271" fmla="*/ 1445791 w 3024845"/>
                <a:gd name="connsiteY271" fmla="*/ 637725 h 1160647"/>
                <a:gd name="connsiteX272" fmla="*/ 1451111 w 3024845"/>
                <a:gd name="connsiteY272" fmla="*/ 637725 h 1160647"/>
                <a:gd name="connsiteX273" fmla="*/ 1451111 w 3024845"/>
                <a:gd name="connsiteY273" fmla="*/ 639076 h 1160647"/>
                <a:gd name="connsiteX274" fmla="*/ 1451111 w 3024845"/>
                <a:gd name="connsiteY274" fmla="*/ 648534 h 1160647"/>
                <a:gd name="connsiteX275" fmla="*/ 1489618 w 3024845"/>
                <a:gd name="connsiteY275" fmla="*/ 648534 h 1160647"/>
                <a:gd name="connsiteX276" fmla="*/ 1489618 w 3024845"/>
                <a:gd name="connsiteY276" fmla="*/ 786887 h 1160647"/>
                <a:gd name="connsiteX277" fmla="*/ 1491138 w 3024845"/>
                <a:gd name="connsiteY277" fmla="*/ 786887 h 1160647"/>
                <a:gd name="connsiteX278" fmla="*/ 1501778 w 3024845"/>
                <a:gd name="connsiteY278" fmla="*/ 786887 h 1160647"/>
                <a:gd name="connsiteX279" fmla="*/ 1501778 w 3024845"/>
                <a:gd name="connsiteY279" fmla="*/ 773917 h 1160647"/>
                <a:gd name="connsiteX280" fmla="*/ 1505832 w 3024845"/>
                <a:gd name="connsiteY280" fmla="*/ 773917 h 1160647"/>
                <a:gd name="connsiteX281" fmla="*/ 1505832 w 3024845"/>
                <a:gd name="connsiteY281" fmla="*/ 786887 h 1160647"/>
                <a:gd name="connsiteX282" fmla="*/ 1536232 w 3024845"/>
                <a:gd name="connsiteY282" fmla="*/ 786887 h 1160647"/>
                <a:gd name="connsiteX283" fmla="*/ 1536232 w 3024845"/>
                <a:gd name="connsiteY283" fmla="*/ 756622 h 1160647"/>
                <a:gd name="connsiteX284" fmla="*/ 1548392 w 3024845"/>
                <a:gd name="connsiteY284" fmla="*/ 756622 h 1160647"/>
                <a:gd name="connsiteX285" fmla="*/ 1560552 w 3024845"/>
                <a:gd name="connsiteY285" fmla="*/ 754461 h 1160647"/>
                <a:gd name="connsiteX286" fmla="*/ 1564606 w 3024845"/>
                <a:gd name="connsiteY286" fmla="*/ 756622 h 1160647"/>
                <a:gd name="connsiteX287" fmla="*/ 1574739 w 3024845"/>
                <a:gd name="connsiteY287" fmla="*/ 756622 h 1160647"/>
                <a:gd name="connsiteX288" fmla="*/ 1574739 w 3024845"/>
                <a:gd name="connsiteY288" fmla="*/ 786887 h 1160647"/>
                <a:gd name="connsiteX289" fmla="*/ 1582846 w 3024845"/>
                <a:gd name="connsiteY289" fmla="*/ 786887 h 1160647"/>
                <a:gd name="connsiteX290" fmla="*/ 1582846 w 3024845"/>
                <a:gd name="connsiteY290" fmla="*/ 804182 h 1160647"/>
                <a:gd name="connsiteX291" fmla="*/ 1592182 w 3024845"/>
                <a:gd name="connsiteY291" fmla="*/ 805087 h 1160647"/>
                <a:gd name="connsiteX292" fmla="*/ 1605140 w 3024845"/>
                <a:gd name="connsiteY292" fmla="*/ 805087 h 1160647"/>
                <a:gd name="connsiteX293" fmla="*/ 1605140 w 3024845"/>
                <a:gd name="connsiteY293" fmla="*/ 789049 h 1160647"/>
                <a:gd name="connsiteX294" fmla="*/ 1673096 w 3024845"/>
                <a:gd name="connsiteY294" fmla="*/ 789049 h 1160647"/>
                <a:gd name="connsiteX295" fmla="*/ 1673096 w 3024845"/>
                <a:gd name="connsiteY295" fmla="*/ 703796 h 1160647"/>
                <a:gd name="connsiteX296" fmla="*/ 1745104 w 3024845"/>
                <a:gd name="connsiteY296" fmla="*/ 703796 h 1160647"/>
                <a:gd name="connsiteX297" fmla="*/ 1745104 w 3024845"/>
                <a:gd name="connsiteY297" fmla="*/ 782564 h 1160647"/>
                <a:gd name="connsiteX298" fmla="*/ 1747008 w 3024845"/>
                <a:gd name="connsiteY298" fmla="*/ 782564 h 1160647"/>
                <a:gd name="connsiteX299" fmla="*/ 1748250 w 3024845"/>
                <a:gd name="connsiteY299" fmla="*/ 805087 h 1160647"/>
                <a:gd name="connsiteX300" fmla="*/ 1757926 w 3024845"/>
                <a:gd name="connsiteY300" fmla="*/ 805087 h 1160647"/>
                <a:gd name="connsiteX301" fmla="*/ 1759168 w 3024845"/>
                <a:gd name="connsiteY301" fmla="*/ 782564 h 1160647"/>
                <a:gd name="connsiteX302" fmla="*/ 1765248 w 3024845"/>
                <a:gd name="connsiteY302" fmla="*/ 782564 h 1160647"/>
                <a:gd name="connsiteX303" fmla="*/ 1766490 w 3024845"/>
                <a:gd name="connsiteY303" fmla="*/ 805087 h 1160647"/>
                <a:gd name="connsiteX304" fmla="*/ 1817112 w 3024845"/>
                <a:gd name="connsiteY304" fmla="*/ 805087 h 1160647"/>
                <a:gd name="connsiteX305" fmla="*/ 1817112 w 3024845"/>
                <a:gd name="connsiteY305" fmla="*/ 642059 h 1160647"/>
                <a:gd name="connsiteX306" fmla="*/ 2014439 w 3024845"/>
                <a:gd name="connsiteY306" fmla="*/ 642059 h 1160647"/>
                <a:gd name="connsiteX307" fmla="*/ 2014439 w 3024845"/>
                <a:gd name="connsiteY307" fmla="*/ 805087 h 1160647"/>
                <a:gd name="connsiteX308" fmla="*/ 2033136 w 3024845"/>
                <a:gd name="connsiteY308" fmla="*/ 805087 h 1160647"/>
                <a:gd name="connsiteX309" fmla="*/ 2033136 w 3024845"/>
                <a:gd name="connsiteY309" fmla="*/ 722394 h 1160647"/>
                <a:gd name="connsiteX310" fmla="*/ 2128256 w 3024845"/>
                <a:gd name="connsiteY310" fmla="*/ 722394 h 1160647"/>
                <a:gd name="connsiteX311" fmla="*/ 2140186 w 3024845"/>
                <a:gd name="connsiteY311" fmla="*/ 404253 h 1160647"/>
                <a:gd name="connsiteX312" fmla="*/ 2128026 w 3024845"/>
                <a:gd name="connsiteY312" fmla="*/ 382635 h 1160647"/>
                <a:gd name="connsiteX313" fmla="*/ 2121946 w 3024845"/>
                <a:gd name="connsiteY313" fmla="*/ 378311 h 1160647"/>
                <a:gd name="connsiteX314" fmla="*/ 2130053 w 3024845"/>
                <a:gd name="connsiteY314" fmla="*/ 354532 h 1160647"/>
                <a:gd name="connsiteX315" fmla="*/ 2130053 w 3024845"/>
                <a:gd name="connsiteY315" fmla="*/ 337238 h 1160647"/>
                <a:gd name="connsiteX316" fmla="*/ 2144240 w 3024845"/>
                <a:gd name="connsiteY316" fmla="*/ 337238 h 1160647"/>
                <a:gd name="connsiteX317" fmla="*/ 2144240 w 3024845"/>
                <a:gd name="connsiteY317" fmla="*/ 315620 h 1160647"/>
                <a:gd name="connsiteX318" fmla="*/ 2146266 w 3024845"/>
                <a:gd name="connsiteY318" fmla="*/ 311296 h 1160647"/>
                <a:gd name="connsiteX319" fmla="*/ 2146266 w 3024845"/>
                <a:gd name="connsiteY319" fmla="*/ 233472 h 1160647"/>
                <a:gd name="connsiteX320" fmla="*/ 2144240 w 3024845"/>
                <a:gd name="connsiteY320" fmla="*/ 226987 h 1160647"/>
                <a:gd name="connsiteX321" fmla="*/ 2150320 w 3024845"/>
                <a:gd name="connsiteY321" fmla="*/ 220501 h 1160647"/>
                <a:gd name="connsiteX322" fmla="*/ 2150320 w 3024845"/>
                <a:gd name="connsiteY322" fmla="*/ 162133 h 1160647"/>
                <a:gd name="connsiteX323" fmla="*/ 2152346 w 3024845"/>
                <a:gd name="connsiteY323" fmla="*/ 157810 h 1160647"/>
                <a:gd name="connsiteX324" fmla="*/ 2152346 w 3024845"/>
                <a:gd name="connsiteY324" fmla="*/ 101604 h 1160647"/>
                <a:gd name="connsiteX325" fmla="*/ 2154373 w 3024845"/>
                <a:gd name="connsiteY325" fmla="*/ 82148 h 1160647"/>
                <a:gd name="connsiteX326" fmla="*/ 2158427 w 3024845"/>
                <a:gd name="connsiteY326" fmla="*/ 99442 h 1160647"/>
                <a:gd name="connsiteX327" fmla="*/ 2160453 w 3024845"/>
                <a:gd name="connsiteY327" fmla="*/ 157810 h 1160647"/>
                <a:gd name="connsiteX328" fmla="*/ 2162480 w 3024845"/>
                <a:gd name="connsiteY328" fmla="*/ 220501 h 1160647"/>
                <a:gd name="connsiteX329" fmla="*/ 2168560 w 3024845"/>
                <a:gd name="connsiteY329" fmla="*/ 226987 h 1160647"/>
                <a:gd name="connsiteX330" fmla="*/ 2166533 w 3024845"/>
                <a:gd name="connsiteY330" fmla="*/ 233472 h 1160647"/>
                <a:gd name="connsiteX331" fmla="*/ 2166533 w 3024845"/>
                <a:gd name="connsiteY331" fmla="*/ 311296 h 1160647"/>
                <a:gd name="connsiteX332" fmla="*/ 2168560 w 3024845"/>
                <a:gd name="connsiteY332" fmla="*/ 315620 h 1160647"/>
                <a:gd name="connsiteX333" fmla="*/ 2168560 w 3024845"/>
                <a:gd name="connsiteY333" fmla="*/ 337238 h 1160647"/>
                <a:gd name="connsiteX334" fmla="*/ 2182747 w 3024845"/>
                <a:gd name="connsiteY334" fmla="*/ 337238 h 1160647"/>
                <a:gd name="connsiteX335" fmla="*/ 2182747 w 3024845"/>
                <a:gd name="connsiteY335" fmla="*/ 354532 h 1160647"/>
                <a:gd name="connsiteX336" fmla="*/ 2190854 w 3024845"/>
                <a:gd name="connsiteY336" fmla="*/ 378311 h 1160647"/>
                <a:gd name="connsiteX337" fmla="*/ 2184774 w 3024845"/>
                <a:gd name="connsiteY337" fmla="*/ 382635 h 1160647"/>
                <a:gd name="connsiteX338" fmla="*/ 2172613 w 3024845"/>
                <a:gd name="connsiteY338" fmla="*/ 404253 h 1160647"/>
                <a:gd name="connsiteX339" fmla="*/ 2180720 w 3024845"/>
                <a:gd name="connsiteY339" fmla="*/ 657181 h 1160647"/>
                <a:gd name="connsiteX340" fmla="*/ 2245574 w 3024845"/>
                <a:gd name="connsiteY340" fmla="*/ 657181 h 1160647"/>
                <a:gd name="connsiteX341" fmla="*/ 2245574 w 3024845"/>
                <a:gd name="connsiteY341" fmla="*/ 732843 h 1160647"/>
                <a:gd name="connsiteX342" fmla="*/ 2253681 w 3024845"/>
                <a:gd name="connsiteY342" fmla="*/ 732843 h 1160647"/>
                <a:gd name="connsiteX343" fmla="*/ 2255708 w 3024845"/>
                <a:gd name="connsiteY343" fmla="*/ 726358 h 1160647"/>
                <a:gd name="connsiteX344" fmla="*/ 2261788 w 3024845"/>
                <a:gd name="connsiteY344" fmla="*/ 726358 h 1160647"/>
                <a:gd name="connsiteX345" fmla="*/ 2263815 w 3024845"/>
                <a:gd name="connsiteY345" fmla="*/ 735005 h 1160647"/>
                <a:gd name="connsiteX346" fmla="*/ 2275975 w 3024845"/>
                <a:gd name="connsiteY346" fmla="*/ 735005 h 1160647"/>
                <a:gd name="connsiteX347" fmla="*/ 2275975 w 3024845"/>
                <a:gd name="connsiteY347" fmla="*/ 728519 h 1160647"/>
                <a:gd name="connsiteX348" fmla="*/ 2298268 w 3024845"/>
                <a:gd name="connsiteY348" fmla="*/ 728519 h 1160647"/>
                <a:gd name="connsiteX349" fmla="*/ 2298268 w 3024845"/>
                <a:gd name="connsiteY349" fmla="*/ 735005 h 1160647"/>
                <a:gd name="connsiteX350" fmla="*/ 2318535 w 3024845"/>
                <a:gd name="connsiteY350" fmla="*/ 735005 h 1160647"/>
                <a:gd name="connsiteX351" fmla="*/ 2318535 w 3024845"/>
                <a:gd name="connsiteY351" fmla="*/ 780402 h 1160647"/>
                <a:gd name="connsiteX352" fmla="*/ 2332722 w 3024845"/>
                <a:gd name="connsiteY352" fmla="*/ 780402 h 1160647"/>
                <a:gd name="connsiteX353" fmla="*/ 2332722 w 3024845"/>
                <a:gd name="connsiteY353" fmla="*/ 767431 h 1160647"/>
                <a:gd name="connsiteX354" fmla="*/ 2348936 w 3024845"/>
                <a:gd name="connsiteY354" fmla="*/ 767431 h 1160647"/>
                <a:gd name="connsiteX355" fmla="*/ 2348936 w 3024845"/>
                <a:gd name="connsiteY355" fmla="*/ 588004 h 1160647"/>
                <a:gd name="connsiteX356" fmla="*/ 2355016 w 3024845"/>
                <a:gd name="connsiteY356" fmla="*/ 581518 h 1160647"/>
                <a:gd name="connsiteX357" fmla="*/ 2427977 w 3024845"/>
                <a:gd name="connsiteY357" fmla="*/ 581518 h 1160647"/>
                <a:gd name="connsiteX358" fmla="*/ 2427977 w 3024845"/>
                <a:gd name="connsiteY358" fmla="*/ 590166 h 1160647"/>
                <a:gd name="connsiteX359" fmla="*/ 2438110 w 3024845"/>
                <a:gd name="connsiteY359" fmla="*/ 590166 h 1160647"/>
                <a:gd name="connsiteX360" fmla="*/ 2438110 w 3024845"/>
                <a:gd name="connsiteY360" fmla="*/ 704740 h 1160647"/>
                <a:gd name="connsiteX361" fmla="*/ 2460404 w 3024845"/>
                <a:gd name="connsiteY361" fmla="*/ 704740 h 1160647"/>
                <a:gd name="connsiteX362" fmla="*/ 2460404 w 3024845"/>
                <a:gd name="connsiteY362" fmla="*/ 637725 h 1160647"/>
                <a:gd name="connsiteX363" fmla="*/ 2486751 w 3024845"/>
                <a:gd name="connsiteY363" fmla="*/ 637725 h 1160647"/>
                <a:gd name="connsiteX364" fmla="*/ 2490804 w 3024845"/>
                <a:gd name="connsiteY364" fmla="*/ 633401 h 1160647"/>
                <a:gd name="connsiteX365" fmla="*/ 2498911 w 3024845"/>
                <a:gd name="connsiteY365" fmla="*/ 633401 h 1160647"/>
                <a:gd name="connsiteX366" fmla="*/ 2502964 w 3024845"/>
                <a:gd name="connsiteY366" fmla="*/ 637725 h 1160647"/>
                <a:gd name="connsiteX367" fmla="*/ 2525258 w 3024845"/>
                <a:gd name="connsiteY367" fmla="*/ 637725 h 1160647"/>
                <a:gd name="connsiteX368" fmla="*/ 2525258 w 3024845"/>
                <a:gd name="connsiteY368" fmla="*/ 520989 h 1160647"/>
                <a:gd name="connsiteX369" fmla="*/ 2582005 w 3024845"/>
                <a:gd name="connsiteY369" fmla="*/ 510180 h 1160647"/>
                <a:gd name="connsiteX370" fmla="*/ 2582005 w 3024845"/>
                <a:gd name="connsiteY370" fmla="*/ 511261 h 1160647"/>
                <a:gd name="connsiteX371" fmla="*/ 2582005 w 3024845"/>
                <a:gd name="connsiteY371" fmla="*/ 518827 h 1160647"/>
                <a:gd name="connsiteX372" fmla="*/ 2608352 w 3024845"/>
                <a:gd name="connsiteY372" fmla="*/ 518827 h 1160647"/>
                <a:gd name="connsiteX373" fmla="*/ 2608352 w 3024845"/>
                <a:gd name="connsiteY373" fmla="*/ 773917 h 1160647"/>
                <a:gd name="connsiteX374" fmla="*/ 2630646 w 3024845"/>
                <a:gd name="connsiteY374" fmla="*/ 773917 h 1160647"/>
                <a:gd name="connsiteX375" fmla="*/ 2630646 w 3024845"/>
                <a:gd name="connsiteY375" fmla="*/ 769593 h 1160647"/>
                <a:gd name="connsiteX376" fmla="*/ 2642806 w 3024845"/>
                <a:gd name="connsiteY376" fmla="*/ 769593 h 1160647"/>
                <a:gd name="connsiteX377" fmla="*/ 2642806 w 3024845"/>
                <a:gd name="connsiteY377" fmla="*/ 773917 h 1160647"/>
                <a:gd name="connsiteX378" fmla="*/ 2667126 w 3024845"/>
                <a:gd name="connsiteY378" fmla="*/ 773917 h 1160647"/>
                <a:gd name="connsiteX379" fmla="*/ 2667126 w 3024845"/>
                <a:gd name="connsiteY379" fmla="*/ 760946 h 1160647"/>
                <a:gd name="connsiteX380" fmla="*/ 2695500 w 3024845"/>
                <a:gd name="connsiteY380" fmla="*/ 760946 h 1160647"/>
                <a:gd name="connsiteX381" fmla="*/ 2707660 w 3024845"/>
                <a:gd name="connsiteY381" fmla="*/ 756622 h 1160647"/>
                <a:gd name="connsiteX382" fmla="*/ 2727927 w 3024845"/>
                <a:gd name="connsiteY382" fmla="*/ 760946 h 1160647"/>
                <a:gd name="connsiteX383" fmla="*/ 2727927 w 3024845"/>
                <a:gd name="connsiteY383" fmla="*/ 743652 h 1160647"/>
                <a:gd name="connsiteX384" fmla="*/ 2736034 w 3024845"/>
                <a:gd name="connsiteY384" fmla="*/ 743652 h 1160647"/>
                <a:gd name="connsiteX385" fmla="*/ 2736034 w 3024845"/>
                <a:gd name="connsiteY385" fmla="*/ 730681 h 1160647"/>
                <a:gd name="connsiteX386" fmla="*/ 2792781 w 3024845"/>
                <a:gd name="connsiteY386" fmla="*/ 730681 h 1160647"/>
                <a:gd name="connsiteX387" fmla="*/ 2792781 w 3024845"/>
                <a:gd name="connsiteY387" fmla="*/ 700416 h 1160647"/>
                <a:gd name="connsiteX388" fmla="*/ 2811021 w 3024845"/>
                <a:gd name="connsiteY388" fmla="*/ 700416 h 1160647"/>
                <a:gd name="connsiteX389" fmla="*/ 2811021 w 3024845"/>
                <a:gd name="connsiteY389" fmla="*/ 693931 h 1160647"/>
                <a:gd name="connsiteX390" fmla="*/ 2823181 w 3024845"/>
                <a:gd name="connsiteY390" fmla="*/ 693931 h 1160647"/>
                <a:gd name="connsiteX391" fmla="*/ 2823181 w 3024845"/>
                <a:gd name="connsiteY391" fmla="*/ 700416 h 1160647"/>
                <a:gd name="connsiteX392" fmla="*/ 2839395 w 3024845"/>
                <a:gd name="connsiteY392" fmla="*/ 700416 h 1160647"/>
                <a:gd name="connsiteX393" fmla="*/ 2839395 w 3024845"/>
                <a:gd name="connsiteY393" fmla="*/ 750137 h 1160647"/>
                <a:gd name="connsiteX394" fmla="*/ 2871822 w 3024845"/>
                <a:gd name="connsiteY394" fmla="*/ 750137 h 1160647"/>
                <a:gd name="connsiteX395" fmla="*/ 2871822 w 3024845"/>
                <a:gd name="connsiteY395" fmla="*/ 724196 h 1160647"/>
                <a:gd name="connsiteX396" fmla="*/ 2910329 w 3024845"/>
                <a:gd name="connsiteY396" fmla="*/ 724196 h 1160647"/>
                <a:gd name="connsiteX397" fmla="*/ 2910329 w 3024845"/>
                <a:gd name="connsiteY397" fmla="*/ 693931 h 1160647"/>
                <a:gd name="connsiteX398" fmla="*/ 2958970 w 3024845"/>
                <a:gd name="connsiteY398" fmla="*/ 693931 h 1160647"/>
                <a:gd name="connsiteX399" fmla="*/ 2958970 w 3024845"/>
                <a:gd name="connsiteY399" fmla="*/ 805087 h 1160647"/>
                <a:gd name="connsiteX400" fmla="*/ 2958970 w 3024845"/>
                <a:gd name="connsiteY400" fmla="*/ 818866 h 1160647"/>
                <a:gd name="connsiteX401" fmla="*/ 3024845 w 3024845"/>
                <a:gd name="connsiteY401" fmla="*/ 818866 h 1160647"/>
                <a:gd name="connsiteX402" fmla="*/ 3024845 w 3024845"/>
                <a:gd name="connsiteY402" fmla="*/ 1160647 h 1160647"/>
                <a:gd name="connsiteX403" fmla="*/ 2054 w 3024845"/>
                <a:gd name="connsiteY403" fmla="*/ 1158314 h 1160647"/>
                <a:gd name="connsiteX404" fmla="*/ 0 w 3024845"/>
                <a:gd name="connsiteY404" fmla="*/ 724196 h 1160647"/>
                <a:gd name="connsiteX405" fmla="*/ 20267 w 3024845"/>
                <a:gd name="connsiteY405" fmla="*/ 724196 h 1160647"/>
                <a:gd name="connsiteX406" fmla="*/ 20774 w 3024845"/>
                <a:gd name="connsiteY406" fmla="*/ 723115 h 1160647"/>
                <a:gd name="connsiteX407" fmla="*/ 24320 w 3024845"/>
                <a:gd name="connsiteY407" fmla="*/ 715549 h 1160647"/>
                <a:gd name="connsiteX408" fmla="*/ 26094 w 3024845"/>
                <a:gd name="connsiteY408" fmla="*/ 715819 h 1160647"/>
                <a:gd name="connsiteX409" fmla="*/ 38507 w 3024845"/>
                <a:gd name="connsiteY409" fmla="*/ 717710 h 1160647"/>
                <a:gd name="connsiteX410" fmla="*/ 39014 w 3024845"/>
                <a:gd name="connsiteY410" fmla="*/ 719062 h 1160647"/>
                <a:gd name="connsiteX411" fmla="*/ 42560 w 3024845"/>
                <a:gd name="connsiteY411" fmla="*/ 728519 h 1160647"/>
                <a:gd name="connsiteX412" fmla="*/ 68907 w 3024845"/>
                <a:gd name="connsiteY412" fmla="*/ 730681 h 1160647"/>
                <a:gd name="connsiteX413" fmla="*/ 68907 w 3024845"/>
                <a:gd name="connsiteY413" fmla="*/ 607460 h 1160647"/>
                <a:gd name="connsiteX414" fmla="*/ 70934 w 3024845"/>
                <a:gd name="connsiteY414" fmla="*/ 607460 h 1160647"/>
                <a:gd name="connsiteX415" fmla="*/ 85121 w 3024845"/>
                <a:gd name="connsiteY415" fmla="*/ 607460 h 1160647"/>
                <a:gd name="connsiteX416" fmla="*/ 85121 w 3024845"/>
                <a:gd name="connsiteY416" fmla="*/ 471268 h 1160647"/>
                <a:gd name="connsiteX417" fmla="*/ 86894 w 3024845"/>
                <a:gd name="connsiteY417" fmla="*/ 471268 h 1160647"/>
                <a:gd name="connsiteX418" fmla="*/ 99308 w 3024845"/>
                <a:gd name="connsiteY418" fmla="*/ 471268 h 1160647"/>
                <a:gd name="connsiteX419" fmla="*/ 99308 w 3024845"/>
                <a:gd name="connsiteY419" fmla="*/ 356694 h 1160647"/>
                <a:gd name="connsiteX420" fmla="*/ 103361 w 3024845"/>
                <a:gd name="connsiteY420" fmla="*/ 328590 h 1160647"/>
                <a:gd name="connsiteX421" fmla="*/ 105388 w 3024845"/>
                <a:gd name="connsiteY421" fmla="*/ 328590 h 1160647"/>
                <a:gd name="connsiteX422" fmla="*/ 119575 w 3024845"/>
                <a:gd name="connsiteY422" fmla="*/ 328590 h 1160647"/>
                <a:gd name="connsiteX423" fmla="*/ 156055 w 3024845"/>
                <a:gd name="connsiteY423" fmla="*/ 246443 h 1160647"/>
                <a:gd name="connsiteX424" fmla="*/ 160109 w 3024845"/>
                <a:gd name="connsiteY424" fmla="*/ 0 h 1160647"/>
                <a:gd name="connsiteX0" fmla="*/ 156055 w 3024845"/>
                <a:gd name="connsiteY0" fmla="*/ 164295 h 1078499"/>
                <a:gd name="connsiteX1" fmla="*/ 162135 w 3024845"/>
                <a:gd name="connsiteY1" fmla="*/ 164295 h 1078499"/>
                <a:gd name="connsiteX2" fmla="*/ 200642 w 3024845"/>
                <a:gd name="connsiteY2" fmla="*/ 244281 h 1078499"/>
                <a:gd name="connsiteX3" fmla="*/ 202669 w 3024845"/>
                <a:gd name="connsiteY3" fmla="*/ 244281 h 1078499"/>
                <a:gd name="connsiteX4" fmla="*/ 216856 w 3024845"/>
                <a:gd name="connsiteY4" fmla="*/ 244281 h 1078499"/>
                <a:gd name="connsiteX5" fmla="*/ 216856 w 3024845"/>
                <a:gd name="connsiteY5" fmla="*/ 268060 h 1078499"/>
                <a:gd name="connsiteX6" fmla="*/ 217363 w 3024845"/>
                <a:gd name="connsiteY6" fmla="*/ 268871 h 1078499"/>
                <a:gd name="connsiteX7" fmla="*/ 220909 w 3024845"/>
                <a:gd name="connsiteY7" fmla="*/ 274546 h 1078499"/>
                <a:gd name="connsiteX8" fmla="*/ 220909 w 3024845"/>
                <a:gd name="connsiteY8" fmla="*/ 389120 h 1078499"/>
                <a:gd name="connsiteX9" fmla="*/ 223189 w 3024845"/>
                <a:gd name="connsiteY9" fmla="*/ 389120 h 1078499"/>
                <a:gd name="connsiteX10" fmla="*/ 239150 w 3024845"/>
                <a:gd name="connsiteY10" fmla="*/ 389120 h 1078499"/>
                <a:gd name="connsiteX11" fmla="*/ 239150 w 3024845"/>
                <a:gd name="connsiteY11" fmla="*/ 529635 h 1078499"/>
                <a:gd name="connsiteX12" fmla="*/ 240670 w 3024845"/>
                <a:gd name="connsiteY12" fmla="*/ 529365 h 1078499"/>
                <a:gd name="connsiteX13" fmla="*/ 251310 w 3024845"/>
                <a:gd name="connsiteY13" fmla="*/ 527474 h 1078499"/>
                <a:gd name="connsiteX14" fmla="*/ 249283 w 3024845"/>
                <a:gd name="connsiteY14" fmla="*/ 616106 h 1078499"/>
                <a:gd name="connsiteX15" fmla="*/ 250803 w 3024845"/>
                <a:gd name="connsiteY15" fmla="*/ 616377 h 1078499"/>
                <a:gd name="connsiteX16" fmla="*/ 261443 w 3024845"/>
                <a:gd name="connsiteY16" fmla="*/ 618268 h 1078499"/>
                <a:gd name="connsiteX17" fmla="*/ 261696 w 3024845"/>
                <a:gd name="connsiteY17" fmla="*/ 619079 h 1078499"/>
                <a:gd name="connsiteX18" fmla="*/ 263470 w 3024845"/>
                <a:gd name="connsiteY18" fmla="*/ 624754 h 1078499"/>
                <a:gd name="connsiteX19" fmla="*/ 264230 w 3024845"/>
                <a:gd name="connsiteY19" fmla="*/ 622322 h 1078499"/>
                <a:gd name="connsiteX20" fmla="*/ 269550 w 3024845"/>
                <a:gd name="connsiteY20" fmla="*/ 605298 h 1078499"/>
                <a:gd name="connsiteX21" fmla="*/ 271323 w 3024845"/>
                <a:gd name="connsiteY21" fmla="*/ 605298 h 1078499"/>
                <a:gd name="connsiteX22" fmla="*/ 283737 w 3024845"/>
                <a:gd name="connsiteY22" fmla="*/ 605298 h 1078499"/>
                <a:gd name="connsiteX23" fmla="*/ 283737 w 3024845"/>
                <a:gd name="connsiteY23" fmla="*/ 637724 h 1078499"/>
                <a:gd name="connsiteX24" fmla="*/ 284750 w 3024845"/>
                <a:gd name="connsiteY24" fmla="*/ 638265 h 1078499"/>
                <a:gd name="connsiteX25" fmla="*/ 291844 w 3024845"/>
                <a:gd name="connsiteY25" fmla="*/ 642048 h 1078499"/>
                <a:gd name="connsiteX26" fmla="*/ 291844 w 3024845"/>
                <a:gd name="connsiteY26" fmla="*/ 643399 h 1078499"/>
                <a:gd name="connsiteX27" fmla="*/ 291844 w 3024845"/>
                <a:gd name="connsiteY27" fmla="*/ 652857 h 1078499"/>
                <a:gd name="connsiteX28" fmla="*/ 336431 w 3024845"/>
                <a:gd name="connsiteY28" fmla="*/ 652857 h 1078499"/>
                <a:gd name="connsiteX29" fmla="*/ 336431 w 3024845"/>
                <a:gd name="connsiteY29" fmla="*/ 653938 h 1078499"/>
                <a:gd name="connsiteX30" fmla="*/ 336431 w 3024845"/>
                <a:gd name="connsiteY30" fmla="*/ 661504 h 1078499"/>
                <a:gd name="connsiteX31" fmla="*/ 338457 w 3024845"/>
                <a:gd name="connsiteY31" fmla="*/ 661504 h 1078499"/>
                <a:gd name="connsiteX32" fmla="*/ 352644 w 3024845"/>
                <a:gd name="connsiteY32" fmla="*/ 661504 h 1078499"/>
                <a:gd name="connsiteX33" fmla="*/ 352644 w 3024845"/>
                <a:gd name="connsiteY33" fmla="*/ 631239 h 1078499"/>
                <a:gd name="connsiteX34" fmla="*/ 397231 w 3024845"/>
                <a:gd name="connsiteY34" fmla="*/ 631239 h 1078499"/>
                <a:gd name="connsiteX35" fmla="*/ 397231 w 3024845"/>
                <a:gd name="connsiteY35" fmla="*/ 629888 h 1078499"/>
                <a:gd name="connsiteX36" fmla="*/ 397231 w 3024845"/>
                <a:gd name="connsiteY36" fmla="*/ 620430 h 1078499"/>
                <a:gd name="connsiteX37" fmla="*/ 398245 w 3024845"/>
                <a:gd name="connsiteY37" fmla="*/ 620430 h 1078499"/>
                <a:gd name="connsiteX38" fmla="*/ 405338 w 3024845"/>
                <a:gd name="connsiteY38" fmla="*/ 620430 h 1078499"/>
                <a:gd name="connsiteX39" fmla="*/ 405338 w 3024845"/>
                <a:gd name="connsiteY39" fmla="*/ 618539 h 1078499"/>
                <a:gd name="connsiteX40" fmla="*/ 405338 w 3024845"/>
                <a:gd name="connsiteY40" fmla="*/ 605298 h 1078499"/>
                <a:gd name="connsiteX41" fmla="*/ 406098 w 3024845"/>
                <a:gd name="connsiteY41" fmla="*/ 605298 h 1078499"/>
                <a:gd name="connsiteX42" fmla="*/ 411418 w 3024845"/>
                <a:gd name="connsiteY42" fmla="*/ 605298 h 1078499"/>
                <a:gd name="connsiteX43" fmla="*/ 411418 w 3024845"/>
                <a:gd name="connsiteY43" fmla="*/ 604217 h 1078499"/>
                <a:gd name="connsiteX44" fmla="*/ 411418 w 3024845"/>
                <a:gd name="connsiteY44" fmla="*/ 596650 h 1078499"/>
                <a:gd name="connsiteX45" fmla="*/ 413445 w 3024845"/>
                <a:gd name="connsiteY45" fmla="*/ 596650 h 1078499"/>
                <a:gd name="connsiteX46" fmla="*/ 427632 w 3024845"/>
                <a:gd name="connsiteY46" fmla="*/ 596650 h 1078499"/>
                <a:gd name="connsiteX47" fmla="*/ 427632 w 3024845"/>
                <a:gd name="connsiteY47" fmla="*/ 597731 h 1078499"/>
                <a:gd name="connsiteX48" fmla="*/ 427632 w 3024845"/>
                <a:gd name="connsiteY48" fmla="*/ 605298 h 1078499"/>
                <a:gd name="connsiteX49" fmla="*/ 449925 w 3024845"/>
                <a:gd name="connsiteY49" fmla="*/ 605298 h 1078499"/>
                <a:gd name="connsiteX50" fmla="*/ 449925 w 3024845"/>
                <a:gd name="connsiteY50" fmla="*/ 603406 h 1078499"/>
                <a:gd name="connsiteX51" fmla="*/ 449925 w 3024845"/>
                <a:gd name="connsiteY51" fmla="*/ 590165 h 1078499"/>
                <a:gd name="connsiteX52" fmla="*/ 451699 w 3024845"/>
                <a:gd name="connsiteY52" fmla="*/ 590165 h 1078499"/>
                <a:gd name="connsiteX53" fmla="*/ 464112 w 3024845"/>
                <a:gd name="connsiteY53" fmla="*/ 590165 h 1078499"/>
                <a:gd name="connsiteX54" fmla="*/ 464112 w 3024845"/>
                <a:gd name="connsiteY54" fmla="*/ 613945 h 1078499"/>
                <a:gd name="connsiteX55" fmla="*/ 465126 w 3024845"/>
                <a:gd name="connsiteY55" fmla="*/ 613945 h 1078499"/>
                <a:gd name="connsiteX56" fmla="*/ 472219 w 3024845"/>
                <a:gd name="connsiteY56" fmla="*/ 613945 h 1078499"/>
                <a:gd name="connsiteX57" fmla="*/ 472219 w 3024845"/>
                <a:gd name="connsiteY57" fmla="*/ 612864 h 1078499"/>
                <a:gd name="connsiteX58" fmla="*/ 472219 w 3024845"/>
                <a:gd name="connsiteY58" fmla="*/ 605298 h 1078499"/>
                <a:gd name="connsiteX59" fmla="*/ 473992 w 3024845"/>
                <a:gd name="connsiteY59" fmla="*/ 605298 h 1078499"/>
                <a:gd name="connsiteX60" fmla="*/ 486406 w 3024845"/>
                <a:gd name="connsiteY60" fmla="*/ 605298 h 1078499"/>
                <a:gd name="connsiteX61" fmla="*/ 486406 w 3024845"/>
                <a:gd name="connsiteY61" fmla="*/ 631239 h 1078499"/>
                <a:gd name="connsiteX62" fmla="*/ 488433 w 3024845"/>
                <a:gd name="connsiteY62" fmla="*/ 631239 h 1078499"/>
                <a:gd name="connsiteX63" fmla="*/ 502619 w 3024845"/>
                <a:gd name="connsiteY63" fmla="*/ 631239 h 1078499"/>
                <a:gd name="connsiteX64" fmla="*/ 502619 w 3024845"/>
                <a:gd name="connsiteY64" fmla="*/ 632860 h 1078499"/>
                <a:gd name="connsiteX65" fmla="*/ 502619 w 3024845"/>
                <a:gd name="connsiteY65" fmla="*/ 644210 h 1078499"/>
                <a:gd name="connsiteX66" fmla="*/ 503379 w 3024845"/>
                <a:gd name="connsiteY66" fmla="*/ 644210 h 1078499"/>
                <a:gd name="connsiteX67" fmla="*/ 508700 w 3024845"/>
                <a:gd name="connsiteY67" fmla="*/ 644210 h 1078499"/>
                <a:gd name="connsiteX68" fmla="*/ 508700 w 3024845"/>
                <a:gd name="connsiteY68" fmla="*/ 643399 h 1078499"/>
                <a:gd name="connsiteX69" fmla="*/ 508700 w 3024845"/>
                <a:gd name="connsiteY69" fmla="*/ 637724 h 1078499"/>
                <a:gd name="connsiteX70" fmla="*/ 539100 w 3024845"/>
                <a:gd name="connsiteY70" fmla="*/ 637724 h 1078499"/>
                <a:gd name="connsiteX71" fmla="*/ 539100 w 3024845"/>
                <a:gd name="connsiteY71" fmla="*/ 661504 h 1078499"/>
                <a:gd name="connsiteX72" fmla="*/ 540113 w 3024845"/>
                <a:gd name="connsiteY72" fmla="*/ 661504 h 1078499"/>
                <a:gd name="connsiteX73" fmla="*/ 547207 w 3024845"/>
                <a:gd name="connsiteY73" fmla="*/ 661504 h 1078499"/>
                <a:gd name="connsiteX74" fmla="*/ 547207 w 3024845"/>
                <a:gd name="connsiteY74" fmla="*/ 662585 h 1078499"/>
                <a:gd name="connsiteX75" fmla="*/ 547207 w 3024845"/>
                <a:gd name="connsiteY75" fmla="*/ 670151 h 1078499"/>
                <a:gd name="connsiteX76" fmla="*/ 547967 w 3024845"/>
                <a:gd name="connsiteY76" fmla="*/ 670151 h 1078499"/>
                <a:gd name="connsiteX77" fmla="*/ 553287 w 3024845"/>
                <a:gd name="connsiteY77" fmla="*/ 670151 h 1078499"/>
                <a:gd name="connsiteX78" fmla="*/ 553287 w 3024845"/>
                <a:gd name="connsiteY78" fmla="*/ 667989 h 1078499"/>
                <a:gd name="connsiteX79" fmla="*/ 553287 w 3024845"/>
                <a:gd name="connsiteY79" fmla="*/ 652857 h 1078499"/>
                <a:gd name="connsiteX80" fmla="*/ 554300 w 3024845"/>
                <a:gd name="connsiteY80" fmla="*/ 652857 h 1078499"/>
                <a:gd name="connsiteX81" fmla="*/ 561394 w 3024845"/>
                <a:gd name="connsiteY81" fmla="*/ 652857 h 1078499"/>
                <a:gd name="connsiteX82" fmla="*/ 561394 w 3024845"/>
                <a:gd name="connsiteY82" fmla="*/ 653938 h 1078499"/>
                <a:gd name="connsiteX83" fmla="*/ 561394 w 3024845"/>
                <a:gd name="connsiteY83" fmla="*/ 661504 h 1078499"/>
                <a:gd name="connsiteX84" fmla="*/ 566714 w 3024845"/>
                <a:gd name="connsiteY84" fmla="*/ 659511 h 1078499"/>
                <a:gd name="connsiteX85" fmla="*/ 567474 w 3024845"/>
                <a:gd name="connsiteY85" fmla="*/ 658531 h 1078499"/>
                <a:gd name="connsiteX86" fmla="*/ 567474 w 3024845"/>
                <a:gd name="connsiteY86" fmla="*/ 652857 h 1078499"/>
                <a:gd name="connsiteX87" fmla="*/ 605981 w 3024845"/>
                <a:gd name="connsiteY87" fmla="*/ 652857 h 1078499"/>
                <a:gd name="connsiteX88" fmla="*/ 605981 w 3024845"/>
                <a:gd name="connsiteY88" fmla="*/ 676636 h 1078499"/>
                <a:gd name="connsiteX89" fmla="*/ 608007 w 3024845"/>
                <a:gd name="connsiteY89" fmla="*/ 676636 h 1078499"/>
                <a:gd name="connsiteX90" fmla="*/ 622194 w 3024845"/>
                <a:gd name="connsiteY90" fmla="*/ 676636 h 1078499"/>
                <a:gd name="connsiteX91" fmla="*/ 622194 w 3024845"/>
                <a:gd name="connsiteY91" fmla="*/ 677717 h 1078499"/>
                <a:gd name="connsiteX92" fmla="*/ 622194 w 3024845"/>
                <a:gd name="connsiteY92" fmla="*/ 685283 h 1078499"/>
                <a:gd name="connsiteX93" fmla="*/ 623968 w 3024845"/>
                <a:gd name="connsiteY93" fmla="*/ 685283 h 1078499"/>
                <a:gd name="connsiteX94" fmla="*/ 636381 w 3024845"/>
                <a:gd name="connsiteY94" fmla="*/ 685283 h 1078499"/>
                <a:gd name="connsiteX95" fmla="*/ 636381 w 3024845"/>
                <a:gd name="connsiteY95" fmla="*/ 661504 h 1078499"/>
                <a:gd name="connsiteX96" fmla="*/ 637394 w 3024845"/>
                <a:gd name="connsiteY96" fmla="*/ 661504 h 1078499"/>
                <a:gd name="connsiteX97" fmla="*/ 644488 w 3024845"/>
                <a:gd name="connsiteY97" fmla="*/ 661504 h 1078499"/>
                <a:gd name="connsiteX98" fmla="*/ 644488 w 3024845"/>
                <a:gd name="connsiteY98" fmla="*/ 629077 h 1078499"/>
                <a:gd name="connsiteX99" fmla="*/ 645501 w 3024845"/>
                <a:gd name="connsiteY99" fmla="*/ 629077 h 1078499"/>
                <a:gd name="connsiteX100" fmla="*/ 652595 w 3024845"/>
                <a:gd name="connsiteY100" fmla="*/ 629077 h 1078499"/>
                <a:gd name="connsiteX101" fmla="*/ 652595 w 3024845"/>
                <a:gd name="connsiteY101" fmla="*/ 627186 h 1078499"/>
                <a:gd name="connsiteX102" fmla="*/ 652595 w 3024845"/>
                <a:gd name="connsiteY102" fmla="*/ 613945 h 1078499"/>
                <a:gd name="connsiteX103" fmla="*/ 651328 w 3024845"/>
                <a:gd name="connsiteY103" fmla="*/ 612323 h 1078499"/>
                <a:gd name="connsiteX104" fmla="*/ 656648 w 3024845"/>
                <a:gd name="connsiteY104" fmla="*/ 600974 h 1078499"/>
                <a:gd name="connsiteX105" fmla="*/ 664755 w 3024845"/>
                <a:gd name="connsiteY105" fmla="*/ 629077 h 1078499"/>
                <a:gd name="connsiteX106" fmla="*/ 665515 w 3024845"/>
                <a:gd name="connsiteY106" fmla="*/ 629077 h 1078499"/>
                <a:gd name="connsiteX107" fmla="*/ 670835 w 3024845"/>
                <a:gd name="connsiteY107" fmla="*/ 629077 h 1078499"/>
                <a:gd name="connsiteX108" fmla="*/ 670835 w 3024845"/>
                <a:gd name="connsiteY108" fmla="*/ 523150 h 1078499"/>
                <a:gd name="connsiteX109" fmla="*/ 672355 w 3024845"/>
                <a:gd name="connsiteY109" fmla="*/ 523150 h 1078499"/>
                <a:gd name="connsiteX110" fmla="*/ 682995 w 3024845"/>
                <a:gd name="connsiteY110" fmla="*/ 523150 h 1078499"/>
                <a:gd name="connsiteX111" fmla="*/ 682995 w 3024845"/>
                <a:gd name="connsiteY111" fmla="*/ 475591 h 1078499"/>
                <a:gd name="connsiteX112" fmla="*/ 709342 w 3024845"/>
                <a:gd name="connsiteY112" fmla="*/ 475591 h 1078499"/>
                <a:gd name="connsiteX113" fmla="*/ 709342 w 3024845"/>
                <a:gd name="connsiteY113" fmla="*/ 453973 h 1078499"/>
                <a:gd name="connsiteX114" fmla="*/ 743796 w 3024845"/>
                <a:gd name="connsiteY114" fmla="*/ 453973 h 1078499"/>
                <a:gd name="connsiteX115" fmla="*/ 743796 w 3024845"/>
                <a:gd name="connsiteY115" fmla="*/ 456405 h 1078499"/>
                <a:gd name="connsiteX116" fmla="*/ 743796 w 3024845"/>
                <a:gd name="connsiteY116" fmla="*/ 473429 h 1078499"/>
                <a:gd name="connsiteX117" fmla="*/ 746076 w 3024845"/>
                <a:gd name="connsiteY117" fmla="*/ 473429 h 1078499"/>
                <a:gd name="connsiteX118" fmla="*/ 762036 w 3024845"/>
                <a:gd name="connsiteY118" fmla="*/ 473429 h 1078499"/>
                <a:gd name="connsiteX119" fmla="*/ 762036 w 3024845"/>
                <a:gd name="connsiteY119" fmla="*/ 520988 h 1078499"/>
                <a:gd name="connsiteX120" fmla="*/ 763049 w 3024845"/>
                <a:gd name="connsiteY120" fmla="*/ 520988 h 1078499"/>
                <a:gd name="connsiteX121" fmla="*/ 770143 w 3024845"/>
                <a:gd name="connsiteY121" fmla="*/ 520988 h 1078499"/>
                <a:gd name="connsiteX122" fmla="*/ 784330 w 3024845"/>
                <a:gd name="connsiteY122" fmla="*/ 525312 h 1078499"/>
                <a:gd name="connsiteX123" fmla="*/ 784330 w 3024845"/>
                <a:gd name="connsiteY123" fmla="*/ 564224 h 1078499"/>
                <a:gd name="connsiteX124" fmla="*/ 785343 w 3024845"/>
                <a:gd name="connsiteY124" fmla="*/ 564224 h 1078499"/>
                <a:gd name="connsiteX125" fmla="*/ 792436 w 3024845"/>
                <a:gd name="connsiteY125" fmla="*/ 564224 h 1078499"/>
                <a:gd name="connsiteX126" fmla="*/ 792436 w 3024845"/>
                <a:gd name="connsiteY126" fmla="*/ 565845 h 1078499"/>
                <a:gd name="connsiteX127" fmla="*/ 792436 w 3024845"/>
                <a:gd name="connsiteY127" fmla="*/ 577194 h 1078499"/>
                <a:gd name="connsiteX128" fmla="*/ 794463 w 3024845"/>
                <a:gd name="connsiteY128" fmla="*/ 577194 h 1078499"/>
                <a:gd name="connsiteX129" fmla="*/ 808650 w 3024845"/>
                <a:gd name="connsiteY129" fmla="*/ 577194 h 1078499"/>
                <a:gd name="connsiteX130" fmla="*/ 814730 w 3024845"/>
                <a:gd name="connsiteY130" fmla="*/ 583680 h 1078499"/>
                <a:gd name="connsiteX131" fmla="*/ 814730 w 3024845"/>
                <a:gd name="connsiteY131" fmla="*/ 605298 h 1078499"/>
                <a:gd name="connsiteX132" fmla="*/ 817010 w 3024845"/>
                <a:gd name="connsiteY132" fmla="*/ 605298 h 1078499"/>
                <a:gd name="connsiteX133" fmla="*/ 832970 w 3024845"/>
                <a:gd name="connsiteY133" fmla="*/ 605298 h 1078499"/>
                <a:gd name="connsiteX134" fmla="*/ 832970 w 3024845"/>
                <a:gd name="connsiteY134" fmla="*/ 606378 h 1078499"/>
                <a:gd name="connsiteX135" fmla="*/ 832970 w 3024845"/>
                <a:gd name="connsiteY135" fmla="*/ 613945 h 1078499"/>
                <a:gd name="connsiteX136" fmla="*/ 834237 w 3024845"/>
                <a:gd name="connsiteY136" fmla="*/ 613945 h 1078499"/>
                <a:gd name="connsiteX137" fmla="*/ 843104 w 3024845"/>
                <a:gd name="connsiteY137" fmla="*/ 613945 h 1078499"/>
                <a:gd name="connsiteX138" fmla="*/ 843104 w 3024845"/>
                <a:gd name="connsiteY138" fmla="*/ 616106 h 1078499"/>
                <a:gd name="connsiteX139" fmla="*/ 843104 w 3024845"/>
                <a:gd name="connsiteY139" fmla="*/ 631239 h 1078499"/>
                <a:gd name="connsiteX140" fmla="*/ 847157 w 3024845"/>
                <a:gd name="connsiteY140" fmla="*/ 629347 h 1078499"/>
                <a:gd name="connsiteX141" fmla="*/ 847157 w 3024845"/>
                <a:gd name="connsiteY141" fmla="*/ 616106 h 1078499"/>
                <a:gd name="connsiteX142" fmla="*/ 848170 w 3024845"/>
                <a:gd name="connsiteY142" fmla="*/ 616106 h 1078499"/>
                <a:gd name="connsiteX143" fmla="*/ 855264 w 3024845"/>
                <a:gd name="connsiteY143" fmla="*/ 616106 h 1078499"/>
                <a:gd name="connsiteX144" fmla="*/ 855264 w 3024845"/>
                <a:gd name="connsiteY144" fmla="*/ 617728 h 1078499"/>
                <a:gd name="connsiteX145" fmla="*/ 855264 w 3024845"/>
                <a:gd name="connsiteY145" fmla="*/ 629077 h 1078499"/>
                <a:gd name="connsiteX146" fmla="*/ 856024 w 3024845"/>
                <a:gd name="connsiteY146" fmla="*/ 629077 h 1078499"/>
                <a:gd name="connsiteX147" fmla="*/ 861344 w 3024845"/>
                <a:gd name="connsiteY147" fmla="*/ 629077 h 1078499"/>
                <a:gd name="connsiteX148" fmla="*/ 909984 w 3024845"/>
                <a:gd name="connsiteY148" fmla="*/ 624754 h 1078499"/>
                <a:gd name="connsiteX149" fmla="*/ 909984 w 3024845"/>
                <a:gd name="connsiteY149" fmla="*/ 626105 h 1078499"/>
                <a:gd name="connsiteX150" fmla="*/ 909984 w 3024845"/>
                <a:gd name="connsiteY150" fmla="*/ 635562 h 1078499"/>
                <a:gd name="connsiteX151" fmla="*/ 910744 w 3024845"/>
                <a:gd name="connsiteY151" fmla="*/ 635562 h 1078499"/>
                <a:gd name="connsiteX152" fmla="*/ 916065 w 3024845"/>
                <a:gd name="connsiteY152" fmla="*/ 635562 h 1078499"/>
                <a:gd name="connsiteX153" fmla="*/ 916065 w 3024845"/>
                <a:gd name="connsiteY153" fmla="*/ 637724 h 1078499"/>
                <a:gd name="connsiteX154" fmla="*/ 916065 w 3024845"/>
                <a:gd name="connsiteY154" fmla="*/ 652857 h 1078499"/>
                <a:gd name="connsiteX155" fmla="*/ 918091 w 3024845"/>
                <a:gd name="connsiteY155" fmla="*/ 651506 h 1078499"/>
                <a:gd name="connsiteX156" fmla="*/ 932278 w 3024845"/>
                <a:gd name="connsiteY156" fmla="*/ 642048 h 1078499"/>
                <a:gd name="connsiteX157" fmla="*/ 938358 w 3024845"/>
                <a:gd name="connsiteY157" fmla="*/ 600974 h 1078499"/>
                <a:gd name="connsiteX158" fmla="*/ 939118 w 3024845"/>
                <a:gd name="connsiteY158" fmla="*/ 600704 h 1078499"/>
                <a:gd name="connsiteX159" fmla="*/ 944438 w 3024845"/>
                <a:gd name="connsiteY159" fmla="*/ 598812 h 1078499"/>
                <a:gd name="connsiteX160" fmla="*/ 946465 w 3024845"/>
                <a:gd name="connsiteY160" fmla="*/ 529635 h 1078499"/>
                <a:gd name="connsiteX161" fmla="*/ 948492 w 3024845"/>
                <a:gd name="connsiteY161" fmla="*/ 598812 h 1078499"/>
                <a:gd name="connsiteX162" fmla="*/ 949252 w 3024845"/>
                <a:gd name="connsiteY162" fmla="*/ 599082 h 1078499"/>
                <a:gd name="connsiteX163" fmla="*/ 954572 w 3024845"/>
                <a:gd name="connsiteY163" fmla="*/ 600974 h 1078499"/>
                <a:gd name="connsiteX164" fmla="*/ 954572 w 3024845"/>
                <a:gd name="connsiteY164" fmla="*/ 514503 h 1078499"/>
                <a:gd name="connsiteX165" fmla="*/ 958625 w 3024845"/>
                <a:gd name="connsiteY165" fmla="*/ 482076 h 1078499"/>
                <a:gd name="connsiteX166" fmla="*/ 997132 w 3024845"/>
                <a:gd name="connsiteY166" fmla="*/ 482076 h 1078499"/>
                <a:gd name="connsiteX167" fmla="*/ 997132 w 3024845"/>
                <a:gd name="connsiteY167" fmla="*/ 514503 h 1078499"/>
                <a:gd name="connsiteX168" fmla="*/ 997892 w 3024845"/>
                <a:gd name="connsiteY168" fmla="*/ 514503 h 1078499"/>
                <a:gd name="connsiteX169" fmla="*/ 1003212 w 3024845"/>
                <a:gd name="connsiteY169" fmla="*/ 514503 h 1078499"/>
                <a:gd name="connsiteX170" fmla="*/ 1003212 w 3024845"/>
                <a:gd name="connsiteY170" fmla="*/ 432355 h 1078499"/>
                <a:gd name="connsiteX171" fmla="*/ 1004986 w 3024845"/>
                <a:gd name="connsiteY171" fmla="*/ 432355 h 1078499"/>
                <a:gd name="connsiteX172" fmla="*/ 1017399 w 3024845"/>
                <a:gd name="connsiteY172" fmla="*/ 432355 h 1078499"/>
                <a:gd name="connsiteX173" fmla="*/ 1017399 w 3024845"/>
                <a:gd name="connsiteY173" fmla="*/ 430464 h 1078499"/>
                <a:gd name="connsiteX174" fmla="*/ 1017399 w 3024845"/>
                <a:gd name="connsiteY174" fmla="*/ 417223 h 1078499"/>
                <a:gd name="connsiteX175" fmla="*/ 1039693 w 3024845"/>
                <a:gd name="connsiteY175" fmla="*/ 417223 h 1078499"/>
                <a:gd name="connsiteX176" fmla="*/ 1039693 w 3024845"/>
                <a:gd name="connsiteY176" fmla="*/ 416142 h 1078499"/>
                <a:gd name="connsiteX177" fmla="*/ 1039693 w 3024845"/>
                <a:gd name="connsiteY177" fmla="*/ 408576 h 1078499"/>
                <a:gd name="connsiteX178" fmla="*/ 1041466 w 3024845"/>
                <a:gd name="connsiteY178" fmla="*/ 408576 h 1078499"/>
                <a:gd name="connsiteX179" fmla="*/ 1053880 w 3024845"/>
                <a:gd name="connsiteY179" fmla="*/ 408576 h 1078499"/>
                <a:gd name="connsiteX180" fmla="*/ 1053880 w 3024845"/>
                <a:gd name="connsiteY180" fmla="*/ 409657 h 1078499"/>
                <a:gd name="connsiteX181" fmla="*/ 1053880 w 3024845"/>
                <a:gd name="connsiteY181" fmla="*/ 417223 h 1078499"/>
                <a:gd name="connsiteX182" fmla="*/ 1054640 w 3024845"/>
                <a:gd name="connsiteY182" fmla="*/ 417223 h 1078499"/>
                <a:gd name="connsiteX183" fmla="*/ 1059960 w 3024845"/>
                <a:gd name="connsiteY183" fmla="*/ 417223 h 1078499"/>
                <a:gd name="connsiteX184" fmla="*/ 1070093 w 3024845"/>
                <a:gd name="connsiteY184" fmla="*/ 412899 h 1078499"/>
                <a:gd name="connsiteX185" fmla="*/ 1074146 w 3024845"/>
                <a:gd name="connsiteY185" fmla="*/ 416142 h 1078499"/>
                <a:gd name="connsiteX186" fmla="*/ 1074146 w 3024845"/>
                <a:gd name="connsiteY186" fmla="*/ 408576 h 1078499"/>
                <a:gd name="connsiteX187" fmla="*/ 1076426 w 3024845"/>
                <a:gd name="connsiteY187" fmla="*/ 408576 h 1078499"/>
                <a:gd name="connsiteX188" fmla="*/ 1092387 w 3024845"/>
                <a:gd name="connsiteY188" fmla="*/ 408576 h 1078499"/>
                <a:gd name="connsiteX189" fmla="*/ 1092387 w 3024845"/>
                <a:gd name="connsiteY189" fmla="*/ 409657 h 1078499"/>
                <a:gd name="connsiteX190" fmla="*/ 1092387 w 3024845"/>
                <a:gd name="connsiteY190" fmla="*/ 417223 h 1078499"/>
                <a:gd name="connsiteX191" fmla="*/ 1122787 w 3024845"/>
                <a:gd name="connsiteY191" fmla="*/ 417223 h 1078499"/>
                <a:gd name="connsiteX192" fmla="*/ 1122787 w 3024845"/>
                <a:gd name="connsiteY192" fmla="*/ 418844 h 1078499"/>
                <a:gd name="connsiteX193" fmla="*/ 1122787 w 3024845"/>
                <a:gd name="connsiteY193" fmla="*/ 430194 h 1078499"/>
                <a:gd name="connsiteX194" fmla="*/ 1149134 w 3024845"/>
                <a:gd name="connsiteY194" fmla="*/ 430194 h 1078499"/>
                <a:gd name="connsiteX195" fmla="*/ 1149134 w 3024845"/>
                <a:gd name="connsiteY195" fmla="*/ 460458 h 1078499"/>
                <a:gd name="connsiteX196" fmla="*/ 1149894 w 3024845"/>
                <a:gd name="connsiteY196" fmla="*/ 460458 h 1078499"/>
                <a:gd name="connsiteX197" fmla="*/ 1155214 w 3024845"/>
                <a:gd name="connsiteY197" fmla="*/ 460458 h 1078499"/>
                <a:gd name="connsiteX198" fmla="*/ 1155214 w 3024845"/>
                <a:gd name="connsiteY198" fmla="*/ 461539 h 1078499"/>
                <a:gd name="connsiteX199" fmla="*/ 1155214 w 3024845"/>
                <a:gd name="connsiteY199" fmla="*/ 469106 h 1078499"/>
                <a:gd name="connsiteX200" fmla="*/ 1159268 w 3024845"/>
                <a:gd name="connsiteY200" fmla="*/ 499370 h 1078499"/>
                <a:gd name="connsiteX201" fmla="*/ 1160028 w 3024845"/>
                <a:gd name="connsiteY201" fmla="*/ 499370 h 1078499"/>
                <a:gd name="connsiteX202" fmla="*/ 1165348 w 3024845"/>
                <a:gd name="connsiteY202" fmla="*/ 499370 h 1078499"/>
                <a:gd name="connsiteX203" fmla="*/ 1165348 w 3024845"/>
                <a:gd name="connsiteY203" fmla="*/ 500181 h 1078499"/>
                <a:gd name="connsiteX204" fmla="*/ 1165348 w 3024845"/>
                <a:gd name="connsiteY204" fmla="*/ 505856 h 1078499"/>
                <a:gd name="connsiteX205" fmla="*/ 1166361 w 3024845"/>
                <a:gd name="connsiteY205" fmla="*/ 505856 h 1078499"/>
                <a:gd name="connsiteX206" fmla="*/ 1173454 w 3024845"/>
                <a:gd name="connsiteY206" fmla="*/ 505856 h 1078499"/>
                <a:gd name="connsiteX207" fmla="*/ 1173454 w 3024845"/>
                <a:gd name="connsiteY207" fmla="*/ 536121 h 1078499"/>
                <a:gd name="connsiteX208" fmla="*/ 1175481 w 3024845"/>
                <a:gd name="connsiteY208" fmla="*/ 536121 h 1078499"/>
                <a:gd name="connsiteX209" fmla="*/ 1189668 w 3024845"/>
                <a:gd name="connsiteY209" fmla="*/ 536121 h 1078499"/>
                <a:gd name="connsiteX210" fmla="*/ 1189668 w 3024845"/>
                <a:gd name="connsiteY210" fmla="*/ 559900 h 1078499"/>
                <a:gd name="connsiteX211" fmla="*/ 1191695 w 3024845"/>
                <a:gd name="connsiteY211" fmla="*/ 561521 h 1078499"/>
                <a:gd name="connsiteX212" fmla="*/ 1191695 w 3024845"/>
                <a:gd name="connsiteY212" fmla="*/ 572871 h 1078499"/>
                <a:gd name="connsiteX213" fmla="*/ 1192455 w 3024845"/>
                <a:gd name="connsiteY213" fmla="*/ 572871 h 1078499"/>
                <a:gd name="connsiteX214" fmla="*/ 1197775 w 3024845"/>
                <a:gd name="connsiteY214" fmla="*/ 572871 h 1078499"/>
                <a:gd name="connsiteX215" fmla="*/ 1197775 w 3024845"/>
                <a:gd name="connsiteY215" fmla="*/ 596650 h 1078499"/>
                <a:gd name="connsiteX216" fmla="*/ 1199041 w 3024845"/>
                <a:gd name="connsiteY216" fmla="*/ 596650 h 1078499"/>
                <a:gd name="connsiteX217" fmla="*/ 1207908 w 3024845"/>
                <a:gd name="connsiteY217" fmla="*/ 596650 h 1078499"/>
                <a:gd name="connsiteX218" fmla="*/ 1209935 w 3024845"/>
                <a:gd name="connsiteY218" fmla="*/ 600704 h 1078499"/>
                <a:gd name="connsiteX219" fmla="*/ 1209935 w 3024845"/>
                <a:gd name="connsiteY219" fmla="*/ 613945 h 1078499"/>
                <a:gd name="connsiteX220" fmla="*/ 1211455 w 3024845"/>
                <a:gd name="connsiteY220" fmla="*/ 612053 h 1078499"/>
                <a:gd name="connsiteX221" fmla="*/ 1222095 w 3024845"/>
                <a:gd name="connsiteY221" fmla="*/ 598812 h 1078499"/>
                <a:gd name="connsiteX222" fmla="*/ 1250469 w 3024845"/>
                <a:gd name="connsiteY222" fmla="*/ 598812 h 1078499"/>
                <a:gd name="connsiteX223" fmla="*/ 1250469 w 3024845"/>
                <a:gd name="connsiteY223" fmla="*/ 685283 h 1078499"/>
                <a:gd name="connsiteX224" fmla="*/ 1251229 w 3024845"/>
                <a:gd name="connsiteY224" fmla="*/ 685283 h 1078499"/>
                <a:gd name="connsiteX225" fmla="*/ 1256549 w 3024845"/>
                <a:gd name="connsiteY225" fmla="*/ 685283 h 1078499"/>
                <a:gd name="connsiteX226" fmla="*/ 1257309 w 3024845"/>
                <a:gd name="connsiteY226" fmla="*/ 683932 h 1078499"/>
                <a:gd name="connsiteX227" fmla="*/ 1262629 w 3024845"/>
                <a:gd name="connsiteY227" fmla="*/ 674474 h 1078499"/>
                <a:gd name="connsiteX228" fmla="*/ 1262629 w 3024845"/>
                <a:gd name="connsiteY228" fmla="*/ 676366 h 1078499"/>
                <a:gd name="connsiteX229" fmla="*/ 1262629 w 3024845"/>
                <a:gd name="connsiteY229" fmla="*/ 689607 h 1078499"/>
                <a:gd name="connsiteX230" fmla="*/ 1266682 w 3024845"/>
                <a:gd name="connsiteY230" fmla="*/ 644210 h 1078499"/>
                <a:gd name="connsiteX231" fmla="*/ 1267442 w 3024845"/>
                <a:gd name="connsiteY231" fmla="*/ 644210 h 1078499"/>
                <a:gd name="connsiteX232" fmla="*/ 1272762 w 3024845"/>
                <a:gd name="connsiteY232" fmla="*/ 644210 h 1078499"/>
                <a:gd name="connsiteX233" fmla="*/ 1272762 w 3024845"/>
                <a:gd name="connsiteY233" fmla="*/ 579356 h 1078499"/>
                <a:gd name="connsiteX234" fmla="*/ 1273776 w 3024845"/>
                <a:gd name="connsiteY234" fmla="*/ 579356 h 1078499"/>
                <a:gd name="connsiteX235" fmla="*/ 1280869 w 3024845"/>
                <a:gd name="connsiteY235" fmla="*/ 579356 h 1078499"/>
                <a:gd name="connsiteX236" fmla="*/ 1293029 w 3024845"/>
                <a:gd name="connsiteY236" fmla="*/ 536121 h 1078499"/>
                <a:gd name="connsiteX237" fmla="*/ 1294296 w 3024845"/>
                <a:gd name="connsiteY237" fmla="*/ 536121 h 1078499"/>
                <a:gd name="connsiteX238" fmla="*/ 1303163 w 3024845"/>
                <a:gd name="connsiteY238" fmla="*/ 536121 h 1078499"/>
                <a:gd name="connsiteX239" fmla="*/ 1313296 w 3024845"/>
                <a:gd name="connsiteY239" fmla="*/ 579356 h 1078499"/>
                <a:gd name="connsiteX240" fmla="*/ 1314309 w 3024845"/>
                <a:gd name="connsiteY240" fmla="*/ 579356 h 1078499"/>
                <a:gd name="connsiteX241" fmla="*/ 1321403 w 3024845"/>
                <a:gd name="connsiteY241" fmla="*/ 579356 h 1078499"/>
                <a:gd name="connsiteX242" fmla="*/ 1321403 w 3024845"/>
                <a:gd name="connsiteY242" fmla="*/ 618268 h 1078499"/>
                <a:gd name="connsiteX243" fmla="*/ 1323176 w 3024845"/>
                <a:gd name="connsiteY243" fmla="*/ 618268 h 1078499"/>
                <a:gd name="connsiteX244" fmla="*/ 1335590 w 3024845"/>
                <a:gd name="connsiteY244" fmla="*/ 618268 h 1078499"/>
                <a:gd name="connsiteX245" fmla="*/ 1335590 w 3024845"/>
                <a:gd name="connsiteY245" fmla="*/ 620430 h 1078499"/>
                <a:gd name="connsiteX246" fmla="*/ 1335590 w 3024845"/>
                <a:gd name="connsiteY246" fmla="*/ 635562 h 1078499"/>
                <a:gd name="connsiteX247" fmla="*/ 1339643 w 3024845"/>
                <a:gd name="connsiteY247" fmla="*/ 633401 h 1078499"/>
                <a:gd name="connsiteX248" fmla="*/ 1339643 w 3024845"/>
                <a:gd name="connsiteY248" fmla="*/ 618268 h 1078499"/>
                <a:gd name="connsiteX249" fmla="*/ 1341163 w 3024845"/>
                <a:gd name="connsiteY249" fmla="*/ 618268 h 1078499"/>
                <a:gd name="connsiteX250" fmla="*/ 1351803 w 3024845"/>
                <a:gd name="connsiteY250" fmla="*/ 618268 h 1078499"/>
                <a:gd name="connsiteX251" fmla="*/ 1351803 w 3024845"/>
                <a:gd name="connsiteY251" fmla="*/ 619889 h 1078499"/>
                <a:gd name="connsiteX252" fmla="*/ 1351803 w 3024845"/>
                <a:gd name="connsiteY252" fmla="*/ 631239 h 1078499"/>
                <a:gd name="connsiteX253" fmla="*/ 1382204 w 3024845"/>
                <a:gd name="connsiteY253" fmla="*/ 631239 h 1078499"/>
                <a:gd name="connsiteX254" fmla="*/ 1382204 w 3024845"/>
                <a:gd name="connsiteY254" fmla="*/ 594489 h 1078499"/>
                <a:gd name="connsiteX255" fmla="*/ 1383470 w 3024845"/>
                <a:gd name="connsiteY255" fmla="*/ 594489 h 1078499"/>
                <a:gd name="connsiteX256" fmla="*/ 1392337 w 3024845"/>
                <a:gd name="connsiteY256" fmla="*/ 594489 h 1078499"/>
                <a:gd name="connsiteX257" fmla="*/ 1392337 w 3024845"/>
                <a:gd name="connsiteY257" fmla="*/ 616106 h 1078499"/>
                <a:gd name="connsiteX258" fmla="*/ 1394364 w 3024845"/>
                <a:gd name="connsiteY258" fmla="*/ 583680 h 1078499"/>
                <a:gd name="connsiteX259" fmla="*/ 1416657 w 3024845"/>
                <a:gd name="connsiteY259" fmla="*/ 583680 h 1078499"/>
                <a:gd name="connsiteX260" fmla="*/ 1416657 w 3024845"/>
                <a:gd name="connsiteY260" fmla="*/ 582058 h 1078499"/>
                <a:gd name="connsiteX261" fmla="*/ 1416657 w 3024845"/>
                <a:gd name="connsiteY261" fmla="*/ 570709 h 1078499"/>
                <a:gd name="connsiteX262" fmla="*/ 1417417 w 3024845"/>
                <a:gd name="connsiteY262" fmla="*/ 570709 h 1078499"/>
                <a:gd name="connsiteX263" fmla="*/ 1422737 w 3024845"/>
                <a:gd name="connsiteY263" fmla="*/ 570709 h 1078499"/>
                <a:gd name="connsiteX264" fmla="*/ 1422737 w 3024845"/>
                <a:gd name="connsiteY264" fmla="*/ 568818 h 1078499"/>
                <a:gd name="connsiteX265" fmla="*/ 1422737 w 3024845"/>
                <a:gd name="connsiteY265" fmla="*/ 555577 h 1078499"/>
                <a:gd name="connsiteX266" fmla="*/ 1426791 w 3024845"/>
                <a:gd name="connsiteY266" fmla="*/ 562062 h 1078499"/>
                <a:gd name="connsiteX267" fmla="*/ 1429071 w 3024845"/>
                <a:gd name="connsiteY267" fmla="*/ 562062 h 1078499"/>
                <a:gd name="connsiteX268" fmla="*/ 1445031 w 3024845"/>
                <a:gd name="connsiteY268" fmla="*/ 562062 h 1078499"/>
                <a:gd name="connsiteX269" fmla="*/ 1445031 w 3024845"/>
                <a:gd name="connsiteY269" fmla="*/ 561251 h 1078499"/>
                <a:gd name="connsiteX270" fmla="*/ 1445031 w 3024845"/>
                <a:gd name="connsiteY270" fmla="*/ 555577 h 1078499"/>
                <a:gd name="connsiteX271" fmla="*/ 1445791 w 3024845"/>
                <a:gd name="connsiteY271" fmla="*/ 555577 h 1078499"/>
                <a:gd name="connsiteX272" fmla="*/ 1451111 w 3024845"/>
                <a:gd name="connsiteY272" fmla="*/ 555577 h 1078499"/>
                <a:gd name="connsiteX273" fmla="*/ 1451111 w 3024845"/>
                <a:gd name="connsiteY273" fmla="*/ 556928 h 1078499"/>
                <a:gd name="connsiteX274" fmla="*/ 1451111 w 3024845"/>
                <a:gd name="connsiteY274" fmla="*/ 566386 h 1078499"/>
                <a:gd name="connsiteX275" fmla="*/ 1489618 w 3024845"/>
                <a:gd name="connsiteY275" fmla="*/ 566386 h 1078499"/>
                <a:gd name="connsiteX276" fmla="*/ 1489618 w 3024845"/>
                <a:gd name="connsiteY276" fmla="*/ 704739 h 1078499"/>
                <a:gd name="connsiteX277" fmla="*/ 1491138 w 3024845"/>
                <a:gd name="connsiteY277" fmla="*/ 704739 h 1078499"/>
                <a:gd name="connsiteX278" fmla="*/ 1501778 w 3024845"/>
                <a:gd name="connsiteY278" fmla="*/ 704739 h 1078499"/>
                <a:gd name="connsiteX279" fmla="*/ 1501778 w 3024845"/>
                <a:gd name="connsiteY279" fmla="*/ 691769 h 1078499"/>
                <a:gd name="connsiteX280" fmla="*/ 1505832 w 3024845"/>
                <a:gd name="connsiteY280" fmla="*/ 691769 h 1078499"/>
                <a:gd name="connsiteX281" fmla="*/ 1505832 w 3024845"/>
                <a:gd name="connsiteY281" fmla="*/ 704739 h 1078499"/>
                <a:gd name="connsiteX282" fmla="*/ 1536232 w 3024845"/>
                <a:gd name="connsiteY282" fmla="*/ 704739 h 1078499"/>
                <a:gd name="connsiteX283" fmla="*/ 1536232 w 3024845"/>
                <a:gd name="connsiteY283" fmla="*/ 674474 h 1078499"/>
                <a:gd name="connsiteX284" fmla="*/ 1548392 w 3024845"/>
                <a:gd name="connsiteY284" fmla="*/ 674474 h 1078499"/>
                <a:gd name="connsiteX285" fmla="*/ 1560552 w 3024845"/>
                <a:gd name="connsiteY285" fmla="*/ 672313 h 1078499"/>
                <a:gd name="connsiteX286" fmla="*/ 1564606 w 3024845"/>
                <a:gd name="connsiteY286" fmla="*/ 674474 h 1078499"/>
                <a:gd name="connsiteX287" fmla="*/ 1574739 w 3024845"/>
                <a:gd name="connsiteY287" fmla="*/ 674474 h 1078499"/>
                <a:gd name="connsiteX288" fmla="*/ 1574739 w 3024845"/>
                <a:gd name="connsiteY288" fmla="*/ 704739 h 1078499"/>
                <a:gd name="connsiteX289" fmla="*/ 1582846 w 3024845"/>
                <a:gd name="connsiteY289" fmla="*/ 704739 h 1078499"/>
                <a:gd name="connsiteX290" fmla="*/ 1582846 w 3024845"/>
                <a:gd name="connsiteY290" fmla="*/ 722034 h 1078499"/>
                <a:gd name="connsiteX291" fmla="*/ 1592182 w 3024845"/>
                <a:gd name="connsiteY291" fmla="*/ 722939 h 1078499"/>
                <a:gd name="connsiteX292" fmla="*/ 1605140 w 3024845"/>
                <a:gd name="connsiteY292" fmla="*/ 722939 h 1078499"/>
                <a:gd name="connsiteX293" fmla="*/ 1605140 w 3024845"/>
                <a:gd name="connsiteY293" fmla="*/ 706901 h 1078499"/>
                <a:gd name="connsiteX294" fmla="*/ 1673096 w 3024845"/>
                <a:gd name="connsiteY294" fmla="*/ 706901 h 1078499"/>
                <a:gd name="connsiteX295" fmla="*/ 1673096 w 3024845"/>
                <a:gd name="connsiteY295" fmla="*/ 621648 h 1078499"/>
                <a:gd name="connsiteX296" fmla="*/ 1745104 w 3024845"/>
                <a:gd name="connsiteY296" fmla="*/ 621648 h 1078499"/>
                <a:gd name="connsiteX297" fmla="*/ 1745104 w 3024845"/>
                <a:gd name="connsiteY297" fmla="*/ 700416 h 1078499"/>
                <a:gd name="connsiteX298" fmla="*/ 1747008 w 3024845"/>
                <a:gd name="connsiteY298" fmla="*/ 700416 h 1078499"/>
                <a:gd name="connsiteX299" fmla="*/ 1748250 w 3024845"/>
                <a:gd name="connsiteY299" fmla="*/ 722939 h 1078499"/>
                <a:gd name="connsiteX300" fmla="*/ 1757926 w 3024845"/>
                <a:gd name="connsiteY300" fmla="*/ 722939 h 1078499"/>
                <a:gd name="connsiteX301" fmla="*/ 1759168 w 3024845"/>
                <a:gd name="connsiteY301" fmla="*/ 700416 h 1078499"/>
                <a:gd name="connsiteX302" fmla="*/ 1765248 w 3024845"/>
                <a:gd name="connsiteY302" fmla="*/ 700416 h 1078499"/>
                <a:gd name="connsiteX303" fmla="*/ 1766490 w 3024845"/>
                <a:gd name="connsiteY303" fmla="*/ 722939 h 1078499"/>
                <a:gd name="connsiteX304" fmla="*/ 1817112 w 3024845"/>
                <a:gd name="connsiteY304" fmla="*/ 722939 h 1078499"/>
                <a:gd name="connsiteX305" fmla="*/ 1817112 w 3024845"/>
                <a:gd name="connsiteY305" fmla="*/ 559911 h 1078499"/>
                <a:gd name="connsiteX306" fmla="*/ 2014439 w 3024845"/>
                <a:gd name="connsiteY306" fmla="*/ 559911 h 1078499"/>
                <a:gd name="connsiteX307" fmla="*/ 2014439 w 3024845"/>
                <a:gd name="connsiteY307" fmla="*/ 722939 h 1078499"/>
                <a:gd name="connsiteX308" fmla="*/ 2033136 w 3024845"/>
                <a:gd name="connsiteY308" fmla="*/ 722939 h 1078499"/>
                <a:gd name="connsiteX309" fmla="*/ 2033136 w 3024845"/>
                <a:gd name="connsiteY309" fmla="*/ 640246 h 1078499"/>
                <a:gd name="connsiteX310" fmla="*/ 2128256 w 3024845"/>
                <a:gd name="connsiteY310" fmla="*/ 640246 h 1078499"/>
                <a:gd name="connsiteX311" fmla="*/ 2140186 w 3024845"/>
                <a:gd name="connsiteY311" fmla="*/ 322105 h 1078499"/>
                <a:gd name="connsiteX312" fmla="*/ 2128026 w 3024845"/>
                <a:gd name="connsiteY312" fmla="*/ 300487 h 1078499"/>
                <a:gd name="connsiteX313" fmla="*/ 2121946 w 3024845"/>
                <a:gd name="connsiteY313" fmla="*/ 296163 h 1078499"/>
                <a:gd name="connsiteX314" fmla="*/ 2130053 w 3024845"/>
                <a:gd name="connsiteY314" fmla="*/ 272384 h 1078499"/>
                <a:gd name="connsiteX315" fmla="*/ 2130053 w 3024845"/>
                <a:gd name="connsiteY315" fmla="*/ 255090 h 1078499"/>
                <a:gd name="connsiteX316" fmla="*/ 2144240 w 3024845"/>
                <a:gd name="connsiteY316" fmla="*/ 255090 h 1078499"/>
                <a:gd name="connsiteX317" fmla="*/ 2144240 w 3024845"/>
                <a:gd name="connsiteY317" fmla="*/ 233472 h 1078499"/>
                <a:gd name="connsiteX318" fmla="*/ 2146266 w 3024845"/>
                <a:gd name="connsiteY318" fmla="*/ 229148 h 1078499"/>
                <a:gd name="connsiteX319" fmla="*/ 2146266 w 3024845"/>
                <a:gd name="connsiteY319" fmla="*/ 151324 h 1078499"/>
                <a:gd name="connsiteX320" fmla="*/ 2144240 w 3024845"/>
                <a:gd name="connsiteY320" fmla="*/ 144839 h 1078499"/>
                <a:gd name="connsiteX321" fmla="*/ 2150320 w 3024845"/>
                <a:gd name="connsiteY321" fmla="*/ 138353 h 1078499"/>
                <a:gd name="connsiteX322" fmla="*/ 2150320 w 3024845"/>
                <a:gd name="connsiteY322" fmla="*/ 79985 h 1078499"/>
                <a:gd name="connsiteX323" fmla="*/ 2152346 w 3024845"/>
                <a:gd name="connsiteY323" fmla="*/ 75662 h 1078499"/>
                <a:gd name="connsiteX324" fmla="*/ 2152346 w 3024845"/>
                <a:gd name="connsiteY324" fmla="*/ 19456 h 1078499"/>
                <a:gd name="connsiteX325" fmla="*/ 2154373 w 3024845"/>
                <a:gd name="connsiteY325" fmla="*/ 0 h 1078499"/>
                <a:gd name="connsiteX326" fmla="*/ 2158427 w 3024845"/>
                <a:gd name="connsiteY326" fmla="*/ 17294 h 1078499"/>
                <a:gd name="connsiteX327" fmla="*/ 2160453 w 3024845"/>
                <a:gd name="connsiteY327" fmla="*/ 75662 h 1078499"/>
                <a:gd name="connsiteX328" fmla="*/ 2162480 w 3024845"/>
                <a:gd name="connsiteY328" fmla="*/ 138353 h 1078499"/>
                <a:gd name="connsiteX329" fmla="*/ 2168560 w 3024845"/>
                <a:gd name="connsiteY329" fmla="*/ 144839 h 1078499"/>
                <a:gd name="connsiteX330" fmla="*/ 2166533 w 3024845"/>
                <a:gd name="connsiteY330" fmla="*/ 151324 h 1078499"/>
                <a:gd name="connsiteX331" fmla="*/ 2166533 w 3024845"/>
                <a:gd name="connsiteY331" fmla="*/ 229148 h 1078499"/>
                <a:gd name="connsiteX332" fmla="*/ 2168560 w 3024845"/>
                <a:gd name="connsiteY332" fmla="*/ 233472 h 1078499"/>
                <a:gd name="connsiteX333" fmla="*/ 2168560 w 3024845"/>
                <a:gd name="connsiteY333" fmla="*/ 255090 h 1078499"/>
                <a:gd name="connsiteX334" fmla="*/ 2182747 w 3024845"/>
                <a:gd name="connsiteY334" fmla="*/ 255090 h 1078499"/>
                <a:gd name="connsiteX335" fmla="*/ 2182747 w 3024845"/>
                <a:gd name="connsiteY335" fmla="*/ 272384 h 1078499"/>
                <a:gd name="connsiteX336" fmla="*/ 2190854 w 3024845"/>
                <a:gd name="connsiteY336" fmla="*/ 296163 h 1078499"/>
                <a:gd name="connsiteX337" fmla="*/ 2184774 w 3024845"/>
                <a:gd name="connsiteY337" fmla="*/ 300487 h 1078499"/>
                <a:gd name="connsiteX338" fmla="*/ 2172613 w 3024845"/>
                <a:gd name="connsiteY338" fmla="*/ 322105 h 1078499"/>
                <a:gd name="connsiteX339" fmla="*/ 2180720 w 3024845"/>
                <a:gd name="connsiteY339" fmla="*/ 575033 h 1078499"/>
                <a:gd name="connsiteX340" fmla="*/ 2245574 w 3024845"/>
                <a:gd name="connsiteY340" fmla="*/ 575033 h 1078499"/>
                <a:gd name="connsiteX341" fmla="*/ 2245574 w 3024845"/>
                <a:gd name="connsiteY341" fmla="*/ 650695 h 1078499"/>
                <a:gd name="connsiteX342" fmla="*/ 2253681 w 3024845"/>
                <a:gd name="connsiteY342" fmla="*/ 650695 h 1078499"/>
                <a:gd name="connsiteX343" fmla="*/ 2255708 w 3024845"/>
                <a:gd name="connsiteY343" fmla="*/ 644210 h 1078499"/>
                <a:gd name="connsiteX344" fmla="*/ 2261788 w 3024845"/>
                <a:gd name="connsiteY344" fmla="*/ 644210 h 1078499"/>
                <a:gd name="connsiteX345" fmla="*/ 2263815 w 3024845"/>
                <a:gd name="connsiteY345" fmla="*/ 652857 h 1078499"/>
                <a:gd name="connsiteX346" fmla="*/ 2275975 w 3024845"/>
                <a:gd name="connsiteY346" fmla="*/ 652857 h 1078499"/>
                <a:gd name="connsiteX347" fmla="*/ 2275975 w 3024845"/>
                <a:gd name="connsiteY347" fmla="*/ 646371 h 1078499"/>
                <a:gd name="connsiteX348" fmla="*/ 2298268 w 3024845"/>
                <a:gd name="connsiteY348" fmla="*/ 646371 h 1078499"/>
                <a:gd name="connsiteX349" fmla="*/ 2298268 w 3024845"/>
                <a:gd name="connsiteY349" fmla="*/ 652857 h 1078499"/>
                <a:gd name="connsiteX350" fmla="*/ 2318535 w 3024845"/>
                <a:gd name="connsiteY350" fmla="*/ 652857 h 1078499"/>
                <a:gd name="connsiteX351" fmla="*/ 2318535 w 3024845"/>
                <a:gd name="connsiteY351" fmla="*/ 698254 h 1078499"/>
                <a:gd name="connsiteX352" fmla="*/ 2332722 w 3024845"/>
                <a:gd name="connsiteY352" fmla="*/ 698254 h 1078499"/>
                <a:gd name="connsiteX353" fmla="*/ 2332722 w 3024845"/>
                <a:gd name="connsiteY353" fmla="*/ 685283 h 1078499"/>
                <a:gd name="connsiteX354" fmla="*/ 2348936 w 3024845"/>
                <a:gd name="connsiteY354" fmla="*/ 685283 h 1078499"/>
                <a:gd name="connsiteX355" fmla="*/ 2348936 w 3024845"/>
                <a:gd name="connsiteY355" fmla="*/ 505856 h 1078499"/>
                <a:gd name="connsiteX356" fmla="*/ 2355016 w 3024845"/>
                <a:gd name="connsiteY356" fmla="*/ 499370 h 1078499"/>
                <a:gd name="connsiteX357" fmla="*/ 2427977 w 3024845"/>
                <a:gd name="connsiteY357" fmla="*/ 499370 h 1078499"/>
                <a:gd name="connsiteX358" fmla="*/ 2427977 w 3024845"/>
                <a:gd name="connsiteY358" fmla="*/ 508018 h 1078499"/>
                <a:gd name="connsiteX359" fmla="*/ 2438110 w 3024845"/>
                <a:gd name="connsiteY359" fmla="*/ 508018 h 1078499"/>
                <a:gd name="connsiteX360" fmla="*/ 2438110 w 3024845"/>
                <a:gd name="connsiteY360" fmla="*/ 622592 h 1078499"/>
                <a:gd name="connsiteX361" fmla="*/ 2460404 w 3024845"/>
                <a:gd name="connsiteY361" fmla="*/ 622592 h 1078499"/>
                <a:gd name="connsiteX362" fmla="*/ 2460404 w 3024845"/>
                <a:gd name="connsiteY362" fmla="*/ 555577 h 1078499"/>
                <a:gd name="connsiteX363" fmla="*/ 2486751 w 3024845"/>
                <a:gd name="connsiteY363" fmla="*/ 555577 h 1078499"/>
                <a:gd name="connsiteX364" fmla="*/ 2490804 w 3024845"/>
                <a:gd name="connsiteY364" fmla="*/ 551253 h 1078499"/>
                <a:gd name="connsiteX365" fmla="*/ 2498911 w 3024845"/>
                <a:gd name="connsiteY365" fmla="*/ 551253 h 1078499"/>
                <a:gd name="connsiteX366" fmla="*/ 2502964 w 3024845"/>
                <a:gd name="connsiteY366" fmla="*/ 555577 h 1078499"/>
                <a:gd name="connsiteX367" fmla="*/ 2525258 w 3024845"/>
                <a:gd name="connsiteY367" fmla="*/ 555577 h 1078499"/>
                <a:gd name="connsiteX368" fmla="*/ 2525258 w 3024845"/>
                <a:gd name="connsiteY368" fmla="*/ 438841 h 1078499"/>
                <a:gd name="connsiteX369" fmla="*/ 2582005 w 3024845"/>
                <a:gd name="connsiteY369" fmla="*/ 428032 h 1078499"/>
                <a:gd name="connsiteX370" fmla="*/ 2582005 w 3024845"/>
                <a:gd name="connsiteY370" fmla="*/ 429113 h 1078499"/>
                <a:gd name="connsiteX371" fmla="*/ 2582005 w 3024845"/>
                <a:gd name="connsiteY371" fmla="*/ 436679 h 1078499"/>
                <a:gd name="connsiteX372" fmla="*/ 2608352 w 3024845"/>
                <a:gd name="connsiteY372" fmla="*/ 436679 h 1078499"/>
                <a:gd name="connsiteX373" fmla="*/ 2608352 w 3024845"/>
                <a:gd name="connsiteY373" fmla="*/ 691769 h 1078499"/>
                <a:gd name="connsiteX374" fmla="*/ 2630646 w 3024845"/>
                <a:gd name="connsiteY374" fmla="*/ 691769 h 1078499"/>
                <a:gd name="connsiteX375" fmla="*/ 2630646 w 3024845"/>
                <a:gd name="connsiteY375" fmla="*/ 687445 h 1078499"/>
                <a:gd name="connsiteX376" fmla="*/ 2642806 w 3024845"/>
                <a:gd name="connsiteY376" fmla="*/ 687445 h 1078499"/>
                <a:gd name="connsiteX377" fmla="*/ 2642806 w 3024845"/>
                <a:gd name="connsiteY377" fmla="*/ 691769 h 1078499"/>
                <a:gd name="connsiteX378" fmla="*/ 2667126 w 3024845"/>
                <a:gd name="connsiteY378" fmla="*/ 691769 h 1078499"/>
                <a:gd name="connsiteX379" fmla="*/ 2667126 w 3024845"/>
                <a:gd name="connsiteY379" fmla="*/ 678798 h 1078499"/>
                <a:gd name="connsiteX380" fmla="*/ 2695500 w 3024845"/>
                <a:gd name="connsiteY380" fmla="*/ 678798 h 1078499"/>
                <a:gd name="connsiteX381" fmla="*/ 2707660 w 3024845"/>
                <a:gd name="connsiteY381" fmla="*/ 674474 h 1078499"/>
                <a:gd name="connsiteX382" fmla="*/ 2727927 w 3024845"/>
                <a:gd name="connsiteY382" fmla="*/ 678798 h 1078499"/>
                <a:gd name="connsiteX383" fmla="*/ 2727927 w 3024845"/>
                <a:gd name="connsiteY383" fmla="*/ 661504 h 1078499"/>
                <a:gd name="connsiteX384" fmla="*/ 2736034 w 3024845"/>
                <a:gd name="connsiteY384" fmla="*/ 661504 h 1078499"/>
                <a:gd name="connsiteX385" fmla="*/ 2736034 w 3024845"/>
                <a:gd name="connsiteY385" fmla="*/ 648533 h 1078499"/>
                <a:gd name="connsiteX386" fmla="*/ 2792781 w 3024845"/>
                <a:gd name="connsiteY386" fmla="*/ 648533 h 1078499"/>
                <a:gd name="connsiteX387" fmla="*/ 2792781 w 3024845"/>
                <a:gd name="connsiteY387" fmla="*/ 618268 h 1078499"/>
                <a:gd name="connsiteX388" fmla="*/ 2811021 w 3024845"/>
                <a:gd name="connsiteY388" fmla="*/ 618268 h 1078499"/>
                <a:gd name="connsiteX389" fmla="*/ 2811021 w 3024845"/>
                <a:gd name="connsiteY389" fmla="*/ 611783 h 1078499"/>
                <a:gd name="connsiteX390" fmla="*/ 2823181 w 3024845"/>
                <a:gd name="connsiteY390" fmla="*/ 611783 h 1078499"/>
                <a:gd name="connsiteX391" fmla="*/ 2823181 w 3024845"/>
                <a:gd name="connsiteY391" fmla="*/ 618268 h 1078499"/>
                <a:gd name="connsiteX392" fmla="*/ 2839395 w 3024845"/>
                <a:gd name="connsiteY392" fmla="*/ 618268 h 1078499"/>
                <a:gd name="connsiteX393" fmla="*/ 2839395 w 3024845"/>
                <a:gd name="connsiteY393" fmla="*/ 667989 h 1078499"/>
                <a:gd name="connsiteX394" fmla="*/ 2871822 w 3024845"/>
                <a:gd name="connsiteY394" fmla="*/ 667989 h 1078499"/>
                <a:gd name="connsiteX395" fmla="*/ 2871822 w 3024845"/>
                <a:gd name="connsiteY395" fmla="*/ 642048 h 1078499"/>
                <a:gd name="connsiteX396" fmla="*/ 2910329 w 3024845"/>
                <a:gd name="connsiteY396" fmla="*/ 642048 h 1078499"/>
                <a:gd name="connsiteX397" fmla="*/ 2910329 w 3024845"/>
                <a:gd name="connsiteY397" fmla="*/ 611783 h 1078499"/>
                <a:gd name="connsiteX398" fmla="*/ 2958970 w 3024845"/>
                <a:gd name="connsiteY398" fmla="*/ 611783 h 1078499"/>
                <a:gd name="connsiteX399" fmla="*/ 2958970 w 3024845"/>
                <a:gd name="connsiteY399" fmla="*/ 722939 h 1078499"/>
                <a:gd name="connsiteX400" fmla="*/ 2958970 w 3024845"/>
                <a:gd name="connsiteY400" fmla="*/ 736718 h 1078499"/>
                <a:gd name="connsiteX401" fmla="*/ 3024845 w 3024845"/>
                <a:gd name="connsiteY401" fmla="*/ 736718 h 1078499"/>
                <a:gd name="connsiteX402" fmla="*/ 3024845 w 3024845"/>
                <a:gd name="connsiteY402" fmla="*/ 1078499 h 1078499"/>
                <a:gd name="connsiteX403" fmla="*/ 2054 w 3024845"/>
                <a:gd name="connsiteY403" fmla="*/ 1076166 h 1078499"/>
                <a:gd name="connsiteX404" fmla="*/ 0 w 3024845"/>
                <a:gd name="connsiteY404" fmla="*/ 642048 h 1078499"/>
                <a:gd name="connsiteX405" fmla="*/ 20267 w 3024845"/>
                <a:gd name="connsiteY405" fmla="*/ 642048 h 1078499"/>
                <a:gd name="connsiteX406" fmla="*/ 20774 w 3024845"/>
                <a:gd name="connsiteY406" fmla="*/ 640967 h 1078499"/>
                <a:gd name="connsiteX407" fmla="*/ 24320 w 3024845"/>
                <a:gd name="connsiteY407" fmla="*/ 633401 h 1078499"/>
                <a:gd name="connsiteX408" fmla="*/ 26094 w 3024845"/>
                <a:gd name="connsiteY408" fmla="*/ 633671 h 1078499"/>
                <a:gd name="connsiteX409" fmla="*/ 38507 w 3024845"/>
                <a:gd name="connsiteY409" fmla="*/ 635562 h 1078499"/>
                <a:gd name="connsiteX410" fmla="*/ 39014 w 3024845"/>
                <a:gd name="connsiteY410" fmla="*/ 636914 h 1078499"/>
                <a:gd name="connsiteX411" fmla="*/ 42560 w 3024845"/>
                <a:gd name="connsiteY411" fmla="*/ 646371 h 1078499"/>
                <a:gd name="connsiteX412" fmla="*/ 68907 w 3024845"/>
                <a:gd name="connsiteY412" fmla="*/ 648533 h 1078499"/>
                <a:gd name="connsiteX413" fmla="*/ 68907 w 3024845"/>
                <a:gd name="connsiteY413" fmla="*/ 525312 h 1078499"/>
                <a:gd name="connsiteX414" fmla="*/ 70934 w 3024845"/>
                <a:gd name="connsiteY414" fmla="*/ 525312 h 1078499"/>
                <a:gd name="connsiteX415" fmla="*/ 85121 w 3024845"/>
                <a:gd name="connsiteY415" fmla="*/ 525312 h 1078499"/>
                <a:gd name="connsiteX416" fmla="*/ 85121 w 3024845"/>
                <a:gd name="connsiteY416" fmla="*/ 389120 h 1078499"/>
                <a:gd name="connsiteX417" fmla="*/ 86894 w 3024845"/>
                <a:gd name="connsiteY417" fmla="*/ 389120 h 1078499"/>
                <a:gd name="connsiteX418" fmla="*/ 99308 w 3024845"/>
                <a:gd name="connsiteY418" fmla="*/ 389120 h 1078499"/>
                <a:gd name="connsiteX419" fmla="*/ 99308 w 3024845"/>
                <a:gd name="connsiteY419" fmla="*/ 274546 h 1078499"/>
                <a:gd name="connsiteX420" fmla="*/ 103361 w 3024845"/>
                <a:gd name="connsiteY420" fmla="*/ 246442 h 1078499"/>
                <a:gd name="connsiteX421" fmla="*/ 105388 w 3024845"/>
                <a:gd name="connsiteY421" fmla="*/ 246442 h 1078499"/>
                <a:gd name="connsiteX422" fmla="*/ 119575 w 3024845"/>
                <a:gd name="connsiteY422" fmla="*/ 246442 h 1078499"/>
                <a:gd name="connsiteX423" fmla="*/ 156055 w 3024845"/>
                <a:gd name="connsiteY423" fmla="*/ 164295 h 1078499"/>
                <a:gd name="connsiteX0" fmla="*/ 119575 w 3024845"/>
                <a:gd name="connsiteY0" fmla="*/ 246442 h 1078499"/>
                <a:gd name="connsiteX1" fmla="*/ 162135 w 3024845"/>
                <a:gd name="connsiteY1" fmla="*/ 164295 h 1078499"/>
                <a:gd name="connsiteX2" fmla="*/ 200642 w 3024845"/>
                <a:gd name="connsiteY2" fmla="*/ 244281 h 1078499"/>
                <a:gd name="connsiteX3" fmla="*/ 202669 w 3024845"/>
                <a:gd name="connsiteY3" fmla="*/ 244281 h 1078499"/>
                <a:gd name="connsiteX4" fmla="*/ 216856 w 3024845"/>
                <a:gd name="connsiteY4" fmla="*/ 244281 h 1078499"/>
                <a:gd name="connsiteX5" fmla="*/ 216856 w 3024845"/>
                <a:gd name="connsiteY5" fmla="*/ 268060 h 1078499"/>
                <a:gd name="connsiteX6" fmla="*/ 217363 w 3024845"/>
                <a:gd name="connsiteY6" fmla="*/ 268871 h 1078499"/>
                <a:gd name="connsiteX7" fmla="*/ 220909 w 3024845"/>
                <a:gd name="connsiteY7" fmla="*/ 274546 h 1078499"/>
                <a:gd name="connsiteX8" fmla="*/ 220909 w 3024845"/>
                <a:gd name="connsiteY8" fmla="*/ 389120 h 1078499"/>
                <a:gd name="connsiteX9" fmla="*/ 223189 w 3024845"/>
                <a:gd name="connsiteY9" fmla="*/ 389120 h 1078499"/>
                <a:gd name="connsiteX10" fmla="*/ 239150 w 3024845"/>
                <a:gd name="connsiteY10" fmla="*/ 389120 h 1078499"/>
                <a:gd name="connsiteX11" fmla="*/ 239150 w 3024845"/>
                <a:gd name="connsiteY11" fmla="*/ 529635 h 1078499"/>
                <a:gd name="connsiteX12" fmla="*/ 240670 w 3024845"/>
                <a:gd name="connsiteY12" fmla="*/ 529365 h 1078499"/>
                <a:gd name="connsiteX13" fmla="*/ 251310 w 3024845"/>
                <a:gd name="connsiteY13" fmla="*/ 527474 h 1078499"/>
                <a:gd name="connsiteX14" fmla="*/ 249283 w 3024845"/>
                <a:gd name="connsiteY14" fmla="*/ 616106 h 1078499"/>
                <a:gd name="connsiteX15" fmla="*/ 250803 w 3024845"/>
                <a:gd name="connsiteY15" fmla="*/ 616377 h 1078499"/>
                <a:gd name="connsiteX16" fmla="*/ 261443 w 3024845"/>
                <a:gd name="connsiteY16" fmla="*/ 618268 h 1078499"/>
                <a:gd name="connsiteX17" fmla="*/ 261696 w 3024845"/>
                <a:gd name="connsiteY17" fmla="*/ 619079 h 1078499"/>
                <a:gd name="connsiteX18" fmla="*/ 263470 w 3024845"/>
                <a:gd name="connsiteY18" fmla="*/ 624754 h 1078499"/>
                <a:gd name="connsiteX19" fmla="*/ 264230 w 3024845"/>
                <a:gd name="connsiteY19" fmla="*/ 622322 h 1078499"/>
                <a:gd name="connsiteX20" fmla="*/ 269550 w 3024845"/>
                <a:gd name="connsiteY20" fmla="*/ 605298 h 1078499"/>
                <a:gd name="connsiteX21" fmla="*/ 271323 w 3024845"/>
                <a:gd name="connsiteY21" fmla="*/ 605298 h 1078499"/>
                <a:gd name="connsiteX22" fmla="*/ 283737 w 3024845"/>
                <a:gd name="connsiteY22" fmla="*/ 605298 h 1078499"/>
                <a:gd name="connsiteX23" fmla="*/ 283737 w 3024845"/>
                <a:gd name="connsiteY23" fmla="*/ 637724 h 1078499"/>
                <a:gd name="connsiteX24" fmla="*/ 284750 w 3024845"/>
                <a:gd name="connsiteY24" fmla="*/ 638265 h 1078499"/>
                <a:gd name="connsiteX25" fmla="*/ 291844 w 3024845"/>
                <a:gd name="connsiteY25" fmla="*/ 642048 h 1078499"/>
                <a:gd name="connsiteX26" fmla="*/ 291844 w 3024845"/>
                <a:gd name="connsiteY26" fmla="*/ 643399 h 1078499"/>
                <a:gd name="connsiteX27" fmla="*/ 291844 w 3024845"/>
                <a:gd name="connsiteY27" fmla="*/ 652857 h 1078499"/>
                <a:gd name="connsiteX28" fmla="*/ 336431 w 3024845"/>
                <a:gd name="connsiteY28" fmla="*/ 652857 h 1078499"/>
                <a:gd name="connsiteX29" fmla="*/ 336431 w 3024845"/>
                <a:gd name="connsiteY29" fmla="*/ 653938 h 1078499"/>
                <a:gd name="connsiteX30" fmla="*/ 336431 w 3024845"/>
                <a:gd name="connsiteY30" fmla="*/ 661504 h 1078499"/>
                <a:gd name="connsiteX31" fmla="*/ 338457 w 3024845"/>
                <a:gd name="connsiteY31" fmla="*/ 661504 h 1078499"/>
                <a:gd name="connsiteX32" fmla="*/ 352644 w 3024845"/>
                <a:gd name="connsiteY32" fmla="*/ 661504 h 1078499"/>
                <a:gd name="connsiteX33" fmla="*/ 352644 w 3024845"/>
                <a:gd name="connsiteY33" fmla="*/ 631239 h 1078499"/>
                <a:gd name="connsiteX34" fmla="*/ 397231 w 3024845"/>
                <a:gd name="connsiteY34" fmla="*/ 631239 h 1078499"/>
                <a:gd name="connsiteX35" fmla="*/ 397231 w 3024845"/>
                <a:gd name="connsiteY35" fmla="*/ 629888 h 1078499"/>
                <a:gd name="connsiteX36" fmla="*/ 397231 w 3024845"/>
                <a:gd name="connsiteY36" fmla="*/ 620430 h 1078499"/>
                <a:gd name="connsiteX37" fmla="*/ 398245 w 3024845"/>
                <a:gd name="connsiteY37" fmla="*/ 620430 h 1078499"/>
                <a:gd name="connsiteX38" fmla="*/ 405338 w 3024845"/>
                <a:gd name="connsiteY38" fmla="*/ 620430 h 1078499"/>
                <a:gd name="connsiteX39" fmla="*/ 405338 w 3024845"/>
                <a:gd name="connsiteY39" fmla="*/ 618539 h 1078499"/>
                <a:gd name="connsiteX40" fmla="*/ 405338 w 3024845"/>
                <a:gd name="connsiteY40" fmla="*/ 605298 h 1078499"/>
                <a:gd name="connsiteX41" fmla="*/ 406098 w 3024845"/>
                <a:gd name="connsiteY41" fmla="*/ 605298 h 1078499"/>
                <a:gd name="connsiteX42" fmla="*/ 411418 w 3024845"/>
                <a:gd name="connsiteY42" fmla="*/ 605298 h 1078499"/>
                <a:gd name="connsiteX43" fmla="*/ 411418 w 3024845"/>
                <a:gd name="connsiteY43" fmla="*/ 604217 h 1078499"/>
                <a:gd name="connsiteX44" fmla="*/ 411418 w 3024845"/>
                <a:gd name="connsiteY44" fmla="*/ 596650 h 1078499"/>
                <a:gd name="connsiteX45" fmla="*/ 413445 w 3024845"/>
                <a:gd name="connsiteY45" fmla="*/ 596650 h 1078499"/>
                <a:gd name="connsiteX46" fmla="*/ 427632 w 3024845"/>
                <a:gd name="connsiteY46" fmla="*/ 596650 h 1078499"/>
                <a:gd name="connsiteX47" fmla="*/ 427632 w 3024845"/>
                <a:gd name="connsiteY47" fmla="*/ 597731 h 1078499"/>
                <a:gd name="connsiteX48" fmla="*/ 427632 w 3024845"/>
                <a:gd name="connsiteY48" fmla="*/ 605298 h 1078499"/>
                <a:gd name="connsiteX49" fmla="*/ 449925 w 3024845"/>
                <a:gd name="connsiteY49" fmla="*/ 605298 h 1078499"/>
                <a:gd name="connsiteX50" fmla="*/ 449925 w 3024845"/>
                <a:gd name="connsiteY50" fmla="*/ 603406 h 1078499"/>
                <a:gd name="connsiteX51" fmla="*/ 449925 w 3024845"/>
                <a:gd name="connsiteY51" fmla="*/ 590165 h 1078499"/>
                <a:gd name="connsiteX52" fmla="*/ 451699 w 3024845"/>
                <a:gd name="connsiteY52" fmla="*/ 590165 h 1078499"/>
                <a:gd name="connsiteX53" fmla="*/ 464112 w 3024845"/>
                <a:gd name="connsiteY53" fmla="*/ 590165 h 1078499"/>
                <a:gd name="connsiteX54" fmla="*/ 464112 w 3024845"/>
                <a:gd name="connsiteY54" fmla="*/ 613945 h 1078499"/>
                <a:gd name="connsiteX55" fmla="*/ 465126 w 3024845"/>
                <a:gd name="connsiteY55" fmla="*/ 613945 h 1078499"/>
                <a:gd name="connsiteX56" fmla="*/ 472219 w 3024845"/>
                <a:gd name="connsiteY56" fmla="*/ 613945 h 1078499"/>
                <a:gd name="connsiteX57" fmla="*/ 472219 w 3024845"/>
                <a:gd name="connsiteY57" fmla="*/ 612864 h 1078499"/>
                <a:gd name="connsiteX58" fmla="*/ 472219 w 3024845"/>
                <a:gd name="connsiteY58" fmla="*/ 605298 h 1078499"/>
                <a:gd name="connsiteX59" fmla="*/ 473992 w 3024845"/>
                <a:gd name="connsiteY59" fmla="*/ 605298 h 1078499"/>
                <a:gd name="connsiteX60" fmla="*/ 486406 w 3024845"/>
                <a:gd name="connsiteY60" fmla="*/ 605298 h 1078499"/>
                <a:gd name="connsiteX61" fmla="*/ 486406 w 3024845"/>
                <a:gd name="connsiteY61" fmla="*/ 631239 h 1078499"/>
                <a:gd name="connsiteX62" fmla="*/ 488433 w 3024845"/>
                <a:gd name="connsiteY62" fmla="*/ 631239 h 1078499"/>
                <a:gd name="connsiteX63" fmla="*/ 502619 w 3024845"/>
                <a:gd name="connsiteY63" fmla="*/ 631239 h 1078499"/>
                <a:gd name="connsiteX64" fmla="*/ 502619 w 3024845"/>
                <a:gd name="connsiteY64" fmla="*/ 632860 h 1078499"/>
                <a:gd name="connsiteX65" fmla="*/ 502619 w 3024845"/>
                <a:gd name="connsiteY65" fmla="*/ 644210 h 1078499"/>
                <a:gd name="connsiteX66" fmla="*/ 503379 w 3024845"/>
                <a:gd name="connsiteY66" fmla="*/ 644210 h 1078499"/>
                <a:gd name="connsiteX67" fmla="*/ 508700 w 3024845"/>
                <a:gd name="connsiteY67" fmla="*/ 644210 h 1078499"/>
                <a:gd name="connsiteX68" fmla="*/ 508700 w 3024845"/>
                <a:gd name="connsiteY68" fmla="*/ 643399 h 1078499"/>
                <a:gd name="connsiteX69" fmla="*/ 508700 w 3024845"/>
                <a:gd name="connsiteY69" fmla="*/ 637724 h 1078499"/>
                <a:gd name="connsiteX70" fmla="*/ 539100 w 3024845"/>
                <a:gd name="connsiteY70" fmla="*/ 637724 h 1078499"/>
                <a:gd name="connsiteX71" fmla="*/ 539100 w 3024845"/>
                <a:gd name="connsiteY71" fmla="*/ 661504 h 1078499"/>
                <a:gd name="connsiteX72" fmla="*/ 540113 w 3024845"/>
                <a:gd name="connsiteY72" fmla="*/ 661504 h 1078499"/>
                <a:gd name="connsiteX73" fmla="*/ 547207 w 3024845"/>
                <a:gd name="connsiteY73" fmla="*/ 661504 h 1078499"/>
                <a:gd name="connsiteX74" fmla="*/ 547207 w 3024845"/>
                <a:gd name="connsiteY74" fmla="*/ 662585 h 1078499"/>
                <a:gd name="connsiteX75" fmla="*/ 547207 w 3024845"/>
                <a:gd name="connsiteY75" fmla="*/ 670151 h 1078499"/>
                <a:gd name="connsiteX76" fmla="*/ 547967 w 3024845"/>
                <a:gd name="connsiteY76" fmla="*/ 670151 h 1078499"/>
                <a:gd name="connsiteX77" fmla="*/ 553287 w 3024845"/>
                <a:gd name="connsiteY77" fmla="*/ 670151 h 1078499"/>
                <a:gd name="connsiteX78" fmla="*/ 553287 w 3024845"/>
                <a:gd name="connsiteY78" fmla="*/ 667989 h 1078499"/>
                <a:gd name="connsiteX79" fmla="*/ 553287 w 3024845"/>
                <a:gd name="connsiteY79" fmla="*/ 652857 h 1078499"/>
                <a:gd name="connsiteX80" fmla="*/ 554300 w 3024845"/>
                <a:gd name="connsiteY80" fmla="*/ 652857 h 1078499"/>
                <a:gd name="connsiteX81" fmla="*/ 561394 w 3024845"/>
                <a:gd name="connsiteY81" fmla="*/ 652857 h 1078499"/>
                <a:gd name="connsiteX82" fmla="*/ 561394 w 3024845"/>
                <a:gd name="connsiteY82" fmla="*/ 653938 h 1078499"/>
                <a:gd name="connsiteX83" fmla="*/ 561394 w 3024845"/>
                <a:gd name="connsiteY83" fmla="*/ 661504 h 1078499"/>
                <a:gd name="connsiteX84" fmla="*/ 566714 w 3024845"/>
                <a:gd name="connsiteY84" fmla="*/ 659511 h 1078499"/>
                <a:gd name="connsiteX85" fmla="*/ 567474 w 3024845"/>
                <a:gd name="connsiteY85" fmla="*/ 658531 h 1078499"/>
                <a:gd name="connsiteX86" fmla="*/ 567474 w 3024845"/>
                <a:gd name="connsiteY86" fmla="*/ 652857 h 1078499"/>
                <a:gd name="connsiteX87" fmla="*/ 605981 w 3024845"/>
                <a:gd name="connsiteY87" fmla="*/ 652857 h 1078499"/>
                <a:gd name="connsiteX88" fmla="*/ 605981 w 3024845"/>
                <a:gd name="connsiteY88" fmla="*/ 676636 h 1078499"/>
                <a:gd name="connsiteX89" fmla="*/ 608007 w 3024845"/>
                <a:gd name="connsiteY89" fmla="*/ 676636 h 1078499"/>
                <a:gd name="connsiteX90" fmla="*/ 622194 w 3024845"/>
                <a:gd name="connsiteY90" fmla="*/ 676636 h 1078499"/>
                <a:gd name="connsiteX91" fmla="*/ 622194 w 3024845"/>
                <a:gd name="connsiteY91" fmla="*/ 677717 h 1078499"/>
                <a:gd name="connsiteX92" fmla="*/ 622194 w 3024845"/>
                <a:gd name="connsiteY92" fmla="*/ 685283 h 1078499"/>
                <a:gd name="connsiteX93" fmla="*/ 623968 w 3024845"/>
                <a:gd name="connsiteY93" fmla="*/ 685283 h 1078499"/>
                <a:gd name="connsiteX94" fmla="*/ 636381 w 3024845"/>
                <a:gd name="connsiteY94" fmla="*/ 685283 h 1078499"/>
                <a:gd name="connsiteX95" fmla="*/ 636381 w 3024845"/>
                <a:gd name="connsiteY95" fmla="*/ 661504 h 1078499"/>
                <a:gd name="connsiteX96" fmla="*/ 637394 w 3024845"/>
                <a:gd name="connsiteY96" fmla="*/ 661504 h 1078499"/>
                <a:gd name="connsiteX97" fmla="*/ 644488 w 3024845"/>
                <a:gd name="connsiteY97" fmla="*/ 661504 h 1078499"/>
                <a:gd name="connsiteX98" fmla="*/ 644488 w 3024845"/>
                <a:gd name="connsiteY98" fmla="*/ 629077 h 1078499"/>
                <a:gd name="connsiteX99" fmla="*/ 645501 w 3024845"/>
                <a:gd name="connsiteY99" fmla="*/ 629077 h 1078499"/>
                <a:gd name="connsiteX100" fmla="*/ 652595 w 3024845"/>
                <a:gd name="connsiteY100" fmla="*/ 629077 h 1078499"/>
                <a:gd name="connsiteX101" fmla="*/ 652595 w 3024845"/>
                <a:gd name="connsiteY101" fmla="*/ 627186 h 1078499"/>
                <a:gd name="connsiteX102" fmla="*/ 652595 w 3024845"/>
                <a:gd name="connsiteY102" fmla="*/ 613945 h 1078499"/>
                <a:gd name="connsiteX103" fmla="*/ 651328 w 3024845"/>
                <a:gd name="connsiteY103" fmla="*/ 612323 h 1078499"/>
                <a:gd name="connsiteX104" fmla="*/ 656648 w 3024845"/>
                <a:gd name="connsiteY104" fmla="*/ 600974 h 1078499"/>
                <a:gd name="connsiteX105" fmla="*/ 664755 w 3024845"/>
                <a:gd name="connsiteY105" fmla="*/ 629077 h 1078499"/>
                <a:gd name="connsiteX106" fmla="*/ 665515 w 3024845"/>
                <a:gd name="connsiteY106" fmla="*/ 629077 h 1078499"/>
                <a:gd name="connsiteX107" fmla="*/ 670835 w 3024845"/>
                <a:gd name="connsiteY107" fmla="*/ 629077 h 1078499"/>
                <a:gd name="connsiteX108" fmla="*/ 670835 w 3024845"/>
                <a:gd name="connsiteY108" fmla="*/ 523150 h 1078499"/>
                <a:gd name="connsiteX109" fmla="*/ 672355 w 3024845"/>
                <a:gd name="connsiteY109" fmla="*/ 523150 h 1078499"/>
                <a:gd name="connsiteX110" fmla="*/ 682995 w 3024845"/>
                <a:gd name="connsiteY110" fmla="*/ 523150 h 1078499"/>
                <a:gd name="connsiteX111" fmla="*/ 682995 w 3024845"/>
                <a:gd name="connsiteY111" fmla="*/ 475591 h 1078499"/>
                <a:gd name="connsiteX112" fmla="*/ 709342 w 3024845"/>
                <a:gd name="connsiteY112" fmla="*/ 475591 h 1078499"/>
                <a:gd name="connsiteX113" fmla="*/ 709342 w 3024845"/>
                <a:gd name="connsiteY113" fmla="*/ 453973 h 1078499"/>
                <a:gd name="connsiteX114" fmla="*/ 743796 w 3024845"/>
                <a:gd name="connsiteY114" fmla="*/ 453973 h 1078499"/>
                <a:gd name="connsiteX115" fmla="*/ 743796 w 3024845"/>
                <a:gd name="connsiteY115" fmla="*/ 456405 h 1078499"/>
                <a:gd name="connsiteX116" fmla="*/ 743796 w 3024845"/>
                <a:gd name="connsiteY116" fmla="*/ 473429 h 1078499"/>
                <a:gd name="connsiteX117" fmla="*/ 746076 w 3024845"/>
                <a:gd name="connsiteY117" fmla="*/ 473429 h 1078499"/>
                <a:gd name="connsiteX118" fmla="*/ 762036 w 3024845"/>
                <a:gd name="connsiteY118" fmla="*/ 473429 h 1078499"/>
                <a:gd name="connsiteX119" fmla="*/ 762036 w 3024845"/>
                <a:gd name="connsiteY119" fmla="*/ 520988 h 1078499"/>
                <a:gd name="connsiteX120" fmla="*/ 763049 w 3024845"/>
                <a:gd name="connsiteY120" fmla="*/ 520988 h 1078499"/>
                <a:gd name="connsiteX121" fmla="*/ 770143 w 3024845"/>
                <a:gd name="connsiteY121" fmla="*/ 520988 h 1078499"/>
                <a:gd name="connsiteX122" fmla="*/ 784330 w 3024845"/>
                <a:gd name="connsiteY122" fmla="*/ 525312 h 1078499"/>
                <a:gd name="connsiteX123" fmla="*/ 784330 w 3024845"/>
                <a:gd name="connsiteY123" fmla="*/ 564224 h 1078499"/>
                <a:gd name="connsiteX124" fmla="*/ 785343 w 3024845"/>
                <a:gd name="connsiteY124" fmla="*/ 564224 h 1078499"/>
                <a:gd name="connsiteX125" fmla="*/ 792436 w 3024845"/>
                <a:gd name="connsiteY125" fmla="*/ 564224 h 1078499"/>
                <a:gd name="connsiteX126" fmla="*/ 792436 w 3024845"/>
                <a:gd name="connsiteY126" fmla="*/ 565845 h 1078499"/>
                <a:gd name="connsiteX127" fmla="*/ 792436 w 3024845"/>
                <a:gd name="connsiteY127" fmla="*/ 577194 h 1078499"/>
                <a:gd name="connsiteX128" fmla="*/ 794463 w 3024845"/>
                <a:gd name="connsiteY128" fmla="*/ 577194 h 1078499"/>
                <a:gd name="connsiteX129" fmla="*/ 808650 w 3024845"/>
                <a:gd name="connsiteY129" fmla="*/ 577194 h 1078499"/>
                <a:gd name="connsiteX130" fmla="*/ 814730 w 3024845"/>
                <a:gd name="connsiteY130" fmla="*/ 583680 h 1078499"/>
                <a:gd name="connsiteX131" fmla="*/ 814730 w 3024845"/>
                <a:gd name="connsiteY131" fmla="*/ 605298 h 1078499"/>
                <a:gd name="connsiteX132" fmla="*/ 817010 w 3024845"/>
                <a:gd name="connsiteY132" fmla="*/ 605298 h 1078499"/>
                <a:gd name="connsiteX133" fmla="*/ 832970 w 3024845"/>
                <a:gd name="connsiteY133" fmla="*/ 605298 h 1078499"/>
                <a:gd name="connsiteX134" fmla="*/ 832970 w 3024845"/>
                <a:gd name="connsiteY134" fmla="*/ 606378 h 1078499"/>
                <a:gd name="connsiteX135" fmla="*/ 832970 w 3024845"/>
                <a:gd name="connsiteY135" fmla="*/ 613945 h 1078499"/>
                <a:gd name="connsiteX136" fmla="*/ 834237 w 3024845"/>
                <a:gd name="connsiteY136" fmla="*/ 613945 h 1078499"/>
                <a:gd name="connsiteX137" fmla="*/ 843104 w 3024845"/>
                <a:gd name="connsiteY137" fmla="*/ 613945 h 1078499"/>
                <a:gd name="connsiteX138" fmla="*/ 843104 w 3024845"/>
                <a:gd name="connsiteY138" fmla="*/ 616106 h 1078499"/>
                <a:gd name="connsiteX139" fmla="*/ 843104 w 3024845"/>
                <a:gd name="connsiteY139" fmla="*/ 631239 h 1078499"/>
                <a:gd name="connsiteX140" fmla="*/ 847157 w 3024845"/>
                <a:gd name="connsiteY140" fmla="*/ 629347 h 1078499"/>
                <a:gd name="connsiteX141" fmla="*/ 847157 w 3024845"/>
                <a:gd name="connsiteY141" fmla="*/ 616106 h 1078499"/>
                <a:gd name="connsiteX142" fmla="*/ 848170 w 3024845"/>
                <a:gd name="connsiteY142" fmla="*/ 616106 h 1078499"/>
                <a:gd name="connsiteX143" fmla="*/ 855264 w 3024845"/>
                <a:gd name="connsiteY143" fmla="*/ 616106 h 1078499"/>
                <a:gd name="connsiteX144" fmla="*/ 855264 w 3024845"/>
                <a:gd name="connsiteY144" fmla="*/ 617728 h 1078499"/>
                <a:gd name="connsiteX145" fmla="*/ 855264 w 3024845"/>
                <a:gd name="connsiteY145" fmla="*/ 629077 h 1078499"/>
                <a:gd name="connsiteX146" fmla="*/ 856024 w 3024845"/>
                <a:gd name="connsiteY146" fmla="*/ 629077 h 1078499"/>
                <a:gd name="connsiteX147" fmla="*/ 861344 w 3024845"/>
                <a:gd name="connsiteY147" fmla="*/ 629077 h 1078499"/>
                <a:gd name="connsiteX148" fmla="*/ 909984 w 3024845"/>
                <a:gd name="connsiteY148" fmla="*/ 624754 h 1078499"/>
                <a:gd name="connsiteX149" fmla="*/ 909984 w 3024845"/>
                <a:gd name="connsiteY149" fmla="*/ 626105 h 1078499"/>
                <a:gd name="connsiteX150" fmla="*/ 909984 w 3024845"/>
                <a:gd name="connsiteY150" fmla="*/ 635562 h 1078499"/>
                <a:gd name="connsiteX151" fmla="*/ 910744 w 3024845"/>
                <a:gd name="connsiteY151" fmla="*/ 635562 h 1078499"/>
                <a:gd name="connsiteX152" fmla="*/ 916065 w 3024845"/>
                <a:gd name="connsiteY152" fmla="*/ 635562 h 1078499"/>
                <a:gd name="connsiteX153" fmla="*/ 916065 w 3024845"/>
                <a:gd name="connsiteY153" fmla="*/ 637724 h 1078499"/>
                <a:gd name="connsiteX154" fmla="*/ 916065 w 3024845"/>
                <a:gd name="connsiteY154" fmla="*/ 652857 h 1078499"/>
                <a:gd name="connsiteX155" fmla="*/ 918091 w 3024845"/>
                <a:gd name="connsiteY155" fmla="*/ 651506 h 1078499"/>
                <a:gd name="connsiteX156" fmla="*/ 932278 w 3024845"/>
                <a:gd name="connsiteY156" fmla="*/ 642048 h 1078499"/>
                <a:gd name="connsiteX157" fmla="*/ 938358 w 3024845"/>
                <a:gd name="connsiteY157" fmla="*/ 600974 h 1078499"/>
                <a:gd name="connsiteX158" fmla="*/ 939118 w 3024845"/>
                <a:gd name="connsiteY158" fmla="*/ 600704 h 1078499"/>
                <a:gd name="connsiteX159" fmla="*/ 944438 w 3024845"/>
                <a:gd name="connsiteY159" fmla="*/ 598812 h 1078499"/>
                <a:gd name="connsiteX160" fmla="*/ 946465 w 3024845"/>
                <a:gd name="connsiteY160" fmla="*/ 529635 h 1078499"/>
                <a:gd name="connsiteX161" fmla="*/ 948492 w 3024845"/>
                <a:gd name="connsiteY161" fmla="*/ 598812 h 1078499"/>
                <a:gd name="connsiteX162" fmla="*/ 949252 w 3024845"/>
                <a:gd name="connsiteY162" fmla="*/ 599082 h 1078499"/>
                <a:gd name="connsiteX163" fmla="*/ 954572 w 3024845"/>
                <a:gd name="connsiteY163" fmla="*/ 600974 h 1078499"/>
                <a:gd name="connsiteX164" fmla="*/ 954572 w 3024845"/>
                <a:gd name="connsiteY164" fmla="*/ 514503 h 1078499"/>
                <a:gd name="connsiteX165" fmla="*/ 958625 w 3024845"/>
                <a:gd name="connsiteY165" fmla="*/ 482076 h 1078499"/>
                <a:gd name="connsiteX166" fmla="*/ 997132 w 3024845"/>
                <a:gd name="connsiteY166" fmla="*/ 482076 h 1078499"/>
                <a:gd name="connsiteX167" fmla="*/ 997132 w 3024845"/>
                <a:gd name="connsiteY167" fmla="*/ 514503 h 1078499"/>
                <a:gd name="connsiteX168" fmla="*/ 997892 w 3024845"/>
                <a:gd name="connsiteY168" fmla="*/ 514503 h 1078499"/>
                <a:gd name="connsiteX169" fmla="*/ 1003212 w 3024845"/>
                <a:gd name="connsiteY169" fmla="*/ 514503 h 1078499"/>
                <a:gd name="connsiteX170" fmla="*/ 1003212 w 3024845"/>
                <a:gd name="connsiteY170" fmla="*/ 432355 h 1078499"/>
                <a:gd name="connsiteX171" fmla="*/ 1004986 w 3024845"/>
                <a:gd name="connsiteY171" fmla="*/ 432355 h 1078499"/>
                <a:gd name="connsiteX172" fmla="*/ 1017399 w 3024845"/>
                <a:gd name="connsiteY172" fmla="*/ 432355 h 1078499"/>
                <a:gd name="connsiteX173" fmla="*/ 1017399 w 3024845"/>
                <a:gd name="connsiteY173" fmla="*/ 430464 h 1078499"/>
                <a:gd name="connsiteX174" fmla="*/ 1017399 w 3024845"/>
                <a:gd name="connsiteY174" fmla="*/ 417223 h 1078499"/>
                <a:gd name="connsiteX175" fmla="*/ 1039693 w 3024845"/>
                <a:gd name="connsiteY175" fmla="*/ 417223 h 1078499"/>
                <a:gd name="connsiteX176" fmla="*/ 1039693 w 3024845"/>
                <a:gd name="connsiteY176" fmla="*/ 416142 h 1078499"/>
                <a:gd name="connsiteX177" fmla="*/ 1039693 w 3024845"/>
                <a:gd name="connsiteY177" fmla="*/ 408576 h 1078499"/>
                <a:gd name="connsiteX178" fmla="*/ 1041466 w 3024845"/>
                <a:gd name="connsiteY178" fmla="*/ 408576 h 1078499"/>
                <a:gd name="connsiteX179" fmla="*/ 1053880 w 3024845"/>
                <a:gd name="connsiteY179" fmla="*/ 408576 h 1078499"/>
                <a:gd name="connsiteX180" fmla="*/ 1053880 w 3024845"/>
                <a:gd name="connsiteY180" fmla="*/ 409657 h 1078499"/>
                <a:gd name="connsiteX181" fmla="*/ 1053880 w 3024845"/>
                <a:gd name="connsiteY181" fmla="*/ 417223 h 1078499"/>
                <a:gd name="connsiteX182" fmla="*/ 1054640 w 3024845"/>
                <a:gd name="connsiteY182" fmla="*/ 417223 h 1078499"/>
                <a:gd name="connsiteX183" fmla="*/ 1059960 w 3024845"/>
                <a:gd name="connsiteY183" fmla="*/ 417223 h 1078499"/>
                <a:gd name="connsiteX184" fmla="*/ 1070093 w 3024845"/>
                <a:gd name="connsiteY184" fmla="*/ 412899 h 1078499"/>
                <a:gd name="connsiteX185" fmla="*/ 1074146 w 3024845"/>
                <a:gd name="connsiteY185" fmla="*/ 416142 h 1078499"/>
                <a:gd name="connsiteX186" fmla="*/ 1074146 w 3024845"/>
                <a:gd name="connsiteY186" fmla="*/ 408576 h 1078499"/>
                <a:gd name="connsiteX187" fmla="*/ 1076426 w 3024845"/>
                <a:gd name="connsiteY187" fmla="*/ 408576 h 1078499"/>
                <a:gd name="connsiteX188" fmla="*/ 1092387 w 3024845"/>
                <a:gd name="connsiteY188" fmla="*/ 408576 h 1078499"/>
                <a:gd name="connsiteX189" fmla="*/ 1092387 w 3024845"/>
                <a:gd name="connsiteY189" fmla="*/ 409657 h 1078499"/>
                <a:gd name="connsiteX190" fmla="*/ 1092387 w 3024845"/>
                <a:gd name="connsiteY190" fmla="*/ 417223 h 1078499"/>
                <a:gd name="connsiteX191" fmla="*/ 1122787 w 3024845"/>
                <a:gd name="connsiteY191" fmla="*/ 417223 h 1078499"/>
                <a:gd name="connsiteX192" fmla="*/ 1122787 w 3024845"/>
                <a:gd name="connsiteY192" fmla="*/ 418844 h 1078499"/>
                <a:gd name="connsiteX193" fmla="*/ 1122787 w 3024845"/>
                <a:gd name="connsiteY193" fmla="*/ 430194 h 1078499"/>
                <a:gd name="connsiteX194" fmla="*/ 1149134 w 3024845"/>
                <a:gd name="connsiteY194" fmla="*/ 430194 h 1078499"/>
                <a:gd name="connsiteX195" fmla="*/ 1149134 w 3024845"/>
                <a:gd name="connsiteY195" fmla="*/ 460458 h 1078499"/>
                <a:gd name="connsiteX196" fmla="*/ 1149894 w 3024845"/>
                <a:gd name="connsiteY196" fmla="*/ 460458 h 1078499"/>
                <a:gd name="connsiteX197" fmla="*/ 1155214 w 3024845"/>
                <a:gd name="connsiteY197" fmla="*/ 460458 h 1078499"/>
                <a:gd name="connsiteX198" fmla="*/ 1155214 w 3024845"/>
                <a:gd name="connsiteY198" fmla="*/ 461539 h 1078499"/>
                <a:gd name="connsiteX199" fmla="*/ 1155214 w 3024845"/>
                <a:gd name="connsiteY199" fmla="*/ 469106 h 1078499"/>
                <a:gd name="connsiteX200" fmla="*/ 1159268 w 3024845"/>
                <a:gd name="connsiteY200" fmla="*/ 499370 h 1078499"/>
                <a:gd name="connsiteX201" fmla="*/ 1160028 w 3024845"/>
                <a:gd name="connsiteY201" fmla="*/ 499370 h 1078499"/>
                <a:gd name="connsiteX202" fmla="*/ 1165348 w 3024845"/>
                <a:gd name="connsiteY202" fmla="*/ 499370 h 1078499"/>
                <a:gd name="connsiteX203" fmla="*/ 1165348 w 3024845"/>
                <a:gd name="connsiteY203" fmla="*/ 500181 h 1078499"/>
                <a:gd name="connsiteX204" fmla="*/ 1165348 w 3024845"/>
                <a:gd name="connsiteY204" fmla="*/ 505856 h 1078499"/>
                <a:gd name="connsiteX205" fmla="*/ 1166361 w 3024845"/>
                <a:gd name="connsiteY205" fmla="*/ 505856 h 1078499"/>
                <a:gd name="connsiteX206" fmla="*/ 1173454 w 3024845"/>
                <a:gd name="connsiteY206" fmla="*/ 505856 h 1078499"/>
                <a:gd name="connsiteX207" fmla="*/ 1173454 w 3024845"/>
                <a:gd name="connsiteY207" fmla="*/ 536121 h 1078499"/>
                <a:gd name="connsiteX208" fmla="*/ 1175481 w 3024845"/>
                <a:gd name="connsiteY208" fmla="*/ 536121 h 1078499"/>
                <a:gd name="connsiteX209" fmla="*/ 1189668 w 3024845"/>
                <a:gd name="connsiteY209" fmla="*/ 536121 h 1078499"/>
                <a:gd name="connsiteX210" fmla="*/ 1189668 w 3024845"/>
                <a:gd name="connsiteY210" fmla="*/ 559900 h 1078499"/>
                <a:gd name="connsiteX211" fmla="*/ 1191695 w 3024845"/>
                <a:gd name="connsiteY211" fmla="*/ 561521 h 1078499"/>
                <a:gd name="connsiteX212" fmla="*/ 1191695 w 3024845"/>
                <a:gd name="connsiteY212" fmla="*/ 572871 h 1078499"/>
                <a:gd name="connsiteX213" fmla="*/ 1192455 w 3024845"/>
                <a:gd name="connsiteY213" fmla="*/ 572871 h 1078499"/>
                <a:gd name="connsiteX214" fmla="*/ 1197775 w 3024845"/>
                <a:gd name="connsiteY214" fmla="*/ 572871 h 1078499"/>
                <a:gd name="connsiteX215" fmla="*/ 1197775 w 3024845"/>
                <a:gd name="connsiteY215" fmla="*/ 596650 h 1078499"/>
                <a:gd name="connsiteX216" fmla="*/ 1199041 w 3024845"/>
                <a:gd name="connsiteY216" fmla="*/ 596650 h 1078499"/>
                <a:gd name="connsiteX217" fmla="*/ 1207908 w 3024845"/>
                <a:gd name="connsiteY217" fmla="*/ 596650 h 1078499"/>
                <a:gd name="connsiteX218" fmla="*/ 1209935 w 3024845"/>
                <a:gd name="connsiteY218" fmla="*/ 600704 h 1078499"/>
                <a:gd name="connsiteX219" fmla="*/ 1209935 w 3024845"/>
                <a:gd name="connsiteY219" fmla="*/ 613945 h 1078499"/>
                <a:gd name="connsiteX220" fmla="*/ 1211455 w 3024845"/>
                <a:gd name="connsiteY220" fmla="*/ 612053 h 1078499"/>
                <a:gd name="connsiteX221" fmla="*/ 1222095 w 3024845"/>
                <a:gd name="connsiteY221" fmla="*/ 598812 h 1078499"/>
                <a:gd name="connsiteX222" fmla="*/ 1250469 w 3024845"/>
                <a:gd name="connsiteY222" fmla="*/ 598812 h 1078499"/>
                <a:gd name="connsiteX223" fmla="*/ 1250469 w 3024845"/>
                <a:gd name="connsiteY223" fmla="*/ 685283 h 1078499"/>
                <a:gd name="connsiteX224" fmla="*/ 1251229 w 3024845"/>
                <a:gd name="connsiteY224" fmla="*/ 685283 h 1078499"/>
                <a:gd name="connsiteX225" fmla="*/ 1256549 w 3024845"/>
                <a:gd name="connsiteY225" fmla="*/ 685283 h 1078499"/>
                <a:gd name="connsiteX226" fmla="*/ 1257309 w 3024845"/>
                <a:gd name="connsiteY226" fmla="*/ 683932 h 1078499"/>
                <a:gd name="connsiteX227" fmla="*/ 1262629 w 3024845"/>
                <a:gd name="connsiteY227" fmla="*/ 674474 h 1078499"/>
                <a:gd name="connsiteX228" fmla="*/ 1262629 w 3024845"/>
                <a:gd name="connsiteY228" fmla="*/ 676366 h 1078499"/>
                <a:gd name="connsiteX229" fmla="*/ 1262629 w 3024845"/>
                <a:gd name="connsiteY229" fmla="*/ 689607 h 1078499"/>
                <a:gd name="connsiteX230" fmla="*/ 1266682 w 3024845"/>
                <a:gd name="connsiteY230" fmla="*/ 644210 h 1078499"/>
                <a:gd name="connsiteX231" fmla="*/ 1267442 w 3024845"/>
                <a:gd name="connsiteY231" fmla="*/ 644210 h 1078499"/>
                <a:gd name="connsiteX232" fmla="*/ 1272762 w 3024845"/>
                <a:gd name="connsiteY232" fmla="*/ 644210 h 1078499"/>
                <a:gd name="connsiteX233" fmla="*/ 1272762 w 3024845"/>
                <a:gd name="connsiteY233" fmla="*/ 579356 h 1078499"/>
                <a:gd name="connsiteX234" fmla="*/ 1273776 w 3024845"/>
                <a:gd name="connsiteY234" fmla="*/ 579356 h 1078499"/>
                <a:gd name="connsiteX235" fmla="*/ 1280869 w 3024845"/>
                <a:gd name="connsiteY235" fmla="*/ 579356 h 1078499"/>
                <a:gd name="connsiteX236" fmla="*/ 1293029 w 3024845"/>
                <a:gd name="connsiteY236" fmla="*/ 536121 h 1078499"/>
                <a:gd name="connsiteX237" fmla="*/ 1294296 w 3024845"/>
                <a:gd name="connsiteY237" fmla="*/ 536121 h 1078499"/>
                <a:gd name="connsiteX238" fmla="*/ 1303163 w 3024845"/>
                <a:gd name="connsiteY238" fmla="*/ 536121 h 1078499"/>
                <a:gd name="connsiteX239" fmla="*/ 1313296 w 3024845"/>
                <a:gd name="connsiteY239" fmla="*/ 579356 h 1078499"/>
                <a:gd name="connsiteX240" fmla="*/ 1314309 w 3024845"/>
                <a:gd name="connsiteY240" fmla="*/ 579356 h 1078499"/>
                <a:gd name="connsiteX241" fmla="*/ 1321403 w 3024845"/>
                <a:gd name="connsiteY241" fmla="*/ 579356 h 1078499"/>
                <a:gd name="connsiteX242" fmla="*/ 1321403 w 3024845"/>
                <a:gd name="connsiteY242" fmla="*/ 618268 h 1078499"/>
                <a:gd name="connsiteX243" fmla="*/ 1323176 w 3024845"/>
                <a:gd name="connsiteY243" fmla="*/ 618268 h 1078499"/>
                <a:gd name="connsiteX244" fmla="*/ 1335590 w 3024845"/>
                <a:gd name="connsiteY244" fmla="*/ 618268 h 1078499"/>
                <a:gd name="connsiteX245" fmla="*/ 1335590 w 3024845"/>
                <a:gd name="connsiteY245" fmla="*/ 620430 h 1078499"/>
                <a:gd name="connsiteX246" fmla="*/ 1335590 w 3024845"/>
                <a:gd name="connsiteY246" fmla="*/ 635562 h 1078499"/>
                <a:gd name="connsiteX247" fmla="*/ 1339643 w 3024845"/>
                <a:gd name="connsiteY247" fmla="*/ 633401 h 1078499"/>
                <a:gd name="connsiteX248" fmla="*/ 1339643 w 3024845"/>
                <a:gd name="connsiteY248" fmla="*/ 618268 h 1078499"/>
                <a:gd name="connsiteX249" fmla="*/ 1341163 w 3024845"/>
                <a:gd name="connsiteY249" fmla="*/ 618268 h 1078499"/>
                <a:gd name="connsiteX250" fmla="*/ 1351803 w 3024845"/>
                <a:gd name="connsiteY250" fmla="*/ 618268 h 1078499"/>
                <a:gd name="connsiteX251" fmla="*/ 1351803 w 3024845"/>
                <a:gd name="connsiteY251" fmla="*/ 619889 h 1078499"/>
                <a:gd name="connsiteX252" fmla="*/ 1351803 w 3024845"/>
                <a:gd name="connsiteY252" fmla="*/ 631239 h 1078499"/>
                <a:gd name="connsiteX253" fmla="*/ 1382204 w 3024845"/>
                <a:gd name="connsiteY253" fmla="*/ 631239 h 1078499"/>
                <a:gd name="connsiteX254" fmla="*/ 1382204 w 3024845"/>
                <a:gd name="connsiteY254" fmla="*/ 594489 h 1078499"/>
                <a:gd name="connsiteX255" fmla="*/ 1383470 w 3024845"/>
                <a:gd name="connsiteY255" fmla="*/ 594489 h 1078499"/>
                <a:gd name="connsiteX256" fmla="*/ 1392337 w 3024845"/>
                <a:gd name="connsiteY256" fmla="*/ 594489 h 1078499"/>
                <a:gd name="connsiteX257" fmla="*/ 1392337 w 3024845"/>
                <a:gd name="connsiteY257" fmla="*/ 616106 h 1078499"/>
                <a:gd name="connsiteX258" fmla="*/ 1394364 w 3024845"/>
                <a:gd name="connsiteY258" fmla="*/ 583680 h 1078499"/>
                <a:gd name="connsiteX259" fmla="*/ 1416657 w 3024845"/>
                <a:gd name="connsiteY259" fmla="*/ 583680 h 1078499"/>
                <a:gd name="connsiteX260" fmla="*/ 1416657 w 3024845"/>
                <a:gd name="connsiteY260" fmla="*/ 582058 h 1078499"/>
                <a:gd name="connsiteX261" fmla="*/ 1416657 w 3024845"/>
                <a:gd name="connsiteY261" fmla="*/ 570709 h 1078499"/>
                <a:gd name="connsiteX262" fmla="*/ 1417417 w 3024845"/>
                <a:gd name="connsiteY262" fmla="*/ 570709 h 1078499"/>
                <a:gd name="connsiteX263" fmla="*/ 1422737 w 3024845"/>
                <a:gd name="connsiteY263" fmla="*/ 570709 h 1078499"/>
                <a:gd name="connsiteX264" fmla="*/ 1422737 w 3024845"/>
                <a:gd name="connsiteY264" fmla="*/ 568818 h 1078499"/>
                <a:gd name="connsiteX265" fmla="*/ 1422737 w 3024845"/>
                <a:gd name="connsiteY265" fmla="*/ 555577 h 1078499"/>
                <a:gd name="connsiteX266" fmla="*/ 1426791 w 3024845"/>
                <a:gd name="connsiteY266" fmla="*/ 562062 h 1078499"/>
                <a:gd name="connsiteX267" fmla="*/ 1429071 w 3024845"/>
                <a:gd name="connsiteY267" fmla="*/ 562062 h 1078499"/>
                <a:gd name="connsiteX268" fmla="*/ 1445031 w 3024845"/>
                <a:gd name="connsiteY268" fmla="*/ 562062 h 1078499"/>
                <a:gd name="connsiteX269" fmla="*/ 1445031 w 3024845"/>
                <a:gd name="connsiteY269" fmla="*/ 561251 h 1078499"/>
                <a:gd name="connsiteX270" fmla="*/ 1445031 w 3024845"/>
                <a:gd name="connsiteY270" fmla="*/ 555577 h 1078499"/>
                <a:gd name="connsiteX271" fmla="*/ 1445791 w 3024845"/>
                <a:gd name="connsiteY271" fmla="*/ 555577 h 1078499"/>
                <a:gd name="connsiteX272" fmla="*/ 1451111 w 3024845"/>
                <a:gd name="connsiteY272" fmla="*/ 555577 h 1078499"/>
                <a:gd name="connsiteX273" fmla="*/ 1451111 w 3024845"/>
                <a:gd name="connsiteY273" fmla="*/ 556928 h 1078499"/>
                <a:gd name="connsiteX274" fmla="*/ 1451111 w 3024845"/>
                <a:gd name="connsiteY274" fmla="*/ 566386 h 1078499"/>
                <a:gd name="connsiteX275" fmla="*/ 1489618 w 3024845"/>
                <a:gd name="connsiteY275" fmla="*/ 566386 h 1078499"/>
                <a:gd name="connsiteX276" fmla="*/ 1489618 w 3024845"/>
                <a:gd name="connsiteY276" fmla="*/ 704739 h 1078499"/>
                <a:gd name="connsiteX277" fmla="*/ 1491138 w 3024845"/>
                <a:gd name="connsiteY277" fmla="*/ 704739 h 1078499"/>
                <a:gd name="connsiteX278" fmla="*/ 1501778 w 3024845"/>
                <a:gd name="connsiteY278" fmla="*/ 704739 h 1078499"/>
                <a:gd name="connsiteX279" fmla="*/ 1501778 w 3024845"/>
                <a:gd name="connsiteY279" fmla="*/ 691769 h 1078499"/>
                <a:gd name="connsiteX280" fmla="*/ 1505832 w 3024845"/>
                <a:gd name="connsiteY280" fmla="*/ 691769 h 1078499"/>
                <a:gd name="connsiteX281" fmla="*/ 1505832 w 3024845"/>
                <a:gd name="connsiteY281" fmla="*/ 704739 h 1078499"/>
                <a:gd name="connsiteX282" fmla="*/ 1536232 w 3024845"/>
                <a:gd name="connsiteY282" fmla="*/ 704739 h 1078499"/>
                <a:gd name="connsiteX283" fmla="*/ 1536232 w 3024845"/>
                <a:gd name="connsiteY283" fmla="*/ 674474 h 1078499"/>
                <a:gd name="connsiteX284" fmla="*/ 1548392 w 3024845"/>
                <a:gd name="connsiteY284" fmla="*/ 674474 h 1078499"/>
                <a:gd name="connsiteX285" fmla="*/ 1560552 w 3024845"/>
                <a:gd name="connsiteY285" fmla="*/ 672313 h 1078499"/>
                <a:gd name="connsiteX286" fmla="*/ 1564606 w 3024845"/>
                <a:gd name="connsiteY286" fmla="*/ 674474 h 1078499"/>
                <a:gd name="connsiteX287" fmla="*/ 1574739 w 3024845"/>
                <a:gd name="connsiteY287" fmla="*/ 674474 h 1078499"/>
                <a:gd name="connsiteX288" fmla="*/ 1574739 w 3024845"/>
                <a:gd name="connsiteY288" fmla="*/ 704739 h 1078499"/>
                <a:gd name="connsiteX289" fmla="*/ 1582846 w 3024845"/>
                <a:gd name="connsiteY289" fmla="*/ 704739 h 1078499"/>
                <a:gd name="connsiteX290" fmla="*/ 1582846 w 3024845"/>
                <a:gd name="connsiteY290" fmla="*/ 722034 h 1078499"/>
                <a:gd name="connsiteX291" fmla="*/ 1592182 w 3024845"/>
                <a:gd name="connsiteY291" fmla="*/ 722939 h 1078499"/>
                <a:gd name="connsiteX292" fmla="*/ 1605140 w 3024845"/>
                <a:gd name="connsiteY292" fmla="*/ 722939 h 1078499"/>
                <a:gd name="connsiteX293" fmla="*/ 1605140 w 3024845"/>
                <a:gd name="connsiteY293" fmla="*/ 706901 h 1078499"/>
                <a:gd name="connsiteX294" fmla="*/ 1673096 w 3024845"/>
                <a:gd name="connsiteY294" fmla="*/ 706901 h 1078499"/>
                <a:gd name="connsiteX295" fmla="*/ 1673096 w 3024845"/>
                <a:gd name="connsiteY295" fmla="*/ 621648 h 1078499"/>
                <a:gd name="connsiteX296" fmla="*/ 1745104 w 3024845"/>
                <a:gd name="connsiteY296" fmla="*/ 621648 h 1078499"/>
                <a:gd name="connsiteX297" fmla="*/ 1745104 w 3024845"/>
                <a:gd name="connsiteY297" fmla="*/ 700416 h 1078499"/>
                <a:gd name="connsiteX298" fmla="*/ 1747008 w 3024845"/>
                <a:gd name="connsiteY298" fmla="*/ 700416 h 1078499"/>
                <a:gd name="connsiteX299" fmla="*/ 1748250 w 3024845"/>
                <a:gd name="connsiteY299" fmla="*/ 722939 h 1078499"/>
                <a:gd name="connsiteX300" fmla="*/ 1757926 w 3024845"/>
                <a:gd name="connsiteY300" fmla="*/ 722939 h 1078499"/>
                <a:gd name="connsiteX301" fmla="*/ 1759168 w 3024845"/>
                <a:gd name="connsiteY301" fmla="*/ 700416 h 1078499"/>
                <a:gd name="connsiteX302" fmla="*/ 1765248 w 3024845"/>
                <a:gd name="connsiteY302" fmla="*/ 700416 h 1078499"/>
                <a:gd name="connsiteX303" fmla="*/ 1766490 w 3024845"/>
                <a:gd name="connsiteY303" fmla="*/ 722939 h 1078499"/>
                <a:gd name="connsiteX304" fmla="*/ 1817112 w 3024845"/>
                <a:gd name="connsiteY304" fmla="*/ 722939 h 1078499"/>
                <a:gd name="connsiteX305" fmla="*/ 1817112 w 3024845"/>
                <a:gd name="connsiteY305" fmla="*/ 559911 h 1078499"/>
                <a:gd name="connsiteX306" fmla="*/ 2014439 w 3024845"/>
                <a:gd name="connsiteY306" fmla="*/ 559911 h 1078499"/>
                <a:gd name="connsiteX307" fmla="*/ 2014439 w 3024845"/>
                <a:gd name="connsiteY307" fmla="*/ 722939 h 1078499"/>
                <a:gd name="connsiteX308" fmla="*/ 2033136 w 3024845"/>
                <a:gd name="connsiteY308" fmla="*/ 722939 h 1078499"/>
                <a:gd name="connsiteX309" fmla="*/ 2033136 w 3024845"/>
                <a:gd name="connsiteY309" fmla="*/ 640246 h 1078499"/>
                <a:gd name="connsiteX310" fmla="*/ 2128256 w 3024845"/>
                <a:gd name="connsiteY310" fmla="*/ 640246 h 1078499"/>
                <a:gd name="connsiteX311" fmla="*/ 2140186 w 3024845"/>
                <a:gd name="connsiteY311" fmla="*/ 322105 h 1078499"/>
                <a:gd name="connsiteX312" fmla="*/ 2128026 w 3024845"/>
                <a:gd name="connsiteY312" fmla="*/ 300487 h 1078499"/>
                <a:gd name="connsiteX313" fmla="*/ 2121946 w 3024845"/>
                <a:gd name="connsiteY313" fmla="*/ 296163 h 1078499"/>
                <a:gd name="connsiteX314" fmla="*/ 2130053 w 3024845"/>
                <a:gd name="connsiteY314" fmla="*/ 272384 h 1078499"/>
                <a:gd name="connsiteX315" fmla="*/ 2130053 w 3024845"/>
                <a:gd name="connsiteY315" fmla="*/ 255090 h 1078499"/>
                <a:gd name="connsiteX316" fmla="*/ 2144240 w 3024845"/>
                <a:gd name="connsiteY316" fmla="*/ 255090 h 1078499"/>
                <a:gd name="connsiteX317" fmla="*/ 2144240 w 3024845"/>
                <a:gd name="connsiteY317" fmla="*/ 233472 h 1078499"/>
                <a:gd name="connsiteX318" fmla="*/ 2146266 w 3024845"/>
                <a:gd name="connsiteY318" fmla="*/ 229148 h 1078499"/>
                <a:gd name="connsiteX319" fmla="*/ 2146266 w 3024845"/>
                <a:gd name="connsiteY319" fmla="*/ 151324 h 1078499"/>
                <a:gd name="connsiteX320" fmla="*/ 2144240 w 3024845"/>
                <a:gd name="connsiteY320" fmla="*/ 144839 h 1078499"/>
                <a:gd name="connsiteX321" fmla="*/ 2150320 w 3024845"/>
                <a:gd name="connsiteY321" fmla="*/ 138353 h 1078499"/>
                <a:gd name="connsiteX322" fmla="*/ 2150320 w 3024845"/>
                <a:gd name="connsiteY322" fmla="*/ 79985 h 1078499"/>
                <a:gd name="connsiteX323" fmla="*/ 2152346 w 3024845"/>
                <a:gd name="connsiteY323" fmla="*/ 75662 h 1078499"/>
                <a:gd name="connsiteX324" fmla="*/ 2152346 w 3024845"/>
                <a:gd name="connsiteY324" fmla="*/ 19456 h 1078499"/>
                <a:gd name="connsiteX325" fmla="*/ 2154373 w 3024845"/>
                <a:gd name="connsiteY325" fmla="*/ 0 h 1078499"/>
                <a:gd name="connsiteX326" fmla="*/ 2158427 w 3024845"/>
                <a:gd name="connsiteY326" fmla="*/ 17294 h 1078499"/>
                <a:gd name="connsiteX327" fmla="*/ 2160453 w 3024845"/>
                <a:gd name="connsiteY327" fmla="*/ 75662 h 1078499"/>
                <a:gd name="connsiteX328" fmla="*/ 2162480 w 3024845"/>
                <a:gd name="connsiteY328" fmla="*/ 138353 h 1078499"/>
                <a:gd name="connsiteX329" fmla="*/ 2168560 w 3024845"/>
                <a:gd name="connsiteY329" fmla="*/ 144839 h 1078499"/>
                <a:gd name="connsiteX330" fmla="*/ 2166533 w 3024845"/>
                <a:gd name="connsiteY330" fmla="*/ 151324 h 1078499"/>
                <a:gd name="connsiteX331" fmla="*/ 2166533 w 3024845"/>
                <a:gd name="connsiteY331" fmla="*/ 229148 h 1078499"/>
                <a:gd name="connsiteX332" fmla="*/ 2168560 w 3024845"/>
                <a:gd name="connsiteY332" fmla="*/ 233472 h 1078499"/>
                <a:gd name="connsiteX333" fmla="*/ 2168560 w 3024845"/>
                <a:gd name="connsiteY333" fmla="*/ 255090 h 1078499"/>
                <a:gd name="connsiteX334" fmla="*/ 2182747 w 3024845"/>
                <a:gd name="connsiteY334" fmla="*/ 255090 h 1078499"/>
                <a:gd name="connsiteX335" fmla="*/ 2182747 w 3024845"/>
                <a:gd name="connsiteY335" fmla="*/ 272384 h 1078499"/>
                <a:gd name="connsiteX336" fmla="*/ 2190854 w 3024845"/>
                <a:gd name="connsiteY336" fmla="*/ 296163 h 1078499"/>
                <a:gd name="connsiteX337" fmla="*/ 2184774 w 3024845"/>
                <a:gd name="connsiteY337" fmla="*/ 300487 h 1078499"/>
                <a:gd name="connsiteX338" fmla="*/ 2172613 w 3024845"/>
                <a:gd name="connsiteY338" fmla="*/ 322105 h 1078499"/>
                <a:gd name="connsiteX339" fmla="*/ 2180720 w 3024845"/>
                <a:gd name="connsiteY339" fmla="*/ 575033 h 1078499"/>
                <a:gd name="connsiteX340" fmla="*/ 2245574 w 3024845"/>
                <a:gd name="connsiteY340" fmla="*/ 575033 h 1078499"/>
                <a:gd name="connsiteX341" fmla="*/ 2245574 w 3024845"/>
                <a:gd name="connsiteY341" fmla="*/ 650695 h 1078499"/>
                <a:gd name="connsiteX342" fmla="*/ 2253681 w 3024845"/>
                <a:gd name="connsiteY342" fmla="*/ 650695 h 1078499"/>
                <a:gd name="connsiteX343" fmla="*/ 2255708 w 3024845"/>
                <a:gd name="connsiteY343" fmla="*/ 644210 h 1078499"/>
                <a:gd name="connsiteX344" fmla="*/ 2261788 w 3024845"/>
                <a:gd name="connsiteY344" fmla="*/ 644210 h 1078499"/>
                <a:gd name="connsiteX345" fmla="*/ 2263815 w 3024845"/>
                <a:gd name="connsiteY345" fmla="*/ 652857 h 1078499"/>
                <a:gd name="connsiteX346" fmla="*/ 2275975 w 3024845"/>
                <a:gd name="connsiteY346" fmla="*/ 652857 h 1078499"/>
                <a:gd name="connsiteX347" fmla="*/ 2275975 w 3024845"/>
                <a:gd name="connsiteY347" fmla="*/ 646371 h 1078499"/>
                <a:gd name="connsiteX348" fmla="*/ 2298268 w 3024845"/>
                <a:gd name="connsiteY348" fmla="*/ 646371 h 1078499"/>
                <a:gd name="connsiteX349" fmla="*/ 2298268 w 3024845"/>
                <a:gd name="connsiteY349" fmla="*/ 652857 h 1078499"/>
                <a:gd name="connsiteX350" fmla="*/ 2318535 w 3024845"/>
                <a:gd name="connsiteY350" fmla="*/ 652857 h 1078499"/>
                <a:gd name="connsiteX351" fmla="*/ 2318535 w 3024845"/>
                <a:gd name="connsiteY351" fmla="*/ 698254 h 1078499"/>
                <a:gd name="connsiteX352" fmla="*/ 2332722 w 3024845"/>
                <a:gd name="connsiteY352" fmla="*/ 698254 h 1078499"/>
                <a:gd name="connsiteX353" fmla="*/ 2332722 w 3024845"/>
                <a:gd name="connsiteY353" fmla="*/ 685283 h 1078499"/>
                <a:gd name="connsiteX354" fmla="*/ 2348936 w 3024845"/>
                <a:gd name="connsiteY354" fmla="*/ 685283 h 1078499"/>
                <a:gd name="connsiteX355" fmla="*/ 2348936 w 3024845"/>
                <a:gd name="connsiteY355" fmla="*/ 505856 h 1078499"/>
                <a:gd name="connsiteX356" fmla="*/ 2355016 w 3024845"/>
                <a:gd name="connsiteY356" fmla="*/ 499370 h 1078499"/>
                <a:gd name="connsiteX357" fmla="*/ 2427977 w 3024845"/>
                <a:gd name="connsiteY357" fmla="*/ 499370 h 1078499"/>
                <a:gd name="connsiteX358" fmla="*/ 2427977 w 3024845"/>
                <a:gd name="connsiteY358" fmla="*/ 508018 h 1078499"/>
                <a:gd name="connsiteX359" fmla="*/ 2438110 w 3024845"/>
                <a:gd name="connsiteY359" fmla="*/ 508018 h 1078499"/>
                <a:gd name="connsiteX360" fmla="*/ 2438110 w 3024845"/>
                <a:gd name="connsiteY360" fmla="*/ 622592 h 1078499"/>
                <a:gd name="connsiteX361" fmla="*/ 2460404 w 3024845"/>
                <a:gd name="connsiteY361" fmla="*/ 622592 h 1078499"/>
                <a:gd name="connsiteX362" fmla="*/ 2460404 w 3024845"/>
                <a:gd name="connsiteY362" fmla="*/ 555577 h 1078499"/>
                <a:gd name="connsiteX363" fmla="*/ 2486751 w 3024845"/>
                <a:gd name="connsiteY363" fmla="*/ 555577 h 1078499"/>
                <a:gd name="connsiteX364" fmla="*/ 2490804 w 3024845"/>
                <a:gd name="connsiteY364" fmla="*/ 551253 h 1078499"/>
                <a:gd name="connsiteX365" fmla="*/ 2498911 w 3024845"/>
                <a:gd name="connsiteY365" fmla="*/ 551253 h 1078499"/>
                <a:gd name="connsiteX366" fmla="*/ 2502964 w 3024845"/>
                <a:gd name="connsiteY366" fmla="*/ 555577 h 1078499"/>
                <a:gd name="connsiteX367" fmla="*/ 2525258 w 3024845"/>
                <a:gd name="connsiteY367" fmla="*/ 555577 h 1078499"/>
                <a:gd name="connsiteX368" fmla="*/ 2525258 w 3024845"/>
                <a:gd name="connsiteY368" fmla="*/ 438841 h 1078499"/>
                <a:gd name="connsiteX369" fmla="*/ 2582005 w 3024845"/>
                <a:gd name="connsiteY369" fmla="*/ 428032 h 1078499"/>
                <a:gd name="connsiteX370" fmla="*/ 2582005 w 3024845"/>
                <a:gd name="connsiteY370" fmla="*/ 429113 h 1078499"/>
                <a:gd name="connsiteX371" fmla="*/ 2582005 w 3024845"/>
                <a:gd name="connsiteY371" fmla="*/ 436679 h 1078499"/>
                <a:gd name="connsiteX372" fmla="*/ 2608352 w 3024845"/>
                <a:gd name="connsiteY372" fmla="*/ 436679 h 1078499"/>
                <a:gd name="connsiteX373" fmla="*/ 2608352 w 3024845"/>
                <a:gd name="connsiteY373" fmla="*/ 691769 h 1078499"/>
                <a:gd name="connsiteX374" fmla="*/ 2630646 w 3024845"/>
                <a:gd name="connsiteY374" fmla="*/ 691769 h 1078499"/>
                <a:gd name="connsiteX375" fmla="*/ 2630646 w 3024845"/>
                <a:gd name="connsiteY375" fmla="*/ 687445 h 1078499"/>
                <a:gd name="connsiteX376" fmla="*/ 2642806 w 3024845"/>
                <a:gd name="connsiteY376" fmla="*/ 687445 h 1078499"/>
                <a:gd name="connsiteX377" fmla="*/ 2642806 w 3024845"/>
                <a:gd name="connsiteY377" fmla="*/ 691769 h 1078499"/>
                <a:gd name="connsiteX378" fmla="*/ 2667126 w 3024845"/>
                <a:gd name="connsiteY378" fmla="*/ 691769 h 1078499"/>
                <a:gd name="connsiteX379" fmla="*/ 2667126 w 3024845"/>
                <a:gd name="connsiteY379" fmla="*/ 678798 h 1078499"/>
                <a:gd name="connsiteX380" fmla="*/ 2695500 w 3024845"/>
                <a:gd name="connsiteY380" fmla="*/ 678798 h 1078499"/>
                <a:gd name="connsiteX381" fmla="*/ 2707660 w 3024845"/>
                <a:gd name="connsiteY381" fmla="*/ 674474 h 1078499"/>
                <a:gd name="connsiteX382" fmla="*/ 2727927 w 3024845"/>
                <a:gd name="connsiteY382" fmla="*/ 678798 h 1078499"/>
                <a:gd name="connsiteX383" fmla="*/ 2727927 w 3024845"/>
                <a:gd name="connsiteY383" fmla="*/ 661504 h 1078499"/>
                <a:gd name="connsiteX384" fmla="*/ 2736034 w 3024845"/>
                <a:gd name="connsiteY384" fmla="*/ 661504 h 1078499"/>
                <a:gd name="connsiteX385" fmla="*/ 2736034 w 3024845"/>
                <a:gd name="connsiteY385" fmla="*/ 648533 h 1078499"/>
                <a:gd name="connsiteX386" fmla="*/ 2792781 w 3024845"/>
                <a:gd name="connsiteY386" fmla="*/ 648533 h 1078499"/>
                <a:gd name="connsiteX387" fmla="*/ 2792781 w 3024845"/>
                <a:gd name="connsiteY387" fmla="*/ 618268 h 1078499"/>
                <a:gd name="connsiteX388" fmla="*/ 2811021 w 3024845"/>
                <a:gd name="connsiteY388" fmla="*/ 618268 h 1078499"/>
                <a:gd name="connsiteX389" fmla="*/ 2811021 w 3024845"/>
                <a:gd name="connsiteY389" fmla="*/ 611783 h 1078499"/>
                <a:gd name="connsiteX390" fmla="*/ 2823181 w 3024845"/>
                <a:gd name="connsiteY390" fmla="*/ 611783 h 1078499"/>
                <a:gd name="connsiteX391" fmla="*/ 2823181 w 3024845"/>
                <a:gd name="connsiteY391" fmla="*/ 618268 h 1078499"/>
                <a:gd name="connsiteX392" fmla="*/ 2839395 w 3024845"/>
                <a:gd name="connsiteY392" fmla="*/ 618268 h 1078499"/>
                <a:gd name="connsiteX393" fmla="*/ 2839395 w 3024845"/>
                <a:gd name="connsiteY393" fmla="*/ 667989 h 1078499"/>
                <a:gd name="connsiteX394" fmla="*/ 2871822 w 3024845"/>
                <a:gd name="connsiteY394" fmla="*/ 667989 h 1078499"/>
                <a:gd name="connsiteX395" fmla="*/ 2871822 w 3024845"/>
                <a:gd name="connsiteY395" fmla="*/ 642048 h 1078499"/>
                <a:gd name="connsiteX396" fmla="*/ 2910329 w 3024845"/>
                <a:gd name="connsiteY396" fmla="*/ 642048 h 1078499"/>
                <a:gd name="connsiteX397" fmla="*/ 2910329 w 3024845"/>
                <a:gd name="connsiteY397" fmla="*/ 611783 h 1078499"/>
                <a:gd name="connsiteX398" fmla="*/ 2958970 w 3024845"/>
                <a:gd name="connsiteY398" fmla="*/ 611783 h 1078499"/>
                <a:gd name="connsiteX399" fmla="*/ 2958970 w 3024845"/>
                <a:gd name="connsiteY399" fmla="*/ 722939 h 1078499"/>
                <a:gd name="connsiteX400" fmla="*/ 2958970 w 3024845"/>
                <a:gd name="connsiteY400" fmla="*/ 736718 h 1078499"/>
                <a:gd name="connsiteX401" fmla="*/ 3024845 w 3024845"/>
                <a:gd name="connsiteY401" fmla="*/ 736718 h 1078499"/>
                <a:gd name="connsiteX402" fmla="*/ 3024845 w 3024845"/>
                <a:gd name="connsiteY402" fmla="*/ 1078499 h 1078499"/>
                <a:gd name="connsiteX403" fmla="*/ 2054 w 3024845"/>
                <a:gd name="connsiteY403" fmla="*/ 1076166 h 1078499"/>
                <a:gd name="connsiteX404" fmla="*/ 0 w 3024845"/>
                <a:gd name="connsiteY404" fmla="*/ 642048 h 1078499"/>
                <a:gd name="connsiteX405" fmla="*/ 20267 w 3024845"/>
                <a:gd name="connsiteY405" fmla="*/ 642048 h 1078499"/>
                <a:gd name="connsiteX406" fmla="*/ 20774 w 3024845"/>
                <a:gd name="connsiteY406" fmla="*/ 640967 h 1078499"/>
                <a:gd name="connsiteX407" fmla="*/ 24320 w 3024845"/>
                <a:gd name="connsiteY407" fmla="*/ 633401 h 1078499"/>
                <a:gd name="connsiteX408" fmla="*/ 26094 w 3024845"/>
                <a:gd name="connsiteY408" fmla="*/ 633671 h 1078499"/>
                <a:gd name="connsiteX409" fmla="*/ 38507 w 3024845"/>
                <a:gd name="connsiteY409" fmla="*/ 635562 h 1078499"/>
                <a:gd name="connsiteX410" fmla="*/ 39014 w 3024845"/>
                <a:gd name="connsiteY410" fmla="*/ 636914 h 1078499"/>
                <a:gd name="connsiteX411" fmla="*/ 42560 w 3024845"/>
                <a:gd name="connsiteY411" fmla="*/ 646371 h 1078499"/>
                <a:gd name="connsiteX412" fmla="*/ 68907 w 3024845"/>
                <a:gd name="connsiteY412" fmla="*/ 648533 h 1078499"/>
                <a:gd name="connsiteX413" fmla="*/ 68907 w 3024845"/>
                <a:gd name="connsiteY413" fmla="*/ 525312 h 1078499"/>
                <a:gd name="connsiteX414" fmla="*/ 70934 w 3024845"/>
                <a:gd name="connsiteY414" fmla="*/ 525312 h 1078499"/>
                <a:gd name="connsiteX415" fmla="*/ 85121 w 3024845"/>
                <a:gd name="connsiteY415" fmla="*/ 525312 h 1078499"/>
                <a:gd name="connsiteX416" fmla="*/ 85121 w 3024845"/>
                <a:gd name="connsiteY416" fmla="*/ 389120 h 1078499"/>
                <a:gd name="connsiteX417" fmla="*/ 86894 w 3024845"/>
                <a:gd name="connsiteY417" fmla="*/ 389120 h 1078499"/>
                <a:gd name="connsiteX418" fmla="*/ 99308 w 3024845"/>
                <a:gd name="connsiteY418" fmla="*/ 389120 h 1078499"/>
                <a:gd name="connsiteX419" fmla="*/ 99308 w 3024845"/>
                <a:gd name="connsiteY419" fmla="*/ 274546 h 1078499"/>
                <a:gd name="connsiteX420" fmla="*/ 103361 w 3024845"/>
                <a:gd name="connsiteY420" fmla="*/ 246442 h 1078499"/>
                <a:gd name="connsiteX421" fmla="*/ 105388 w 3024845"/>
                <a:gd name="connsiteY421" fmla="*/ 246442 h 1078499"/>
                <a:gd name="connsiteX422" fmla="*/ 119575 w 3024845"/>
                <a:gd name="connsiteY422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58427 w 3024845"/>
                <a:gd name="connsiteY325" fmla="*/ 17294 h 1078499"/>
                <a:gd name="connsiteX326" fmla="*/ 2160453 w 3024845"/>
                <a:gd name="connsiteY326" fmla="*/ 75662 h 1078499"/>
                <a:gd name="connsiteX327" fmla="*/ 2162480 w 3024845"/>
                <a:gd name="connsiteY327" fmla="*/ 138353 h 1078499"/>
                <a:gd name="connsiteX328" fmla="*/ 2168560 w 3024845"/>
                <a:gd name="connsiteY328" fmla="*/ 144839 h 1078499"/>
                <a:gd name="connsiteX329" fmla="*/ 2166533 w 3024845"/>
                <a:gd name="connsiteY329" fmla="*/ 151324 h 1078499"/>
                <a:gd name="connsiteX330" fmla="*/ 2166533 w 3024845"/>
                <a:gd name="connsiteY330" fmla="*/ 229148 h 1078499"/>
                <a:gd name="connsiteX331" fmla="*/ 2168560 w 3024845"/>
                <a:gd name="connsiteY331" fmla="*/ 233472 h 1078499"/>
                <a:gd name="connsiteX332" fmla="*/ 2168560 w 3024845"/>
                <a:gd name="connsiteY332" fmla="*/ 255090 h 1078499"/>
                <a:gd name="connsiteX333" fmla="*/ 2182747 w 3024845"/>
                <a:gd name="connsiteY333" fmla="*/ 255090 h 1078499"/>
                <a:gd name="connsiteX334" fmla="*/ 2182747 w 3024845"/>
                <a:gd name="connsiteY334" fmla="*/ 272384 h 1078499"/>
                <a:gd name="connsiteX335" fmla="*/ 2190854 w 3024845"/>
                <a:gd name="connsiteY335" fmla="*/ 296163 h 1078499"/>
                <a:gd name="connsiteX336" fmla="*/ 2184774 w 3024845"/>
                <a:gd name="connsiteY336" fmla="*/ 300487 h 1078499"/>
                <a:gd name="connsiteX337" fmla="*/ 2172613 w 3024845"/>
                <a:gd name="connsiteY337" fmla="*/ 322105 h 1078499"/>
                <a:gd name="connsiteX338" fmla="*/ 2180720 w 3024845"/>
                <a:gd name="connsiteY338" fmla="*/ 575033 h 1078499"/>
                <a:gd name="connsiteX339" fmla="*/ 2245574 w 3024845"/>
                <a:gd name="connsiteY339" fmla="*/ 575033 h 1078499"/>
                <a:gd name="connsiteX340" fmla="*/ 2245574 w 3024845"/>
                <a:gd name="connsiteY340" fmla="*/ 650695 h 1078499"/>
                <a:gd name="connsiteX341" fmla="*/ 2253681 w 3024845"/>
                <a:gd name="connsiteY341" fmla="*/ 650695 h 1078499"/>
                <a:gd name="connsiteX342" fmla="*/ 2255708 w 3024845"/>
                <a:gd name="connsiteY342" fmla="*/ 644210 h 1078499"/>
                <a:gd name="connsiteX343" fmla="*/ 2261788 w 3024845"/>
                <a:gd name="connsiteY343" fmla="*/ 644210 h 1078499"/>
                <a:gd name="connsiteX344" fmla="*/ 2263815 w 3024845"/>
                <a:gd name="connsiteY344" fmla="*/ 652857 h 1078499"/>
                <a:gd name="connsiteX345" fmla="*/ 2275975 w 3024845"/>
                <a:gd name="connsiteY345" fmla="*/ 652857 h 1078499"/>
                <a:gd name="connsiteX346" fmla="*/ 2275975 w 3024845"/>
                <a:gd name="connsiteY346" fmla="*/ 646371 h 1078499"/>
                <a:gd name="connsiteX347" fmla="*/ 2298268 w 3024845"/>
                <a:gd name="connsiteY347" fmla="*/ 646371 h 1078499"/>
                <a:gd name="connsiteX348" fmla="*/ 2298268 w 3024845"/>
                <a:gd name="connsiteY348" fmla="*/ 652857 h 1078499"/>
                <a:gd name="connsiteX349" fmla="*/ 2318535 w 3024845"/>
                <a:gd name="connsiteY349" fmla="*/ 652857 h 1078499"/>
                <a:gd name="connsiteX350" fmla="*/ 2318535 w 3024845"/>
                <a:gd name="connsiteY350" fmla="*/ 698254 h 1078499"/>
                <a:gd name="connsiteX351" fmla="*/ 2332722 w 3024845"/>
                <a:gd name="connsiteY351" fmla="*/ 698254 h 1078499"/>
                <a:gd name="connsiteX352" fmla="*/ 2332722 w 3024845"/>
                <a:gd name="connsiteY352" fmla="*/ 685283 h 1078499"/>
                <a:gd name="connsiteX353" fmla="*/ 2348936 w 3024845"/>
                <a:gd name="connsiteY353" fmla="*/ 685283 h 1078499"/>
                <a:gd name="connsiteX354" fmla="*/ 2348936 w 3024845"/>
                <a:gd name="connsiteY354" fmla="*/ 505856 h 1078499"/>
                <a:gd name="connsiteX355" fmla="*/ 2355016 w 3024845"/>
                <a:gd name="connsiteY355" fmla="*/ 499370 h 1078499"/>
                <a:gd name="connsiteX356" fmla="*/ 2427977 w 3024845"/>
                <a:gd name="connsiteY356" fmla="*/ 499370 h 1078499"/>
                <a:gd name="connsiteX357" fmla="*/ 2427977 w 3024845"/>
                <a:gd name="connsiteY357" fmla="*/ 508018 h 1078499"/>
                <a:gd name="connsiteX358" fmla="*/ 2438110 w 3024845"/>
                <a:gd name="connsiteY358" fmla="*/ 508018 h 1078499"/>
                <a:gd name="connsiteX359" fmla="*/ 2438110 w 3024845"/>
                <a:gd name="connsiteY359" fmla="*/ 622592 h 1078499"/>
                <a:gd name="connsiteX360" fmla="*/ 2460404 w 3024845"/>
                <a:gd name="connsiteY360" fmla="*/ 622592 h 1078499"/>
                <a:gd name="connsiteX361" fmla="*/ 2460404 w 3024845"/>
                <a:gd name="connsiteY361" fmla="*/ 555577 h 1078499"/>
                <a:gd name="connsiteX362" fmla="*/ 2486751 w 3024845"/>
                <a:gd name="connsiteY362" fmla="*/ 555577 h 1078499"/>
                <a:gd name="connsiteX363" fmla="*/ 2490804 w 3024845"/>
                <a:gd name="connsiteY363" fmla="*/ 551253 h 1078499"/>
                <a:gd name="connsiteX364" fmla="*/ 2498911 w 3024845"/>
                <a:gd name="connsiteY364" fmla="*/ 551253 h 1078499"/>
                <a:gd name="connsiteX365" fmla="*/ 2502964 w 3024845"/>
                <a:gd name="connsiteY365" fmla="*/ 555577 h 1078499"/>
                <a:gd name="connsiteX366" fmla="*/ 2525258 w 3024845"/>
                <a:gd name="connsiteY366" fmla="*/ 555577 h 1078499"/>
                <a:gd name="connsiteX367" fmla="*/ 2525258 w 3024845"/>
                <a:gd name="connsiteY367" fmla="*/ 438841 h 1078499"/>
                <a:gd name="connsiteX368" fmla="*/ 2582005 w 3024845"/>
                <a:gd name="connsiteY368" fmla="*/ 428032 h 1078499"/>
                <a:gd name="connsiteX369" fmla="*/ 2582005 w 3024845"/>
                <a:gd name="connsiteY369" fmla="*/ 429113 h 1078499"/>
                <a:gd name="connsiteX370" fmla="*/ 2582005 w 3024845"/>
                <a:gd name="connsiteY370" fmla="*/ 436679 h 1078499"/>
                <a:gd name="connsiteX371" fmla="*/ 2608352 w 3024845"/>
                <a:gd name="connsiteY371" fmla="*/ 436679 h 1078499"/>
                <a:gd name="connsiteX372" fmla="*/ 2608352 w 3024845"/>
                <a:gd name="connsiteY372" fmla="*/ 691769 h 1078499"/>
                <a:gd name="connsiteX373" fmla="*/ 2630646 w 3024845"/>
                <a:gd name="connsiteY373" fmla="*/ 691769 h 1078499"/>
                <a:gd name="connsiteX374" fmla="*/ 2630646 w 3024845"/>
                <a:gd name="connsiteY374" fmla="*/ 687445 h 1078499"/>
                <a:gd name="connsiteX375" fmla="*/ 2642806 w 3024845"/>
                <a:gd name="connsiteY375" fmla="*/ 687445 h 1078499"/>
                <a:gd name="connsiteX376" fmla="*/ 2642806 w 3024845"/>
                <a:gd name="connsiteY376" fmla="*/ 691769 h 1078499"/>
                <a:gd name="connsiteX377" fmla="*/ 2667126 w 3024845"/>
                <a:gd name="connsiteY377" fmla="*/ 691769 h 1078499"/>
                <a:gd name="connsiteX378" fmla="*/ 2667126 w 3024845"/>
                <a:gd name="connsiteY378" fmla="*/ 678798 h 1078499"/>
                <a:gd name="connsiteX379" fmla="*/ 2695500 w 3024845"/>
                <a:gd name="connsiteY379" fmla="*/ 678798 h 1078499"/>
                <a:gd name="connsiteX380" fmla="*/ 2707660 w 3024845"/>
                <a:gd name="connsiteY380" fmla="*/ 674474 h 1078499"/>
                <a:gd name="connsiteX381" fmla="*/ 2727927 w 3024845"/>
                <a:gd name="connsiteY381" fmla="*/ 678798 h 1078499"/>
                <a:gd name="connsiteX382" fmla="*/ 2727927 w 3024845"/>
                <a:gd name="connsiteY382" fmla="*/ 661504 h 1078499"/>
                <a:gd name="connsiteX383" fmla="*/ 2736034 w 3024845"/>
                <a:gd name="connsiteY383" fmla="*/ 661504 h 1078499"/>
                <a:gd name="connsiteX384" fmla="*/ 2736034 w 3024845"/>
                <a:gd name="connsiteY384" fmla="*/ 648533 h 1078499"/>
                <a:gd name="connsiteX385" fmla="*/ 2792781 w 3024845"/>
                <a:gd name="connsiteY385" fmla="*/ 648533 h 1078499"/>
                <a:gd name="connsiteX386" fmla="*/ 2792781 w 3024845"/>
                <a:gd name="connsiteY386" fmla="*/ 618268 h 1078499"/>
                <a:gd name="connsiteX387" fmla="*/ 2811021 w 3024845"/>
                <a:gd name="connsiteY387" fmla="*/ 618268 h 1078499"/>
                <a:gd name="connsiteX388" fmla="*/ 2811021 w 3024845"/>
                <a:gd name="connsiteY388" fmla="*/ 611783 h 1078499"/>
                <a:gd name="connsiteX389" fmla="*/ 2823181 w 3024845"/>
                <a:gd name="connsiteY389" fmla="*/ 611783 h 1078499"/>
                <a:gd name="connsiteX390" fmla="*/ 2823181 w 3024845"/>
                <a:gd name="connsiteY390" fmla="*/ 618268 h 1078499"/>
                <a:gd name="connsiteX391" fmla="*/ 2839395 w 3024845"/>
                <a:gd name="connsiteY391" fmla="*/ 618268 h 1078499"/>
                <a:gd name="connsiteX392" fmla="*/ 2839395 w 3024845"/>
                <a:gd name="connsiteY392" fmla="*/ 667989 h 1078499"/>
                <a:gd name="connsiteX393" fmla="*/ 2871822 w 3024845"/>
                <a:gd name="connsiteY393" fmla="*/ 667989 h 1078499"/>
                <a:gd name="connsiteX394" fmla="*/ 2871822 w 3024845"/>
                <a:gd name="connsiteY394" fmla="*/ 642048 h 1078499"/>
                <a:gd name="connsiteX395" fmla="*/ 2910329 w 3024845"/>
                <a:gd name="connsiteY395" fmla="*/ 642048 h 1078499"/>
                <a:gd name="connsiteX396" fmla="*/ 2910329 w 3024845"/>
                <a:gd name="connsiteY396" fmla="*/ 611783 h 1078499"/>
                <a:gd name="connsiteX397" fmla="*/ 2958970 w 3024845"/>
                <a:gd name="connsiteY397" fmla="*/ 611783 h 1078499"/>
                <a:gd name="connsiteX398" fmla="*/ 2958970 w 3024845"/>
                <a:gd name="connsiteY398" fmla="*/ 722939 h 1078499"/>
                <a:gd name="connsiteX399" fmla="*/ 2958970 w 3024845"/>
                <a:gd name="connsiteY399" fmla="*/ 736718 h 1078499"/>
                <a:gd name="connsiteX400" fmla="*/ 3024845 w 3024845"/>
                <a:gd name="connsiteY400" fmla="*/ 736718 h 1078499"/>
                <a:gd name="connsiteX401" fmla="*/ 3024845 w 3024845"/>
                <a:gd name="connsiteY401" fmla="*/ 1078499 h 1078499"/>
                <a:gd name="connsiteX402" fmla="*/ 2054 w 3024845"/>
                <a:gd name="connsiteY402" fmla="*/ 1076166 h 1078499"/>
                <a:gd name="connsiteX403" fmla="*/ 0 w 3024845"/>
                <a:gd name="connsiteY403" fmla="*/ 642048 h 1078499"/>
                <a:gd name="connsiteX404" fmla="*/ 20267 w 3024845"/>
                <a:gd name="connsiteY404" fmla="*/ 642048 h 1078499"/>
                <a:gd name="connsiteX405" fmla="*/ 20774 w 3024845"/>
                <a:gd name="connsiteY405" fmla="*/ 640967 h 1078499"/>
                <a:gd name="connsiteX406" fmla="*/ 24320 w 3024845"/>
                <a:gd name="connsiteY406" fmla="*/ 633401 h 1078499"/>
                <a:gd name="connsiteX407" fmla="*/ 26094 w 3024845"/>
                <a:gd name="connsiteY407" fmla="*/ 633671 h 1078499"/>
                <a:gd name="connsiteX408" fmla="*/ 38507 w 3024845"/>
                <a:gd name="connsiteY408" fmla="*/ 635562 h 1078499"/>
                <a:gd name="connsiteX409" fmla="*/ 39014 w 3024845"/>
                <a:gd name="connsiteY409" fmla="*/ 636914 h 1078499"/>
                <a:gd name="connsiteX410" fmla="*/ 42560 w 3024845"/>
                <a:gd name="connsiteY410" fmla="*/ 646371 h 1078499"/>
                <a:gd name="connsiteX411" fmla="*/ 68907 w 3024845"/>
                <a:gd name="connsiteY411" fmla="*/ 648533 h 1078499"/>
                <a:gd name="connsiteX412" fmla="*/ 68907 w 3024845"/>
                <a:gd name="connsiteY412" fmla="*/ 525312 h 1078499"/>
                <a:gd name="connsiteX413" fmla="*/ 70934 w 3024845"/>
                <a:gd name="connsiteY413" fmla="*/ 525312 h 1078499"/>
                <a:gd name="connsiteX414" fmla="*/ 85121 w 3024845"/>
                <a:gd name="connsiteY414" fmla="*/ 525312 h 1078499"/>
                <a:gd name="connsiteX415" fmla="*/ 85121 w 3024845"/>
                <a:gd name="connsiteY415" fmla="*/ 389120 h 1078499"/>
                <a:gd name="connsiteX416" fmla="*/ 86894 w 3024845"/>
                <a:gd name="connsiteY416" fmla="*/ 389120 h 1078499"/>
                <a:gd name="connsiteX417" fmla="*/ 99308 w 3024845"/>
                <a:gd name="connsiteY417" fmla="*/ 389120 h 1078499"/>
                <a:gd name="connsiteX418" fmla="*/ 99308 w 3024845"/>
                <a:gd name="connsiteY418" fmla="*/ 274546 h 1078499"/>
                <a:gd name="connsiteX419" fmla="*/ 103361 w 3024845"/>
                <a:gd name="connsiteY419" fmla="*/ 246442 h 1078499"/>
                <a:gd name="connsiteX420" fmla="*/ 105388 w 3024845"/>
                <a:gd name="connsiteY420" fmla="*/ 246442 h 1078499"/>
                <a:gd name="connsiteX421" fmla="*/ 119575 w 3024845"/>
                <a:gd name="connsiteY421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60453 w 3024845"/>
                <a:gd name="connsiteY325" fmla="*/ 75662 h 1078499"/>
                <a:gd name="connsiteX326" fmla="*/ 2162480 w 3024845"/>
                <a:gd name="connsiteY326" fmla="*/ 138353 h 1078499"/>
                <a:gd name="connsiteX327" fmla="*/ 2168560 w 3024845"/>
                <a:gd name="connsiteY327" fmla="*/ 144839 h 1078499"/>
                <a:gd name="connsiteX328" fmla="*/ 2166533 w 3024845"/>
                <a:gd name="connsiteY328" fmla="*/ 151324 h 1078499"/>
                <a:gd name="connsiteX329" fmla="*/ 2166533 w 3024845"/>
                <a:gd name="connsiteY329" fmla="*/ 229148 h 1078499"/>
                <a:gd name="connsiteX330" fmla="*/ 2168560 w 3024845"/>
                <a:gd name="connsiteY330" fmla="*/ 233472 h 1078499"/>
                <a:gd name="connsiteX331" fmla="*/ 2168560 w 3024845"/>
                <a:gd name="connsiteY331" fmla="*/ 255090 h 1078499"/>
                <a:gd name="connsiteX332" fmla="*/ 2182747 w 3024845"/>
                <a:gd name="connsiteY332" fmla="*/ 255090 h 1078499"/>
                <a:gd name="connsiteX333" fmla="*/ 2182747 w 3024845"/>
                <a:gd name="connsiteY333" fmla="*/ 272384 h 1078499"/>
                <a:gd name="connsiteX334" fmla="*/ 2190854 w 3024845"/>
                <a:gd name="connsiteY334" fmla="*/ 296163 h 1078499"/>
                <a:gd name="connsiteX335" fmla="*/ 2184774 w 3024845"/>
                <a:gd name="connsiteY335" fmla="*/ 300487 h 1078499"/>
                <a:gd name="connsiteX336" fmla="*/ 2172613 w 3024845"/>
                <a:gd name="connsiteY336" fmla="*/ 322105 h 1078499"/>
                <a:gd name="connsiteX337" fmla="*/ 2180720 w 3024845"/>
                <a:gd name="connsiteY337" fmla="*/ 575033 h 1078499"/>
                <a:gd name="connsiteX338" fmla="*/ 2245574 w 3024845"/>
                <a:gd name="connsiteY338" fmla="*/ 575033 h 1078499"/>
                <a:gd name="connsiteX339" fmla="*/ 2245574 w 3024845"/>
                <a:gd name="connsiteY339" fmla="*/ 650695 h 1078499"/>
                <a:gd name="connsiteX340" fmla="*/ 2253681 w 3024845"/>
                <a:gd name="connsiteY340" fmla="*/ 650695 h 1078499"/>
                <a:gd name="connsiteX341" fmla="*/ 2255708 w 3024845"/>
                <a:gd name="connsiteY341" fmla="*/ 644210 h 1078499"/>
                <a:gd name="connsiteX342" fmla="*/ 2261788 w 3024845"/>
                <a:gd name="connsiteY342" fmla="*/ 644210 h 1078499"/>
                <a:gd name="connsiteX343" fmla="*/ 2263815 w 3024845"/>
                <a:gd name="connsiteY343" fmla="*/ 652857 h 1078499"/>
                <a:gd name="connsiteX344" fmla="*/ 2275975 w 3024845"/>
                <a:gd name="connsiteY344" fmla="*/ 652857 h 1078499"/>
                <a:gd name="connsiteX345" fmla="*/ 2275975 w 3024845"/>
                <a:gd name="connsiteY345" fmla="*/ 646371 h 1078499"/>
                <a:gd name="connsiteX346" fmla="*/ 2298268 w 3024845"/>
                <a:gd name="connsiteY346" fmla="*/ 646371 h 1078499"/>
                <a:gd name="connsiteX347" fmla="*/ 2298268 w 3024845"/>
                <a:gd name="connsiteY347" fmla="*/ 652857 h 1078499"/>
                <a:gd name="connsiteX348" fmla="*/ 2318535 w 3024845"/>
                <a:gd name="connsiteY348" fmla="*/ 652857 h 1078499"/>
                <a:gd name="connsiteX349" fmla="*/ 2318535 w 3024845"/>
                <a:gd name="connsiteY349" fmla="*/ 698254 h 1078499"/>
                <a:gd name="connsiteX350" fmla="*/ 2332722 w 3024845"/>
                <a:gd name="connsiteY350" fmla="*/ 698254 h 1078499"/>
                <a:gd name="connsiteX351" fmla="*/ 2332722 w 3024845"/>
                <a:gd name="connsiteY351" fmla="*/ 685283 h 1078499"/>
                <a:gd name="connsiteX352" fmla="*/ 2348936 w 3024845"/>
                <a:gd name="connsiteY352" fmla="*/ 685283 h 1078499"/>
                <a:gd name="connsiteX353" fmla="*/ 2348936 w 3024845"/>
                <a:gd name="connsiteY353" fmla="*/ 505856 h 1078499"/>
                <a:gd name="connsiteX354" fmla="*/ 2355016 w 3024845"/>
                <a:gd name="connsiteY354" fmla="*/ 499370 h 1078499"/>
                <a:gd name="connsiteX355" fmla="*/ 2427977 w 3024845"/>
                <a:gd name="connsiteY355" fmla="*/ 499370 h 1078499"/>
                <a:gd name="connsiteX356" fmla="*/ 2427977 w 3024845"/>
                <a:gd name="connsiteY356" fmla="*/ 508018 h 1078499"/>
                <a:gd name="connsiteX357" fmla="*/ 2438110 w 3024845"/>
                <a:gd name="connsiteY357" fmla="*/ 508018 h 1078499"/>
                <a:gd name="connsiteX358" fmla="*/ 2438110 w 3024845"/>
                <a:gd name="connsiteY358" fmla="*/ 622592 h 1078499"/>
                <a:gd name="connsiteX359" fmla="*/ 2460404 w 3024845"/>
                <a:gd name="connsiteY359" fmla="*/ 622592 h 1078499"/>
                <a:gd name="connsiteX360" fmla="*/ 2460404 w 3024845"/>
                <a:gd name="connsiteY360" fmla="*/ 555577 h 1078499"/>
                <a:gd name="connsiteX361" fmla="*/ 2486751 w 3024845"/>
                <a:gd name="connsiteY361" fmla="*/ 555577 h 1078499"/>
                <a:gd name="connsiteX362" fmla="*/ 2490804 w 3024845"/>
                <a:gd name="connsiteY362" fmla="*/ 551253 h 1078499"/>
                <a:gd name="connsiteX363" fmla="*/ 2498911 w 3024845"/>
                <a:gd name="connsiteY363" fmla="*/ 551253 h 1078499"/>
                <a:gd name="connsiteX364" fmla="*/ 2502964 w 3024845"/>
                <a:gd name="connsiteY364" fmla="*/ 555577 h 1078499"/>
                <a:gd name="connsiteX365" fmla="*/ 2525258 w 3024845"/>
                <a:gd name="connsiteY365" fmla="*/ 555577 h 1078499"/>
                <a:gd name="connsiteX366" fmla="*/ 2525258 w 3024845"/>
                <a:gd name="connsiteY366" fmla="*/ 438841 h 1078499"/>
                <a:gd name="connsiteX367" fmla="*/ 2582005 w 3024845"/>
                <a:gd name="connsiteY367" fmla="*/ 428032 h 1078499"/>
                <a:gd name="connsiteX368" fmla="*/ 2582005 w 3024845"/>
                <a:gd name="connsiteY368" fmla="*/ 429113 h 1078499"/>
                <a:gd name="connsiteX369" fmla="*/ 2582005 w 3024845"/>
                <a:gd name="connsiteY369" fmla="*/ 436679 h 1078499"/>
                <a:gd name="connsiteX370" fmla="*/ 2608352 w 3024845"/>
                <a:gd name="connsiteY370" fmla="*/ 436679 h 1078499"/>
                <a:gd name="connsiteX371" fmla="*/ 2608352 w 3024845"/>
                <a:gd name="connsiteY371" fmla="*/ 691769 h 1078499"/>
                <a:gd name="connsiteX372" fmla="*/ 2630646 w 3024845"/>
                <a:gd name="connsiteY372" fmla="*/ 691769 h 1078499"/>
                <a:gd name="connsiteX373" fmla="*/ 2630646 w 3024845"/>
                <a:gd name="connsiteY373" fmla="*/ 687445 h 1078499"/>
                <a:gd name="connsiteX374" fmla="*/ 2642806 w 3024845"/>
                <a:gd name="connsiteY374" fmla="*/ 687445 h 1078499"/>
                <a:gd name="connsiteX375" fmla="*/ 2642806 w 3024845"/>
                <a:gd name="connsiteY375" fmla="*/ 691769 h 1078499"/>
                <a:gd name="connsiteX376" fmla="*/ 2667126 w 3024845"/>
                <a:gd name="connsiteY376" fmla="*/ 691769 h 1078499"/>
                <a:gd name="connsiteX377" fmla="*/ 2667126 w 3024845"/>
                <a:gd name="connsiteY377" fmla="*/ 678798 h 1078499"/>
                <a:gd name="connsiteX378" fmla="*/ 2695500 w 3024845"/>
                <a:gd name="connsiteY378" fmla="*/ 678798 h 1078499"/>
                <a:gd name="connsiteX379" fmla="*/ 2707660 w 3024845"/>
                <a:gd name="connsiteY379" fmla="*/ 674474 h 1078499"/>
                <a:gd name="connsiteX380" fmla="*/ 2727927 w 3024845"/>
                <a:gd name="connsiteY380" fmla="*/ 678798 h 1078499"/>
                <a:gd name="connsiteX381" fmla="*/ 2727927 w 3024845"/>
                <a:gd name="connsiteY381" fmla="*/ 661504 h 1078499"/>
                <a:gd name="connsiteX382" fmla="*/ 2736034 w 3024845"/>
                <a:gd name="connsiteY382" fmla="*/ 661504 h 1078499"/>
                <a:gd name="connsiteX383" fmla="*/ 2736034 w 3024845"/>
                <a:gd name="connsiteY383" fmla="*/ 648533 h 1078499"/>
                <a:gd name="connsiteX384" fmla="*/ 2792781 w 3024845"/>
                <a:gd name="connsiteY384" fmla="*/ 648533 h 1078499"/>
                <a:gd name="connsiteX385" fmla="*/ 2792781 w 3024845"/>
                <a:gd name="connsiteY385" fmla="*/ 618268 h 1078499"/>
                <a:gd name="connsiteX386" fmla="*/ 2811021 w 3024845"/>
                <a:gd name="connsiteY386" fmla="*/ 618268 h 1078499"/>
                <a:gd name="connsiteX387" fmla="*/ 2811021 w 3024845"/>
                <a:gd name="connsiteY387" fmla="*/ 611783 h 1078499"/>
                <a:gd name="connsiteX388" fmla="*/ 2823181 w 3024845"/>
                <a:gd name="connsiteY388" fmla="*/ 611783 h 1078499"/>
                <a:gd name="connsiteX389" fmla="*/ 2823181 w 3024845"/>
                <a:gd name="connsiteY389" fmla="*/ 618268 h 1078499"/>
                <a:gd name="connsiteX390" fmla="*/ 2839395 w 3024845"/>
                <a:gd name="connsiteY390" fmla="*/ 618268 h 1078499"/>
                <a:gd name="connsiteX391" fmla="*/ 2839395 w 3024845"/>
                <a:gd name="connsiteY391" fmla="*/ 667989 h 1078499"/>
                <a:gd name="connsiteX392" fmla="*/ 2871822 w 3024845"/>
                <a:gd name="connsiteY392" fmla="*/ 667989 h 1078499"/>
                <a:gd name="connsiteX393" fmla="*/ 2871822 w 3024845"/>
                <a:gd name="connsiteY393" fmla="*/ 642048 h 1078499"/>
                <a:gd name="connsiteX394" fmla="*/ 2910329 w 3024845"/>
                <a:gd name="connsiteY394" fmla="*/ 642048 h 1078499"/>
                <a:gd name="connsiteX395" fmla="*/ 2910329 w 3024845"/>
                <a:gd name="connsiteY395" fmla="*/ 611783 h 1078499"/>
                <a:gd name="connsiteX396" fmla="*/ 2958970 w 3024845"/>
                <a:gd name="connsiteY396" fmla="*/ 611783 h 1078499"/>
                <a:gd name="connsiteX397" fmla="*/ 2958970 w 3024845"/>
                <a:gd name="connsiteY397" fmla="*/ 722939 h 1078499"/>
                <a:gd name="connsiteX398" fmla="*/ 2958970 w 3024845"/>
                <a:gd name="connsiteY398" fmla="*/ 736718 h 1078499"/>
                <a:gd name="connsiteX399" fmla="*/ 3024845 w 3024845"/>
                <a:gd name="connsiteY399" fmla="*/ 736718 h 1078499"/>
                <a:gd name="connsiteX400" fmla="*/ 3024845 w 3024845"/>
                <a:gd name="connsiteY400" fmla="*/ 1078499 h 1078499"/>
                <a:gd name="connsiteX401" fmla="*/ 2054 w 3024845"/>
                <a:gd name="connsiteY401" fmla="*/ 1076166 h 1078499"/>
                <a:gd name="connsiteX402" fmla="*/ 0 w 3024845"/>
                <a:gd name="connsiteY402" fmla="*/ 642048 h 1078499"/>
                <a:gd name="connsiteX403" fmla="*/ 20267 w 3024845"/>
                <a:gd name="connsiteY403" fmla="*/ 642048 h 1078499"/>
                <a:gd name="connsiteX404" fmla="*/ 20774 w 3024845"/>
                <a:gd name="connsiteY404" fmla="*/ 640967 h 1078499"/>
                <a:gd name="connsiteX405" fmla="*/ 24320 w 3024845"/>
                <a:gd name="connsiteY405" fmla="*/ 633401 h 1078499"/>
                <a:gd name="connsiteX406" fmla="*/ 26094 w 3024845"/>
                <a:gd name="connsiteY406" fmla="*/ 633671 h 1078499"/>
                <a:gd name="connsiteX407" fmla="*/ 38507 w 3024845"/>
                <a:gd name="connsiteY407" fmla="*/ 635562 h 1078499"/>
                <a:gd name="connsiteX408" fmla="*/ 39014 w 3024845"/>
                <a:gd name="connsiteY408" fmla="*/ 636914 h 1078499"/>
                <a:gd name="connsiteX409" fmla="*/ 42560 w 3024845"/>
                <a:gd name="connsiteY409" fmla="*/ 646371 h 1078499"/>
                <a:gd name="connsiteX410" fmla="*/ 68907 w 3024845"/>
                <a:gd name="connsiteY410" fmla="*/ 648533 h 1078499"/>
                <a:gd name="connsiteX411" fmla="*/ 68907 w 3024845"/>
                <a:gd name="connsiteY411" fmla="*/ 525312 h 1078499"/>
                <a:gd name="connsiteX412" fmla="*/ 70934 w 3024845"/>
                <a:gd name="connsiteY412" fmla="*/ 525312 h 1078499"/>
                <a:gd name="connsiteX413" fmla="*/ 85121 w 3024845"/>
                <a:gd name="connsiteY413" fmla="*/ 525312 h 1078499"/>
                <a:gd name="connsiteX414" fmla="*/ 85121 w 3024845"/>
                <a:gd name="connsiteY414" fmla="*/ 389120 h 1078499"/>
                <a:gd name="connsiteX415" fmla="*/ 86894 w 3024845"/>
                <a:gd name="connsiteY415" fmla="*/ 389120 h 1078499"/>
                <a:gd name="connsiteX416" fmla="*/ 99308 w 3024845"/>
                <a:gd name="connsiteY416" fmla="*/ 389120 h 1078499"/>
                <a:gd name="connsiteX417" fmla="*/ 99308 w 3024845"/>
                <a:gd name="connsiteY417" fmla="*/ 274546 h 1078499"/>
                <a:gd name="connsiteX418" fmla="*/ 103361 w 3024845"/>
                <a:gd name="connsiteY418" fmla="*/ 246442 h 1078499"/>
                <a:gd name="connsiteX419" fmla="*/ 105388 w 3024845"/>
                <a:gd name="connsiteY419" fmla="*/ 246442 h 1078499"/>
                <a:gd name="connsiteX420" fmla="*/ 119575 w 3024845"/>
                <a:gd name="connsiteY420" fmla="*/ 246442 h 1078499"/>
                <a:gd name="connsiteX0" fmla="*/ 119575 w 3024845"/>
                <a:gd name="connsiteY0" fmla="*/ 246442 h 1078499"/>
                <a:gd name="connsiteX1" fmla="*/ 200642 w 3024845"/>
                <a:gd name="connsiteY1" fmla="*/ 244281 h 1078499"/>
                <a:gd name="connsiteX2" fmla="*/ 202669 w 3024845"/>
                <a:gd name="connsiteY2" fmla="*/ 244281 h 1078499"/>
                <a:gd name="connsiteX3" fmla="*/ 216856 w 3024845"/>
                <a:gd name="connsiteY3" fmla="*/ 244281 h 1078499"/>
                <a:gd name="connsiteX4" fmla="*/ 216856 w 3024845"/>
                <a:gd name="connsiteY4" fmla="*/ 268060 h 1078499"/>
                <a:gd name="connsiteX5" fmla="*/ 217363 w 3024845"/>
                <a:gd name="connsiteY5" fmla="*/ 268871 h 1078499"/>
                <a:gd name="connsiteX6" fmla="*/ 220909 w 3024845"/>
                <a:gd name="connsiteY6" fmla="*/ 274546 h 1078499"/>
                <a:gd name="connsiteX7" fmla="*/ 220909 w 3024845"/>
                <a:gd name="connsiteY7" fmla="*/ 389120 h 1078499"/>
                <a:gd name="connsiteX8" fmla="*/ 223189 w 3024845"/>
                <a:gd name="connsiteY8" fmla="*/ 389120 h 1078499"/>
                <a:gd name="connsiteX9" fmla="*/ 239150 w 3024845"/>
                <a:gd name="connsiteY9" fmla="*/ 389120 h 1078499"/>
                <a:gd name="connsiteX10" fmla="*/ 239150 w 3024845"/>
                <a:gd name="connsiteY10" fmla="*/ 529635 h 1078499"/>
                <a:gd name="connsiteX11" fmla="*/ 240670 w 3024845"/>
                <a:gd name="connsiteY11" fmla="*/ 529365 h 1078499"/>
                <a:gd name="connsiteX12" fmla="*/ 251310 w 3024845"/>
                <a:gd name="connsiteY12" fmla="*/ 527474 h 1078499"/>
                <a:gd name="connsiteX13" fmla="*/ 249283 w 3024845"/>
                <a:gd name="connsiteY13" fmla="*/ 616106 h 1078499"/>
                <a:gd name="connsiteX14" fmla="*/ 250803 w 3024845"/>
                <a:gd name="connsiteY14" fmla="*/ 616377 h 1078499"/>
                <a:gd name="connsiteX15" fmla="*/ 261443 w 3024845"/>
                <a:gd name="connsiteY15" fmla="*/ 618268 h 1078499"/>
                <a:gd name="connsiteX16" fmla="*/ 261696 w 3024845"/>
                <a:gd name="connsiteY16" fmla="*/ 619079 h 1078499"/>
                <a:gd name="connsiteX17" fmla="*/ 263470 w 3024845"/>
                <a:gd name="connsiteY17" fmla="*/ 624754 h 1078499"/>
                <a:gd name="connsiteX18" fmla="*/ 264230 w 3024845"/>
                <a:gd name="connsiteY18" fmla="*/ 622322 h 1078499"/>
                <a:gd name="connsiteX19" fmla="*/ 269550 w 3024845"/>
                <a:gd name="connsiteY19" fmla="*/ 605298 h 1078499"/>
                <a:gd name="connsiteX20" fmla="*/ 271323 w 3024845"/>
                <a:gd name="connsiteY20" fmla="*/ 605298 h 1078499"/>
                <a:gd name="connsiteX21" fmla="*/ 283737 w 3024845"/>
                <a:gd name="connsiteY21" fmla="*/ 605298 h 1078499"/>
                <a:gd name="connsiteX22" fmla="*/ 283737 w 3024845"/>
                <a:gd name="connsiteY22" fmla="*/ 637724 h 1078499"/>
                <a:gd name="connsiteX23" fmla="*/ 284750 w 3024845"/>
                <a:gd name="connsiteY23" fmla="*/ 638265 h 1078499"/>
                <a:gd name="connsiteX24" fmla="*/ 291844 w 3024845"/>
                <a:gd name="connsiteY24" fmla="*/ 642048 h 1078499"/>
                <a:gd name="connsiteX25" fmla="*/ 291844 w 3024845"/>
                <a:gd name="connsiteY25" fmla="*/ 643399 h 1078499"/>
                <a:gd name="connsiteX26" fmla="*/ 291844 w 3024845"/>
                <a:gd name="connsiteY26" fmla="*/ 652857 h 1078499"/>
                <a:gd name="connsiteX27" fmla="*/ 336431 w 3024845"/>
                <a:gd name="connsiteY27" fmla="*/ 652857 h 1078499"/>
                <a:gd name="connsiteX28" fmla="*/ 336431 w 3024845"/>
                <a:gd name="connsiteY28" fmla="*/ 653938 h 1078499"/>
                <a:gd name="connsiteX29" fmla="*/ 336431 w 3024845"/>
                <a:gd name="connsiteY29" fmla="*/ 661504 h 1078499"/>
                <a:gd name="connsiteX30" fmla="*/ 338457 w 3024845"/>
                <a:gd name="connsiteY30" fmla="*/ 661504 h 1078499"/>
                <a:gd name="connsiteX31" fmla="*/ 352644 w 3024845"/>
                <a:gd name="connsiteY31" fmla="*/ 661504 h 1078499"/>
                <a:gd name="connsiteX32" fmla="*/ 352644 w 3024845"/>
                <a:gd name="connsiteY32" fmla="*/ 631239 h 1078499"/>
                <a:gd name="connsiteX33" fmla="*/ 397231 w 3024845"/>
                <a:gd name="connsiteY33" fmla="*/ 631239 h 1078499"/>
                <a:gd name="connsiteX34" fmla="*/ 397231 w 3024845"/>
                <a:gd name="connsiteY34" fmla="*/ 629888 h 1078499"/>
                <a:gd name="connsiteX35" fmla="*/ 397231 w 3024845"/>
                <a:gd name="connsiteY35" fmla="*/ 620430 h 1078499"/>
                <a:gd name="connsiteX36" fmla="*/ 398245 w 3024845"/>
                <a:gd name="connsiteY36" fmla="*/ 620430 h 1078499"/>
                <a:gd name="connsiteX37" fmla="*/ 405338 w 3024845"/>
                <a:gd name="connsiteY37" fmla="*/ 620430 h 1078499"/>
                <a:gd name="connsiteX38" fmla="*/ 405338 w 3024845"/>
                <a:gd name="connsiteY38" fmla="*/ 618539 h 1078499"/>
                <a:gd name="connsiteX39" fmla="*/ 405338 w 3024845"/>
                <a:gd name="connsiteY39" fmla="*/ 605298 h 1078499"/>
                <a:gd name="connsiteX40" fmla="*/ 406098 w 3024845"/>
                <a:gd name="connsiteY40" fmla="*/ 605298 h 1078499"/>
                <a:gd name="connsiteX41" fmla="*/ 411418 w 3024845"/>
                <a:gd name="connsiteY41" fmla="*/ 605298 h 1078499"/>
                <a:gd name="connsiteX42" fmla="*/ 411418 w 3024845"/>
                <a:gd name="connsiteY42" fmla="*/ 604217 h 1078499"/>
                <a:gd name="connsiteX43" fmla="*/ 411418 w 3024845"/>
                <a:gd name="connsiteY43" fmla="*/ 596650 h 1078499"/>
                <a:gd name="connsiteX44" fmla="*/ 413445 w 3024845"/>
                <a:gd name="connsiteY44" fmla="*/ 596650 h 1078499"/>
                <a:gd name="connsiteX45" fmla="*/ 427632 w 3024845"/>
                <a:gd name="connsiteY45" fmla="*/ 596650 h 1078499"/>
                <a:gd name="connsiteX46" fmla="*/ 427632 w 3024845"/>
                <a:gd name="connsiteY46" fmla="*/ 597731 h 1078499"/>
                <a:gd name="connsiteX47" fmla="*/ 427632 w 3024845"/>
                <a:gd name="connsiteY47" fmla="*/ 605298 h 1078499"/>
                <a:gd name="connsiteX48" fmla="*/ 449925 w 3024845"/>
                <a:gd name="connsiteY48" fmla="*/ 605298 h 1078499"/>
                <a:gd name="connsiteX49" fmla="*/ 449925 w 3024845"/>
                <a:gd name="connsiteY49" fmla="*/ 603406 h 1078499"/>
                <a:gd name="connsiteX50" fmla="*/ 449925 w 3024845"/>
                <a:gd name="connsiteY50" fmla="*/ 590165 h 1078499"/>
                <a:gd name="connsiteX51" fmla="*/ 451699 w 3024845"/>
                <a:gd name="connsiteY51" fmla="*/ 590165 h 1078499"/>
                <a:gd name="connsiteX52" fmla="*/ 464112 w 3024845"/>
                <a:gd name="connsiteY52" fmla="*/ 590165 h 1078499"/>
                <a:gd name="connsiteX53" fmla="*/ 464112 w 3024845"/>
                <a:gd name="connsiteY53" fmla="*/ 613945 h 1078499"/>
                <a:gd name="connsiteX54" fmla="*/ 465126 w 3024845"/>
                <a:gd name="connsiteY54" fmla="*/ 613945 h 1078499"/>
                <a:gd name="connsiteX55" fmla="*/ 472219 w 3024845"/>
                <a:gd name="connsiteY55" fmla="*/ 613945 h 1078499"/>
                <a:gd name="connsiteX56" fmla="*/ 472219 w 3024845"/>
                <a:gd name="connsiteY56" fmla="*/ 612864 h 1078499"/>
                <a:gd name="connsiteX57" fmla="*/ 472219 w 3024845"/>
                <a:gd name="connsiteY57" fmla="*/ 605298 h 1078499"/>
                <a:gd name="connsiteX58" fmla="*/ 473992 w 3024845"/>
                <a:gd name="connsiteY58" fmla="*/ 605298 h 1078499"/>
                <a:gd name="connsiteX59" fmla="*/ 486406 w 3024845"/>
                <a:gd name="connsiteY59" fmla="*/ 605298 h 1078499"/>
                <a:gd name="connsiteX60" fmla="*/ 486406 w 3024845"/>
                <a:gd name="connsiteY60" fmla="*/ 631239 h 1078499"/>
                <a:gd name="connsiteX61" fmla="*/ 488433 w 3024845"/>
                <a:gd name="connsiteY61" fmla="*/ 631239 h 1078499"/>
                <a:gd name="connsiteX62" fmla="*/ 502619 w 3024845"/>
                <a:gd name="connsiteY62" fmla="*/ 631239 h 1078499"/>
                <a:gd name="connsiteX63" fmla="*/ 502619 w 3024845"/>
                <a:gd name="connsiteY63" fmla="*/ 632860 h 1078499"/>
                <a:gd name="connsiteX64" fmla="*/ 502619 w 3024845"/>
                <a:gd name="connsiteY64" fmla="*/ 644210 h 1078499"/>
                <a:gd name="connsiteX65" fmla="*/ 503379 w 3024845"/>
                <a:gd name="connsiteY65" fmla="*/ 644210 h 1078499"/>
                <a:gd name="connsiteX66" fmla="*/ 508700 w 3024845"/>
                <a:gd name="connsiteY66" fmla="*/ 644210 h 1078499"/>
                <a:gd name="connsiteX67" fmla="*/ 508700 w 3024845"/>
                <a:gd name="connsiteY67" fmla="*/ 643399 h 1078499"/>
                <a:gd name="connsiteX68" fmla="*/ 508700 w 3024845"/>
                <a:gd name="connsiteY68" fmla="*/ 637724 h 1078499"/>
                <a:gd name="connsiteX69" fmla="*/ 539100 w 3024845"/>
                <a:gd name="connsiteY69" fmla="*/ 637724 h 1078499"/>
                <a:gd name="connsiteX70" fmla="*/ 539100 w 3024845"/>
                <a:gd name="connsiteY70" fmla="*/ 661504 h 1078499"/>
                <a:gd name="connsiteX71" fmla="*/ 540113 w 3024845"/>
                <a:gd name="connsiteY71" fmla="*/ 661504 h 1078499"/>
                <a:gd name="connsiteX72" fmla="*/ 547207 w 3024845"/>
                <a:gd name="connsiteY72" fmla="*/ 661504 h 1078499"/>
                <a:gd name="connsiteX73" fmla="*/ 547207 w 3024845"/>
                <a:gd name="connsiteY73" fmla="*/ 662585 h 1078499"/>
                <a:gd name="connsiteX74" fmla="*/ 547207 w 3024845"/>
                <a:gd name="connsiteY74" fmla="*/ 670151 h 1078499"/>
                <a:gd name="connsiteX75" fmla="*/ 547967 w 3024845"/>
                <a:gd name="connsiteY75" fmla="*/ 670151 h 1078499"/>
                <a:gd name="connsiteX76" fmla="*/ 553287 w 3024845"/>
                <a:gd name="connsiteY76" fmla="*/ 670151 h 1078499"/>
                <a:gd name="connsiteX77" fmla="*/ 553287 w 3024845"/>
                <a:gd name="connsiteY77" fmla="*/ 667989 h 1078499"/>
                <a:gd name="connsiteX78" fmla="*/ 553287 w 3024845"/>
                <a:gd name="connsiteY78" fmla="*/ 652857 h 1078499"/>
                <a:gd name="connsiteX79" fmla="*/ 554300 w 3024845"/>
                <a:gd name="connsiteY79" fmla="*/ 652857 h 1078499"/>
                <a:gd name="connsiteX80" fmla="*/ 561394 w 3024845"/>
                <a:gd name="connsiteY80" fmla="*/ 652857 h 1078499"/>
                <a:gd name="connsiteX81" fmla="*/ 561394 w 3024845"/>
                <a:gd name="connsiteY81" fmla="*/ 653938 h 1078499"/>
                <a:gd name="connsiteX82" fmla="*/ 561394 w 3024845"/>
                <a:gd name="connsiteY82" fmla="*/ 661504 h 1078499"/>
                <a:gd name="connsiteX83" fmla="*/ 566714 w 3024845"/>
                <a:gd name="connsiteY83" fmla="*/ 659511 h 1078499"/>
                <a:gd name="connsiteX84" fmla="*/ 567474 w 3024845"/>
                <a:gd name="connsiteY84" fmla="*/ 658531 h 1078499"/>
                <a:gd name="connsiteX85" fmla="*/ 567474 w 3024845"/>
                <a:gd name="connsiteY85" fmla="*/ 652857 h 1078499"/>
                <a:gd name="connsiteX86" fmla="*/ 605981 w 3024845"/>
                <a:gd name="connsiteY86" fmla="*/ 652857 h 1078499"/>
                <a:gd name="connsiteX87" fmla="*/ 605981 w 3024845"/>
                <a:gd name="connsiteY87" fmla="*/ 676636 h 1078499"/>
                <a:gd name="connsiteX88" fmla="*/ 608007 w 3024845"/>
                <a:gd name="connsiteY88" fmla="*/ 676636 h 1078499"/>
                <a:gd name="connsiteX89" fmla="*/ 622194 w 3024845"/>
                <a:gd name="connsiteY89" fmla="*/ 676636 h 1078499"/>
                <a:gd name="connsiteX90" fmla="*/ 622194 w 3024845"/>
                <a:gd name="connsiteY90" fmla="*/ 677717 h 1078499"/>
                <a:gd name="connsiteX91" fmla="*/ 622194 w 3024845"/>
                <a:gd name="connsiteY91" fmla="*/ 685283 h 1078499"/>
                <a:gd name="connsiteX92" fmla="*/ 623968 w 3024845"/>
                <a:gd name="connsiteY92" fmla="*/ 685283 h 1078499"/>
                <a:gd name="connsiteX93" fmla="*/ 636381 w 3024845"/>
                <a:gd name="connsiteY93" fmla="*/ 685283 h 1078499"/>
                <a:gd name="connsiteX94" fmla="*/ 636381 w 3024845"/>
                <a:gd name="connsiteY94" fmla="*/ 661504 h 1078499"/>
                <a:gd name="connsiteX95" fmla="*/ 637394 w 3024845"/>
                <a:gd name="connsiteY95" fmla="*/ 661504 h 1078499"/>
                <a:gd name="connsiteX96" fmla="*/ 644488 w 3024845"/>
                <a:gd name="connsiteY96" fmla="*/ 661504 h 1078499"/>
                <a:gd name="connsiteX97" fmla="*/ 644488 w 3024845"/>
                <a:gd name="connsiteY97" fmla="*/ 629077 h 1078499"/>
                <a:gd name="connsiteX98" fmla="*/ 645501 w 3024845"/>
                <a:gd name="connsiteY98" fmla="*/ 629077 h 1078499"/>
                <a:gd name="connsiteX99" fmla="*/ 652595 w 3024845"/>
                <a:gd name="connsiteY99" fmla="*/ 629077 h 1078499"/>
                <a:gd name="connsiteX100" fmla="*/ 652595 w 3024845"/>
                <a:gd name="connsiteY100" fmla="*/ 627186 h 1078499"/>
                <a:gd name="connsiteX101" fmla="*/ 652595 w 3024845"/>
                <a:gd name="connsiteY101" fmla="*/ 613945 h 1078499"/>
                <a:gd name="connsiteX102" fmla="*/ 651328 w 3024845"/>
                <a:gd name="connsiteY102" fmla="*/ 612323 h 1078499"/>
                <a:gd name="connsiteX103" fmla="*/ 656648 w 3024845"/>
                <a:gd name="connsiteY103" fmla="*/ 600974 h 1078499"/>
                <a:gd name="connsiteX104" fmla="*/ 664755 w 3024845"/>
                <a:gd name="connsiteY104" fmla="*/ 629077 h 1078499"/>
                <a:gd name="connsiteX105" fmla="*/ 665515 w 3024845"/>
                <a:gd name="connsiteY105" fmla="*/ 629077 h 1078499"/>
                <a:gd name="connsiteX106" fmla="*/ 670835 w 3024845"/>
                <a:gd name="connsiteY106" fmla="*/ 629077 h 1078499"/>
                <a:gd name="connsiteX107" fmla="*/ 670835 w 3024845"/>
                <a:gd name="connsiteY107" fmla="*/ 523150 h 1078499"/>
                <a:gd name="connsiteX108" fmla="*/ 672355 w 3024845"/>
                <a:gd name="connsiteY108" fmla="*/ 523150 h 1078499"/>
                <a:gd name="connsiteX109" fmla="*/ 682995 w 3024845"/>
                <a:gd name="connsiteY109" fmla="*/ 523150 h 1078499"/>
                <a:gd name="connsiteX110" fmla="*/ 682995 w 3024845"/>
                <a:gd name="connsiteY110" fmla="*/ 475591 h 1078499"/>
                <a:gd name="connsiteX111" fmla="*/ 709342 w 3024845"/>
                <a:gd name="connsiteY111" fmla="*/ 475591 h 1078499"/>
                <a:gd name="connsiteX112" fmla="*/ 709342 w 3024845"/>
                <a:gd name="connsiteY112" fmla="*/ 453973 h 1078499"/>
                <a:gd name="connsiteX113" fmla="*/ 743796 w 3024845"/>
                <a:gd name="connsiteY113" fmla="*/ 453973 h 1078499"/>
                <a:gd name="connsiteX114" fmla="*/ 743796 w 3024845"/>
                <a:gd name="connsiteY114" fmla="*/ 456405 h 1078499"/>
                <a:gd name="connsiteX115" fmla="*/ 743796 w 3024845"/>
                <a:gd name="connsiteY115" fmla="*/ 473429 h 1078499"/>
                <a:gd name="connsiteX116" fmla="*/ 746076 w 3024845"/>
                <a:gd name="connsiteY116" fmla="*/ 473429 h 1078499"/>
                <a:gd name="connsiteX117" fmla="*/ 762036 w 3024845"/>
                <a:gd name="connsiteY117" fmla="*/ 473429 h 1078499"/>
                <a:gd name="connsiteX118" fmla="*/ 762036 w 3024845"/>
                <a:gd name="connsiteY118" fmla="*/ 520988 h 1078499"/>
                <a:gd name="connsiteX119" fmla="*/ 763049 w 3024845"/>
                <a:gd name="connsiteY119" fmla="*/ 520988 h 1078499"/>
                <a:gd name="connsiteX120" fmla="*/ 770143 w 3024845"/>
                <a:gd name="connsiteY120" fmla="*/ 520988 h 1078499"/>
                <a:gd name="connsiteX121" fmla="*/ 784330 w 3024845"/>
                <a:gd name="connsiteY121" fmla="*/ 525312 h 1078499"/>
                <a:gd name="connsiteX122" fmla="*/ 784330 w 3024845"/>
                <a:gd name="connsiteY122" fmla="*/ 564224 h 1078499"/>
                <a:gd name="connsiteX123" fmla="*/ 785343 w 3024845"/>
                <a:gd name="connsiteY123" fmla="*/ 564224 h 1078499"/>
                <a:gd name="connsiteX124" fmla="*/ 792436 w 3024845"/>
                <a:gd name="connsiteY124" fmla="*/ 564224 h 1078499"/>
                <a:gd name="connsiteX125" fmla="*/ 792436 w 3024845"/>
                <a:gd name="connsiteY125" fmla="*/ 565845 h 1078499"/>
                <a:gd name="connsiteX126" fmla="*/ 792436 w 3024845"/>
                <a:gd name="connsiteY126" fmla="*/ 577194 h 1078499"/>
                <a:gd name="connsiteX127" fmla="*/ 794463 w 3024845"/>
                <a:gd name="connsiteY127" fmla="*/ 577194 h 1078499"/>
                <a:gd name="connsiteX128" fmla="*/ 808650 w 3024845"/>
                <a:gd name="connsiteY128" fmla="*/ 577194 h 1078499"/>
                <a:gd name="connsiteX129" fmla="*/ 814730 w 3024845"/>
                <a:gd name="connsiteY129" fmla="*/ 583680 h 1078499"/>
                <a:gd name="connsiteX130" fmla="*/ 814730 w 3024845"/>
                <a:gd name="connsiteY130" fmla="*/ 605298 h 1078499"/>
                <a:gd name="connsiteX131" fmla="*/ 817010 w 3024845"/>
                <a:gd name="connsiteY131" fmla="*/ 605298 h 1078499"/>
                <a:gd name="connsiteX132" fmla="*/ 832970 w 3024845"/>
                <a:gd name="connsiteY132" fmla="*/ 605298 h 1078499"/>
                <a:gd name="connsiteX133" fmla="*/ 832970 w 3024845"/>
                <a:gd name="connsiteY133" fmla="*/ 606378 h 1078499"/>
                <a:gd name="connsiteX134" fmla="*/ 832970 w 3024845"/>
                <a:gd name="connsiteY134" fmla="*/ 613945 h 1078499"/>
                <a:gd name="connsiteX135" fmla="*/ 834237 w 3024845"/>
                <a:gd name="connsiteY135" fmla="*/ 613945 h 1078499"/>
                <a:gd name="connsiteX136" fmla="*/ 843104 w 3024845"/>
                <a:gd name="connsiteY136" fmla="*/ 613945 h 1078499"/>
                <a:gd name="connsiteX137" fmla="*/ 843104 w 3024845"/>
                <a:gd name="connsiteY137" fmla="*/ 616106 h 1078499"/>
                <a:gd name="connsiteX138" fmla="*/ 843104 w 3024845"/>
                <a:gd name="connsiteY138" fmla="*/ 631239 h 1078499"/>
                <a:gd name="connsiteX139" fmla="*/ 847157 w 3024845"/>
                <a:gd name="connsiteY139" fmla="*/ 629347 h 1078499"/>
                <a:gd name="connsiteX140" fmla="*/ 847157 w 3024845"/>
                <a:gd name="connsiteY140" fmla="*/ 616106 h 1078499"/>
                <a:gd name="connsiteX141" fmla="*/ 848170 w 3024845"/>
                <a:gd name="connsiteY141" fmla="*/ 616106 h 1078499"/>
                <a:gd name="connsiteX142" fmla="*/ 855264 w 3024845"/>
                <a:gd name="connsiteY142" fmla="*/ 616106 h 1078499"/>
                <a:gd name="connsiteX143" fmla="*/ 855264 w 3024845"/>
                <a:gd name="connsiteY143" fmla="*/ 617728 h 1078499"/>
                <a:gd name="connsiteX144" fmla="*/ 855264 w 3024845"/>
                <a:gd name="connsiteY144" fmla="*/ 629077 h 1078499"/>
                <a:gd name="connsiteX145" fmla="*/ 856024 w 3024845"/>
                <a:gd name="connsiteY145" fmla="*/ 629077 h 1078499"/>
                <a:gd name="connsiteX146" fmla="*/ 861344 w 3024845"/>
                <a:gd name="connsiteY146" fmla="*/ 629077 h 1078499"/>
                <a:gd name="connsiteX147" fmla="*/ 909984 w 3024845"/>
                <a:gd name="connsiteY147" fmla="*/ 624754 h 1078499"/>
                <a:gd name="connsiteX148" fmla="*/ 909984 w 3024845"/>
                <a:gd name="connsiteY148" fmla="*/ 626105 h 1078499"/>
                <a:gd name="connsiteX149" fmla="*/ 909984 w 3024845"/>
                <a:gd name="connsiteY149" fmla="*/ 635562 h 1078499"/>
                <a:gd name="connsiteX150" fmla="*/ 910744 w 3024845"/>
                <a:gd name="connsiteY150" fmla="*/ 635562 h 1078499"/>
                <a:gd name="connsiteX151" fmla="*/ 916065 w 3024845"/>
                <a:gd name="connsiteY151" fmla="*/ 635562 h 1078499"/>
                <a:gd name="connsiteX152" fmla="*/ 916065 w 3024845"/>
                <a:gd name="connsiteY152" fmla="*/ 637724 h 1078499"/>
                <a:gd name="connsiteX153" fmla="*/ 916065 w 3024845"/>
                <a:gd name="connsiteY153" fmla="*/ 652857 h 1078499"/>
                <a:gd name="connsiteX154" fmla="*/ 918091 w 3024845"/>
                <a:gd name="connsiteY154" fmla="*/ 651506 h 1078499"/>
                <a:gd name="connsiteX155" fmla="*/ 932278 w 3024845"/>
                <a:gd name="connsiteY155" fmla="*/ 642048 h 1078499"/>
                <a:gd name="connsiteX156" fmla="*/ 938358 w 3024845"/>
                <a:gd name="connsiteY156" fmla="*/ 600974 h 1078499"/>
                <a:gd name="connsiteX157" fmla="*/ 939118 w 3024845"/>
                <a:gd name="connsiteY157" fmla="*/ 600704 h 1078499"/>
                <a:gd name="connsiteX158" fmla="*/ 944438 w 3024845"/>
                <a:gd name="connsiteY158" fmla="*/ 598812 h 1078499"/>
                <a:gd name="connsiteX159" fmla="*/ 946465 w 3024845"/>
                <a:gd name="connsiteY159" fmla="*/ 529635 h 1078499"/>
                <a:gd name="connsiteX160" fmla="*/ 948492 w 3024845"/>
                <a:gd name="connsiteY160" fmla="*/ 598812 h 1078499"/>
                <a:gd name="connsiteX161" fmla="*/ 949252 w 3024845"/>
                <a:gd name="connsiteY161" fmla="*/ 599082 h 1078499"/>
                <a:gd name="connsiteX162" fmla="*/ 954572 w 3024845"/>
                <a:gd name="connsiteY162" fmla="*/ 600974 h 1078499"/>
                <a:gd name="connsiteX163" fmla="*/ 954572 w 3024845"/>
                <a:gd name="connsiteY163" fmla="*/ 514503 h 1078499"/>
                <a:gd name="connsiteX164" fmla="*/ 958625 w 3024845"/>
                <a:gd name="connsiteY164" fmla="*/ 482076 h 1078499"/>
                <a:gd name="connsiteX165" fmla="*/ 997132 w 3024845"/>
                <a:gd name="connsiteY165" fmla="*/ 482076 h 1078499"/>
                <a:gd name="connsiteX166" fmla="*/ 997132 w 3024845"/>
                <a:gd name="connsiteY166" fmla="*/ 514503 h 1078499"/>
                <a:gd name="connsiteX167" fmla="*/ 997892 w 3024845"/>
                <a:gd name="connsiteY167" fmla="*/ 514503 h 1078499"/>
                <a:gd name="connsiteX168" fmla="*/ 1003212 w 3024845"/>
                <a:gd name="connsiteY168" fmla="*/ 514503 h 1078499"/>
                <a:gd name="connsiteX169" fmla="*/ 1003212 w 3024845"/>
                <a:gd name="connsiteY169" fmla="*/ 432355 h 1078499"/>
                <a:gd name="connsiteX170" fmla="*/ 1004986 w 3024845"/>
                <a:gd name="connsiteY170" fmla="*/ 432355 h 1078499"/>
                <a:gd name="connsiteX171" fmla="*/ 1017399 w 3024845"/>
                <a:gd name="connsiteY171" fmla="*/ 432355 h 1078499"/>
                <a:gd name="connsiteX172" fmla="*/ 1017399 w 3024845"/>
                <a:gd name="connsiteY172" fmla="*/ 430464 h 1078499"/>
                <a:gd name="connsiteX173" fmla="*/ 1017399 w 3024845"/>
                <a:gd name="connsiteY173" fmla="*/ 417223 h 1078499"/>
                <a:gd name="connsiteX174" fmla="*/ 1039693 w 3024845"/>
                <a:gd name="connsiteY174" fmla="*/ 417223 h 1078499"/>
                <a:gd name="connsiteX175" fmla="*/ 1039693 w 3024845"/>
                <a:gd name="connsiteY175" fmla="*/ 416142 h 1078499"/>
                <a:gd name="connsiteX176" fmla="*/ 1039693 w 3024845"/>
                <a:gd name="connsiteY176" fmla="*/ 408576 h 1078499"/>
                <a:gd name="connsiteX177" fmla="*/ 1041466 w 3024845"/>
                <a:gd name="connsiteY177" fmla="*/ 408576 h 1078499"/>
                <a:gd name="connsiteX178" fmla="*/ 1053880 w 3024845"/>
                <a:gd name="connsiteY178" fmla="*/ 408576 h 1078499"/>
                <a:gd name="connsiteX179" fmla="*/ 1053880 w 3024845"/>
                <a:gd name="connsiteY179" fmla="*/ 409657 h 1078499"/>
                <a:gd name="connsiteX180" fmla="*/ 1053880 w 3024845"/>
                <a:gd name="connsiteY180" fmla="*/ 417223 h 1078499"/>
                <a:gd name="connsiteX181" fmla="*/ 1054640 w 3024845"/>
                <a:gd name="connsiteY181" fmla="*/ 417223 h 1078499"/>
                <a:gd name="connsiteX182" fmla="*/ 1059960 w 3024845"/>
                <a:gd name="connsiteY182" fmla="*/ 417223 h 1078499"/>
                <a:gd name="connsiteX183" fmla="*/ 1070093 w 3024845"/>
                <a:gd name="connsiteY183" fmla="*/ 412899 h 1078499"/>
                <a:gd name="connsiteX184" fmla="*/ 1074146 w 3024845"/>
                <a:gd name="connsiteY184" fmla="*/ 416142 h 1078499"/>
                <a:gd name="connsiteX185" fmla="*/ 1074146 w 3024845"/>
                <a:gd name="connsiteY185" fmla="*/ 408576 h 1078499"/>
                <a:gd name="connsiteX186" fmla="*/ 1076426 w 3024845"/>
                <a:gd name="connsiteY186" fmla="*/ 408576 h 1078499"/>
                <a:gd name="connsiteX187" fmla="*/ 1092387 w 3024845"/>
                <a:gd name="connsiteY187" fmla="*/ 408576 h 1078499"/>
                <a:gd name="connsiteX188" fmla="*/ 1092387 w 3024845"/>
                <a:gd name="connsiteY188" fmla="*/ 409657 h 1078499"/>
                <a:gd name="connsiteX189" fmla="*/ 1092387 w 3024845"/>
                <a:gd name="connsiteY189" fmla="*/ 417223 h 1078499"/>
                <a:gd name="connsiteX190" fmla="*/ 1122787 w 3024845"/>
                <a:gd name="connsiteY190" fmla="*/ 417223 h 1078499"/>
                <a:gd name="connsiteX191" fmla="*/ 1122787 w 3024845"/>
                <a:gd name="connsiteY191" fmla="*/ 418844 h 1078499"/>
                <a:gd name="connsiteX192" fmla="*/ 1122787 w 3024845"/>
                <a:gd name="connsiteY192" fmla="*/ 430194 h 1078499"/>
                <a:gd name="connsiteX193" fmla="*/ 1149134 w 3024845"/>
                <a:gd name="connsiteY193" fmla="*/ 430194 h 1078499"/>
                <a:gd name="connsiteX194" fmla="*/ 1149134 w 3024845"/>
                <a:gd name="connsiteY194" fmla="*/ 460458 h 1078499"/>
                <a:gd name="connsiteX195" fmla="*/ 1149894 w 3024845"/>
                <a:gd name="connsiteY195" fmla="*/ 460458 h 1078499"/>
                <a:gd name="connsiteX196" fmla="*/ 1155214 w 3024845"/>
                <a:gd name="connsiteY196" fmla="*/ 460458 h 1078499"/>
                <a:gd name="connsiteX197" fmla="*/ 1155214 w 3024845"/>
                <a:gd name="connsiteY197" fmla="*/ 461539 h 1078499"/>
                <a:gd name="connsiteX198" fmla="*/ 1155214 w 3024845"/>
                <a:gd name="connsiteY198" fmla="*/ 469106 h 1078499"/>
                <a:gd name="connsiteX199" fmla="*/ 1159268 w 3024845"/>
                <a:gd name="connsiteY199" fmla="*/ 499370 h 1078499"/>
                <a:gd name="connsiteX200" fmla="*/ 1160028 w 3024845"/>
                <a:gd name="connsiteY200" fmla="*/ 499370 h 1078499"/>
                <a:gd name="connsiteX201" fmla="*/ 1165348 w 3024845"/>
                <a:gd name="connsiteY201" fmla="*/ 499370 h 1078499"/>
                <a:gd name="connsiteX202" fmla="*/ 1165348 w 3024845"/>
                <a:gd name="connsiteY202" fmla="*/ 500181 h 1078499"/>
                <a:gd name="connsiteX203" fmla="*/ 1165348 w 3024845"/>
                <a:gd name="connsiteY203" fmla="*/ 505856 h 1078499"/>
                <a:gd name="connsiteX204" fmla="*/ 1166361 w 3024845"/>
                <a:gd name="connsiteY204" fmla="*/ 505856 h 1078499"/>
                <a:gd name="connsiteX205" fmla="*/ 1173454 w 3024845"/>
                <a:gd name="connsiteY205" fmla="*/ 505856 h 1078499"/>
                <a:gd name="connsiteX206" fmla="*/ 1173454 w 3024845"/>
                <a:gd name="connsiteY206" fmla="*/ 536121 h 1078499"/>
                <a:gd name="connsiteX207" fmla="*/ 1175481 w 3024845"/>
                <a:gd name="connsiteY207" fmla="*/ 536121 h 1078499"/>
                <a:gd name="connsiteX208" fmla="*/ 1189668 w 3024845"/>
                <a:gd name="connsiteY208" fmla="*/ 536121 h 1078499"/>
                <a:gd name="connsiteX209" fmla="*/ 1189668 w 3024845"/>
                <a:gd name="connsiteY209" fmla="*/ 559900 h 1078499"/>
                <a:gd name="connsiteX210" fmla="*/ 1191695 w 3024845"/>
                <a:gd name="connsiteY210" fmla="*/ 561521 h 1078499"/>
                <a:gd name="connsiteX211" fmla="*/ 1191695 w 3024845"/>
                <a:gd name="connsiteY211" fmla="*/ 572871 h 1078499"/>
                <a:gd name="connsiteX212" fmla="*/ 1192455 w 3024845"/>
                <a:gd name="connsiteY212" fmla="*/ 572871 h 1078499"/>
                <a:gd name="connsiteX213" fmla="*/ 1197775 w 3024845"/>
                <a:gd name="connsiteY213" fmla="*/ 572871 h 1078499"/>
                <a:gd name="connsiteX214" fmla="*/ 1197775 w 3024845"/>
                <a:gd name="connsiteY214" fmla="*/ 596650 h 1078499"/>
                <a:gd name="connsiteX215" fmla="*/ 1199041 w 3024845"/>
                <a:gd name="connsiteY215" fmla="*/ 596650 h 1078499"/>
                <a:gd name="connsiteX216" fmla="*/ 1207908 w 3024845"/>
                <a:gd name="connsiteY216" fmla="*/ 596650 h 1078499"/>
                <a:gd name="connsiteX217" fmla="*/ 1209935 w 3024845"/>
                <a:gd name="connsiteY217" fmla="*/ 600704 h 1078499"/>
                <a:gd name="connsiteX218" fmla="*/ 1209935 w 3024845"/>
                <a:gd name="connsiteY218" fmla="*/ 613945 h 1078499"/>
                <a:gd name="connsiteX219" fmla="*/ 1211455 w 3024845"/>
                <a:gd name="connsiteY219" fmla="*/ 612053 h 1078499"/>
                <a:gd name="connsiteX220" fmla="*/ 1222095 w 3024845"/>
                <a:gd name="connsiteY220" fmla="*/ 598812 h 1078499"/>
                <a:gd name="connsiteX221" fmla="*/ 1250469 w 3024845"/>
                <a:gd name="connsiteY221" fmla="*/ 598812 h 1078499"/>
                <a:gd name="connsiteX222" fmla="*/ 1250469 w 3024845"/>
                <a:gd name="connsiteY222" fmla="*/ 685283 h 1078499"/>
                <a:gd name="connsiteX223" fmla="*/ 1251229 w 3024845"/>
                <a:gd name="connsiteY223" fmla="*/ 685283 h 1078499"/>
                <a:gd name="connsiteX224" fmla="*/ 1256549 w 3024845"/>
                <a:gd name="connsiteY224" fmla="*/ 685283 h 1078499"/>
                <a:gd name="connsiteX225" fmla="*/ 1257309 w 3024845"/>
                <a:gd name="connsiteY225" fmla="*/ 683932 h 1078499"/>
                <a:gd name="connsiteX226" fmla="*/ 1262629 w 3024845"/>
                <a:gd name="connsiteY226" fmla="*/ 674474 h 1078499"/>
                <a:gd name="connsiteX227" fmla="*/ 1262629 w 3024845"/>
                <a:gd name="connsiteY227" fmla="*/ 676366 h 1078499"/>
                <a:gd name="connsiteX228" fmla="*/ 1262629 w 3024845"/>
                <a:gd name="connsiteY228" fmla="*/ 689607 h 1078499"/>
                <a:gd name="connsiteX229" fmla="*/ 1266682 w 3024845"/>
                <a:gd name="connsiteY229" fmla="*/ 644210 h 1078499"/>
                <a:gd name="connsiteX230" fmla="*/ 1267442 w 3024845"/>
                <a:gd name="connsiteY230" fmla="*/ 644210 h 1078499"/>
                <a:gd name="connsiteX231" fmla="*/ 1272762 w 3024845"/>
                <a:gd name="connsiteY231" fmla="*/ 644210 h 1078499"/>
                <a:gd name="connsiteX232" fmla="*/ 1272762 w 3024845"/>
                <a:gd name="connsiteY232" fmla="*/ 579356 h 1078499"/>
                <a:gd name="connsiteX233" fmla="*/ 1273776 w 3024845"/>
                <a:gd name="connsiteY233" fmla="*/ 579356 h 1078499"/>
                <a:gd name="connsiteX234" fmla="*/ 1280869 w 3024845"/>
                <a:gd name="connsiteY234" fmla="*/ 579356 h 1078499"/>
                <a:gd name="connsiteX235" fmla="*/ 1293029 w 3024845"/>
                <a:gd name="connsiteY235" fmla="*/ 536121 h 1078499"/>
                <a:gd name="connsiteX236" fmla="*/ 1294296 w 3024845"/>
                <a:gd name="connsiteY236" fmla="*/ 536121 h 1078499"/>
                <a:gd name="connsiteX237" fmla="*/ 1303163 w 3024845"/>
                <a:gd name="connsiteY237" fmla="*/ 536121 h 1078499"/>
                <a:gd name="connsiteX238" fmla="*/ 1313296 w 3024845"/>
                <a:gd name="connsiteY238" fmla="*/ 579356 h 1078499"/>
                <a:gd name="connsiteX239" fmla="*/ 1314309 w 3024845"/>
                <a:gd name="connsiteY239" fmla="*/ 579356 h 1078499"/>
                <a:gd name="connsiteX240" fmla="*/ 1321403 w 3024845"/>
                <a:gd name="connsiteY240" fmla="*/ 579356 h 1078499"/>
                <a:gd name="connsiteX241" fmla="*/ 1321403 w 3024845"/>
                <a:gd name="connsiteY241" fmla="*/ 618268 h 1078499"/>
                <a:gd name="connsiteX242" fmla="*/ 1323176 w 3024845"/>
                <a:gd name="connsiteY242" fmla="*/ 618268 h 1078499"/>
                <a:gd name="connsiteX243" fmla="*/ 1335590 w 3024845"/>
                <a:gd name="connsiteY243" fmla="*/ 618268 h 1078499"/>
                <a:gd name="connsiteX244" fmla="*/ 1335590 w 3024845"/>
                <a:gd name="connsiteY244" fmla="*/ 620430 h 1078499"/>
                <a:gd name="connsiteX245" fmla="*/ 1335590 w 3024845"/>
                <a:gd name="connsiteY245" fmla="*/ 635562 h 1078499"/>
                <a:gd name="connsiteX246" fmla="*/ 1339643 w 3024845"/>
                <a:gd name="connsiteY246" fmla="*/ 633401 h 1078499"/>
                <a:gd name="connsiteX247" fmla="*/ 1339643 w 3024845"/>
                <a:gd name="connsiteY247" fmla="*/ 618268 h 1078499"/>
                <a:gd name="connsiteX248" fmla="*/ 1341163 w 3024845"/>
                <a:gd name="connsiteY248" fmla="*/ 618268 h 1078499"/>
                <a:gd name="connsiteX249" fmla="*/ 1351803 w 3024845"/>
                <a:gd name="connsiteY249" fmla="*/ 618268 h 1078499"/>
                <a:gd name="connsiteX250" fmla="*/ 1351803 w 3024845"/>
                <a:gd name="connsiteY250" fmla="*/ 619889 h 1078499"/>
                <a:gd name="connsiteX251" fmla="*/ 1351803 w 3024845"/>
                <a:gd name="connsiteY251" fmla="*/ 631239 h 1078499"/>
                <a:gd name="connsiteX252" fmla="*/ 1382204 w 3024845"/>
                <a:gd name="connsiteY252" fmla="*/ 631239 h 1078499"/>
                <a:gd name="connsiteX253" fmla="*/ 1382204 w 3024845"/>
                <a:gd name="connsiteY253" fmla="*/ 594489 h 1078499"/>
                <a:gd name="connsiteX254" fmla="*/ 1383470 w 3024845"/>
                <a:gd name="connsiteY254" fmla="*/ 594489 h 1078499"/>
                <a:gd name="connsiteX255" fmla="*/ 1392337 w 3024845"/>
                <a:gd name="connsiteY255" fmla="*/ 594489 h 1078499"/>
                <a:gd name="connsiteX256" fmla="*/ 1392337 w 3024845"/>
                <a:gd name="connsiteY256" fmla="*/ 616106 h 1078499"/>
                <a:gd name="connsiteX257" fmla="*/ 1394364 w 3024845"/>
                <a:gd name="connsiteY257" fmla="*/ 583680 h 1078499"/>
                <a:gd name="connsiteX258" fmla="*/ 1416657 w 3024845"/>
                <a:gd name="connsiteY258" fmla="*/ 583680 h 1078499"/>
                <a:gd name="connsiteX259" fmla="*/ 1416657 w 3024845"/>
                <a:gd name="connsiteY259" fmla="*/ 582058 h 1078499"/>
                <a:gd name="connsiteX260" fmla="*/ 1416657 w 3024845"/>
                <a:gd name="connsiteY260" fmla="*/ 570709 h 1078499"/>
                <a:gd name="connsiteX261" fmla="*/ 1417417 w 3024845"/>
                <a:gd name="connsiteY261" fmla="*/ 570709 h 1078499"/>
                <a:gd name="connsiteX262" fmla="*/ 1422737 w 3024845"/>
                <a:gd name="connsiteY262" fmla="*/ 570709 h 1078499"/>
                <a:gd name="connsiteX263" fmla="*/ 1422737 w 3024845"/>
                <a:gd name="connsiteY263" fmla="*/ 568818 h 1078499"/>
                <a:gd name="connsiteX264" fmla="*/ 1422737 w 3024845"/>
                <a:gd name="connsiteY264" fmla="*/ 555577 h 1078499"/>
                <a:gd name="connsiteX265" fmla="*/ 1426791 w 3024845"/>
                <a:gd name="connsiteY265" fmla="*/ 562062 h 1078499"/>
                <a:gd name="connsiteX266" fmla="*/ 1429071 w 3024845"/>
                <a:gd name="connsiteY266" fmla="*/ 562062 h 1078499"/>
                <a:gd name="connsiteX267" fmla="*/ 1445031 w 3024845"/>
                <a:gd name="connsiteY267" fmla="*/ 562062 h 1078499"/>
                <a:gd name="connsiteX268" fmla="*/ 1445031 w 3024845"/>
                <a:gd name="connsiteY268" fmla="*/ 561251 h 1078499"/>
                <a:gd name="connsiteX269" fmla="*/ 1445031 w 3024845"/>
                <a:gd name="connsiteY269" fmla="*/ 555577 h 1078499"/>
                <a:gd name="connsiteX270" fmla="*/ 1445791 w 3024845"/>
                <a:gd name="connsiteY270" fmla="*/ 555577 h 1078499"/>
                <a:gd name="connsiteX271" fmla="*/ 1451111 w 3024845"/>
                <a:gd name="connsiteY271" fmla="*/ 555577 h 1078499"/>
                <a:gd name="connsiteX272" fmla="*/ 1451111 w 3024845"/>
                <a:gd name="connsiteY272" fmla="*/ 556928 h 1078499"/>
                <a:gd name="connsiteX273" fmla="*/ 1451111 w 3024845"/>
                <a:gd name="connsiteY273" fmla="*/ 566386 h 1078499"/>
                <a:gd name="connsiteX274" fmla="*/ 1489618 w 3024845"/>
                <a:gd name="connsiteY274" fmla="*/ 566386 h 1078499"/>
                <a:gd name="connsiteX275" fmla="*/ 1489618 w 3024845"/>
                <a:gd name="connsiteY275" fmla="*/ 704739 h 1078499"/>
                <a:gd name="connsiteX276" fmla="*/ 1491138 w 3024845"/>
                <a:gd name="connsiteY276" fmla="*/ 704739 h 1078499"/>
                <a:gd name="connsiteX277" fmla="*/ 1501778 w 3024845"/>
                <a:gd name="connsiteY277" fmla="*/ 704739 h 1078499"/>
                <a:gd name="connsiteX278" fmla="*/ 1501778 w 3024845"/>
                <a:gd name="connsiteY278" fmla="*/ 691769 h 1078499"/>
                <a:gd name="connsiteX279" fmla="*/ 1505832 w 3024845"/>
                <a:gd name="connsiteY279" fmla="*/ 691769 h 1078499"/>
                <a:gd name="connsiteX280" fmla="*/ 1505832 w 3024845"/>
                <a:gd name="connsiteY280" fmla="*/ 704739 h 1078499"/>
                <a:gd name="connsiteX281" fmla="*/ 1536232 w 3024845"/>
                <a:gd name="connsiteY281" fmla="*/ 704739 h 1078499"/>
                <a:gd name="connsiteX282" fmla="*/ 1536232 w 3024845"/>
                <a:gd name="connsiteY282" fmla="*/ 674474 h 1078499"/>
                <a:gd name="connsiteX283" fmla="*/ 1548392 w 3024845"/>
                <a:gd name="connsiteY283" fmla="*/ 674474 h 1078499"/>
                <a:gd name="connsiteX284" fmla="*/ 1560552 w 3024845"/>
                <a:gd name="connsiteY284" fmla="*/ 672313 h 1078499"/>
                <a:gd name="connsiteX285" fmla="*/ 1564606 w 3024845"/>
                <a:gd name="connsiteY285" fmla="*/ 674474 h 1078499"/>
                <a:gd name="connsiteX286" fmla="*/ 1574739 w 3024845"/>
                <a:gd name="connsiteY286" fmla="*/ 674474 h 1078499"/>
                <a:gd name="connsiteX287" fmla="*/ 1574739 w 3024845"/>
                <a:gd name="connsiteY287" fmla="*/ 704739 h 1078499"/>
                <a:gd name="connsiteX288" fmla="*/ 1582846 w 3024845"/>
                <a:gd name="connsiteY288" fmla="*/ 704739 h 1078499"/>
                <a:gd name="connsiteX289" fmla="*/ 1582846 w 3024845"/>
                <a:gd name="connsiteY289" fmla="*/ 722034 h 1078499"/>
                <a:gd name="connsiteX290" fmla="*/ 1592182 w 3024845"/>
                <a:gd name="connsiteY290" fmla="*/ 722939 h 1078499"/>
                <a:gd name="connsiteX291" fmla="*/ 1605140 w 3024845"/>
                <a:gd name="connsiteY291" fmla="*/ 722939 h 1078499"/>
                <a:gd name="connsiteX292" fmla="*/ 1605140 w 3024845"/>
                <a:gd name="connsiteY292" fmla="*/ 706901 h 1078499"/>
                <a:gd name="connsiteX293" fmla="*/ 1673096 w 3024845"/>
                <a:gd name="connsiteY293" fmla="*/ 706901 h 1078499"/>
                <a:gd name="connsiteX294" fmla="*/ 1673096 w 3024845"/>
                <a:gd name="connsiteY294" fmla="*/ 621648 h 1078499"/>
                <a:gd name="connsiteX295" fmla="*/ 1745104 w 3024845"/>
                <a:gd name="connsiteY295" fmla="*/ 621648 h 1078499"/>
                <a:gd name="connsiteX296" fmla="*/ 1745104 w 3024845"/>
                <a:gd name="connsiteY296" fmla="*/ 700416 h 1078499"/>
                <a:gd name="connsiteX297" fmla="*/ 1747008 w 3024845"/>
                <a:gd name="connsiteY297" fmla="*/ 700416 h 1078499"/>
                <a:gd name="connsiteX298" fmla="*/ 1748250 w 3024845"/>
                <a:gd name="connsiteY298" fmla="*/ 722939 h 1078499"/>
                <a:gd name="connsiteX299" fmla="*/ 1757926 w 3024845"/>
                <a:gd name="connsiteY299" fmla="*/ 722939 h 1078499"/>
                <a:gd name="connsiteX300" fmla="*/ 1759168 w 3024845"/>
                <a:gd name="connsiteY300" fmla="*/ 700416 h 1078499"/>
                <a:gd name="connsiteX301" fmla="*/ 1765248 w 3024845"/>
                <a:gd name="connsiteY301" fmla="*/ 700416 h 1078499"/>
                <a:gd name="connsiteX302" fmla="*/ 1766490 w 3024845"/>
                <a:gd name="connsiteY302" fmla="*/ 722939 h 1078499"/>
                <a:gd name="connsiteX303" fmla="*/ 1817112 w 3024845"/>
                <a:gd name="connsiteY303" fmla="*/ 722939 h 1078499"/>
                <a:gd name="connsiteX304" fmla="*/ 1817112 w 3024845"/>
                <a:gd name="connsiteY304" fmla="*/ 559911 h 1078499"/>
                <a:gd name="connsiteX305" fmla="*/ 2014439 w 3024845"/>
                <a:gd name="connsiteY305" fmla="*/ 559911 h 1078499"/>
                <a:gd name="connsiteX306" fmla="*/ 2014439 w 3024845"/>
                <a:gd name="connsiteY306" fmla="*/ 722939 h 1078499"/>
                <a:gd name="connsiteX307" fmla="*/ 2033136 w 3024845"/>
                <a:gd name="connsiteY307" fmla="*/ 722939 h 1078499"/>
                <a:gd name="connsiteX308" fmla="*/ 2033136 w 3024845"/>
                <a:gd name="connsiteY308" fmla="*/ 640246 h 1078499"/>
                <a:gd name="connsiteX309" fmla="*/ 2128256 w 3024845"/>
                <a:gd name="connsiteY309" fmla="*/ 640246 h 1078499"/>
                <a:gd name="connsiteX310" fmla="*/ 2140186 w 3024845"/>
                <a:gd name="connsiteY310" fmla="*/ 322105 h 1078499"/>
                <a:gd name="connsiteX311" fmla="*/ 2128026 w 3024845"/>
                <a:gd name="connsiteY311" fmla="*/ 300487 h 1078499"/>
                <a:gd name="connsiteX312" fmla="*/ 2121946 w 3024845"/>
                <a:gd name="connsiteY312" fmla="*/ 296163 h 1078499"/>
                <a:gd name="connsiteX313" fmla="*/ 2130053 w 3024845"/>
                <a:gd name="connsiteY313" fmla="*/ 272384 h 1078499"/>
                <a:gd name="connsiteX314" fmla="*/ 2130053 w 3024845"/>
                <a:gd name="connsiteY314" fmla="*/ 255090 h 1078499"/>
                <a:gd name="connsiteX315" fmla="*/ 2144240 w 3024845"/>
                <a:gd name="connsiteY315" fmla="*/ 255090 h 1078499"/>
                <a:gd name="connsiteX316" fmla="*/ 2144240 w 3024845"/>
                <a:gd name="connsiteY316" fmla="*/ 233472 h 1078499"/>
                <a:gd name="connsiteX317" fmla="*/ 2146266 w 3024845"/>
                <a:gd name="connsiteY317" fmla="*/ 229148 h 1078499"/>
                <a:gd name="connsiteX318" fmla="*/ 2146266 w 3024845"/>
                <a:gd name="connsiteY318" fmla="*/ 151324 h 1078499"/>
                <a:gd name="connsiteX319" fmla="*/ 2144240 w 3024845"/>
                <a:gd name="connsiteY319" fmla="*/ 144839 h 1078499"/>
                <a:gd name="connsiteX320" fmla="*/ 2150320 w 3024845"/>
                <a:gd name="connsiteY320" fmla="*/ 138353 h 1078499"/>
                <a:gd name="connsiteX321" fmla="*/ 2150320 w 3024845"/>
                <a:gd name="connsiteY321" fmla="*/ 79985 h 1078499"/>
                <a:gd name="connsiteX322" fmla="*/ 2152346 w 3024845"/>
                <a:gd name="connsiteY322" fmla="*/ 75662 h 1078499"/>
                <a:gd name="connsiteX323" fmla="*/ 2152346 w 3024845"/>
                <a:gd name="connsiteY323" fmla="*/ 19456 h 1078499"/>
                <a:gd name="connsiteX324" fmla="*/ 2154373 w 3024845"/>
                <a:gd name="connsiteY324" fmla="*/ 0 h 1078499"/>
                <a:gd name="connsiteX325" fmla="*/ 2162480 w 3024845"/>
                <a:gd name="connsiteY325" fmla="*/ 138353 h 1078499"/>
                <a:gd name="connsiteX326" fmla="*/ 2168560 w 3024845"/>
                <a:gd name="connsiteY326" fmla="*/ 144839 h 1078499"/>
                <a:gd name="connsiteX327" fmla="*/ 2166533 w 3024845"/>
                <a:gd name="connsiteY327" fmla="*/ 151324 h 1078499"/>
                <a:gd name="connsiteX328" fmla="*/ 2166533 w 3024845"/>
                <a:gd name="connsiteY328" fmla="*/ 229148 h 1078499"/>
                <a:gd name="connsiteX329" fmla="*/ 2168560 w 3024845"/>
                <a:gd name="connsiteY329" fmla="*/ 233472 h 1078499"/>
                <a:gd name="connsiteX330" fmla="*/ 2168560 w 3024845"/>
                <a:gd name="connsiteY330" fmla="*/ 255090 h 1078499"/>
                <a:gd name="connsiteX331" fmla="*/ 2182747 w 3024845"/>
                <a:gd name="connsiteY331" fmla="*/ 255090 h 1078499"/>
                <a:gd name="connsiteX332" fmla="*/ 2182747 w 3024845"/>
                <a:gd name="connsiteY332" fmla="*/ 272384 h 1078499"/>
                <a:gd name="connsiteX333" fmla="*/ 2190854 w 3024845"/>
                <a:gd name="connsiteY333" fmla="*/ 296163 h 1078499"/>
                <a:gd name="connsiteX334" fmla="*/ 2184774 w 3024845"/>
                <a:gd name="connsiteY334" fmla="*/ 300487 h 1078499"/>
                <a:gd name="connsiteX335" fmla="*/ 2172613 w 3024845"/>
                <a:gd name="connsiteY335" fmla="*/ 322105 h 1078499"/>
                <a:gd name="connsiteX336" fmla="*/ 2180720 w 3024845"/>
                <a:gd name="connsiteY336" fmla="*/ 575033 h 1078499"/>
                <a:gd name="connsiteX337" fmla="*/ 2245574 w 3024845"/>
                <a:gd name="connsiteY337" fmla="*/ 575033 h 1078499"/>
                <a:gd name="connsiteX338" fmla="*/ 2245574 w 3024845"/>
                <a:gd name="connsiteY338" fmla="*/ 650695 h 1078499"/>
                <a:gd name="connsiteX339" fmla="*/ 2253681 w 3024845"/>
                <a:gd name="connsiteY339" fmla="*/ 650695 h 1078499"/>
                <a:gd name="connsiteX340" fmla="*/ 2255708 w 3024845"/>
                <a:gd name="connsiteY340" fmla="*/ 644210 h 1078499"/>
                <a:gd name="connsiteX341" fmla="*/ 2261788 w 3024845"/>
                <a:gd name="connsiteY341" fmla="*/ 644210 h 1078499"/>
                <a:gd name="connsiteX342" fmla="*/ 2263815 w 3024845"/>
                <a:gd name="connsiteY342" fmla="*/ 652857 h 1078499"/>
                <a:gd name="connsiteX343" fmla="*/ 2275975 w 3024845"/>
                <a:gd name="connsiteY343" fmla="*/ 652857 h 1078499"/>
                <a:gd name="connsiteX344" fmla="*/ 2275975 w 3024845"/>
                <a:gd name="connsiteY344" fmla="*/ 646371 h 1078499"/>
                <a:gd name="connsiteX345" fmla="*/ 2298268 w 3024845"/>
                <a:gd name="connsiteY345" fmla="*/ 646371 h 1078499"/>
                <a:gd name="connsiteX346" fmla="*/ 2298268 w 3024845"/>
                <a:gd name="connsiteY346" fmla="*/ 652857 h 1078499"/>
                <a:gd name="connsiteX347" fmla="*/ 2318535 w 3024845"/>
                <a:gd name="connsiteY347" fmla="*/ 652857 h 1078499"/>
                <a:gd name="connsiteX348" fmla="*/ 2318535 w 3024845"/>
                <a:gd name="connsiteY348" fmla="*/ 698254 h 1078499"/>
                <a:gd name="connsiteX349" fmla="*/ 2332722 w 3024845"/>
                <a:gd name="connsiteY349" fmla="*/ 698254 h 1078499"/>
                <a:gd name="connsiteX350" fmla="*/ 2332722 w 3024845"/>
                <a:gd name="connsiteY350" fmla="*/ 685283 h 1078499"/>
                <a:gd name="connsiteX351" fmla="*/ 2348936 w 3024845"/>
                <a:gd name="connsiteY351" fmla="*/ 685283 h 1078499"/>
                <a:gd name="connsiteX352" fmla="*/ 2348936 w 3024845"/>
                <a:gd name="connsiteY352" fmla="*/ 505856 h 1078499"/>
                <a:gd name="connsiteX353" fmla="*/ 2355016 w 3024845"/>
                <a:gd name="connsiteY353" fmla="*/ 499370 h 1078499"/>
                <a:gd name="connsiteX354" fmla="*/ 2427977 w 3024845"/>
                <a:gd name="connsiteY354" fmla="*/ 499370 h 1078499"/>
                <a:gd name="connsiteX355" fmla="*/ 2427977 w 3024845"/>
                <a:gd name="connsiteY355" fmla="*/ 508018 h 1078499"/>
                <a:gd name="connsiteX356" fmla="*/ 2438110 w 3024845"/>
                <a:gd name="connsiteY356" fmla="*/ 508018 h 1078499"/>
                <a:gd name="connsiteX357" fmla="*/ 2438110 w 3024845"/>
                <a:gd name="connsiteY357" fmla="*/ 622592 h 1078499"/>
                <a:gd name="connsiteX358" fmla="*/ 2460404 w 3024845"/>
                <a:gd name="connsiteY358" fmla="*/ 622592 h 1078499"/>
                <a:gd name="connsiteX359" fmla="*/ 2460404 w 3024845"/>
                <a:gd name="connsiteY359" fmla="*/ 555577 h 1078499"/>
                <a:gd name="connsiteX360" fmla="*/ 2486751 w 3024845"/>
                <a:gd name="connsiteY360" fmla="*/ 555577 h 1078499"/>
                <a:gd name="connsiteX361" fmla="*/ 2490804 w 3024845"/>
                <a:gd name="connsiteY361" fmla="*/ 551253 h 1078499"/>
                <a:gd name="connsiteX362" fmla="*/ 2498911 w 3024845"/>
                <a:gd name="connsiteY362" fmla="*/ 551253 h 1078499"/>
                <a:gd name="connsiteX363" fmla="*/ 2502964 w 3024845"/>
                <a:gd name="connsiteY363" fmla="*/ 555577 h 1078499"/>
                <a:gd name="connsiteX364" fmla="*/ 2525258 w 3024845"/>
                <a:gd name="connsiteY364" fmla="*/ 555577 h 1078499"/>
                <a:gd name="connsiteX365" fmla="*/ 2525258 w 3024845"/>
                <a:gd name="connsiteY365" fmla="*/ 438841 h 1078499"/>
                <a:gd name="connsiteX366" fmla="*/ 2582005 w 3024845"/>
                <a:gd name="connsiteY366" fmla="*/ 428032 h 1078499"/>
                <a:gd name="connsiteX367" fmla="*/ 2582005 w 3024845"/>
                <a:gd name="connsiteY367" fmla="*/ 429113 h 1078499"/>
                <a:gd name="connsiteX368" fmla="*/ 2582005 w 3024845"/>
                <a:gd name="connsiteY368" fmla="*/ 436679 h 1078499"/>
                <a:gd name="connsiteX369" fmla="*/ 2608352 w 3024845"/>
                <a:gd name="connsiteY369" fmla="*/ 436679 h 1078499"/>
                <a:gd name="connsiteX370" fmla="*/ 2608352 w 3024845"/>
                <a:gd name="connsiteY370" fmla="*/ 691769 h 1078499"/>
                <a:gd name="connsiteX371" fmla="*/ 2630646 w 3024845"/>
                <a:gd name="connsiteY371" fmla="*/ 691769 h 1078499"/>
                <a:gd name="connsiteX372" fmla="*/ 2630646 w 3024845"/>
                <a:gd name="connsiteY372" fmla="*/ 687445 h 1078499"/>
                <a:gd name="connsiteX373" fmla="*/ 2642806 w 3024845"/>
                <a:gd name="connsiteY373" fmla="*/ 687445 h 1078499"/>
                <a:gd name="connsiteX374" fmla="*/ 2642806 w 3024845"/>
                <a:gd name="connsiteY374" fmla="*/ 691769 h 1078499"/>
                <a:gd name="connsiteX375" fmla="*/ 2667126 w 3024845"/>
                <a:gd name="connsiteY375" fmla="*/ 691769 h 1078499"/>
                <a:gd name="connsiteX376" fmla="*/ 2667126 w 3024845"/>
                <a:gd name="connsiteY376" fmla="*/ 678798 h 1078499"/>
                <a:gd name="connsiteX377" fmla="*/ 2695500 w 3024845"/>
                <a:gd name="connsiteY377" fmla="*/ 678798 h 1078499"/>
                <a:gd name="connsiteX378" fmla="*/ 2707660 w 3024845"/>
                <a:gd name="connsiteY378" fmla="*/ 674474 h 1078499"/>
                <a:gd name="connsiteX379" fmla="*/ 2727927 w 3024845"/>
                <a:gd name="connsiteY379" fmla="*/ 678798 h 1078499"/>
                <a:gd name="connsiteX380" fmla="*/ 2727927 w 3024845"/>
                <a:gd name="connsiteY380" fmla="*/ 661504 h 1078499"/>
                <a:gd name="connsiteX381" fmla="*/ 2736034 w 3024845"/>
                <a:gd name="connsiteY381" fmla="*/ 661504 h 1078499"/>
                <a:gd name="connsiteX382" fmla="*/ 2736034 w 3024845"/>
                <a:gd name="connsiteY382" fmla="*/ 648533 h 1078499"/>
                <a:gd name="connsiteX383" fmla="*/ 2792781 w 3024845"/>
                <a:gd name="connsiteY383" fmla="*/ 648533 h 1078499"/>
                <a:gd name="connsiteX384" fmla="*/ 2792781 w 3024845"/>
                <a:gd name="connsiteY384" fmla="*/ 618268 h 1078499"/>
                <a:gd name="connsiteX385" fmla="*/ 2811021 w 3024845"/>
                <a:gd name="connsiteY385" fmla="*/ 618268 h 1078499"/>
                <a:gd name="connsiteX386" fmla="*/ 2811021 w 3024845"/>
                <a:gd name="connsiteY386" fmla="*/ 611783 h 1078499"/>
                <a:gd name="connsiteX387" fmla="*/ 2823181 w 3024845"/>
                <a:gd name="connsiteY387" fmla="*/ 611783 h 1078499"/>
                <a:gd name="connsiteX388" fmla="*/ 2823181 w 3024845"/>
                <a:gd name="connsiteY388" fmla="*/ 618268 h 1078499"/>
                <a:gd name="connsiteX389" fmla="*/ 2839395 w 3024845"/>
                <a:gd name="connsiteY389" fmla="*/ 618268 h 1078499"/>
                <a:gd name="connsiteX390" fmla="*/ 2839395 w 3024845"/>
                <a:gd name="connsiteY390" fmla="*/ 667989 h 1078499"/>
                <a:gd name="connsiteX391" fmla="*/ 2871822 w 3024845"/>
                <a:gd name="connsiteY391" fmla="*/ 667989 h 1078499"/>
                <a:gd name="connsiteX392" fmla="*/ 2871822 w 3024845"/>
                <a:gd name="connsiteY392" fmla="*/ 642048 h 1078499"/>
                <a:gd name="connsiteX393" fmla="*/ 2910329 w 3024845"/>
                <a:gd name="connsiteY393" fmla="*/ 642048 h 1078499"/>
                <a:gd name="connsiteX394" fmla="*/ 2910329 w 3024845"/>
                <a:gd name="connsiteY394" fmla="*/ 611783 h 1078499"/>
                <a:gd name="connsiteX395" fmla="*/ 2958970 w 3024845"/>
                <a:gd name="connsiteY395" fmla="*/ 611783 h 1078499"/>
                <a:gd name="connsiteX396" fmla="*/ 2958970 w 3024845"/>
                <a:gd name="connsiteY396" fmla="*/ 722939 h 1078499"/>
                <a:gd name="connsiteX397" fmla="*/ 2958970 w 3024845"/>
                <a:gd name="connsiteY397" fmla="*/ 736718 h 1078499"/>
                <a:gd name="connsiteX398" fmla="*/ 3024845 w 3024845"/>
                <a:gd name="connsiteY398" fmla="*/ 736718 h 1078499"/>
                <a:gd name="connsiteX399" fmla="*/ 3024845 w 3024845"/>
                <a:gd name="connsiteY399" fmla="*/ 1078499 h 1078499"/>
                <a:gd name="connsiteX400" fmla="*/ 2054 w 3024845"/>
                <a:gd name="connsiteY400" fmla="*/ 1076166 h 1078499"/>
                <a:gd name="connsiteX401" fmla="*/ 0 w 3024845"/>
                <a:gd name="connsiteY401" fmla="*/ 642048 h 1078499"/>
                <a:gd name="connsiteX402" fmla="*/ 20267 w 3024845"/>
                <a:gd name="connsiteY402" fmla="*/ 642048 h 1078499"/>
                <a:gd name="connsiteX403" fmla="*/ 20774 w 3024845"/>
                <a:gd name="connsiteY403" fmla="*/ 640967 h 1078499"/>
                <a:gd name="connsiteX404" fmla="*/ 24320 w 3024845"/>
                <a:gd name="connsiteY404" fmla="*/ 633401 h 1078499"/>
                <a:gd name="connsiteX405" fmla="*/ 26094 w 3024845"/>
                <a:gd name="connsiteY405" fmla="*/ 633671 h 1078499"/>
                <a:gd name="connsiteX406" fmla="*/ 38507 w 3024845"/>
                <a:gd name="connsiteY406" fmla="*/ 635562 h 1078499"/>
                <a:gd name="connsiteX407" fmla="*/ 39014 w 3024845"/>
                <a:gd name="connsiteY407" fmla="*/ 636914 h 1078499"/>
                <a:gd name="connsiteX408" fmla="*/ 42560 w 3024845"/>
                <a:gd name="connsiteY408" fmla="*/ 646371 h 1078499"/>
                <a:gd name="connsiteX409" fmla="*/ 68907 w 3024845"/>
                <a:gd name="connsiteY409" fmla="*/ 648533 h 1078499"/>
                <a:gd name="connsiteX410" fmla="*/ 68907 w 3024845"/>
                <a:gd name="connsiteY410" fmla="*/ 525312 h 1078499"/>
                <a:gd name="connsiteX411" fmla="*/ 70934 w 3024845"/>
                <a:gd name="connsiteY411" fmla="*/ 525312 h 1078499"/>
                <a:gd name="connsiteX412" fmla="*/ 85121 w 3024845"/>
                <a:gd name="connsiteY412" fmla="*/ 525312 h 1078499"/>
                <a:gd name="connsiteX413" fmla="*/ 85121 w 3024845"/>
                <a:gd name="connsiteY413" fmla="*/ 389120 h 1078499"/>
                <a:gd name="connsiteX414" fmla="*/ 86894 w 3024845"/>
                <a:gd name="connsiteY414" fmla="*/ 389120 h 1078499"/>
                <a:gd name="connsiteX415" fmla="*/ 99308 w 3024845"/>
                <a:gd name="connsiteY415" fmla="*/ 389120 h 1078499"/>
                <a:gd name="connsiteX416" fmla="*/ 99308 w 3024845"/>
                <a:gd name="connsiteY416" fmla="*/ 274546 h 1078499"/>
                <a:gd name="connsiteX417" fmla="*/ 103361 w 3024845"/>
                <a:gd name="connsiteY417" fmla="*/ 246442 h 1078499"/>
                <a:gd name="connsiteX418" fmla="*/ 105388 w 3024845"/>
                <a:gd name="connsiteY418" fmla="*/ 246442 h 1078499"/>
                <a:gd name="connsiteX419" fmla="*/ 119575 w 3024845"/>
                <a:gd name="connsiteY419" fmla="*/ 246442 h 1078499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4774 w 3024845"/>
                <a:gd name="connsiteY333" fmla="*/ 281031 h 1059043"/>
                <a:gd name="connsiteX334" fmla="*/ 2172613 w 3024845"/>
                <a:gd name="connsiteY334" fmla="*/ 302649 h 1059043"/>
                <a:gd name="connsiteX335" fmla="*/ 2180720 w 3024845"/>
                <a:gd name="connsiteY335" fmla="*/ 555577 h 1059043"/>
                <a:gd name="connsiteX336" fmla="*/ 2245574 w 3024845"/>
                <a:gd name="connsiteY336" fmla="*/ 555577 h 1059043"/>
                <a:gd name="connsiteX337" fmla="*/ 2245574 w 3024845"/>
                <a:gd name="connsiteY337" fmla="*/ 631239 h 1059043"/>
                <a:gd name="connsiteX338" fmla="*/ 2253681 w 3024845"/>
                <a:gd name="connsiteY338" fmla="*/ 631239 h 1059043"/>
                <a:gd name="connsiteX339" fmla="*/ 2255708 w 3024845"/>
                <a:gd name="connsiteY339" fmla="*/ 624754 h 1059043"/>
                <a:gd name="connsiteX340" fmla="*/ 2261788 w 3024845"/>
                <a:gd name="connsiteY340" fmla="*/ 624754 h 1059043"/>
                <a:gd name="connsiteX341" fmla="*/ 2263815 w 3024845"/>
                <a:gd name="connsiteY341" fmla="*/ 633401 h 1059043"/>
                <a:gd name="connsiteX342" fmla="*/ 2275975 w 3024845"/>
                <a:gd name="connsiteY342" fmla="*/ 633401 h 1059043"/>
                <a:gd name="connsiteX343" fmla="*/ 2275975 w 3024845"/>
                <a:gd name="connsiteY343" fmla="*/ 626915 h 1059043"/>
                <a:gd name="connsiteX344" fmla="*/ 2298268 w 3024845"/>
                <a:gd name="connsiteY344" fmla="*/ 626915 h 1059043"/>
                <a:gd name="connsiteX345" fmla="*/ 2298268 w 3024845"/>
                <a:gd name="connsiteY345" fmla="*/ 633401 h 1059043"/>
                <a:gd name="connsiteX346" fmla="*/ 2318535 w 3024845"/>
                <a:gd name="connsiteY346" fmla="*/ 633401 h 1059043"/>
                <a:gd name="connsiteX347" fmla="*/ 2318535 w 3024845"/>
                <a:gd name="connsiteY347" fmla="*/ 678798 h 1059043"/>
                <a:gd name="connsiteX348" fmla="*/ 2332722 w 3024845"/>
                <a:gd name="connsiteY348" fmla="*/ 678798 h 1059043"/>
                <a:gd name="connsiteX349" fmla="*/ 2332722 w 3024845"/>
                <a:gd name="connsiteY349" fmla="*/ 665827 h 1059043"/>
                <a:gd name="connsiteX350" fmla="*/ 2348936 w 3024845"/>
                <a:gd name="connsiteY350" fmla="*/ 665827 h 1059043"/>
                <a:gd name="connsiteX351" fmla="*/ 2348936 w 3024845"/>
                <a:gd name="connsiteY351" fmla="*/ 486400 h 1059043"/>
                <a:gd name="connsiteX352" fmla="*/ 2355016 w 3024845"/>
                <a:gd name="connsiteY352" fmla="*/ 479914 h 1059043"/>
                <a:gd name="connsiteX353" fmla="*/ 2427977 w 3024845"/>
                <a:gd name="connsiteY353" fmla="*/ 479914 h 1059043"/>
                <a:gd name="connsiteX354" fmla="*/ 2427977 w 3024845"/>
                <a:gd name="connsiteY354" fmla="*/ 488562 h 1059043"/>
                <a:gd name="connsiteX355" fmla="*/ 2438110 w 3024845"/>
                <a:gd name="connsiteY355" fmla="*/ 488562 h 1059043"/>
                <a:gd name="connsiteX356" fmla="*/ 2438110 w 3024845"/>
                <a:gd name="connsiteY356" fmla="*/ 603136 h 1059043"/>
                <a:gd name="connsiteX357" fmla="*/ 2460404 w 3024845"/>
                <a:gd name="connsiteY357" fmla="*/ 603136 h 1059043"/>
                <a:gd name="connsiteX358" fmla="*/ 2460404 w 3024845"/>
                <a:gd name="connsiteY358" fmla="*/ 536121 h 1059043"/>
                <a:gd name="connsiteX359" fmla="*/ 2486751 w 3024845"/>
                <a:gd name="connsiteY359" fmla="*/ 536121 h 1059043"/>
                <a:gd name="connsiteX360" fmla="*/ 2490804 w 3024845"/>
                <a:gd name="connsiteY360" fmla="*/ 531797 h 1059043"/>
                <a:gd name="connsiteX361" fmla="*/ 2498911 w 3024845"/>
                <a:gd name="connsiteY361" fmla="*/ 531797 h 1059043"/>
                <a:gd name="connsiteX362" fmla="*/ 2502964 w 3024845"/>
                <a:gd name="connsiteY362" fmla="*/ 536121 h 1059043"/>
                <a:gd name="connsiteX363" fmla="*/ 2525258 w 3024845"/>
                <a:gd name="connsiteY363" fmla="*/ 536121 h 1059043"/>
                <a:gd name="connsiteX364" fmla="*/ 2525258 w 3024845"/>
                <a:gd name="connsiteY364" fmla="*/ 419385 h 1059043"/>
                <a:gd name="connsiteX365" fmla="*/ 2582005 w 3024845"/>
                <a:gd name="connsiteY365" fmla="*/ 408576 h 1059043"/>
                <a:gd name="connsiteX366" fmla="*/ 2582005 w 3024845"/>
                <a:gd name="connsiteY366" fmla="*/ 409657 h 1059043"/>
                <a:gd name="connsiteX367" fmla="*/ 2582005 w 3024845"/>
                <a:gd name="connsiteY367" fmla="*/ 417223 h 1059043"/>
                <a:gd name="connsiteX368" fmla="*/ 2608352 w 3024845"/>
                <a:gd name="connsiteY368" fmla="*/ 417223 h 1059043"/>
                <a:gd name="connsiteX369" fmla="*/ 2608352 w 3024845"/>
                <a:gd name="connsiteY369" fmla="*/ 672313 h 1059043"/>
                <a:gd name="connsiteX370" fmla="*/ 2630646 w 3024845"/>
                <a:gd name="connsiteY370" fmla="*/ 672313 h 1059043"/>
                <a:gd name="connsiteX371" fmla="*/ 2630646 w 3024845"/>
                <a:gd name="connsiteY371" fmla="*/ 667989 h 1059043"/>
                <a:gd name="connsiteX372" fmla="*/ 2642806 w 3024845"/>
                <a:gd name="connsiteY372" fmla="*/ 667989 h 1059043"/>
                <a:gd name="connsiteX373" fmla="*/ 2642806 w 3024845"/>
                <a:gd name="connsiteY373" fmla="*/ 672313 h 1059043"/>
                <a:gd name="connsiteX374" fmla="*/ 2667126 w 3024845"/>
                <a:gd name="connsiteY374" fmla="*/ 672313 h 1059043"/>
                <a:gd name="connsiteX375" fmla="*/ 2667126 w 3024845"/>
                <a:gd name="connsiteY375" fmla="*/ 659342 h 1059043"/>
                <a:gd name="connsiteX376" fmla="*/ 2695500 w 3024845"/>
                <a:gd name="connsiteY376" fmla="*/ 659342 h 1059043"/>
                <a:gd name="connsiteX377" fmla="*/ 2707660 w 3024845"/>
                <a:gd name="connsiteY377" fmla="*/ 655018 h 1059043"/>
                <a:gd name="connsiteX378" fmla="*/ 2727927 w 3024845"/>
                <a:gd name="connsiteY378" fmla="*/ 659342 h 1059043"/>
                <a:gd name="connsiteX379" fmla="*/ 2727927 w 3024845"/>
                <a:gd name="connsiteY379" fmla="*/ 642048 h 1059043"/>
                <a:gd name="connsiteX380" fmla="*/ 2736034 w 3024845"/>
                <a:gd name="connsiteY380" fmla="*/ 642048 h 1059043"/>
                <a:gd name="connsiteX381" fmla="*/ 2736034 w 3024845"/>
                <a:gd name="connsiteY381" fmla="*/ 629077 h 1059043"/>
                <a:gd name="connsiteX382" fmla="*/ 2792781 w 3024845"/>
                <a:gd name="connsiteY382" fmla="*/ 629077 h 1059043"/>
                <a:gd name="connsiteX383" fmla="*/ 2792781 w 3024845"/>
                <a:gd name="connsiteY383" fmla="*/ 598812 h 1059043"/>
                <a:gd name="connsiteX384" fmla="*/ 2811021 w 3024845"/>
                <a:gd name="connsiteY384" fmla="*/ 598812 h 1059043"/>
                <a:gd name="connsiteX385" fmla="*/ 2811021 w 3024845"/>
                <a:gd name="connsiteY385" fmla="*/ 592327 h 1059043"/>
                <a:gd name="connsiteX386" fmla="*/ 2823181 w 3024845"/>
                <a:gd name="connsiteY386" fmla="*/ 592327 h 1059043"/>
                <a:gd name="connsiteX387" fmla="*/ 2823181 w 3024845"/>
                <a:gd name="connsiteY387" fmla="*/ 598812 h 1059043"/>
                <a:gd name="connsiteX388" fmla="*/ 2839395 w 3024845"/>
                <a:gd name="connsiteY388" fmla="*/ 598812 h 1059043"/>
                <a:gd name="connsiteX389" fmla="*/ 2839395 w 3024845"/>
                <a:gd name="connsiteY389" fmla="*/ 648533 h 1059043"/>
                <a:gd name="connsiteX390" fmla="*/ 2871822 w 3024845"/>
                <a:gd name="connsiteY390" fmla="*/ 648533 h 1059043"/>
                <a:gd name="connsiteX391" fmla="*/ 2871822 w 3024845"/>
                <a:gd name="connsiteY391" fmla="*/ 622592 h 1059043"/>
                <a:gd name="connsiteX392" fmla="*/ 2910329 w 3024845"/>
                <a:gd name="connsiteY392" fmla="*/ 622592 h 1059043"/>
                <a:gd name="connsiteX393" fmla="*/ 2910329 w 3024845"/>
                <a:gd name="connsiteY393" fmla="*/ 592327 h 1059043"/>
                <a:gd name="connsiteX394" fmla="*/ 2958970 w 3024845"/>
                <a:gd name="connsiteY394" fmla="*/ 592327 h 1059043"/>
                <a:gd name="connsiteX395" fmla="*/ 2958970 w 3024845"/>
                <a:gd name="connsiteY395" fmla="*/ 703483 h 1059043"/>
                <a:gd name="connsiteX396" fmla="*/ 2958970 w 3024845"/>
                <a:gd name="connsiteY396" fmla="*/ 717262 h 1059043"/>
                <a:gd name="connsiteX397" fmla="*/ 3024845 w 3024845"/>
                <a:gd name="connsiteY397" fmla="*/ 717262 h 1059043"/>
                <a:gd name="connsiteX398" fmla="*/ 3024845 w 3024845"/>
                <a:gd name="connsiteY398" fmla="*/ 1059043 h 1059043"/>
                <a:gd name="connsiteX399" fmla="*/ 2054 w 3024845"/>
                <a:gd name="connsiteY399" fmla="*/ 1056710 h 1059043"/>
                <a:gd name="connsiteX400" fmla="*/ 0 w 3024845"/>
                <a:gd name="connsiteY400" fmla="*/ 622592 h 1059043"/>
                <a:gd name="connsiteX401" fmla="*/ 20267 w 3024845"/>
                <a:gd name="connsiteY401" fmla="*/ 622592 h 1059043"/>
                <a:gd name="connsiteX402" fmla="*/ 20774 w 3024845"/>
                <a:gd name="connsiteY402" fmla="*/ 621511 h 1059043"/>
                <a:gd name="connsiteX403" fmla="*/ 24320 w 3024845"/>
                <a:gd name="connsiteY403" fmla="*/ 613945 h 1059043"/>
                <a:gd name="connsiteX404" fmla="*/ 26094 w 3024845"/>
                <a:gd name="connsiteY404" fmla="*/ 614215 h 1059043"/>
                <a:gd name="connsiteX405" fmla="*/ 38507 w 3024845"/>
                <a:gd name="connsiteY405" fmla="*/ 616106 h 1059043"/>
                <a:gd name="connsiteX406" fmla="*/ 39014 w 3024845"/>
                <a:gd name="connsiteY406" fmla="*/ 617458 h 1059043"/>
                <a:gd name="connsiteX407" fmla="*/ 42560 w 3024845"/>
                <a:gd name="connsiteY407" fmla="*/ 626915 h 1059043"/>
                <a:gd name="connsiteX408" fmla="*/ 68907 w 3024845"/>
                <a:gd name="connsiteY408" fmla="*/ 629077 h 1059043"/>
                <a:gd name="connsiteX409" fmla="*/ 68907 w 3024845"/>
                <a:gd name="connsiteY409" fmla="*/ 505856 h 1059043"/>
                <a:gd name="connsiteX410" fmla="*/ 70934 w 3024845"/>
                <a:gd name="connsiteY410" fmla="*/ 505856 h 1059043"/>
                <a:gd name="connsiteX411" fmla="*/ 85121 w 3024845"/>
                <a:gd name="connsiteY411" fmla="*/ 505856 h 1059043"/>
                <a:gd name="connsiteX412" fmla="*/ 85121 w 3024845"/>
                <a:gd name="connsiteY412" fmla="*/ 369664 h 1059043"/>
                <a:gd name="connsiteX413" fmla="*/ 86894 w 3024845"/>
                <a:gd name="connsiteY413" fmla="*/ 369664 h 1059043"/>
                <a:gd name="connsiteX414" fmla="*/ 99308 w 3024845"/>
                <a:gd name="connsiteY414" fmla="*/ 369664 h 1059043"/>
                <a:gd name="connsiteX415" fmla="*/ 99308 w 3024845"/>
                <a:gd name="connsiteY415" fmla="*/ 255090 h 1059043"/>
                <a:gd name="connsiteX416" fmla="*/ 103361 w 3024845"/>
                <a:gd name="connsiteY416" fmla="*/ 226986 h 1059043"/>
                <a:gd name="connsiteX417" fmla="*/ 105388 w 3024845"/>
                <a:gd name="connsiteY417" fmla="*/ 226986 h 1059043"/>
                <a:gd name="connsiteX418" fmla="*/ 119575 w 3024845"/>
                <a:gd name="connsiteY41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4774 w 3024845"/>
                <a:gd name="connsiteY333" fmla="*/ 281031 h 1059043"/>
                <a:gd name="connsiteX334" fmla="*/ 2180720 w 3024845"/>
                <a:gd name="connsiteY334" fmla="*/ 555577 h 1059043"/>
                <a:gd name="connsiteX335" fmla="*/ 2245574 w 3024845"/>
                <a:gd name="connsiteY335" fmla="*/ 555577 h 1059043"/>
                <a:gd name="connsiteX336" fmla="*/ 2245574 w 3024845"/>
                <a:gd name="connsiteY336" fmla="*/ 631239 h 1059043"/>
                <a:gd name="connsiteX337" fmla="*/ 2253681 w 3024845"/>
                <a:gd name="connsiteY337" fmla="*/ 631239 h 1059043"/>
                <a:gd name="connsiteX338" fmla="*/ 2255708 w 3024845"/>
                <a:gd name="connsiteY338" fmla="*/ 624754 h 1059043"/>
                <a:gd name="connsiteX339" fmla="*/ 2261788 w 3024845"/>
                <a:gd name="connsiteY339" fmla="*/ 624754 h 1059043"/>
                <a:gd name="connsiteX340" fmla="*/ 2263815 w 3024845"/>
                <a:gd name="connsiteY340" fmla="*/ 633401 h 1059043"/>
                <a:gd name="connsiteX341" fmla="*/ 2275975 w 3024845"/>
                <a:gd name="connsiteY341" fmla="*/ 633401 h 1059043"/>
                <a:gd name="connsiteX342" fmla="*/ 2275975 w 3024845"/>
                <a:gd name="connsiteY342" fmla="*/ 626915 h 1059043"/>
                <a:gd name="connsiteX343" fmla="*/ 2298268 w 3024845"/>
                <a:gd name="connsiteY343" fmla="*/ 626915 h 1059043"/>
                <a:gd name="connsiteX344" fmla="*/ 2298268 w 3024845"/>
                <a:gd name="connsiteY344" fmla="*/ 633401 h 1059043"/>
                <a:gd name="connsiteX345" fmla="*/ 2318535 w 3024845"/>
                <a:gd name="connsiteY345" fmla="*/ 633401 h 1059043"/>
                <a:gd name="connsiteX346" fmla="*/ 2318535 w 3024845"/>
                <a:gd name="connsiteY346" fmla="*/ 678798 h 1059043"/>
                <a:gd name="connsiteX347" fmla="*/ 2332722 w 3024845"/>
                <a:gd name="connsiteY347" fmla="*/ 678798 h 1059043"/>
                <a:gd name="connsiteX348" fmla="*/ 2332722 w 3024845"/>
                <a:gd name="connsiteY348" fmla="*/ 665827 h 1059043"/>
                <a:gd name="connsiteX349" fmla="*/ 2348936 w 3024845"/>
                <a:gd name="connsiteY349" fmla="*/ 665827 h 1059043"/>
                <a:gd name="connsiteX350" fmla="*/ 2348936 w 3024845"/>
                <a:gd name="connsiteY350" fmla="*/ 486400 h 1059043"/>
                <a:gd name="connsiteX351" fmla="*/ 2355016 w 3024845"/>
                <a:gd name="connsiteY351" fmla="*/ 479914 h 1059043"/>
                <a:gd name="connsiteX352" fmla="*/ 2427977 w 3024845"/>
                <a:gd name="connsiteY352" fmla="*/ 479914 h 1059043"/>
                <a:gd name="connsiteX353" fmla="*/ 2427977 w 3024845"/>
                <a:gd name="connsiteY353" fmla="*/ 488562 h 1059043"/>
                <a:gd name="connsiteX354" fmla="*/ 2438110 w 3024845"/>
                <a:gd name="connsiteY354" fmla="*/ 488562 h 1059043"/>
                <a:gd name="connsiteX355" fmla="*/ 2438110 w 3024845"/>
                <a:gd name="connsiteY355" fmla="*/ 603136 h 1059043"/>
                <a:gd name="connsiteX356" fmla="*/ 2460404 w 3024845"/>
                <a:gd name="connsiteY356" fmla="*/ 603136 h 1059043"/>
                <a:gd name="connsiteX357" fmla="*/ 2460404 w 3024845"/>
                <a:gd name="connsiteY357" fmla="*/ 536121 h 1059043"/>
                <a:gd name="connsiteX358" fmla="*/ 2486751 w 3024845"/>
                <a:gd name="connsiteY358" fmla="*/ 536121 h 1059043"/>
                <a:gd name="connsiteX359" fmla="*/ 2490804 w 3024845"/>
                <a:gd name="connsiteY359" fmla="*/ 531797 h 1059043"/>
                <a:gd name="connsiteX360" fmla="*/ 2498911 w 3024845"/>
                <a:gd name="connsiteY360" fmla="*/ 531797 h 1059043"/>
                <a:gd name="connsiteX361" fmla="*/ 2502964 w 3024845"/>
                <a:gd name="connsiteY361" fmla="*/ 536121 h 1059043"/>
                <a:gd name="connsiteX362" fmla="*/ 2525258 w 3024845"/>
                <a:gd name="connsiteY362" fmla="*/ 536121 h 1059043"/>
                <a:gd name="connsiteX363" fmla="*/ 2525258 w 3024845"/>
                <a:gd name="connsiteY363" fmla="*/ 419385 h 1059043"/>
                <a:gd name="connsiteX364" fmla="*/ 2582005 w 3024845"/>
                <a:gd name="connsiteY364" fmla="*/ 408576 h 1059043"/>
                <a:gd name="connsiteX365" fmla="*/ 2582005 w 3024845"/>
                <a:gd name="connsiteY365" fmla="*/ 409657 h 1059043"/>
                <a:gd name="connsiteX366" fmla="*/ 2582005 w 3024845"/>
                <a:gd name="connsiteY366" fmla="*/ 417223 h 1059043"/>
                <a:gd name="connsiteX367" fmla="*/ 2608352 w 3024845"/>
                <a:gd name="connsiteY367" fmla="*/ 417223 h 1059043"/>
                <a:gd name="connsiteX368" fmla="*/ 2608352 w 3024845"/>
                <a:gd name="connsiteY368" fmla="*/ 672313 h 1059043"/>
                <a:gd name="connsiteX369" fmla="*/ 2630646 w 3024845"/>
                <a:gd name="connsiteY369" fmla="*/ 672313 h 1059043"/>
                <a:gd name="connsiteX370" fmla="*/ 2630646 w 3024845"/>
                <a:gd name="connsiteY370" fmla="*/ 667989 h 1059043"/>
                <a:gd name="connsiteX371" fmla="*/ 2642806 w 3024845"/>
                <a:gd name="connsiteY371" fmla="*/ 667989 h 1059043"/>
                <a:gd name="connsiteX372" fmla="*/ 2642806 w 3024845"/>
                <a:gd name="connsiteY372" fmla="*/ 672313 h 1059043"/>
                <a:gd name="connsiteX373" fmla="*/ 2667126 w 3024845"/>
                <a:gd name="connsiteY373" fmla="*/ 672313 h 1059043"/>
                <a:gd name="connsiteX374" fmla="*/ 2667126 w 3024845"/>
                <a:gd name="connsiteY374" fmla="*/ 659342 h 1059043"/>
                <a:gd name="connsiteX375" fmla="*/ 2695500 w 3024845"/>
                <a:gd name="connsiteY375" fmla="*/ 659342 h 1059043"/>
                <a:gd name="connsiteX376" fmla="*/ 2707660 w 3024845"/>
                <a:gd name="connsiteY376" fmla="*/ 655018 h 1059043"/>
                <a:gd name="connsiteX377" fmla="*/ 2727927 w 3024845"/>
                <a:gd name="connsiteY377" fmla="*/ 659342 h 1059043"/>
                <a:gd name="connsiteX378" fmla="*/ 2727927 w 3024845"/>
                <a:gd name="connsiteY378" fmla="*/ 642048 h 1059043"/>
                <a:gd name="connsiteX379" fmla="*/ 2736034 w 3024845"/>
                <a:gd name="connsiteY379" fmla="*/ 642048 h 1059043"/>
                <a:gd name="connsiteX380" fmla="*/ 2736034 w 3024845"/>
                <a:gd name="connsiteY380" fmla="*/ 629077 h 1059043"/>
                <a:gd name="connsiteX381" fmla="*/ 2792781 w 3024845"/>
                <a:gd name="connsiteY381" fmla="*/ 629077 h 1059043"/>
                <a:gd name="connsiteX382" fmla="*/ 2792781 w 3024845"/>
                <a:gd name="connsiteY382" fmla="*/ 598812 h 1059043"/>
                <a:gd name="connsiteX383" fmla="*/ 2811021 w 3024845"/>
                <a:gd name="connsiteY383" fmla="*/ 598812 h 1059043"/>
                <a:gd name="connsiteX384" fmla="*/ 2811021 w 3024845"/>
                <a:gd name="connsiteY384" fmla="*/ 592327 h 1059043"/>
                <a:gd name="connsiteX385" fmla="*/ 2823181 w 3024845"/>
                <a:gd name="connsiteY385" fmla="*/ 592327 h 1059043"/>
                <a:gd name="connsiteX386" fmla="*/ 2823181 w 3024845"/>
                <a:gd name="connsiteY386" fmla="*/ 598812 h 1059043"/>
                <a:gd name="connsiteX387" fmla="*/ 2839395 w 3024845"/>
                <a:gd name="connsiteY387" fmla="*/ 598812 h 1059043"/>
                <a:gd name="connsiteX388" fmla="*/ 2839395 w 3024845"/>
                <a:gd name="connsiteY388" fmla="*/ 648533 h 1059043"/>
                <a:gd name="connsiteX389" fmla="*/ 2871822 w 3024845"/>
                <a:gd name="connsiteY389" fmla="*/ 648533 h 1059043"/>
                <a:gd name="connsiteX390" fmla="*/ 2871822 w 3024845"/>
                <a:gd name="connsiteY390" fmla="*/ 622592 h 1059043"/>
                <a:gd name="connsiteX391" fmla="*/ 2910329 w 3024845"/>
                <a:gd name="connsiteY391" fmla="*/ 622592 h 1059043"/>
                <a:gd name="connsiteX392" fmla="*/ 2910329 w 3024845"/>
                <a:gd name="connsiteY392" fmla="*/ 592327 h 1059043"/>
                <a:gd name="connsiteX393" fmla="*/ 2958970 w 3024845"/>
                <a:gd name="connsiteY393" fmla="*/ 592327 h 1059043"/>
                <a:gd name="connsiteX394" fmla="*/ 2958970 w 3024845"/>
                <a:gd name="connsiteY394" fmla="*/ 703483 h 1059043"/>
                <a:gd name="connsiteX395" fmla="*/ 2958970 w 3024845"/>
                <a:gd name="connsiteY395" fmla="*/ 717262 h 1059043"/>
                <a:gd name="connsiteX396" fmla="*/ 3024845 w 3024845"/>
                <a:gd name="connsiteY396" fmla="*/ 717262 h 1059043"/>
                <a:gd name="connsiteX397" fmla="*/ 3024845 w 3024845"/>
                <a:gd name="connsiteY397" fmla="*/ 1059043 h 1059043"/>
                <a:gd name="connsiteX398" fmla="*/ 2054 w 3024845"/>
                <a:gd name="connsiteY398" fmla="*/ 1056710 h 1059043"/>
                <a:gd name="connsiteX399" fmla="*/ 0 w 3024845"/>
                <a:gd name="connsiteY399" fmla="*/ 622592 h 1059043"/>
                <a:gd name="connsiteX400" fmla="*/ 20267 w 3024845"/>
                <a:gd name="connsiteY400" fmla="*/ 622592 h 1059043"/>
                <a:gd name="connsiteX401" fmla="*/ 20774 w 3024845"/>
                <a:gd name="connsiteY401" fmla="*/ 621511 h 1059043"/>
                <a:gd name="connsiteX402" fmla="*/ 24320 w 3024845"/>
                <a:gd name="connsiteY402" fmla="*/ 613945 h 1059043"/>
                <a:gd name="connsiteX403" fmla="*/ 26094 w 3024845"/>
                <a:gd name="connsiteY403" fmla="*/ 614215 h 1059043"/>
                <a:gd name="connsiteX404" fmla="*/ 38507 w 3024845"/>
                <a:gd name="connsiteY404" fmla="*/ 616106 h 1059043"/>
                <a:gd name="connsiteX405" fmla="*/ 39014 w 3024845"/>
                <a:gd name="connsiteY405" fmla="*/ 617458 h 1059043"/>
                <a:gd name="connsiteX406" fmla="*/ 42560 w 3024845"/>
                <a:gd name="connsiteY406" fmla="*/ 626915 h 1059043"/>
                <a:gd name="connsiteX407" fmla="*/ 68907 w 3024845"/>
                <a:gd name="connsiteY407" fmla="*/ 629077 h 1059043"/>
                <a:gd name="connsiteX408" fmla="*/ 68907 w 3024845"/>
                <a:gd name="connsiteY408" fmla="*/ 505856 h 1059043"/>
                <a:gd name="connsiteX409" fmla="*/ 70934 w 3024845"/>
                <a:gd name="connsiteY409" fmla="*/ 505856 h 1059043"/>
                <a:gd name="connsiteX410" fmla="*/ 85121 w 3024845"/>
                <a:gd name="connsiteY410" fmla="*/ 505856 h 1059043"/>
                <a:gd name="connsiteX411" fmla="*/ 85121 w 3024845"/>
                <a:gd name="connsiteY411" fmla="*/ 369664 h 1059043"/>
                <a:gd name="connsiteX412" fmla="*/ 86894 w 3024845"/>
                <a:gd name="connsiteY412" fmla="*/ 369664 h 1059043"/>
                <a:gd name="connsiteX413" fmla="*/ 99308 w 3024845"/>
                <a:gd name="connsiteY413" fmla="*/ 369664 h 1059043"/>
                <a:gd name="connsiteX414" fmla="*/ 99308 w 3024845"/>
                <a:gd name="connsiteY414" fmla="*/ 255090 h 1059043"/>
                <a:gd name="connsiteX415" fmla="*/ 103361 w 3024845"/>
                <a:gd name="connsiteY415" fmla="*/ 226986 h 1059043"/>
                <a:gd name="connsiteX416" fmla="*/ 105388 w 3024845"/>
                <a:gd name="connsiteY416" fmla="*/ 226986 h 1059043"/>
                <a:gd name="connsiteX417" fmla="*/ 119575 w 3024845"/>
                <a:gd name="connsiteY417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0186 w 3024845"/>
                <a:gd name="connsiteY310" fmla="*/ 302649 h 1059043"/>
                <a:gd name="connsiteX311" fmla="*/ 2128026 w 3024845"/>
                <a:gd name="connsiteY311" fmla="*/ 281031 h 1059043"/>
                <a:gd name="connsiteX312" fmla="*/ 2121946 w 3024845"/>
                <a:gd name="connsiteY312" fmla="*/ 276707 h 1059043"/>
                <a:gd name="connsiteX313" fmla="*/ 2130053 w 3024845"/>
                <a:gd name="connsiteY313" fmla="*/ 252928 h 1059043"/>
                <a:gd name="connsiteX314" fmla="*/ 2130053 w 3024845"/>
                <a:gd name="connsiteY314" fmla="*/ 235634 h 1059043"/>
                <a:gd name="connsiteX315" fmla="*/ 2144240 w 3024845"/>
                <a:gd name="connsiteY315" fmla="*/ 235634 h 1059043"/>
                <a:gd name="connsiteX316" fmla="*/ 2144240 w 3024845"/>
                <a:gd name="connsiteY316" fmla="*/ 214016 h 1059043"/>
                <a:gd name="connsiteX317" fmla="*/ 2146266 w 3024845"/>
                <a:gd name="connsiteY317" fmla="*/ 209692 h 1059043"/>
                <a:gd name="connsiteX318" fmla="*/ 2146266 w 3024845"/>
                <a:gd name="connsiteY318" fmla="*/ 131868 h 1059043"/>
                <a:gd name="connsiteX319" fmla="*/ 2144240 w 3024845"/>
                <a:gd name="connsiteY319" fmla="*/ 125383 h 1059043"/>
                <a:gd name="connsiteX320" fmla="*/ 2150320 w 3024845"/>
                <a:gd name="connsiteY320" fmla="*/ 118897 h 1059043"/>
                <a:gd name="connsiteX321" fmla="*/ 2150320 w 3024845"/>
                <a:gd name="connsiteY321" fmla="*/ 60529 h 1059043"/>
                <a:gd name="connsiteX322" fmla="*/ 2152346 w 3024845"/>
                <a:gd name="connsiteY322" fmla="*/ 56206 h 1059043"/>
                <a:gd name="connsiteX323" fmla="*/ 2152346 w 3024845"/>
                <a:gd name="connsiteY323" fmla="*/ 0 h 1059043"/>
                <a:gd name="connsiteX324" fmla="*/ 2162480 w 3024845"/>
                <a:gd name="connsiteY324" fmla="*/ 118897 h 1059043"/>
                <a:gd name="connsiteX325" fmla="*/ 2168560 w 3024845"/>
                <a:gd name="connsiteY325" fmla="*/ 125383 h 1059043"/>
                <a:gd name="connsiteX326" fmla="*/ 2166533 w 3024845"/>
                <a:gd name="connsiteY326" fmla="*/ 131868 h 1059043"/>
                <a:gd name="connsiteX327" fmla="*/ 2166533 w 3024845"/>
                <a:gd name="connsiteY327" fmla="*/ 209692 h 1059043"/>
                <a:gd name="connsiteX328" fmla="*/ 2168560 w 3024845"/>
                <a:gd name="connsiteY328" fmla="*/ 214016 h 1059043"/>
                <a:gd name="connsiteX329" fmla="*/ 2168560 w 3024845"/>
                <a:gd name="connsiteY329" fmla="*/ 235634 h 1059043"/>
                <a:gd name="connsiteX330" fmla="*/ 2182747 w 3024845"/>
                <a:gd name="connsiteY330" fmla="*/ 235634 h 1059043"/>
                <a:gd name="connsiteX331" fmla="*/ 2182747 w 3024845"/>
                <a:gd name="connsiteY331" fmla="*/ 252928 h 1059043"/>
                <a:gd name="connsiteX332" fmla="*/ 2190854 w 3024845"/>
                <a:gd name="connsiteY332" fmla="*/ 276707 h 1059043"/>
                <a:gd name="connsiteX333" fmla="*/ 2180720 w 3024845"/>
                <a:gd name="connsiteY333" fmla="*/ 555577 h 1059043"/>
                <a:gd name="connsiteX334" fmla="*/ 2245574 w 3024845"/>
                <a:gd name="connsiteY334" fmla="*/ 555577 h 1059043"/>
                <a:gd name="connsiteX335" fmla="*/ 2245574 w 3024845"/>
                <a:gd name="connsiteY335" fmla="*/ 631239 h 1059043"/>
                <a:gd name="connsiteX336" fmla="*/ 2253681 w 3024845"/>
                <a:gd name="connsiteY336" fmla="*/ 631239 h 1059043"/>
                <a:gd name="connsiteX337" fmla="*/ 2255708 w 3024845"/>
                <a:gd name="connsiteY337" fmla="*/ 624754 h 1059043"/>
                <a:gd name="connsiteX338" fmla="*/ 2261788 w 3024845"/>
                <a:gd name="connsiteY338" fmla="*/ 624754 h 1059043"/>
                <a:gd name="connsiteX339" fmla="*/ 2263815 w 3024845"/>
                <a:gd name="connsiteY339" fmla="*/ 633401 h 1059043"/>
                <a:gd name="connsiteX340" fmla="*/ 2275975 w 3024845"/>
                <a:gd name="connsiteY340" fmla="*/ 633401 h 1059043"/>
                <a:gd name="connsiteX341" fmla="*/ 2275975 w 3024845"/>
                <a:gd name="connsiteY341" fmla="*/ 626915 h 1059043"/>
                <a:gd name="connsiteX342" fmla="*/ 2298268 w 3024845"/>
                <a:gd name="connsiteY342" fmla="*/ 626915 h 1059043"/>
                <a:gd name="connsiteX343" fmla="*/ 2298268 w 3024845"/>
                <a:gd name="connsiteY343" fmla="*/ 633401 h 1059043"/>
                <a:gd name="connsiteX344" fmla="*/ 2318535 w 3024845"/>
                <a:gd name="connsiteY344" fmla="*/ 633401 h 1059043"/>
                <a:gd name="connsiteX345" fmla="*/ 2318535 w 3024845"/>
                <a:gd name="connsiteY345" fmla="*/ 678798 h 1059043"/>
                <a:gd name="connsiteX346" fmla="*/ 2332722 w 3024845"/>
                <a:gd name="connsiteY346" fmla="*/ 678798 h 1059043"/>
                <a:gd name="connsiteX347" fmla="*/ 2332722 w 3024845"/>
                <a:gd name="connsiteY347" fmla="*/ 665827 h 1059043"/>
                <a:gd name="connsiteX348" fmla="*/ 2348936 w 3024845"/>
                <a:gd name="connsiteY348" fmla="*/ 665827 h 1059043"/>
                <a:gd name="connsiteX349" fmla="*/ 2348936 w 3024845"/>
                <a:gd name="connsiteY349" fmla="*/ 486400 h 1059043"/>
                <a:gd name="connsiteX350" fmla="*/ 2355016 w 3024845"/>
                <a:gd name="connsiteY350" fmla="*/ 479914 h 1059043"/>
                <a:gd name="connsiteX351" fmla="*/ 2427977 w 3024845"/>
                <a:gd name="connsiteY351" fmla="*/ 479914 h 1059043"/>
                <a:gd name="connsiteX352" fmla="*/ 2427977 w 3024845"/>
                <a:gd name="connsiteY352" fmla="*/ 488562 h 1059043"/>
                <a:gd name="connsiteX353" fmla="*/ 2438110 w 3024845"/>
                <a:gd name="connsiteY353" fmla="*/ 488562 h 1059043"/>
                <a:gd name="connsiteX354" fmla="*/ 2438110 w 3024845"/>
                <a:gd name="connsiteY354" fmla="*/ 603136 h 1059043"/>
                <a:gd name="connsiteX355" fmla="*/ 2460404 w 3024845"/>
                <a:gd name="connsiteY355" fmla="*/ 603136 h 1059043"/>
                <a:gd name="connsiteX356" fmla="*/ 2460404 w 3024845"/>
                <a:gd name="connsiteY356" fmla="*/ 536121 h 1059043"/>
                <a:gd name="connsiteX357" fmla="*/ 2486751 w 3024845"/>
                <a:gd name="connsiteY357" fmla="*/ 536121 h 1059043"/>
                <a:gd name="connsiteX358" fmla="*/ 2490804 w 3024845"/>
                <a:gd name="connsiteY358" fmla="*/ 531797 h 1059043"/>
                <a:gd name="connsiteX359" fmla="*/ 2498911 w 3024845"/>
                <a:gd name="connsiteY359" fmla="*/ 531797 h 1059043"/>
                <a:gd name="connsiteX360" fmla="*/ 2502964 w 3024845"/>
                <a:gd name="connsiteY360" fmla="*/ 536121 h 1059043"/>
                <a:gd name="connsiteX361" fmla="*/ 2525258 w 3024845"/>
                <a:gd name="connsiteY361" fmla="*/ 536121 h 1059043"/>
                <a:gd name="connsiteX362" fmla="*/ 2525258 w 3024845"/>
                <a:gd name="connsiteY362" fmla="*/ 419385 h 1059043"/>
                <a:gd name="connsiteX363" fmla="*/ 2582005 w 3024845"/>
                <a:gd name="connsiteY363" fmla="*/ 408576 h 1059043"/>
                <a:gd name="connsiteX364" fmla="*/ 2582005 w 3024845"/>
                <a:gd name="connsiteY364" fmla="*/ 409657 h 1059043"/>
                <a:gd name="connsiteX365" fmla="*/ 2582005 w 3024845"/>
                <a:gd name="connsiteY365" fmla="*/ 417223 h 1059043"/>
                <a:gd name="connsiteX366" fmla="*/ 2608352 w 3024845"/>
                <a:gd name="connsiteY366" fmla="*/ 417223 h 1059043"/>
                <a:gd name="connsiteX367" fmla="*/ 2608352 w 3024845"/>
                <a:gd name="connsiteY367" fmla="*/ 672313 h 1059043"/>
                <a:gd name="connsiteX368" fmla="*/ 2630646 w 3024845"/>
                <a:gd name="connsiteY368" fmla="*/ 672313 h 1059043"/>
                <a:gd name="connsiteX369" fmla="*/ 2630646 w 3024845"/>
                <a:gd name="connsiteY369" fmla="*/ 667989 h 1059043"/>
                <a:gd name="connsiteX370" fmla="*/ 2642806 w 3024845"/>
                <a:gd name="connsiteY370" fmla="*/ 667989 h 1059043"/>
                <a:gd name="connsiteX371" fmla="*/ 2642806 w 3024845"/>
                <a:gd name="connsiteY371" fmla="*/ 672313 h 1059043"/>
                <a:gd name="connsiteX372" fmla="*/ 2667126 w 3024845"/>
                <a:gd name="connsiteY372" fmla="*/ 672313 h 1059043"/>
                <a:gd name="connsiteX373" fmla="*/ 2667126 w 3024845"/>
                <a:gd name="connsiteY373" fmla="*/ 659342 h 1059043"/>
                <a:gd name="connsiteX374" fmla="*/ 2695500 w 3024845"/>
                <a:gd name="connsiteY374" fmla="*/ 659342 h 1059043"/>
                <a:gd name="connsiteX375" fmla="*/ 2707660 w 3024845"/>
                <a:gd name="connsiteY375" fmla="*/ 655018 h 1059043"/>
                <a:gd name="connsiteX376" fmla="*/ 2727927 w 3024845"/>
                <a:gd name="connsiteY376" fmla="*/ 659342 h 1059043"/>
                <a:gd name="connsiteX377" fmla="*/ 2727927 w 3024845"/>
                <a:gd name="connsiteY377" fmla="*/ 642048 h 1059043"/>
                <a:gd name="connsiteX378" fmla="*/ 2736034 w 3024845"/>
                <a:gd name="connsiteY378" fmla="*/ 642048 h 1059043"/>
                <a:gd name="connsiteX379" fmla="*/ 2736034 w 3024845"/>
                <a:gd name="connsiteY379" fmla="*/ 629077 h 1059043"/>
                <a:gd name="connsiteX380" fmla="*/ 2792781 w 3024845"/>
                <a:gd name="connsiteY380" fmla="*/ 629077 h 1059043"/>
                <a:gd name="connsiteX381" fmla="*/ 2792781 w 3024845"/>
                <a:gd name="connsiteY381" fmla="*/ 598812 h 1059043"/>
                <a:gd name="connsiteX382" fmla="*/ 2811021 w 3024845"/>
                <a:gd name="connsiteY382" fmla="*/ 598812 h 1059043"/>
                <a:gd name="connsiteX383" fmla="*/ 2811021 w 3024845"/>
                <a:gd name="connsiteY383" fmla="*/ 592327 h 1059043"/>
                <a:gd name="connsiteX384" fmla="*/ 2823181 w 3024845"/>
                <a:gd name="connsiteY384" fmla="*/ 592327 h 1059043"/>
                <a:gd name="connsiteX385" fmla="*/ 2823181 w 3024845"/>
                <a:gd name="connsiteY385" fmla="*/ 598812 h 1059043"/>
                <a:gd name="connsiteX386" fmla="*/ 2839395 w 3024845"/>
                <a:gd name="connsiteY386" fmla="*/ 598812 h 1059043"/>
                <a:gd name="connsiteX387" fmla="*/ 2839395 w 3024845"/>
                <a:gd name="connsiteY387" fmla="*/ 648533 h 1059043"/>
                <a:gd name="connsiteX388" fmla="*/ 2871822 w 3024845"/>
                <a:gd name="connsiteY388" fmla="*/ 648533 h 1059043"/>
                <a:gd name="connsiteX389" fmla="*/ 2871822 w 3024845"/>
                <a:gd name="connsiteY389" fmla="*/ 622592 h 1059043"/>
                <a:gd name="connsiteX390" fmla="*/ 2910329 w 3024845"/>
                <a:gd name="connsiteY390" fmla="*/ 622592 h 1059043"/>
                <a:gd name="connsiteX391" fmla="*/ 2910329 w 3024845"/>
                <a:gd name="connsiteY391" fmla="*/ 592327 h 1059043"/>
                <a:gd name="connsiteX392" fmla="*/ 2958970 w 3024845"/>
                <a:gd name="connsiteY392" fmla="*/ 592327 h 1059043"/>
                <a:gd name="connsiteX393" fmla="*/ 2958970 w 3024845"/>
                <a:gd name="connsiteY393" fmla="*/ 703483 h 1059043"/>
                <a:gd name="connsiteX394" fmla="*/ 2958970 w 3024845"/>
                <a:gd name="connsiteY394" fmla="*/ 717262 h 1059043"/>
                <a:gd name="connsiteX395" fmla="*/ 3024845 w 3024845"/>
                <a:gd name="connsiteY395" fmla="*/ 717262 h 1059043"/>
                <a:gd name="connsiteX396" fmla="*/ 3024845 w 3024845"/>
                <a:gd name="connsiteY396" fmla="*/ 1059043 h 1059043"/>
                <a:gd name="connsiteX397" fmla="*/ 2054 w 3024845"/>
                <a:gd name="connsiteY397" fmla="*/ 1056710 h 1059043"/>
                <a:gd name="connsiteX398" fmla="*/ 0 w 3024845"/>
                <a:gd name="connsiteY398" fmla="*/ 622592 h 1059043"/>
                <a:gd name="connsiteX399" fmla="*/ 20267 w 3024845"/>
                <a:gd name="connsiteY399" fmla="*/ 622592 h 1059043"/>
                <a:gd name="connsiteX400" fmla="*/ 20774 w 3024845"/>
                <a:gd name="connsiteY400" fmla="*/ 621511 h 1059043"/>
                <a:gd name="connsiteX401" fmla="*/ 24320 w 3024845"/>
                <a:gd name="connsiteY401" fmla="*/ 613945 h 1059043"/>
                <a:gd name="connsiteX402" fmla="*/ 26094 w 3024845"/>
                <a:gd name="connsiteY402" fmla="*/ 614215 h 1059043"/>
                <a:gd name="connsiteX403" fmla="*/ 38507 w 3024845"/>
                <a:gd name="connsiteY403" fmla="*/ 616106 h 1059043"/>
                <a:gd name="connsiteX404" fmla="*/ 39014 w 3024845"/>
                <a:gd name="connsiteY404" fmla="*/ 617458 h 1059043"/>
                <a:gd name="connsiteX405" fmla="*/ 42560 w 3024845"/>
                <a:gd name="connsiteY405" fmla="*/ 626915 h 1059043"/>
                <a:gd name="connsiteX406" fmla="*/ 68907 w 3024845"/>
                <a:gd name="connsiteY406" fmla="*/ 629077 h 1059043"/>
                <a:gd name="connsiteX407" fmla="*/ 68907 w 3024845"/>
                <a:gd name="connsiteY407" fmla="*/ 505856 h 1059043"/>
                <a:gd name="connsiteX408" fmla="*/ 70934 w 3024845"/>
                <a:gd name="connsiteY408" fmla="*/ 505856 h 1059043"/>
                <a:gd name="connsiteX409" fmla="*/ 85121 w 3024845"/>
                <a:gd name="connsiteY409" fmla="*/ 505856 h 1059043"/>
                <a:gd name="connsiteX410" fmla="*/ 85121 w 3024845"/>
                <a:gd name="connsiteY410" fmla="*/ 369664 h 1059043"/>
                <a:gd name="connsiteX411" fmla="*/ 86894 w 3024845"/>
                <a:gd name="connsiteY411" fmla="*/ 369664 h 1059043"/>
                <a:gd name="connsiteX412" fmla="*/ 99308 w 3024845"/>
                <a:gd name="connsiteY412" fmla="*/ 369664 h 1059043"/>
                <a:gd name="connsiteX413" fmla="*/ 99308 w 3024845"/>
                <a:gd name="connsiteY413" fmla="*/ 255090 h 1059043"/>
                <a:gd name="connsiteX414" fmla="*/ 103361 w 3024845"/>
                <a:gd name="connsiteY414" fmla="*/ 226986 h 1059043"/>
                <a:gd name="connsiteX415" fmla="*/ 105388 w 3024845"/>
                <a:gd name="connsiteY415" fmla="*/ 226986 h 1059043"/>
                <a:gd name="connsiteX416" fmla="*/ 119575 w 3024845"/>
                <a:gd name="connsiteY416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35634 h 1059043"/>
                <a:gd name="connsiteX330" fmla="*/ 2182747 w 3024845"/>
                <a:gd name="connsiteY330" fmla="*/ 252928 h 1059043"/>
                <a:gd name="connsiteX331" fmla="*/ 2190854 w 3024845"/>
                <a:gd name="connsiteY331" fmla="*/ 276707 h 1059043"/>
                <a:gd name="connsiteX332" fmla="*/ 2180720 w 3024845"/>
                <a:gd name="connsiteY332" fmla="*/ 555577 h 1059043"/>
                <a:gd name="connsiteX333" fmla="*/ 2245574 w 3024845"/>
                <a:gd name="connsiteY333" fmla="*/ 555577 h 1059043"/>
                <a:gd name="connsiteX334" fmla="*/ 2245574 w 3024845"/>
                <a:gd name="connsiteY334" fmla="*/ 631239 h 1059043"/>
                <a:gd name="connsiteX335" fmla="*/ 2253681 w 3024845"/>
                <a:gd name="connsiteY335" fmla="*/ 631239 h 1059043"/>
                <a:gd name="connsiteX336" fmla="*/ 2255708 w 3024845"/>
                <a:gd name="connsiteY336" fmla="*/ 624754 h 1059043"/>
                <a:gd name="connsiteX337" fmla="*/ 2261788 w 3024845"/>
                <a:gd name="connsiteY337" fmla="*/ 624754 h 1059043"/>
                <a:gd name="connsiteX338" fmla="*/ 2263815 w 3024845"/>
                <a:gd name="connsiteY338" fmla="*/ 633401 h 1059043"/>
                <a:gd name="connsiteX339" fmla="*/ 2275975 w 3024845"/>
                <a:gd name="connsiteY339" fmla="*/ 633401 h 1059043"/>
                <a:gd name="connsiteX340" fmla="*/ 2275975 w 3024845"/>
                <a:gd name="connsiteY340" fmla="*/ 626915 h 1059043"/>
                <a:gd name="connsiteX341" fmla="*/ 2298268 w 3024845"/>
                <a:gd name="connsiteY341" fmla="*/ 626915 h 1059043"/>
                <a:gd name="connsiteX342" fmla="*/ 2298268 w 3024845"/>
                <a:gd name="connsiteY342" fmla="*/ 633401 h 1059043"/>
                <a:gd name="connsiteX343" fmla="*/ 2318535 w 3024845"/>
                <a:gd name="connsiteY343" fmla="*/ 633401 h 1059043"/>
                <a:gd name="connsiteX344" fmla="*/ 2318535 w 3024845"/>
                <a:gd name="connsiteY344" fmla="*/ 678798 h 1059043"/>
                <a:gd name="connsiteX345" fmla="*/ 2332722 w 3024845"/>
                <a:gd name="connsiteY345" fmla="*/ 678798 h 1059043"/>
                <a:gd name="connsiteX346" fmla="*/ 2332722 w 3024845"/>
                <a:gd name="connsiteY346" fmla="*/ 665827 h 1059043"/>
                <a:gd name="connsiteX347" fmla="*/ 2348936 w 3024845"/>
                <a:gd name="connsiteY347" fmla="*/ 665827 h 1059043"/>
                <a:gd name="connsiteX348" fmla="*/ 2348936 w 3024845"/>
                <a:gd name="connsiteY348" fmla="*/ 486400 h 1059043"/>
                <a:gd name="connsiteX349" fmla="*/ 2355016 w 3024845"/>
                <a:gd name="connsiteY349" fmla="*/ 479914 h 1059043"/>
                <a:gd name="connsiteX350" fmla="*/ 2427977 w 3024845"/>
                <a:gd name="connsiteY350" fmla="*/ 479914 h 1059043"/>
                <a:gd name="connsiteX351" fmla="*/ 2427977 w 3024845"/>
                <a:gd name="connsiteY351" fmla="*/ 488562 h 1059043"/>
                <a:gd name="connsiteX352" fmla="*/ 2438110 w 3024845"/>
                <a:gd name="connsiteY352" fmla="*/ 488562 h 1059043"/>
                <a:gd name="connsiteX353" fmla="*/ 2438110 w 3024845"/>
                <a:gd name="connsiteY353" fmla="*/ 603136 h 1059043"/>
                <a:gd name="connsiteX354" fmla="*/ 2460404 w 3024845"/>
                <a:gd name="connsiteY354" fmla="*/ 603136 h 1059043"/>
                <a:gd name="connsiteX355" fmla="*/ 2460404 w 3024845"/>
                <a:gd name="connsiteY355" fmla="*/ 536121 h 1059043"/>
                <a:gd name="connsiteX356" fmla="*/ 2486751 w 3024845"/>
                <a:gd name="connsiteY356" fmla="*/ 536121 h 1059043"/>
                <a:gd name="connsiteX357" fmla="*/ 2490804 w 3024845"/>
                <a:gd name="connsiteY357" fmla="*/ 531797 h 1059043"/>
                <a:gd name="connsiteX358" fmla="*/ 2498911 w 3024845"/>
                <a:gd name="connsiteY358" fmla="*/ 531797 h 1059043"/>
                <a:gd name="connsiteX359" fmla="*/ 2502964 w 3024845"/>
                <a:gd name="connsiteY359" fmla="*/ 536121 h 1059043"/>
                <a:gd name="connsiteX360" fmla="*/ 2525258 w 3024845"/>
                <a:gd name="connsiteY360" fmla="*/ 536121 h 1059043"/>
                <a:gd name="connsiteX361" fmla="*/ 2525258 w 3024845"/>
                <a:gd name="connsiteY361" fmla="*/ 419385 h 1059043"/>
                <a:gd name="connsiteX362" fmla="*/ 2582005 w 3024845"/>
                <a:gd name="connsiteY362" fmla="*/ 408576 h 1059043"/>
                <a:gd name="connsiteX363" fmla="*/ 2582005 w 3024845"/>
                <a:gd name="connsiteY363" fmla="*/ 409657 h 1059043"/>
                <a:gd name="connsiteX364" fmla="*/ 2582005 w 3024845"/>
                <a:gd name="connsiteY364" fmla="*/ 417223 h 1059043"/>
                <a:gd name="connsiteX365" fmla="*/ 2608352 w 3024845"/>
                <a:gd name="connsiteY365" fmla="*/ 417223 h 1059043"/>
                <a:gd name="connsiteX366" fmla="*/ 2608352 w 3024845"/>
                <a:gd name="connsiteY366" fmla="*/ 672313 h 1059043"/>
                <a:gd name="connsiteX367" fmla="*/ 2630646 w 3024845"/>
                <a:gd name="connsiteY367" fmla="*/ 672313 h 1059043"/>
                <a:gd name="connsiteX368" fmla="*/ 2630646 w 3024845"/>
                <a:gd name="connsiteY368" fmla="*/ 667989 h 1059043"/>
                <a:gd name="connsiteX369" fmla="*/ 2642806 w 3024845"/>
                <a:gd name="connsiteY369" fmla="*/ 667989 h 1059043"/>
                <a:gd name="connsiteX370" fmla="*/ 2642806 w 3024845"/>
                <a:gd name="connsiteY370" fmla="*/ 672313 h 1059043"/>
                <a:gd name="connsiteX371" fmla="*/ 2667126 w 3024845"/>
                <a:gd name="connsiteY371" fmla="*/ 672313 h 1059043"/>
                <a:gd name="connsiteX372" fmla="*/ 2667126 w 3024845"/>
                <a:gd name="connsiteY372" fmla="*/ 659342 h 1059043"/>
                <a:gd name="connsiteX373" fmla="*/ 2695500 w 3024845"/>
                <a:gd name="connsiteY373" fmla="*/ 659342 h 1059043"/>
                <a:gd name="connsiteX374" fmla="*/ 2707660 w 3024845"/>
                <a:gd name="connsiteY374" fmla="*/ 655018 h 1059043"/>
                <a:gd name="connsiteX375" fmla="*/ 2727927 w 3024845"/>
                <a:gd name="connsiteY375" fmla="*/ 659342 h 1059043"/>
                <a:gd name="connsiteX376" fmla="*/ 2727927 w 3024845"/>
                <a:gd name="connsiteY376" fmla="*/ 642048 h 1059043"/>
                <a:gd name="connsiteX377" fmla="*/ 2736034 w 3024845"/>
                <a:gd name="connsiteY377" fmla="*/ 642048 h 1059043"/>
                <a:gd name="connsiteX378" fmla="*/ 2736034 w 3024845"/>
                <a:gd name="connsiteY378" fmla="*/ 629077 h 1059043"/>
                <a:gd name="connsiteX379" fmla="*/ 2792781 w 3024845"/>
                <a:gd name="connsiteY379" fmla="*/ 629077 h 1059043"/>
                <a:gd name="connsiteX380" fmla="*/ 2792781 w 3024845"/>
                <a:gd name="connsiteY380" fmla="*/ 598812 h 1059043"/>
                <a:gd name="connsiteX381" fmla="*/ 2811021 w 3024845"/>
                <a:gd name="connsiteY381" fmla="*/ 598812 h 1059043"/>
                <a:gd name="connsiteX382" fmla="*/ 2811021 w 3024845"/>
                <a:gd name="connsiteY382" fmla="*/ 592327 h 1059043"/>
                <a:gd name="connsiteX383" fmla="*/ 2823181 w 3024845"/>
                <a:gd name="connsiteY383" fmla="*/ 592327 h 1059043"/>
                <a:gd name="connsiteX384" fmla="*/ 2823181 w 3024845"/>
                <a:gd name="connsiteY384" fmla="*/ 598812 h 1059043"/>
                <a:gd name="connsiteX385" fmla="*/ 2839395 w 3024845"/>
                <a:gd name="connsiteY385" fmla="*/ 598812 h 1059043"/>
                <a:gd name="connsiteX386" fmla="*/ 2839395 w 3024845"/>
                <a:gd name="connsiteY386" fmla="*/ 648533 h 1059043"/>
                <a:gd name="connsiteX387" fmla="*/ 2871822 w 3024845"/>
                <a:gd name="connsiteY387" fmla="*/ 648533 h 1059043"/>
                <a:gd name="connsiteX388" fmla="*/ 2871822 w 3024845"/>
                <a:gd name="connsiteY388" fmla="*/ 622592 h 1059043"/>
                <a:gd name="connsiteX389" fmla="*/ 2910329 w 3024845"/>
                <a:gd name="connsiteY389" fmla="*/ 622592 h 1059043"/>
                <a:gd name="connsiteX390" fmla="*/ 2910329 w 3024845"/>
                <a:gd name="connsiteY390" fmla="*/ 592327 h 1059043"/>
                <a:gd name="connsiteX391" fmla="*/ 2958970 w 3024845"/>
                <a:gd name="connsiteY391" fmla="*/ 592327 h 1059043"/>
                <a:gd name="connsiteX392" fmla="*/ 2958970 w 3024845"/>
                <a:gd name="connsiteY392" fmla="*/ 703483 h 1059043"/>
                <a:gd name="connsiteX393" fmla="*/ 2958970 w 3024845"/>
                <a:gd name="connsiteY393" fmla="*/ 717262 h 1059043"/>
                <a:gd name="connsiteX394" fmla="*/ 3024845 w 3024845"/>
                <a:gd name="connsiteY394" fmla="*/ 717262 h 1059043"/>
                <a:gd name="connsiteX395" fmla="*/ 3024845 w 3024845"/>
                <a:gd name="connsiteY395" fmla="*/ 1059043 h 1059043"/>
                <a:gd name="connsiteX396" fmla="*/ 2054 w 3024845"/>
                <a:gd name="connsiteY396" fmla="*/ 1056710 h 1059043"/>
                <a:gd name="connsiteX397" fmla="*/ 0 w 3024845"/>
                <a:gd name="connsiteY397" fmla="*/ 622592 h 1059043"/>
                <a:gd name="connsiteX398" fmla="*/ 20267 w 3024845"/>
                <a:gd name="connsiteY398" fmla="*/ 622592 h 1059043"/>
                <a:gd name="connsiteX399" fmla="*/ 20774 w 3024845"/>
                <a:gd name="connsiteY399" fmla="*/ 621511 h 1059043"/>
                <a:gd name="connsiteX400" fmla="*/ 24320 w 3024845"/>
                <a:gd name="connsiteY400" fmla="*/ 613945 h 1059043"/>
                <a:gd name="connsiteX401" fmla="*/ 26094 w 3024845"/>
                <a:gd name="connsiteY401" fmla="*/ 614215 h 1059043"/>
                <a:gd name="connsiteX402" fmla="*/ 38507 w 3024845"/>
                <a:gd name="connsiteY402" fmla="*/ 616106 h 1059043"/>
                <a:gd name="connsiteX403" fmla="*/ 39014 w 3024845"/>
                <a:gd name="connsiteY403" fmla="*/ 617458 h 1059043"/>
                <a:gd name="connsiteX404" fmla="*/ 42560 w 3024845"/>
                <a:gd name="connsiteY404" fmla="*/ 626915 h 1059043"/>
                <a:gd name="connsiteX405" fmla="*/ 68907 w 3024845"/>
                <a:gd name="connsiteY405" fmla="*/ 629077 h 1059043"/>
                <a:gd name="connsiteX406" fmla="*/ 68907 w 3024845"/>
                <a:gd name="connsiteY406" fmla="*/ 505856 h 1059043"/>
                <a:gd name="connsiteX407" fmla="*/ 70934 w 3024845"/>
                <a:gd name="connsiteY407" fmla="*/ 505856 h 1059043"/>
                <a:gd name="connsiteX408" fmla="*/ 85121 w 3024845"/>
                <a:gd name="connsiteY408" fmla="*/ 505856 h 1059043"/>
                <a:gd name="connsiteX409" fmla="*/ 85121 w 3024845"/>
                <a:gd name="connsiteY409" fmla="*/ 369664 h 1059043"/>
                <a:gd name="connsiteX410" fmla="*/ 86894 w 3024845"/>
                <a:gd name="connsiteY410" fmla="*/ 369664 h 1059043"/>
                <a:gd name="connsiteX411" fmla="*/ 99308 w 3024845"/>
                <a:gd name="connsiteY411" fmla="*/ 369664 h 1059043"/>
                <a:gd name="connsiteX412" fmla="*/ 99308 w 3024845"/>
                <a:gd name="connsiteY412" fmla="*/ 255090 h 1059043"/>
                <a:gd name="connsiteX413" fmla="*/ 103361 w 3024845"/>
                <a:gd name="connsiteY413" fmla="*/ 226986 h 1059043"/>
                <a:gd name="connsiteX414" fmla="*/ 105388 w 3024845"/>
                <a:gd name="connsiteY414" fmla="*/ 226986 h 1059043"/>
                <a:gd name="connsiteX415" fmla="*/ 119575 w 3024845"/>
                <a:gd name="connsiteY415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52928 h 1059043"/>
                <a:gd name="connsiteX330" fmla="*/ 2190854 w 3024845"/>
                <a:gd name="connsiteY330" fmla="*/ 276707 h 1059043"/>
                <a:gd name="connsiteX331" fmla="*/ 2180720 w 3024845"/>
                <a:gd name="connsiteY331" fmla="*/ 555577 h 1059043"/>
                <a:gd name="connsiteX332" fmla="*/ 2245574 w 3024845"/>
                <a:gd name="connsiteY332" fmla="*/ 555577 h 1059043"/>
                <a:gd name="connsiteX333" fmla="*/ 2245574 w 3024845"/>
                <a:gd name="connsiteY333" fmla="*/ 631239 h 1059043"/>
                <a:gd name="connsiteX334" fmla="*/ 2253681 w 3024845"/>
                <a:gd name="connsiteY334" fmla="*/ 631239 h 1059043"/>
                <a:gd name="connsiteX335" fmla="*/ 2255708 w 3024845"/>
                <a:gd name="connsiteY335" fmla="*/ 624754 h 1059043"/>
                <a:gd name="connsiteX336" fmla="*/ 2261788 w 3024845"/>
                <a:gd name="connsiteY336" fmla="*/ 624754 h 1059043"/>
                <a:gd name="connsiteX337" fmla="*/ 2263815 w 3024845"/>
                <a:gd name="connsiteY337" fmla="*/ 633401 h 1059043"/>
                <a:gd name="connsiteX338" fmla="*/ 2275975 w 3024845"/>
                <a:gd name="connsiteY338" fmla="*/ 633401 h 1059043"/>
                <a:gd name="connsiteX339" fmla="*/ 2275975 w 3024845"/>
                <a:gd name="connsiteY339" fmla="*/ 626915 h 1059043"/>
                <a:gd name="connsiteX340" fmla="*/ 2298268 w 3024845"/>
                <a:gd name="connsiteY340" fmla="*/ 626915 h 1059043"/>
                <a:gd name="connsiteX341" fmla="*/ 2298268 w 3024845"/>
                <a:gd name="connsiteY341" fmla="*/ 633401 h 1059043"/>
                <a:gd name="connsiteX342" fmla="*/ 2318535 w 3024845"/>
                <a:gd name="connsiteY342" fmla="*/ 633401 h 1059043"/>
                <a:gd name="connsiteX343" fmla="*/ 2318535 w 3024845"/>
                <a:gd name="connsiteY343" fmla="*/ 678798 h 1059043"/>
                <a:gd name="connsiteX344" fmla="*/ 2332722 w 3024845"/>
                <a:gd name="connsiteY344" fmla="*/ 678798 h 1059043"/>
                <a:gd name="connsiteX345" fmla="*/ 2332722 w 3024845"/>
                <a:gd name="connsiteY345" fmla="*/ 665827 h 1059043"/>
                <a:gd name="connsiteX346" fmla="*/ 2348936 w 3024845"/>
                <a:gd name="connsiteY346" fmla="*/ 665827 h 1059043"/>
                <a:gd name="connsiteX347" fmla="*/ 2348936 w 3024845"/>
                <a:gd name="connsiteY347" fmla="*/ 486400 h 1059043"/>
                <a:gd name="connsiteX348" fmla="*/ 2355016 w 3024845"/>
                <a:gd name="connsiteY348" fmla="*/ 479914 h 1059043"/>
                <a:gd name="connsiteX349" fmla="*/ 2427977 w 3024845"/>
                <a:gd name="connsiteY349" fmla="*/ 479914 h 1059043"/>
                <a:gd name="connsiteX350" fmla="*/ 2427977 w 3024845"/>
                <a:gd name="connsiteY350" fmla="*/ 488562 h 1059043"/>
                <a:gd name="connsiteX351" fmla="*/ 2438110 w 3024845"/>
                <a:gd name="connsiteY351" fmla="*/ 488562 h 1059043"/>
                <a:gd name="connsiteX352" fmla="*/ 2438110 w 3024845"/>
                <a:gd name="connsiteY352" fmla="*/ 603136 h 1059043"/>
                <a:gd name="connsiteX353" fmla="*/ 2460404 w 3024845"/>
                <a:gd name="connsiteY353" fmla="*/ 603136 h 1059043"/>
                <a:gd name="connsiteX354" fmla="*/ 2460404 w 3024845"/>
                <a:gd name="connsiteY354" fmla="*/ 536121 h 1059043"/>
                <a:gd name="connsiteX355" fmla="*/ 2486751 w 3024845"/>
                <a:gd name="connsiteY355" fmla="*/ 536121 h 1059043"/>
                <a:gd name="connsiteX356" fmla="*/ 2490804 w 3024845"/>
                <a:gd name="connsiteY356" fmla="*/ 531797 h 1059043"/>
                <a:gd name="connsiteX357" fmla="*/ 2498911 w 3024845"/>
                <a:gd name="connsiteY357" fmla="*/ 531797 h 1059043"/>
                <a:gd name="connsiteX358" fmla="*/ 2502964 w 3024845"/>
                <a:gd name="connsiteY358" fmla="*/ 536121 h 1059043"/>
                <a:gd name="connsiteX359" fmla="*/ 2525258 w 3024845"/>
                <a:gd name="connsiteY359" fmla="*/ 536121 h 1059043"/>
                <a:gd name="connsiteX360" fmla="*/ 2525258 w 3024845"/>
                <a:gd name="connsiteY360" fmla="*/ 419385 h 1059043"/>
                <a:gd name="connsiteX361" fmla="*/ 2582005 w 3024845"/>
                <a:gd name="connsiteY361" fmla="*/ 408576 h 1059043"/>
                <a:gd name="connsiteX362" fmla="*/ 2582005 w 3024845"/>
                <a:gd name="connsiteY362" fmla="*/ 409657 h 1059043"/>
                <a:gd name="connsiteX363" fmla="*/ 2582005 w 3024845"/>
                <a:gd name="connsiteY363" fmla="*/ 417223 h 1059043"/>
                <a:gd name="connsiteX364" fmla="*/ 2608352 w 3024845"/>
                <a:gd name="connsiteY364" fmla="*/ 417223 h 1059043"/>
                <a:gd name="connsiteX365" fmla="*/ 2608352 w 3024845"/>
                <a:gd name="connsiteY365" fmla="*/ 672313 h 1059043"/>
                <a:gd name="connsiteX366" fmla="*/ 2630646 w 3024845"/>
                <a:gd name="connsiteY366" fmla="*/ 672313 h 1059043"/>
                <a:gd name="connsiteX367" fmla="*/ 2630646 w 3024845"/>
                <a:gd name="connsiteY367" fmla="*/ 667989 h 1059043"/>
                <a:gd name="connsiteX368" fmla="*/ 2642806 w 3024845"/>
                <a:gd name="connsiteY368" fmla="*/ 667989 h 1059043"/>
                <a:gd name="connsiteX369" fmla="*/ 2642806 w 3024845"/>
                <a:gd name="connsiteY369" fmla="*/ 672313 h 1059043"/>
                <a:gd name="connsiteX370" fmla="*/ 2667126 w 3024845"/>
                <a:gd name="connsiteY370" fmla="*/ 672313 h 1059043"/>
                <a:gd name="connsiteX371" fmla="*/ 2667126 w 3024845"/>
                <a:gd name="connsiteY371" fmla="*/ 659342 h 1059043"/>
                <a:gd name="connsiteX372" fmla="*/ 2695500 w 3024845"/>
                <a:gd name="connsiteY372" fmla="*/ 659342 h 1059043"/>
                <a:gd name="connsiteX373" fmla="*/ 2707660 w 3024845"/>
                <a:gd name="connsiteY373" fmla="*/ 655018 h 1059043"/>
                <a:gd name="connsiteX374" fmla="*/ 2727927 w 3024845"/>
                <a:gd name="connsiteY374" fmla="*/ 659342 h 1059043"/>
                <a:gd name="connsiteX375" fmla="*/ 2727927 w 3024845"/>
                <a:gd name="connsiteY375" fmla="*/ 642048 h 1059043"/>
                <a:gd name="connsiteX376" fmla="*/ 2736034 w 3024845"/>
                <a:gd name="connsiteY376" fmla="*/ 642048 h 1059043"/>
                <a:gd name="connsiteX377" fmla="*/ 2736034 w 3024845"/>
                <a:gd name="connsiteY377" fmla="*/ 629077 h 1059043"/>
                <a:gd name="connsiteX378" fmla="*/ 2792781 w 3024845"/>
                <a:gd name="connsiteY378" fmla="*/ 629077 h 1059043"/>
                <a:gd name="connsiteX379" fmla="*/ 2792781 w 3024845"/>
                <a:gd name="connsiteY379" fmla="*/ 598812 h 1059043"/>
                <a:gd name="connsiteX380" fmla="*/ 2811021 w 3024845"/>
                <a:gd name="connsiteY380" fmla="*/ 598812 h 1059043"/>
                <a:gd name="connsiteX381" fmla="*/ 2811021 w 3024845"/>
                <a:gd name="connsiteY381" fmla="*/ 592327 h 1059043"/>
                <a:gd name="connsiteX382" fmla="*/ 2823181 w 3024845"/>
                <a:gd name="connsiteY382" fmla="*/ 592327 h 1059043"/>
                <a:gd name="connsiteX383" fmla="*/ 2823181 w 3024845"/>
                <a:gd name="connsiteY383" fmla="*/ 598812 h 1059043"/>
                <a:gd name="connsiteX384" fmla="*/ 2839395 w 3024845"/>
                <a:gd name="connsiteY384" fmla="*/ 598812 h 1059043"/>
                <a:gd name="connsiteX385" fmla="*/ 2839395 w 3024845"/>
                <a:gd name="connsiteY385" fmla="*/ 648533 h 1059043"/>
                <a:gd name="connsiteX386" fmla="*/ 2871822 w 3024845"/>
                <a:gd name="connsiteY386" fmla="*/ 648533 h 1059043"/>
                <a:gd name="connsiteX387" fmla="*/ 2871822 w 3024845"/>
                <a:gd name="connsiteY387" fmla="*/ 622592 h 1059043"/>
                <a:gd name="connsiteX388" fmla="*/ 2910329 w 3024845"/>
                <a:gd name="connsiteY388" fmla="*/ 622592 h 1059043"/>
                <a:gd name="connsiteX389" fmla="*/ 2910329 w 3024845"/>
                <a:gd name="connsiteY389" fmla="*/ 592327 h 1059043"/>
                <a:gd name="connsiteX390" fmla="*/ 2958970 w 3024845"/>
                <a:gd name="connsiteY390" fmla="*/ 592327 h 1059043"/>
                <a:gd name="connsiteX391" fmla="*/ 2958970 w 3024845"/>
                <a:gd name="connsiteY391" fmla="*/ 703483 h 1059043"/>
                <a:gd name="connsiteX392" fmla="*/ 2958970 w 3024845"/>
                <a:gd name="connsiteY392" fmla="*/ 717262 h 1059043"/>
                <a:gd name="connsiteX393" fmla="*/ 3024845 w 3024845"/>
                <a:gd name="connsiteY393" fmla="*/ 717262 h 1059043"/>
                <a:gd name="connsiteX394" fmla="*/ 3024845 w 3024845"/>
                <a:gd name="connsiteY394" fmla="*/ 1059043 h 1059043"/>
                <a:gd name="connsiteX395" fmla="*/ 2054 w 3024845"/>
                <a:gd name="connsiteY395" fmla="*/ 1056710 h 1059043"/>
                <a:gd name="connsiteX396" fmla="*/ 0 w 3024845"/>
                <a:gd name="connsiteY396" fmla="*/ 622592 h 1059043"/>
                <a:gd name="connsiteX397" fmla="*/ 20267 w 3024845"/>
                <a:gd name="connsiteY397" fmla="*/ 622592 h 1059043"/>
                <a:gd name="connsiteX398" fmla="*/ 20774 w 3024845"/>
                <a:gd name="connsiteY398" fmla="*/ 621511 h 1059043"/>
                <a:gd name="connsiteX399" fmla="*/ 24320 w 3024845"/>
                <a:gd name="connsiteY399" fmla="*/ 613945 h 1059043"/>
                <a:gd name="connsiteX400" fmla="*/ 26094 w 3024845"/>
                <a:gd name="connsiteY400" fmla="*/ 614215 h 1059043"/>
                <a:gd name="connsiteX401" fmla="*/ 38507 w 3024845"/>
                <a:gd name="connsiteY401" fmla="*/ 616106 h 1059043"/>
                <a:gd name="connsiteX402" fmla="*/ 39014 w 3024845"/>
                <a:gd name="connsiteY402" fmla="*/ 617458 h 1059043"/>
                <a:gd name="connsiteX403" fmla="*/ 42560 w 3024845"/>
                <a:gd name="connsiteY403" fmla="*/ 626915 h 1059043"/>
                <a:gd name="connsiteX404" fmla="*/ 68907 w 3024845"/>
                <a:gd name="connsiteY404" fmla="*/ 629077 h 1059043"/>
                <a:gd name="connsiteX405" fmla="*/ 68907 w 3024845"/>
                <a:gd name="connsiteY405" fmla="*/ 505856 h 1059043"/>
                <a:gd name="connsiteX406" fmla="*/ 70934 w 3024845"/>
                <a:gd name="connsiteY406" fmla="*/ 505856 h 1059043"/>
                <a:gd name="connsiteX407" fmla="*/ 85121 w 3024845"/>
                <a:gd name="connsiteY407" fmla="*/ 505856 h 1059043"/>
                <a:gd name="connsiteX408" fmla="*/ 85121 w 3024845"/>
                <a:gd name="connsiteY408" fmla="*/ 369664 h 1059043"/>
                <a:gd name="connsiteX409" fmla="*/ 86894 w 3024845"/>
                <a:gd name="connsiteY409" fmla="*/ 369664 h 1059043"/>
                <a:gd name="connsiteX410" fmla="*/ 99308 w 3024845"/>
                <a:gd name="connsiteY410" fmla="*/ 369664 h 1059043"/>
                <a:gd name="connsiteX411" fmla="*/ 99308 w 3024845"/>
                <a:gd name="connsiteY411" fmla="*/ 255090 h 1059043"/>
                <a:gd name="connsiteX412" fmla="*/ 103361 w 3024845"/>
                <a:gd name="connsiteY412" fmla="*/ 226986 h 1059043"/>
                <a:gd name="connsiteX413" fmla="*/ 105388 w 3024845"/>
                <a:gd name="connsiteY413" fmla="*/ 226986 h 1059043"/>
                <a:gd name="connsiteX414" fmla="*/ 119575 w 3024845"/>
                <a:gd name="connsiteY414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2747 w 3024845"/>
                <a:gd name="connsiteY329" fmla="*/ 252928 h 1059043"/>
                <a:gd name="connsiteX330" fmla="*/ 2180720 w 3024845"/>
                <a:gd name="connsiteY330" fmla="*/ 555577 h 1059043"/>
                <a:gd name="connsiteX331" fmla="*/ 2245574 w 3024845"/>
                <a:gd name="connsiteY331" fmla="*/ 555577 h 1059043"/>
                <a:gd name="connsiteX332" fmla="*/ 2245574 w 3024845"/>
                <a:gd name="connsiteY332" fmla="*/ 631239 h 1059043"/>
                <a:gd name="connsiteX333" fmla="*/ 2253681 w 3024845"/>
                <a:gd name="connsiteY333" fmla="*/ 631239 h 1059043"/>
                <a:gd name="connsiteX334" fmla="*/ 2255708 w 3024845"/>
                <a:gd name="connsiteY334" fmla="*/ 624754 h 1059043"/>
                <a:gd name="connsiteX335" fmla="*/ 2261788 w 3024845"/>
                <a:gd name="connsiteY335" fmla="*/ 624754 h 1059043"/>
                <a:gd name="connsiteX336" fmla="*/ 2263815 w 3024845"/>
                <a:gd name="connsiteY336" fmla="*/ 633401 h 1059043"/>
                <a:gd name="connsiteX337" fmla="*/ 2275975 w 3024845"/>
                <a:gd name="connsiteY337" fmla="*/ 633401 h 1059043"/>
                <a:gd name="connsiteX338" fmla="*/ 2275975 w 3024845"/>
                <a:gd name="connsiteY338" fmla="*/ 626915 h 1059043"/>
                <a:gd name="connsiteX339" fmla="*/ 2298268 w 3024845"/>
                <a:gd name="connsiteY339" fmla="*/ 626915 h 1059043"/>
                <a:gd name="connsiteX340" fmla="*/ 2298268 w 3024845"/>
                <a:gd name="connsiteY340" fmla="*/ 633401 h 1059043"/>
                <a:gd name="connsiteX341" fmla="*/ 2318535 w 3024845"/>
                <a:gd name="connsiteY341" fmla="*/ 633401 h 1059043"/>
                <a:gd name="connsiteX342" fmla="*/ 2318535 w 3024845"/>
                <a:gd name="connsiteY342" fmla="*/ 678798 h 1059043"/>
                <a:gd name="connsiteX343" fmla="*/ 2332722 w 3024845"/>
                <a:gd name="connsiteY343" fmla="*/ 678798 h 1059043"/>
                <a:gd name="connsiteX344" fmla="*/ 2332722 w 3024845"/>
                <a:gd name="connsiteY344" fmla="*/ 665827 h 1059043"/>
                <a:gd name="connsiteX345" fmla="*/ 2348936 w 3024845"/>
                <a:gd name="connsiteY345" fmla="*/ 665827 h 1059043"/>
                <a:gd name="connsiteX346" fmla="*/ 2348936 w 3024845"/>
                <a:gd name="connsiteY346" fmla="*/ 486400 h 1059043"/>
                <a:gd name="connsiteX347" fmla="*/ 2355016 w 3024845"/>
                <a:gd name="connsiteY347" fmla="*/ 479914 h 1059043"/>
                <a:gd name="connsiteX348" fmla="*/ 2427977 w 3024845"/>
                <a:gd name="connsiteY348" fmla="*/ 479914 h 1059043"/>
                <a:gd name="connsiteX349" fmla="*/ 2427977 w 3024845"/>
                <a:gd name="connsiteY349" fmla="*/ 488562 h 1059043"/>
                <a:gd name="connsiteX350" fmla="*/ 2438110 w 3024845"/>
                <a:gd name="connsiteY350" fmla="*/ 488562 h 1059043"/>
                <a:gd name="connsiteX351" fmla="*/ 2438110 w 3024845"/>
                <a:gd name="connsiteY351" fmla="*/ 603136 h 1059043"/>
                <a:gd name="connsiteX352" fmla="*/ 2460404 w 3024845"/>
                <a:gd name="connsiteY352" fmla="*/ 603136 h 1059043"/>
                <a:gd name="connsiteX353" fmla="*/ 2460404 w 3024845"/>
                <a:gd name="connsiteY353" fmla="*/ 536121 h 1059043"/>
                <a:gd name="connsiteX354" fmla="*/ 2486751 w 3024845"/>
                <a:gd name="connsiteY354" fmla="*/ 536121 h 1059043"/>
                <a:gd name="connsiteX355" fmla="*/ 2490804 w 3024845"/>
                <a:gd name="connsiteY355" fmla="*/ 531797 h 1059043"/>
                <a:gd name="connsiteX356" fmla="*/ 2498911 w 3024845"/>
                <a:gd name="connsiteY356" fmla="*/ 531797 h 1059043"/>
                <a:gd name="connsiteX357" fmla="*/ 2502964 w 3024845"/>
                <a:gd name="connsiteY357" fmla="*/ 536121 h 1059043"/>
                <a:gd name="connsiteX358" fmla="*/ 2525258 w 3024845"/>
                <a:gd name="connsiteY358" fmla="*/ 536121 h 1059043"/>
                <a:gd name="connsiteX359" fmla="*/ 2525258 w 3024845"/>
                <a:gd name="connsiteY359" fmla="*/ 419385 h 1059043"/>
                <a:gd name="connsiteX360" fmla="*/ 2582005 w 3024845"/>
                <a:gd name="connsiteY360" fmla="*/ 408576 h 1059043"/>
                <a:gd name="connsiteX361" fmla="*/ 2582005 w 3024845"/>
                <a:gd name="connsiteY361" fmla="*/ 409657 h 1059043"/>
                <a:gd name="connsiteX362" fmla="*/ 2582005 w 3024845"/>
                <a:gd name="connsiteY362" fmla="*/ 417223 h 1059043"/>
                <a:gd name="connsiteX363" fmla="*/ 2608352 w 3024845"/>
                <a:gd name="connsiteY363" fmla="*/ 417223 h 1059043"/>
                <a:gd name="connsiteX364" fmla="*/ 2608352 w 3024845"/>
                <a:gd name="connsiteY364" fmla="*/ 672313 h 1059043"/>
                <a:gd name="connsiteX365" fmla="*/ 2630646 w 3024845"/>
                <a:gd name="connsiteY365" fmla="*/ 672313 h 1059043"/>
                <a:gd name="connsiteX366" fmla="*/ 2630646 w 3024845"/>
                <a:gd name="connsiteY366" fmla="*/ 667989 h 1059043"/>
                <a:gd name="connsiteX367" fmla="*/ 2642806 w 3024845"/>
                <a:gd name="connsiteY367" fmla="*/ 667989 h 1059043"/>
                <a:gd name="connsiteX368" fmla="*/ 2642806 w 3024845"/>
                <a:gd name="connsiteY368" fmla="*/ 672313 h 1059043"/>
                <a:gd name="connsiteX369" fmla="*/ 2667126 w 3024845"/>
                <a:gd name="connsiteY369" fmla="*/ 672313 h 1059043"/>
                <a:gd name="connsiteX370" fmla="*/ 2667126 w 3024845"/>
                <a:gd name="connsiteY370" fmla="*/ 659342 h 1059043"/>
                <a:gd name="connsiteX371" fmla="*/ 2695500 w 3024845"/>
                <a:gd name="connsiteY371" fmla="*/ 659342 h 1059043"/>
                <a:gd name="connsiteX372" fmla="*/ 2707660 w 3024845"/>
                <a:gd name="connsiteY372" fmla="*/ 655018 h 1059043"/>
                <a:gd name="connsiteX373" fmla="*/ 2727927 w 3024845"/>
                <a:gd name="connsiteY373" fmla="*/ 659342 h 1059043"/>
                <a:gd name="connsiteX374" fmla="*/ 2727927 w 3024845"/>
                <a:gd name="connsiteY374" fmla="*/ 642048 h 1059043"/>
                <a:gd name="connsiteX375" fmla="*/ 2736034 w 3024845"/>
                <a:gd name="connsiteY375" fmla="*/ 642048 h 1059043"/>
                <a:gd name="connsiteX376" fmla="*/ 2736034 w 3024845"/>
                <a:gd name="connsiteY376" fmla="*/ 629077 h 1059043"/>
                <a:gd name="connsiteX377" fmla="*/ 2792781 w 3024845"/>
                <a:gd name="connsiteY377" fmla="*/ 629077 h 1059043"/>
                <a:gd name="connsiteX378" fmla="*/ 2792781 w 3024845"/>
                <a:gd name="connsiteY378" fmla="*/ 598812 h 1059043"/>
                <a:gd name="connsiteX379" fmla="*/ 2811021 w 3024845"/>
                <a:gd name="connsiteY379" fmla="*/ 598812 h 1059043"/>
                <a:gd name="connsiteX380" fmla="*/ 2811021 w 3024845"/>
                <a:gd name="connsiteY380" fmla="*/ 592327 h 1059043"/>
                <a:gd name="connsiteX381" fmla="*/ 2823181 w 3024845"/>
                <a:gd name="connsiteY381" fmla="*/ 592327 h 1059043"/>
                <a:gd name="connsiteX382" fmla="*/ 2823181 w 3024845"/>
                <a:gd name="connsiteY382" fmla="*/ 598812 h 1059043"/>
                <a:gd name="connsiteX383" fmla="*/ 2839395 w 3024845"/>
                <a:gd name="connsiteY383" fmla="*/ 598812 h 1059043"/>
                <a:gd name="connsiteX384" fmla="*/ 2839395 w 3024845"/>
                <a:gd name="connsiteY384" fmla="*/ 648533 h 1059043"/>
                <a:gd name="connsiteX385" fmla="*/ 2871822 w 3024845"/>
                <a:gd name="connsiteY385" fmla="*/ 648533 h 1059043"/>
                <a:gd name="connsiteX386" fmla="*/ 2871822 w 3024845"/>
                <a:gd name="connsiteY386" fmla="*/ 622592 h 1059043"/>
                <a:gd name="connsiteX387" fmla="*/ 2910329 w 3024845"/>
                <a:gd name="connsiteY387" fmla="*/ 622592 h 1059043"/>
                <a:gd name="connsiteX388" fmla="*/ 2910329 w 3024845"/>
                <a:gd name="connsiteY388" fmla="*/ 592327 h 1059043"/>
                <a:gd name="connsiteX389" fmla="*/ 2958970 w 3024845"/>
                <a:gd name="connsiteY389" fmla="*/ 592327 h 1059043"/>
                <a:gd name="connsiteX390" fmla="*/ 2958970 w 3024845"/>
                <a:gd name="connsiteY390" fmla="*/ 703483 h 1059043"/>
                <a:gd name="connsiteX391" fmla="*/ 2958970 w 3024845"/>
                <a:gd name="connsiteY391" fmla="*/ 717262 h 1059043"/>
                <a:gd name="connsiteX392" fmla="*/ 3024845 w 3024845"/>
                <a:gd name="connsiteY392" fmla="*/ 717262 h 1059043"/>
                <a:gd name="connsiteX393" fmla="*/ 3024845 w 3024845"/>
                <a:gd name="connsiteY393" fmla="*/ 1059043 h 1059043"/>
                <a:gd name="connsiteX394" fmla="*/ 2054 w 3024845"/>
                <a:gd name="connsiteY394" fmla="*/ 1056710 h 1059043"/>
                <a:gd name="connsiteX395" fmla="*/ 0 w 3024845"/>
                <a:gd name="connsiteY395" fmla="*/ 622592 h 1059043"/>
                <a:gd name="connsiteX396" fmla="*/ 20267 w 3024845"/>
                <a:gd name="connsiteY396" fmla="*/ 622592 h 1059043"/>
                <a:gd name="connsiteX397" fmla="*/ 20774 w 3024845"/>
                <a:gd name="connsiteY397" fmla="*/ 621511 h 1059043"/>
                <a:gd name="connsiteX398" fmla="*/ 24320 w 3024845"/>
                <a:gd name="connsiteY398" fmla="*/ 613945 h 1059043"/>
                <a:gd name="connsiteX399" fmla="*/ 26094 w 3024845"/>
                <a:gd name="connsiteY399" fmla="*/ 614215 h 1059043"/>
                <a:gd name="connsiteX400" fmla="*/ 38507 w 3024845"/>
                <a:gd name="connsiteY400" fmla="*/ 616106 h 1059043"/>
                <a:gd name="connsiteX401" fmla="*/ 39014 w 3024845"/>
                <a:gd name="connsiteY401" fmla="*/ 617458 h 1059043"/>
                <a:gd name="connsiteX402" fmla="*/ 42560 w 3024845"/>
                <a:gd name="connsiteY402" fmla="*/ 626915 h 1059043"/>
                <a:gd name="connsiteX403" fmla="*/ 68907 w 3024845"/>
                <a:gd name="connsiteY403" fmla="*/ 629077 h 1059043"/>
                <a:gd name="connsiteX404" fmla="*/ 68907 w 3024845"/>
                <a:gd name="connsiteY404" fmla="*/ 505856 h 1059043"/>
                <a:gd name="connsiteX405" fmla="*/ 70934 w 3024845"/>
                <a:gd name="connsiteY405" fmla="*/ 505856 h 1059043"/>
                <a:gd name="connsiteX406" fmla="*/ 85121 w 3024845"/>
                <a:gd name="connsiteY406" fmla="*/ 505856 h 1059043"/>
                <a:gd name="connsiteX407" fmla="*/ 85121 w 3024845"/>
                <a:gd name="connsiteY407" fmla="*/ 369664 h 1059043"/>
                <a:gd name="connsiteX408" fmla="*/ 86894 w 3024845"/>
                <a:gd name="connsiteY408" fmla="*/ 369664 h 1059043"/>
                <a:gd name="connsiteX409" fmla="*/ 99308 w 3024845"/>
                <a:gd name="connsiteY409" fmla="*/ 369664 h 1059043"/>
                <a:gd name="connsiteX410" fmla="*/ 99308 w 3024845"/>
                <a:gd name="connsiteY410" fmla="*/ 255090 h 1059043"/>
                <a:gd name="connsiteX411" fmla="*/ 103361 w 3024845"/>
                <a:gd name="connsiteY411" fmla="*/ 226986 h 1059043"/>
                <a:gd name="connsiteX412" fmla="*/ 105388 w 3024845"/>
                <a:gd name="connsiteY412" fmla="*/ 226986 h 1059043"/>
                <a:gd name="connsiteX413" fmla="*/ 119575 w 3024845"/>
                <a:gd name="connsiteY413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14016 h 1059043"/>
                <a:gd name="connsiteX328" fmla="*/ 2168560 w 3024845"/>
                <a:gd name="connsiteY328" fmla="*/ 235634 h 1059043"/>
                <a:gd name="connsiteX329" fmla="*/ 2180720 w 3024845"/>
                <a:gd name="connsiteY329" fmla="*/ 555577 h 1059043"/>
                <a:gd name="connsiteX330" fmla="*/ 2245574 w 3024845"/>
                <a:gd name="connsiteY330" fmla="*/ 555577 h 1059043"/>
                <a:gd name="connsiteX331" fmla="*/ 2245574 w 3024845"/>
                <a:gd name="connsiteY331" fmla="*/ 631239 h 1059043"/>
                <a:gd name="connsiteX332" fmla="*/ 2253681 w 3024845"/>
                <a:gd name="connsiteY332" fmla="*/ 631239 h 1059043"/>
                <a:gd name="connsiteX333" fmla="*/ 2255708 w 3024845"/>
                <a:gd name="connsiteY333" fmla="*/ 624754 h 1059043"/>
                <a:gd name="connsiteX334" fmla="*/ 2261788 w 3024845"/>
                <a:gd name="connsiteY334" fmla="*/ 624754 h 1059043"/>
                <a:gd name="connsiteX335" fmla="*/ 2263815 w 3024845"/>
                <a:gd name="connsiteY335" fmla="*/ 633401 h 1059043"/>
                <a:gd name="connsiteX336" fmla="*/ 2275975 w 3024845"/>
                <a:gd name="connsiteY336" fmla="*/ 633401 h 1059043"/>
                <a:gd name="connsiteX337" fmla="*/ 2275975 w 3024845"/>
                <a:gd name="connsiteY337" fmla="*/ 626915 h 1059043"/>
                <a:gd name="connsiteX338" fmla="*/ 2298268 w 3024845"/>
                <a:gd name="connsiteY338" fmla="*/ 626915 h 1059043"/>
                <a:gd name="connsiteX339" fmla="*/ 2298268 w 3024845"/>
                <a:gd name="connsiteY339" fmla="*/ 633401 h 1059043"/>
                <a:gd name="connsiteX340" fmla="*/ 2318535 w 3024845"/>
                <a:gd name="connsiteY340" fmla="*/ 633401 h 1059043"/>
                <a:gd name="connsiteX341" fmla="*/ 2318535 w 3024845"/>
                <a:gd name="connsiteY341" fmla="*/ 678798 h 1059043"/>
                <a:gd name="connsiteX342" fmla="*/ 2332722 w 3024845"/>
                <a:gd name="connsiteY342" fmla="*/ 678798 h 1059043"/>
                <a:gd name="connsiteX343" fmla="*/ 2332722 w 3024845"/>
                <a:gd name="connsiteY343" fmla="*/ 665827 h 1059043"/>
                <a:gd name="connsiteX344" fmla="*/ 2348936 w 3024845"/>
                <a:gd name="connsiteY344" fmla="*/ 665827 h 1059043"/>
                <a:gd name="connsiteX345" fmla="*/ 2348936 w 3024845"/>
                <a:gd name="connsiteY345" fmla="*/ 486400 h 1059043"/>
                <a:gd name="connsiteX346" fmla="*/ 2355016 w 3024845"/>
                <a:gd name="connsiteY346" fmla="*/ 479914 h 1059043"/>
                <a:gd name="connsiteX347" fmla="*/ 2427977 w 3024845"/>
                <a:gd name="connsiteY347" fmla="*/ 479914 h 1059043"/>
                <a:gd name="connsiteX348" fmla="*/ 2427977 w 3024845"/>
                <a:gd name="connsiteY348" fmla="*/ 488562 h 1059043"/>
                <a:gd name="connsiteX349" fmla="*/ 2438110 w 3024845"/>
                <a:gd name="connsiteY349" fmla="*/ 488562 h 1059043"/>
                <a:gd name="connsiteX350" fmla="*/ 2438110 w 3024845"/>
                <a:gd name="connsiteY350" fmla="*/ 603136 h 1059043"/>
                <a:gd name="connsiteX351" fmla="*/ 2460404 w 3024845"/>
                <a:gd name="connsiteY351" fmla="*/ 603136 h 1059043"/>
                <a:gd name="connsiteX352" fmla="*/ 2460404 w 3024845"/>
                <a:gd name="connsiteY352" fmla="*/ 536121 h 1059043"/>
                <a:gd name="connsiteX353" fmla="*/ 2486751 w 3024845"/>
                <a:gd name="connsiteY353" fmla="*/ 536121 h 1059043"/>
                <a:gd name="connsiteX354" fmla="*/ 2490804 w 3024845"/>
                <a:gd name="connsiteY354" fmla="*/ 531797 h 1059043"/>
                <a:gd name="connsiteX355" fmla="*/ 2498911 w 3024845"/>
                <a:gd name="connsiteY355" fmla="*/ 531797 h 1059043"/>
                <a:gd name="connsiteX356" fmla="*/ 2502964 w 3024845"/>
                <a:gd name="connsiteY356" fmla="*/ 536121 h 1059043"/>
                <a:gd name="connsiteX357" fmla="*/ 2525258 w 3024845"/>
                <a:gd name="connsiteY357" fmla="*/ 536121 h 1059043"/>
                <a:gd name="connsiteX358" fmla="*/ 2525258 w 3024845"/>
                <a:gd name="connsiteY358" fmla="*/ 419385 h 1059043"/>
                <a:gd name="connsiteX359" fmla="*/ 2582005 w 3024845"/>
                <a:gd name="connsiteY359" fmla="*/ 408576 h 1059043"/>
                <a:gd name="connsiteX360" fmla="*/ 2582005 w 3024845"/>
                <a:gd name="connsiteY360" fmla="*/ 409657 h 1059043"/>
                <a:gd name="connsiteX361" fmla="*/ 2582005 w 3024845"/>
                <a:gd name="connsiteY361" fmla="*/ 417223 h 1059043"/>
                <a:gd name="connsiteX362" fmla="*/ 2608352 w 3024845"/>
                <a:gd name="connsiteY362" fmla="*/ 417223 h 1059043"/>
                <a:gd name="connsiteX363" fmla="*/ 2608352 w 3024845"/>
                <a:gd name="connsiteY363" fmla="*/ 672313 h 1059043"/>
                <a:gd name="connsiteX364" fmla="*/ 2630646 w 3024845"/>
                <a:gd name="connsiteY364" fmla="*/ 672313 h 1059043"/>
                <a:gd name="connsiteX365" fmla="*/ 2630646 w 3024845"/>
                <a:gd name="connsiteY365" fmla="*/ 667989 h 1059043"/>
                <a:gd name="connsiteX366" fmla="*/ 2642806 w 3024845"/>
                <a:gd name="connsiteY366" fmla="*/ 667989 h 1059043"/>
                <a:gd name="connsiteX367" fmla="*/ 2642806 w 3024845"/>
                <a:gd name="connsiteY367" fmla="*/ 672313 h 1059043"/>
                <a:gd name="connsiteX368" fmla="*/ 2667126 w 3024845"/>
                <a:gd name="connsiteY368" fmla="*/ 672313 h 1059043"/>
                <a:gd name="connsiteX369" fmla="*/ 2667126 w 3024845"/>
                <a:gd name="connsiteY369" fmla="*/ 659342 h 1059043"/>
                <a:gd name="connsiteX370" fmla="*/ 2695500 w 3024845"/>
                <a:gd name="connsiteY370" fmla="*/ 659342 h 1059043"/>
                <a:gd name="connsiteX371" fmla="*/ 2707660 w 3024845"/>
                <a:gd name="connsiteY371" fmla="*/ 655018 h 1059043"/>
                <a:gd name="connsiteX372" fmla="*/ 2727927 w 3024845"/>
                <a:gd name="connsiteY372" fmla="*/ 659342 h 1059043"/>
                <a:gd name="connsiteX373" fmla="*/ 2727927 w 3024845"/>
                <a:gd name="connsiteY373" fmla="*/ 642048 h 1059043"/>
                <a:gd name="connsiteX374" fmla="*/ 2736034 w 3024845"/>
                <a:gd name="connsiteY374" fmla="*/ 642048 h 1059043"/>
                <a:gd name="connsiteX375" fmla="*/ 2736034 w 3024845"/>
                <a:gd name="connsiteY375" fmla="*/ 629077 h 1059043"/>
                <a:gd name="connsiteX376" fmla="*/ 2792781 w 3024845"/>
                <a:gd name="connsiteY376" fmla="*/ 629077 h 1059043"/>
                <a:gd name="connsiteX377" fmla="*/ 2792781 w 3024845"/>
                <a:gd name="connsiteY377" fmla="*/ 598812 h 1059043"/>
                <a:gd name="connsiteX378" fmla="*/ 2811021 w 3024845"/>
                <a:gd name="connsiteY378" fmla="*/ 598812 h 1059043"/>
                <a:gd name="connsiteX379" fmla="*/ 2811021 w 3024845"/>
                <a:gd name="connsiteY379" fmla="*/ 592327 h 1059043"/>
                <a:gd name="connsiteX380" fmla="*/ 2823181 w 3024845"/>
                <a:gd name="connsiteY380" fmla="*/ 592327 h 1059043"/>
                <a:gd name="connsiteX381" fmla="*/ 2823181 w 3024845"/>
                <a:gd name="connsiteY381" fmla="*/ 598812 h 1059043"/>
                <a:gd name="connsiteX382" fmla="*/ 2839395 w 3024845"/>
                <a:gd name="connsiteY382" fmla="*/ 598812 h 1059043"/>
                <a:gd name="connsiteX383" fmla="*/ 2839395 w 3024845"/>
                <a:gd name="connsiteY383" fmla="*/ 648533 h 1059043"/>
                <a:gd name="connsiteX384" fmla="*/ 2871822 w 3024845"/>
                <a:gd name="connsiteY384" fmla="*/ 648533 h 1059043"/>
                <a:gd name="connsiteX385" fmla="*/ 2871822 w 3024845"/>
                <a:gd name="connsiteY385" fmla="*/ 622592 h 1059043"/>
                <a:gd name="connsiteX386" fmla="*/ 2910329 w 3024845"/>
                <a:gd name="connsiteY386" fmla="*/ 622592 h 1059043"/>
                <a:gd name="connsiteX387" fmla="*/ 2910329 w 3024845"/>
                <a:gd name="connsiteY387" fmla="*/ 592327 h 1059043"/>
                <a:gd name="connsiteX388" fmla="*/ 2958970 w 3024845"/>
                <a:gd name="connsiteY388" fmla="*/ 592327 h 1059043"/>
                <a:gd name="connsiteX389" fmla="*/ 2958970 w 3024845"/>
                <a:gd name="connsiteY389" fmla="*/ 703483 h 1059043"/>
                <a:gd name="connsiteX390" fmla="*/ 2958970 w 3024845"/>
                <a:gd name="connsiteY390" fmla="*/ 717262 h 1059043"/>
                <a:gd name="connsiteX391" fmla="*/ 3024845 w 3024845"/>
                <a:gd name="connsiteY391" fmla="*/ 717262 h 1059043"/>
                <a:gd name="connsiteX392" fmla="*/ 3024845 w 3024845"/>
                <a:gd name="connsiteY392" fmla="*/ 1059043 h 1059043"/>
                <a:gd name="connsiteX393" fmla="*/ 2054 w 3024845"/>
                <a:gd name="connsiteY393" fmla="*/ 1056710 h 1059043"/>
                <a:gd name="connsiteX394" fmla="*/ 0 w 3024845"/>
                <a:gd name="connsiteY394" fmla="*/ 622592 h 1059043"/>
                <a:gd name="connsiteX395" fmla="*/ 20267 w 3024845"/>
                <a:gd name="connsiteY395" fmla="*/ 622592 h 1059043"/>
                <a:gd name="connsiteX396" fmla="*/ 20774 w 3024845"/>
                <a:gd name="connsiteY396" fmla="*/ 621511 h 1059043"/>
                <a:gd name="connsiteX397" fmla="*/ 24320 w 3024845"/>
                <a:gd name="connsiteY397" fmla="*/ 613945 h 1059043"/>
                <a:gd name="connsiteX398" fmla="*/ 26094 w 3024845"/>
                <a:gd name="connsiteY398" fmla="*/ 614215 h 1059043"/>
                <a:gd name="connsiteX399" fmla="*/ 38507 w 3024845"/>
                <a:gd name="connsiteY399" fmla="*/ 616106 h 1059043"/>
                <a:gd name="connsiteX400" fmla="*/ 39014 w 3024845"/>
                <a:gd name="connsiteY400" fmla="*/ 617458 h 1059043"/>
                <a:gd name="connsiteX401" fmla="*/ 42560 w 3024845"/>
                <a:gd name="connsiteY401" fmla="*/ 626915 h 1059043"/>
                <a:gd name="connsiteX402" fmla="*/ 68907 w 3024845"/>
                <a:gd name="connsiteY402" fmla="*/ 629077 h 1059043"/>
                <a:gd name="connsiteX403" fmla="*/ 68907 w 3024845"/>
                <a:gd name="connsiteY403" fmla="*/ 505856 h 1059043"/>
                <a:gd name="connsiteX404" fmla="*/ 70934 w 3024845"/>
                <a:gd name="connsiteY404" fmla="*/ 505856 h 1059043"/>
                <a:gd name="connsiteX405" fmla="*/ 85121 w 3024845"/>
                <a:gd name="connsiteY405" fmla="*/ 505856 h 1059043"/>
                <a:gd name="connsiteX406" fmla="*/ 85121 w 3024845"/>
                <a:gd name="connsiteY406" fmla="*/ 369664 h 1059043"/>
                <a:gd name="connsiteX407" fmla="*/ 86894 w 3024845"/>
                <a:gd name="connsiteY407" fmla="*/ 369664 h 1059043"/>
                <a:gd name="connsiteX408" fmla="*/ 99308 w 3024845"/>
                <a:gd name="connsiteY408" fmla="*/ 369664 h 1059043"/>
                <a:gd name="connsiteX409" fmla="*/ 99308 w 3024845"/>
                <a:gd name="connsiteY409" fmla="*/ 255090 h 1059043"/>
                <a:gd name="connsiteX410" fmla="*/ 103361 w 3024845"/>
                <a:gd name="connsiteY410" fmla="*/ 226986 h 1059043"/>
                <a:gd name="connsiteX411" fmla="*/ 105388 w 3024845"/>
                <a:gd name="connsiteY411" fmla="*/ 226986 h 1059043"/>
                <a:gd name="connsiteX412" fmla="*/ 119575 w 3024845"/>
                <a:gd name="connsiteY412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68560 w 3024845"/>
                <a:gd name="connsiteY327" fmla="*/ 235634 h 1059043"/>
                <a:gd name="connsiteX328" fmla="*/ 2180720 w 3024845"/>
                <a:gd name="connsiteY328" fmla="*/ 555577 h 1059043"/>
                <a:gd name="connsiteX329" fmla="*/ 2245574 w 3024845"/>
                <a:gd name="connsiteY329" fmla="*/ 555577 h 1059043"/>
                <a:gd name="connsiteX330" fmla="*/ 2245574 w 3024845"/>
                <a:gd name="connsiteY330" fmla="*/ 631239 h 1059043"/>
                <a:gd name="connsiteX331" fmla="*/ 2253681 w 3024845"/>
                <a:gd name="connsiteY331" fmla="*/ 631239 h 1059043"/>
                <a:gd name="connsiteX332" fmla="*/ 2255708 w 3024845"/>
                <a:gd name="connsiteY332" fmla="*/ 624754 h 1059043"/>
                <a:gd name="connsiteX333" fmla="*/ 2261788 w 3024845"/>
                <a:gd name="connsiteY333" fmla="*/ 624754 h 1059043"/>
                <a:gd name="connsiteX334" fmla="*/ 2263815 w 3024845"/>
                <a:gd name="connsiteY334" fmla="*/ 633401 h 1059043"/>
                <a:gd name="connsiteX335" fmla="*/ 2275975 w 3024845"/>
                <a:gd name="connsiteY335" fmla="*/ 633401 h 1059043"/>
                <a:gd name="connsiteX336" fmla="*/ 2275975 w 3024845"/>
                <a:gd name="connsiteY336" fmla="*/ 626915 h 1059043"/>
                <a:gd name="connsiteX337" fmla="*/ 2298268 w 3024845"/>
                <a:gd name="connsiteY337" fmla="*/ 626915 h 1059043"/>
                <a:gd name="connsiteX338" fmla="*/ 2298268 w 3024845"/>
                <a:gd name="connsiteY338" fmla="*/ 633401 h 1059043"/>
                <a:gd name="connsiteX339" fmla="*/ 2318535 w 3024845"/>
                <a:gd name="connsiteY339" fmla="*/ 633401 h 1059043"/>
                <a:gd name="connsiteX340" fmla="*/ 2318535 w 3024845"/>
                <a:gd name="connsiteY340" fmla="*/ 678798 h 1059043"/>
                <a:gd name="connsiteX341" fmla="*/ 2332722 w 3024845"/>
                <a:gd name="connsiteY341" fmla="*/ 678798 h 1059043"/>
                <a:gd name="connsiteX342" fmla="*/ 2332722 w 3024845"/>
                <a:gd name="connsiteY342" fmla="*/ 665827 h 1059043"/>
                <a:gd name="connsiteX343" fmla="*/ 2348936 w 3024845"/>
                <a:gd name="connsiteY343" fmla="*/ 665827 h 1059043"/>
                <a:gd name="connsiteX344" fmla="*/ 2348936 w 3024845"/>
                <a:gd name="connsiteY344" fmla="*/ 486400 h 1059043"/>
                <a:gd name="connsiteX345" fmla="*/ 2355016 w 3024845"/>
                <a:gd name="connsiteY345" fmla="*/ 479914 h 1059043"/>
                <a:gd name="connsiteX346" fmla="*/ 2427977 w 3024845"/>
                <a:gd name="connsiteY346" fmla="*/ 479914 h 1059043"/>
                <a:gd name="connsiteX347" fmla="*/ 2427977 w 3024845"/>
                <a:gd name="connsiteY347" fmla="*/ 488562 h 1059043"/>
                <a:gd name="connsiteX348" fmla="*/ 2438110 w 3024845"/>
                <a:gd name="connsiteY348" fmla="*/ 488562 h 1059043"/>
                <a:gd name="connsiteX349" fmla="*/ 2438110 w 3024845"/>
                <a:gd name="connsiteY349" fmla="*/ 603136 h 1059043"/>
                <a:gd name="connsiteX350" fmla="*/ 2460404 w 3024845"/>
                <a:gd name="connsiteY350" fmla="*/ 603136 h 1059043"/>
                <a:gd name="connsiteX351" fmla="*/ 2460404 w 3024845"/>
                <a:gd name="connsiteY351" fmla="*/ 536121 h 1059043"/>
                <a:gd name="connsiteX352" fmla="*/ 2486751 w 3024845"/>
                <a:gd name="connsiteY352" fmla="*/ 536121 h 1059043"/>
                <a:gd name="connsiteX353" fmla="*/ 2490804 w 3024845"/>
                <a:gd name="connsiteY353" fmla="*/ 531797 h 1059043"/>
                <a:gd name="connsiteX354" fmla="*/ 2498911 w 3024845"/>
                <a:gd name="connsiteY354" fmla="*/ 531797 h 1059043"/>
                <a:gd name="connsiteX355" fmla="*/ 2502964 w 3024845"/>
                <a:gd name="connsiteY355" fmla="*/ 536121 h 1059043"/>
                <a:gd name="connsiteX356" fmla="*/ 2525258 w 3024845"/>
                <a:gd name="connsiteY356" fmla="*/ 536121 h 1059043"/>
                <a:gd name="connsiteX357" fmla="*/ 2525258 w 3024845"/>
                <a:gd name="connsiteY357" fmla="*/ 419385 h 1059043"/>
                <a:gd name="connsiteX358" fmla="*/ 2582005 w 3024845"/>
                <a:gd name="connsiteY358" fmla="*/ 408576 h 1059043"/>
                <a:gd name="connsiteX359" fmla="*/ 2582005 w 3024845"/>
                <a:gd name="connsiteY359" fmla="*/ 409657 h 1059043"/>
                <a:gd name="connsiteX360" fmla="*/ 2582005 w 3024845"/>
                <a:gd name="connsiteY360" fmla="*/ 417223 h 1059043"/>
                <a:gd name="connsiteX361" fmla="*/ 2608352 w 3024845"/>
                <a:gd name="connsiteY361" fmla="*/ 417223 h 1059043"/>
                <a:gd name="connsiteX362" fmla="*/ 2608352 w 3024845"/>
                <a:gd name="connsiteY362" fmla="*/ 672313 h 1059043"/>
                <a:gd name="connsiteX363" fmla="*/ 2630646 w 3024845"/>
                <a:gd name="connsiteY363" fmla="*/ 672313 h 1059043"/>
                <a:gd name="connsiteX364" fmla="*/ 2630646 w 3024845"/>
                <a:gd name="connsiteY364" fmla="*/ 667989 h 1059043"/>
                <a:gd name="connsiteX365" fmla="*/ 2642806 w 3024845"/>
                <a:gd name="connsiteY365" fmla="*/ 667989 h 1059043"/>
                <a:gd name="connsiteX366" fmla="*/ 2642806 w 3024845"/>
                <a:gd name="connsiteY366" fmla="*/ 672313 h 1059043"/>
                <a:gd name="connsiteX367" fmla="*/ 2667126 w 3024845"/>
                <a:gd name="connsiteY367" fmla="*/ 672313 h 1059043"/>
                <a:gd name="connsiteX368" fmla="*/ 2667126 w 3024845"/>
                <a:gd name="connsiteY368" fmla="*/ 659342 h 1059043"/>
                <a:gd name="connsiteX369" fmla="*/ 2695500 w 3024845"/>
                <a:gd name="connsiteY369" fmla="*/ 659342 h 1059043"/>
                <a:gd name="connsiteX370" fmla="*/ 2707660 w 3024845"/>
                <a:gd name="connsiteY370" fmla="*/ 655018 h 1059043"/>
                <a:gd name="connsiteX371" fmla="*/ 2727927 w 3024845"/>
                <a:gd name="connsiteY371" fmla="*/ 659342 h 1059043"/>
                <a:gd name="connsiteX372" fmla="*/ 2727927 w 3024845"/>
                <a:gd name="connsiteY372" fmla="*/ 642048 h 1059043"/>
                <a:gd name="connsiteX373" fmla="*/ 2736034 w 3024845"/>
                <a:gd name="connsiteY373" fmla="*/ 642048 h 1059043"/>
                <a:gd name="connsiteX374" fmla="*/ 2736034 w 3024845"/>
                <a:gd name="connsiteY374" fmla="*/ 629077 h 1059043"/>
                <a:gd name="connsiteX375" fmla="*/ 2792781 w 3024845"/>
                <a:gd name="connsiteY375" fmla="*/ 629077 h 1059043"/>
                <a:gd name="connsiteX376" fmla="*/ 2792781 w 3024845"/>
                <a:gd name="connsiteY376" fmla="*/ 598812 h 1059043"/>
                <a:gd name="connsiteX377" fmla="*/ 2811021 w 3024845"/>
                <a:gd name="connsiteY377" fmla="*/ 598812 h 1059043"/>
                <a:gd name="connsiteX378" fmla="*/ 2811021 w 3024845"/>
                <a:gd name="connsiteY378" fmla="*/ 592327 h 1059043"/>
                <a:gd name="connsiteX379" fmla="*/ 2823181 w 3024845"/>
                <a:gd name="connsiteY379" fmla="*/ 592327 h 1059043"/>
                <a:gd name="connsiteX380" fmla="*/ 2823181 w 3024845"/>
                <a:gd name="connsiteY380" fmla="*/ 598812 h 1059043"/>
                <a:gd name="connsiteX381" fmla="*/ 2839395 w 3024845"/>
                <a:gd name="connsiteY381" fmla="*/ 598812 h 1059043"/>
                <a:gd name="connsiteX382" fmla="*/ 2839395 w 3024845"/>
                <a:gd name="connsiteY382" fmla="*/ 648533 h 1059043"/>
                <a:gd name="connsiteX383" fmla="*/ 2871822 w 3024845"/>
                <a:gd name="connsiteY383" fmla="*/ 648533 h 1059043"/>
                <a:gd name="connsiteX384" fmla="*/ 2871822 w 3024845"/>
                <a:gd name="connsiteY384" fmla="*/ 622592 h 1059043"/>
                <a:gd name="connsiteX385" fmla="*/ 2910329 w 3024845"/>
                <a:gd name="connsiteY385" fmla="*/ 622592 h 1059043"/>
                <a:gd name="connsiteX386" fmla="*/ 2910329 w 3024845"/>
                <a:gd name="connsiteY386" fmla="*/ 592327 h 1059043"/>
                <a:gd name="connsiteX387" fmla="*/ 2958970 w 3024845"/>
                <a:gd name="connsiteY387" fmla="*/ 592327 h 1059043"/>
                <a:gd name="connsiteX388" fmla="*/ 2958970 w 3024845"/>
                <a:gd name="connsiteY388" fmla="*/ 703483 h 1059043"/>
                <a:gd name="connsiteX389" fmla="*/ 2958970 w 3024845"/>
                <a:gd name="connsiteY389" fmla="*/ 717262 h 1059043"/>
                <a:gd name="connsiteX390" fmla="*/ 3024845 w 3024845"/>
                <a:gd name="connsiteY390" fmla="*/ 717262 h 1059043"/>
                <a:gd name="connsiteX391" fmla="*/ 3024845 w 3024845"/>
                <a:gd name="connsiteY391" fmla="*/ 1059043 h 1059043"/>
                <a:gd name="connsiteX392" fmla="*/ 2054 w 3024845"/>
                <a:gd name="connsiteY392" fmla="*/ 1056710 h 1059043"/>
                <a:gd name="connsiteX393" fmla="*/ 0 w 3024845"/>
                <a:gd name="connsiteY393" fmla="*/ 622592 h 1059043"/>
                <a:gd name="connsiteX394" fmla="*/ 20267 w 3024845"/>
                <a:gd name="connsiteY394" fmla="*/ 622592 h 1059043"/>
                <a:gd name="connsiteX395" fmla="*/ 20774 w 3024845"/>
                <a:gd name="connsiteY395" fmla="*/ 621511 h 1059043"/>
                <a:gd name="connsiteX396" fmla="*/ 24320 w 3024845"/>
                <a:gd name="connsiteY396" fmla="*/ 613945 h 1059043"/>
                <a:gd name="connsiteX397" fmla="*/ 26094 w 3024845"/>
                <a:gd name="connsiteY397" fmla="*/ 614215 h 1059043"/>
                <a:gd name="connsiteX398" fmla="*/ 38507 w 3024845"/>
                <a:gd name="connsiteY398" fmla="*/ 616106 h 1059043"/>
                <a:gd name="connsiteX399" fmla="*/ 39014 w 3024845"/>
                <a:gd name="connsiteY399" fmla="*/ 617458 h 1059043"/>
                <a:gd name="connsiteX400" fmla="*/ 42560 w 3024845"/>
                <a:gd name="connsiteY400" fmla="*/ 626915 h 1059043"/>
                <a:gd name="connsiteX401" fmla="*/ 68907 w 3024845"/>
                <a:gd name="connsiteY401" fmla="*/ 629077 h 1059043"/>
                <a:gd name="connsiteX402" fmla="*/ 68907 w 3024845"/>
                <a:gd name="connsiteY402" fmla="*/ 505856 h 1059043"/>
                <a:gd name="connsiteX403" fmla="*/ 70934 w 3024845"/>
                <a:gd name="connsiteY403" fmla="*/ 505856 h 1059043"/>
                <a:gd name="connsiteX404" fmla="*/ 85121 w 3024845"/>
                <a:gd name="connsiteY404" fmla="*/ 505856 h 1059043"/>
                <a:gd name="connsiteX405" fmla="*/ 85121 w 3024845"/>
                <a:gd name="connsiteY405" fmla="*/ 369664 h 1059043"/>
                <a:gd name="connsiteX406" fmla="*/ 86894 w 3024845"/>
                <a:gd name="connsiteY406" fmla="*/ 369664 h 1059043"/>
                <a:gd name="connsiteX407" fmla="*/ 99308 w 3024845"/>
                <a:gd name="connsiteY407" fmla="*/ 369664 h 1059043"/>
                <a:gd name="connsiteX408" fmla="*/ 99308 w 3024845"/>
                <a:gd name="connsiteY408" fmla="*/ 255090 h 1059043"/>
                <a:gd name="connsiteX409" fmla="*/ 103361 w 3024845"/>
                <a:gd name="connsiteY409" fmla="*/ 226986 h 1059043"/>
                <a:gd name="connsiteX410" fmla="*/ 105388 w 3024845"/>
                <a:gd name="connsiteY410" fmla="*/ 226986 h 1059043"/>
                <a:gd name="connsiteX411" fmla="*/ 119575 w 3024845"/>
                <a:gd name="connsiteY411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66533 w 3024845"/>
                <a:gd name="connsiteY326" fmla="*/ 209692 h 1059043"/>
                <a:gd name="connsiteX327" fmla="*/ 2180720 w 3024845"/>
                <a:gd name="connsiteY327" fmla="*/ 555577 h 1059043"/>
                <a:gd name="connsiteX328" fmla="*/ 2245574 w 3024845"/>
                <a:gd name="connsiteY328" fmla="*/ 555577 h 1059043"/>
                <a:gd name="connsiteX329" fmla="*/ 2245574 w 3024845"/>
                <a:gd name="connsiteY329" fmla="*/ 631239 h 1059043"/>
                <a:gd name="connsiteX330" fmla="*/ 2253681 w 3024845"/>
                <a:gd name="connsiteY330" fmla="*/ 631239 h 1059043"/>
                <a:gd name="connsiteX331" fmla="*/ 2255708 w 3024845"/>
                <a:gd name="connsiteY331" fmla="*/ 624754 h 1059043"/>
                <a:gd name="connsiteX332" fmla="*/ 2261788 w 3024845"/>
                <a:gd name="connsiteY332" fmla="*/ 624754 h 1059043"/>
                <a:gd name="connsiteX333" fmla="*/ 2263815 w 3024845"/>
                <a:gd name="connsiteY333" fmla="*/ 633401 h 1059043"/>
                <a:gd name="connsiteX334" fmla="*/ 2275975 w 3024845"/>
                <a:gd name="connsiteY334" fmla="*/ 633401 h 1059043"/>
                <a:gd name="connsiteX335" fmla="*/ 2275975 w 3024845"/>
                <a:gd name="connsiteY335" fmla="*/ 626915 h 1059043"/>
                <a:gd name="connsiteX336" fmla="*/ 2298268 w 3024845"/>
                <a:gd name="connsiteY336" fmla="*/ 626915 h 1059043"/>
                <a:gd name="connsiteX337" fmla="*/ 2298268 w 3024845"/>
                <a:gd name="connsiteY337" fmla="*/ 633401 h 1059043"/>
                <a:gd name="connsiteX338" fmla="*/ 2318535 w 3024845"/>
                <a:gd name="connsiteY338" fmla="*/ 633401 h 1059043"/>
                <a:gd name="connsiteX339" fmla="*/ 2318535 w 3024845"/>
                <a:gd name="connsiteY339" fmla="*/ 678798 h 1059043"/>
                <a:gd name="connsiteX340" fmla="*/ 2332722 w 3024845"/>
                <a:gd name="connsiteY340" fmla="*/ 678798 h 1059043"/>
                <a:gd name="connsiteX341" fmla="*/ 2332722 w 3024845"/>
                <a:gd name="connsiteY341" fmla="*/ 665827 h 1059043"/>
                <a:gd name="connsiteX342" fmla="*/ 2348936 w 3024845"/>
                <a:gd name="connsiteY342" fmla="*/ 665827 h 1059043"/>
                <a:gd name="connsiteX343" fmla="*/ 2348936 w 3024845"/>
                <a:gd name="connsiteY343" fmla="*/ 486400 h 1059043"/>
                <a:gd name="connsiteX344" fmla="*/ 2355016 w 3024845"/>
                <a:gd name="connsiteY344" fmla="*/ 479914 h 1059043"/>
                <a:gd name="connsiteX345" fmla="*/ 2427977 w 3024845"/>
                <a:gd name="connsiteY345" fmla="*/ 479914 h 1059043"/>
                <a:gd name="connsiteX346" fmla="*/ 2427977 w 3024845"/>
                <a:gd name="connsiteY346" fmla="*/ 488562 h 1059043"/>
                <a:gd name="connsiteX347" fmla="*/ 2438110 w 3024845"/>
                <a:gd name="connsiteY347" fmla="*/ 488562 h 1059043"/>
                <a:gd name="connsiteX348" fmla="*/ 2438110 w 3024845"/>
                <a:gd name="connsiteY348" fmla="*/ 603136 h 1059043"/>
                <a:gd name="connsiteX349" fmla="*/ 2460404 w 3024845"/>
                <a:gd name="connsiteY349" fmla="*/ 603136 h 1059043"/>
                <a:gd name="connsiteX350" fmla="*/ 2460404 w 3024845"/>
                <a:gd name="connsiteY350" fmla="*/ 536121 h 1059043"/>
                <a:gd name="connsiteX351" fmla="*/ 2486751 w 3024845"/>
                <a:gd name="connsiteY351" fmla="*/ 536121 h 1059043"/>
                <a:gd name="connsiteX352" fmla="*/ 2490804 w 3024845"/>
                <a:gd name="connsiteY352" fmla="*/ 531797 h 1059043"/>
                <a:gd name="connsiteX353" fmla="*/ 2498911 w 3024845"/>
                <a:gd name="connsiteY353" fmla="*/ 531797 h 1059043"/>
                <a:gd name="connsiteX354" fmla="*/ 2502964 w 3024845"/>
                <a:gd name="connsiteY354" fmla="*/ 536121 h 1059043"/>
                <a:gd name="connsiteX355" fmla="*/ 2525258 w 3024845"/>
                <a:gd name="connsiteY355" fmla="*/ 536121 h 1059043"/>
                <a:gd name="connsiteX356" fmla="*/ 2525258 w 3024845"/>
                <a:gd name="connsiteY356" fmla="*/ 419385 h 1059043"/>
                <a:gd name="connsiteX357" fmla="*/ 2582005 w 3024845"/>
                <a:gd name="connsiteY357" fmla="*/ 408576 h 1059043"/>
                <a:gd name="connsiteX358" fmla="*/ 2582005 w 3024845"/>
                <a:gd name="connsiteY358" fmla="*/ 409657 h 1059043"/>
                <a:gd name="connsiteX359" fmla="*/ 2582005 w 3024845"/>
                <a:gd name="connsiteY359" fmla="*/ 417223 h 1059043"/>
                <a:gd name="connsiteX360" fmla="*/ 2608352 w 3024845"/>
                <a:gd name="connsiteY360" fmla="*/ 417223 h 1059043"/>
                <a:gd name="connsiteX361" fmla="*/ 2608352 w 3024845"/>
                <a:gd name="connsiteY361" fmla="*/ 672313 h 1059043"/>
                <a:gd name="connsiteX362" fmla="*/ 2630646 w 3024845"/>
                <a:gd name="connsiteY362" fmla="*/ 672313 h 1059043"/>
                <a:gd name="connsiteX363" fmla="*/ 2630646 w 3024845"/>
                <a:gd name="connsiteY363" fmla="*/ 667989 h 1059043"/>
                <a:gd name="connsiteX364" fmla="*/ 2642806 w 3024845"/>
                <a:gd name="connsiteY364" fmla="*/ 667989 h 1059043"/>
                <a:gd name="connsiteX365" fmla="*/ 2642806 w 3024845"/>
                <a:gd name="connsiteY365" fmla="*/ 672313 h 1059043"/>
                <a:gd name="connsiteX366" fmla="*/ 2667126 w 3024845"/>
                <a:gd name="connsiteY366" fmla="*/ 672313 h 1059043"/>
                <a:gd name="connsiteX367" fmla="*/ 2667126 w 3024845"/>
                <a:gd name="connsiteY367" fmla="*/ 659342 h 1059043"/>
                <a:gd name="connsiteX368" fmla="*/ 2695500 w 3024845"/>
                <a:gd name="connsiteY368" fmla="*/ 659342 h 1059043"/>
                <a:gd name="connsiteX369" fmla="*/ 2707660 w 3024845"/>
                <a:gd name="connsiteY369" fmla="*/ 655018 h 1059043"/>
                <a:gd name="connsiteX370" fmla="*/ 2727927 w 3024845"/>
                <a:gd name="connsiteY370" fmla="*/ 659342 h 1059043"/>
                <a:gd name="connsiteX371" fmla="*/ 2727927 w 3024845"/>
                <a:gd name="connsiteY371" fmla="*/ 642048 h 1059043"/>
                <a:gd name="connsiteX372" fmla="*/ 2736034 w 3024845"/>
                <a:gd name="connsiteY372" fmla="*/ 642048 h 1059043"/>
                <a:gd name="connsiteX373" fmla="*/ 2736034 w 3024845"/>
                <a:gd name="connsiteY373" fmla="*/ 629077 h 1059043"/>
                <a:gd name="connsiteX374" fmla="*/ 2792781 w 3024845"/>
                <a:gd name="connsiteY374" fmla="*/ 629077 h 1059043"/>
                <a:gd name="connsiteX375" fmla="*/ 2792781 w 3024845"/>
                <a:gd name="connsiteY375" fmla="*/ 598812 h 1059043"/>
                <a:gd name="connsiteX376" fmla="*/ 2811021 w 3024845"/>
                <a:gd name="connsiteY376" fmla="*/ 598812 h 1059043"/>
                <a:gd name="connsiteX377" fmla="*/ 2811021 w 3024845"/>
                <a:gd name="connsiteY377" fmla="*/ 592327 h 1059043"/>
                <a:gd name="connsiteX378" fmla="*/ 2823181 w 3024845"/>
                <a:gd name="connsiteY378" fmla="*/ 592327 h 1059043"/>
                <a:gd name="connsiteX379" fmla="*/ 2823181 w 3024845"/>
                <a:gd name="connsiteY379" fmla="*/ 598812 h 1059043"/>
                <a:gd name="connsiteX380" fmla="*/ 2839395 w 3024845"/>
                <a:gd name="connsiteY380" fmla="*/ 598812 h 1059043"/>
                <a:gd name="connsiteX381" fmla="*/ 2839395 w 3024845"/>
                <a:gd name="connsiteY381" fmla="*/ 648533 h 1059043"/>
                <a:gd name="connsiteX382" fmla="*/ 2871822 w 3024845"/>
                <a:gd name="connsiteY382" fmla="*/ 648533 h 1059043"/>
                <a:gd name="connsiteX383" fmla="*/ 2871822 w 3024845"/>
                <a:gd name="connsiteY383" fmla="*/ 622592 h 1059043"/>
                <a:gd name="connsiteX384" fmla="*/ 2910329 w 3024845"/>
                <a:gd name="connsiteY384" fmla="*/ 622592 h 1059043"/>
                <a:gd name="connsiteX385" fmla="*/ 2910329 w 3024845"/>
                <a:gd name="connsiteY385" fmla="*/ 592327 h 1059043"/>
                <a:gd name="connsiteX386" fmla="*/ 2958970 w 3024845"/>
                <a:gd name="connsiteY386" fmla="*/ 592327 h 1059043"/>
                <a:gd name="connsiteX387" fmla="*/ 2958970 w 3024845"/>
                <a:gd name="connsiteY387" fmla="*/ 703483 h 1059043"/>
                <a:gd name="connsiteX388" fmla="*/ 2958970 w 3024845"/>
                <a:gd name="connsiteY388" fmla="*/ 717262 h 1059043"/>
                <a:gd name="connsiteX389" fmla="*/ 3024845 w 3024845"/>
                <a:gd name="connsiteY389" fmla="*/ 717262 h 1059043"/>
                <a:gd name="connsiteX390" fmla="*/ 3024845 w 3024845"/>
                <a:gd name="connsiteY390" fmla="*/ 1059043 h 1059043"/>
                <a:gd name="connsiteX391" fmla="*/ 2054 w 3024845"/>
                <a:gd name="connsiteY391" fmla="*/ 1056710 h 1059043"/>
                <a:gd name="connsiteX392" fmla="*/ 0 w 3024845"/>
                <a:gd name="connsiteY392" fmla="*/ 622592 h 1059043"/>
                <a:gd name="connsiteX393" fmla="*/ 20267 w 3024845"/>
                <a:gd name="connsiteY393" fmla="*/ 622592 h 1059043"/>
                <a:gd name="connsiteX394" fmla="*/ 20774 w 3024845"/>
                <a:gd name="connsiteY394" fmla="*/ 621511 h 1059043"/>
                <a:gd name="connsiteX395" fmla="*/ 24320 w 3024845"/>
                <a:gd name="connsiteY395" fmla="*/ 613945 h 1059043"/>
                <a:gd name="connsiteX396" fmla="*/ 26094 w 3024845"/>
                <a:gd name="connsiteY396" fmla="*/ 614215 h 1059043"/>
                <a:gd name="connsiteX397" fmla="*/ 38507 w 3024845"/>
                <a:gd name="connsiteY397" fmla="*/ 616106 h 1059043"/>
                <a:gd name="connsiteX398" fmla="*/ 39014 w 3024845"/>
                <a:gd name="connsiteY398" fmla="*/ 617458 h 1059043"/>
                <a:gd name="connsiteX399" fmla="*/ 42560 w 3024845"/>
                <a:gd name="connsiteY399" fmla="*/ 626915 h 1059043"/>
                <a:gd name="connsiteX400" fmla="*/ 68907 w 3024845"/>
                <a:gd name="connsiteY400" fmla="*/ 629077 h 1059043"/>
                <a:gd name="connsiteX401" fmla="*/ 68907 w 3024845"/>
                <a:gd name="connsiteY401" fmla="*/ 505856 h 1059043"/>
                <a:gd name="connsiteX402" fmla="*/ 70934 w 3024845"/>
                <a:gd name="connsiteY402" fmla="*/ 505856 h 1059043"/>
                <a:gd name="connsiteX403" fmla="*/ 85121 w 3024845"/>
                <a:gd name="connsiteY403" fmla="*/ 505856 h 1059043"/>
                <a:gd name="connsiteX404" fmla="*/ 85121 w 3024845"/>
                <a:gd name="connsiteY404" fmla="*/ 369664 h 1059043"/>
                <a:gd name="connsiteX405" fmla="*/ 86894 w 3024845"/>
                <a:gd name="connsiteY405" fmla="*/ 369664 h 1059043"/>
                <a:gd name="connsiteX406" fmla="*/ 99308 w 3024845"/>
                <a:gd name="connsiteY406" fmla="*/ 369664 h 1059043"/>
                <a:gd name="connsiteX407" fmla="*/ 99308 w 3024845"/>
                <a:gd name="connsiteY407" fmla="*/ 255090 h 1059043"/>
                <a:gd name="connsiteX408" fmla="*/ 103361 w 3024845"/>
                <a:gd name="connsiteY408" fmla="*/ 226986 h 1059043"/>
                <a:gd name="connsiteX409" fmla="*/ 105388 w 3024845"/>
                <a:gd name="connsiteY409" fmla="*/ 226986 h 1059043"/>
                <a:gd name="connsiteX410" fmla="*/ 119575 w 3024845"/>
                <a:gd name="connsiteY410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209692 h 1059043"/>
                <a:gd name="connsiteX317" fmla="*/ 2146266 w 3024845"/>
                <a:gd name="connsiteY317" fmla="*/ 131868 h 1059043"/>
                <a:gd name="connsiteX318" fmla="*/ 2144240 w 3024845"/>
                <a:gd name="connsiteY318" fmla="*/ 125383 h 1059043"/>
                <a:gd name="connsiteX319" fmla="*/ 2150320 w 3024845"/>
                <a:gd name="connsiteY319" fmla="*/ 118897 h 1059043"/>
                <a:gd name="connsiteX320" fmla="*/ 2150320 w 3024845"/>
                <a:gd name="connsiteY320" fmla="*/ 60529 h 1059043"/>
                <a:gd name="connsiteX321" fmla="*/ 2152346 w 3024845"/>
                <a:gd name="connsiteY321" fmla="*/ 56206 h 1059043"/>
                <a:gd name="connsiteX322" fmla="*/ 2152346 w 3024845"/>
                <a:gd name="connsiteY322" fmla="*/ 0 h 1059043"/>
                <a:gd name="connsiteX323" fmla="*/ 2162480 w 3024845"/>
                <a:gd name="connsiteY323" fmla="*/ 118897 h 1059043"/>
                <a:gd name="connsiteX324" fmla="*/ 2168560 w 3024845"/>
                <a:gd name="connsiteY324" fmla="*/ 125383 h 1059043"/>
                <a:gd name="connsiteX325" fmla="*/ 2166533 w 3024845"/>
                <a:gd name="connsiteY325" fmla="*/ 131868 h 1059043"/>
                <a:gd name="connsiteX326" fmla="*/ 2180720 w 3024845"/>
                <a:gd name="connsiteY326" fmla="*/ 555577 h 1059043"/>
                <a:gd name="connsiteX327" fmla="*/ 2245574 w 3024845"/>
                <a:gd name="connsiteY327" fmla="*/ 555577 h 1059043"/>
                <a:gd name="connsiteX328" fmla="*/ 2245574 w 3024845"/>
                <a:gd name="connsiteY328" fmla="*/ 631239 h 1059043"/>
                <a:gd name="connsiteX329" fmla="*/ 2253681 w 3024845"/>
                <a:gd name="connsiteY329" fmla="*/ 631239 h 1059043"/>
                <a:gd name="connsiteX330" fmla="*/ 2255708 w 3024845"/>
                <a:gd name="connsiteY330" fmla="*/ 624754 h 1059043"/>
                <a:gd name="connsiteX331" fmla="*/ 2261788 w 3024845"/>
                <a:gd name="connsiteY331" fmla="*/ 624754 h 1059043"/>
                <a:gd name="connsiteX332" fmla="*/ 2263815 w 3024845"/>
                <a:gd name="connsiteY332" fmla="*/ 633401 h 1059043"/>
                <a:gd name="connsiteX333" fmla="*/ 2275975 w 3024845"/>
                <a:gd name="connsiteY333" fmla="*/ 633401 h 1059043"/>
                <a:gd name="connsiteX334" fmla="*/ 2275975 w 3024845"/>
                <a:gd name="connsiteY334" fmla="*/ 626915 h 1059043"/>
                <a:gd name="connsiteX335" fmla="*/ 2298268 w 3024845"/>
                <a:gd name="connsiteY335" fmla="*/ 626915 h 1059043"/>
                <a:gd name="connsiteX336" fmla="*/ 2298268 w 3024845"/>
                <a:gd name="connsiteY336" fmla="*/ 633401 h 1059043"/>
                <a:gd name="connsiteX337" fmla="*/ 2318535 w 3024845"/>
                <a:gd name="connsiteY337" fmla="*/ 633401 h 1059043"/>
                <a:gd name="connsiteX338" fmla="*/ 2318535 w 3024845"/>
                <a:gd name="connsiteY338" fmla="*/ 678798 h 1059043"/>
                <a:gd name="connsiteX339" fmla="*/ 2332722 w 3024845"/>
                <a:gd name="connsiteY339" fmla="*/ 678798 h 1059043"/>
                <a:gd name="connsiteX340" fmla="*/ 2332722 w 3024845"/>
                <a:gd name="connsiteY340" fmla="*/ 665827 h 1059043"/>
                <a:gd name="connsiteX341" fmla="*/ 2348936 w 3024845"/>
                <a:gd name="connsiteY341" fmla="*/ 665827 h 1059043"/>
                <a:gd name="connsiteX342" fmla="*/ 2348936 w 3024845"/>
                <a:gd name="connsiteY342" fmla="*/ 486400 h 1059043"/>
                <a:gd name="connsiteX343" fmla="*/ 2355016 w 3024845"/>
                <a:gd name="connsiteY343" fmla="*/ 479914 h 1059043"/>
                <a:gd name="connsiteX344" fmla="*/ 2427977 w 3024845"/>
                <a:gd name="connsiteY344" fmla="*/ 479914 h 1059043"/>
                <a:gd name="connsiteX345" fmla="*/ 2427977 w 3024845"/>
                <a:gd name="connsiteY345" fmla="*/ 488562 h 1059043"/>
                <a:gd name="connsiteX346" fmla="*/ 2438110 w 3024845"/>
                <a:gd name="connsiteY346" fmla="*/ 488562 h 1059043"/>
                <a:gd name="connsiteX347" fmla="*/ 2438110 w 3024845"/>
                <a:gd name="connsiteY347" fmla="*/ 603136 h 1059043"/>
                <a:gd name="connsiteX348" fmla="*/ 2460404 w 3024845"/>
                <a:gd name="connsiteY348" fmla="*/ 603136 h 1059043"/>
                <a:gd name="connsiteX349" fmla="*/ 2460404 w 3024845"/>
                <a:gd name="connsiteY349" fmla="*/ 536121 h 1059043"/>
                <a:gd name="connsiteX350" fmla="*/ 2486751 w 3024845"/>
                <a:gd name="connsiteY350" fmla="*/ 536121 h 1059043"/>
                <a:gd name="connsiteX351" fmla="*/ 2490804 w 3024845"/>
                <a:gd name="connsiteY351" fmla="*/ 531797 h 1059043"/>
                <a:gd name="connsiteX352" fmla="*/ 2498911 w 3024845"/>
                <a:gd name="connsiteY352" fmla="*/ 531797 h 1059043"/>
                <a:gd name="connsiteX353" fmla="*/ 2502964 w 3024845"/>
                <a:gd name="connsiteY353" fmla="*/ 536121 h 1059043"/>
                <a:gd name="connsiteX354" fmla="*/ 2525258 w 3024845"/>
                <a:gd name="connsiteY354" fmla="*/ 536121 h 1059043"/>
                <a:gd name="connsiteX355" fmla="*/ 2525258 w 3024845"/>
                <a:gd name="connsiteY355" fmla="*/ 419385 h 1059043"/>
                <a:gd name="connsiteX356" fmla="*/ 2582005 w 3024845"/>
                <a:gd name="connsiteY356" fmla="*/ 408576 h 1059043"/>
                <a:gd name="connsiteX357" fmla="*/ 2582005 w 3024845"/>
                <a:gd name="connsiteY357" fmla="*/ 409657 h 1059043"/>
                <a:gd name="connsiteX358" fmla="*/ 2582005 w 3024845"/>
                <a:gd name="connsiteY358" fmla="*/ 417223 h 1059043"/>
                <a:gd name="connsiteX359" fmla="*/ 2608352 w 3024845"/>
                <a:gd name="connsiteY359" fmla="*/ 417223 h 1059043"/>
                <a:gd name="connsiteX360" fmla="*/ 2608352 w 3024845"/>
                <a:gd name="connsiteY360" fmla="*/ 672313 h 1059043"/>
                <a:gd name="connsiteX361" fmla="*/ 2630646 w 3024845"/>
                <a:gd name="connsiteY361" fmla="*/ 672313 h 1059043"/>
                <a:gd name="connsiteX362" fmla="*/ 2630646 w 3024845"/>
                <a:gd name="connsiteY362" fmla="*/ 667989 h 1059043"/>
                <a:gd name="connsiteX363" fmla="*/ 2642806 w 3024845"/>
                <a:gd name="connsiteY363" fmla="*/ 667989 h 1059043"/>
                <a:gd name="connsiteX364" fmla="*/ 2642806 w 3024845"/>
                <a:gd name="connsiteY364" fmla="*/ 672313 h 1059043"/>
                <a:gd name="connsiteX365" fmla="*/ 2667126 w 3024845"/>
                <a:gd name="connsiteY365" fmla="*/ 672313 h 1059043"/>
                <a:gd name="connsiteX366" fmla="*/ 2667126 w 3024845"/>
                <a:gd name="connsiteY366" fmla="*/ 659342 h 1059043"/>
                <a:gd name="connsiteX367" fmla="*/ 2695500 w 3024845"/>
                <a:gd name="connsiteY367" fmla="*/ 659342 h 1059043"/>
                <a:gd name="connsiteX368" fmla="*/ 2707660 w 3024845"/>
                <a:gd name="connsiteY368" fmla="*/ 655018 h 1059043"/>
                <a:gd name="connsiteX369" fmla="*/ 2727927 w 3024845"/>
                <a:gd name="connsiteY369" fmla="*/ 659342 h 1059043"/>
                <a:gd name="connsiteX370" fmla="*/ 2727927 w 3024845"/>
                <a:gd name="connsiteY370" fmla="*/ 642048 h 1059043"/>
                <a:gd name="connsiteX371" fmla="*/ 2736034 w 3024845"/>
                <a:gd name="connsiteY371" fmla="*/ 642048 h 1059043"/>
                <a:gd name="connsiteX372" fmla="*/ 2736034 w 3024845"/>
                <a:gd name="connsiteY372" fmla="*/ 629077 h 1059043"/>
                <a:gd name="connsiteX373" fmla="*/ 2792781 w 3024845"/>
                <a:gd name="connsiteY373" fmla="*/ 629077 h 1059043"/>
                <a:gd name="connsiteX374" fmla="*/ 2792781 w 3024845"/>
                <a:gd name="connsiteY374" fmla="*/ 598812 h 1059043"/>
                <a:gd name="connsiteX375" fmla="*/ 2811021 w 3024845"/>
                <a:gd name="connsiteY375" fmla="*/ 598812 h 1059043"/>
                <a:gd name="connsiteX376" fmla="*/ 2811021 w 3024845"/>
                <a:gd name="connsiteY376" fmla="*/ 592327 h 1059043"/>
                <a:gd name="connsiteX377" fmla="*/ 2823181 w 3024845"/>
                <a:gd name="connsiteY377" fmla="*/ 592327 h 1059043"/>
                <a:gd name="connsiteX378" fmla="*/ 2823181 w 3024845"/>
                <a:gd name="connsiteY378" fmla="*/ 598812 h 1059043"/>
                <a:gd name="connsiteX379" fmla="*/ 2839395 w 3024845"/>
                <a:gd name="connsiteY379" fmla="*/ 598812 h 1059043"/>
                <a:gd name="connsiteX380" fmla="*/ 2839395 w 3024845"/>
                <a:gd name="connsiteY380" fmla="*/ 648533 h 1059043"/>
                <a:gd name="connsiteX381" fmla="*/ 2871822 w 3024845"/>
                <a:gd name="connsiteY381" fmla="*/ 648533 h 1059043"/>
                <a:gd name="connsiteX382" fmla="*/ 2871822 w 3024845"/>
                <a:gd name="connsiteY382" fmla="*/ 622592 h 1059043"/>
                <a:gd name="connsiteX383" fmla="*/ 2910329 w 3024845"/>
                <a:gd name="connsiteY383" fmla="*/ 622592 h 1059043"/>
                <a:gd name="connsiteX384" fmla="*/ 2910329 w 3024845"/>
                <a:gd name="connsiteY384" fmla="*/ 592327 h 1059043"/>
                <a:gd name="connsiteX385" fmla="*/ 2958970 w 3024845"/>
                <a:gd name="connsiteY385" fmla="*/ 592327 h 1059043"/>
                <a:gd name="connsiteX386" fmla="*/ 2958970 w 3024845"/>
                <a:gd name="connsiteY386" fmla="*/ 703483 h 1059043"/>
                <a:gd name="connsiteX387" fmla="*/ 2958970 w 3024845"/>
                <a:gd name="connsiteY387" fmla="*/ 717262 h 1059043"/>
                <a:gd name="connsiteX388" fmla="*/ 3024845 w 3024845"/>
                <a:gd name="connsiteY388" fmla="*/ 717262 h 1059043"/>
                <a:gd name="connsiteX389" fmla="*/ 3024845 w 3024845"/>
                <a:gd name="connsiteY389" fmla="*/ 1059043 h 1059043"/>
                <a:gd name="connsiteX390" fmla="*/ 2054 w 3024845"/>
                <a:gd name="connsiteY390" fmla="*/ 1056710 h 1059043"/>
                <a:gd name="connsiteX391" fmla="*/ 0 w 3024845"/>
                <a:gd name="connsiteY391" fmla="*/ 622592 h 1059043"/>
                <a:gd name="connsiteX392" fmla="*/ 20267 w 3024845"/>
                <a:gd name="connsiteY392" fmla="*/ 622592 h 1059043"/>
                <a:gd name="connsiteX393" fmla="*/ 20774 w 3024845"/>
                <a:gd name="connsiteY393" fmla="*/ 621511 h 1059043"/>
                <a:gd name="connsiteX394" fmla="*/ 24320 w 3024845"/>
                <a:gd name="connsiteY394" fmla="*/ 613945 h 1059043"/>
                <a:gd name="connsiteX395" fmla="*/ 26094 w 3024845"/>
                <a:gd name="connsiteY395" fmla="*/ 614215 h 1059043"/>
                <a:gd name="connsiteX396" fmla="*/ 38507 w 3024845"/>
                <a:gd name="connsiteY396" fmla="*/ 616106 h 1059043"/>
                <a:gd name="connsiteX397" fmla="*/ 39014 w 3024845"/>
                <a:gd name="connsiteY397" fmla="*/ 617458 h 1059043"/>
                <a:gd name="connsiteX398" fmla="*/ 42560 w 3024845"/>
                <a:gd name="connsiteY398" fmla="*/ 626915 h 1059043"/>
                <a:gd name="connsiteX399" fmla="*/ 68907 w 3024845"/>
                <a:gd name="connsiteY399" fmla="*/ 629077 h 1059043"/>
                <a:gd name="connsiteX400" fmla="*/ 68907 w 3024845"/>
                <a:gd name="connsiteY400" fmla="*/ 505856 h 1059043"/>
                <a:gd name="connsiteX401" fmla="*/ 70934 w 3024845"/>
                <a:gd name="connsiteY401" fmla="*/ 505856 h 1059043"/>
                <a:gd name="connsiteX402" fmla="*/ 85121 w 3024845"/>
                <a:gd name="connsiteY402" fmla="*/ 505856 h 1059043"/>
                <a:gd name="connsiteX403" fmla="*/ 85121 w 3024845"/>
                <a:gd name="connsiteY403" fmla="*/ 369664 h 1059043"/>
                <a:gd name="connsiteX404" fmla="*/ 86894 w 3024845"/>
                <a:gd name="connsiteY404" fmla="*/ 369664 h 1059043"/>
                <a:gd name="connsiteX405" fmla="*/ 99308 w 3024845"/>
                <a:gd name="connsiteY405" fmla="*/ 369664 h 1059043"/>
                <a:gd name="connsiteX406" fmla="*/ 99308 w 3024845"/>
                <a:gd name="connsiteY406" fmla="*/ 255090 h 1059043"/>
                <a:gd name="connsiteX407" fmla="*/ 103361 w 3024845"/>
                <a:gd name="connsiteY407" fmla="*/ 226986 h 1059043"/>
                <a:gd name="connsiteX408" fmla="*/ 105388 w 3024845"/>
                <a:gd name="connsiteY408" fmla="*/ 226986 h 1059043"/>
                <a:gd name="connsiteX409" fmla="*/ 119575 w 3024845"/>
                <a:gd name="connsiteY409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35634 h 1059043"/>
                <a:gd name="connsiteX315" fmla="*/ 2144240 w 3024845"/>
                <a:gd name="connsiteY315" fmla="*/ 214016 h 1059043"/>
                <a:gd name="connsiteX316" fmla="*/ 2146266 w 3024845"/>
                <a:gd name="connsiteY316" fmla="*/ 131868 h 1059043"/>
                <a:gd name="connsiteX317" fmla="*/ 2144240 w 3024845"/>
                <a:gd name="connsiteY317" fmla="*/ 125383 h 1059043"/>
                <a:gd name="connsiteX318" fmla="*/ 2150320 w 3024845"/>
                <a:gd name="connsiteY318" fmla="*/ 118897 h 1059043"/>
                <a:gd name="connsiteX319" fmla="*/ 2150320 w 3024845"/>
                <a:gd name="connsiteY319" fmla="*/ 60529 h 1059043"/>
                <a:gd name="connsiteX320" fmla="*/ 2152346 w 3024845"/>
                <a:gd name="connsiteY320" fmla="*/ 56206 h 1059043"/>
                <a:gd name="connsiteX321" fmla="*/ 2152346 w 3024845"/>
                <a:gd name="connsiteY321" fmla="*/ 0 h 1059043"/>
                <a:gd name="connsiteX322" fmla="*/ 2162480 w 3024845"/>
                <a:gd name="connsiteY322" fmla="*/ 118897 h 1059043"/>
                <a:gd name="connsiteX323" fmla="*/ 2168560 w 3024845"/>
                <a:gd name="connsiteY323" fmla="*/ 125383 h 1059043"/>
                <a:gd name="connsiteX324" fmla="*/ 2166533 w 3024845"/>
                <a:gd name="connsiteY324" fmla="*/ 131868 h 1059043"/>
                <a:gd name="connsiteX325" fmla="*/ 2180720 w 3024845"/>
                <a:gd name="connsiteY325" fmla="*/ 555577 h 1059043"/>
                <a:gd name="connsiteX326" fmla="*/ 2245574 w 3024845"/>
                <a:gd name="connsiteY326" fmla="*/ 555577 h 1059043"/>
                <a:gd name="connsiteX327" fmla="*/ 2245574 w 3024845"/>
                <a:gd name="connsiteY327" fmla="*/ 631239 h 1059043"/>
                <a:gd name="connsiteX328" fmla="*/ 2253681 w 3024845"/>
                <a:gd name="connsiteY328" fmla="*/ 631239 h 1059043"/>
                <a:gd name="connsiteX329" fmla="*/ 2255708 w 3024845"/>
                <a:gd name="connsiteY329" fmla="*/ 624754 h 1059043"/>
                <a:gd name="connsiteX330" fmla="*/ 2261788 w 3024845"/>
                <a:gd name="connsiteY330" fmla="*/ 624754 h 1059043"/>
                <a:gd name="connsiteX331" fmla="*/ 2263815 w 3024845"/>
                <a:gd name="connsiteY331" fmla="*/ 633401 h 1059043"/>
                <a:gd name="connsiteX332" fmla="*/ 2275975 w 3024845"/>
                <a:gd name="connsiteY332" fmla="*/ 633401 h 1059043"/>
                <a:gd name="connsiteX333" fmla="*/ 2275975 w 3024845"/>
                <a:gd name="connsiteY333" fmla="*/ 626915 h 1059043"/>
                <a:gd name="connsiteX334" fmla="*/ 2298268 w 3024845"/>
                <a:gd name="connsiteY334" fmla="*/ 626915 h 1059043"/>
                <a:gd name="connsiteX335" fmla="*/ 2298268 w 3024845"/>
                <a:gd name="connsiteY335" fmla="*/ 633401 h 1059043"/>
                <a:gd name="connsiteX336" fmla="*/ 2318535 w 3024845"/>
                <a:gd name="connsiteY336" fmla="*/ 633401 h 1059043"/>
                <a:gd name="connsiteX337" fmla="*/ 2318535 w 3024845"/>
                <a:gd name="connsiteY337" fmla="*/ 678798 h 1059043"/>
                <a:gd name="connsiteX338" fmla="*/ 2332722 w 3024845"/>
                <a:gd name="connsiteY338" fmla="*/ 678798 h 1059043"/>
                <a:gd name="connsiteX339" fmla="*/ 2332722 w 3024845"/>
                <a:gd name="connsiteY339" fmla="*/ 665827 h 1059043"/>
                <a:gd name="connsiteX340" fmla="*/ 2348936 w 3024845"/>
                <a:gd name="connsiteY340" fmla="*/ 665827 h 1059043"/>
                <a:gd name="connsiteX341" fmla="*/ 2348936 w 3024845"/>
                <a:gd name="connsiteY341" fmla="*/ 486400 h 1059043"/>
                <a:gd name="connsiteX342" fmla="*/ 2355016 w 3024845"/>
                <a:gd name="connsiteY342" fmla="*/ 479914 h 1059043"/>
                <a:gd name="connsiteX343" fmla="*/ 2427977 w 3024845"/>
                <a:gd name="connsiteY343" fmla="*/ 479914 h 1059043"/>
                <a:gd name="connsiteX344" fmla="*/ 2427977 w 3024845"/>
                <a:gd name="connsiteY344" fmla="*/ 488562 h 1059043"/>
                <a:gd name="connsiteX345" fmla="*/ 2438110 w 3024845"/>
                <a:gd name="connsiteY345" fmla="*/ 488562 h 1059043"/>
                <a:gd name="connsiteX346" fmla="*/ 2438110 w 3024845"/>
                <a:gd name="connsiteY346" fmla="*/ 603136 h 1059043"/>
                <a:gd name="connsiteX347" fmla="*/ 2460404 w 3024845"/>
                <a:gd name="connsiteY347" fmla="*/ 603136 h 1059043"/>
                <a:gd name="connsiteX348" fmla="*/ 2460404 w 3024845"/>
                <a:gd name="connsiteY348" fmla="*/ 536121 h 1059043"/>
                <a:gd name="connsiteX349" fmla="*/ 2486751 w 3024845"/>
                <a:gd name="connsiteY349" fmla="*/ 536121 h 1059043"/>
                <a:gd name="connsiteX350" fmla="*/ 2490804 w 3024845"/>
                <a:gd name="connsiteY350" fmla="*/ 531797 h 1059043"/>
                <a:gd name="connsiteX351" fmla="*/ 2498911 w 3024845"/>
                <a:gd name="connsiteY351" fmla="*/ 531797 h 1059043"/>
                <a:gd name="connsiteX352" fmla="*/ 2502964 w 3024845"/>
                <a:gd name="connsiteY352" fmla="*/ 536121 h 1059043"/>
                <a:gd name="connsiteX353" fmla="*/ 2525258 w 3024845"/>
                <a:gd name="connsiteY353" fmla="*/ 536121 h 1059043"/>
                <a:gd name="connsiteX354" fmla="*/ 2525258 w 3024845"/>
                <a:gd name="connsiteY354" fmla="*/ 419385 h 1059043"/>
                <a:gd name="connsiteX355" fmla="*/ 2582005 w 3024845"/>
                <a:gd name="connsiteY355" fmla="*/ 408576 h 1059043"/>
                <a:gd name="connsiteX356" fmla="*/ 2582005 w 3024845"/>
                <a:gd name="connsiteY356" fmla="*/ 409657 h 1059043"/>
                <a:gd name="connsiteX357" fmla="*/ 2582005 w 3024845"/>
                <a:gd name="connsiteY357" fmla="*/ 417223 h 1059043"/>
                <a:gd name="connsiteX358" fmla="*/ 2608352 w 3024845"/>
                <a:gd name="connsiteY358" fmla="*/ 417223 h 1059043"/>
                <a:gd name="connsiteX359" fmla="*/ 2608352 w 3024845"/>
                <a:gd name="connsiteY359" fmla="*/ 672313 h 1059043"/>
                <a:gd name="connsiteX360" fmla="*/ 2630646 w 3024845"/>
                <a:gd name="connsiteY360" fmla="*/ 672313 h 1059043"/>
                <a:gd name="connsiteX361" fmla="*/ 2630646 w 3024845"/>
                <a:gd name="connsiteY361" fmla="*/ 667989 h 1059043"/>
                <a:gd name="connsiteX362" fmla="*/ 2642806 w 3024845"/>
                <a:gd name="connsiteY362" fmla="*/ 667989 h 1059043"/>
                <a:gd name="connsiteX363" fmla="*/ 2642806 w 3024845"/>
                <a:gd name="connsiteY363" fmla="*/ 672313 h 1059043"/>
                <a:gd name="connsiteX364" fmla="*/ 2667126 w 3024845"/>
                <a:gd name="connsiteY364" fmla="*/ 672313 h 1059043"/>
                <a:gd name="connsiteX365" fmla="*/ 2667126 w 3024845"/>
                <a:gd name="connsiteY365" fmla="*/ 659342 h 1059043"/>
                <a:gd name="connsiteX366" fmla="*/ 2695500 w 3024845"/>
                <a:gd name="connsiteY366" fmla="*/ 659342 h 1059043"/>
                <a:gd name="connsiteX367" fmla="*/ 2707660 w 3024845"/>
                <a:gd name="connsiteY367" fmla="*/ 655018 h 1059043"/>
                <a:gd name="connsiteX368" fmla="*/ 2727927 w 3024845"/>
                <a:gd name="connsiteY368" fmla="*/ 659342 h 1059043"/>
                <a:gd name="connsiteX369" fmla="*/ 2727927 w 3024845"/>
                <a:gd name="connsiteY369" fmla="*/ 642048 h 1059043"/>
                <a:gd name="connsiteX370" fmla="*/ 2736034 w 3024845"/>
                <a:gd name="connsiteY370" fmla="*/ 642048 h 1059043"/>
                <a:gd name="connsiteX371" fmla="*/ 2736034 w 3024845"/>
                <a:gd name="connsiteY371" fmla="*/ 629077 h 1059043"/>
                <a:gd name="connsiteX372" fmla="*/ 2792781 w 3024845"/>
                <a:gd name="connsiteY372" fmla="*/ 629077 h 1059043"/>
                <a:gd name="connsiteX373" fmla="*/ 2792781 w 3024845"/>
                <a:gd name="connsiteY373" fmla="*/ 598812 h 1059043"/>
                <a:gd name="connsiteX374" fmla="*/ 2811021 w 3024845"/>
                <a:gd name="connsiteY374" fmla="*/ 598812 h 1059043"/>
                <a:gd name="connsiteX375" fmla="*/ 2811021 w 3024845"/>
                <a:gd name="connsiteY375" fmla="*/ 592327 h 1059043"/>
                <a:gd name="connsiteX376" fmla="*/ 2823181 w 3024845"/>
                <a:gd name="connsiteY376" fmla="*/ 592327 h 1059043"/>
                <a:gd name="connsiteX377" fmla="*/ 2823181 w 3024845"/>
                <a:gd name="connsiteY377" fmla="*/ 598812 h 1059043"/>
                <a:gd name="connsiteX378" fmla="*/ 2839395 w 3024845"/>
                <a:gd name="connsiteY378" fmla="*/ 598812 h 1059043"/>
                <a:gd name="connsiteX379" fmla="*/ 2839395 w 3024845"/>
                <a:gd name="connsiteY379" fmla="*/ 648533 h 1059043"/>
                <a:gd name="connsiteX380" fmla="*/ 2871822 w 3024845"/>
                <a:gd name="connsiteY380" fmla="*/ 648533 h 1059043"/>
                <a:gd name="connsiteX381" fmla="*/ 2871822 w 3024845"/>
                <a:gd name="connsiteY381" fmla="*/ 622592 h 1059043"/>
                <a:gd name="connsiteX382" fmla="*/ 2910329 w 3024845"/>
                <a:gd name="connsiteY382" fmla="*/ 622592 h 1059043"/>
                <a:gd name="connsiteX383" fmla="*/ 2910329 w 3024845"/>
                <a:gd name="connsiteY383" fmla="*/ 592327 h 1059043"/>
                <a:gd name="connsiteX384" fmla="*/ 2958970 w 3024845"/>
                <a:gd name="connsiteY384" fmla="*/ 592327 h 1059043"/>
                <a:gd name="connsiteX385" fmla="*/ 2958970 w 3024845"/>
                <a:gd name="connsiteY385" fmla="*/ 703483 h 1059043"/>
                <a:gd name="connsiteX386" fmla="*/ 2958970 w 3024845"/>
                <a:gd name="connsiteY386" fmla="*/ 717262 h 1059043"/>
                <a:gd name="connsiteX387" fmla="*/ 3024845 w 3024845"/>
                <a:gd name="connsiteY387" fmla="*/ 717262 h 1059043"/>
                <a:gd name="connsiteX388" fmla="*/ 3024845 w 3024845"/>
                <a:gd name="connsiteY388" fmla="*/ 1059043 h 1059043"/>
                <a:gd name="connsiteX389" fmla="*/ 2054 w 3024845"/>
                <a:gd name="connsiteY389" fmla="*/ 1056710 h 1059043"/>
                <a:gd name="connsiteX390" fmla="*/ 0 w 3024845"/>
                <a:gd name="connsiteY390" fmla="*/ 622592 h 1059043"/>
                <a:gd name="connsiteX391" fmla="*/ 20267 w 3024845"/>
                <a:gd name="connsiteY391" fmla="*/ 622592 h 1059043"/>
                <a:gd name="connsiteX392" fmla="*/ 20774 w 3024845"/>
                <a:gd name="connsiteY392" fmla="*/ 621511 h 1059043"/>
                <a:gd name="connsiteX393" fmla="*/ 24320 w 3024845"/>
                <a:gd name="connsiteY393" fmla="*/ 613945 h 1059043"/>
                <a:gd name="connsiteX394" fmla="*/ 26094 w 3024845"/>
                <a:gd name="connsiteY394" fmla="*/ 614215 h 1059043"/>
                <a:gd name="connsiteX395" fmla="*/ 38507 w 3024845"/>
                <a:gd name="connsiteY395" fmla="*/ 616106 h 1059043"/>
                <a:gd name="connsiteX396" fmla="*/ 39014 w 3024845"/>
                <a:gd name="connsiteY396" fmla="*/ 617458 h 1059043"/>
                <a:gd name="connsiteX397" fmla="*/ 42560 w 3024845"/>
                <a:gd name="connsiteY397" fmla="*/ 626915 h 1059043"/>
                <a:gd name="connsiteX398" fmla="*/ 68907 w 3024845"/>
                <a:gd name="connsiteY398" fmla="*/ 629077 h 1059043"/>
                <a:gd name="connsiteX399" fmla="*/ 68907 w 3024845"/>
                <a:gd name="connsiteY399" fmla="*/ 505856 h 1059043"/>
                <a:gd name="connsiteX400" fmla="*/ 70934 w 3024845"/>
                <a:gd name="connsiteY400" fmla="*/ 505856 h 1059043"/>
                <a:gd name="connsiteX401" fmla="*/ 85121 w 3024845"/>
                <a:gd name="connsiteY401" fmla="*/ 505856 h 1059043"/>
                <a:gd name="connsiteX402" fmla="*/ 85121 w 3024845"/>
                <a:gd name="connsiteY402" fmla="*/ 369664 h 1059043"/>
                <a:gd name="connsiteX403" fmla="*/ 86894 w 3024845"/>
                <a:gd name="connsiteY403" fmla="*/ 369664 h 1059043"/>
                <a:gd name="connsiteX404" fmla="*/ 99308 w 3024845"/>
                <a:gd name="connsiteY404" fmla="*/ 369664 h 1059043"/>
                <a:gd name="connsiteX405" fmla="*/ 99308 w 3024845"/>
                <a:gd name="connsiteY405" fmla="*/ 255090 h 1059043"/>
                <a:gd name="connsiteX406" fmla="*/ 103361 w 3024845"/>
                <a:gd name="connsiteY406" fmla="*/ 226986 h 1059043"/>
                <a:gd name="connsiteX407" fmla="*/ 105388 w 3024845"/>
                <a:gd name="connsiteY407" fmla="*/ 226986 h 1059043"/>
                <a:gd name="connsiteX408" fmla="*/ 119575 w 3024845"/>
                <a:gd name="connsiteY40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30053 w 3024845"/>
                <a:gd name="connsiteY313" fmla="*/ 235634 h 1059043"/>
                <a:gd name="connsiteX314" fmla="*/ 2144240 w 3024845"/>
                <a:gd name="connsiteY314" fmla="*/ 214016 h 1059043"/>
                <a:gd name="connsiteX315" fmla="*/ 2146266 w 3024845"/>
                <a:gd name="connsiteY315" fmla="*/ 131868 h 1059043"/>
                <a:gd name="connsiteX316" fmla="*/ 2144240 w 3024845"/>
                <a:gd name="connsiteY316" fmla="*/ 125383 h 1059043"/>
                <a:gd name="connsiteX317" fmla="*/ 2150320 w 3024845"/>
                <a:gd name="connsiteY317" fmla="*/ 118897 h 1059043"/>
                <a:gd name="connsiteX318" fmla="*/ 2150320 w 3024845"/>
                <a:gd name="connsiteY318" fmla="*/ 60529 h 1059043"/>
                <a:gd name="connsiteX319" fmla="*/ 2152346 w 3024845"/>
                <a:gd name="connsiteY319" fmla="*/ 56206 h 1059043"/>
                <a:gd name="connsiteX320" fmla="*/ 2152346 w 3024845"/>
                <a:gd name="connsiteY320" fmla="*/ 0 h 1059043"/>
                <a:gd name="connsiteX321" fmla="*/ 2162480 w 3024845"/>
                <a:gd name="connsiteY321" fmla="*/ 118897 h 1059043"/>
                <a:gd name="connsiteX322" fmla="*/ 2168560 w 3024845"/>
                <a:gd name="connsiteY322" fmla="*/ 125383 h 1059043"/>
                <a:gd name="connsiteX323" fmla="*/ 2166533 w 3024845"/>
                <a:gd name="connsiteY323" fmla="*/ 131868 h 1059043"/>
                <a:gd name="connsiteX324" fmla="*/ 2180720 w 3024845"/>
                <a:gd name="connsiteY324" fmla="*/ 555577 h 1059043"/>
                <a:gd name="connsiteX325" fmla="*/ 2245574 w 3024845"/>
                <a:gd name="connsiteY325" fmla="*/ 555577 h 1059043"/>
                <a:gd name="connsiteX326" fmla="*/ 2245574 w 3024845"/>
                <a:gd name="connsiteY326" fmla="*/ 631239 h 1059043"/>
                <a:gd name="connsiteX327" fmla="*/ 2253681 w 3024845"/>
                <a:gd name="connsiteY327" fmla="*/ 631239 h 1059043"/>
                <a:gd name="connsiteX328" fmla="*/ 2255708 w 3024845"/>
                <a:gd name="connsiteY328" fmla="*/ 624754 h 1059043"/>
                <a:gd name="connsiteX329" fmla="*/ 2261788 w 3024845"/>
                <a:gd name="connsiteY329" fmla="*/ 624754 h 1059043"/>
                <a:gd name="connsiteX330" fmla="*/ 2263815 w 3024845"/>
                <a:gd name="connsiteY330" fmla="*/ 633401 h 1059043"/>
                <a:gd name="connsiteX331" fmla="*/ 2275975 w 3024845"/>
                <a:gd name="connsiteY331" fmla="*/ 633401 h 1059043"/>
                <a:gd name="connsiteX332" fmla="*/ 2275975 w 3024845"/>
                <a:gd name="connsiteY332" fmla="*/ 626915 h 1059043"/>
                <a:gd name="connsiteX333" fmla="*/ 2298268 w 3024845"/>
                <a:gd name="connsiteY333" fmla="*/ 626915 h 1059043"/>
                <a:gd name="connsiteX334" fmla="*/ 2298268 w 3024845"/>
                <a:gd name="connsiteY334" fmla="*/ 633401 h 1059043"/>
                <a:gd name="connsiteX335" fmla="*/ 2318535 w 3024845"/>
                <a:gd name="connsiteY335" fmla="*/ 633401 h 1059043"/>
                <a:gd name="connsiteX336" fmla="*/ 2318535 w 3024845"/>
                <a:gd name="connsiteY336" fmla="*/ 678798 h 1059043"/>
                <a:gd name="connsiteX337" fmla="*/ 2332722 w 3024845"/>
                <a:gd name="connsiteY337" fmla="*/ 678798 h 1059043"/>
                <a:gd name="connsiteX338" fmla="*/ 2332722 w 3024845"/>
                <a:gd name="connsiteY338" fmla="*/ 665827 h 1059043"/>
                <a:gd name="connsiteX339" fmla="*/ 2348936 w 3024845"/>
                <a:gd name="connsiteY339" fmla="*/ 665827 h 1059043"/>
                <a:gd name="connsiteX340" fmla="*/ 2348936 w 3024845"/>
                <a:gd name="connsiteY340" fmla="*/ 486400 h 1059043"/>
                <a:gd name="connsiteX341" fmla="*/ 2355016 w 3024845"/>
                <a:gd name="connsiteY341" fmla="*/ 479914 h 1059043"/>
                <a:gd name="connsiteX342" fmla="*/ 2427977 w 3024845"/>
                <a:gd name="connsiteY342" fmla="*/ 479914 h 1059043"/>
                <a:gd name="connsiteX343" fmla="*/ 2427977 w 3024845"/>
                <a:gd name="connsiteY343" fmla="*/ 488562 h 1059043"/>
                <a:gd name="connsiteX344" fmla="*/ 2438110 w 3024845"/>
                <a:gd name="connsiteY344" fmla="*/ 488562 h 1059043"/>
                <a:gd name="connsiteX345" fmla="*/ 2438110 w 3024845"/>
                <a:gd name="connsiteY345" fmla="*/ 603136 h 1059043"/>
                <a:gd name="connsiteX346" fmla="*/ 2460404 w 3024845"/>
                <a:gd name="connsiteY346" fmla="*/ 603136 h 1059043"/>
                <a:gd name="connsiteX347" fmla="*/ 2460404 w 3024845"/>
                <a:gd name="connsiteY347" fmla="*/ 536121 h 1059043"/>
                <a:gd name="connsiteX348" fmla="*/ 2486751 w 3024845"/>
                <a:gd name="connsiteY348" fmla="*/ 536121 h 1059043"/>
                <a:gd name="connsiteX349" fmla="*/ 2490804 w 3024845"/>
                <a:gd name="connsiteY349" fmla="*/ 531797 h 1059043"/>
                <a:gd name="connsiteX350" fmla="*/ 2498911 w 3024845"/>
                <a:gd name="connsiteY350" fmla="*/ 531797 h 1059043"/>
                <a:gd name="connsiteX351" fmla="*/ 2502964 w 3024845"/>
                <a:gd name="connsiteY351" fmla="*/ 536121 h 1059043"/>
                <a:gd name="connsiteX352" fmla="*/ 2525258 w 3024845"/>
                <a:gd name="connsiteY352" fmla="*/ 536121 h 1059043"/>
                <a:gd name="connsiteX353" fmla="*/ 2525258 w 3024845"/>
                <a:gd name="connsiteY353" fmla="*/ 419385 h 1059043"/>
                <a:gd name="connsiteX354" fmla="*/ 2582005 w 3024845"/>
                <a:gd name="connsiteY354" fmla="*/ 408576 h 1059043"/>
                <a:gd name="connsiteX355" fmla="*/ 2582005 w 3024845"/>
                <a:gd name="connsiteY355" fmla="*/ 409657 h 1059043"/>
                <a:gd name="connsiteX356" fmla="*/ 2582005 w 3024845"/>
                <a:gd name="connsiteY356" fmla="*/ 417223 h 1059043"/>
                <a:gd name="connsiteX357" fmla="*/ 2608352 w 3024845"/>
                <a:gd name="connsiteY357" fmla="*/ 417223 h 1059043"/>
                <a:gd name="connsiteX358" fmla="*/ 2608352 w 3024845"/>
                <a:gd name="connsiteY358" fmla="*/ 672313 h 1059043"/>
                <a:gd name="connsiteX359" fmla="*/ 2630646 w 3024845"/>
                <a:gd name="connsiteY359" fmla="*/ 672313 h 1059043"/>
                <a:gd name="connsiteX360" fmla="*/ 2630646 w 3024845"/>
                <a:gd name="connsiteY360" fmla="*/ 667989 h 1059043"/>
                <a:gd name="connsiteX361" fmla="*/ 2642806 w 3024845"/>
                <a:gd name="connsiteY361" fmla="*/ 667989 h 1059043"/>
                <a:gd name="connsiteX362" fmla="*/ 2642806 w 3024845"/>
                <a:gd name="connsiteY362" fmla="*/ 672313 h 1059043"/>
                <a:gd name="connsiteX363" fmla="*/ 2667126 w 3024845"/>
                <a:gd name="connsiteY363" fmla="*/ 672313 h 1059043"/>
                <a:gd name="connsiteX364" fmla="*/ 2667126 w 3024845"/>
                <a:gd name="connsiteY364" fmla="*/ 659342 h 1059043"/>
                <a:gd name="connsiteX365" fmla="*/ 2695500 w 3024845"/>
                <a:gd name="connsiteY365" fmla="*/ 659342 h 1059043"/>
                <a:gd name="connsiteX366" fmla="*/ 2707660 w 3024845"/>
                <a:gd name="connsiteY366" fmla="*/ 655018 h 1059043"/>
                <a:gd name="connsiteX367" fmla="*/ 2727927 w 3024845"/>
                <a:gd name="connsiteY367" fmla="*/ 659342 h 1059043"/>
                <a:gd name="connsiteX368" fmla="*/ 2727927 w 3024845"/>
                <a:gd name="connsiteY368" fmla="*/ 642048 h 1059043"/>
                <a:gd name="connsiteX369" fmla="*/ 2736034 w 3024845"/>
                <a:gd name="connsiteY369" fmla="*/ 642048 h 1059043"/>
                <a:gd name="connsiteX370" fmla="*/ 2736034 w 3024845"/>
                <a:gd name="connsiteY370" fmla="*/ 629077 h 1059043"/>
                <a:gd name="connsiteX371" fmla="*/ 2792781 w 3024845"/>
                <a:gd name="connsiteY371" fmla="*/ 629077 h 1059043"/>
                <a:gd name="connsiteX372" fmla="*/ 2792781 w 3024845"/>
                <a:gd name="connsiteY372" fmla="*/ 598812 h 1059043"/>
                <a:gd name="connsiteX373" fmla="*/ 2811021 w 3024845"/>
                <a:gd name="connsiteY373" fmla="*/ 598812 h 1059043"/>
                <a:gd name="connsiteX374" fmla="*/ 2811021 w 3024845"/>
                <a:gd name="connsiteY374" fmla="*/ 592327 h 1059043"/>
                <a:gd name="connsiteX375" fmla="*/ 2823181 w 3024845"/>
                <a:gd name="connsiteY375" fmla="*/ 592327 h 1059043"/>
                <a:gd name="connsiteX376" fmla="*/ 2823181 w 3024845"/>
                <a:gd name="connsiteY376" fmla="*/ 598812 h 1059043"/>
                <a:gd name="connsiteX377" fmla="*/ 2839395 w 3024845"/>
                <a:gd name="connsiteY377" fmla="*/ 598812 h 1059043"/>
                <a:gd name="connsiteX378" fmla="*/ 2839395 w 3024845"/>
                <a:gd name="connsiteY378" fmla="*/ 648533 h 1059043"/>
                <a:gd name="connsiteX379" fmla="*/ 2871822 w 3024845"/>
                <a:gd name="connsiteY379" fmla="*/ 648533 h 1059043"/>
                <a:gd name="connsiteX380" fmla="*/ 2871822 w 3024845"/>
                <a:gd name="connsiteY380" fmla="*/ 622592 h 1059043"/>
                <a:gd name="connsiteX381" fmla="*/ 2910329 w 3024845"/>
                <a:gd name="connsiteY381" fmla="*/ 622592 h 1059043"/>
                <a:gd name="connsiteX382" fmla="*/ 2910329 w 3024845"/>
                <a:gd name="connsiteY382" fmla="*/ 592327 h 1059043"/>
                <a:gd name="connsiteX383" fmla="*/ 2958970 w 3024845"/>
                <a:gd name="connsiteY383" fmla="*/ 592327 h 1059043"/>
                <a:gd name="connsiteX384" fmla="*/ 2958970 w 3024845"/>
                <a:gd name="connsiteY384" fmla="*/ 703483 h 1059043"/>
                <a:gd name="connsiteX385" fmla="*/ 2958970 w 3024845"/>
                <a:gd name="connsiteY385" fmla="*/ 717262 h 1059043"/>
                <a:gd name="connsiteX386" fmla="*/ 3024845 w 3024845"/>
                <a:gd name="connsiteY386" fmla="*/ 717262 h 1059043"/>
                <a:gd name="connsiteX387" fmla="*/ 3024845 w 3024845"/>
                <a:gd name="connsiteY387" fmla="*/ 1059043 h 1059043"/>
                <a:gd name="connsiteX388" fmla="*/ 2054 w 3024845"/>
                <a:gd name="connsiteY388" fmla="*/ 1056710 h 1059043"/>
                <a:gd name="connsiteX389" fmla="*/ 0 w 3024845"/>
                <a:gd name="connsiteY389" fmla="*/ 622592 h 1059043"/>
                <a:gd name="connsiteX390" fmla="*/ 20267 w 3024845"/>
                <a:gd name="connsiteY390" fmla="*/ 622592 h 1059043"/>
                <a:gd name="connsiteX391" fmla="*/ 20774 w 3024845"/>
                <a:gd name="connsiteY391" fmla="*/ 621511 h 1059043"/>
                <a:gd name="connsiteX392" fmla="*/ 24320 w 3024845"/>
                <a:gd name="connsiteY392" fmla="*/ 613945 h 1059043"/>
                <a:gd name="connsiteX393" fmla="*/ 26094 w 3024845"/>
                <a:gd name="connsiteY393" fmla="*/ 614215 h 1059043"/>
                <a:gd name="connsiteX394" fmla="*/ 38507 w 3024845"/>
                <a:gd name="connsiteY394" fmla="*/ 616106 h 1059043"/>
                <a:gd name="connsiteX395" fmla="*/ 39014 w 3024845"/>
                <a:gd name="connsiteY395" fmla="*/ 617458 h 1059043"/>
                <a:gd name="connsiteX396" fmla="*/ 42560 w 3024845"/>
                <a:gd name="connsiteY396" fmla="*/ 626915 h 1059043"/>
                <a:gd name="connsiteX397" fmla="*/ 68907 w 3024845"/>
                <a:gd name="connsiteY397" fmla="*/ 629077 h 1059043"/>
                <a:gd name="connsiteX398" fmla="*/ 68907 w 3024845"/>
                <a:gd name="connsiteY398" fmla="*/ 505856 h 1059043"/>
                <a:gd name="connsiteX399" fmla="*/ 70934 w 3024845"/>
                <a:gd name="connsiteY399" fmla="*/ 505856 h 1059043"/>
                <a:gd name="connsiteX400" fmla="*/ 85121 w 3024845"/>
                <a:gd name="connsiteY400" fmla="*/ 505856 h 1059043"/>
                <a:gd name="connsiteX401" fmla="*/ 85121 w 3024845"/>
                <a:gd name="connsiteY401" fmla="*/ 369664 h 1059043"/>
                <a:gd name="connsiteX402" fmla="*/ 86894 w 3024845"/>
                <a:gd name="connsiteY402" fmla="*/ 369664 h 1059043"/>
                <a:gd name="connsiteX403" fmla="*/ 99308 w 3024845"/>
                <a:gd name="connsiteY403" fmla="*/ 369664 h 1059043"/>
                <a:gd name="connsiteX404" fmla="*/ 99308 w 3024845"/>
                <a:gd name="connsiteY404" fmla="*/ 255090 h 1059043"/>
                <a:gd name="connsiteX405" fmla="*/ 103361 w 3024845"/>
                <a:gd name="connsiteY405" fmla="*/ 226986 h 1059043"/>
                <a:gd name="connsiteX406" fmla="*/ 105388 w 3024845"/>
                <a:gd name="connsiteY406" fmla="*/ 226986 h 1059043"/>
                <a:gd name="connsiteX407" fmla="*/ 119575 w 3024845"/>
                <a:gd name="connsiteY407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30053 w 3024845"/>
                <a:gd name="connsiteY312" fmla="*/ 252928 h 1059043"/>
                <a:gd name="connsiteX313" fmla="*/ 2144240 w 3024845"/>
                <a:gd name="connsiteY313" fmla="*/ 214016 h 1059043"/>
                <a:gd name="connsiteX314" fmla="*/ 2146266 w 3024845"/>
                <a:gd name="connsiteY314" fmla="*/ 131868 h 1059043"/>
                <a:gd name="connsiteX315" fmla="*/ 2144240 w 3024845"/>
                <a:gd name="connsiteY315" fmla="*/ 125383 h 1059043"/>
                <a:gd name="connsiteX316" fmla="*/ 2150320 w 3024845"/>
                <a:gd name="connsiteY316" fmla="*/ 118897 h 1059043"/>
                <a:gd name="connsiteX317" fmla="*/ 2150320 w 3024845"/>
                <a:gd name="connsiteY317" fmla="*/ 60529 h 1059043"/>
                <a:gd name="connsiteX318" fmla="*/ 2152346 w 3024845"/>
                <a:gd name="connsiteY318" fmla="*/ 56206 h 1059043"/>
                <a:gd name="connsiteX319" fmla="*/ 2152346 w 3024845"/>
                <a:gd name="connsiteY319" fmla="*/ 0 h 1059043"/>
                <a:gd name="connsiteX320" fmla="*/ 2162480 w 3024845"/>
                <a:gd name="connsiteY320" fmla="*/ 118897 h 1059043"/>
                <a:gd name="connsiteX321" fmla="*/ 2168560 w 3024845"/>
                <a:gd name="connsiteY321" fmla="*/ 125383 h 1059043"/>
                <a:gd name="connsiteX322" fmla="*/ 2166533 w 3024845"/>
                <a:gd name="connsiteY322" fmla="*/ 131868 h 1059043"/>
                <a:gd name="connsiteX323" fmla="*/ 2180720 w 3024845"/>
                <a:gd name="connsiteY323" fmla="*/ 555577 h 1059043"/>
                <a:gd name="connsiteX324" fmla="*/ 2245574 w 3024845"/>
                <a:gd name="connsiteY324" fmla="*/ 555577 h 1059043"/>
                <a:gd name="connsiteX325" fmla="*/ 2245574 w 3024845"/>
                <a:gd name="connsiteY325" fmla="*/ 631239 h 1059043"/>
                <a:gd name="connsiteX326" fmla="*/ 2253681 w 3024845"/>
                <a:gd name="connsiteY326" fmla="*/ 631239 h 1059043"/>
                <a:gd name="connsiteX327" fmla="*/ 2255708 w 3024845"/>
                <a:gd name="connsiteY327" fmla="*/ 624754 h 1059043"/>
                <a:gd name="connsiteX328" fmla="*/ 2261788 w 3024845"/>
                <a:gd name="connsiteY328" fmla="*/ 624754 h 1059043"/>
                <a:gd name="connsiteX329" fmla="*/ 2263815 w 3024845"/>
                <a:gd name="connsiteY329" fmla="*/ 633401 h 1059043"/>
                <a:gd name="connsiteX330" fmla="*/ 2275975 w 3024845"/>
                <a:gd name="connsiteY330" fmla="*/ 633401 h 1059043"/>
                <a:gd name="connsiteX331" fmla="*/ 2275975 w 3024845"/>
                <a:gd name="connsiteY331" fmla="*/ 626915 h 1059043"/>
                <a:gd name="connsiteX332" fmla="*/ 2298268 w 3024845"/>
                <a:gd name="connsiteY332" fmla="*/ 626915 h 1059043"/>
                <a:gd name="connsiteX333" fmla="*/ 2298268 w 3024845"/>
                <a:gd name="connsiteY333" fmla="*/ 633401 h 1059043"/>
                <a:gd name="connsiteX334" fmla="*/ 2318535 w 3024845"/>
                <a:gd name="connsiteY334" fmla="*/ 633401 h 1059043"/>
                <a:gd name="connsiteX335" fmla="*/ 2318535 w 3024845"/>
                <a:gd name="connsiteY335" fmla="*/ 678798 h 1059043"/>
                <a:gd name="connsiteX336" fmla="*/ 2332722 w 3024845"/>
                <a:gd name="connsiteY336" fmla="*/ 678798 h 1059043"/>
                <a:gd name="connsiteX337" fmla="*/ 2332722 w 3024845"/>
                <a:gd name="connsiteY337" fmla="*/ 665827 h 1059043"/>
                <a:gd name="connsiteX338" fmla="*/ 2348936 w 3024845"/>
                <a:gd name="connsiteY338" fmla="*/ 665827 h 1059043"/>
                <a:gd name="connsiteX339" fmla="*/ 2348936 w 3024845"/>
                <a:gd name="connsiteY339" fmla="*/ 486400 h 1059043"/>
                <a:gd name="connsiteX340" fmla="*/ 2355016 w 3024845"/>
                <a:gd name="connsiteY340" fmla="*/ 479914 h 1059043"/>
                <a:gd name="connsiteX341" fmla="*/ 2427977 w 3024845"/>
                <a:gd name="connsiteY341" fmla="*/ 479914 h 1059043"/>
                <a:gd name="connsiteX342" fmla="*/ 2427977 w 3024845"/>
                <a:gd name="connsiteY342" fmla="*/ 488562 h 1059043"/>
                <a:gd name="connsiteX343" fmla="*/ 2438110 w 3024845"/>
                <a:gd name="connsiteY343" fmla="*/ 488562 h 1059043"/>
                <a:gd name="connsiteX344" fmla="*/ 2438110 w 3024845"/>
                <a:gd name="connsiteY344" fmla="*/ 603136 h 1059043"/>
                <a:gd name="connsiteX345" fmla="*/ 2460404 w 3024845"/>
                <a:gd name="connsiteY345" fmla="*/ 603136 h 1059043"/>
                <a:gd name="connsiteX346" fmla="*/ 2460404 w 3024845"/>
                <a:gd name="connsiteY346" fmla="*/ 536121 h 1059043"/>
                <a:gd name="connsiteX347" fmla="*/ 2486751 w 3024845"/>
                <a:gd name="connsiteY347" fmla="*/ 536121 h 1059043"/>
                <a:gd name="connsiteX348" fmla="*/ 2490804 w 3024845"/>
                <a:gd name="connsiteY348" fmla="*/ 531797 h 1059043"/>
                <a:gd name="connsiteX349" fmla="*/ 2498911 w 3024845"/>
                <a:gd name="connsiteY349" fmla="*/ 531797 h 1059043"/>
                <a:gd name="connsiteX350" fmla="*/ 2502964 w 3024845"/>
                <a:gd name="connsiteY350" fmla="*/ 536121 h 1059043"/>
                <a:gd name="connsiteX351" fmla="*/ 2525258 w 3024845"/>
                <a:gd name="connsiteY351" fmla="*/ 536121 h 1059043"/>
                <a:gd name="connsiteX352" fmla="*/ 2525258 w 3024845"/>
                <a:gd name="connsiteY352" fmla="*/ 419385 h 1059043"/>
                <a:gd name="connsiteX353" fmla="*/ 2582005 w 3024845"/>
                <a:gd name="connsiteY353" fmla="*/ 408576 h 1059043"/>
                <a:gd name="connsiteX354" fmla="*/ 2582005 w 3024845"/>
                <a:gd name="connsiteY354" fmla="*/ 409657 h 1059043"/>
                <a:gd name="connsiteX355" fmla="*/ 2582005 w 3024845"/>
                <a:gd name="connsiteY355" fmla="*/ 417223 h 1059043"/>
                <a:gd name="connsiteX356" fmla="*/ 2608352 w 3024845"/>
                <a:gd name="connsiteY356" fmla="*/ 417223 h 1059043"/>
                <a:gd name="connsiteX357" fmla="*/ 2608352 w 3024845"/>
                <a:gd name="connsiteY357" fmla="*/ 672313 h 1059043"/>
                <a:gd name="connsiteX358" fmla="*/ 2630646 w 3024845"/>
                <a:gd name="connsiteY358" fmla="*/ 672313 h 1059043"/>
                <a:gd name="connsiteX359" fmla="*/ 2630646 w 3024845"/>
                <a:gd name="connsiteY359" fmla="*/ 667989 h 1059043"/>
                <a:gd name="connsiteX360" fmla="*/ 2642806 w 3024845"/>
                <a:gd name="connsiteY360" fmla="*/ 667989 h 1059043"/>
                <a:gd name="connsiteX361" fmla="*/ 2642806 w 3024845"/>
                <a:gd name="connsiteY361" fmla="*/ 672313 h 1059043"/>
                <a:gd name="connsiteX362" fmla="*/ 2667126 w 3024845"/>
                <a:gd name="connsiteY362" fmla="*/ 672313 h 1059043"/>
                <a:gd name="connsiteX363" fmla="*/ 2667126 w 3024845"/>
                <a:gd name="connsiteY363" fmla="*/ 659342 h 1059043"/>
                <a:gd name="connsiteX364" fmla="*/ 2695500 w 3024845"/>
                <a:gd name="connsiteY364" fmla="*/ 659342 h 1059043"/>
                <a:gd name="connsiteX365" fmla="*/ 2707660 w 3024845"/>
                <a:gd name="connsiteY365" fmla="*/ 655018 h 1059043"/>
                <a:gd name="connsiteX366" fmla="*/ 2727927 w 3024845"/>
                <a:gd name="connsiteY366" fmla="*/ 659342 h 1059043"/>
                <a:gd name="connsiteX367" fmla="*/ 2727927 w 3024845"/>
                <a:gd name="connsiteY367" fmla="*/ 642048 h 1059043"/>
                <a:gd name="connsiteX368" fmla="*/ 2736034 w 3024845"/>
                <a:gd name="connsiteY368" fmla="*/ 642048 h 1059043"/>
                <a:gd name="connsiteX369" fmla="*/ 2736034 w 3024845"/>
                <a:gd name="connsiteY369" fmla="*/ 629077 h 1059043"/>
                <a:gd name="connsiteX370" fmla="*/ 2792781 w 3024845"/>
                <a:gd name="connsiteY370" fmla="*/ 629077 h 1059043"/>
                <a:gd name="connsiteX371" fmla="*/ 2792781 w 3024845"/>
                <a:gd name="connsiteY371" fmla="*/ 598812 h 1059043"/>
                <a:gd name="connsiteX372" fmla="*/ 2811021 w 3024845"/>
                <a:gd name="connsiteY372" fmla="*/ 598812 h 1059043"/>
                <a:gd name="connsiteX373" fmla="*/ 2811021 w 3024845"/>
                <a:gd name="connsiteY373" fmla="*/ 592327 h 1059043"/>
                <a:gd name="connsiteX374" fmla="*/ 2823181 w 3024845"/>
                <a:gd name="connsiteY374" fmla="*/ 592327 h 1059043"/>
                <a:gd name="connsiteX375" fmla="*/ 2823181 w 3024845"/>
                <a:gd name="connsiteY375" fmla="*/ 598812 h 1059043"/>
                <a:gd name="connsiteX376" fmla="*/ 2839395 w 3024845"/>
                <a:gd name="connsiteY376" fmla="*/ 598812 h 1059043"/>
                <a:gd name="connsiteX377" fmla="*/ 2839395 w 3024845"/>
                <a:gd name="connsiteY377" fmla="*/ 648533 h 1059043"/>
                <a:gd name="connsiteX378" fmla="*/ 2871822 w 3024845"/>
                <a:gd name="connsiteY378" fmla="*/ 648533 h 1059043"/>
                <a:gd name="connsiteX379" fmla="*/ 2871822 w 3024845"/>
                <a:gd name="connsiteY379" fmla="*/ 622592 h 1059043"/>
                <a:gd name="connsiteX380" fmla="*/ 2910329 w 3024845"/>
                <a:gd name="connsiteY380" fmla="*/ 622592 h 1059043"/>
                <a:gd name="connsiteX381" fmla="*/ 2910329 w 3024845"/>
                <a:gd name="connsiteY381" fmla="*/ 592327 h 1059043"/>
                <a:gd name="connsiteX382" fmla="*/ 2958970 w 3024845"/>
                <a:gd name="connsiteY382" fmla="*/ 592327 h 1059043"/>
                <a:gd name="connsiteX383" fmla="*/ 2958970 w 3024845"/>
                <a:gd name="connsiteY383" fmla="*/ 703483 h 1059043"/>
                <a:gd name="connsiteX384" fmla="*/ 2958970 w 3024845"/>
                <a:gd name="connsiteY384" fmla="*/ 717262 h 1059043"/>
                <a:gd name="connsiteX385" fmla="*/ 3024845 w 3024845"/>
                <a:gd name="connsiteY385" fmla="*/ 717262 h 1059043"/>
                <a:gd name="connsiteX386" fmla="*/ 3024845 w 3024845"/>
                <a:gd name="connsiteY386" fmla="*/ 1059043 h 1059043"/>
                <a:gd name="connsiteX387" fmla="*/ 2054 w 3024845"/>
                <a:gd name="connsiteY387" fmla="*/ 1056710 h 1059043"/>
                <a:gd name="connsiteX388" fmla="*/ 0 w 3024845"/>
                <a:gd name="connsiteY388" fmla="*/ 622592 h 1059043"/>
                <a:gd name="connsiteX389" fmla="*/ 20267 w 3024845"/>
                <a:gd name="connsiteY389" fmla="*/ 622592 h 1059043"/>
                <a:gd name="connsiteX390" fmla="*/ 20774 w 3024845"/>
                <a:gd name="connsiteY390" fmla="*/ 621511 h 1059043"/>
                <a:gd name="connsiteX391" fmla="*/ 24320 w 3024845"/>
                <a:gd name="connsiteY391" fmla="*/ 613945 h 1059043"/>
                <a:gd name="connsiteX392" fmla="*/ 26094 w 3024845"/>
                <a:gd name="connsiteY392" fmla="*/ 614215 h 1059043"/>
                <a:gd name="connsiteX393" fmla="*/ 38507 w 3024845"/>
                <a:gd name="connsiteY393" fmla="*/ 616106 h 1059043"/>
                <a:gd name="connsiteX394" fmla="*/ 39014 w 3024845"/>
                <a:gd name="connsiteY394" fmla="*/ 617458 h 1059043"/>
                <a:gd name="connsiteX395" fmla="*/ 42560 w 3024845"/>
                <a:gd name="connsiteY395" fmla="*/ 626915 h 1059043"/>
                <a:gd name="connsiteX396" fmla="*/ 68907 w 3024845"/>
                <a:gd name="connsiteY396" fmla="*/ 629077 h 1059043"/>
                <a:gd name="connsiteX397" fmla="*/ 68907 w 3024845"/>
                <a:gd name="connsiteY397" fmla="*/ 505856 h 1059043"/>
                <a:gd name="connsiteX398" fmla="*/ 70934 w 3024845"/>
                <a:gd name="connsiteY398" fmla="*/ 505856 h 1059043"/>
                <a:gd name="connsiteX399" fmla="*/ 85121 w 3024845"/>
                <a:gd name="connsiteY399" fmla="*/ 505856 h 1059043"/>
                <a:gd name="connsiteX400" fmla="*/ 85121 w 3024845"/>
                <a:gd name="connsiteY400" fmla="*/ 369664 h 1059043"/>
                <a:gd name="connsiteX401" fmla="*/ 86894 w 3024845"/>
                <a:gd name="connsiteY401" fmla="*/ 369664 h 1059043"/>
                <a:gd name="connsiteX402" fmla="*/ 99308 w 3024845"/>
                <a:gd name="connsiteY402" fmla="*/ 369664 h 1059043"/>
                <a:gd name="connsiteX403" fmla="*/ 99308 w 3024845"/>
                <a:gd name="connsiteY403" fmla="*/ 255090 h 1059043"/>
                <a:gd name="connsiteX404" fmla="*/ 103361 w 3024845"/>
                <a:gd name="connsiteY404" fmla="*/ 226986 h 1059043"/>
                <a:gd name="connsiteX405" fmla="*/ 105388 w 3024845"/>
                <a:gd name="connsiteY405" fmla="*/ 226986 h 1059043"/>
                <a:gd name="connsiteX406" fmla="*/ 119575 w 3024845"/>
                <a:gd name="connsiteY406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21946 w 3024845"/>
                <a:gd name="connsiteY311" fmla="*/ 276707 h 1059043"/>
                <a:gd name="connsiteX312" fmla="*/ 2144240 w 3024845"/>
                <a:gd name="connsiteY312" fmla="*/ 214016 h 1059043"/>
                <a:gd name="connsiteX313" fmla="*/ 2146266 w 3024845"/>
                <a:gd name="connsiteY313" fmla="*/ 131868 h 1059043"/>
                <a:gd name="connsiteX314" fmla="*/ 2144240 w 3024845"/>
                <a:gd name="connsiteY314" fmla="*/ 125383 h 1059043"/>
                <a:gd name="connsiteX315" fmla="*/ 2150320 w 3024845"/>
                <a:gd name="connsiteY315" fmla="*/ 118897 h 1059043"/>
                <a:gd name="connsiteX316" fmla="*/ 2150320 w 3024845"/>
                <a:gd name="connsiteY316" fmla="*/ 60529 h 1059043"/>
                <a:gd name="connsiteX317" fmla="*/ 2152346 w 3024845"/>
                <a:gd name="connsiteY317" fmla="*/ 56206 h 1059043"/>
                <a:gd name="connsiteX318" fmla="*/ 2152346 w 3024845"/>
                <a:gd name="connsiteY318" fmla="*/ 0 h 1059043"/>
                <a:gd name="connsiteX319" fmla="*/ 2162480 w 3024845"/>
                <a:gd name="connsiteY319" fmla="*/ 118897 h 1059043"/>
                <a:gd name="connsiteX320" fmla="*/ 2168560 w 3024845"/>
                <a:gd name="connsiteY320" fmla="*/ 125383 h 1059043"/>
                <a:gd name="connsiteX321" fmla="*/ 2166533 w 3024845"/>
                <a:gd name="connsiteY321" fmla="*/ 131868 h 1059043"/>
                <a:gd name="connsiteX322" fmla="*/ 2180720 w 3024845"/>
                <a:gd name="connsiteY322" fmla="*/ 555577 h 1059043"/>
                <a:gd name="connsiteX323" fmla="*/ 2245574 w 3024845"/>
                <a:gd name="connsiteY323" fmla="*/ 555577 h 1059043"/>
                <a:gd name="connsiteX324" fmla="*/ 2245574 w 3024845"/>
                <a:gd name="connsiteY324" fmla="*/ 631239 h 1059043"/>
                <a:gd name="connsiteX325" fmla="*/ 2253681 w 3024845"/>
                <a:gd name="connsiteY325" fmla="*/ 631239 h 1059043"/>
                <a:gd name="connsiteX326" fmla="*/ 2255708 w 3024845"/>
                <a:gd name="connsiteY326" fmla="*/ 624754 h 1059043"/>
                <a:gd name="connsiteX327" fmla="*/ 2261788 w 3024845"/>
                <a:gd name="connsiteY327" fmla="*/ 624754 h 1059043"/>
                <a:gd name="connsiteX328" fmla="*/ 2263815 w 3024845"/>
                <a:gd name="connsiteY328" fmla="*/ 633401 h 1059043"/>
                <a:gd name="connsiteX329" fmla="*/ 2275975 w 3024845"/>
                <a:gd name="connsiteY329" fmla="*/ 633401 h 1059043"/>
                <a:gd name="connsiteX330" fmla="*/ 2275975 w 3024845"/>
                <a:gd name="connsiteY330" fmla="*/ 626915 h 1059043"/>
                <a:gd name="connsiteX331" fmla="*/ 2298268 w 3024845"/>
                <a:gd name="connsiteY331" fmla="*/ 626915 h 1059043"/>
                <a:gd name="connsiteX332" fmla="*/ 2298268 w 3024845"/>
                <a:gd name="connsiteY332" fmla="*/ 633401 h 1059043"/>
                <a:gd name="connsiteX333" fmla="*/ 2318535 w 3024845"/>
                <a:gd name="connsiteY333" fmla="*/ 633401 h 1059043"/>
                <a:gd name="connsiteX334" fmla="*/ 2318535 w 3024845"/>
                <a:gd name="connsiteY334" fmla="*/ 678798 h 1059043"/>
                <a:gd name="connsiteX335" fmla="*/ 2332722 w 3024845"/>
                <a:gd name="connsiteY335" fmla="*/ 678798 h 1059043"/>
                <a:gd name="connsiteX336" fmla="*/ 2332722 w 3024845"/>
                <a:gd name="connsiteY336" fmla="*/ 665827 h 1059043"/>
                <a:gd name="connsiteX337" fmla="*/ 2348936 w 3024845"/>
                <a:gd name="connsiteY337" fmla="*/ 665827 h 1059043"/>
                <a:gd name="connsiteX338" fmla="*/ 2348936 w 3024845"/>
                <a:gd name="connsiteY338" fmla="*/ 486400 h 1059043"/>
                <a:gd name="connsiteX339" fmla="*/ 2355016 w 3024845"/>
                <a:gd name="connsiteY339" fmla="*/ 479914 h 1059043"/>
                <a:gd name="connsiteX340" fmla="*/ 2427977 w 3024845"/>
                <a:gd name="connsiteY340" fmla="*/ 479914 h 1059043"/>
                <a:gd name="connsiteX341" fmla="*/ 2427977 w 3024845"/>
                <a:gd name="connsiteY341" fmla="*/ 488562 h 1059043"/>
                <a:gd name="connsiteX342" fmla="*/ 2438110 w 3024845"/>
                <a:gd name="connsiteY342" fmla="*/ 488562 h 1059043"/>
                <a:gd name="connsiteX343" fmla="*/ 2438110 w 3024845"/>
                <a:gd name="connsiteY343" fmla="*/ 603136 h 1059043"/>
                <a:gd name="connsiteX344" fmla="*/ 2460404 w 3024845"/>
                <a:gd name="connsiteY344" fmla="*/ 603136 h 1059043"/>
                <a:gd name="connsiteX345" fmla="*/ 2460404 w 3024845"/>
                <a:gd name="connsiteY345" fmla="*/ 536121 h 1059043"/>
                <a:gd name="connsiteX346" fmla="*/ 2486751 w 3024845"/>
                <a:gd name="connsiteY346" fmla="*/ 536121 h 1059043"/>
                <a:gd name="connsiteX347" fmla="*/ 2490804 w 3024845"/>
                <a:gd name="connsiteY347" fmla="*/ 531797 h 1059043"/>
                <a:gd name="connsiteX348" fmla="*/ 2498911 w 3024845"/>
                <a:gd name="connsiteY348" fmla="*/ 531797 h 1059043"/>
                <a:gd name="connsiteX349" fmla="*/ 2502964 w 3024845"/>
                <a:gd name="connsiteY349" fmla="*/ 536121 h 1059043"/>
                <a:gd name="connsiteX350" fmla="*/ 2525258 w 3024845"/>
                <a:gd name="connsiteY350" fmla="*/ 536121 h 1059043"/>
                <a:gd name="connsiteX351" fmla="*/ 2525258 w 3024845"/>
                <a:gd name="connsiteY351" fmla="*/ 419385 h 1059043"/>
                <a:gd name="connsiteX352" fmla="*/ 2582005 w 3024845"/>
                <a:gd name="connsiteY352" fmla="*/ 408576 h 1059043"/>
                <a:gd name="connsiteX353" fmla="*/ 2582005 w 3024845"/>
                <a:gd name="connsiteY353" fmla="*/ 409657 h 1059043"/>
                <a:gd name="connsiteX354" fmla="*/ 2582005 w 3024845"/>
                <a:gd name="connsiteY354" fmla="*/ 417223 h 1059043"/>
                <a:gd name="connsiteX355" fmla="*/ 2608352 w 3024845"/>
                <a:gd name="connsiteY355" fmla="*/ 417223 h 1059043"/>
                <a:gd name="connsiteX356" fmla="*/ 2608352 w 3024845"/>
                <a:gd name="connsiteY356" fmla="*/ 672313 h 1059043"/>
                <a:gd name="connsiteX357" fmla="*/ 2630646 w 3024845"/>
                <a:gd name="connsiteY357" fmla="*/ 672313 h 1059043"/>
                <a:gd name="connsiteX358" fmla="*/ 2630646 w 3024845"/>
                <a:gd name="connsiteY358" fmla="*/ 667989 h 1059043"/>
                <a:gd name="connsiteX359" fmla="*/ 2642806 w 3024845"/>
                <a:gd name="connsiteY359" fmla="*/ 667989 h 1059043"/>
                <a:gd name="connsiteX360" fmla="*/ 2642806 w 3024845"/>
                <a:gd name="connsiteY360" fmla="*/ 672313 h 1059043"/>
                <a:gd name="connsiteX361" fmla="*/ 2667126 w 3024845"/>
                <a:gd name="connsiteY361" fmla="*/ 672313 h 1059043"/>
                <a:gd name="connsiteX362" fmla="*/ 2667126 w 3024845"/>
                <a:gd name="connsiteY362" fmla="*/ 659342 h 1059043"/>
                <a:gd name="connsiteX363" fmla="*/ 2695500 w 3024845"/>
                <a:gd name="connsiteY363" fmla="*/ 659342 h 1059043"/>
                <a:gd name="connsiteX364" fmla="*/ 2707660 w 3024845"/>
                <a:gd name="connsiteY364" fmla="*/ 655018 h 1059043"/>
                <a:gd name="connsiteX365" fmla="*/ 2727927 w 3024845"/>
                <a:gd name="connsiteY365" fmla="*/ 659342 h 1059043"/>
                <a:gd name="connsiteX366" fmla="*/ 2727927 w 3024845"/>
                <a:gd name="connsiteY366" fmla="*/ 642048 h 1059043"/>
                <a:gd name="connsiteX367" fmla="*/ 2736034 w 3024845"/>
                <a:gd name="connsiteY367" fmla="*/ 642048 h 1059043"/>
                <a:gd name="connsiteX368" fmla="*/ 2736034 w 3024845"/>
                <a:gd name="connsiteY368" fmla="*/ 629077 h 1059043"/>
                <a:gd name="connsiteX369" fmla="*/ 2792781 w 3024845"/>
                <a:gd name="connsiteY369" fmla="*/ 629077 h 1059043"/>
                <a:gd name="connsiteX370" fmla="*/ 2792781 w 3024845"/>
                <a:gd name="connsiteY370" fmla="*/ 598812 h 1059043"/>
                <a:gd name="connsiteX371" fmla="*/ 2811021 w 3024845"/>
                <a:gd name="connsiteY371" fmla="*/ 598812 h 1059043"/>
                <a:gd name="connsiteX372" fmla="*/ 2811021 w 3024845"/>
                <a:gd name="connsiteY372" fmla="*/ 592327 h 1059043"/>
                <a:gd name="connsiteX373" fmla="*/ 2823181 w 3024845"/>
                <a:gd name="connsiteY373" fmla="*/ 592327 h 1059043"/>
                <a:gd name="connsiteX374" fmla="*/ 2823181 w 3024845"/>
                <a:gd name="connsiteY374" fmla="*/ 598812 h 1059043"/>
                <a:gd name="connsiteX375" fmla="*/ 2839395 w 3024845"/>
                <a:gd name="connsiteY375" fmla="*/ 598812 h 1059043"/>
                <a:gd name="connsiteX376" fmla="*/ 2839395 w 3024845"/>
                <a:gd name="connsiteY376" fmla="*/ 648533 h 1059043"/>
                <a:gd name="connsiteX377" fmla="*/ 2871822 w 3024845"/>
                <a:gd name="connsiteY377" fmla="*/ 648533 h 1059043"/>
                <a:gd name="connsiteX378" fmla="*/ 2871822 w 3024845"/>
                <a:gd name="connsiteY378" fmla="*/ 622592 h 1059043"/>
                <a:gd name="connsiteX379" fmla="*/ 2910329 w 3024845"/>
                <a:gd name="connsiteY379" fmla="*/ 622592 h 1059043"/>
                <a:gd name="connsiteX380" fmla="*/ 2910329 w 3024845"/>
                <a:gd name="connsiteY380" fmla="*/ 592327 h 1059043"/>
                <a:gd name="connsiteX381" fmla="*/ 2958970 w 3024845"/>
                <a:gd name="connsiteY381" fmla="*/ 592327 h 1059043"/>
                <a:gd name="connsiteX382" fmla="*/ 2958970 w 3024845"/>
                <a:gd name="connsiteY382" fmla="*/ 703483 h 1059043"/>
                <a:gd name="connsiteX383" fmla="*/ 2958970 w 3024845"/>
                <a:gd name="connsiteY383" fmla="*/ 717262 h 1059043"/>
                <a:gd name="connsiteX384" fmla="*/ 3024845 w 3024845"/>
                <a:gd name="connsiteY384" fmla="*/ 717262 h 1059043"/>
                <a:gd name="connsiteX385" fmla="*/ 3024845 w 3024845"/>
                <a:gd name="connsiteY385" fmla="*/ 1059043 h 1059043"/>
                <a:gd name="connsiteX386" fmla="*/ 2054 w 3024845"/>
                <a:gd name="connsiteY386" fmla="*/ 1056710 h 1059043"/>
                <a:gd name="connsiteX387" fmla="*/ 0 w 3024845"/>
                <a:gd name="connsiteY387" fmla="*/ 622592 h 1059043"/>
                <a:gd name="connsiteX388" fmla="*/ 20267 w 3024845"/>
                <a:gd name="connsiteY388" fmla="*/ 622592 h 1059043"/>
                <a:gd name="connsiteX389" fmla="*/ 20774 w 3024845"/>
                <a:gd name="connsiteY389" fmla="*/ 621511 h 1059043"/>
                <a:gd name="connsiteX390" fmla="*/ 24320 w 3024845"/>
                <a:gd name="connsiteY390" fmla="*/ 613945 h 1059043"/>
                <a:gd name="connsiteX391" fmla="*/ 26094 w 3024845"/>
                <a:gd name="connsiteY391" fmla="*/ 614215 h 1059043"/>
                <a:gd name="connsiteX392" fmla="*/ 38507 w 3024845"/>
                <a:gd name="connsiteY392" fmla="*/ 616106 h 1059043"/>
                <a:gd name="connsiteX393" fmla="*/ 39014 w 3024845"/>
                <a:gd name="connsiteY393" fmla="*/ 617458 h 1059043"/>
                <a:gd name="connsiteX394" fmla="*/ 42560 w 3024845"/>
                <a:gd name="connsiteY394" fmla="*/ 626915 h 1059043"/>
                <a:gd name="connsiteX395" fmla="*/ 68907 w 3024845"/>
                <a:gd name="connsiteY395" fmla="*/ 629077 h 1059043"/>
                <a:gd name="connsiteX396" fmla="*/ 68907 w 3024845"/>
                <a:gd name="connsiteY396" fmla="*/ 505856 h 1059043"/>
                <a:gd name="connsiteX397" fmla="*/ 70934 w 3024845"/>
                <a:gd name="connsiteY397" fmla="*/ 505856 h 1059043"/>
                <a:gd name="connsiteX398" fmla="*/ 85121 w 3024845"/>
                <a:gd name="connsiteY398" fmla="*/ 505856 h 1059043"/>
                <a:gd name="connsiteX399" fmla="*/ 85121 w 3024845"/>
                <a:gd name="connsiteY399" fmla="*/ 369664 h 1059043"/>
                <a:gd name="connsiteX400" fmla="*/ 86894 w 3024845"/>
                <a:gd name="connsiteY400" fmla="*/ 369664 h 1059043"/>
                <a:gd name="connsiteX401" fmla="*/ 99308 w 3024845"/>
                <a:gd name="connsiteY401" fmla="*/ 369664 h 1059043"/>
                <a:gd name="connsiteX402" fmla="*/ 99308 w 3024845"/>
                <a:gd name="connsiteY402" fmla="*/ 255090 h 1059043"/>
                <a:gd name="connsiteX403" fmla="*/ 103361 w 3024845"/>
                <a:gd name="connsiteY403" fmla="*/ 226986 h 1059043"/>
                <a:gd name="connsiteX404" fmla="*/ 105388 w 3024845"/>
                <a:gd name="connsiteY404" fmla="*/ 226986 h 1059043"/>
                <a:gd name="connsiteX405" fmla="*/ 119575 w 3024845"/>
                <a:gd name="connsiteY405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28026 w 3024845"/>
                <a:gd name="connsiteY310" fmla="*/ 281031 h 1059043"/>
                <a:gd name="connsiteX311" fmla="*/ 2144240 w 3024845"/>
                <a:gd name="connsiteY311" fmla="*/ 214016 h 1059043"/>
                <a:gd name="connsiteX312" fmla="*/ 2146266 w 3024845"/>
                <a:gd name="connsiteY312" fmla="*/ 131868 h 1059043"/>
                <a:gd name="connsiteX313" fmla="*/ 2144240 w 3024845"/>
                <a:gd name="connsiteY313" fmla="*/ 125383 h 1059043"/>
                <a:gd name="connsiteX314" fmla="*/ 2150320 w 3024845"/>
                <a:gd name="connsiteY314" fmla="*/ 118897 h 1059043"/>
                <a:gd name="connsiteX315" fmla="*/ 2150320 w 3024845"/>
                <a:gd name="connsiteY315" fmla="*/ 60529 h 1059043"/>
                <a:gd name="connsiteX316" fmla="*/ 2152346 w 3024845"/>
                <a:gd name="connsiteY316" fmla="*/ 56206 h 1059043"/>
                <a:gd name="connsiteX317" fmla="*/ 2152346 w 3024845"/>
                <a:gd name="connsiteY317" fmla="*/ 0 h 1059043"/>
                <a:gd name="connsiteX318" fmla="*/ 2162480 w 3024845"/>
                <a:gd name="connsiteY318" fmla="*/ 118897 h 1059043"/>
                <a:gd name="connsiteX319" fmla="*/ 2168560 w 3024845"/>
                <a:gd name="connsiteY319" fmla="*/ 125383 h 1059043"/>
                <a:gd name="connsiteX320" fmla="*/ 2166533 w 3024845"/>
                <a:gd name="connsiteY320" fmla="*/ 131868 h 1059043"/>
                <a:gd name="connsiteX321" fmla="*/ 2180720 w 3024845"/>
                <a:gd name="connsiteY321" fmla="*/ 555577 h 1059043"/>
                <a:gd name="connsiteX322" fmla="*/ 2245574 w 3024845"/>
                <a:gd name="connsiteY322" fmla="*/ 555577 h 1059043"/>
                <a:gd name="connsiteX323" fmla="*/ 2245574 w 3024845"/>
                <a:gd name="connsiteY323" fmla="*/ 631239 h 1059043"/>
                <a:gd name="connsiteX324" fmla="*/ 2253681 w 3024845"/>
                <a:gd name="connsiteY324" fmla="*/ 631239 h 1059043"/>
                <a:gd name="connsiteX325" fmla="*/ 2255708 w 3024845"/>
                <a:gd name="connsiteY325" fmla="*/ 624754 h 1059043"/>
                <a:gd name="connsiteX326" fmla="*/ 2261788 w 3024845"/>
                <a:gd name="connsiteY326" fmla="*/ 624754 h 1059043"/>
                <a:gd name="connsiteX327" fmla="*/ 2263815 w 3024845"/>
                <a:gd name="connsiteY327" fmla="*/ 633401 h 1059043"/>
                <a:gd name="connsiteX328" fmla="*/ 2275975 w 3024845"/>
                <a:gd name="connsiteY328" fmla="*/ 633401 h 1059043"/>
                <a:gd name="connsiteX329" fmla="*/ 2275975 w 3024845"/>
                <a:gd name="connsiteY329" fmla="*/ 626915 h 1059043"/>
                <a:gd name="connsiteX330" fmla="*/ 2298268 w 3024845"/>
                <a:gd name="connsiteY330" fmla="*/ 626915 h 1059043"/>
                <a:gd name="connsiteX331" fmla="*/ 2298268 w 3024845"/>
                <a:gd name="connsiteY331" fmla="*/ 633401 h 1059043"/>
                <a:gd name="connsiteX332" fmla="*/ 2318535 w 3024845"/>
                <a:gd name="connsiteY332" fmla="*/ 633401 h 1059043"/>
                <a:gd name="connsiteX333" fmla="*/ 2318535 w 3024845"/>
                <a:gd name="connsiteY333" fmla="*/ 678798 h 1059043"/>
                <a:gd name="connsiteX334" fmla="*/ 2332722 w 3024845"/>
                <a:gd name="connsiteY334" fmla="*/ 678798 h 1059043"/>
                <a:gd name="connsiteX335" fmla="*/ 2332722 w 3024845"/>
                <a:gd name="connsiteY335" fmla="*/ 665827 h 1059043"/>
                <a:gd name="connsiteX336" fmla="*/ 2348936 w 3024845"/>
                <a:gd name="connsiteY336" fmla="*/ 665827 h 1059043"/>
                <a:gd name="connsiteX337" fmla="*/ 2348936 w 3024845"/>
                <a:gd name="connsiteY337" fmla="*/ 486400 h 1059043"/>
                <a:gd name="connsiteX338" fmla="*/ 2355016 w 3024845"/>
                <a:gd name="connsiteY338" fmla="*/ 479914 h 1059043"/>
                <a:gd name="connsiteX339" fmla="*/ 2427977 w 3024845"/>
                <a:gd name="connsiteY339" fmla="*/ 479914 h 1059043"/>
                <a:gd name="connsiteX340" fmla="*/ 2427977 w 3024845"/>
                <a:gd name="connsiteY340" fmla="*/ 488562 h 1059043"/>
                <a:gd name="connsiteX341" fmla="*/ 2438110 w 3024845"/>
                <a:gd name="connsiteY341" fmla="*/ 488562 h 1059043"/>
                <a:gd name="connsiteX342" fmla="*/ 2438110 w 3024845"/>
                <a:gd name="connsiteY342" fmla="*/ 603136 h 1059043"/>
                <a:gd name="connsiteX343" fmla="*/ 2460404 w 3024845"/>
                <a:gd name="connsiteY343" fmla="*/ 603136 h 1059043"/>
                <a:gd name="connsiteX344" fmla="*/ 2460404 w 3024845"/>
                <a:gd name="connsiteY344" fmla="*/ 536121 h 1059043"/>
                <a:gd name="connsiteX345" fmla="*/ 2486751 w 3024845"/>
                <a:gd name="connsiteY345" fmla="*/ 536121 h 1059043"/>
                <a:gd name="connsiteX346" fmla="*/ 2490804 w 3024845"/>
                <a:gd name="connsiteY346" fmla="*/ 531797 h 1059043"/>
                <a:gd name="connsiteX347" fmla="*/ 2498911 w 3024845"/>
                <a:gd name="connsiteY347" fmla="*/ 531797 h 1059043"/>
                <a:gd name="connsiteX348" fmla="*/ 2502964 w 3024845"/>
                <a:gd name="connsiteY348" fmla="*/ 536121 h 1059043"/>
                <a:gd name="connsiteX349" fmla="*/ 2525258 w 3024845"/>
                <a:gd name="connsiteY349" fmla="*/ 536121 h 1059043"/>
                <a:gd name="connsiteX350" fmla="*/ 2525258 w 3024845"/>
                <a:gd name="connsiteY350" fmla="*/ 419385 h 1059043"/>
                <a:gd name="connsiteX351" fmla="*/ 2582005 w 3024845"/>
                <a:gd name="connsiteY351" fmla="*/ 408576 h 1059043"/>
                <a:gd name="connsiteX352" fmla="*/ 2582005 w 3024845"/>
                <a:gd name="connsiteY352" fmla="*/ 409657 h 1059043"/>
                <a:gd name="connsiteX353" fmla="*/ 2582005 w 3024845"/>
                <a:gd name="connsiteY353" fmla="*/ 417223 h 1059043"/>
                <a:gd name="connsiteX354" fmla="*/ 2608352 w 3024845"/>
                <a:gd name="connsiteY354" fmla="*/ 417223 h 1059043"/>
                <a:gd name="connsiteX355" fmla="*/ 2608352 w 3024845"/>
                <a:gd name="connsiteY355" fmla="*/ 672313 h 1059043"/>
                <a:gd name="connsiteX356" fmla="*/ 2630646 w 3024845"/>
                <a:gd name="connsiteY356" fmla="*/ 672313 h 1059043"/>
                <a:gd name="connsiteX357" fmla="*/ 2630646 w 3024845"/>
                <a:gd name="connsiteY357" fmla="*/ 667989 h 1059043"/>
                <a:gd name="connsiteX358" fmla="*/ 2642806 w 3024845"/>
                <a:gd name="connsiteY358" fmla="*/ 667989 h 1059043"/>
                <a:gd name="connsiteX359" fmla="*/ 2642806 w 3024845"/>
                <a:gd name="connsiteY359" fmla="*/ 672313 h 1059043"/>
                <a:gd name="connsiteX360" fmla="*/ 2667126 w 3024845"/>
                <a:gd name="connsiteY360" fmla="*/ 672313 h 1059043"/>
                <a:gd name="connsiteX361" fmla="*/ 2667126 w 3024845"/>
                <a:gd name="connsiteY361" fmla="*/ 659342 h 1059043"/>
                <a:gd name="connsiteX362" fmla="*/ 2695500 w 3024845"/>
                <a:gd name="connsiteY362" fmla="*/ 659342 h 1059043"/>
                <a:gd name="connsiteX363" fmla="*/ 2707660 w 3024845"/>
                <a:gd name="connsiteY363" fmla="*/ 655018 h 1059043"/>
                <a:gd name="connsiteX364" fmla="*/ 2727927 w 3024845"/>
                <a:gd name="connsiteY364" fmla="*/ 659342 h 1059043"/>
                <a:gd name="connsiteX365" fmla="*/ 2727927 w 3024845"/>
                <a:gd name="connsiteY365" fmla="*/ 642048 h 1059043"/>
                <a:gd name="connsiteX366" fmla="*/ 2736034 w 3024845"/>
                <a:gd name="connsiteY366" fmla="*/ 642048 h 1059043"/>
                <a:gd name="connsiteX367" fmla="*/ 2736034 w 3024845"/>
                <a:gd name="connsiteY367" fmla="*/ 629077 h 1059043"/>
                <a:gd name="connsiteX368" fmla="*/ 2792781 w 3024845"/>
                <a:gd name="connsiteY368" fmla="*/ 629077 h 1059043"/>
                <a:gd name="connsiteX369" fmla="*/ 2792781 w 3024845"/>
                <a:gd name="connsiteY369" fmla="*/ 598812 h 1059043"/>
                <a:gd name="connsiteX370" fmla="*/ 2811021 w 3024845"/>
                <a:gd name="connsiteY370" fmla="*/ 598812 h 1059043"/>
                <a:gd name="connsiteX371" fmla="*/ 2811021 w 3024845"/>
                <a:gd name="connsiteY371" fmla="*/ 592327 h 1059043"/>
                <a:gd name="connsiteX372" fmla="*/ 2823181 w 3024845"/>
                <a:gd name="connsiteY372" fmla="*/ 592327 h 1059043"/>
                <a:gd name="connsiteX373" fmla="*/ 2823181 w 3024845"/>
                <a:gd name="connsiteY373" fmla="*/ 598812 h 1059043"/>
                <a:gd name="connsiteX374" fmla="*/ 2839395 w 3024845"/>
                <a:gd name="connsiteY374" fmla="*/ 598812 h 1059043"/>
                <a:gd name="connsiteX375" fmla="*/ 2839395 w 3024845"/>
                <a:gd name="connsiteY375" fmla="*/ 648533 h 1059043"/>
                <a:gd name="connsiteX376" fmla="*/ 2871822 w 3024845"/>
                <a:gd name="connsiteY376" fmla="*/ 648533 h 1059043"/>
                <a:gd name="connsiteX377" fmla="*/ 2871822 w 3024845"/>
                <a:gd name="connsiteY377" fmla="*/ 622592 h 1059043"/>
                <a:gd name="connsiteX378" fmla="*/ 2910329 w 3024845"/>
                <a:gd name="connsiteY378" fmla="*/ 622592 h 1059043"/>
                <a:gd name="connsiteX379" fmla="*/ 2910329 w 3024845"/>
                <a:gd name="connsiteY379" fmla="*/ 592327 h 1059043"/>
                <a:gd name="connsiteX380" fmla="*/ 2958970 w 3024845"/>
                <a:gd name="connsiteY380" fmla="*/ 592327 h 1059043"/>
                <a:gd name="connsiteX381" fmla="*/ 2958970 w 3024845"/>
                <a:gd name="connsiteY381" fmla="*/ 703483 h 1059043"/>
                <a:gd name="connsiteX382" fmla="*/ 2958970 w 3024845"/>
                <a:gd name="connsiteY382" fmla="*/ 717262 h 1059043"/>
                <a:gd name="connsiteX383" fmla="*/ 3024845 w 3024845"/>
                <a:gd name="connsiteY383" fmla="*/ 717262 h 1059043"/>
                <a:gd name="connsiteX384" fmla="*/ 3024845 w 3024845"/>
                <a:gd name="connsiteY384" fmla="*/ 1059043 h 1059043"/>
                <a:gd name="connsiteX385" fmla="*/ 2054 w 3024845"/>
                <a:gd name="connsiteY385" fmla="*/ 1056710 h 1059043"/>
                <a:gd name="connsiteX386" fmla="*/ 0 w 3024845"/>
                <a:gd name="connsiteY386" fmla="*/ 622592 h 1059043"/>
                <a:gd name="connsiteX387" fmla="*/ 20267 w 3024845"/>
                <a:gd name="connsiteY387" fmla="*/ 622592 h 1059043"/>
                <a:gd name="connsiteX388" fmla="*/ 20774 w 3024845"/>
                <a:gd name="connsiteY388" fmla="*/ 621511 h 1059043"/>
                <a:gd name="connsiteX389" fmla="*/ 24320 w 3024845"/>
                <a:gd name="connsiteY389" fmla="*/ 613945 h 1059043"/>
                <a:gd name="connsiteX390" fmla="*/ 26094 w 3024845"/>
                <a:gd name="connsiteY390" fmla="*/ 614215 h 1059043"/>
                <a:gd name="connsiteX391" fmla="*/ 38507 w 3024845"/>
                <a:gd name="connsiteY391" fmla="*/ 616106 h 1059043"/>
                <a:gd name="connsiteX392" fmla="*/ 39014 w 3024845"/>
                <a:gd name="connsiteY392" fmla="*/ 617458 h 1059043"/>
                <a:gd name="connsiteX393" fmla="*/ 42560 w 3024845"/>
                <a:gd name="connsiteY393" fmla="*/ 626915 h 1059043"/>
                <a:gd name="connsiteX394" fmla="*/ 68907 w 3024845"/>
                <a:gd name="connsiteY394" fmla="*/ 629077 h 1059043"/>
                <a:gd name="connsiteX395" fmla="*/ 68907 w 3024845"/>
                <a:gd name="connsiteY395" fmla="*/ 505856 h 1059043"/>
                <a:gd name="connsiteX396" fmla="*/ 70934 w 3024845"/>
                <a:gd name="connsiteY396" fmla="*/ 505856 h 1059043"/>
                <a:gd name="connsiteX397" fmla="*/ 85121 w 3024845"/>
                <a:gd name="connsiteY397" fmla="*/ 505856 h 1059043"/>
                <a:gd name="connsiteX398" fmla="*/ 85121 w 3024845"/>
                <a:gd name="connsiteY398" fmla="*/ 369664 h 1059043"/>
                <a:gd name="connsiteX399" fmla="*/ 86894 w 3024845"/>
                <a:gd name="connsiteY399" fmla="*/ 369664 h 1059043"/>
                <a:gd name="connsiteX400" fmla="*/ 99308 w 3024845"/>
                <a:gd name="connsiteY400" fmla="*/ 369664 h 1059043"/>
                <a:gd name="connsiteX401" fmla="*/ 99308 w 3024845"/>
                <a:gd name="connsiteY401" fmla="*/ 255090 h 1059043"/>
                <a:gd name="connsiteX402" fmla="*/ 103361 w 3024845"/>
                <a:gd name="connsiteY402" fmla="*/ 226986 h 1059043"/>
                <a:gd name="connsiteX403" fmla="*/ 105388 w 3024845"/>
                <a:gd name="connsiteY403" fmla="*/ 226986 h 1059043"/>
                <a:gd name="connsiteX404" fmla="*/ 119575 w 3024845"/>
                <a:gd name="connsiteY404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4240 w 3024845"/>
                <a:gd name="connsiteY310" fmla="*/ 214016 h 1059043"/>
                <a:gd name="connsiteX311" fmla="*/ 2146266 w 3024845"/>
                <a:gd name="connsiteY311" fmla="*/ 131868 h 1059043"/>
                <a:gd name="connsiteX312" fmla="*/ 2144240 w 3024845"/>
                <a:gd name="connsiteY312" fmla="*/ 125383 h 1059043"/>
                <a:gd name="connsiteX313" fmla="*/ 2150320 w 3024845"/>
                <a:gd name="connsiteY313" fmla="*/ 118897 h 1059043"/>
                <a:gd name="connsiteX314" fmla="*/ 2150320 w 3024845"/>
                <a:gd name="connsiteY314" fmla="*/ 60529 h 1059043"/>
                <a:gd name="connsiteX315" fmla="*/ 2152346 w 3024845"/>
                <a:gd name="connsiteY315" fmla="*/ 56206 h 1059043"/>
                <a:gd name="connsiteX316" fmla="*/ 2152346 w 3024845"/>
                <a:gd name="connsiteY316" fmla="*/ 0 h 1059043"/>
                <a:gd name="connsiteX317" fmla="*/ 2162480 w 3024845"/>
                <a:gd name="connsiteY317" fmla="*/ 118897 h 1059043"/>
                <a:gd name="connsiteX318" fmla="*/ 2168560 w 3024845"/>
                <a:gd name="connsiteY318" fmla="*/ 125383 h 1059043"/>
                <a:gd name="connsiteX319" fmla="*/ 2166533 w 3024845"/>
                <a:gd name="connsiteY319" fmla="*/ 131868 h 1059043"/>
                <a:gd name="connsiteX320" fmla="*/ 2180720 w 3024845"/>
                <a:gd name="connsiteY320" fmla="*/ 555577 h 1059043"/>
                <a:gd name="connsiteX321" fmla="*/ 2245574 w 3024845"/>
                <a:gd name="connsiteY321" fmla="*/ 555577 h 1059043"/>
                <a:gd name="connsiteX322" fmla="*/ 2245574 w 3024845"/>
                <a:gd name="connsiteY322" fmla="*/ 631239 h 1059043"/>
                <a:gd name="connsiteX323" fmla="*/ 2253681 w 3024845"/>
                <a:gd name="connsiteY323" fmla="*/ 631239 h 1059043"/>
                <a:gd name="connsiteX324" fmla="*/ 2255708 w 3024845"/>
                <a:gd name="connsiteY324" fmla="*/ 624754 h 1059043"/>
                <a:gd name="connsiteX325" fmla="*/ 2261788 w 3024845"/>
                <a:gd name="connsiteY325" fmla="*/ 624754 h 1059043"/>
                <a:gd name="connsiteX326" fmla="*/ 2263815 w 3024845"/>
                <a:gd name="connsiteY326" fmla="*/ 633401 h 1059043"/>
                <a:gd name="connsiteX327" fmla="*/ 2275975 w 3024845"/>
                <a:gd name="connsiteY327" fmla="*/ 633401 h 1059043"/>
                <a:gd name="connsiteX328" fmla="*/ 2275975 w 3024845"/>
                <a:gd name="connsiteY328" fmla="*/ 626915 h 1059043"/>
                <a:gd name="connsiteX329" fmla="*/ 2298268 w 3024845"/>
                <a:gd name="connsiteY329" fmla="*/ 626915 h 1059043"/>
                <a:gd name="connsiteX330" fmla="*/ 2298268 w 3024845"/>
                <a:gd name="connsiteY330" fmla="*/ 633401 h 1059043"/>
                <a:gd name="connsiteX331" fmla="*/ 2318535 w 3024845"/>
                <a:gd name="connsiteY331" fmla="*/ 633401 h 1059043"/>
                <a:gd name="connsiteX332" fmla="*/ 2318535 w 3024845"/>
                <a:gd name="connsiteY332" fmla="*/ 678798 h 1059043"/>
                <a:gd name="connsiteX333" fmla="*/ 2332722 w 3024845"/>
                <a:gd name="connsiteY333" fmla="*/ 678798 h 1059043"/>
                <a:gd name="connsiteX334" fmla="*/ 2332722 w 3024845"/>
                <a:gd name="connsiteY334" fmla="*/ 665827 h 1059043"/>
                <a:gd name="connsiteX335" fmla="*/ 2348936 w 3024845"/>
                <a:gd name="connsiteY335" fmla="*/ 665827 h 1059043"/>
                <a:gd name="connsiteX336" fmla="*/ 2348936 w 3024845"/>
                <a:gd name="connsiteY336" fmla="*/ 486400 h 1059043"/>
                <a:gd name="connsiteX337" fmla="*/ 2355016 w 3024845"/>
                <a:gd name="connsiteY337" fmla="*/ 479914 h 1059043"/>
                <a:gd name="connsiteX338" fmla="*/ 2427977 w 3024845"/>
                <a:gd name="connsiteY338" fmla="*/ 479914 h 1059043"/>
                <a:gd name="connsiteX339" fmla="*/ 2427977 w 3024845"/>
                <a:gd name="connsiteY339" fmla="*/ 488562 h 1059043"/>
                <a:gd name="connsiteX340" fmla="*/ 2438110 w 3024845"/>
                <a:gd name="connsiteY340" fmla="*/ 488562 h 1059043"/>
                <a:gd name="connsiteX341" fmla="*/ 2438110 w 3024845"/>
                <a:gd name="connsiteY341" fmla="*/ 603136 h 1059043"/>
                <a:gd name="connsiteX342" fmla="*/ 2460404 w 3024845"/>
                <a:gd name="connsiteY342" fmla="*/ 603136 h 1059043"/>
                <a:gd name="connsiteX343" fmla="*/ 2460404 w 3024845"/>
                <a:gd name="connsiteY343" fmla="*/ 536121 h 1059043"/>
                <a:gd name="connsiteX344" fmla="*/ 2486751 w 3024845"/>
                <a:gd name="connsiteY344" fmla="*/ 536121 h 1059043"/>
                <a:gd name="connsiteX345" fmla="*/ 2490804 w 3024845"/>
                <a:gd name="connsiteY345" fmla="*/ 531797 h 1059043"/>
                <a:gd name="connsiteX346" fmla="*/ 2498911 w 3024845"/>
                <a:gd name="connsiteY346" fmla="*/ 531797 h 1059043"/>
                <a:gd name="connsiteX347" fmla="*/ 2502964 w 3024845"/>
                <a:gd name="connsiteY347" fmla="*/ 536121 h 1059043"/>
                <a:gd name="connsiteX348" fmla="*/ 2525258 w 3024845"/>
                <a:gd name="connsiteY348" fmla="*/ 536121 h 1059043"/>
                <a:gd name="connsiteX349" fmla="*/ 2525258 w 3024845"/>
                <a:gd name="connsiteY349" fmla="*/ 419385 h 1059043"/>
                <a:gd name="connsiteX350" fmla="*/ 2582005 w 3024845"/>
                <a:gd name="connsiteY350" fmla="*/ 408576 h 1059043"/>
                <a:gd name="connsiteX351" fmla="*/ 2582005 w 3024845"/>
                <a:gd name="connsiteY351" fmla="*/ 409657 h 1059043"/>
                <a:gd name="connsiteX352" fmla="*/ 2582005 w 3024845"/>
                <a:gd name="connsiteY352" fmla="*/ 417223 h 1059043"/>
                <a:gd name="connsiteX353" fmla="*/ 2608352 w 3024845"/>
                <a:gd name="connsiteY353" fmla="*/ 417223 h 1059043"/>
                <a:gd name="connsiteX354" fmla="*/ 2608352 w 3024845"/>
                <a:gd name="connsiteY354" fmla="*/ 672313 h 1059043"/>
                <a:gd name="connsiteX355" fmla="*/ 2630646 w 3024845"/>
                <a:gd name="connsiteY355" fmla="*/ 672313 h 1059043"/>
                <a:gd name="connsiteX356" fmla="*/ 2630646 w 3024845"/>
                <a:gd name="connsiteY356" fmla="*/ 667989 h 1059043"/>
                <a:gd name="connsiteX357" fmla="*/ 2642806 w 3024845"/>
                <a:gd name="connsiteY357" fmla="*/ 667989 h 1059043"/>
                <a:gd name="connsiteX358" fmla="*/ 2642806 w 3024845"/>
                <a:gd name="connsiteY358" fmla="*/ 672313 h 1059043"/>
                <a:gd name="connsiteX359" fmla="*/ 2667126 w 3024845"/>
                <a:gd name="connsiteY359" fmla="*/ 672313 h 1059043"/>
                <a:gd name="connsiteX360" fmla="*/ 2667126 w 3024845"/>
                <a:gd name="connsiteY360" fmla="*/ 659342 h 1059043"/>
                <a:gd name="connsiteX361" fmla="*/ 2695500 w 3024845"/>
                <a:gd name="connsiteY361" fmla="*/ 659342 h 1059043"/>
                <a:gd name="connsiteX362" fmla="*/ 2707660 w 3024845"/>
                <a:gd name="connsiteY362" fmla="*/ 655018 h 1059043"/>
                <a:gd name="connsiteX363" fmla="*/ 2727927 w 3024845"/>
                <a:gd name="connsiteY363" fmla="*/ 659342 h 1059043"/>
                <a:gd name="connsiteX364" fmla="*/ 2727927 w 3024845"/>
                <a:gd name="connsiteY364" fmla="*/ 642048 h 1059043"/>
                <a:gd name="connsiteX365" fmla="*/ 2736034 w 3024845"/>
                <a:gd name="connsiteY365" fmla="*/ 642048 h 1059043"/>
                <a:gd name="connsiteX366" fmla="*/ 2736034 w 3024845"/>
                <a:gd name="connsiteY366" fmla="*/ 629077 h 1059043"/>
                <a:gd name="connsiteX367" fmla="*/ 2792781 w 3024845"/>
                <a:gd name="connsiteY367" fmla="*/ 629077 h 1059043"/>
                <a:gd name="connsiteX368" fmla="*/ 2792781 w 3024845"/>
                <a:gd name="connsiteY368" fmla="*/ 598812 h 1059043"/>
                <a:gd name="connsiteX369" fmla="*/ 2811021 w 3024845"/>
                <a:gd name="connsiteY369" fmla="*/ 598812 h 1059043"/>
                <a:gd name="connsiteX370" fmla="*/ 2811021 w 3024845"/>
                <a:gd name="connsiteY370" fmla="*/ 592327 h 1059043"/>
                <a:gd name="connsiteX371" fmla="*/ 2823181 w 3024845"/>
                <a:gd name="connsiteY371" fmla="*/ 592327 h 1059043"/>
                <a:gd name="connsiteX372" fmla="*/ 2823181 w 3024845"/>
                <a:gd name="connsiteY372" fmla="*/ 598812 h 1059043"/>
                <a:gd name="connsiteX373" fmla="*/ 2839395 w 3024845"/>
                <a:gd name="connsiteY373" fmla="*/ 598812 h 1059043"/>
                <a:gd name="connsiteX374" fmla="*/ 2839395 w 3024845"/>
                <a:gd name="connsiteY374" fmla="*/ 648533 h 1059043"/>
                <a:gd name="connsiteX375" fmla="*/ 2871822 w 3024845"/>
                <a:gd name="connsiteY375" fmla="*/ 648533 h 1059043"/>
                <a:gd name="connsiteX376" fmla="*/ 2871822 w 3024845"/>
                <a:gd name="connsiteY376" fmla="*/ 622592 h 1059043"/>
                <a:gd name="connsiteX377" fmla="*/ 2910329 w 3024845"/>
                <a:gd name="connsiteY377" fmla="*/ 622592 h 1059043"/>
                <a:gd name="connsiteX378" fmla="*/ 2910329 w 3024845"/>
                <a:gd name="connsiteY378" fmla="*/ 592327 h 1059043"/>
                <a:gd name="connsiteX379" fmla="*/ 2958970 w 3024845"/>
                <a:gd name="connsiteY379" fmla="*/ 592327 h 1059043"/>
                <a:gd name="connsiteX380" fmla="*/ 2958970 w 3024845"/>
                <a:gd name="connsiteY380" fmla="*/ 703483 h 1059043"/>
                <a:gd name="connsiteX381" fmla="*/ 2958970 w 3024845"/>
                <a:gd name="connsiteY381" fmla="*/ 717262 h 1059043"/>
                <a:gd name="connsiteX382" fmla="*/ 3024845 w 3024845"/>
                <a:gd name="connsiteY382" fmla="*/ 717262 h 1059043"/>
                <a:gd name="connsiteX383" fmla="*/ 3024845 w 3024845"/>
                <a:gd name="connsiteY383" fmla="*/ 1059043 h 1059043"/>
                <a:gd name="connsiteX384" fmla="*/ 2054 w 3024845"/>
                <a:gd name="connsiteY384" fmla="*/ 1056710 h 1059043"/>
                <a:gd name="connsiteX385" fmla="*/ 0 w 3024845"/>
                <a:gd name="connsiteY385" fmla="*/ 622592 h 1059043"/>
                <a:gd name="connsiteX386" fmla="*/ 20267 w 3024845"/>
                <a:gd name="connsiteY386" fmla="*/ 622592 h 1059043"/>
                <a:gd name="connsiteX387" fmla="*/ 20774 w 3024845"/>
                <a:gd name="connsiteY387" fmla="*/ 621511 h 1059043"/>
                <a:gd name="connsiteX388" fmla="*/ 24320 w 3024845"/>
                <a:gd name="connsiteY388" fmla="*/ 613945 h 1059043"/>
                <a:gd name="connsiteX389" fmla="*/ 26094 w 3024845"/>
                <a:gd name="connsiteY389" fmla="*/ 614215 h 1059043"/>
                <a:gd name="connsiteX390" fmla="*/ 38507 w 3024845"/>
                <a:gd name="connsiteY390" fmla="*/ 616106 h 1059043"/>
                <a:gd name="connsiteX391" fmla="*/ 39014 w 3024845"/>
                <a:gd name="connsiteY391" fmla="*/ 617458 h 1059043"/>
                <a:gd name="connsiteX392" fmla="*/ 42560 w 3024845"/>
                <a:gd name="connsiteY392" fmla="*/ 626915 h 1059043"/>
                <a:gd name="connsiteX393" fmla="*/ 68907 w 3024845"/>
                <a:gd name="connsiteY393" fmla="*/ 629077 h 1059043"/>
                <a:gd name="connsiteX394" fmla="*/ 68907 w 3024845"/>
                <a:gd name="connsiteY394" fmla="*/ 505856 h 1059043"/>
                <a:gd name="connsiteX395" fmla="*/ 70934 w 3024845"/>
                <a:gd name="connsiteY395" fmla="*/ 505856 h 1059043"/>
                <a:gd name="connsiteX396" fmla="*/ 85121 w 3024845"/>
                <a:gd name="connsiteY396" fmla="*/ 505856 h 1059043"/>
                <a:gd name="connsiteX397" fmla="*/ 85121 w 3024845"/>
                <a:gd name="connsiteY397" fmla="*/ 369664 h 1059043"/>
                <a:gd name="connsiteX398" fmla="*/ 86894 w 3024845"/>
                <a:gd name="connsiteY398" fmla="*/ 369664 h 1059043"/>
                <a:gd name="connsiteX399" fmla="*/ 99308 w 3024845"/>
                <a:gd name="connsiteY399" fmla="*/ 369664 h 1059043"/>
                <a:gd name="connsiteX400" fmla="*/ 99308 w 3024845"/>
                <a:gd name="connsiteY400" fmla="*/ 255090 h 1059043"/>
                <a:gd name="connsiteX401" fmla="*/ 103361 w 3024845"/>
                <a:gd name="connsiteY401" fmla="*/ 226986 h 1059043"/>
                <a:gd name="connsiteX402" fmla="*/ 105388 w 3024845"/>
                <a:gd name="connsiteY402" fmla="*/ 226986 h 1059043"/>
                <a:gd name="connsiteX403" fmla="*/ 119575 w 3024845"/>
                <a:gd name="connsiteY403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2480 w 3024845"/>
                <a:gd name="connsiteY316" fmla="*/ 118897 h 1059043"/>
                <a:gd name="connsiteX317" fmla="*/ 2168560 w 3024845"/>
                <a:gd name="connsiteY317" fmla="*/ 125383 h 1059043"/>
                <a:gd name="connsiteX318" fmla="*/ 2166533 w 3024845"/>
                <a:gd name="connsiteY318" fmla="*/ 131868 h 1059043"/>
                <a:gd name="connsiteX319" fmla="*/ 2180720 w 3024845"/>
                <a:gd name="connsiteY319" fmla="*/ 555577 h 1059043"/>
                <a:gd name="connsiteX320" fmla="*/ 2245574 w 3024845"/>
                <a:gd name="connsiteY320" fmla="*/ 555577 h 1059043"/>
                <a:gd name="connsiteX321" fmla="*/ 2245574 w 3024845"/>
                <a:gd name="connsiteY321" fmla="*/ 631239 h 1059043"/>
                <a:gd name="connsiteX322" fmla="*/ 2253681 w 3024845"/>
                <a:gd name="connsiteY322" fmla="*/ 631239 h 1059043"/>
                <a:gd name="connsiteX323" fmla="*/ 2255708 w 3024845"/>
                <a:gd name="connsiteY323" fmla="*/ 624754 h 1059043"/>
                <a:gd name="connsiteX324" fmla="*/ 2261788 w 3024845"/>
                <a:gd name="connsiteY324" fmla="*/ 624754 h 1059043"/>
                <a:gd name="connsiteX325" fmla="*/ 2263815 w 3024845"/>
                <a:gd name="connsiteY325" fmla="*/ 633401 h 1059043"/>
                <a:gd name="connsiteX326" fmla="*/ 2275975 w 3024845"/>
                <a:gd name="connsiteY326" fmla="*/ 633401 h 1059043"/>
                <a:gd name="connsiteX327" fmla="*/ 2275975 w 3024845"/>
                <a:gd name="connsiteY327" fmla="*/ 626915 h 1059043"/>
                <a:gd name="connsiteX328" fmla="*/ 2298268 w 3024845"/>
                <a:gd name="connsiteY328" fmla="*/ 626915 h 1059043"/>
                <a:gd name="connsiteX329" fmla="*/ 2298268 w 3024845"/>
                <a:gd name="connsiteY329" fmla="*/ 633401 h 1059043"/>
                <a:gd name="connsiteX330" fmla="*/ 2318535 w 3024845"/>
                <a:gd name="connsiteY330" fmla="*/ 633401 h 1059043"/>
                <a:gd name="connsiteX331" fmla="*/ 2318535 w 3024845"/>
                <a:gd name="connsiteY331" fmla="*/ 678798 h 1059043"/>
                <a:gd name="connsiteX332" fmla="*/ 2332722 w 3024845"/>
                <a:gd name="connsiteY332" fmla="*/ 678798 h 1059043"/>
                <a:gd name="connsiteX333" fmla="*/ 2332722 w 3024845"/>
                <a:gd name="connsiteY333" fmla="*/ 665827 h 1059043"/>
                <a:gd name="connsiteX334" fmla="*/ 2348936 w 3024845"/>
                <a:gd name="connsiteY334" fmla="*/ 665827 h 1059043"/>
                <a:gd name="connsiteX335" fmla="*/ 2348936 w 3024845"/>
                <a:gd name="connsiteY335" fmla="*/ 486400 h 1059043"/>
                <a:gd name="connsiteX336" fmla="*/ 2355016 w 3024845"/>
                <a:gd name="connsiteY336" fmla="*/ 479914 h 1059043"/>
                <a:gd name="connsiteX337" fmla="*/ 2427977 w 3024845"/>
                <a:gd name="connsiteY337" fmla="*/ 479914 h 1059043"/>
                <a:gd name="connsiteX338" fmla="*/ 2427977 w 3024845"/>
                <a:gd name="connsiteY338" fmla="*/ 488562 h 1059043"/>
                <a:gd name="connsiteX339" fmla="*/ 2438110 w 3024845"/>
                <a:gd name="connsiteY339" fmla="*/ 488562 h 1059043"/>
                <a:gd name="connsiteX340" fmla="*/ 2438110 w 3024845"/>
                <a:gd name="connsiteY340" fmla="*/ 603136 h 1059043"/>
                <a:gd name="connsiteX341" fmla="*/ 2460404 w 3024845"/>
                <a:gd name="connsiteY341" fmla="*/ 603136 h 1059043"/>
                <a:gd name="connsiteX342" fmla="*/ 2460404 w 3024845"/>
                <a:gd name="connsiteY342" fmla="*/ 536121 h 1059043"/>
                <a:gd name="connsiteX343" fmla="*/ 2486751 w 3024845"/>
                <a:gd name="connsiteY343" fmla="*/ 536121 h 1059043"/>
                <a:gd name="connsiteX344" fmla="*/ 2490804 w 3024845"/>
                <a:gd name="connsiteY344" fmla="*/ 531797 h 1059043"/>
                <a:gd name="connsiteX345" fmla="*/ 2498911 w 3024845"/>
                <a:gd name="connsiteY345" fmla="*/ 531797 h 1059043"/>
                <a:gd name="connsiteX346" fmla="*/ 2502964 w 3024845"/>
                <a:gd name="connsiteY346" fmla="*/ 536121 h 1059043"/>
                <a:gd name="connsiteX347" fmla="*/ 2525258 w 3024845"/>
                <a:gd name="connsiteY347" fmla="*/ 536121 h 1059043"/>
                <a:gd name="connsiteX348" fmla="*/ 2525258 w 3024845"/>
                <a:gd name="connsiteY348" fmla="*/ 419385 h 1059043"/>
                <a:gd name="connsiteX349" fmla="*/ 2582005 w 3024845"/>
                <a:gd name="connsiteY349" fmla="*/ 408576 h 1059043"/>
                <a:gd name="connsiteX350" fmla="*/ 2582005 w 3024845"/>
                <a:gd name="connsiteY350" fmla="*/ 409657 h 1059043"/>
                <a:gd name="connsiteX351" fmla="*/ 2582005 w 3024845"/>
                <a:gd name="connsiteY351" fmla="*/ 417223 h 1059043"/>
                <a:gd name="connsiteX352" fmla="*/ 2608352 w 3024845"/>
                <a:gd name="connsiteY352" fmla="*/ 417223 h 1059043"/>
                <a:gd name="connsiteX353" fmla="*/ 2608352 w 3024845"/>
                <a:gd name="connsiteY353" fmla="*/ 672313 h 1059043"/>
                <a:gd name="connsiteX354" fmla="*/ 2630646 w 3024845"/>
                <a:gd name="connsiteY354" fmla="*/ 672313 h 1059043"/>
                <a:gd name="connsiteX355" fmla="*/ 2630646 w 3024845"/>
                <a:gd name="connsiteY355" fmla="*/ 667989 h 1059043"/>
                <a:gd name="connsiteX356" fmla="*/ 2642806 w 3024845"/>
                <a:gd name="connsiteY356" fmla="*/ 667989 h 1059043"/>
                <a:gd name="connsiteX357" fmla="*/ 2642806 w 3024845"/>
                <a:gd name="connsiteY357" fmla="*/ 672313 h 1059043"/>
                <a:gd name="connsiteX358" fmla="*/ 2667126 w 3024845"/>
                <a:gd name="connsiteY358" fmla="*/ 672313 h 1059043"/>
                <a:gd name="connsiteX359" fmla="*/ 2667126 w 3024845"/>
                <a:gd name="connsiteY359" fmla="*/ 659342 h 1059043"/>
                <a:gd name="connsiteX360" fmla="*/ 2695500 w 3024845"/>
                <a:gd name="connsiteY360" fmla="*/ 659342 h 1059043"/>
                <a:gd name="connsiteX361" fmla="*/ 2707660 w 3024845"/>
                <a:gd name="connsiteY361" fmla="*/ 655018 h 1059043"/>
                <a:gd name="connsiteX362" fmla="*/ 2727927 w 3024845"/>
                <a:gd name="connsiteY362" fmla="*/ 659342 h 1059043"/>
                <a:gd name="connsiteX363" fmla="*/ 2727927 w 3024845"/>
                <a:gd name="connsiteY363" fmla="*/ 642048 h 1059043"/>
                <a:gd name="connsiteX364" fmla="*/ 2736034 w 3024845"/>
                <a:gd name="connsiteY364" fmla="*/ 642048 h 1059043"/>
                <a:gd name="connsiteX365" fmla="*/ 2736034 w 3024845"/>
                <a:gd name="connsiteY365" fmla="*/ 629077 h 1059043"/>
                <a:gd name="connsiteX366" fmla="*/ 2792781 w 3024845"/>
                <a:gd name="connsiteY366" fmla="*/ 629077 h 1059043"/>
                <a:gd name="connsiteX367" fmla="*/ 2792781 w 3024845"/>
                <a:gd name="connsiteY367" fmla="*/ 598812 h 1059043"/>
                <a:gd name="connsiteX368" fmla="*/ 2811021 w 3024845"/>
                <a:gd name="connsiteY368" fmla="*/ 598812 h 1059043"/>
                <a:gd name="connsiteX369" fmla="*/ 2811021 w 3024845"/>
                <a:gd name="connsiteY369" fmla="*/ 592327 h 1059043"/>
                <a:gd name="connsiteX370" fmla="*/ 2823181 w 3024845"/>
                <a:gd name="connsiteY370" fmla="*/ 592327 h 1059043"/>
                <a:gd name="connsiteX371" fmla="*/ 2823181 w 3024845"/>
                <a:gd name="connsiteY371" fmla="*/ 598812 h 1059043"/>
                <a:gd name="connsiteX372" fmla="*/ 2839395 w 3024845"/>
                <a:gd name="connsiteY372" fmla="*/ 598812 h 1059043"/>
                <a:gd name="connsiteX373" fmla="*/ 2839395 w 3024845"/>
                <a:gd name="connsiteY373" fmla="*/ 648533 h 1059043"/>
                <a:gd name="connsiteX374" fmla="*/ 2871822 w 3024845"/>
                <a:gd name="connsiteY374" fmla="*/ 648533 h 1059043"/>
                <a:gd name="connsiteX375" fmla="*/ 2871822 w 3024845"/>
                <a:gd name="connsiteY375" fmla="*/ 622592 h 1059043"/>
                <a:gd name="connsiteX376" fmla="*/ 2910329 w 3024845"/>
                <a:gd name="connsiteY376" fmla="*/ 622592 h 1059043"/>
                <a:gd name="connsiteX377" fmla="*/ 2910329 w 3024845"/>
                <a:gd name="connsiteY377" fmla="*/ 592327 h 1059043"/>
                <a:gd name="connsiteX378" fmla="*/ 2958970 w 3024845"/>
                <a:gd name="connsiteY378" fmla="*/ 592327 h 1059043"/>
                <a:gd name="connsiteX379" fmla="*/ 2958970 w 3024845"/>
                <a:gd name="connsiteY379" fmla="*/ 703483 h 1059043"/>
                <a:gd name="connsiteX380" fmla="*/ 2958970 w 3024845"/>
                <a:gd name="connsiteY380" fmla="*/ 717262 h 1059043"/>
                <a:gd name="connsiteX381" fmla="*/ 3024845 w 3024845"/>
                <a:gd name="connsiteY381" fmla="*/ 717262 h 1059043"/>
                <a:gd name="connsiteX382" fmla="*/ 3024845 w 3024845"/>
                <a:gd name="connsiteY382" fmla="*/ 1059043 h 1059043"/>
                <a:gd name="connsiteX383" fmla="*/ 2054 w 3024845"/>
                <a:gd name="connsiteY383" fmla="*/ 1056710 h 1059043"/>
                <a:gd name="connsiteX384" fmla="*/ 0 w 3024845"/>
                <a:gd name="connsiteY384" fmla="*/ 622592 h 1059043"/>
                <a:gd name="connsiteX385" fmla="*/ 20267 w 3024845"/>
                <a:gd name="connsiteY385" fmla="*/ 622592 h 1059043"/>
                <a:gd name="connsiteX386" fmla="*/ 20774 w 3024845"/>
                <a:gd name="connsiteY386" fmla="*/ 621511 h 1059043"/>
                <a:gd name="connsiteX387" fmla="*/ 24320 w 3024845"/>
                <a:gd name="connsiteY387" fmla="*/ 613945 h 1059043"/>
                <a:gd name="connsiteX388" fmla="*/ 26094 w 3024845"/>
                <a:gd name="connsiteY388" fmla="*/ 614215 h 1059043"/>
                <a:gd name="connsiteX389" fmla="*/ 38507 w 3024845"/>
                <a:gd name="connsiteY389" fmla="*/ 616106 h 1059043"/>
                <a:gd name="connsiteX390" fmla="*/ 39014 w 3024845"/>
                <a:gd name="connsiteY390" fmla="*/ 617458 h 1059043"/>
                <a:gd name="connsiteX391" fmla="*/ 42560 w 3024845"/>
                <a:gd name="connsiteY391" fmla="*/ 626915 h 1059043"/>
                <a:gd name="connsiteX392" fmla="*/ 68907 w 3024845"/>
                <a:gd name="connsiteY392" fmla="*/ 629077 h 1059043"/>
                <a:gd name="connsiteX393" fmla="*/ 68907 w 3024845"/>
                <a:gd name="connsiteY393" fmla="*/ 505856 h 1059043"/>
                <a:gd name="connsiteX394" fmla="*/ 70934 w 3024845"/>
                <a:gd name="connsiteY394" fmla="*/ 505856 h 1059043"/>
                <a:gd name="connsiteX395" fmla="*/ 85121 w 3024845"/>
                <a:gd name="connsiteY395" fmla="*/ 505856 h 1059043"/>
                <a:gd name="connsiteX396" fmla="*/ 85121 w 3024845"/>
                <a:gd name="connsiteY396" fmla="*/ 369664 h 1059043"/>
                <a:gd name="connsiteX397" fmla="*/ 86894 w 3024845"/>
                <a:gd name="connsiteY397" fmla="*/ 369664 h 1059043"/>
                <a:gd name="connsiteX398" fmla="*/ 99308 w 3024845"/>
                <a:gd name="connsiteY398" fmla="*/ 369664 h 1059043"/>
                <a:gd name="connsiteX399" fmla="*/ 99308 w 3024845"/>
                <a:gd name="connsiteY399" fmla="*/ 255090 h 1059043"/>
                <a:gd name="connsiteX400" fmla="*/ 103361 w 3024845"/>
                <a:gd name="connsiteY400" fmla="*/ 226986 h 1059043"/>
                <a:gd name="connsiteX401" fmla="*/ 105388 w 3024845"/>
                <a:gd name="connsiteY401" fmla="*/ 226986 h 1059043"/>
                <a:gd name="connsiteX402" fmla="*/ 119575 w 3024845"/>
                <a:gd name="connsiteY402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2480 w 3024845"/>
                <a:gd name="connsiteY316" fmla="*/ 118897 h 1059043"/>
                <a:gd name="connsiteX317" fmla="*/ 2168560 w 3024845"/>
                <a:gd name="connsiteY317" fmla="*/ 125383 h 1059043"/>
                <a:gd name="connsiteX318" fmla="*/ 2180720 w 3024845"/>
                <a:gd name="connsiteY318" fmla="*/ 555577 h 1059043"/>
                <a:gd name="connsiteX319" fmla="*/ 2245574 w 3024845"/>
                <a:gd name="connsiteY319" fmla="*/ 555577 h 1059043"/>
                <a:gd name="connsiteX320" fmla="*/ 2245574 w 3024845"/>
                <a:gd name="connsiteY320" fmla="*/ 631239 h 1059043"/>
                <a:gd name="connsiteX321" fmla="*/ 2253681 w 3024845"/>
                <a:gd name="connsiteY321" fmla="*/ 631239 h 1059043"/>
                <a:gd name="connsiteX322" fmla="*/ 2255708 w 3024845"/>
                <a:gd name="connsiteY322" fmla="*/ 624754 h 1059043"/>
                <a:gd name="connsiteX323" fmla="*/ 2261788 w 3024845"/>
                <a:gd name="connsiteY323" fmla="*/ 624754 h 1059043"/>
                <a:gd name="connsiteX324" fmla="*/ 2263815 w 3024845"/>
                <a:gd name="connsiteY324" fmla="*/ 633401 h 1059043"/>
                <a:gd name="connsiteX325" fmla="*/ 2275975 w 3024845"/>
                <a:gd name="connsiteY325" fmla="*/ 633401 h 1059043"/>
                <a:gd name="connsiteX326" fmla="*/ 2275975 w 3024845"/>
                <a:gd name="connsiteY326" fmla="*/ 626915 h 1059043"/>
                <a:gd name="connsiteX327" fmla="*/ 2298268 w 3024845"/>
                <a:gd name="connsiteY327" fmla="*/ 626915 h 1059043"/>
                <a:gd name="connsiteX328" fmla="*/ 2298268 w 3024845"/>
                <a:gd name="connsiteY328" fmla="*/ 633401 h 1059043"/>
                <a:gd name="connsiteX329" fmla="*/ 2318535 w 3024845"/>
                <a:gd name="connsiteY329" fmla="*/ 633401 h 1059043"/>
                <a:gd name="connsiteX330" fmla="*/ 2318535 w 3024845"/>
                <a:gd name="connsiteY330" fmla="*/ 678798 h 1059043"/>
                <a:gd name="connsiteX331" fmla="*/ 2332722 w 3024845"/>
                <a:gd name="connsiteY331" fmla="*/ 678798 h 1059043"/>
                <a:gd name="connsiteX332" fmla="*/ 2332722 w 3024845"/>
                <a:gd name="connsiteY332" fmla="*/ 665827 h 1059043"/>
                <a:gd name="connsiteX333" fmla="*/ 2348936 w 3024845"/>
                <a:gd name="connsiteY333" fmla="*/ 665827 h 1059043"/>
                <a:gd name="connsiteX334" fmla="*/ 2348936 w 3024845"/>
                <a:gd name="connsiteY334" fmla="*/ 486400 h 1059043"/>
                <a:gd name="connsiteX335" fmla="*/ 2355016 w 3024845"/>
                <a:gd name="connsiteY335" fmla="*/ 479914 h 1059043"/>
                <a:gd name="connsiteX336" fmla="*/ 2427977 w 3024845"/>
                <a:gd name="connsiteY336" fmla="*/ 479914 h 1059043"/>
                <a:gd name="connsiteX337" fmla="*/ 2427977 w 3024845"/>
                <a:gd name="connsiteY337" fmla="*/ 488562 h 1059043"/>
                <a:gd name="connsiteX338" fmla="*/ 2438110 w 3024845"/>
                <a:gd name="connsiteY338" fmla="*/ 488562 h 1059043"/>
                <a:gd name="connsiteX339" fmla="*/ 2438110 w 3024845"/>
                <a:gd name="connsiteY339" fmla="*/ 603136 h 1059043"/>
                <a:gd name="connsiteX340" fmla="*/ 2460404 w 3024845"/>
                <a:gd name="connsiteY340" fmla="*/ 603136 h 1059043"/>
                <a:gd name="connsiteX341" fmla="*/ 2460404 w 3024845"/>
                <a:gd name="connsiteY341" fmla="*/ 536121 h 1059043"/>
                <a:gd name="connsiteX342" fmla="*/ 2486751 w 3024845"/>
                <a:gd name="connsiteY342" fmla="*/ 536121 h 1059043"/>
                <a:gd name="connsiteX343" fmla="*/ 2490804 w 3024845"/>
                <a:gd name="connsiteY343" fmla="*/ 531797 h 1059043"/>
                <a:gd name="connsiteX344" fmla="*/ 2498911 w 3024845"/>
                <a:gd name="connsiteY344" fmla="*/ 531797 h 1059043"/>
                <a:gd name="connsiteX345" fmla="*/ 2502964 w 3024845"/>
                <a:gd name="connsiteY345" fmla="*/ 536121 h 1059043"/>
                <a:gd name="connsiteX346" fmla="*/ 2525258 w 3024845"/>
                <a:gd name="connsiteY346" fmla="*/ 536121 h 1059043"/>
                <a:gd name="connsiteX347" fmla="*/ 2525258 w 3024845"/>
                <a:gd name="connsiteY347" fmla="*/ 419385 h 1059043"/>
                <a:gd name="connsiteX348" fmla="*/ 2582005 w 3024845"/>
                <a:gd name="connsiteY348" fmla="*/ 408576 h 1059043"/>
                <a:gd name="connsiteX349" fmla="*/ 2582005 w 3024845"/>
                <a:gd name="connsiteY349" fmla="*/ 409657 h 1059043"/>
                <a:gd name="connsiteX350" fmla="*/ 2582005 w 3024845"/>
                <a:gd name="connsiteY350" fmla="*/ 417223 h 1059043"/>
                <a:gd name="connsiteX351" fmla="*/ 2608352 w 3024845"/>
                <a:gd name="connsiteY351" fmla="*/ 417223 h 1059043"/>
                <a:gd name="connsiteX352" fmla="*/ 2608352 w 3024845"/>
                <a:gd name="connsiteY352" fmla="*/ 672313 h 1059043"/>
                <a:gd name="connsiteX353" fmla="*/ 2630646 w 3024845"/>
                <a:gd name="connsiteY353" fmla="*/ 672313 h 1059043"/>
                <a:gd name="connsiteX354" fmla="*/ 2630646 w 3024845"/>
                <a:gd name="connsiteY354" fmla="*/ 667989 h 1059043"/>
                <a:gd name="connsiteX355" fmla="*/ 2642806 w 3024845"/>
                <a:gd name="connsiteY355" fmla="*/ 667989 h 1059043"/>
                <a:gd name="connsiteX356" fmla="*/ 2642806 w 3024845"/>
                <a:gd name="connsiteY356" fmla="*/ 672313 h 1059043"/>
                <a:gd name="connsiteX357" fmla="*/ 2667126 w 3024845"/>
                <a:gd name="connsiteY357" fmla="*/ 672313 h 1059043"/>
                <a:gd name="connsiteX358" fmla="*/ 2667126 w 3024845"/>
                <a:gd name="connsiteY358" fmla="*/ 659342 h 1059043"/>
                <a:gd name="connsiteX359" fmla="*/ 2695500 w 3024845"/>
                <a:gd name="connsiteY359" fmla="*/ 659342 h 1059043"/>
                <a:gd name="connsiteX360" fmla="*/ 2707660 w 3024845"/>
                <a:gd name="connsiteY360" fmla="*/ 655018 h 1059043"/>
                <a:gd name="connsiteX361" fmla="*/ 2727927 w 3024845"/>
                <a:gd name="connsiteY361" fmla="*/ 659342 h 1059043"/>
                <a:gd name="connsiteX362" fmla="*/ 2727927 w 3024845"/>
                <a:gd name="connsiteY362" fmla="*/ 642048 h 1059043"/>
                <a:gd name="connsiteX363" fmla="*/ 2736034 w 3024845"/>
                <a:gd name="connsiteY363" fmla="*/ 642048 h 1059043"/>
                <a:gd name="connsiteX364" fmla="*/ 2736034 w 3024845"/>
                <a:gd name="connsiteY364" fmla="*/ 629077 h 1059043"/>
                <a:gd name="connsiteX365" fmla="*/ 2792781 w 3024845"/>
                <a:gd name="connsiteY365" fmla="*/ 629077 h 1059043"/>
                <a:gd name="connsiteX366" fmla="*/ 2792781 w 3024845"/>
                <a:gd name="connsiteY366" fmla="*/ 598812 h 1059043"/>
                <a:gd name="connsiteX367" fmla="*/ 2811021 w 3024845"/>
                <a:gd name="connsiteY367" fmla="*/ 598812 h 1059043"/>
                <a:gd name="connsiteX368" fmla="*/ 2811021 w 3024845"/>
                <a:gd name="connsiteY368" fmla="*/ 592327 h 1059043"/>
                <a:gd name="connsiteX369" fmla="*/ 2823181 w 3024845"/>
                <a:gd name="connsiteY369" fmla="*/ 592327 h 1059043"/>
                <a:gd name="connsiteX370" fmla="*/ 2823181 w 3024845"/>
                <a:gd name="connsiteY370" fmla="*/ 598812 h 1059043"/>
                <a:gd name="connsiteX371" fmla="*/ 2839395 w 3024845"/>
                <a:gd name="connsiteY371" fmla="*/ 598812 h 1059043"/>
                <a:gd name="connsiteX372" fmla="*/ 2839395 w 3024845"/>
                <a:gd name="connsiteY372" fmla="*/ 648533 h 1059043"/>
                <a:gd name="connsiteX373" fmla="*/ 2871822 w 3024845"/>
                <a:gd name="connsiteY373" fmla="*/ 648533 h 1059043"/>
                <a:gd name="connsiteX374" fmla="*/ 2871822 w 3024845"/>
                <a:gd name="connsiteY374" fmla="*/ 622592 h 1059043"/>
                <a:gd name="connsiteX375" fmla="*/ 2910329 w 3024845"/>
                <a:gd name="connsiteY375" fmla="*/ 622592 h 1059043"/>
                <a:gd name="connsiteX376" fmla="*/ 2910329 w 3024845"/>
                <a:gd name="connsiteY376" fmla="*/ 592327 h 1059043"/>
                <a:gd name="connsiteX377" fmla="*/ 2958970 w 3024845"/>
                <a:gd name="connsiteY377" fmla="*/ 592327 h 1059043"/>
                <a:gd name="connsiteX378" fmla="*/ 2958970 w 3024845"/>
                <a:gd name="connsiteY378" fmla="*/ 703483 h 1059043"/>
                <a:gd name="connsiteX379" fmla="*/ 2958970 w 3024845"/>
                <a:gd name="connsiteY379" fmla="*/ 717262 h 1059043"/>
                <a:gd name="connsiteX380" fmla="*/ 3024845 w 3024845"/>
                <a:gd name="connsiteY380" fmla="*/ 717262 h 1059043"/>
                <a:gd name="connsiteX381" fmla="*/ 3024845 w 3024845"/>
                <a:gd name="connsiteY381" fmla="*/ 1059043 h 1059043"/>
                <a:gd name="connsiteX382" fmla="*/ 2054 w 3024845"/>
                <a:gd name="connsiteY382" fmla="*/ 1056710 h 1059043"/>
                <a:gd name="connsiteX383" fmla="*/ 0 w 3024845"/>
                <a:gd name="connsiteY383" fmla="*/ 622592 h 1059043"/>
                <a:gd name="connsiteX384" fmla="*/ 20267 w 3024845"/>
                <a:gd name="connsiteY384" fmla="*/ 622592 h 1059043"/>
                <a:gd name="connsiteX385" fmla="*/ 20774 w 3024845"/>
                <a:gd name="connsiteY385" fmla="*/ 621511 h 1059043"/>
                <a:gd name="connsiteX386" fmla="*/ 24320 w 3024845"/>
                <a:gd name="connsiteY386" fmla="*/ 613945 h 1059043"/>
                <a:gd name="connsiteX387" fmla="*/ 26094 w 3024845"/>
                <a:gd name="connsiteY387" fmla="*/ 614215 h 1059043"/>
                <a:gd name="connsiteX388" fmla="*/ 38507 w 3024845"/>
                <a:gd name="connsiteY388" fmla="*/ 616106 h 1059043"/>
                <a:gd name="connsiteX389" fmla="*/ 39014 w 3024845"/>
                <a:gd name="connsiteY389" fmla="*/ 617458 h 1059043"/>
                <a:gd name="connsiteX390" fmla="*/ 42560 w 3024845"/>
                <a:gd name="connsiteY390" fmla="*/ 626915 h 1059043"/>
                <a:gd name="connsiteX391" fmla="*/ 68907 w 3024845"/>
                <a:gd name="connsiteY391" fmla="*/ 629077 h 1059043"/>
                <a:gd name="connsiteX392" fmla="*/ 68907 w 3024845"/>
                <a:gd name="connsiteY392" fmla="*/ 505856 h 1059043"/>
                <a:gd name="connsiteX393" fmla="*/ 70934 w 3024845"/>
                <a:gd name="connsiteY393" fmla="*/ 505856 h 1059043"/>
                <a:gd name="connsiteX394" fmla="*/ 85121 w 3024845"/>
                <a:gd name="connsiteY394" fmla="*/ 505856 h 1059043"/>
                <a:gd name="connsiteX395" fmla="*/ 85121 w 3024845"/>
                <a:gd name="connsiteY395" fmla="*/ 369664 h 1059043"/>
                <a:gd name="connsiteX396" fmla="*/ 86894 w 3024845"/>
                <a:gd name="connsiteY396" fmla="*/ 369664 h 1059043"/>
                <a:gd name="connsiteX397" fmla="*/ 99308 w 3024845"/>
                <a:gd name="connsiteY397" fmla="*/ 369664 h 1059043"/>
                <a:gd name="connsiteX398" fmla="*/ 99308 w 3024845"/>
                <a:gd name="connsiteY398" fmla="*/ 255090 h 1059043"/>
                <a:gd name="connsiteX399" fmla="*/ 103361 w 3024845"/>
                <a:gd name="connsiteY399" fmla="*/ 226986 h 1059043"/>
                <a:gd name="connsiteX400" fmla="*/ 105388 w 3024845"/>
                <a:gd name="connsiteY400" fmla="*/ 226986 h 1059043"/>
                <a:gd name="connsiteX401" fmla="*/ 119575 w 3024845"/>
                <a:gd name="connsiteY401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68560 w 3024845"/>
                <a:gd name="connsiteY316" fmla="*/ 125383 h 1059043"/>
                <a:gd name="connsiteX317" fmla="*/ 2180720 w 3024845"/>
                <a:gd name="connsiteY317" fmla="*/ 555577 h 1059043"/>
                <a:gd name="connsiteX318" fmla="*/ 2245574 w 3024845"/>
                <a:gd name="connsiteY318" fmla="*/ 555577 h 1059043"/>
                <a:gd name="connsiteX319" fmla="*/ 2245574 w 3024845"/>
                <a:gd name="connsiteY319" fmla="*/ 631239 h 1059043"/>
                <a:gd name="connsiteX320" fmla="*/ 2253681 w 3024845"/>
                <a:gd name="connsiteY320" fmla="*/ 631239 h 1059043"/>
                <a:gd name="connsiteX321" fmla="*/ 2255708 w 3024845"/>
                <a:gd name="connsiteY321" fmla="*/ 624754 h 1059043"/>
                <a:gd name="connsiteX322" fmla="*/ 2261788 w 3024845"/>
                <a:gd name="connsiteY322" fmla="*/ 624754 h 1059043"/>
                <a:gd name="connsiteX323" fmla="*/ 2263815 w 3024845"/>
                <a:gd name="connsiteY323" fmla="*/ 633401 h 1059043"/>
                <a:gd name="connsiteX324" fmla="*/ 2275975 w 3024845"/>
                <a:gd name="connsiteY324" fmla="*/ 633401 h 1059043"/>
                <a:gd name="connsiteX325" fmla="*/ 2275975 w 3024845"/>
                <a:gd name="connsiteY325" fmla="*/ 626915 h 1059043"/>
                <a:gd name="connsiteX326" fmla="*/ 2298268 w 3024845"/>
                <a:gd name="connsiteY326" fmla="*/ 626915 h 1059043"/>
                <a:gd name="connsiteX327" fmla="*/ 2298268 w 3024845"/>
                <a:gd name="connsiteY327" fmla="*/ 633401 h 1059043"/>
                <a:gd name="connsiteX328" fmla="*/ 2318535 w 3024845"/>
                <a:gd name="connsiteY328" fmla="*/ 633401 h 1059043"/>
                <a:gd name="connsiteX329" fmla="*/ 2318535 w 3024845"/>
                <a:gd name="connsiteY329" fmla="*/ 678798 h 1059043"/>
                <a:gd name="connsiteX330" fmla="*/ 2332722 w 3024845"/>
                <a:gd name="connsiteY330" fmla="*/ 678798 h 1059043"/>
                <a:gd name="connsiteX331" fmla="*/ 2332722 w 3024845"/>
                <a:gd name="connsiteY331" fmla="*/ 665827 h 1059043"/>
                <a:gd name="connsiteX332" fmla="*/ 2348936 w 3024845"/>
                <a:gd name="connsiteY332" fmla="*/ 665827 h 1059043"/>
                <a:gd name="connsiteX333" fmla="*/ 2348936 w 3024845"/>
                <a:gd name="connsiteY333" fmla="*/ 486400 h 1059043"/>
                <a:gd name="connsiteX334" fmla="*/ 2355016 w 3024845"/>
                <a:gd name="connsiteY334" fmla="*/ 479914 h 1059043"/>
                <a:gd name="connsiteX335" fmla="*/ 2427977 w 3024845"/>
                <a:gd name="connsiteY335" fmla="*/ 479914 h 1059043"/>
                <a:gd name="connsiteX336" fmla="*/ 2427977 w 3024845"/>
                <a:gd name="connsiteY336" fmla="*/ 488562 h 1059043"/>
                <a:gd name="connsiteX337" fmla="*/ 2438110 w 3024845"/>
                <a:gd name="connsiteY337" fmla="*/ 488562 h 1059043"/>
                <a:gd name="connsiteX338" fmla="*/ 2438110 w 3024845"/>
                <a:gd name="connsiteY338" fmla="*/ 603136 h 1059043"/>
                <a:gd name="connsiteX339" fmla="*/ 2460404 w 3024845"/>
                <a:gd name="connsiteY339" fmla="*/ 603136 h 1059043"/>
                <a:gd name="connsiteX340" fmla="*/ 2460404 w 3024845"/>
                <a:gd name="connsiteY340" fmla="*/ 536121 h 1059043"/>
                <a:gd name="connsiteX341" fmla="*/ 2486751 w 3024845"/>
                <a:gd name="connsiteY341" fmla="*/ 536121 h 1059043"/>
                <a:gd name="connsiteX342" fmla="*/ 2490804 w 3024845"/>
                <a:gd name="connsiteY342" fmla="*/ 531797 h 1059043"/>
                <a:gd name="connsiteX343" fmla="*/ 2498911 w 3024845"/>
                <a:gd name="connsiteY343" fmla="*/ 531797 h 1059043"/>
                <a:gd name="connsiteX344" fmla="*/ 2502964 w 3024845"/>
                <a:gd name="connsiteY344" fmla="*/ 536121 h 1059043"/>
                <a:gd name="connsiteX345" fmla="*/ 2525258 w 3024845"/>
                <a:gd name="connsiteY345" fmla="*/ 536121 h 1059043"/>
                <a:gd name="connsiteX346" fmla="*/ 2525258 w 3024845"/>
                <a:gd name="connsiteY346" fmla="*/ 419385 h 1059043"/>
                <a:gd name="connsiteX347" fmla="*/ 2582005 w 3024845"/>
                <a:gd name="connsiteY347" fmla="*/ 408576 h 1059043"/>
                <a:gd name="connsiteX348" fmla="*/ 2582005 w 3024845"/>
                <a:gd name="connsiteY348" fmla="*/ 409657 h 1059043"/>
                <a:gd name="connsiteX349" fmla="*/ 2582005 w 3024845"/>
                <a:gd name="connsiteY349" fmla="*/ 417223 h 1059043"/>
                <a:gd name="connsiteX350" fmla="*/ 2608352 w 3024845"/>
                <a:gd name="connsiteY350" fmla="*/ 417223 h 1059043"/>
                <a:gd name="connsiteX351" fmla="*/ 2608352 w 3024845"/>
                <a:gd name="connsiteY351" fmla="*/ 672313 h 1059043"/>
                <a:gd name="connsiteX352" fmla="*/ 2630646 w 3024845"/>
                <a:gd name="connsiteY352" fmla="*/ 672313 h 1059043"/>
                <a:gd name="connsiteX353" fmla="*/ 2630646 w 3024845"/>
                <a:gd name="connsiteY353" fmla="*/ 667989 h 1059043"/>
                <a:gd name="connsiteX354" fmla="*/ 2642806 w 3024845"/>
                <a:gd name="connsiteY354" fmla="*/ 667989 h 1059043"/>
                <a:gd name="connsiteX355" fmla="*/ 2642806 w 3024845"/>
                <a:gd name="connsiteY355" fmla="*/ 672313 h 1059043"/>
                <a:gd name="connsiteX356" fmla="*/ 2667126 w 3024845"/>
                <a:gd name="connsiteY356" fmla="*/ 672313 h 1059043"/>
                <a:gd name="connsiteX357" fmla="*/ 2667126 w 3024845"/>
                <a:gd name="connsiteY357" fmla="*/ 659342 h 1059043"/>
                <a:gd name="connsiteX358" fmla="*/ 2695500 w 3024845"/>
                <a:gd name="connsiteY358" fmla="*/ 659342 h 1059043"/>
                <a:gd name="connsiteX359" fmla="*/ 2707660 w 3024845"/>
                <a:gd name="connsiteY359" fmla="*/ 655018 h 1059043"/>
                <a:gd name="connsiteX360" fmla="*/ 2727927 w 3024845"/>
                <a:gd name="connsiteY360" fmla="*/ 659342 h 1059043"/>
                <a:gd name="connsiteX361" fmla="*/ 2727927 w 3024845"/>
                <a:gd name="connsiteY361" fmla="*/ 642048 h 1059043"/>
                <a:gd name="connsiteX362" fmla="*/ 2736034 w 3024845"/>
                <a:gd name="connsiteY362" fmla="*/ 642048 h 1059043"/>
                <a:gd name="connsiteX363" fmla="*/ 2736034 w 3024845"/>
                <a:gd name="connsiteY363" fmla="*/ 629077 h 1059043"/>
                <a:gd name="connsiteX364" fmla="*/ 2792781 w 3024845"/>
                <a:gd name="connsiteY364" fmla="*/ 629077 h 1059043"/>
                <a:gd name="connsiteX365" fmla="*/ 2792781 w 3024845"/>
                <a:gd name="connsiteY365" fmla="*/ 598812 h 1059043"/>
                <a:gd name="connsiteX366" fmla="*/ 2811021 w 3024845"/>
                <a:gd name="connsiteY366" fmla="*/ 598812 h 1059043"/>
                <a:gd name="connsiteX367" fmla="*/ 2811021 w 3024845"/>
                <a:gd name="connsiteY367" fmla="*/ 592327 h 1059043"/>
                <a:gd name="connsiteX368" fmla="*/ 2823181 w 3024845"/>
                <a:gd name="connsiteY368" fmla="*/ 592327 h 1059043"/>
                <a:gd name="connsiteX369" fmla="*/ 2823181 w 3024845"/>
                <a:gd name="connsiteY369" fmla="*/ 598812 h 1059043"/>
                <a:gd name="connsiteX370" fmla="*/ 2839395 w 3024845"/>
                <a:gd name="connsiteY370" fmla="*/ 598812 h 1059043"/>
                <a:gd name="connsiteX371" fmla="*/ 2839395 w 3024845"/>
                <a:gd name="connsiteY371" fmla="*/ 648533 h 1059043"/>
                <a:gd name="connsiteX372" fmla="*/ 2871822 w 3024845"/>
                <a:gd name="connsiteY372" fmla="*/ 648533 h 1059043"/>
                <a:gd name="connsiteX373" fmla="*/ 2871822 w 3024845"/>
                <a:gd name="connsiteY373" fmla="*/ 622592 h 1059043"/>
                <a:gd name="connsiteX374" fmla="*/ 2910329 w 3024845"/>
                <a:gd name="connsiteY374" fmla="*/ 622592 h 1059043"/>
                <a:gd name="connsiteX375" fmla="*/ 2910329 w 3024845"/>
                <a:gd name="connsiteY375" fmla="*/ 592327 h 1059043"/>
                <a:gd name="connsiteX376" fmla="*/ 2958970 w 3024845"/>
                <a:gd name="connsiteY376" fmla="*/ 592327 h 1059043"/>
                <a:gd name="connsiteX377" fmla="*/ 2958970 w 3024845"/>
                <a:gd name="connsiteY377" fmla="*/ 703483 h 1059043"/>
                <a:gd name="connsiteX378" fmla="*/ 2958970 w 3024845"/>
                <a:gd name="connsiteY378" fmla="*/ 717262 h 1059043"/>
                <a:gd name="connsiteX379" fmla="*/ 3024845 w 3024845"/>
                <a:gd name="connsiteY379" fmla="*/ 717262 h 1059043"/>
                <a:gd name="connsiteX380" fmla="*/ 3024845 w 3024845"/>
                <a:gd name="connsiteY380" fmla="*/ 1059043 h 1059043"/>
                <a:gd name="connsiteX381" fmla="*/ 2054 w 3024845"/>
                <a:gd name="connsiteY381" fmla="*/ 1056710 h 1059043"/>
                <a:gd name="connsiteX382" fmla="*/ 0 w 3024845"/>
                <a:gd name="connsiteY382" fmla="*/ 622592 h 1059043"/>
                <a:gd name="connsiteX383" fmla="*/ 20267 w 3024845"/>
                <a:gd name="connsiteY383" fmla="*/ 622592 h 1059043"/>
                <a:gd name="connsiteX384" fmla="*/ 20774 w 3024845"/>
                <a:gd name="connsiteY384" fmla="*/ 621511 h 1059043"/>
                <a:gd name="connsiteX385" fmla="*/ 24320 w 3024845"/>
                <a:gd name="connsiteY385" fmla="*/ 613945 h 1059043"/>
                <a:gd name="connsiteX386" fmla="*/ 26094 w 3024845"/>
                <a:gd name="connsiteY386" fmla="*/ 614215 h 1059043"/>
                <a:gd name="connsiteX387" fmla="*/ 38507 w 3024845"/>
                <a:gd name="connsiteY387" fmla="*/ 616106 h 1059043"/>
                <a:gd name="connsiteX388" fmla="*/ 39014 w 3024845"/>
                <a:gd name="connsiteY388" fmla="*/ 617458 h 1059043"/>
                <a:gd name="connsiteX389" fmla="*/ 42560 w 3024845"/>
                <a:gd name="connsiteY389" fmla="*/ 626915 h 1059043"/>
                <a:gd name="connsiteX390" fmla="*/ 68907 w 3024845"/>
                <a:gd name="connsiteY390" fmla="*/ 629077 h 1059043"/>
                <a:gd name="connsiteX391" fmla="*/ 68907 w 3024845"/>
                <a:gd name="connsiteY391" fmla="*/ 505856 h 1059043"/>
                <a:gd name="connsiteX392" fmla="*/ 70934 w 3024845"/>
                <a:gd name="connsiteY392" fmla="*/ 505856 h 1059043"/>
                <a:gd name="connsiteX393" fmla="*/ 85121 w 3024845"/>
                <a:gd name="connsiteY393" fmla="*/ 505856 h 1059043"/>
                <a:gd name="connsiteX394" fmla="*/ 85121 w 3024845"/>
                <a:gd name="connsiteY394" fmla="*/ 369664 h 1059043"/>
                <a:gd name="connsiteX395" fmla="*/ 86894 w 3024845"/>
                <a:gd name="connsiteY395" fmla="*/ 369664 h 1059043"/>
                <a:gd name="connsiteX396" fmla="*/ 99308 w 3024845"/>
                <a:gd name="connsiteY396" fmla="*/ 369664 h 1059043"/>
                <a:gd name="connsiteX397" fmla="*/ 99308 w 3024845"/>
                <a:gd name="connsiteY397" fmla="*/ 255090 h 1059043"/>
                <a:gd name="connsiteX398" fmla="*/ 103361 w 3024845"/>
                <a:gd name="connsiteY398" fmla="*/ 226986 h 1059043"/>
                <a:gd name="connsiteX399" fmla="*/ 105388 w 3024845"/>
                <a:gd name="connsiteY399" fmla="*/ 226986 h 1059043"/>
                <a:gd name="connsiteX400" fmla="*/ 119575 w 3024845"/>
                <a:gd name="connsiteY400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118897 h 1059043"/>
                <a:gd name="connsiteX313" fmla="*/ 2150320 w 3024845"/>
                <a:gd name="connsiteY313" fmla="*/ 60529 h 1059043"/>
                <a:gd name="connsiteX314" fmla="*/ 2152346 w 3024845"/>
                <a:gd name="connsiteY314" fmla="*/ 56206 h 1059043"/>
                <a:gd name="connsiteX315" fmla="*/ 2152346 w 3024845"/>
                <a:gd name="connsiteY315" fmla="*/ 0 h 1059043"/>
                <a:gd name="connsiteX316" fmla="*/ 2180720 w 3024845"/>
                <a:gd name="connsiteY316" fmla="*/ 555577 h 1059043"/>
                <a:gd name="connsiteX317" fmla="*/ 2245574 w 3024845"/>
                <a:gd name="connsiteY317" fmla="*/ 555577 h 1059043"/>
                <a:gd name="connsiteX318" fmla="*/ 2245574 w 3024845"/>
                <a:gd name="connsiteY318" fmla="*/ 631239 h 1059043"/>
                <a:gd name="connsiteX319" fmla="*/ 2253681 w 3024845"/>
                <a:gd name="connsiteY319" fmla="*/ 631239 h 1059043"/>
                <a:gd name="connsiteX320" fmla="*/ 2255708 w 3024845"/>
                <a:gd name="connsiteY320" fmla="*/ 624754 h 1059043"/>
                <a:gd name="connsiteX321" fmla="*/ 2261788 w 3024845"/>
                <a:gd name="connsiteY321" fmla="*/ 624754 h 1059043"/>
                <a:gd name="connsiteX322" fmla="*/ 2263815 w 3024845"/>
                <a:gd name="connsiteY322" fmla="*/ 633401 h 1059043"/>
                <a:gd name="connsiteX323" fmla="*/ 2275975 w 3024845"/>
                <a:gd name="connsiteY323" fmla="*/ 633401 h 1059043"/>
                <a:gd name="connsiteX324" fmla="*/ 2275975 w 3024845"/>
                <a:gd name="connsiteY324" fmla="*/ 626915 h 1059043"/>
                <a:gd name="connsiteX325" fmla="*/ 2298268 w 3024845"/>
                <a:gd name="connsiteY325" fmla="*/ 626915 h 1059043"/>
                <a:gd name="connsiteX326" fmla="*/ 2298268 w 3024845"/>
                <a:gd name="connsiteY326" fmla="*/ 633401 h 1059043"/>
                <a:gd name="connsiteX327" fmla="*/ 2318535 w 3024845"/>
                <a:gd name="connsiteY327" fmla="*/ 633401 h 1059043"/>
                <a:gd name="connsiteX328" fmla="*/ 2318535 w 3024845"/>
                <a:gd name="connsiteY328" fmla="*/ 678798 h 1059043"/>
                <a:gd name="connsiteX329" fmla="*/ 2332722 w 3024845"/>
                <a:gd name="connsiteY329" fmla="*/ 678798 h 1059043"/>
                <a:gd name="connsiteX330" fmla="*/ 2332722 w 3024845"/>
                <a:gd name="connsiteY330" fmla="*/ 665827 h 1059043"/>
                <a:gd name="connsiteX331" fmla="*/ 2348936 w 3024845"/>
                <a:gd name="connsiteY331" fmla="*/ 665827 h 1059043"/>
                <a:gd name="connsiteX332" fmla="*/ 2348936 w 3024845"/>
                <a:gd name="connsiteY332" fmla="*/ 486400 h 1059043"/>
                <a:gd name="connsiteX333" fmla="*/ 2355016 w 3024845"/>
                <a:gd name="connsiteY333" fmla="*/ 479914 h 1059043"/>
                <a:gd name="connsiteX334" fmla="*/ 2427977 w 3024845"/>
                <a:gd name="connsiteY334" fmla="*/ 479914 h 1059043"/>
                <a:gd name="connsiteX335" fmla="*/ 2427977 w 3024845"/>
                <a:gd name="connsiteY335" fmla="*/ 488562 h 1059043"/>
                <a:gd name="connsiteX336" fmla="*/ 2438110 w 3024845"/>
                <a:gd name="connsiteY336" fmla="*/ 488562 h 1059043"/>
                <a:gd name="connsiteX337" fmla="*/ 2438110 w 3024845"/>
                <a:gd name="connsiteY337" fmla="*/ 603136 h 1059043"/>
                <a:gd name="connsiteX338" fmla="*/ 2460404 w 3024845"/>
                <a:gd name="connsiteY338" fmla="*/ 603136 h 1059043"/>
                <a:gd name="connsiteX339" fmla="*/ 2460404 w 3024845"/>
                <a:gd name="connsiteY339" fmla="*/ 536121 h 1059043"/>
                <a:gd name="connsiteX340" fmla="*/ 2486751 w 3024845"/>
                <a:gd name="connsiteY340" fmla="*/ 536121 h 1059043"/>
                <a:gd name="connsiteX341" fmla="*/ 2490804 w 3024845"/>
                <a:gd name="connsiteY341" fmla="*/ 531797 h 1059043"/>
                <a:gd name="connsiteX342" fmla="*/ 2498911 w 3024845"/>
                <a:gd name="connsiteY342" fmla="*/ 531797 h 1059043"/>
                <a:gd name="connsiteX343" fmla="*/ 2502964 w 3024845"/>
                <a:gd name="connsiteY343" fmla="*/ 536121 h 1059043"/>
                <a:gd name="connsiteX344" fmla="*/ 2525258 w 3024845"/>
                <a:gd name="connsiteY344" fmla="*/ 536121 h 1059043"/>
                <a:gd name="connsiteX345" fmla="*/ 2525258 w 3024845"/>
                <a:gd name="connsiteY345" fmla="*/ 419385 h 1059043"/>
                <a:gd name="connsiteX346" fmla="*/ 2582005 w 3024845"/>
                <a:gd name="connsiteY346" fmla="*/ 408576 h 1059043"/>
                <a:gd name="connsiteX347" fmla="*/ 2582005 w 3024845"/>
                <a:gd name="connsiteY347" fmla="*/ 409657 h 1059043"/>
                <a:gd name="connsiteX348" fmla="*/ 2582005 w 3024845"/>
                <a:gd name="connsiteY348" fmla="*/ 417223 h 1059043"/>
                <a:gd name="connsiteX349" fmla="*/ 2608352 w 3024845"/>
                <a:gd name="connsiteY349" fmla="*/ 417223 h 1059043"/>
                <a:gd name="connsiteX350" fmla="*/ 2608352 w 3024845"/>
                <a:gd name="connsiteY350" fmla="*/ 672313 h 1059043"/>
                <a:gd name="connsiteX351" fmla="*/ 2630646 w 3024845"/>
                <a:gd name="connsiteY351" fmla="*/ 672313 h 1059043"/>
                <a:gd name="connsiteX352" fmla="*/ 2630646 w 3024845"/>
                <a:gd name="connsiteY352" fmla="*/ 667989 h 1059043"/>
                <a:gd name="connsiteX353" fmla="*/ 2642806 w 3024845"/>
                <a:gd name="connsiteY353" fmla="*/ 667989 h 1059043"/>
                <a:gd name="connsiteX354" fmla="*/ 2642806 w 3024845"/>
                <a:gd name="connsiteY354" fmla="*/ 672313 h 1059043"/>
                <a:gd name="connsiteX355" fmla="*/ 2667126 w 3024845"/>
                <a:gd name="connsiteY355" fmla="*/ 672313 h 1059043"/>
                <a:gd name="connsiteX356" fmla="*/ 2667126 w 3024845"/>
                <a:gd name="connsiteY356" fmla="*/ 659342 h 1059043"/>
                <a:gd name="connsiteX357" fmla="*/ 2695500 w 3024845"/>
                <a:gd name="connsiteY357" fmla="*/ 659342 h 1059043"/>
                <a:gd name="connsiteX358" fmla="*/ 2707660 w 3024845"/>
                <a:gd name="connsiteY358" fmla="*/ 655018 h 1059043"/>
                <a:gd name="connsiteX359" fmla="*/ 2727927 w 3024845"/>
                <a:gd name="connsiteY359" fmla="*/ 659342 h 1059043"/>
                <a:gd name="connsiteX360" fmla="*/ 2727927 w 3024845"/>
                <a:gd name="connsiteY360" fmla="*/ 642048 h 1059043"/>
                <a:gd name="connsiteX361" fmla="*/ 2736034 w 3024845"/>
                <a:gd name="connsiteY361" fmla="*/ 642048 h 1059043"/>
                <a:gd name="connsiteX362" fmla="*/ 2736034 w 3024845"/>
                <a:gd name="connsiteY362" fmla="*/ 629077 h 1059043"/>
                <a:gd name="connsiteX363" fmla="*/ 2792781 w 3024845"/>
                <a:gd name="connsiteY363" fmla="*/ 629077 h 1059043"/>
                <a:gd name="connsiteX364" fmla="*/ 2792781 w 3024845"/>
                <a:gd name="connsiteY364" fmla="*/ 598812 h 1059043"/>
                <a:gd name="connsiteX365" fmla="*/ 2811021 w 3024845"/>
                <a:gd name="connsiteY365" fmla="*/ 598812 h 1059043"/>
                <a:gd name="connsiteX366" fmla="*/ 2811021 w 3024845"/>
                <a:gd name="connsiteY366" fmla="*/ 592327 h 1059043"/>
                <a:gd name="connsiteX367" fmla="*/ 2823181 w 3024845"/>
                <a:gd name="connsiteY367" fmla="*/ 592327 h 1059043"/>
                <a:gd name="connsiteX368" fmla="*/ 2823181 w 3024845"/>
                <a:gd name="connsiteY368" fmla="*/ 598812 h 1059043"/>
                <a:gd name="connsiteX369" fmla="*/ 2839395 w 3024845"/>
                <a:gd name="connsiteY369" fmla="*/ 598812 h 1059043"/>
                <a:gd name="connsiteX370" fmla="*/ 2839395 w 3024845"/>
                <a:gd name="connsiteY370" fmla="*/ 648533 h 1059043"/>
                <a:gd name="connsiteX371" fmla="*/ 2871822 w 3024845"/>
                <a:gd name="connsiteY371" fmla="*/ 648533 h 1059043"/>
                <a:gd name="connsiteX372" fmla="*/ 2871822 w 3024845"/>
                <a:gd name="connsiteY372" fmla="*/ 622592 h 1059043"/>
                <a:gd name="connsiteX373" fmla="*/ 2910329 w 3024845"/>
                <a:gd name="connsiteY373" fmla="*/ 622592 h 1059043"/>
                <a:gd name="connsiteX374" fmla="*/ 2910329 w 3024845"/>
                <a:gd name="connsiteY374" fmla="*/ 592327 h 1059043"/>
                <a:gd name="connsiteX375" fmla="*/ 2958970 w 3024845"/>
                <a:gd name="connsiteY375" fmla="*/ 592327 h 1059043"/>
                <a:gd name="connsiteX376" fmla="*/ 2958970 w 3024845"/>
                <a:gd name="connsiteY376" fmla="*/ 703483 h 1059043"/>
                <a:gd name="connsiteX377" fmla="*/ 2958970 w 3024845"/>
                <a:gd name="connsiteY377" fmla="*/ 717262 h 1059043"/>
                <a:gd name="connsiteX378" fmla="*/ 3024845 w 3024845"/>
                <a:gd name="connsiteY378" fmla="*/ 717262 h 1059043"/>
                <a:gd name="connsiteX379" fmla="*/ 3024845 w 3024845"/>
                <a:gd name="connsiteY379" fmla="*/ 1059043 h 1059043"/>
                <a:gd name="connsiteX380" fmla="*/ 2054 w 3024845"/>
                <a:gd name="connsiteY380" fmla="*/ 1056710 h 1059043"/>
                <a:gd name="connsiteX381" fmla="*/ 0 w 3024845"/>
                <a:gd name="connsiteY381" fmla="*/ 622592 h 1059043"/>
                <a:gd name="connsiteX382" fmla="*/ 20267 w 3024845"/>
                <a:gd name="connsiteY382" fmla="*/ 622592 h 1059043"/>
                <a:gd name="connsiteX383" fmla="*/ 20774 w 3024845"/>
                <a:gd name="connsiteY383" fmla="*/ 621511 h 1059043"/>
                <a:gd name="connsiteX384" fmla="*/ 24320 w 3024845"/>
                <a:gd name="connsiteY384" fmla="*/ 613945 h 1059043"/>
                <a:gd name="connsiteX385" fmla="*/ 26094 w 3024845"/>
                <a:gd name="connsiteY385" fmla="*/ 614215 h 1059043"/>
                <a:gd name="connsiteX386" fmla="*/ 38507 w 3024845"/>
                <a:gd name="connsiteY386" fmla="*/ 616106 h 1059043"/>
                <a:gd name="connsiteX387" fmla="*/ 39014 w 3024845"/>
                <a:gd name="connsiteY387" fmla="*/ 617458 h 1059043"/>
                <a:gd name="connsiteX388" fmla="*/ 42560 w 3024845"/>
                <a:gd name="connsiteY388" fmla="*/ 626915 h 1059043"/>
                <a:gd name="connsiteX389" fmla="*/ 68907 w 3024845"/>
                <a:gd name="connsiteY389" fmla="*/ 629077 h 1059043"/>
                <a:gd name="connsiteX390" fmla="*/ 68907 w 3024845"/>
                <a:gd name="connsiteY390" fmla="*/ 505856 h 1059043"/>
                <a:gd name="connsiteX391" fmla="*/ 70934 w 3024845"/>
                <a:gd name="connsiteY391" fmla="*/ 505856 h 1059043"/>
                <a:gd name="connsiteX392" fmla="*/ 85121 w 3024845"/>
                <a:gd name="connsiteY392" fmla="*/ 505856 h 1059043"/>
                <a:gd name="connsiteX393" fmla="*/ 85121 w 3024845"/>
                <a:gd name="connsiteY393" fmla="*/ 369664 h 1059043"/>
                <a:gd name="connsiteX394" fmla="*/ 86894 w 3024845"/>
                <a:gd name="connsiteY394" fmla="*/ 369664 h 1059043"/>
                <a:gd name="connsiteX395" fmla="*/ 99308 w 3024845"/>
                <a:gd name="connsiteY395" fmla="*/ 369664 h 1059043"/>
                <a:gd name="connsiteX396" fmla="*/ 99308 w 3024845"/>
                <a:gd name="connsiteY396" fmla="*/ 255090 h 1059043"/>
                <a:gd name="connsiteX397" fmla="*/ 103361 w 3024845"/>
                <a:gd name="connsiteY397" fmla="*/ 226986 h 1059043"/>
                <a:gd name="connsiteX398" fmla="*/ 105388 w 3024845"/>
                <a:gd name="connsiteY398" fmla="*/ 226986 h 1059043"/>
                <a:gd name="connsiteX399" fmla="*/ 119575 w 3024845"/>
                <a:gd name="connsiteY399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44240 w 3024845"/>
                <a:gd name="connsiteY311" fmla="*/ 125383 h 1059043"/>
                <a:gd name="connsiteX312" fmla="*/ 2150320 w 3024845"/>
                <a:gd name="connsiteY312" fmla="*/ 60529 h 1059043"/>
                <a:gd name="connsiteX313" fmla="*/ 2152346 w 3024845"/>
                <a:gd name="connsiteY313" fmla="*/ 56206 h 1059043"/>
                <a:gd name="connsiteX314" fmla="*/ 2152346 w 3024845"/>
                <a:gd name="connsiteY314" fmla="*/ 0 h 1059043"/>
                <a:gd name="connsiteX315" fmla="*/ 2180720 w 3024845"/>
                <a:gd name="connsiteY315" fmla="*/ 555577 h 1059043"/>
                <a:gd name="connsiteX316" fmla="*/ 2245574 w 3024845"/>
                <a:gd name="connsiteY316" fmla="*/ 555577 h 1059043"/>
                <a:gd name="connsiteX317" fmla="*/ 2245574 w 3024845"/>
                <a:gd name="connsiteY317" fmla="*/ 631239 h 1059043"/>
                <a:gd name="connsiteX318" fmla="*/ 2253681 w 3024845"/>
                <a:gd name="connsiteY318" fmla="*/ 631239 h 1059043"/>
                <a:gd name="connsiteX319" fmla="*/ 2255708 w 3024845"/>
                <a:gd name="connsiteY319" fmla="*/ 624754 h 1059043"/>
                <a:gd name="connsiteX320" fmla="*/ 2261788 w 3024845"/>
                <a:gd name="connsiteY320" fmla="*/ 624754 h 1059043"/>
                <a:gd name="connsiteX321" fmla="*/ 2263815 w 3024845"/>
                <a:gd name="connsiteY321" fmla="*/ 633401 h 1059043"/>
                <a:gd name="connsiteX322" fmla="*/ 2275975 w 3024845"/>
                <a:gd name="connsiteY322" fmla="*/ 633401 h 1059043"/>
                <a:gd name="connsiteX323" fmla="*/ 2275975 w 3024845"/>
                <a:gd name="connsiteY323" fmla="*/ 626915 h 1059043"/>
                <a:gd name="connsiteX324" fmla="*/ 2298268 w 3024845"/>
                <a:gd name="connsiteY324" fmla="*/ 626915 h 1059043"/>
                <a:gd name="connsiteX325" fmla="*/ 2298268 w 3024845"/>
                <a:gd name="connsiteY325" fmla="*/ 633401 h 1059043"/>
                <a:gd name="connsiteX326" fmla="*/ 2318535 w 3024845"/>
                <a:gd name="connsiteY326" fmla="*/ 633401 h 1059043"/>
                <a:gd name="connsiteX327" fmla="*/ 2318535 w 3024845"/>
                <a:gd name="connsiteY327" fmla="*/ 678798 h 1059043"/>
                <a:gd name="connsiteX328" fmla="*/ 2332722 w 3024845"/>
                <a:gd name="connsiteY328" fmla="*/ 678798 h 1059043"/>
                <a:gd name="connsiteX329" fmla="*/ 2332722 w 3024845"/>
                <a:gd name="connsiteY329" fmla="*/ 665827 h 1059043"/>
                <a:gd name="connsiteX330" fmla="*/ 2348936 w 3024845"/>
                <a:gd name="connsiteY330" fmla="*/ 665827 h 1059043"/>
                <a:gd name="connsiteX331" fmla="*/ 2348936 w 3024845"/>
                <a:gd name="connsiteY331" fmla="*/ 486400 h 1059043"/>
                <a:gd name="connsiteX332" fmla="*/ 2355016 w 3024845"/>
                <a:gd name="connsiteY332" fmla="*/ 479914 h 1059043"/>
                <a:gd name="connsiteX333" fmla="*/ 2427977 w 3024845"/>
                <a:gd name="connsiteY333" fmla="*/ 479914 h 1059043"/>
                <a:gd name="connsiteX334" fmla="*/ 2427977 w 3024845"/>
                <a:gd name="connsiteY334" fmla="*/ 488562 h 1059043"/>
                <a:gd name="connsiteX335" fmla="*/ 2438110 w 3024845"/>
                <a:gd name="connsiteY335" fmla="*/ 488562 h 1059043"/>
                <a:gd name="connsiteX336" fmla="*/ 2438110 w 3024845"/>
                <a:gd name="connsiteY336" fmla="*/ 603136 h 1059043"/>
                <a:gd name="connsiteX337" fmla="*/ 2460404 w 3024845"/>
                <a:gd name="connsiteY337" fmla="*/ 603136 h 1059043"/>
                <a:gd name="connsiteX338" fmla="*/ 2460404 w 3024845"/>
                <a:gd name="connsiteY338" fmla="*/ 536121 h 1059043"/>
                <a:gd name="connsiteX339" fmla="*/ 2486751 w 3024845"/>
                <a:gd name="connsiteY339" fmla="*/ 536121 h 1059043"/>
                <a:gd name="connsiteX340" fmla="*/ 2490804 w 3024845"/>
                <a:gd name="connsiteY340" fmla="*/ 531797 h 1059043"/>
                <a:gd name="connsiteX341" fmla="*/ 2498911 w 3024845"/>
                <a:gd name="connsiteY341" fmla="*/ 531797 h 1059043"/>
                <a:gd name="connsiteX342" fmla="*/ 2502964 w 3024845"/>
                <a:gd name="connsiteY342" fmla="*/ 536121 h 1059043"/>
                <a:gd name="connsiteX343" fmla="*/ 2525258 w 3024845"/>
                <a:gd name="connsiteY343" fmla="*/ 536121 h 1059043"/>
                <a:gd name="connsiteX344" fmla="*/ 2525258 w 3024845"/>
                <a:gd name="connsiteY344" fmla="*/ 419385 h 1059043"/>
                <a:gd name="connsiteX345" fmla="*/ 2582005 w 3024845"/>
                <a:gd name="connsiteY345" fmla="*/ 408576 h 1059043"/>
                <a:gd name="connsiteX346" fmla="*/ 2582005 w 3024845"/>
                <a:gd name="connsiteY346" fmla="*/ 409657 h 1059043"/>
                <a:gd name="connsiteX347" fmla="*/ 2582005 w 3024845"/>
                <a:gd name="connsiteY347" fmla="*/ 417223 h 1059043"/>
                <a:gd name="connsiteX348" fmla="*/ 2608352 w 3024845"/>
                <a:gd name="connsiteY348" fmla="*/ 417223 h 1059043"/>
                <a:gd name="connsiteX349" fmla="*/ 2608352 w 3024845"/>
                <a:gd name="connsiteY349" fmla="*/ 672313 h 1059043"/>
                <a:gd name="connsiteX350" fmla="*/ 2630646 w 3024845"/>
                <a:gd name="connsiteY350" fmla="*/ 672313 h 1059043"/>
                <a:gd name="connsiteX351" fmla="*/ 2630646 w 3024845"/>
                <a:gd name="connsiteY351" fmla="*/ 667989 h 1059043"/>
                <a:gd name="connsiteX352" fmla="*/ 2642806 w 3024845"/>
                <a:gd name="connsiteY352" fmla="*/ 667989 h 1059043"/>
                <a:gd name="connsiteX353" fmla="*/ 2642806 w 3024845"/>
                <a:gd name="connsiteY353" fmla="*/ 672313 h 1059043"/>
                <a:gd name="connsiteX354" fmla="*/ 2667126 w 3024845"/>
                <a:gd name="connsiteY354" fmla="*/ 672313 h 1059043"/>
                <a:gd name="connsiteX355" fmla="*/ 2667126 w 3024845"/>
                <a:gd name="connsiteY355" fmla="*/ 659342 h 1059043"/>
                <a:gd name="connsiteX356" fmla="*/ 2695500 w 3024845"/>
                <a:gd name="connsiteY356" fmla="*/ 659342 h 1059043"/>
                <a:gd name="connsiteX357" fmla="*/ 2707660 w 3024845"/>
                <a:gd name="connsiteY357" fmla="*/ 655018 h 1059043"/>
                <a:gd name="connsiteX358" fmla="*/ 2727927 w 3024845"/>
                <a:gd name="connsiteY358" fmla="*/ 659342 h 1059043"/>
                <a:gd name="connsiteX359" fmla="*/ 2727927 w 3024845"/>
                <a:gd name="connsiteY359" fmla="*/ 642048 h 1059043"/>
                <a:gd name="connsiteX360" fmla="*/ 2736034 w 3024845"/>
                <a:gd name="connsiteY360" fmla="*/ 642048 h 1059043"/>
                <a:gd name="connsiteX361" fmla="*/ 2736034 w 3024845"/>
                <a:gd name="connsiteY361" fmla="*/ 629077 h 1059043"/>
                <a:gd name="connsiteX362" fmla="*/ 2792781 w 3024845"/>
                <a:gd name="connsiteY362" fmla="*/ 629077 h 1059043"/>
                <a:gd name="connsiteX363" fmla="*/ 2792781 w 3024845"/>
                <a:gd name="connsiteY363" fmla="*/ 598812 h 1059043"/>
                <a:gd name="connsiteX364" fmla="*/ 2811021 w 3024845"/>
                <a:gd name="connsiteY364" fmla="*/ 598812 h 1059043"/>
                <a:gd name="connsiteX365" fmla="*/ 2811021 w 3024845"/>
                <a:gd name="connsiteY365" fmla="*/ 592327 h 1059043"/>
                <a:gd name="connsiteX366" fmla="*/ 2823181 w 3024845"/>
                <a:gd name="connsiteY366" fmla="*/ 592327 h 1059043"/>
                <a:gd name="connsiteX367" fmla="*/ 2823181 w 3024845"/>
                <a:gd name="connsiteY367" fmla="*/ 598812 h 1059043"/>
                <a:gd name="connsiteX368" fmla="*/ 2839395 w 3024845"/>
                <a:gd name="connsiteY368" fmla="*/ 598812 h 1059043"/>
                <a:gd name="connsiteX369" fmla="*/ 2839395 w 3024845"/>
                <a:gd name="connsiteY369" fmla="*/ 648533 h 1059043"/>
                <a:gd name="connsiteX370" fmla="*/ 2871822 w 3024845"/>
                <a:gd name="connsiteY370" fmla="*/ 648533 h 1059043"/>
                <a:gd name="connsiteX371" fmla="*/ 2871822 w 3024845"/>
                <a:gd name="connsiteY371" fmla="*/ 622592 h 1059043"/>
                <a:gd name="connsiteX372" fmla="*/ 2910329 w 3024845"/>
                <a:gd name="connsiteY372" fmla="*/ 622592 h 1059043"/>
                <a:gd name="connsiteX373" fmla="*/ 2910329 w 3024845"/>
                <a:gd name="connsiteY373" fmla="*/ 592327 h 1059043"/>
                <a:gd name="connsiteX374" fmla="*/ 2958970 w 3024845"/>
                <a:gd name="connsiteY374" fmla="*/ 592327 h 1059043"/>
                <a:gd name="connsiteX375" fmla="*/ 2958970 w 3024845"/>
                <a:gd name="connsiteY375" fmla="*/ 703483 h 1059043"/>
                <a:gd name="connsiteX376" fmla="*/ 2958970 w 3024845"/>
                <a:gd name="connsiteY376" fmla="*/ 717262 h 1059043"/>
                <a:gd name="connsiteX377" fmla="*/ 3024845 w 3024845"/>
                <a:gd name="connsiteY377" fmla="*/ 717262 h 1059043"/>
                <a:gd name="connsiteX378" fmla="*/ 3024845 w 3024845"/>
                <a:gd name="connsiteY378" fmla="*/ 1059043 h 1059043"/>
                <a:gd name="connsiteX379" fmla="*/ 2054 w 3024845"/>
                <a:gd name="connsiteY379" fmla="*/ 1056710 h 1059043"/>
                <a:gd name="connsiteX380" fmla="*/ 0 w 3024845"/>
                <a:gd name="connsiteY380" fmla="*/ 622592 h 1059043"/>
                <a:gd name="connsiteX381" fmla="*/ 20267 w 3024845"/>
                <a:gd name="connsiteY381" fmla="*/ 622592 h 1059043"/>
                <a:gd name="connsiteX382" fmla="*/ 20774 w 3024845"/>
                <a:gd name="connsiteY382" fmla="*/ 621511 h 1059043"/>
                <a:gd name="connsiteX383" fmla="*/ 24320 w 3024845"/>
                <a:gd name="connsiteY383" fmla="*/ 613945 h 1059043"/>
                <a:gd name="connsiteX384" fmla="*/ 26094 w 3024845"/>
                <a:gd name="connsiteY384" fmla="*/ 614215 h 1059043"/>
                <a:gd name="connsiteX385" fmla="*/ 38507 w 3024845"/>
                <a:gd name="connsiteY385" fmla="*/ 616106 h 1059043"/>
                <a:gd name="connsiteX386" fmla="*/ 39014 w 3024845"/>
                <a:gd name="connsiteY386" fmla="*/ 617458 h 1059043"/>
                <a:gd name="connsiteX387" fmla="*/ 42560 w 3024845"/>
                <a:gd name="connsiteY387" fmla="*/ 626915 h 1059043"/>
                <a:gd name="connsiteX388" fmla="*/ 68907 w 3024845"/>
                <a:gd name="connsiteY388" fmla="*/ 629077 h 1059043"/>
                <a:gd name="connsiteX389" fmla="*/ 68907 w 3024845"/>
                <a:gd name="connsiteY389" fmla="*/ 505856 h 1059043"/>
                <a:gd name="connsiteX390" fmla="*/ 70934 w 3024845"/>
                <a:gd name="connsiteY390" fmla="*/ 505856 h 1059043"/>
                <a:gd name="connsiteX391" fmla="*/ 85121 w 3024845"/>
                <a:gd name="connsiteY391" fmla="*/ 505856 h 1059043"/>
                <a:gd name="connsiteX392" fmla="*/ 85121 w 3024845"/>
                <a:gd name="connsiteY392" fmla="*/ 369664 h 1059043"/>
                <a:gd name="connsiteX393" fmla="*/ 86894 w 3024845"/>
                <a:gd name="connsiteY393" fmla="*/ 369664 h 1059043"/>
                <a:gd name="connsiteX394" fmla="*/ 99308 w 3024845"/>
                <a:gd name="connsiteY394" fmla="*/ 369664 h 1059043"/>
                <a:gd name="connsiteX395" fmla="*/ 99308 w 3024845"/>
                <a:gd name="connsiteY395" fmla="*/ 255090 h 1059043"/>
                <a:gd name="connsiteX396" fmla="*/ 103361 w 3024845"/>
                <a:gd name="connsiteY396" fmla="*/ 226986 h 1059043"/>
                <a:gd name="connsiteX397" fmla="*/ 105388 w 3024845"/>
                <a:gd name="connsiteY397" fmla="*/ 226986 h 1059043"/>
                <a:gd name="connsiteX398" fmla="*/ 119575 w 3024845"/>
                <a:gd name="connsiteY398" fmla="*/ 226986 h 1059043"/>
                <a:gd name="connsiteX0" fmla="*/ 119575 w 3024845"/>
                <a:gd name="connsiteY0" fmla="*/ 226986 h 1059043"/>
                <a:gd name="connsiteX1" fmla="*/ 200642 w 3024845"/>
                <a:gd name="connsiteY1" fmla="*/ 224825 h 1059043"/>
                <a:gd name="connsiteX2" fmla="*/ 202669 w 3024845"/>
                <a:gd name="connsiteY2" fmla="*/ 224825 h 1059043"/>
                <a:gd name="connsiteX3" fmla="*/ 216856 w 3024845"/>
                <a:gd name="connsiteY3" fmla="*/ 224825 h 1059043"/>
                <a:gd name="connsiteX4" fmla="*/ 216856 w 3024845"/>
                <a:gd name="connsiteY4" fmla="*/ 248604 h 1059043"/>
                <a:gd name="connsiteX5" fmla="*/ 217363 w 3024845"/>
                <a:gd name="connsiteY5" fmla="*/ 249415 h 1059043"/>
                <a:gd name="connsiteX6" fmla="*/ 220909 w 3024845"/>
                <a:gd name="connsiteY6" fmla="*/ 255090 h 1059043"/>
                <a:gd name="connsiteX7" fmla="*/ 220909 w 3024845"/>
                <a:gd name="connsiteY7" fmla="*/ 369664 h 1059043"/>
                <a:gd name="connsiteX8" fmla="*/ 223189 w 3024845"/>
                <a:gd name="connsiteY8" fmla="*/ 369664 h 1059043"/>
                <a:gd name="connsiteX9" fmla="*/ 239150 w 3024845"/>
                <a:gd name="connsiteY9" fmla="*/ 369664 h 1059043"/>
                <a:gd name="connsiteX10" fmla="*/ 239150 w 3024845"/>
                <a:gd name="connsiteY10" fmla="*/ 510179 h 1059043"/>
                <a:gd name="connsiteX11" fmla="*/ 240670 w 3024845"/>
                <a:gd name="connsiteY11" fmla="*/ 509909 h 1059043"/>
                <a:gd name="connsiteX12" fmla="*/ 251310 w 3024845"/>
                <a:gd name="connsiteY12" fmla="*/ 508018 h 1059043"/>
                <a:gd name="connsiteX13" fmla="*/ 249283 w 3024845"/>
                <a:gd name="connsiteY13" fmla="*/ 596650 h 1059043"/>
                <a:gd name="connsiteX14" fmla="*/ 250803 w 3024845"/>
                <a:gd name="connsiteY14" fmla="*/ 596921 h 1059043"/>
                <a:gd name="connsiteX15" fmla="*/ 261443 w 3024845"/>
                <a:gd name="connsiteY15" fmla="*/ 598812 h 1059043"/>
                <a:gd name="connsiteX16" fmla="*/ 261696 w 3024845"/>
                <a:gd name="connsiteY16" fmla="*/ 599623 h 1059043"/>
                <a:gd name="connsiteX17" fmla="*/ 263470 w 3024845"/>
                <a:gd name="connsiteY17" fmla="*/ 605298 h 1059043"/>
                <a:gd name="connsiteX18" fmla="*/ 264230 w 3024845"/>
                <a:gd name="connsiteY18" fmla="*/ 602866 h 1059043"/>
                <a:gd name="connsiteX19" fmla="*/ 269550 w 3024845"/>
                <a:gd name="connsiteY19" fmla="*/ 585842 h 1059043"/>
                <a:gd name="connsiteX20" fmla="*/ 271323 w 3024845"/>
                <a:gd name="connsiteY20" fmla="*/ 585842 h 1059043"/>
                <a:gd name="connsiteX21" fmla="*/ 283737 w 3024845"/>
                <a:gd name="connsiteY21" fmla="*/ 585842 h 1059043"/>
                <a:gd name="connsiteX22" fmla="*/ 283737 w 3024845"/>
                <a:gd name="connsiteY22" fmla="*/ 618268 h 1059043"/>
                <a:gd name="connsiteX23" fmla="*/ 284750 w 3024845"/>
                <a:gd name="connsiteY23" fmla="*/ 618809 h 1059043"/>
                <a:gd name="connsiteX24" fmla="*/ 291844 w 3024845"/>
                <a:gd name="connsiteY24" fmla="*/ 622592 h 1059043"/>
                <a:gd name="connsiteX25" fmla="*/ 291844 w 3024845"/>
                <a:gd name="connsiteY25" fmla="*/ 623943 h 1059043"/>
                <a:gd name="connsiteX26" fmla="*/ 291844 w 3024845"/>
                <a:gd name="connsiteY26" fmla="*/ 633401 h 1059043"/>
                <a:gd name="connsiteX27" fmla="*/ 336431 w 3024845"/>
                <a:gd name="connsiteY27" fmla="*/ 633401 h 1059043"/>
                <a:gd name="connsiteX28" fmla="*/ 336431 w 3024845"/>
                <a:gd name="connsiteY28" fmla="*/ 634482 h 1059043"/>
                <a:gd name="connsiteX29" fmla="*/ 336431 w 3024845"/>
                <a:gd name="connsiteY29" fmla="*/ 642048 h 1059043"/>
                <a:gd name="connsiteX30" fmla="*/ 338457 w 3024845"/>
                <a:gd name="connsiteY30" fmla="*/ 642048 h 1059043"/>
                <a:gd name="connsiteX31" fmla="*/ 352644 w 3024845"/>
                <a:gd name="connsiteY31" fmla="*/ 642048 h 1059043"/>
                <a:gd name="connsiteX32" fmla="*/ 352644 w 3024845"/>
                <a:gd name="connsiteY32" fmla="*/ 611783 h 1059043"/>
                <a:gd name="connsiteX33" fmla="*/ 397231 w 3024845"/>
                <a:gd name="connsiteY33" fmla="*/ 611783 h 1059043"/>
                <a:gd name="connsiteX34" fmla="*/ 397231 w 3024845"/>
                <a:gd name="connsiteY34" fmla="*/ 610432 h 1059043"/>
                <a:gd name="connsiteX35" fmla="*/ 397231 w 3024845"/>
                <a:gd name="connsiteY35" fmla="*/ 600974 h 1059043"/>
                <a:gd name="connsiteX36" fmla="*/ 398245 w 3024845"/>
                <a:gd name="connsiteY36" fmla="*/ 600974 h 1059043"/>
                <a:gd name="connsiteX37" fmla="*/ 405338 w 3024845"/>
                <a:gd name="connsiteY37" fmla="*/ 600974 h 1059043"/>
                <a:gd name="connsiteX38" fmla="*/ 405338 w 3024845"/>
                <a:gd name="connsiteY38" fmla="*/ 599083 h 1059043"/>
                <a:gd name="connsiteX39" fmla="*/ 405338 w 3024845"/>
                <a:gd name="connsiteY39" fmla="*/ 585842 h 1059043"/>
                <a:gd name="connsiteX40" fmla="*/ 406098 w 3024845"/>
                <a:gd name="connsiteY40" fmla="*/ 585842 h 1059043"/>
                <a:gd name="connsiteX41" fmla="*/ 411418 w 3024845"/>
                <a:gd name="connsiteY41" fmla="*/ 585842 h 1059043"/>
                <a:gd name="connsiteX42" fmla="*/ 411418 w 3024845"/>
                <a:gd name="connsiteY42" fmla="*/ 584761 h 1059043"/>
                <a:gd name="connsiteX43" fmla="*/ 411418 w 3024845"/>
                <a:gd name="connsiteY43" fmla="*/ 577194 h 1059043"/>
                <a:gd name="connsiteX44" fmla="*/ 413445 w 3024845"/>
                <a:gd name="connsiteY44" fmla="*/ 577194 h 1059043"/>
                <a:gd name="connsiteX45" fmla="*/ 427632 w 3024845"/>
                <a:gd name="connsiteY45" fmla="*/ 577194 h 1059043"/>
                <a:gd name="connsiteX46" fmla="*/ 427632 w 3024845"/>
                <a:gd name="connsiteY46" fmla="*/ 578275 h 1059043"/>
                <a:gd name="connsiteX47" fmla="*/ 427632 w 3024845"/>
                <a:gd name="connsiteY47" fmla="*/ 585842 h 1059043"/>
                <a:gd name="connsiteX48" fmla="*/ 449925 w 3024845"/>
                <a:gd name="connsiteY48" fmla="*/ 585842 h 1059043"/>
                <a:gd name="connsiteX49" fmla="*/ 449925 w 3024845"/>
                <a:gd name="connsiteY49" fmla="*/ 583950 h 1059043"/>
                <a:gd name="connsiteX50" fmla="*/ 449925 w 3024845"/>
                <a:gd name="connsiteY50" fmla="*/ 570709 h 1059043"/>
                <a:gd name="connsiteX51" fmla="*/ 451699 w 3024845"/>
                <a:gd name="connsiteY51" fmla="*/ 570709 h 1059043"/>
                <a:gd name="connsiteX52" fmla="*/ 464112 w 3024845"/>
                <a:gd name="connsiteY52" fmla="*/ 570709 h 1059043"/>
                <a:gd name="connsiteX53" fmla="*/ 464112 w 3024845"/>
                <a:gd name="connsiteY53" fmla="*/ 594489 h 1059043"/>
                <a:gd name="connsiteX54" fmla="*/ 465126 w 3024845"/>
                <a:gd name="connsiteY54" fmla="*/ 594489 h 1059043"/>
                <a:gd name="connsiteX55" fmla="*/ 472219 w 3024845"/>
                <a:gd name="connsiteY55" fmla="*/ 594489 h 1059043"/>
                <a:gd name="connsiteX56" fmla="*/ 472219 w 3024845"/>
                <a:gd name="connsiteY56" fmla="*/ 593408 h 1059043"/>
                <a:gd name="connsiteX57" fmla="*/ 472219 w 3024845"/>
                <a:gd name="connsiteY57" fmla="*/ 585842 h 1059043"/>
                <a:gd name="connsiteX58" fmla="*/ 473992 w 3024845"/>
                <a:gd name="connsiteY58" fmla="*/ 585842 h 1059043"/>
                <a:gd name="connsiteX59" fmla="*/ 486406 w 3024845"/>
                <a:gd name="connsiteY59" fmla="*/ 585842 h 1059043"/>
                <a:gd name="connsiteX60" fmla="*/ 486406 w 3024845"/>
                <a:gd name="connsiteY60" fmla="*/ 611783 h 1059043"/>
                <a:gd name="connsiteX61" fmla="*/ 488433 w 3024845"/>
                <a:gd name="connsiteY61" fmla="*/ 611783 h 1059043"/>
                <a:gd name="connsiteX62" fmla="*/ 502619 w 3024845"/>
                <a:gd name="connsiteY62" fmla="*/ 611783 h 1059043"/>
                <a:gd name="connsiteX63" fmla="*/ 502619 w 3024845"/>
                <a:gd name="connsiteY63" fmla="*/ 613404 h 1059043"/>
                <a:gd name="connsiteX64" fmla="*/ 502619 w 3024845"/>
                <a:gd name="connsiteY64" fmla="*/ 624754 h 1059043"/>
                <a:gd name="connsiteX65" fmla="*/ 503379 w 3024845"/>
                <a:gd name="connsiteY65" fmla="*/ 624754 h 1059043"/>
                <a:gd name="connsiteX66" fmla="*/ 508700 w 3024845"/>
                <a:gd name="connsiteY66" fmla="*/ 624754 h 1059043"/>
                <a:gd name="connsiteX67" fmla="*/ 508700 w 3024845"/>
                <a:gd name="connsiteY67" fmla="*/ 623943 h 1059043"/>
                <a:gd name="connsiteX68" fmla="*/ 508700 w 3024845"/>
                <a:gd name="connsiteY68" fmla="*/ 618268 h 1059043"/>
                <a:gd name="connsiteX69" fmla="*/ 539100 w 3024845"/>
                <a:gd name="connsiteY69" fmla="*/ 618268 h 1059043"/>
                <a:gd name="connsiteX70" fmla="*/ 539100 w 3024845"/>
                <a:gd name="connsiteY70" fmla="*/ 642048 h 1059043"/>
                <a:gd name="connsiteX71" fmla="*/ 540113 w 3024845"/>
                <a:gd name="connsiteY71" fmla="*/ 642048 h 1059043"/>
                <a:gd name="connsiteX72" fmla="*/ 547207 w 3024845"/>
                <a:gd name="connsiteY72" fmla="*/ 642048 h 1059043"/>
                <a:gd name="connsiteX73" fmla="*/ 547207 w 3024845"/>
                <a:gd name="connsiteY73" fmla="*/ 643129 h 1059043"/>
                <a:gd name="connsiteX74" fmla="*/ 547207 w 3024845"/>
                <a:gd name="connsiteY74" fmla="*/ 650695 h 1059043"/>
                <a:gd name="connsiteX75" fmla="*/ 547967 w 3024845"/>
                <a:gd name="connsiteY75" fmla="*/ 650695 h 1059043"/>
                <a:gd name="connsiteX76" fmla="*/ 553287 w 3024845"/>
                <a:gd name="connsiteY76" fmla="*/ 650695 h 1059043"/>
                <a:gd name="connsiteX77" fmla="*/ 553287 w 3024845"/>
                <a:gd name="connsiteY77" fmla="*/ 648533 h 1059043"/>
                <a:gd name="connsiteX78" fmla="*/ 553287 w 3024845"/>
                <a:gd name="connsiteY78" fmla="*/ 633401 h 1059043"/>
                <a:gd name="connsiteX79" fmla="*/ 554300 w 3024845"/>
                <a:gd name="connsiteY79" fmla="*/ 633401 h 1059043"/>
                <a:gd name="connsiteX80" fmla="*/ 561394 w 3024845"/>
                <a:gd name="connsiteY80" fmla="*/ 633401 h 1059043"/>
                <a:gd name="connsiteX81" fmla="*/ 561394 w 3024845"/>
                <a:gd name="connsiteY81" fmla="*/ 634482 h 1059043"/>
                <a:gd name="connsiteX82" fmla="*/ 561394 w 3024845"/>
                <a:gd name="connsiteY82" fmla="*/ 642048 h 1059043"/>
                <a:gd name="connsiteX83" fmla="*/ 566714 w 3024845"/>
                <a:gd name="connsiteY83" fmla="*/ 640055 h 1059043"/>
                <a:gd name="connsiteX84" fmla="*/ 567474 w 3024845"/>
                <a:gd name="connsiteY84" fmla="*/ 639075 h 1059043"/>
                <a:gd name="connsiteX85" fmla="*/ 567474 w 3024845"/>
                <a:gd name="connsiteY85" fmla="*/ 633401 h 1059043"/>
                <a:gd name="connsiteX86" fmla="*/ 605981 w 3024845"/>
                <a:gd name="connsiteY86" fmla="*/ 633401 h 1059043"/>
                <a:gd name="connsiteX87" fmla="*/ 605981 w 3024845"/>
                <a:gd name="connsiteY87" fmla="*/ 657180 h 1059043"/>
                <a:gd name="connsiteX88" fmla="*/ 608007 w 3024845"/>
                <a:gd name="connsiteY88" fmla="*/ 657180 h 1059043"/>
                <a:gd name="connsiteX89" fmla="*/ 622194 w 3024845"/>
                <a:gd name="connsiteY89" fmla="*/ 657180 h 1059043"/>
                <a:gd name="connsiteX90" fmla="*/ 622194 w 3024845"/>
                <a:gd name="connsiteY90" fmla="*/ 658261 h 1059043"/>
                <a:gd name="connsiteX91" fmla="*/ 622194 w 3024845"/>
                <a:gd name="connsiteY91" fmla="*/ 665827 h 1059043"/>
                <a:gd name="connsiteX92" fmla="*/ 623968 w 3024845"/>
                <a:gd name="connsiteY92" fmla="*/ 665827 h 1059043"/>
                <a:gd name="connsiteX93" fmla="*/ 636381 w 3024845"/>
                <a:gd name="connsiteY93" fmla="*/ 665827 h 1059043"/>
                <a:gd name="connsiteX94" fmla="*/ 636381 w 3024845"/>
                <a:gd name="connsiteY94" fmla="*/ 642048 h 1059043"/>
                <a:gd name="connsiteX95" fmla="*/ 637394 w 3024845"/>
                <a:gd name="connsiteY95" fmla="*/ 642048 h 1059043"/>
                <a:gd name="connsiteX96" fmla="*/ 644488 w 3024845"/>
                <a:gd name="connsiteY96" fmla="*/ 642048 h 1059043"/>
                <a:gd name="connsiteX97" fmla="*/ 644488 w 3024845"/>
                <a:gd name="connsiteY97" fmla="*/ 609621 h 1059043"/>
                <a:gd name="connsiteX98" fmla="*/ 645501 w 3024845"/>
                <a:gd name="connsiteY98" fmla="*/ 609621 h 1059043"/>
                <a:gd name="connsiteX99" fmla="*/ 652595 w 3024845"/>
                <a:gd name="connsiteY99" fmla="*/ 609621 h 1059043"/>
                <a:gd name="connsiteX100" fmla="*/ 652595 w 3024845"/>
                <a:gd name="connsiteY100" fmla="*/ 607730 h 1059043"/>
                <a:gd name="connsiteX101" fmla="*/ 652595 w 3024845"/>
                <a:gd name="connsiteY101" fmla="*/ 594489 h 1059043"/>
                <a:gd name="connsiteX102" fmla="*/ 651328 w 3024845"/>
                <a:gd name="connsiteY102" fmla="*/ 592867 h 1059043"/>
                <a:gd name="connsiteX103" fmla="*/ 656648 w 3024845"/>
                <a:gd name="connsiteY103" fmla="*/ 581518 h 1059043"/>
                <a:gd name="connsiteX104" fmla="*/ 664755 w 3024845"/>
                <a:gd name="connsiteY104" fmla="*/ 609621 h 1059043"/>
                <a:gd name="connsiteX105" fmla="*/ 665515 w 3024845"/>
                <a:gd name="connsiteY105" fmla="*/ 609621 h 1059043"/>
                <a:gd name="connsiteX106" fmla="*/ 670835 w 3024845"/>
                <a:gd name="connsiteY106" fmla="*/ 609621 h 1059043"/>
                <a:gd name="connsiteX107" fmla="*/ 670835 w 3024845"/>
                <a:gd name="connsiteY107" fmla="*/ 503694 h 1059043"/>
                <a:gd name="connsiteX108" fmla="*/ 672355 w 3024845"/>
                <a:gd name="connsiteY108" fmla="*/ 503694 h 1059043"/>
                <a:gd name="connsiteX109" fmla="*/ 682995 w 3024845"/>
                <a:gd name="connsiteY109" fmla="*/ 503694 h 1059043"/>
                <a:gd name="connsiteX110" fmla="*/ 682995 w 3024845"/>
                <a:gd name="connsiteY110" fmla="*/ 456135 h 1059043"/>
                <a:gd name="connsiteX111" fmla="*/ 709342 w 3024845"/>
                <a:gd name="connsiteY111" fmla="*/ 456135 h 1059043"/>
                <a:gd name="connsiteX112" fmla="*/ 709342 w 3024845"/>
                <a:gd name="connsiteY112" fmla="*/ 434517 h 1059043"/>
                <a:gd name="connsiteX113" fmla="*/ 743796 w 3024845"/>
                <a:gd name="connsiteY113" fmla="*/ 434517 h 1059043"/>
                <a:gd name="connsiteX114" fmla="*/ 743796 w 3024845"/>
                <a:gd name="connsiteY114" fmla="*/ 436949 h 1059043"/>
                <a:gd name="connsiteX115" fmla="*/ 743796 w 3024845"/>
                <a:gd name="connsiteY115" fmla="*/ 453973 h 1059043"/>
                <a:gd name="connsiteX116" fmla="*/ 746076 w 3024845"/>
                <a:gd name="connsiteY116" fmla="*/ 453973 h 1059043"/>
                <a:gd name="connsiteX117" fmla="*/ 762036 w 3024845"/>
                <a:gd name="connsiteY117" fmla="*/ 453973 h 1059043"/>
                <a:gd name="connsiteX118" fmla="*/ 762036 w 3024845"/>
                <a:gd name="connsiteY118" fmla="*/ 501532 h 1059043"/>
                <a:gd name="connsiteX119" fmla="*/ 763049 w 3024845"/>
                <a:gd name="connsiteY119" fmla="*/ 501532 h 1059043"/>
                <a:gd name="connsiteX120" fmla="*/ 770143 w 3024845"/>
                <a:gd name="connsiteY120" fmla="*/ 501532 h 1059043"/>
                <a:gd name="connsiteX121" fmla="*/ 784330 w 3024845"/>
                <a:gd name="connsiteY121" fmla="*/ 505856 h 1059043"/>
                <a:gd name="connsiteX122" fmla="*/ 784330 w 3024845"/>
                <a:gd name="connsiteY122" fmla="*/ 544768 h 1059043"/>
                <a:gd name="connsiteX123" fmla="*/ 785343 w 3024845"/>
                <a:gd name="connsiteY123" fmla="*/ 544768 h 1059043"/>
                <a:gd name="connsiteX124" fmla="*/ 792436 w 3024845"/>
                <a:gd name="connsiteY124" fmla="*/ 544768 h 1059043"/>
                <a:gd name="connsiteX125" fmla="*/ 792436 w 3024845"/>
                <a:gd name="connsiteY125" fmla="*/ 546389 h 1059043"/>
                <a:gd name="connsiteX126" fmla="*/ 792436 w 3024845"/>
                <a:gd name="connsiteY126" fmla="*/ 557738 h 1059043"/>
                <a:gd name="connsiteX127" fmla="*/ 794463 w 3024845"/>
                <a:gd name="connsiteY127" fmla="*/ 557738 h 1059043"/>
                <a:gd name="connsiteX128" fmla="*/ 808650 w 3024845"/>
                <a:gd name="connsiteY128" fmla="*/ 557738 h 1059043"/>
                <a:gd name="connsiteX129" fmla="*/ 814730 w 3024845"/>
                <a:gd name="connsiteY129" fmla="*/ 564224 h 1059043"/>
                <a:gd name="connsiteX130" fmla="*/ 814730 w 3024845"/>
                <a:gd name="connsiteY130" fmla="*/ 585842 h 1059043"/>
                <a:gd name="connsiteX131" fmla="*/ 817010 w 3024845"/>
                <a:gd name="connsiteY131" fmla="*/ 585842 h 1059043"/>
                <a:gd name="connsiteX132" fmla="*/ 832970 w 3024845"/>
                <a:gd name="connsiteY132" fmla="*/ 585842 h 1059043"/>
                <a:gd name="connsiteX133" fmla="*/ 832970 w 3024845"/>
                <a:gd name="connsiteY133" fmla="*/ 586922 h 1059043"/>
                <a:gd name="connsiteX134" fmla="*/ 832970 w 3024845"/>
                <a:gd name="connsiteY134" fmla="*/ 594489 h 1059043"/>
                <a:gd name="connsiteX135" fmla="*/ 834237 w 3024845"/>
                <a:gd name="connsiteY135" fmla="*/ 594489 h 1059043"/>
                <a:gd name="connsiteX136" fmla="*/ 843104 w 3024845"/>
                <a:gd name="connsiteY136" fmla="*/ 594489 h 1059043"/>
                <a:gd name="connsiteX137" fmla="*/ 843104 w 3024845"/>
                <a:gd name="connsiteY137" fmla="*/ 596650 h 1059043"/>
                <a:gd name="connsiteX138" fmla="*/ 843104 w 3024845"/>
                <a:gd name="connsiteY138" fmla="*/ 611783 h 1059043"/>
                <a:gd name="connsiteX139" fmla="*/ 847157 w 3024845"/>
                <a:gd name="connsiteY139" fmla="*/ 609891 h 1059043"/>
                <a:gd name="connsiteX140" fmla="*/ 847157 w 3024845"/>
                <a:gd name="connsiteY140" fmla="*/ 596650 h 1059043"/>
                <a:gd name="connsiteX141" fmla="*/ 848170 w 3024845"/>
                <a:gd name="connsiteY141" fmla="*/ 596650 h 1059043"/>
                <a:gd name="connsiteX142" fmla="*/ 855264 w 3024845"/>
                <a:gd name="connsiteY142" fmla="*/ 596650 h 1059043"/>
                <a:gd name="connsiteX143" fmla="*/ 855264 w 3024845"/>
                <a:gd name="connsiteY143" fmla="*/ 598272 h 1059043"/>
                <a:gd name="connsiteX144" fmla="*/ 855264 w 3024845"/>
                <a:gd name="connsiteY144" fmla="*/ 609621 h 1059043"/>
                <a:gd name="connsiteX145" fmla="*/ 856024 w 3024845"/>
                <a:gd name="connsiteY145" fmla="*/ 609621 h 1059043"/>
                <a:gd name="connsiteX146" fmla="*/ 861344 w 3024845"/>
                <a:gd name="connsiteY146" fmla="*/ 609621 h 1059043"/>
                <a:gd name="connsiteX147" fmla="*/ 909984 w 3024845"/>
                <a:gd name="connsiteY147" fmla="*/ 605298 h 1059043"/>
                <a:gd name="connsiteX148" fmla="*/ 909984 w 3024845"/>
                <a:gd name="connsiteY148" fmla="*/ 606649 h 1059043"/>
                <a:gd name="connsiteX149" fmla="*/ 909984 w 3024845"/>
                <a:gd name="connsiteY149" fmla="*/ 616106 h 1059043"/>
                <a:gd name="connsiteX150" fmla="*/ 910744 w 3024845"/>
                <a:gd name="connsiteY150" fmla="*/ 616106 h 1059043"/>
                <a:gd name="connsiteX151" fmla="*/ 916065 w 3024845"/>
                <a:gd name="connsiteY151" fmla="*/ 616106 h 1059043"/>
                <a:gd name="connsiteX152" fmla="*/ 916065 w 3024845"/>
                <a:gd name="connsiteY152" fmla="*/ 618268 h 1059043"/>
                <a:gd name="connsiteX153" fmla="*/ 916065 w 3024845"/>
                <a:gd name="connsiteY153" fmla="*/ 633401 h 1059043"/>
                <a:gd name="connsiteX154" fmla="*/ 918091 w 3024845"/>
                <a:gd name="connsiteY154" fmla="*/ 632050 h 1059043"/>
                <a:gd name="connsiteX155" fmla="*/ 932278 w 3024845"/>
                <a:gd name="connsiteY155" fmla="*/ 622592 h 1059043"/>
                <a:gd name="connsiteX156" fmla="*/ 938358 w 3024845"/>
                <a:gd name="connsiteY156" fmla="*/ 581518 h 1059043"/>
                <a:gd name="connsiteX157" fmla="*/ 939118 w 3024845"/>
                <a:gd name="connsiteY157" fmla="*/ 581248 h 1059043"/>
                <a:gd name="connsiteX158" fmla="*/ 944438 w 3024845"/>
                <a:gd name="connsiteY158" fmla="*/ 579356 h 1059043"/>
                <a:gd name="connsiteX159" fmla="*/ 946465 w 3024845"/>
                <a:gd name="connsiteY159" fmla="*/ 510179 h 1059043"/>
                <a:gd name="connsiteX160" fmla="*/ 948492 w 3024845"/>
                <a:gd name="connsiteY160" fmla="*/ 579356 h 1059043"/>
                <a:gd name="connsiteX161" fmla="*/ 949252 w 3024845"/>
                <a:gd name="connsiteY161" fmla="*/ 579626 h 1059043"/>
                <a:gd name="connsiteX162" fmla="*/ 954572 w 3024845"/>
                <a:gd name="connsiteY162" fmla="*/ 581518 h 1059043"/>
                <a:gd name="connsiteX163" fmla="*/ 954572 w 3024845"/>
                <a:gd name="connsiteY163" fmla="*/ 495047 h 1059043"/>
                <a:gd name="connsiteX164" fmla="*/ 958625 w 3024845"/>
                <a:gd name="connsiteY164" fmla="*/ 462620 h 1059043"/>
                <a:gd name="connsiteX165" fmla="*/ 997132 w 3024845"/>
                <a:gd name="connsiteY165" fmla="*/ 462620 h 1059043"/>
                <a:gd name="connsiteX166" fmla="*/ 997132 w 3024845"/>
                <a:gd name="connsiteY166" fmla="*/ 495047 h 1059043"/>
                <a:gd name="connsiteX167" fmla="*/ 997892 w 3024845"/>
                <a:gd name="connsiteY167" fmla="*/ 495047 h 1059043"/>
                <a:gd name="connsiteX168" fmla="*/ 1003212 w 3024845"/>
                <a:gd name="connsiteY168" fmla="*/ 495047 h 1059043"/>
                <a:gd name="connsiteX169" fmla="*/ 1003212 w 3024845"/>
                <a:gd name="connsiteY169" fmla="*/ 412899 h 1059043"/>
                <a:gd name="connsiteX170" fmla="*/ 1004986 w 3024845"/>
                <a:gd name="connsiteY170" fmla="*/ 412899 h 1059043"/>
                <a:gd name="connsiteX171" fmla="*/ 1017399 w 3024845"/>
                <a:gd name="connsiteY171" fmla="*/ 412899 h 1059043"/>
                <a:gd name="connsiteX172" fmla="*/ 1017399 w 3024845"/>
                <a:gd name="connsiteY172" fmla="*/ 411008 h 1059043"/>
                <a:gd name="connsiteX173" fmla="*/ 1017399 w 3024845"/>
                <a:gd name="connsiteY173" fmla="*/ 397767 h 1059043"/>
                <a:gd name="connsiteX174" fmla="*/ 1039693 w 3024845"/>
                <a:gd name="connsiteY174" fmla="*/ 397767 h 1059043"/>
                <a:gd name="connsiteX175" fmla="*/ 1039693 w 3024845"/>
                <a:gd name="connsiteY175" fmla="*/ 396686 h 1059043"/>
                <a:gd name="connsiteX176" fmla="*/ 1039693 w 3024845"/>
                <a:gd name="connsiteY176" fmla="*/ 389120 h 1059043"/>
                <a:gd name="connsiteX177" fmla="*/ 1041466 w 3024845"/>
                <a:gd name="connsiteY177" fmla="*/ 389120 h 1059043"/>
                <a:gd name="connsiteX178" fmla="*/ 1053880 w 3024845"/>
                <a:gd name="connsiteY178" fmla="*/ 389120 h 1059043"/>
                <a:gd name="connsiteX179" fmla="*/ 1053880 w 3024845"/>
                <a:gd name="connsiteY179" fmla="*/ 390201 h 1059043"/>
                <a:gd name="connsiteX180" fmla="*/ 1053880 w 3024845"/>
                <a:gd name="connsiteY180" fmla="*/ 397767 h 1059043"/>
                <a:gd name="connsiteX181" fmla="*/ 1054640 w 3024845"/>
                <a:gd name="connsiteY181" fmla="*/ 397767 h 1059043"/>
                <a:gd name="connsiteX182" fmla="*/ 1059960 w 3024845"/>
                <a:gd name="connsiteY182" fmla="*/ 397767 h 1059043"/>
                <a:gd name="connsiteX183" fmla="*/ 1070093 w 3024845"/>
                <a:gd name="connsiteY183" fmla="*/ 393443 h 1059043"/>
                <a:gd name="connsiteX184" fmla="*/ 1074146 w 3024845"/>
                <a:gd name="connsiteY184" fmla="*/ 396686 h 1059043"/>
                <a:gd name="connsiteX185" fmla="*/ 1074146 w 3024845"/>
                <a:gd name="connsiteY185" fmla="*/ 389120 h 1059043"/>
                <a:gd name="connsiteX186" fmla="*/ 1076426 w 3024845"/>
                <a:gd name="connsiteY186" fmla="*/ 389120 h 1059043"/>
                <a:gd name="connsiteX187" fmla="*/ 1092387 w 3024845"/>
                <a:gd name="connsiteY187" fmla="*/ 389120 h 1059043"/>
                <a:gd name="connsiteX188" fmla="*/ 1092387 w 3024845"/>
                <a:gd name="connsiteY188" fmla="*/ 390201 h 1059043"/>
                <a:gd name="connsiteX189" fmla="*/ 1092387 w 3024845"/>
                <a:gd name="connsiteY189" fmla="*/ 397767 h 1059043"/>
                <a:gd name="connsiteX190" fmla="*/ 1122787 w 3024845"/>
                <a:gd name="connsiteY190" fmla="*/ 397767 h 1059043"/>
                <a:gd name="connsiteX191" fmla="*/ 1122787 w 3024845"/>
                <a:gd name="connsiteY191" fmla="*/ 399388 h 1059043"/>
                <a:gd name="connsiteX192" fmla="*/ 1122787 w 3024845"/>
                <a:gd name="connsiteY192" fmla="*/ 410738 h 1059043"/>
                <a:gd name="connsiteX193" fmla="*/ 1149134 w 3024845"/>
                <a:gd name="connsiteY193" fmla="*/ 410738 h 1059043"/>
                <a:gd name="connsiteX194" fmla="*/ 1149134 w 3024845"/>
                <a:gd name="connsiteY194" fmla="*/ 441002 h 1059043"/>
                <a:gd name="connsiteX195" fmla="*/ 1149894 w 3024845"/>
                <a:gd name="connsiteY195" fmla="*/ 441002 h 1059043"/>
                <a:gd name="connsiteX196" fmla="*/ 1155214 w 3024845"/>
                <a:gd name="connsiteY196" fmla="*/ 441002 h 1059043"/>
                <a:gd name="connsiteX197" fmla="*/ 1155214 w 3024845"/>
                <a:gd name="connsiteY197" fmla="*/ 442083 h 1059043"/>
                <a:gd name="connsiteX198" fmla="*/ 1155214 w 3024845"/>
                <a:gd name="connsiteY198" fmla="*/ 449650 h 1059043"/>
                <a:gd name="connsiteX199" fmla="*/ 1159268 w 3024845"/>
                <a:gd name="connsiteY199" fmla="*/ 479914 h 1059043"/>
                <a:gd name="connsiteX200" fmla="*/ 1160028 w 3024845"/>
                <a:gd name="connsiteY200" fmla="*/ 479914 h 1059043"/>
                <a:gd name="connsiteX201" fmla="*/ 1165348 w 3024845"/>
                <a:gd name="connsiteY201" fmla="*/ 479914 h 1059043"/>
                <a:gd name="connsiteX202" fmla="*/ 1165348 w 3024845"/>
                <a:gd name="connsiteY202" fmla="*/ 480725 h 1059043"/>
                <a:gd name="connsiteX203" fmla="*/ 1165348 w 3024845"/>
                <a:gd name="connsiteY203" fmla="*/ 486400 h 1059043"/>
                <a:gd name="connsiteX204" fmla="*/ 1166361 w 3024845"/>
                <a:gd name="connsiteY204" fmla="*/ 486400 h 1059043"/>
                <a:gd name="connsiteX205" fmla="*/ 1173454 w 3024845"/>
                <a:gd name="connsiteY205" fmla="*/ 486400 h 1059043"/>
                <a:gd name="connsiteX206" fmla="*/ 1173454 w 3024845"/>
                <a:gd name="connsiteY206" fmla="*/ 516665 h 1059043"/>
                <a:gd name="connsiteX207" fmla="*/ 1175481 w 3024845"/>
                <a:gd name="connsiteY207" fmla="*/ 516665 h 1059043"/>
                <a:gd name="connsiteX208" fmla="*/ 1189668 w 3024845"/>
                <a:gd name="connsiteY208" fmla="*/ 516665 h 1059043"/>
                <a:gd name="connsiteX209" fmla="*/ 1189668 w 3024845"/>
                <a:gd name="connsiteY209" fmla="*/ 540444 h 1059043"/>
                <a:gd name="connsiteX210" fmla="*/ 1191695 w 3024845"/>
                <a:gd name="connsiteY210" fmla="*/ 542065 h 1059043"/>
                <a:gd name="connsiteX211" fmla="*/ 1191695 w 3024845"/>
                <a:gd name="connsiteY211" fmla="*/ 553415 h 1059043"/>
                <a:gd name="connsiteX212" fmla="*/ 1192455 w 3024845"/>
                <a:gd name="connsiteY212" fmla="*/ 553415 h 1059043"/>
                <a:gd name="connsiteX213" fmla="*/ 1197775 w 3024845"/>
                <a:gd name="connsiteY213" fmla="*/ 553415 h 1059043"/>
                <a:gd name="connsiteX214" fmla="*/ 1197775 w 3024845"/>
                <a:gd name="connsiteY214" fmla="*/ 577194 h 1059043"/>
                <a:gd name="connsiteX215" fmla="*/ 1199041 w 3024845"/>
                <a:gd name="connsiteY215" fmla="*/ 577194 h 1059043"/>
                <a:gd name="connsiteX216" fmla="*/ 1207908 w 3024845"/>
                <a:gd name="connsiteY216" fmla="*/ 577194 h 1059043"/>
                <a:gd name="connsiteX217" fmla="*/ 1209935 w 3024845"/>
                <a:gd name="connsiteY217" fmla="*/ 581248 h 1059043"/>
                <a:gd name="connsiteX218" fmla="*/ 1209935 w 3024845"/>
                <a:gd name="connsiteY218" fmla="*/ 594489 h 1059043"/>
                <a:gd name="connsiteX219" fmla="*/ 1211455 w 3024845"/>
                <a:gd name="connsiteY219" fmla="*/ 592597 h 1059043"/>
                <a:gd name="connsiteX220" fmla="*/ 1222095 w 3024845"/>
                <a:gd name="connsiteY220" fmla="*/ 579356 h 1059043"/>
                <a:gd name="connsiteX221" fmla="*/ 1250469 w 3024845"/>
                <a:gd name="connsiteY221" fmla="*/ 579356 h 1059043"/>
                <a:gd name="connsiteX222" fmla="*/ 1250469 w 3024845"/>
                <a:gd name="connsiteY222" fmla="*/ 665827 h 1059043"/>
                <a:gd name="connsiteX223" fmla="*/ 1251229 w 3024845"/>
                <a:gd name="connsiteY223" fmla="*/ 665827 h 1059043"/>
                <a:gd name="connsiteX224" fmla="*/ 1256549 w 3024845"/>
                <a:gd name="connsiteY224" fmla="*/ 665827 h 1059043"/>
                <a:gd name="connsiteX225" fmla="*/ 1257309 w 3024845"/>
                <a:gd name="connsiteY225" fmla="*/ 664476 h 1059043"/>
                <a:gd name="connsiteX226" fmla="*/ 1262629 w 3024845"/>
                <a:gd name="connsiteY226" fmla="*/ 655018 h 1059043"/>
                <a:gd name="connsiteX227" fmla="*/ 1262629 w 3024845"/>
                <a:gd name="connsiteY227" fmla="*/ 656910 h 1059043"/>
                <a:gd name="connsiteX228" fmla="*/ 1262629 w 3024845"/>
                <a:gd name="connsiteY228" fmla="*/ 670151 h 1059043"/>
                <a:gd name="connsiteX229" fmla="*/ 1266682 w 3024845"/>
                <a:gd name="connsiteY229" fmla="*/ 624754 h 1059043"/>
                <a:gd name="connsiteX230" fmla="*/ 1267442 w 3024845"/>
                <a:gd name="connsiteY230" fmla="*/ 624754 h 1059043"/>
                <a:gd name="connsiteX231" fmla="*/ 1272762 w 3024845"/>
                <a:gd name="connsiteY231" fmla="*/ 624754 h 1059043"/>
                <a:gd name="connsiteX232" fmla="*/ 1272762 w 3024845"/>
                <a:gd name="connsiteY232" fmla="*/ 559900 h 1059043"/>
                <a:gd name="connsiteX233" fmla="*/ 1273776 w 3024845"/>
                <a:gd name="connsiteY233" fmla="*/ 559900 h 1059043"/>
                <a:gd name="connsiteX234" fmla="*/ 1280869 w 3024845"/>
                <a:gd name="connsiteY234" fmla="*/ 559900 h 1059043"/>
                <a:gd name="connsiteX235" fmla="*/ 1293029 w 3024845"/>
                <a:gd name="connsiteY235" fmla="*/ 516665 h 1059043"/>
                <a:gd name="connsiteX236" fmla="*/ 1294296 w 3024845"/>
                <a:gd name="connsiteY236" fmla="*/ 516665 h 1059043"/>
                <a:gd name="connsiteX237" fmla="*/ 1303163 w 3024845"/>
                <a:gd name="connsiteY237" fmla="*/ 516665 h 1059043"/>
                <a:gd name="connsiteX238" fmla="*/ 1313296 w 3024845"/>
                <a:gd name="connsiteY238" fmla="*/ 559900 h 1059043"/>
                <a:gd name="connsiteX239" fmla="*/ 1314309 w 3024845"/>
                <a:gd name="connsiteY239" fmla="*/ 559900 h 1059043"/>
                <a:gd name="connsiteX240" fmla="*/ 1321403 w 3024845"/>
                <a:gd name="connsiteY240" fmla="*/ 559900 h 1059043"/>
                <a:gd name="connsiteX241" fmla="*/ 1321403 w 3024845"/>
                <a:gd name="connsiteY241" fmla="*/ 598812 h 1059043"/>
                <a:gd name="connsiteX242" fmla="*/ 1323176 w 3024845"/>
                <a:gd name="connsiteY242" fmla="*/ 598812 h 1059043"/>
                <a:gd name="connsiteX243" fmla="*/ 1335590 w 3024845"/>
                <a:gd name="connsiteY243" fmla="*/ 598812 h 1059043"/>
                <a:gd name="connsiteX244" fmla="*/ 1335590 w 3024845"/>
                <a:gd name="connsiteY244" fmla="*/ 600974 h 1059043"/>
                <a:gd name="connsiteX245" fmla="*/ 1335590 w 3024845"/>
                <a:gd name="connsiteY245" fmla="*/ 616106 h 1059043"/>
                <a:gd name="connsiteX246" fmla="*/ 1339643 w 3024845"/>
                <a:gd name="connsiteY246" fmla="*/ 613945 h 1059043"/>
                <a:gd name="connsiteX247" fmla="*/ 1339643 w 3024845"/>
                <a:gd name="connsiteY247" fmla="*/ 598812 h 1059043"/>
                <a:gd name="connsiteX248" fmla="*/ 1341163 w 3024845"/>
                <a:gd name="connsiteY248" fmla="*/ 598812 h 1059043"/>
                <a:gd name="connsiteX249" fmla="*/ 1351803 w 3024845"/>
                <a:gd name="connsiteY249" fmla="*/ 598812 h 1059043"/>
                <a:gd name="connsiteX250" fmla="*/ 1351803 w 3024845"/>
                <a:gd name="connsiteY250" fmla="*/ 600433 h 1059043"/>
                <a:gd name="connsiteX251" fmla="*/ 1351803 w 3024845"/>
                <a:gd name="connsiteY251" fmla="*/ 611783 h 1059043"/>
                <a:gd name="connsiteX252" fmla="*/ 1382204 w 3024845"/>
                <a:gd name="connsiteY252" fmla="*/ 611783 h 1059043"/>
                <a:gd name="connsiteX253" fmla="*/ 1382204 w 3024845"/>
                <a:gd name="connsiteY253" fmla="*/ 575033 h 1059043"/>
                <a:gd name="connsiteX254" fmla="*/ 1383470 w 3024845"/>
                <a:gd name="connsiteY254" fmla="*/ 575033 h 1059043"/>
                <a:gd name="connsiteX255" fmla="*/ 1392337 w 3024845"/>
                <a:gd name="connsiteY255" fmla="*/ 575033 h 1059043"/>
                <a:gd name="connsiteX256" fmla="*/ 1392337 w 3024845"/>
                <a:gd name="connsiteY256" fmla="*/ 596650 h 1059043"/>
                <a:gd name="connsiteX257" fmla="*/ 1394364 w 3024845"/>
                <a:gd name="connsiteY257" fmla="*/ 564224 h 1059043"/>
                <a:gd name="connsiteX258" fmla="*/ 1416657 w 3024845"/>
                <a:gd name="connsiteY258" fmla="*/ 564224 h 1059043"/>
                <a:gd name="connsiteX259" fmla="*/ 1416657 w 3024845"/>
                <a:gd name="connsiteY259" fmla="*/ 562602 h 1059043"/>
                <a:gd name="connsiteX260" fmla="*/ 1416657 w 3024845"/>
                <a:gd name="connsiteY260" fmla="*/ 551253 h 1059043"/>
                <a:gd name="connsiteX261" fmla="*/ 1417417 w 3024845"/>
                <a:gd name="connsiteY261" fmla="*/ 551253 h 1059043"/>
                <a:gd name="connsiteX262" fmla="*/ 1422737 w 3024845"/>
                <a:gd name="connsiteY262" fmla="*/ 551253 h 1059043"/>
                <a:gd name="connsiteX263" fmla="*/ 1422737 w 3024845"/>
                <a:gd name="connsiteY263" fmla="*/ 549362 h 1059043"/>
                <a:gd name="connsiteX264" fmla="*/ 1422737 w 3024845"/>
                <a:gd name="connsiteY264" fmla="*/ 536121 h 1059043"/>
                <a:gd name="connsiteX265" fmla="*/ 1426791 w 3024845"/>
                <a:gd name="connsiteY265" fmla="*/ 542606 h 1059043"/>
                <a:gd name="connsiteX266" fmla="*/ 1429071 w 3024845"/>
                <a:gd name="connsiteY266" fmla="*/ 542606 h 1059043"/>
                <a:gd name="connsiteX267" fmla="*/ 1445031 w 3024845"/>
                <a:gd name="connsiteY267" fmla="*/ 542606 h 1059043"/>
                <a:gd name="connsiteX268" fmla="*/ 1445031 w 3024845"/>
                <a:gd name="connsiteY268" fmla="*/ 541795 h 1059043"/>
                <a:gd name="connsiteX269" fmla="*/ 1445031 w 3024845"/>
                <a:gd name="connsiteY269" fmla="*/ 536121 h 1059043"/>
                <a:gd name="connsiteX270" fmla="*/ 1445791 w 3024845"/>
                <a:gd name="connsiteY270" fmla="*/ 536121 h 1059043"/>
                <a:gd name="connsiteX271" fmla="*/ 1451111 w 3024845"/>
                <a:gd name="connsiteY271" fmla="*/ 536121 h 1059043"/>
                <a:gd name="connsiteX272" fmla="*/ 1451111 w 3024845"/>
                <a:gd name="connsiteY272" fmla="*/ 537472 h 1059043"/>
                <a:gd name="connsiteX273" fmla="*/ 1451111 w 3024845"/>
                <a:gd name="connsiteY273" fmla="*/ 546930 h 1059043"/>
                <a:gd name="connsiteX274" fmla="*/ 1489618 w 3024845"/>
                <a:gd name="connsiteY274" fmla="*/ 546930 h 1059043"/>
                <a:gd name="connsiteX275" fmla="*/ 1489618 w 3024845"/>
                <a:gd name="connsiteY275" fmla="*/ 685283 h 1059043"/>
                <a:gd name="connsiteX276" fmla="*/ 1491138 w 3024845"/>
                <a:gd name="connsiteY276" fmla="*/ 685283 h 1059043"/>
                <a:gd name="connsiteX277" fmla="*/ 1501778 w 3024845"/>
                <a:gd name="connsiteY277" fmla="*/ 685283 h 1059043"/>
                <a:gd name="connsiteX278" fmla="*/ 1501778 w 3024845"/>
                <a:gd name="connsiteY278" fmla="*/ 672313 h 1059043"/>
                <a:gd name="connsiteX279" fmla="*/ 1505832 w 3024845"/>
                <a:gd name="connsiteY279" fmla="*/ 672313 h 1059043"/>
                <a:gd name="connsiteX280" fmla="*/ 1505832 w 3024845"/>
                <a:gd name="connsiteY280" fmla="*/ 685283 h 1059043"/>
                <a:gd name="connsiteX281" fmla="*/ 1536232 w 3024845"/>
                <a:gd name="connsiteY281" fmla="*/ 685283 h 1059043"/>
                <a:gd name="connsiteX282" fmla="*/ 1536232 w 3024845"/>
                <a:gd name="connsiteY282" fmla="*/ 655018 h 1059043"/>
                <a:gd name="connsiteX283" fmla="*/ 1548392 w 3024845"/>
                <a:gd name="connsiteY283" fmla="*/ 655018 h 1059043"/>
                <a:gd name="connsiteX284" fmla="*/ 1560552 w 3024845"/>
                <a:gd name="connsiteY284" fmla="*/ 652857 h 1059043"/>
                <a:gd name="connsiteX285" fmla="*/ 1564606 w 3024845"/>
                <a:gd name="connsiteY285" fmla="*/ 655018 h 1059043"/>
                <a:gd name="connsiteX286" fmla="*/ 1574739 w 3024845"/>
                <a:gd name="connsiteY286" fmla="*/ 655018 h 1059043"/>
                <a:gd name="connsiteX287" fmla="*/ 1574739 w 3024845"/>
                <a:gd name="connsiteY287" fmla="*/ 685283 h 1059043"/>
                <a:gd name="connsiteX288" fmla="*/ 1582846 w 3024845"/>
                <a:gd name="connsiteY288" fmla="*/ 685283 h 1059043"/>
                <a:gd name="connsiteX289" fmla="*/ 1582846 w 3024845"/>
                <a:gd name="connsiteY289" fmla="*/ 702578 h 1059043"/>
                <a:gd name="connsiteX290" fmla="*/ 1592182 w 3024845"/>
                <a:gd name="connsiteY290" fmla="*/ 703483 h 1059043"/>
                <a:gd name="connsiteX291" fmla="*/ 1605140 w 3024845"/>
                <a:gd name="connsiteY291" fmla="*/ 703483 h 1059043"/>
                <a:gd name="connsiteX292" fmla="*/ 1605140 w 3024845"/>
                <a:gd name="connsiteY292" fmla="*/ 687445 h 1059043"/>
                <a:gd name="connsiteX293" fmla="*/ 1673096 w 3024845"/>
                <a:gd name="connsiteY293" fmla="*/ 687445 h 1059043"/>
                <a:gd name="connsiteX294" fmla="*/ 1673096 w 3024845"/>
                <a:gd name="connsiteY294" fmla="*/ 602192 h 1059043"/>
                <a:gd name="connsiteX295" fmla="*/ 1745104 w 3024845"/>
                <a:gd name="connsiteY295" fmla="*/ 602192 h 1059043"/>
                <a:gd name="connsiteX296" fmla="*/ 1745104 w 3024845"/>
                <a:gd name="connsiteY296" fmla="*/ 680960 h 1059043"/>
                <a:gd name="connsiteX297" fmla="*/ 1747008 w 3024845"/>
                <a:gd name="connsiteY297" fmla="*/ 680960 h 1059043"/>
                <a:gd name="connsiteX298" fmla="*/ 1748250 w 3024845"/>
                <a:gd name="connsiteY298" fmla="*/ 703483 h 1059043"/>
                <a:gd name="connsiteX299" fmla="*/ 1757926 w 3024845"/>
                <a:gd name="connsiteY299" fmla="*/ 703483 h 1059043"/>
                <a:gd name="connsiteX300" fmla="*/ 1759168 w 3024845"/>
                <a:gd name="connsiteY300" fmla="*/ 680960 h 1059043"/>
                <a:gd name="connsiteX301" fmla="*/ 1765248 w 3024845"/>
                <a:gd name="connsiteY301" fmla="*/ 680960 h 1059043"/>
                <a:gd name="connsiteX302" fmla="*/ 1766490 w 3024845"/>
                <a:gd name="connsiteY302" fmla="*/ 703483 h 1059043"/>
                <a:gd name="connsiteX303" fmla="*/ 1817112 w 3024845"/>
                <a:gd name="connsiteY303" fmla="*/ 703483 h 1059043"/>
                <a:gd name="connsiteX304" fmla="*/ 1817112 w 3024845"/>
                <a:gd name="connsiteY304" fmla="*/ 540455 h 1059043"/>
                <a:gd name="connsiteX305" fmla="*/ 2014439 w 3024845"/>
                <a:gd name="connsiteY305" fmla="*/ 540455 h 1059043"/>
                <a:gd name="connsiteX306" fmla="*/ 2014439 w 3024845"/>
                <a:gd name="connsiteY306" fmla="*/ 703483 h 1059043"/>
                <a:gd name="connsiteX307" fmla="*/ 2033136 w 3024845"/>
                <a:gd name="connsiteY307" fmla="*/ 703483 h 1059043"/>
                <a:gd name="connsiteX308" fmla="*/ 2033136 w 3024845"/>
                <a:gd name="connsiteY308" fmla="*/ 620790 h 1059043"/>
                <a:gd name="connsiteX309" fmla="*/ 2128256 w 3024845"/>
                <a:gd name="connsiteY309" fmla="*/ 620790 h 1059043"/>
                <a:gd name="connsiteX310" fmla="*/ 2146266 w 3024845"/>
                <a:gd name="connsiteY310" fmla="*/ 131868 h 1059043"/>
                <a:gd name="connsiteX311" fmla="*/ 2150320 w 3024845"/>
                <a:gd name="connsiteY311" fmla="*/ 60529 h 1059043"/>
                <a:gd name="connsiteX312" fmla="*/ 2152346 w 3024845"/>
                <a:gd name="connsiteY312" fmla="*/ 56206 h 1059043"/>
                <a:gd name="connsiteX313" fmla="*/ 2152346 w 3024845"/>
                <a:gd name="connsiteY313" fmla="*/ 0 h 1059043"/>
                <a:gd name="connsiteX314" fmla="*/ 2180720 w 3024845"/>
                <a:gd name="connsiteY314" fmla="*/ 555577 h 1059043"/>
                <a:gd name="connsiteX315" fmla="*/ 2245574 w 3024845"/>
                <a:gd name="connsiteY315" fmla="*/ 555577 h 1059043"/>
                <a:gd name="connsiteX316" fmla="*/ 2245574 w 3024845"/>
                <a:gd name="connsiteY316" fmla="*/ 631239 h 1059043"/>
                <a:gd name="connsiteX317" fmla="*/ 2253681 w 3024845"/>
                <a:gd name="connsiteY317" fmla="*/ 631239 h 1059043"/>
                <a:gd name="connsiteX318" fmla="*/ 2255708 w 3024845"/>
                <a:gd name="connsiteY318" fmla="*/ 624754 h 1059043"/>
                <a:gd name="connsiteX319" fmla="*/ 2261788 w 3024845"/>
                <a:gd name="connsiteY319" fmla="*/ 624754 h 1059043"/>
                <a:gd name="connsiteX320" fmla="*/ 2263815 w 3024845"/>
                <a:gd name="connsiteY320" fmla="*/ 633401 h 1059043"/>
                <a:gd name="connsiteX321" fmla="*/ 2275975 w 3024845"/>
                <a:gd name="connsiteY321" fmla="*/ 633401 h 1059043"/>
                <a:gd name="connsiteX322" fmla="*/ 2275975 w 3024845"/>
                <a:gd name="connsiteY322" fmla="*/ 626915 h 1059043"/>
                <a:gd name="connsiteX323" fmla="*/ 2298268 w 3024845"/>
                <a:gd name="connsiteY323" fmla="*/ 626915 h 1059043"/>
                <a:gd name="connsiteX324" fmla="*/ 2298268 w 3024845"/>
                <a:gd name="connsiteY324" fmla="*/ 633401 h 1059043"/>
                <a:gd name="connsiteX325" fmla="*/ 2318535 w 3024845"/>
                <a:gd name="connsiteY325" fmla="*/ 633401 h 1059043"/>
                <a:gd name="connsiteX326" fmla="*/ 2318535 w 3024845"/>
                <a:gd name="connsiteY326" fmla="*/ 678798 h 1059043"/>
                <a:gd name="connsiteX327" fmla="*/ 2332722 w 3024845"/>
                <a:gd name="connsiteY327" fmla="*/ 678798 h 1059043"/>
                <a:gd name="connsiteX328" fmla="*/ 2332722 w 3024845"/>
                <a:gd name="connsiteY328" fmla="*/ 665827 h 1059043"/>
                <a:gd name="connsiteX329" fmla="*/ 2348936 w 3024845"/>
                <a:gd name="connsiteY329" fmla="*/ 665827 h 1059043"/>
                <a:gd name="connsiteX330" fmla="*/ 2348936 w 3024845"/>
                <a:gd name="connsiteY330" fmla="*/ 486400 h 1059043"/>
                <a:gd name="connsiteX331" fmla="*/ 2355016 w 3024845"/>
                <a:gd name="connsiteY331" fmla="*/ 479914 h 1059043"/>
                <a:gd name="connsiteX332" fmla="*/ 2427977 w 3024845"/>
                <a:gd name="connsiteY332" fmla="*/ 479914 h 1059043"/>
                <a:gd name="connsiteX333" fmla="*/ 2427977 w 3024845"/>
                <a:gd name="connsiteY333" fmla="*/ 488562 h 1059043"/>
                <a:gd name="connsiteX334" fmla="*/ 2438110 w 3024845"/>
                <a:gd name="connsiteY334" fmla="*/ 488562 h 1059043"/>
                <a:gd name="connsiteX335" fmla="*/ 2438110 w 3024845"/>
                <a:gd name="connsiteY335" fmla="*/ 603136 h 1059043"/>
                <a:gd name="connsiteX336" fmla="*/ 2460404 w 3024845"/>
                <a:gd name="connsiteY336" fmla="*/ 603136 h 1059043"/>
                <a:gd name="connsiteX337" fmla="*/ 2460404 w 3024845"/>
                <a:gd name="connsiteY337" fmla="*/ 536121 h 1059043"/>
                <a:gd name="connsiteX338" fmla="*/ 2486751 w 3024845"/>
                <a:gd name="connsiteY338" fmla="*/ 536121 h 1059043"/>
                <a:gd name="connsiteX339" fmla="*/ 2490804 w 3024845"/>
                <a:gd name="connsiteY339" fmla="*/ 531797 h 1059043"/>
                <a:gd name="connsiteX340" fmla="*/ 2498911 w 3024845"/>
                <a:gd name="connsiteY340" fmla="*/ 531797 h 1059043"/>
                <a:gd name="connsiteX341" fmla="*/ 2502964 w 3024845"/>
                <a:gd name="connsiteY341" fmla="*/ 536121 h 1059043"/>
                <a:gd name="connsiteX342" fmla="*/ 2525258 w 3024845"/>
                <a:gd name="connsiteY342" fmla="*/ 536121 h 1059043"/>
                <a:gd name="connsiteX343" fmla="*/ 2525258 w 3024845"/>
                <a:gd name="connsiteY343" fmla="*/ 419385 h 1059043"/>
                <a:gd name="connsiteX344" fmla="*/ 2582005 w 3024845"/>
                <a:gd name="connsiteY344" fmla="*/ 408576 h 1059043"/>
                <a:gd name="connsiteX345" fmla="*/ 2582005 w 3024845"/>
                <a:gd name="connsiteY345" fmla="*/ 409657 h 1059043"/>
                <a:gd name="connsiteX346" fmla="*/ 2582005 w 3024845"/>
                <a:gd name="connsiteY346" fmla="*/ 417223 h 1059043"/>
                <a:gd name="connsiteX347" fmla="*/ 2608352 w 3024845"/>
                <a:gd name="connsiteY347" fmla="*/ 417223 h 1059043"/>
                <a:gd name="connsiteX348" fmla="*/ 2608352 w 3024845"/>
                <a:gd name="connsiteY348" fmla="*/ 672313 h 1059043"/>
                <a:gd name="connsiteX349" fmla="*/ 2630646 w 3024845"/>
                <a:gd name="connsiteY349" fmla="*/ 672313 h 1059043"/>
                <a:gd name="connsiteX350" fmla="*/ 2630646 w 3024845"/>
                <a:gd name="connsiteY350" fmla="*/ 667989 h 1059043"/>
                <a:gd name="connsiteX351" fmla="*/ 2642806 w 3024845"/>
                <a:gd name="connsiteY351" fmla="*/ 667989 h 1059043"/>
                <a:gd name="connsiteX352" fmla="*/ 2642806 w 3024845"/>
                <a:gd name="connsiteY352" fmla="*/ 672313 h 1059043"/>
                <a:gd name="connsiteX353" fmla="*/ 2667126 w 3024845"/>
                <a:gd name="connsiteY353" fmla="*/ 672313 h 1059043"/>
                <a:gd name="connsiteX354" fmla="*/ 2667126 w 3024845"/>
                <a:gd name="connsiteY354" fmla="*/ 659342 h 1059043"/>
                <a:gd name="connsiteX355" fmla="*/ 2695500 w 3024845"/>
                <a:gd name="connsiteY355" fmla="*/ 659342 h 1059043"/>
                <a:gd name="connsiteX356" fmla="*/ 2707660 w 3024845"/>
                <a:gd name="connsiteY356" fmla="*/ 655018 h 1059043"/>
                <a:gd name="connsiteX357" fmla="*/ 2727927 w 3024845"/>
                <a:gd name="connsiteY357" fmla="*/ 659342 h 1059043"/>
                <a:gd name="connsiteX358" fmla="*/ 2727927 w 3024845"/>
                <a:gd name="connsiteY358" fmla="*/ 642048 h 1059043"/>
                <a:gd name="connsiteX359" fmla="*/ 2736034 w 3024845"/>
                <a:gd name="connsiteY359" fmla="*/ 642048 h 1059043"/>
                <a:gd name="connsiteX360" fmla="*/ 2736034 w 3024845"/>
                <a:gd name="connsiteY360" fmla="*/ 629077 h 1059043"/>
                <a:gd name="connsiteX361" fmla="*/ 2792781 w 3024845"/>
                <a:gd name="connsiteY361" fmla="*/ 629077 h 1059043"/>
                <a:gd name="connsiteX362" fmla="*/ 2792781 w 3024845"/>
                <a:gd name="connsiteY362" fmla="*/ 598812 h 1059043"/>
                <a:gd name="connsiteX363" fmla="*/ 2811021 w 3024845"/>
                <a:gd name="connsiteY363" fmla="*/ 598812 h 1059043"/>
                <a:gd name="connsiteX364" fmla="*/ 2811021 w 3024845"/>
                <a:gd name="connsiteY364" fmla="*/ 592327 h 1059043"/>
                <a:gd name="connsiteX365" fmla="*/ 2823181 w 3024845"/>
                <a:gd name="connsiteY365" fmla="*/ 592327 h 1059043"/>
                <a:gd name="connsiteX366" fmla="*/ 2823181 w 3024845"/>
                <a:gd name="connsiteY366" fmla="*/ 598812 h 1059043"/>
                <a:gd name="connsiteX367" fmla="*/ 2839395 w 3024845"/>
                <a:gd name="connsiteY367" fmla="*/ 598812 h 1059043"/>
                <a:gd name="connsiteX368" fmla="*/ 2839395 w 3024845"/>
                <a:gd name="connsiteY368" fmla="*/ 648533 h 1059043"/>
                <a:gd name="connsiteX369" fmla="*/ 2871822 w 3024845"/>
                <a:gd name="connsiteY369" fmla="*/ 648533 h 1059043"/>
                <a:gd name="connsiteX370" fmla="*/ 2871822 w 3024845"/>
                <a:gd name="connsiteY370" fmla="*/ 622592 h 1059043"/>
                <a:gd name="connsiteX371" fmla="*/ 2910329 w 3024845"/>
                <a:gd name="connsiteY371" fmla="*/ 622592 h 1059043"/>
                <a:gd name="connsiteX372" fmla="*/ 2910329 w 3024845"/>
                <a:gd name="connsiteY372" fmla="*/ 592327 h 1059043"/>
                <a:gd name="connsiteX373" fmla="*/ 2958970 w 3024845"/>
                <a:gd name="connsiteY373" fmla="*/ 592327 h 1059043"/>
                <a:gd name="connsiteX374" fmla="*/ 2958970 w 3024845"/>
                <a:gd name="connsiteY374" fmla="*/ 703483 h 1059043"/>
                <a:gd name="connsiteX375" fmla="*/ 2958970 w 3024845"/>
                <a:gd name="connsiteY375" fmla="*/ 717262 h 1059043"/>
                <a:gd name="connsiteX376" fmla="*/ 3024845 w 3024845"/>
                <a:gd name="connsiteY376" fmla="*/ 717262 h 1059043"/>
                <a:gd name="connsiteX377" fmla="*/ 3024845 w 3024845"/>
                <a:gd name="connsiteY377" fmla="*/ 1059043 h 1059043"/>
                <a:gd name="connsiteX378" fmla="*/ 2054 w 3024845"/>
                <a:gd name="connsiteY378" fmla="*/ 1056710 h 1059043"/>
                <a:gd name="connsiteX379" fmla="*/ 0 w 3024845"/>
                <a:gd name="connsiteY379" fmla="*/ 622592 h 1059043"/>
                <a:gd name="connsiteX380" fmla="*/ 20267 w 3024845"/>
                <a:gd name="connsiteY380" fmla="*/ 622592 h 1059043"/>
                <a:gd name="connsiteX381" fmla="*/ 20774 w 3024845"/>
                <a:gd name="connsiteY381" fmla="*/ 621511 h 1059043"/>
                <a:gd name="connsiteX382" fmla="*/ 24320 w 3024845"/>
                <a:gd name="connsiteY382" fmla="*/ 613945 h 1059043"/>
                <a:gd name="connsiteX383" fmla="*/ 26094 w 3024845"/>
                <a:gd name="connsiteY383" fmla="*/ 614215 h 1059043"/>
                <a:gd name="connsiteX384" fmla="*/ 38507 w 3024845"/>
                <a:gd name="connsiteY384" fmla="*/ 616106 h 1059043"/>
                <a:gd name="connsiteX385" fmla="*/ 39014 w 3024845"/>
                <a:gd name="connsiteY385" fmla="*/ 617458 h 1059043"/>
                <a:gd name="connsiteX386" fmla="*/ 42560 w 3024845"/>
                <a:gd name="connsiteY386" fmla="*/ 626915 h 1059043"/>
                <a:gd name="connsiteX387" fmla="*/ 68907 w 3024845"/>
                <a:gd name="connsiteY387" fmla="*/ 629077 h 1059043"/>
                <a:gd name="connsiteX388" fmla="*/ 68907 w 3024845"/>
                <a:gd name="connsiteY388" fmla="*/ 505856 h 1059043"/>
                <a:gd name="connsiteX389" fmla="*/ 70934 w 3024845"/>
                <a:gd name="connsiteY389" fmla="*/ 505856 h 1059043"/>
                <a:gd name="connsiteX390" fmla="*/ 85121 w 3024845"/>
                <a:gd name="connsiteY390" fmla="*/ 505856 h 1059043"/>
                <a:gd name="connsiteX391" fmla="*/ 85121 w 3024845"/>
                <a:gd name="connsiteY391" fmla="*/ 369664 h 1059043"/>
                <a:gd name="connsiteX392" fmla="*/ 86894 w 3024845"/>
                <a:gd name="connsiteY392" fmla="*/ 369664 h 1059043"/>
                <a:gd name="connsiteX393" fmla="*/ 99308 w 3024845"/>
                <a:gd name="connsiteY393" fmla="*/ 369664 h 1059043"/>
                <a:gd name="connsiteX394" fmla="*/ 99308 w 3024845"/>
                <a:gd name="connsiteY394" fmla="*/ 255090 h 1059043"/>
                <a:gd name="connsiteX395" fmla="*/ 103361 w 3024845"/>
                <a:gd name="connsiteY395" fmla="*/ 226986 h 1059043"/>
                <a:gd name="connsiteX396" fmla="*/ 105388 w 3024845"/>
                <a:gd name="connsiteY396" fmla="*/ 226986 h 1059043"/>
                <a:gd name="connsiteX397" fmla="*/ 119575 w 3024845"/>
                <a:gd name="connsiteY397" fmla="*/ 226986 h 1059043"/>
                <a:gd name="connsiteX0" fmla="*/ 119575 w 3024845"/>
                <a:gd name="connsiteY0" fmla="*/ 255427 h 1087484"/>
                <a:gd name="connsiteX1" fmla="*/ 200642 w 3024845"/>
                <a:gd name="connsiteY1" fmla="*/ 253266 h 1087484"/>
                <a:gd name="connsiteX2" fmla="*/ 202669 w 3024845"/>
                <a:gd name="connsiteY2" fmla="*/ 253266 h 1087484"/>
                <a:gd name="connsiteX3" fmla="*/ 216856 w 3024845"/>
                <a:gd name="connsiteY3" fmla="*/ 253266 h 1087484"/>
                <a:gd name="connsiteX4" fmla="*/ 216856 w 3024845"/>
                <a:gd name="connsiteY4" fmla="*/ 277045 h 1087484"/>
                <a:gd name="connsiteX5" fmla="*/ 217363 w 3024845"/>
                <a:gd name="connsiteY5" fmla="*/ 277856 h 1087484"/>
                <a:gd name="connsiteX6" fmla="*/ 220909 w 3024845"/>
                <a:gd name="connsiteY6" fmla="*/ 283531 h 1087484"/>
                <a:gd name="connsiteX7" fmla="*/ 220909 w 3024845"/>
                <a:gd name="connsiteY7" fmla="*/ 398105 h 1087484"/>
                <a:gd name="connsiteX8" fmla="*/ 223189 w 3024845"/>
                <a:gd name="connsiteY8" fmla="*/ 398105 h 1087484"/>
                <a:gd name="connsiteX9" fmla="*/ 239150 w 3024845"/>
                <a:gd name="connsiteY9" fmla="*/ 398105 h 1087484"/>
                <a:gd name="connsiteX10" fmla="*/ 239150 w 3024845"/>
                <a:gd name="connsiteY10" fmla="*/ 538620 h 1087484"/>
                <a:gd name="connsiteX11" fmla="*/ 240670 w 3024845"/>
                <a:gd name="connsiteY11" fmla="*/ 538350 h 1087484"/>
                <a:gd name="connsiteX12" fmla="*/ 251310 w 3024845"/>
                <a:gd name="connsiteY12" fmla="*/ 536459 h 1087484"/>
                <a:gd name="connsiteX13" fmla="*/ 249283 w 3024845"/>
                <a:gd name="connsiteY13" fmla="*/ 625091 h 1087484"/>
                <a:gd name="connsiteX14" fmla="*/ 250803 w 3024845"/>
                <a:gd name="connsiteY14" fmla="*/ 625362 h 1087484"/>
                <a:gd name="connsiteX15" fmla="*/ 261443 w 3024845"/>
                <a:gd name="connsiteY15" fmla="*/ 627253 h 1087484"/>
                <a:gd name="connsiteX16" fmla="*/ 261696 w 3024845"/>
                <a:gd name="connsiteY16" fmla="*/ 628064 h 1087484"/>
                <a:gd name="connsiteX17" fmla="*/ 263470 w 3024845"/>
                <a:gd name="connsiteY17" fmla="*/ 633739 h 1087484"/>
                <a:gd name="connsiteX18" fmla="*/ 264230 w 3024845"/>
                <a:gd name="connsiteY18" fmla="*/ 631307 h 1087484"/>
                <a:gd name="connsiteX19" fmla="*/ 269550 w 3024845"/>
                <a:gd name="connsiteY19" fmla="*/ 614283 h 1087484"/>
                <a:gd name="connsiteX20" fmla="*/ 271323 w 3024845"/>
                <a:gd name="connsiteY20" fmla="*/ 614283 h 1087484"/>
                <a:gd name="connsiteX21" fmla="*/ 283737 w 3024845"/>
                <a:gd name="connsiteY21" fmla="*/ 614283 h 1087484"/>
                <a:gd name="connsiteX22" fmla="*/ 283737 w 3024845"/>
                <a:gd name="connsiteY22" fmla="*/ 646709 h 1087484"/>
                <a:gd name="connsiteX23" fmla="*/ 284750 w 3024845"/>
                <a:gd name="connsiteY23" fmla="*/ 647250 h 1087484"/>
                <a:gd name="connsiteX24" fmla="*/ 291844 w 3024845"/>
                <a:gd name="connsiteY24" fmla="*/ 651033 h 1087484"/>
                <a:gd name="connsiteX25" fmla="*/ 291844 w 3024845"/>
                <a:gd name="connsiteY25" fmla="*/ 652384 h 1087484"/>
                <a:gd name="connsiteX26" fmla="*/ 291844 w 3024845"/>
                <a:gd name="connsiteY26" fmla="*/ 661842 h 1087484"/>
                <a:gd name="connsiteX27" fmla="*/ 336431 w 3024845"/>
                <a:gd name="connsiteY27" fmla="*/ 661842 h 1087484"/>
                <a:gd name="connsiteX28" fmla="*/ 336431 w 3024845"/>
                <a:gd name="connsiteY28" fmla="*/ 662923 h 1087484"/>
                <a:gd name="connsiteX29" fmla="*/ 336431 w 3024845"/>
                <a:gd name="connsiteY29" fmla="*/ 670489 h 1087484"/>
                <a:gd name="connsiteX30" fmla="*/ 338457 w 3024845"/>
                <a:gd name="connsiteY30" fmla="*/ 670489 h 1087484"/>
                <a:gd name="connsiteX31" fmla="*/ 352644 w 3024845"/>
                <a:gd name="connsiteY31" fmla="*/ 670489 h 1087484"/>
                <a:gd name="connsiteX32" fmla="*/ 352644 w 3024845"/>
                <a:gd name="connsiteY32" fmla="*/ 640224 h 1087484"/>
                <a:gd name="connsiteX33" fmla="*/ 397231 w 3024845"/>
                <a:gd name="connsiteY33" fmla="*/ 640224 h 1087484"/>
                <a:gd name="connsiteX34" fmla="*/ 397231 w 3024845"/>
                <a:gd name="connsiteY34" fmla="*/ 638873 h 1087484"/>
                <a:gd name="connsiteX35" fmla="*/ 397231 w 3024845"/>
                <a:gd name="connsiteY35" fmla="*/ 629415 h 1087484"/>
                <a:gd name="connsiteX36" fmla="*/ 398245 w 3024845"/>
                <a:gd name="connsiteY36" fmla="*/ 629415 h 1087484"/>
                <a:gd name="connsiteX37" fmla="*/ 405338 w 3024845"/>
                <a:gd name="connsiteY37" fmla="*/ 629415 h 1087484"/>
                <a:gd name="connsiteX38" fmla="*/ 405338 w 3024845"/>
                <a:gd name="connsiteY38" fmla="*/ 627524 h 1087484"/>
                <a:gd name="connsiteX39" fmla="*/ 405338 w 3024845"/>
                <a:gd name="connsiteY39" fmla="*/ 614283 h 1087484"/>
                <a:gd name="connsiteX40" fmla="*/ 406098 w 3024845"/>
                <a:gd name="connsiteY40" fmla="*/ 614283 h 1087484"/>
                <a:gd name="connsiteX41" fmla="*/ 411418 w 3024845"/>
                <a:gd name="connsiteY41" fmla="*/ 614283 h 1087484"/>
                <a:gd name="connsiteX42" fmla="*/ 411418 w 3024845"/>
                <a:gd name="connsiteY42" fmla="*/ 613202 h 1087484"/>
                <a:gd name="connsiteX43" fmla="*/ 411418 w 3024845"/>
                <a:gd name="connsiteY43" fmla="*/ 605635 h 1087484"/>
                <a:gd name="connsiteX44" fmla="*/ 413445 w 3024845"/>
                <a:gd name="connsiteY44" fmla="*/ 605635 h 1087484"/>
                <a:gd name="connsiteX45" fmla="*/ 427632 w 3024845"/>
                <a:gd name="connsiteY45" fmla="*/ 605635 h 1087484"/>
                <a:gd name="connsiteX46" fmla="*/ 427632 w 3024845"/>
                <a:gd name="connsiteY46" fmla="*/ 606716 h 1087484"/>
                <a:gd name="connsiteX47" fmla="*/ 427632 w 3024845"/>
                <a:gd name="connsiteY47" fmla="*/ 614283 h 1087484"/>
                <a:gd name="connsiteX48" fmla="*/ 449925 w 3024845"/>
                <a:gd name="connsiteY48" fmla="*/ 614283 h 1087484"/>
                <a:gd name="connsiteX49" fmla="*/ 449925 w 3024845"/>
                <a:gd name="connsiteY49" fmla="*/ 612391 h 1087484"/>
                <a:gd name="connsiteX50" fmla="*/ 449925 w 3024845"/>
                <a:gd name="connsiteY50" fmla="*/ 599150 h 1087484"/>
                <a:gd name="connsiteX51" fmla="*/ 451699 w 3024845"/>
                <a:gd name="connsiteY51" fmla="*/ 599150 h 1087484"/>
                <a:gd name="connsiteX52" fmla="*/ 464112 w 3024845"/>
                <a:gd name="connsiteY52" fmla="*/ 599150 h 1087484"/>
                <a:gd name="connsiteX53" fmla="*/ 464112 w 3024845"/>
                <a:gd name="connsiteY53" fmla="*/ 622930 h 1087484"/>
                <a:gd name="connsiteX54" fmla="*/ 465126 w 3024845"/>
                <a:gd name="connsiteY54" fmla="*/ 622930 h 1087484"/>
                <a:gd name="connsiteX55" fmla="*/ 472219 w 3024845"/>
                <a:gd name="connsiteY55" fmla="*/ 622930 h 1087484"/>
                <a:gd name="connsiteX56" fmla="*/ 472219 w 3024845"/>
                <a:gd name="connsiteY56" fmla="*/ 621849 h 1087484"/>
                <a:gd name="connsiteX57" fmla="*/ 472219 w 3024845"/>
                <a:gd name="connsiteY57" fmla="*/ 614283 h 1087484"/>
                <a:gd name="connsiteX58" fmla="*/ 473992 w 3024845"/>
                <a:gd name="connsiteY58" fmla="*/ 614283 h 1087484"/>
                <a:gd name="connsiteX59" fmla="*/ 486406 w 3024845"/>
                <a:gd name="connsiteY59" fmla="*/ 614283 h 1087484"/>
                <a:gd name="connsiteX60" fmla="*/ 486406 w 3024845"/>
                <a:gd name="connsiteY60" fmla="*/ 640224 h 1087484"/>
                <a:gd name="connsiteX61" fmla="*/ 488433 w 3024845"/>
                <a:gd name="connsiteY61" fmla="*/ 640224 h 1087484"/>
                <a:gd name="connsiteX62" fmla="*/ 502619 w 3024845"/>
                <a:gd name="connsiteY62" fmla="*/ 640224 h 1087484"/>
                <a:gd name="connsiteX63" fmla="*/ 502619 w 3024845"/>
                <a:gd name="connsiteY63" fmla="*/ 641845 h 1087484"/>
                <a:gd name="connsiteX64" fmla="*/ 502619 w 3024845"/>
                <a:gd name="connsiteY64" fmla="*/ 653195 h 1087484"/>
                <a:gd name="connsiteX65" fmla="*/ 503379 w 3024845"/>
                <a:gd name="connsiteY65" fmla="*/ 653195 h 1087484"/>
                <a:gd name="connsiteX66" fmla="*/ 508700 w 3024845"/>
                <a:gd name="connsiteY66" fmla="*/ 653195 h 1087484"/>
                <a:gd name="connsiteX67" fmla="*/ 508700 w 3024845"/>
                <a:gd name="connsiteY67" fmla="*/ 652384 h 1087484"/>
                <a:gd name="connsiteX68" fmla="*/ 508700 w 3024845"/>
                <a:gd name="connsiteY68" fmla="*/ 646709 h 1087484"/>
                <a:gd name="connsiteX69" fmla="*/ 539100 w 3024845"/>
                <a:gd name="connsiteY69" fmla="*/ 646709 h 1087484"/>
                <a:gd name="connsiteX70" fmla="*/ 539100 w 3024845"/>
                <a:gd name="connsiteY70" fmla="*/ 670489 h 1087484"/>
                <a:gd name="connsiteX71" fmla="*/ 540113 w 3024845"/>
                <a:gd name="connsiteY71" fmla="*/ 670489 h 1087484"/>
                <a:gd name="connsiteX72" fmla="*/ 547207 w 3024845"/>
                <a:gd name="connsiteY72" fmla="*/ 670489 h 1087484"/>
                <a:gd name="connsiteX73" fmla="*/ 547207 w 3024845"/>
                <a:gd name="connsiteY73" fmla="*/ 671570 h 1087484"/>
                <a:gd name="connsiteX74" fmla="*/ 547207 w 3024845"/>
                <a:gd name="connsiteY74" fmla="*/ 679136 h 1087484"/>
                <a:gd name="connsiteX75" fmla="*/ 547967 w 3024845"/>
                <a:gd name="connsiteY75" fmla="*/ 679136 h 1087484"/>
                <a:gd name="connsiteX76" fmla="*/ 553287 w 3024845"/>
                <a:gd name="connsiteY76" fmla="*/ 679136 h 1087484"/>
                <a:gd name="connsiteX77" fmla="*/ 553287 w 3024845"/>
                <a:gd name="connsiteY77" fmla="*/ 676974 h 1087484"/>
                <a:gd name="connsiteX78" fmla="*/ 553287 w 3024845"/>
                <a:gd name="connsiteY78" fmla="*/ 661842 h 1087484"/>
                <a:gd name="connsiteX79" fmla="*/ 554300 w 3024845"/>
                <a:gd name="connsiteY79" fmla="*/ 661842 h 1087484"/>
                <a:gd name="connsiteX80" fmla="*/ 561394 w 3024845"/>
                <a:gd name="connsiteY80" fmla="*/ 661842 h 1087484"/>
                <a:gd name="connsiteX81" fmla="*/ 561394 w 3024845"/>
                <a:gd name="connsiteY81" fmla="*/ 662923 h 1087484"/>
                <a:gd name="connsiteX82" fmla="*/ 561394 w 3024845"/>
                <a:gd name="connsiteY82" fmla="*/ 670489 h 1087484"/>
                <a:gd name="connsiteX83" fmla="*/ 566714 w 3024845"/>
                <a:gd name="connsiteY83" fmla="*/ 668496 h 1087484"/>
                <a:gd name="connsiteX84" fmla="*/ 567474 w 3024845"/>
                <a:gd name="connsiteY84" fmla="*/ 667516 h 1087484"/>
                <a:gd name="connsiteX85" fmla="*/ 567474 w 3024845"/>
                <a:gd name="connsiteY85" fmla="*/ 661842 h 1087484"/>
                <a:gd name="connsiteX86" fmla="*/ 605981 w 3024845"/>
                <a:gd name="connsiteY86" fmla="*/ 661842 h 1087484"/>
                <a:gd name="connsiteX87" fmla="*/ 605981 w 3024845"/>
                <a:gd name="connsiteY87" fmla="*/ 685621 h 1087484"/>
                <a:gd name="connsiteX88" fmla="*/ 608007 w 3024845"/>
                <a:gd name="connsiteY88" fmla="*/ 685621 h 1087484"/>
                <a:gd name="connsiteX89" fmla="*/ 622194 w 3024845"/>
                <a:gd name="connsiteY89" fmla="*/ 685621 h 1087484"/>
                <a:gd name="connsiteX90" fmla="*/ 622194 w 3024845"/>
                <a:gd name="connsiteY90" fmla="*/ 686702 h 1087484"/>
                <a:gd name="connsiteX91" fmla="*/ 622194 w 3024845"/>
                <a:gd name="connsiteY91" fmla="*/ 694268 h 1087484"/>
                <a:gd name="connsiteX92" fmla="*/ 623968 w 3024845"/>
                <a:gd name="connsiteY92" fmla="*/ 694268 h 1087484"/>
                <a:gd name="connsiteX93" fmla="*/ 636381 w 3024845"/>
                <a:gd name="connsiteY93" fmla="*/ 694268 h 1087484"/>
                <a:gd name="connsiteX94" fmla="*/ 636381 w 3024845"/>
                <a:gd name="connsiteY94" fmla="*/ 670489 h 1087484"/>
                <a:gd name="connsiteX95" fmla="*/ 637394 w 3024845"/>
                <a:gd name="connsiteY95" fmla="*/ 670489 h 1087484"/>
                <a:gd name="connsiteX96" fmla="*/ 644488 w 3024845"/>
                <a:gd name="connsiteY96" fmla="*/ 670489 h 1087484"/>
                <a:gd name="connsiteX97" fmla="*/ 644488 w 3024845"/>
                <a:gd name="connsiteY97" fmla="*/ 638062 h 1087484"/>
                <a:gd name="connsiteX98" fmla="*/ 645501 w 3024845"/>
                <a:gd name="connsiteY98" fmla="*/ 638062 h 1087484"/>
                <a:gd name="connsiteX99" fmla="*/ 652595 w 3024845"/>
                <a:gd name="connsiteY99" fmla="*/ 638062 h 1087484"/>
                <a:gd name="connsiteX100" fmla="*/ 652595 w 3024845"/>
                <a:gd name="connsiteY100" fmla="*/ 636171 h 1087484"/>
                <a:gd name="connsiteX101" fmla="*/ 652595 w 3024845"/>
                <a:gd name="connsiteY101" fmla="*/ 622930 h 1087484"/>
                <a:gd name="connsiteX102" fmla="*/ 651328 w 3024845"/>
                <a:gd name="connsiteY102" fmla="*/ 621308 h 1087484"/>
                <a:gd name="connsiteX103" fmla="*/ 656648 w 3024845"/>
                <a:gd name="connsiteY103" fmla="*/ 609959 h 1087484"/>
                <a:gd name="connsiteX104" fmla="*/ 664755 w 3024845"/>
                <a:gd name="connsiteY104" fmla="*/ 638062 h 1087484"/>
                <a:gd name="connsiteX105" fmla="*/ 665515 w 3024845"/>
                <a:gd name="connsiteY105" fmla="*/ 638062 h 1087484"/>
                <a:gd name="connsiteX106" fmla="*/ 670835 w 3024845"/>
                <a:gd name="connsiteY106" fmla="*/ 638062 h 1087484"/>
                <a:gd name="connsiteX107" fmla="*/ 670835 w 3024845"/>
                <a:gd name="connsiteY107" fmla="*/ 532135 h 1087484"/>
                <a:gd name="connsiteX108" fmla="*/ 672355 w 3024845"/>
                <a:gd name="connsiteY108" fmla="*/ 532135 h 1087484"/>
                <a:gd name="connsiteX109" fmla="*/ 682995 w 3024845"/>
                <a:gd name="connsiteY109" fmla="*/ 532135 h 1087484"/>
                <a:gd name="connsiteX110" fmla="*/ 682995 w 3024845"/>
                <a:gd name="connsiteY110" fmla="*/ 484576 h 1087484"/>
                <a:gd name="connsiteX111" fmla="*/ 709342 w 3024845"/>
                <a:gd name="connsiteY111" fmla="*/ 484576 h 1087484"/>
                <a:gd name="connsiteX112" fmla="*/ 709342 w 3024845"/>
                <a:gd name="connsiteY112" fmla="*/ 462958 h 1087484"/>
                <a:gd name="connsiteX113" fmla="*/ 743796 w 3024845"/>
                <a:gd name="connsiteY113" fmla="*/ 462958 h 1087484"/>
                <a:gd name="connsiteX114" fmla="*/ 743796 w 3024845"/>
                <a:gd name="connsiteY114" fmla="*/ 465390 h 1087484"/>
                <a:gd name="connsiteX115" fmla="*/ 743796 w 3024845"/>
                <a:gd name="connsiteY115" fmla="*/ 482414 h 1087484"/>
                <a:gd name="connsiteX116" fmla="*/ 746076 w 3024845"/>
                <a:gd name="connsiteY116" fmla="*/ 482414 h 1087484"/>
                <a:gd name="connsiteX117" fmla="*/ 762036 w 3024845"/>
                <a:gd name="connsiteY117" fmla="*/ 482414 h 1087484"/>
                <a:gd name="connsiteX118" fmla="*/ 762036 w 3024845"/>
                <a:gd name="connsiteY118" fmla="*/ 529973 h 1087484"/>
                <a:gd name="connsiteX119" fmla="*/ 763049 w 3024845"/>
                <a:gd name="connsiteY119" fmla="*/ 529973 h 1087484"/>
                <a:gd name="connsiteX120" fmla="*/ 770143 w 3024845"/>
                <a:gd name="connsiteY120" fmla="*/ 529973 h 1087484"/>
                <a:gd name="connsiteX121" fmla="*/ 784330 w 3024845"/>
                <a:gd name="connsiteY121" fmla="*/ 534297 h 1087484"/>
                <a:gd name="connsiteX122" fmla="*/ 784330 w 3024845"/>
                <a:gd name="connsiteY122" fmla="*/ 573209 h 1087484"/>
                <a:gd name="connsiteX123" fmla="*/ 785343 w 3024845"/>
                <a:gd name="connsiteY123" fmla="*/ 573209 h 1087484"/>
                <a:gd name="connsiteX124" fmla="*/ 792436 w 3024845"/>
                <a:gd name="connsiteY124" fmla="*/ 573209 h 1087484"/>
                <a:gd name="connsiteX125" fmla="*/ 792436 w 3024845"/>
                <a:gd name="connsiteY125" fmla="*/ 574830 h 1087484"/>
                <a:gd name="connsiteX126" fmla="*/ 792436 w 3024845"/>
                <a:gd name="connsiteY126" fmla="*/ 586179 h 1087484"/>
                <a:gd name="connsiteX127" fmla="*/ 794463 w 3024845"/>
                <a:gd name="connsiteY127" fmla="*/ 586179 h 1087484"/>
                <a:gd name="connsiteX128" fmla="*/ 808650 w 3024845"/>
                <a:gd name="connsiteY128" fmla="*/ 586179 h 1087484"/>
                <a:gd name="connsiteX129" fmla="*/ 814730 w 3024845"/>
                <a:gd name="connsiteY129" fmla="*/ 592665 h 1087484"/>
                <a:gd name="connsiteX130" fmla="*/ 814730 w 3024845"/>
                <a:gd name="connsiteY130" fmla="*/ 614283 h 1087484"/>
                <a:gd name="connsiteX131" fmla="*/ 817010 w 3024845"/>
                <a:gd name="connsiteY131" fmla="*/ 614283 h 1087484"/>
                <a:gd name="connsiteX132" fmla="*/ 832970 w 3024845"/>
                <a:gd name="connsiteY132" fmla="*/ 614283 h 1087484"/>
                <a:gd name="connsiteX133" fmla="*/ 832970 w 3024845"/>
                <a:gd name="connsiteY133" fmla="*/ 615363 h 1087484"/>
                <a:gd name="connsiteX134" fmla="*/ 832970 w 3024845"/>
                <a:gd name="connsiteY134" fmla="*/ 622930 h 1087484"/>
                <a:gd name="connsiteX135" fmla="*/ 834237 w 3024845"/>
                <a:gd name="connsiteY135" fmla="*/ 622930 h 1087484"/>
                <a:gd name="connsiteX136" fmla="*/ 843104 w 3024845"/>
                <a:gd name="connsiteY136" fmla="*/ 622930 h 1087484"/>
                <a:gd name="connsiteX137" fmla="*/ 843104 w 3024845"/>
                <a:gd name="connsiteY137" fmla="*/ 625091 h 1087484"/>
                <a:gd name="connsiteX138" fmla="*/ 843104 w 3024845"/>
                <a:gd name="connsiteY138" fmla="*/ 640224 h 1087484"/>
                <a:gd name="connsiteX139" fmla="*/ 847157 w 3024845"/>
                <a:gd name="connsiteY139" fmla="*/ 638332 h 1087484"/>
                <a:gd name="connsiteX140" fmla="*/ 847157 w 3024845"/>
                <a:gd name="connsiteY140" fmla="*/ 625091 h 1087484"/>
                <a:gd name="connsiteX141" fmla="*/ 848170 w 3024845"/>
                <a:gd name="connsiteY141" fmla="*/ 625091 h 1087484"/>
                <a:gd name="connsiteX142" fmla="*/ 855264 w 3024845"/>
                <a:gd name="connsiteY142" fmla="*/ 625091 h 1087484"/>
                <a:gd name="connsiteX143" fmla="*/ 855264 w 3024845"/>
                <a:gd name="connsiteY143" fmla="*/ 626713 h 1087484"/>
                <a:gd name="connsiteX144" fmla="*/ 855264 w 3024845"/>
                <a:gd name="connsiteY144" fmla="*/ 638062 h 1087484"/>
                <a:gd name="connsiteX145" fmla="*/ 856024 w 3024845"/>
                <a:gd name="connsiteY145" fmla="*/ 638062 h 1087484"/>
                <a:gd name="connsiteX146" fmla="*/ 861344 w 3024845"/>
                <a:gd name="connsiteY146" fmla="*/ 638062 h 1087484"/>
                <a:gd name="connsiteX147" fmla="*/ 909984 w 3024845"/>
                <a:gd name="connsiteY147" fmla="*/ 633739 h 1087484"/>
                <a:gd name="connsiteX148" fmla="*/ 909984 w 3024845"/>
                <a:gd name="connsiteY148" fmla="*/ 635090 h 1087484"/>
                <a:gd name="connsiteX149" fmla="*/ 909984 w 3024845"/>
                <a:gd name="connsiteY149" fmla="*/ 644547 h 1087484"/>
                <a:gd name="connsiteX150" fmla="*/ 910744 w 3024845"/>
                <a:gd name="connsiteY150" fmla="*/ 644547 h 1087484"/>
                <a:gd name="connsiteX151" fmla="*/ 916065 w 3024845"/>
                <a:gd name="connsiteY151" fmla="*/ 644547 h 1087484"/>
                <a:gd name="connsiteX152" fmla="*/ 916065 w 3024845"/>
                <a:gd name="connsiteY152" fmla="*/ 646709 h 1087484"/>
                <a:gd name="connsiteX153" fmla="*/ 916065 w 3024845"/>
                <a:gd name="connsiteY153" fmla="*/ 661842 h 1087484"/>
                <a:gd name="connsiteX154" fmla="*/ 918091 w 3024845"/>
                <a:gd name="connsiteY154" fmla="*/ 660491 h 1087484"/>
                <a:gd name="connsiteX155" fmla="*/ 932278 w 3024845"/>
                <a:gd name="connsiteY155" fmla="*/ 651033 h 1087484"/>
                <a:gd name="connsiteX156" fmla="*/ 938358 w 3024845"/>
                <a:gd name="connsiteY156" fmla="*/ 609959 h 1087484"/>
                <a:gd name="connsiteX157" fmla="*/ 939118 w 3024845"/>
                <a:gd name="connsiteY157" fmla="*/ 609689 h 1087484"/>
                <a:gd name="connsiteX158" fmla="*/ 944438 w 3024845"/>
                <a:gd name="connsiteY158" fmla="*/ 607797 h 1087484"/>
                <a:gd name="connsiteX159" fmla="*/ 946465 w 3024845"/>
                <a:gd name="connsiteY159" fmla="*/ 538620 h 1087484"/>
                <a:gd name="connsiteX160" fmla="*/ 948492 w 3024845"/>
                <a:gd name="connsiteY160" fmla="*/ 607797 h 1087484"/>
                <a:gd name="connsiteX161" fmla="*/ 949252 w 3024845"/>
                <a:gd name="connsiteY161" fmla="*/ 608067 h 1087484"/>
                <a:gd name="connsiteX162" fmla="*/ 954572 w 3024845"/>
                <a:gd name="connsiteY162" fmla="*/ 609959 h 1087484"/>
                <a:gd name="connsiteX163" fmla="*/ 954572 w 3024845"/>
                <a:gd name="connsiteY163" fmla="*/ 523488 h 1087484"/>
                <a:gd name="connsiteX164" fmla="*/ 958625 w 3024845"/>
                <a:gd name="connsiteY164" fmla="*/ 491061 h 1087484"/>
                <a:gd name="connsiteX165" fmla="*/ 997132 w 3024845"/>
                <a:gd name="connsiteY165" fmla="*/ 491061 h 1087484"/>
                <a:gd name="connsiteX166" fmla="*/ 997132 w 3024845"/>
                <a:gd name="connsiteY166" fmla="*/ 523488 h 1087484"/>
                <a:gd name="connsiteX167" fmla="*/ 997892 w 3024845"/>
                <a:gd name="connsiteY167" fmla="*/ 523488 h 1087484"/>
                <a:gd name="connsiteX168" fmla="*/ 1003212 w 3024845"/>
                <a:gd name="connsiteY168" fmla="*/ 523488 h 1087484"/>
                <a:gd name="connsiteX169" fmla="*/ 1003212 w 3024845"/>
                <a:gd name="connsiteY169" fmla="*/ 441340 h 1087484"/>
                <a:gd name="connsiteX170" fmla="*/ 1004986 w 3024845"/>
                <a:gd name="connsiteY170" fmla="*/ 441340 h 1087484"/>
                <a:gd name="connsiteX171" fmla="*/ 1017399 w 3024845"/>
                <a:gd name="connsiteY171" fmla="*/ 441340 h 1087484"/>
                <a:gd name="connsiteX172" fmla="*/ 1017399 w 3024845"/>
                <a:gd name="connsiteY172" fmla="*/ 439449 h 1087484"/>
                <a:gd name="connsiteX173" fmla="*/ 1017399 w 3024845"/>
                <a:gd name="connsiteY173" fmla="*/ 426208 h 1087484"/>
                <a:gd name="connsiteX174" fmla="*/ 1039693 w 3024845"/>
                <a:gd name="connsiteY174" fmla="*/ 426208 h 1087484"/>
                <a:gd name="connsiteX175" fmla="*/ 1039693 w 3024845"/>
                <a:gd name="connsiteY175" fmla="*/ 425127 h 1087484"/>
                <a:gd name="connsiteX176" fmla="*/ 1039693 w 3024845"/>
                <a:gd name="connsiteY176" fmla="*/ 417561 h 1087484"/>
                <a:gd name="connsiteX177" fmla="*/ 1041466 w 3024845"/>
                <a:gd name="connsiteY177" fmla="*/ 417561 h 1087484"/>
                <a:gd name="connsiteX178" fmla="*/ 1053880 w 3024845"/>
                <a:gd name="connsiteY178" fmla="*/ 417561 h 1087484"/>
                <a:gd name="connsiteX179" fmla="*/ 1053880 w 3024845"/>
                <a:gd name="connsiteY179" fmla="*/ 418642 h 1087484"/>
                <a:gd name="connsiteX180" fmla="*/ 1053880 w 3024845"/>
                <a:gd name="connsiteY180" fmla="*/ 426208 h 1087484"/>
                <a:gd name="connsiteX181" fmla="*/ 1054640 w 3024845"/>
                <a:gd name="connsiteY181" fmla="*/ 426208 h 1087484"/>
                <a:gd name="connsiteX182" fmla="*/ 1059960 w 3024845"/>
                <a:gd name="connsiteY182" fmla="*/ 426208 h 1087484"/>
                <a:gd name="connsiteX183" fmla="*/ 1070093 w 3024845"/>
                <a:gd name="connsiteY183" fmla="*/ 421884 h 1087484"/>
                <a:gd name="connsiteX184" fmla="*/ 1074146 w 3024845"/>
                <a:gd name="connsiteY184" fmla="*/ 425127 h 1087484"/>
                <a:gd name="connsiteX185" fmla="*/ 1074146 w 3024845"/>
                <a:gd name="connsiteY185" fmla="*/ 417561 h 1087484"/>
                <a:gd name="connsiteX186" fmla="*/ 1076426 w 3024845"/>
                <a:gd name="connsiteY186" fmla="*/ 417561 h 1087484"/>
                <a:gd name="connsiteX187" fmla="*/ 1092387 w 3024845"/>
                <a:gd name="connsiteY187" fmla="*/ 417561 h 1087484"/>
                <a:gd name="connsiteX188" fmla="*/ 1092387 w 3024845"/>
                <a:gd name="connsiteY188" fmla="*/ 418642 h 1087484"/>
                <a:gd name="connsiteX189" fmla="*/ 1092387 w 3024845"/>
                <a:gd name="connsiteY189" fmla="*/ 426208 h 1087484"/>
                <a:gd name="connsiteX190" fmla="*/ 1122787 w 3024845"/>
                <a:gd name="connsiteY190" fmla="*/ 426208 h 1087484"/>
                <a:gd name="connsiteX191" fmla="*/ 1122787 w 3024845"/>
                <a:gd name="connsiteY191" fmla="*/ 427829 h 1087484"/>
                <a:gd name="connsiteX192" fmla="*/ 1122787 w 3024845"/>
                <a:gd name="connsiteY192" fmla="*/ 439179 h 1087484"/>
                <a:gd name="connsiteX193" fmla="*/ 1149134 w 3024845"/>
                <a:gd name="connsiteY193" fmla="*/ 439179 h 1087484"/>
                <a:gd name="connsiteX194" fmla="*/ 1149134 w 3024845"/>
                <a:gd name="connsiteY194" fmla="*/ 469443 h 1087484"/>
                <a:gd name="connsiteX195" fmla="*/ 1149894 w 3024845"/>
                <a:gd name="connsiteY195" fmla="*/ 469443 h 1087484"/>
                <a:gd name="connsiteX196" fmla="*/ 1155214 w 3024845"/>
                <a:gd name="connsiteY196" fmla="*/ 469443 h 1087484"/>
                <a:gd name="connsiteX197" fmla="*/ 1155214 w 3024845"/>
                <a:gd name="connsiteY197" fmla="*/ 470524 h 1087484"/>
                <a:gd name="connsiteX198" fmla="*/ 1155214 w 3024845"/>
                <a:gd name="connsiteY198" fmla="*/ 478091 h 1087484"/>
                <a:gd name="connsiteX199" fmla="*/ 1159268 w 3024845"/>
                <a:gd name="connsiteY199" fmla="*/ 508355 h 1087484"/>
                <a:gd name="connsiteX200" fmla="*/ 1160028 w 3024845"/>
                <a:gd name="connsiteY200" fmla="*/ 508355 h 1087484"/>
                <a:gd name="connsiteX201" fmla="*/ 1165348 w 3024845"/>
                <a:gd name="connsiteY201" fmla="*/ 508355 h 1087484"/>
                <a:gd name="connsiteX202" fmla="*/ 1165348 w 3024845"/>
                <a:gd name="connsiteY202" fmla="*/ 509166 h 1087484"/>
                <a:gd name="connsiteX203" fmla="*/ 1165348 w 3024845"/>
                <a:gd name="connsiteY203" fmla="*/ 514841 h 1087484"/>
                <a:gd name="connsiteX204" fmla="*/ 1166361 w 3024845"/>
                <a:gd name="connsiteY204" fmla="*/ 514841 h 1087484"/>
                <a:gd name="connsiteX205" fmla="*/ 1173454 w 3024845"/>
                <a:gd name="connsiteY205" fmla="*/ 514841 h 1087484"/>
                <a:gd name="connsiteX206" fmla="*/ 1173454 w 3024845"/>
                <a:gd name="connsiteY206" fmla="*/ 545106 h 1087484"/>
                <a:gd name="connsiteX207" fmla="*/ 1175481 w 3024845"/>
                <a:gd name="connsiteY207" fmla="*/ 545106 h 1087484"/>
                <a:gd name="connsiteX208" fmla="*/ 1189668 w 3024845"/>
                <a:gd name="connsiteY208" fmla="*/ 545106 h 1087484"/>
                <a:gd name="connsiteX209" fmla="*/ 1189668 w 3024845"/>
                <a:gd name="connsiteY209" fmla="*/ 568885 h 1087484"/>
                <a:gd name="connsiteX210" fmla="*/ 1191695 w 3024845"/>
                <a:gd name="connsiteY210" fmla="*/ 570506 h 1087484"/>
                <a:gd name="connsiteX211" fmla="*/ 1191695 w 3024845"/>
                <a:gd name="connsiteY211" fmla="*/ 581856 h 1087484"/>
                <a:gd name="connsiteX212" fmla="*/ 1192455 w 3024845"/>
                <a:gd name="connsiteY212" fmla="*/ 581856 h 1087484"/>
                <a:gd name="connsiteX213" fmla="*/ 1197775 w 3024845"/>
                <a:gd name="connsiteY213" fmla="*/ 581856 h 1087484"/>
                <a:gd name="connsiteX214" fmla="*/ 1197775 w 3024845"/>
                <a:gd name="connsiteY214" fmla="*/ 605635 h 1087484"/>
                <a:gd name="connsiteX215" fmla="*/ 1199041 w 3024845"/>
                <a:gd name="connsiteY215" fmla="*/ 605635 h 1087484"/>
                <a:gd name="connsiteX216" fmla="*/ 1207908 w 3024845"/>
                <a:gd name="connsiteY216" fmla="*/ 605635 h 1087484"/>
                <a:gd name="connsiteX217" fmla="*/ 1209935 w 3024845"/>
                <a:gd name="connsiteY217" fmla="*/ 609689 h 1087484"/>
                <a:gd name="connsiteX218" fmla="*/ 1209935 w 3024845"/>
                <a:gd name="connsiteY218" fmla="*/ 622930 h 1087484"/>
                <a:gd name="connsiteX219" fmla="*/ 1211455 w 3024845"/>
                <a:gd name="connsiteY219" fmla="*/ 621038 h 1087484"/>
                <a:gd name="connsiteX220" fmla="*/ 1222095 w 3024845"/>
                <a:gd name="connsiteY220" fmla="*/ 607797 h 1087484"/>
                <a:gd name="connsiteX221" fmla="*/ 1250469 w 3024845"/>
                <a:gd name="connsiteY221" fmla="*/ 607797 h 1087484"/>
                <a:gd name="connsiteX222" fmla="*/ 1250469 w 3024845"/>
                <a:gd name="connsiteY222" fmla="*/ 694268 h 1087484"/>
                <a:gd name="connsiteX223" fmla="*/ 1251229 w 3024845"/>
                <a:gd name="connsiteY223" fmla="*/ 694268 h 1087484"/>
                <a:gd name="connsiteX224" fmla="*/ 1256549 w 3024845"/>
                <a:gd name="connsiteY224" fmla="*/ 694268 h 1087484"/>
                <a:gd name="connsiteX225" fmla="*/ 1257309 w 3024845"/>
                <a:gd name="connsiteY225" fmla="*/ 692917 h 1087484"/>
                <a:gd name="connsiteX226" fmla="*/ 1262629 w 3024845"/>
                <a:gd name="connsiteY226" fmla="*/ 683459 h 1087484"/>
                <a:gd name="connsiteX227" fmla="*/ 1262629 w 3024845"/>
                <a:gd name="connsiteY227" fmla="*/ 685351 h 1087484"/>
                <a:gd name="connsiteX228" fmla="*/ 1262629 w 3024845"/>
                <a:gd name="connsiteY228" fmla="*/ 698592 h 1087484"/>
                <a:gd name="connsiteX229" fmla="*/ 1266682 w 3024845"/>
                <a:gd name="connsiteY229" fmla="*/ 653195 h 1087484"/>
                <a:gd name="connsiteX230" fmla="*/ 1267442 w 3024845"/>
                <a:gd name="connsiteY230" fmla="*/ 653195 h 1087484"/>
                <a:gd name="connsiteX231" fmla="*/ 1272762 w 3024845"/>
                <a:gd name="connsiteY231" fmla="*/ 653195 h 1087484"/>
                <a:gd name="connsiteX232" fmla="*/ 1272762 w 3024845"/>
                <a:gd name="connsiteY232" fmla="*/ 588341 h 1087484"/>
                <a:gd name="connsiteX233" fmla="*/ 1273776 w 3024845"/>
                <a:gd name="connsiteY233" fmla="*/ 588341 h 1087484"/>
                <a:gd name="connsiteX234" fmla="*/ 1280869 w 3024845"/>
                <a:gd name="connsiteY234" fmla="*/ 588341 h 1087484"/>
                <a:gd name="connsiteX235" fmla="*/ 1293029 w 3024845"/>
                <a:gd name="connsiteY235" fmla="*/ 545106 h 1087484"/>
                <a:gd name="connsiteX236" fmla="*/ 1294296 w 3024845"/>
                <a:gd name="connsiteY236" fmla="*/ 545106 h 1087484"/>
                <a:gd name="connsiteX237" fmla="*/ 1303163 w 3024845"/>
                <a:gd name="connsiteY237" fmla="*/ 545106 h 1087484"/>
                <a:gd name="connsiteX238" fmla="*/ 1313296 w 3024845"/>
                <a:gd name="connsiteY238" fmla="*/ 588341 h 1087484"/>
                <a:gd name="connsiteX239" fmla="*/ 1314309 w 3024845"/>
                <a:gd name="connsiteY239" fmla="*/ 588341 h 1087484"/>
                <a:gd name="connsiteX240" fmla="*/ 1321403 w 3024845"/>
                <a:gd name="connsiteY240" fmla="*/ 588341 h 1087484"/>
                <a:gd name="connsiteX241" fmla="*/ 1321403 w 3024845"/>
                <a:gd name="connsiteY241" fmla="*/ 627253 h 1087484"/>
                <a:gd name="connsiteX242" fmla="*/ 1323176 w 3024845"/>
                <a:gd name="connsiteY242" fmla="*/ 627253 h 1087484"/>
                <a:gd name="connsiteX243" fmla="*/ 1335590 w 3024845"/>
                <a:gd name="connsiteY243" fmla="*/ 627253 h 1087484"/>
                <a:gd name="connsiteX244" fmla="*/ 1335590 w 3024845"/>
                <a:gd name="connsiteY244" fmla="*/ 629415 h 1087484"/>
                <a:gd name="connsiteX245" fmla="*/ 1335590 w 3024845"/>
                <a:gd name="connsiteY245" fmla="*/ 644547 h 1087484"/>
                <a:gd name="connsiteX246" fmla="*/ 1339643 w 3024845"/>
                <a:gd name="connsiteY246" fmla="*/ 642386 h 1087484"/>
                <a:gd name="connsiteX247" fmla="*/ 1339643 w 3024845"/>
                <a:gd name="connsiteY247" fmla="*/ 627253 h 1087484"/>
                <a:gd name="connsiteX248" fmla="*/ 1341163 w 3024845"/>
                <a:gd name="connsiteY248" fmla="*/ 627253 h 1087484"/>
                <a:gd name="connsiteX249" fmla="*/ 1351803 w 3024845"/>
                <a:gd name="connsiteY249" fmla="*/ 627253 h 1087484"/>
                <a:gd name="connsiteX250" fmla="*/ 1351803 w 3024845"/>
                <a:gd name="connsiteY250" fmla="*/ 628874 h 1087484"/>
                <a:gd name="connsiteX251" fmla="*/ 1351803 w 3024845"/>
                <a:gd name="connsiteY251" fmla="*/ 640224 h 1087484"/>
                <a:gd name="connsiteX252" fmla="*/ 1382204 w 3024845"/>
                <a:gd name="connsiteY252" fmla="*/ 640224 h 1087484"/>
                <a:gd name="connsiteX253" fmla="*/ 1382204 w 3024845"/>
                <a:gd name="connsiteY253" fmla="*/ 603474 h 1087484"/>
                <a:gd name="connsiteX254" fmla="*/ 1383470 w 3024845"/>
                <a:gd name="connsiteY254" fmla="*/ 603474 h 1087484"/>
                <a:gd name="connsiteX255" fmla="*/ 1392337 w 3024845"/>
                <a:gd name="connsiteY255" fmla="*/ 603474 h 1087484"/>
                <a:gd name="connsiteX256" fmla="*/ 1392337 w 3024845"/>
                <a:gd name="connsiteY256" fmla="*/ 625091 h 1087484"/>
                <a:gd name="connsiteX257" fmla="*/ 1394364 w 3024845"/>
                <a:gd name="connsiteY257" fmla="*/ 592665 h 1087484"/>
                <a:gd name="connsiteX258" fmla="*/ 1416657 w 3024845"/>
                <a:gd name="connsiteY258" fmla="*/ 592665 h 1087484"/>
                <a:gd name="connsiteX259" fmla="*/ 1416657 w 3024845"/>
                <a:gd name="connsiteY259" fmla="*/ 591043 h 1087484"/>
                <a:gd name="connsiteX260" fmla="*/ 1416657 w 3024845"/>
                <a:gd name="connsiteY260" fmla="*/ 579694 h 1087484"/>
                <a:gd name="connsiteX261" fmla="*/ 1417417 w 3024845"/>
                <a:gd name="connsiteY261" fmla="*/ 579694 h 1087484"/>
                <a:gd name="connsiteX262" fmla="*/ 1422737 w 3024845"/>
                <a:gd name="connsiteY262" fmla="*/ 579694 h 1087484"/>
                <a:gd name="connsiteX263" fmla="*/ 1422737 w 3024845"/>
                <a:gd name="connsiteY263" fmla="*/ 577803 h 1087484"/>
                <a:gd name="connsiteX264" fmla="*/ 1422737 w 3024845"/>
                <a:gd name="connsiteY264" fmla="*/ 564562 h 1087484"/>
                <a:gd name="connsiteX265" fmla="*/ 1426791 w 3024845"/>
                <a:gd name="connsiteY265" fmla="*/ 571047 h 1087484"/>
                <a:gd name="connsiteX266" fmla="*/ 1429071 w 3024845"/>
                <a:gd name="connsiteY266" fmla="*/ 571047 h 1087484"/>
                <a:gd name="connsiteX267" fmla="*/ 1445031 w 3024845"/>
                <a:gd name="connsiteY267" fmla="*/ 571047 h 1087484"/>
                <a:gd name="connsiteX268" fmla="*/ 1445031 w 3024845"/>
                <a:gd name="connsiteY268" fmla="*/ 570236 h 1087484"/>
                <a:gd name="connsiteX269" fmla="*/ 1445031 w 3024845"/>
                <a:gd name="connsiteY269" fmla="*/ 564562 h 1087484"/>
                <a:gd name="connsiteX270" fmla="*/ 1445791 w 3024845"/>
                <a:gd name="connsiteY270" fmla="*/ 564562 h 1087484"/>
                <a:gd name="connsiteX271" fmla="*/ 1451111 w 3024845"/>
                <a:gd name="connsiteY271" fmla="*/ 564562 h 1087484"/>
                <a:gd name="connsiteX272" fmla="*/ 1451111 w 3024845"/>
                <a:gd name="connsiteY272" fmla="*/ 565913 h 1087484"/>
                <a:gd name="connsiteX273" fmla="*/ 1451111 w 3024845"/>
                <a:gd name="connsiteY273" fmla="*/ 575371 h 1087484"/>
                <a:gd name="connsiteX274" fmla="*/ 1489618 w 3024845"/>
                <a:gd name="connsiteY274" fmla="*/ 575371 h 1087484"/>
                <a:gd name="connsiteX275" fmla="*/ 1489618 w 3024845"/>
                <a:gd name="connsiteY275" fmla="*/ 713724 h 1087484"/>
                <a:gd name="connsiteX276" fmla="*/ 1491138 w 3024845"/>
                <a:gd name="connsiteY276" fmla="*/ 713724 h 1087484"/>
                <a:gd name="connsiteX277" fmla="*/ 1501778 w 3024845"/>
                <a:gd name="connsiteY277" fmla="*/ 713724 h 1087484"/>
                <a:gd name="connsiteX278" fmla="*/ 1501778 w 3024845"/>
                <a:gd name="connsiteY278" fmla="*/ 700754 h 1087484"/>
                <a:gd name="connsiteX279" fmla="*/ 1505832 w 3024845"/>
                <a:gd name="connsiteY279" fmla="*/ 700754 h 1087484"/>
                <a:gd name="connsiteX280" fmla="*/ 1505832 w 3024845"/>
                <a:gd name="connsiteY280" fmla="*/ 713724 h 1087484"/>
                <a:gd name="connsiteX281" fmla="*/ 1536232 w 3024845"/>
                <a:gd name="connsiteY281" fmla="*/ 713724 h 1087484"/>
                <a:gd name="connsiteX282" fmla="*/ 1536232 w 3024845"/>
                <a:gd name="connsiteY282" fmla="*/ 683459 h 1087484"/>
                <a:gd name="connsiteX283" fmla="*/ 1548392 w 3024845"/>
                <a:gd name="connsiteY283" fmla="*/ 683459 h 1087484"/>
                <a:gd name="connsiteX284" fmla="*/ 1560552 w 3024845"/>
                <a:gd name="connsiteY284" fmla="*/ 681298 h 1087484"/>
                <a:gd name="connsiteX285" fmla="*/ 1564606 w 3024845"/>
                <a:gd name="connsiteY285" fmla="*/ 683459 h 1087484"/>
                <a:gd name="connsiteX286" fmla="*/ 1574739 w 3024845"/>
                <a:gd name="connsiteY286" fmla="*/ 683459 h 1087484"/>
                <a:gd name="connsiteX287" fmla="*/ 1574739 w 3024845"/>
                <a:gd name="connsiteY287" fmla="*/ 713724 h 1087484"/>
                <a:gd name="connsiteX288" fmla="*/ 1582846 w 3024845"/>
                <a:gd name="connsiteY288" fmla="*/ 713724 h 1087484"/>
                <a:gd name="connsiteX289" fmla="*/ 1582846 w 3024845"/>
                <a:gd name="connsiteY289" fmla="*/ 731019 h 1087484"/>
                <a:gd name="connsiteX290" fmla="*/ 1592182 w 3024845"/>
                <a:gd name="connsiteY290" fmla="*/ 731924 h 1087484"/>
                <a:gd name="connsiteX291" fmla="*/ 1605140 w 3024845"/>
                <a:gd name="connsiteY291" fmla="*/ 731924 h 1087484"/>
                <a:gd name="connsiteX292" fmla="*/ 1605140 w 3024845"/>
                <a:gd name="connsiteY292" fmla="*/ 715886 h 1087484"/>
                <a:gd name="connsiteX293" fmla="*/ 1673096 w 3024845"/>
                <a:gd name="connsiteY293" fmla="*/ 715886 h 1087484"/>
                <a:gd name="connsiteX294" fmla="*/ 1673096 w 3024845"/>
                <a:gd name="connsiteY294" fmla="*/ 630633 h 1087484"/>
                <a:gd name="connsiteX295" fmla="*/ 1745104 w 3024845"/>
                <a:gd name="connsiteY295" fmla="*/ 630633 h 1087484"/>
                <a:gd name="connsiteX296" fmla="*/ 1745104 w 3024845"/>
                <a:gd name="connsiteY296" fmla="*/ 709401 h 1087484"/>
                <a:gd name="connsiteX297" fmla="*/ 1747008 w 3024845"/>
                <a:gd name="connsiteY297" fmla="*/ 709401 h 1087484"/>
                <a:gd name="connsiteX298" fmla="*/ 1748250 w 3024845"/>
                <a:gd name="connsiteY298" fmla="*/ 731924 h 1087484"/>
                <a:gd name="connsiteX299" fmla="*/ 1757926 w 3024845"/>
                <a:gd name="connsiteY299" fmla="*/ 731924 h 1087484"/>
                <a:gd name="connsiteX300" fmla="*/ 1759168 w 3024845"/>
                <a:gd name="connsiteY300" fmla="*/ 709401 h 1087484"/>
                <a:gd name="connsiteX301" fmla="*/ 1765248 w 3024845"/>
                <a:gd name="connsiteY301" fmla="*/ 709401 h 1087484"/>
                <a:gd name="connsiteX302" fmla="*/ 1766490 w 3024845"/>
                <a:gd name="connsiteY302" fmla="*/ 731924 h 1087484"/>
                <a:gd name="connsiteX303" fmla="*/ 1817112 w 3024845"/>
                <a:gd name="connsiteY303" fmla="*/ 731924 h 1087484"/>
                <a:gd name="connsiteX304" fmla="*/ 1817112 w 3024845"/>
                <a:gd name="connsiteY304" fmla="*/ 568896 h 1087484"/>
                <a:gd name="connsiteX305" fmla="*/ 2014439 w 3024845"/>
                <a:gd name="connsiteY305" fmla="*/ 568896 h 1087484"/>
                <a:gd name="connsiteX306" fmla="*/ 2014439 w 3024845"/>
                <a:gd name="connsiteY306" fmla="*/ 731924 h 1087484"/>
                <a:gd name="connsiteX307" fmla="*/ 2033136 w 3024845"/>
                <a:gd name="connsiteY307" fmla="*/ 731924 h 1087484"/>
                <a:gd name="connsiteX308" fmla="*/ 2033136 w 3024845"/>
                <a:gd name="connsiteY308" fmla="*/ 649231 h 1087484"/>
                <a:gd name="connsiteX309" fmla="*/ 2128256 w 3024845"/>
                <a:gd name="connsiteY309" fmla="*/ 649231 h 1087484"/>
                <a:gd name="connsiteX310" fmla="*/ 2146266 w 3024845"/>
                <a:gd name="connsiteY310" fmla="*/ 160309 h 1087484"/>
                <a:gd name="connsiteX311" fmla="*/ 2150320 w 3024845"/>
                <a:gd name="connsiteY311" fmla="*/ 88970 h 1087484"/>
                <a:gd name="connsiteX312" fmla="*/ 2152346 w 3024845"/>
                <a:gd name="connsiteY312" fmla="*/ 28441 h 1087484"/>
                <a:gd name="connsiteX313" fmla="*/ 2180720 w 3024845"/>
                <a:gd name="connsiteY313" fmla="*/ 584018 h 1087484"/>
                <a:gd name="connsiteX314" fmla="*/ 2245574 w 3024845"/>
                <a:gd name="connsiteY314" fmla="*/ 584018 h 1087484"/>
                <a:gd name="connsiteX315" fmla="*/ 2245574 w 3024845"/>
                <a:gd name="connsiteY315" fmla="*/ 659680 h 1087484"/>
                <a:gd name="connsiteX316" fmla="*/ 2253681 w 3024845"/>
                <a:gd name="connsiteY316" fmla="*/ 659680 h 1087484"/>
                <a:gd name="connsiteX317" fmla="*/ 2255708 w 3024845"/>
                <a:gd name="connsiteY317" fmla="*/ 653195 h 1087484"/>
                <a:gd name="connsiteX318" fmla="*/ 2261788 w 3024845"/>
                <a:gd name="connsiteY318" fmla="*/ 653195 h 1087484"/>
                <a:gd name="connsiteX319" fmla="*/ 2263815 w 3024845"/>
                <a:gd name="connsiteY319" fmla="*/ 661842 h 1087484"/>
                <a:gd name="connsiteX320" fmla="*/ 2275975 w 3024845"/>
                <a:gd name="connsiteY320" fmla="*/ 661842 h 1087484"/>
                <a:gd name="connsiteX321" fmla="*/ 2275975 w 3024845"/>
                <a:gd name="connsiteY321" fmla="*/ 655356 h 1087484"/>
                <a:gd name="connsiteX322" fmla="*/ 2298268 w 3024845"/>
                <a:gd name="connsiteY322" fmla="*/ 655356 h 1087484"/>
                <a:gd name="connsiteX323" fmla="*/ 2298268 w 3024845"/>
                <a:gd name="connsiteY323" fmla="*/ 661842 h 1087484"/>
                <a:gd name="connsiteX324" fmla="*/ 2318535 w 3024845"/>
                <a:gd name="connsiteY324" fmla="*/ 661842 h 1087484"/>
                <a:gd name="connsiteX325" fmla="*/ 2318535 w 3024845"/>
                <a:gd name="connsiteY325" fmla="*/ 707239 h 1087484"/>
                <a:gd name="connsiteX326" fmla="*/ 2332722 w 3024845"/>
                <a:gd name="connsiteY326" fmla="*/ 707239 h 1087484"/>
                <a:gd name="connsiteX327" fmla="*/ 2332722 w 3024845"/>
                <a:gd name="connsiteY327" fmla="*/ 694268 h 1087484"/>
                <a:gd name="connsiteX328" fmla="*/ 2348936 w 3024845"/>
                <a:gd name="connsiteY328" fmla="*/ 694268 h 1087484"/>
                <a:gd name="connsiteX329" fmla="*/ 2348936 w 3024845"/>
                <a:gd name="connsiteY329" fmla="*/ 514841 h 1087484"/>
                <a:gd name="connsiteX330" fmla="*/ 2355016 w 3024845"/>
                <a:gd name="connsiteY330" fmla="*/ 508355 h 1087484"/>
                <a:gd name="connsiteX331" fmla="*/ 2427977 w 3024845"/>
                <a:gd name="connsiteY331" fmla="*/ 508355 h 1087484"/>
                <a:gd name="connsiteX332" fmla="*/ 2427977 w 3024845"/>
                <a:gd name="connsiteY332" fmla="*/ 517003 h 1087484"/>
                <a:gd name="connsiteX333" fmla="*/ 2438110 w 3024845"/>
                <a:gd name="connsiteY333" fmla="*/ 517003 h 1087484"/>
                <a:gd name="connsiteX334" fmla="*/ 2438110 w 3024845"/>
                <a:gd name="connsiteY334" fmla="*/ 631577 h 1087484"/>
                <a:gd name="connsiteX335" fmla="*/ 2460404 w 3024845"/>
                <a:gd name="connsiteY335" fmla="*/ 631577 h 1087484"/>
                <a:gd name="connsiteX336" fmla="*/ 2460404 w 3024845"/>
                <a:gd name="connsiteY336" fmla="*/ 564562 h 1087484"/>
                <a:gd name="connsiteX337" fmla="*/ 2486751 w 3024845"/>
                <a:gd name="connsiteY337" fmla="*/ 564562 h 1087484"/>
                <a:gd name="connsiteX338" fmla="*/ 2490804 w 3024845"/>
                <a:gd name="connsiteY338" fmla="*/ 560238 h 1087484"/>
                <a:gd name="connsiteX339" fmla="*/ 2498911 w 3024845"/>
                <a:gd name="connsiteY339" fmla="*/ 560238 h 1087484"/>
                <a:gd name="connsiteX340" fmla="*/ 2502964 w 3024845"/>
                <a:gd name="connsiteY340" fmla="*/ 564562 h 1087484"/>
                <a:gd name="connsiteX341" fmla="*/ 2525258 w 3024845"/>
                <a:gd name="connsiteY341" fmla="*/ 564562 h 1087484"/>
                <a:gd name="connsiteX342" fmla="*/ 2525258 w 3024845"/>
                <a:gd name="connsiteY342" fmla="*/ 447826 h 1087484"/>
                <a:gd name="connsiteX343" fmla="*/ 2582005 w 3024845"/>
                <a:gd name="connsiteY343" fmla="*/ 437017 h 1087484"/>
                <a:gd name="connsiteX344" fmla="*/ 2582005 w 3024845"/>
                <a:gd name="connsiteY344" fmla="*/ 438098 h 1087484"/>
                <a:gd name="connsiteX345" fmla="*/ 2582005 w 3024845"/>
                <a:gd name="connsiteY345" fmla="*/ 445664 h 1087484"/>
                <a:gd name="connsiteX346" fmla="*/ 2608352 w 3024845"/>
                <a:gd name="connsiteY346" fmla="*/ 445664 h 1087484"/>
                <a:gd name="connsiteX347" fmla="*/ 2608352 w 3024845"/>
                <a:gd name="connsiteY347" fmla="*/ 700754 h 1087484"/>
                <a:gd name="connsiteX348" fmla="*/ 2630646 w 3024845"/>
                <a:gd name="connsiteY348" fmla="*/ 700754 h 1087484"/>
                <a:gd name="connsiteX349" fmla="*/ 2630646 w 3024845"/>
                <a:gd name="connsiteY349" fmla="*/ 696430 h 1087484"/>
                <a:gd name="connsiteX350" fmla="*/ 2642806 w 3024845"/>
                <a:gd name="connsiteY350" fmla="*/ 696430 h 1087484"/>
                <a:gd name="connsiteX351" fmla="*/ 2642806 w 3024845"/>
                <a:gd name="connsiteY351" fmla="*/ 700754 h 1087484"/>
                <a:gd name="connsiteX352" fmla="*/ 2667126 w 3024845"/>
                <a:gd name="connsiteY352" fmla="*/ 700754 h 1087484"/>
                <a:gd name="connsiteX353" fmla="*/ 2667126 w 3024845"/>
                <a:gd name="connsiteY353" fmla="*/ 687783 h 1087484"/>
                <a:gd name="connsiteX354" fmla="*/ 2695500 w 3024845"/>
                <a:gd name="connsiteY354" fmla="*/ 687783 h 1087484"/>
                <a:gd name="connsiteX355" fmla="*/ 2707660 w 3024845"/>
                <a:gd name="connsiteY355" fmla="*/ 683459 h 1087484"/>
                <a:gd name="connsiteX356" fmla="*/ 2727927 w 3024845"/>
                <a:gd name="connsiteY356" fmla="*/ 687783 h 1087484"/>
                <a:gd name="connsiteX357" fmla="*/ 2727927 w 3024845"/>
                <a:gd name="connsiteY357" fmla="*/ 670489 h 1087484"/>
                <a:gd name="connsiteX358" fmla="*/ 2736034 w 3024845"/>
                <a:gd name="connsiteY358" fmla="*/ 670489 h 1087484"/>
                <a:gd name="connsiteX359" fmla="*/ 2736034 w 3024845"/>
                <a:gd name="connsiteY359" fmla="*/ 657518 h 1087484"/>
                <a:gd name="connsiteX360" fmla="*/ 2792781 w 3024845"/>
                <a:gd name="connsiteY360" fmla="*/ 657518 h 1087484"/>
                <a:gd name="connsiteX361" fmla="*/ 2792781 w 3024845"/>
                <a:gd name="connsiteY361" fmla="*/ 627253 h 1087484"/>
                <a:gd name="connsiteX362" fmla="*/ 2811021 w 3024845"/>
                <a:gd name="connsiteY362" fmla="*/ 627253 h 1087484"/>
                <a:gd name="connsiteX363" fmla="*/ 2811021 w 3024845"/>
                <a:gd name="connsiteY363" fmla="*/ 620768 h 1087484"/>
                <a:gd name="connsiteX364" fmla="*/ 2823181 w 3024845"/>
                <a:gd name="connsiteY364" fmla="*/ 620768 h 1087484"/>
                <a:gd name="connsiteX365" fmla="*/ 2823181 w 3024845"/>
                <a:gd name="connsiteY365" fmla="*/ 627253 h 1087484"/>
                <a:gd name="connsiteX366" fmla="*/ 2839395 w 3024845"/>
                <a:gd name="connsiteY366" fmla="*/ 627253 h 1087484"/>
                <a:gd name="connsiteX367" fmla="*/ 2839395 w 3024845"/>
                <a:gd name="connsiteY367" fmla="*/ 676974 h 1087484"/>
                <a:gd name="connsiteX368" fmla="*/ 2871822 w 3024845"/>
                <a:gd name="connsiteY368" fmla="*/ 676974 h 1087484"/>
                <a:gd name="connsiteX369" fmla="*/ 2871822 w 3024845"/>
                <a:gd name="connsiteY369" fmla="*/ 651033 h 1087484"/>
                <a:gd name="connsiteX370" fmla="*/ 2910329 w 3024845"/>
                <a:gd name="connsiteY370" fmla="*/ 651033 h 1087484"/>
                <a:gd name="connsiteX371" fmla="*/ 2910329 w 3024845"/>
                <a:gd name="connsiteY371" fmla="*/ 620768 h 1087484"/>
                <a:gd name="connsiteX372" fmla="*/ 2958970 w 3024845"/>
                <a:gd name="connsiteY372" fmla="*/ 620768 h 1087484"/>
                <a:gd name="connsiteX373" fmla="*/ 2958970 w 3024845"/>
                <a:gd name="connsiteY373" fmla="*/ 731924 h 1087484"/>
                <a:gd name="connsiteX374" fmla="*/ 2958970 w 3024845"/>
                <a:gd name="connsiteY374" fmla="*/ 745703 h 1087484"/>
                <a:gd name="connsiteX375" fmla="*/ 3024845 w 3024845"/>
                <a:gd name="connsiteY375" fmla="*/ 745703 h 1087484"/>
                <a:gd name="connsiteX376" fmla="*/ 3024845 w 3024845"/>
                <a:gd name="connsiteY376" fmla="*/ 1087484 h 1087484"/>
                <a:gd name="connsiteX377" fmla="*/ 2054 w 3024845"/>
                <a:gd name="connsiteY377" fmla="*/ 1085151 h 1087484"/>
                <a:gd name="connsiteX378" fmla="*/ 0 w 3024845"/>
                <a:gd name="connsiteY378" fmla="*/ 651033 h 1087484"/>
                <a:gd name="connsiteX379" fmla="*/ 20267 w 3024845"/>
                <a:gd name="connsiteY379" fmla="*/ 651033 h 1087484"/>
                <a:gd name="connsiteX380" fmla="*/ 20774 w 3024845"/>
                <a:gd name="connsiteY380" fmla="*/ 649952 h 1087484"/>
                <a:gd name="connsiteX381" fmla="*/ 24320 w 3024845"/>
                <a:gd name="connsiteY381" fmla="*/ 642386 h 1087484"/>
                <a:gd name="connsiteX382" fmla="*/ 26094 w 3024845"/>
                <a:gd name="connsiteY382" fmla="*/ 642656 h 1087484"/>
                <a:gd name="connsiteX383" fmla="*/ 38507 w 3024845"/>
                <a:gd name="connsiteY383" fmla="*/ 644547 h 1087484"/>
                <a:gd name="connsiteX384" fmla="*/ 39014 w 3024845"/>
                <a:gd name="connsiteY384" fmla="*/ 645899 h 1087484"/>
                <a:gd name="connsiteX385" fmla="*/ 42560 w 3024845"/>
                <a:gd name="connsiteY385" fmla="*/ 655356 h 1087484"/>
                <a:gd name="connsiteX386" fmla="*/ 68907 w 3024845"/>
                <a:gd name="connsiteY386" fmla="*/ 657518 h 1087484"/>
                <a:gd name="connsiteX387" fmla="*/ 68907 w 3024845"/>
                <a:gd name="connsiteY387" fmla="*/ 534297 h 1087484"/>
                <a:gd name="connsiteX388" fmla="*/ 70934 w 3024845"/>
                <a:gd name="connsiteY388" fmla="*/ 534297 h 1087484"/>
                <a:gd name="connsiteX389" fmla="*/ 85121 w 3024845"/>
                <a:gd name="connsiteY389" fmla="*/ 534297 h 1087484"/>
                <a:gd name="connsiteX390" fmla="*/ 85121 w 3024845"/>
                <a:gd name="connsiteY390" fmla="*/ 398105 h 1087484"/>
                <a:gd name="connsiteX391" fmla="*/ 86894 w 3024845"/>
                <a:gd name="connsiteY391" fmla="*/ 398105 h 1087484"/>
                <a:gd name="connsiteX392" fmla="*/ 99308 w 3024845"/>
                <a:gd name="connsiteY392" fmla="*/ 398105 h 1087484"/>
                <a:gd name="connsiteX393" fmla="*/ 99308 w 3024845"/>
                <a:gd name="connsiteY393" fmla="*/ 283531 h 1087484"/>
                <a:gd name="connsiteX394" fmla="*/ 103361 w 3024845"/>
                <a:gd name="connsiteY394" fmla="*/ 255427 h 1087484"/>
                <a:gd name="connsiteX395" fmla="*/ 105388 w 3024845"/>
                <a:gd name="connsiteY395" fmla="*/ 255427 h 1087484"/>
                <a:gd name="connsiteX396" fmla="*/ 119575 w 3024845"/>
                <a:gd name="connsiteY396" fmla="*/ 255427 h 1087484"/>
                <a:gd name="connsiteX0" fmla="*/ 119575 w 3024845"/>
                <a:gd name="connsiteY0" fmla="*/ 200101 h 1032158"/>
                <a:gd name="connsiteX1" fmla="*/ 200642 w 3024845"/>
                <a:gd name="connsiteY1" fmla="*/ 197940 h 1032158"/>
                <a:gd name="connsiteX2" fmla="*/ 202669 w 3024845"/>
                <a:gd name="connsiteY2" fmla="*/ 197940 h 1032158"/>
                <a:gd name="connsiteX3" fmla="*/ 216856 w 3024845"/>
                <a:gd name="connsiteY3" fmla="*/ 197940 h 1032158"/>
                <a:gd name="connsiteX4" fmla="*/ 216856 w 3024845"/>
                <a:gd name="connsiteY4" fmla="*/ 221719 h 1032158"/>
                <a:gd name="connsiteX5" fmla="*/ 217363 w 3024845"/>
                <a:gd name="connsiteY5" fmla="*/ 222530 h 1032158"/>
                <a:gd name="connsiteX6" fmla="*/ 220909 w 3024845"/>
                <a:gd name="connsiteY6" fmla="*/ 228205 h 1032158"/>
                <a:gd name="connsiteX7" fmla="*/ 220909 w 3024845"/>
                <a:gd name="connsiteY7" fmla="*/ 342779 h 1032158"/>
                <a:gd name="connsiteX8" fmla="*/ 223189 w 3024845"/>
                <a:gd name="connsiteY8" fmla="*/ 342779 h 1032158"/>
                <a:gd name="connsiteX9" fmla="*/ 239150 w 3024845"/>
                <a:gd name="connsiteY9" fmla="*/ 342779 h 1032158"/>
                <a:gd name="connsiteX10" fmla="*/ 239150 w 3024845"/>
                <a:gd name="connsiteY10" fmla="*/ 483294 h 1032158"/>
                <a:gd name="connsiteX11" fmla="*/ 240670 w 3024845"/>
                <a:gd name="connsiteY11" fmla="*/ 483024 h 1032158"/>
                <a:gd name="connsiteX12" fmla="*/ 251310 w 3024845"/>
                <a:gd name="connsiteY12" fmla="*/ 481133 h 1032158"/>
                <a:gd name="connsiteX13" fmla="*/ 249283 w 3024845"/>
                <a:gd name="connsiteY13" fmla="*/ 569765 h 1032158"/>
                <a:gd name="connsiteX14" fmla="*/ 250803 w 3024845"/>
                <a:gd name="connsiteY14" fmla="*/ 570036 h 1032158"/>
                <a:gd name="connsiteX15" fmla="*/ 261443 w 3024845"/>
                <a:gd name="connsiteY15" fmla="*/ 571927 h 1032158"/>
                <a:gd name="connsiteX16" fmla="*/ 261696 w 3024845"/>
                <a:gd name="connsiteY16" fmla="*/ 572738 h 1032158"/>
                <a:gd name="connsiteX17" fmla="*/ 263470 w 3024845"/>
                <a:gd name="connsiteY17" fmla="*/ 578413 h 1032158"/>
                <a:gd name="connsiteX18" fmla="*/ 264230 w 3024845"/>
                <a:gd name="connsiteY18" fmla="*/ 575981 h 1032158"/>
                <a:gd name="connsiteX19" fmla="*/ 269550 w 3024845"/>
                <a:gd name="connsiteY19" fmla="*/ 558957 h 1032158"/>
                <a:gd name="connsiteX20" fmla="*/ 271323 w 3024845"/>
                <a:gd name="connsiteY20" fmla="*/ 558957 h 1032158"/>
                <a:gd name="connsiteX21" fmla="*/ 283737 w 3024845"/>
                <a:gd name="connsiteY21" fmla="*/ 558957 h 1032158"/>
                <a:gd name="connsiteX22" fmla="*/ 283737 w 3024845"/>
                <a:gd name="connsiteY22" fmla="*/ 591383 h 1032158"/>
                <a:gd name="connsiteX23" fmla="*/ 284750 w 3024845"/>
                <a:gd name="connsiteY23" fmla="*/ 591924 h 1032158"/>
                <a:gd name="connsiteX24" fmla="*/ 291844 w 3024845"/>
                <a:gd name="connsiteY24" fmla="*/ 595707 h 1032158"/>
                <a:gd name="connsiteX25" fmla="*/ 291844 w 3024845"/>
                <a:gd name="connsiteY25" fmla="*/ 597058 h 1032158"/>
                <a:gd name="connsiteX26" fmla="*/ 291844 w 3024845"/>
                <a:gd name="connsiteY26" fmla="*/ 606516 h 1032158"/>
                <a:gd name="connsiteX27" fmla="*/ 336431 w 3024845"/>
                <a:gd name="connsiteY27" fmla="*/ 606516 h 1032158"/>
                <a:gd name="connsiteX28" fmla="*/ 336431 w 3024845"/>
                <a:gd name="connsiteY28" fmla="*/ 607597 h 1032158"/>
                <a:gd name="connsiteX29" fmla="*/ 336431 w 3024845"/>
                <a:gd name="connsiteY29" fmla="*/ 615163 h 1032158"/>
                <a:gd name="connsiteX30" fmla="*/ 338457 w 3024845"/>
                <a:gd name="connsiteY30" fmla="*/ 615163 h 1032158"/>
                <a:gd name="connsiteX31" fmla="*/ 352644 w 3024845"/>
                <a:gd name="connsiteY31" fmla="*/ 615163 h 1032158"/>
                <a:gd name="connsiteX32" fmla="*/ 352644 w 3024845"/>
                <a:gd name="connsiteY32" fmla="*/ 584898 h 1032158"/>
                <a:gd name="connsiteX33" fmla="*/ 397231 w 3024845"/>
                <a:gd name="connsiteY33" fmla="*/ 584898 h 1032158"/>
                <a:gd name="connsiteX34" fmla="*/ 397231 w 3024845"/>
                <a:gd name="connsiteY34" fmla="*/ 583547 h 1032158"/>
                <a:gd name="connsiteX35" fmla="*/ 397231 w 3024845"/>
                <a:gd name="connsiteY35" fmla="*/ 574089 h 1032158"/>
                <a:gd name="connsiteX36" fmla="*/ 398245 w 3024845"/>
                <a:gd name="connsiteY36" fmla="*/ 574089 h 1032158"/>
                <a:gd name="connsiteX37" fmla="*/ 405338 w 3024845"/>
                <a:gd name="connsiteY37" fmla="*/ 574089 h 1032158"/>
                <a:gd name="connsiteX38" fmla="*/ 405338 w 3024845"/>
                <a:gd name="connsiteY38" fmla="*/ 572198 h 1032158"/>
                <a:gd name="connsiteX39" fmla="*/ 405338 w 3024845"/>
                <a:gd name="connsiteY39" fmla="*/ 558957 h 1032158"/>
                <a:gd name="connsiteX40" fmla="*/ 406098 w 3024845"/>
                <a:gd name="connsiteY40" fmla="*/ 558957 h 1032158"/>
                <a:gd name="connsiteX41" fmla="*/ 411418 w 3024845"/>
                <a:gd name="connsiteY41" fmla="*/ 558957 h 1032158"/>
                <a:gd name="connsiteX42" fmla="*/ 411418 w 3024845"/>
                <a:gd name="connsiteY42" fmla="*/ 557876 h 1032158"/>
                <a:gd name="connsiteX43" fmla="*/ 411418 w 3024845"/>
                <a:gd name="connsiteY43" fmla="*/ 550309 h 1032158"/>
                <a:gd name="connsiteX44" fmla="*/ 413445 w 3024845"/>
                <a:gd name="connsiteY44" fmla="*/ 550309 h 1032158"/>
                <a:gd name="connsiteX45" fmla="*/ 427632 w 3024845"/>
                <a:gd name="connsiteY45" fmla="*/ 550309 h 1032158"/>
                <a:gd name="connsiteX46" fmla="*/ 427632 w 3024845"/>
                <a:gd name="connsiteY46" fmla="*/ 551390 h 1032158"/>
                <a:gd name="connsiteX47" fmla="*/ 427632 w 3024845"/>
                <a:gd name="connsiteY47" fmla="*/ 558957 h 1032158"/>
                <a:gd name="connsiteX48" fmla="*/ 449925 w 3024845"/>
                <a:gd name="connsiteY48" fmla="*/ 558957 h 1032158"/>
                <a:gd name="connsiteX49" fmla="*/ 449925 w 3024845"/>
                <a:gd name="connsiteY49" fmla="*/ 557065 h 1032158"/>
                <a:gd name="connsiteX50" fmla="*/ 449925 w 3024845"/>
                <a:gd name="connsiteY50" fmla="*/ 543824 h 1032158"/>
                <a:gd name="connsiteX51" fmla="*/ 451699 w 3024845"/>
                <a:gd name="connsiteY51" fmla="*/ 543824 h 1032158"/>
                <a:gd name="connsiteX52" fmla="*/ 464112 w 3024845"/>
                <a:gd name="connsiteY52" fmla="*/ 543824 h 1032158"/>
                <a:gd name="connsiteX53" fmla="*/ 464112 w 3024845"/>
                <a:gd name="connsiteY53" fmla="*/ 567604 h 1032158"/>
                <a:gd name="connsiteX54" fmla="*/ 465126 w 3024845"/>
                <a:gd name="connsiteY54" fmla="*/ 567604 h 1032158"/>
                <a:gd name="connsiteX55" fmla="*/ 472219 w 3024845"/>
                <a:gd name="connsiteY55" fmla="*/ 567604 h 1032158"/>
                <a:gd name="connsiteX56" fmla="*/ 472219 w 3024845"/>
                <a:gd name="connsiteY56" fmla="*/ 566523 h 1032158"/>
                <a:gd name="connsiteX57" fmla="*/ 472219 w 3024845"/>
                <a:gd name="connsiteY57" fmla="*/ 558957 h 1032158"/>
                <a:gd name="connsiteX58" fmla="*/ 473992 w 3024845"/>
                <a:gd name="connsiteY58" fmla="*/ 558957 h 1032158"/>
                <a:gd name="connsiteX59" fmla="*/ 486406 w 3024845"/>
                <a:gd name="connsiteY59" fmla="*/ 558957 h 1032158"/>
                <a:gd name="connsiteX60" fmla="*/ 486406 w 3024845"/>
                <a:gd name="connsiteY60" fmla="*/ 584898 h 1032158"/>
                <a:gd name="connsiteX61" fmla="*/ 488433 w 3024845"/>
                <a:gd name="connsiteY61" fmla="*/ 584898 h 1032158"/>
                <a:gd name="connsiteX62" fmla="*/ 502619 w 3024845"/>
                <a:gd name="connsiteY62" fmla="*/ 584898 h 1032158"/>
                <a:gd name="connsiteX63" fmla="*/ 502619 w 3024845"/>
                <a:gd name="connsiteY63" fmla="*/ 586519 h 1032158"/>
                <a:gd name="connsiteX64" fmla="*/ 502619 w 3024845"/>
                <a:gd name="connsiteY64" fmla="*/ 597869 h 1032158"/>
                <a:gd name="connsiteX65" fmla="*/ 503379 w 3024845"/>
                <a:gd name="connsiteY65" fmla="*/ 597869 h 1032158"/>
                <a:gd name="connsiteX66" fmla="*/ 508700 w 3024845"/>
                <a:gd name="connsiteY66" fmla="*/ 597869 h 1032158"/>
                <a:gd name="connsiteX67" fmla="*/ 508700 w 3024845"/>
                <a:gd name="connsiteY67" fmla="*/ 597058 h 1032158"/>
                <a:gd name="connsiteX68" fmla="*/ 508700 w 3024845"/>
                <a:gd name="connsiteY68" fmla="*/ 591383 h 1032158"/>
                <a:gd name="connsiteX69" fmla="*/ 539100 w 3024845"/>
                <a:gd name="connsiteY69" fmla="*/ 591383 h 1032158"/>
                <a:gd name="connsiteX70" fmla="*/ 539100 w 3024845"/>
                <a:gd name="connsiteY70" fmla="*/ 615163 h 1032158"/>
                <a:gd name="connsiteX71" fmla="*/ 540113 w 3024845"/>
                <a:gd name="connsiteY71" fmla="*/ 615163 h 1032158"/>
                <a:gd name="connsiteX72" fmla="*/ 547207 w 3024845"/>
                <a:gd name="connsiteY72" fmla="*/ 615163 h 1032158"/>
                <a:gd name="connsiteX73" fmla="*/ 547207 w 3024845"/>
                <a:gd name="connsiteY73" fmla="*/ 616244 h 1032158"/>
                <a:gd name="connsiteX74" fmla="*/ 547207 w 3024845"/>
                <a:gd name="connsiteY74" fmla="*/ 623810 h 1032158"/>
                <a:gd name="connsiteX75" fmla="*/ 547967 w 3024845"/>
                <a:gd name="connsiteY75" fmla="*/ 623810 h 1032158"/>
                <a:gd name="connsiteX76" fmla="*/ 553287 w 3024845"/>
                <a:gd name="connsiteY76" fmla="*/ 623810 h 1032158"/>
                <a:gd name="connsiteX77" fmla="*/ 553287 w 3024845"/>
                <a:gd name="connsiteY77" fmla="*/ 621648 h 1032158"/>
                <a:gd name="connsiteX78" fmla="*/ 553287 w 3024845"/>
                <a:gd name="connsiteY78" fmla="*/ 606516 h 1032158"/>
                <a:gd name="connsiteX79" fmla="*/ 554300 w 3024845"/>
                <a:gd name="connsiteY79" fmla="*/ 606516 h 1032158"/>
                <a:gd name="connsiteX80" fmla="*/ 561394 w 3024845"/>
                <a:gd name="connsiteY80" fmla="*/ 606516 h 1032158"/>
                <a:gd name="connsiteX81" fmla="*/ 561394 w 3024845"/>
                <a:gd name="connsiteY81" fmla="*/ 607597 h 1032158"/>
                <a:gd name="connsiteX82" fmla="*/ 561394 w 3024845"/>
                <a:gd name="connsiteY82" fmla="*/ 615163 h 1032158"/>
                <a:gd name="connsiteX83" fmla="*/ 566714 w 3024845"/>
                <a:gd name="connsiteY83" fmla="*/ 613170 h 1032158"/>
                <a:gd name="connsiteX84" fmla="*/ 567474 w 3024845"/>
                <a:gd name="connsiteY84" fmla="*/ 612190 h 1032158"/>
                <a:gd name="connsiteX85" fmla="*/ 567474 w 3024845"/>
                <a:gd name="connsiteY85" fmla="*/ 606516 h 1032158"/>
                <a:gd name="connsiteX86" fmla="*/ 605981 w 3024845"/>
                <a:gd name="connsiteY86" fmla="*/ 606516 h 1032158"/>
                <a:gd name="connsiteX87" fmla="*/ 605981 w 3024845"/>
                <a:gd name="connsiteY87" fmla="*/ 630295 h 1032158"/>
                <a:gd name="connsiteX88" fmla="*/ 608007 w 3024845"/>
                <a:gd name="connsiteY88" fmla="*/ 630295 h 1032158"/>
                <a:gd name="connsiteX89" fmla="*/ 622194 w 3024845"/>
                <a:gd name="connsiteY89" fmla="*/ 630295 h 1032158"/>
                <a:gd name="connsiteX90" fmla="*/ 622194 w 3024845"/>
                <a:gd name="connsiteY90" fmla="*/ 631376 h 1032158"/>
                <a:gd name="connsiteX91" fmla="*/ 622194 w 3024845"/>
                <a:gd name="connsiteY91" fmla="*/ 638942 h 1032158"/>
                <a:gd name="connsiteX92" fmla="*/ 623968 w 3024845"/>
                <a:gd name="connsiteY92" fmla="*/ 638942 h 1032158"/>
                <a:gd name="connsiteX93" fmla="*/ 636381 w 3024845"/>
                <a:gd name="connsiteY93" fmla="*/ 638942 h 1032158"/>
                <a:gd name="connsiteX94" fmla="*/ 636381 w 3024845"/>
                <a:gd name="connsiteY94" fmla="*/ 615163 h 1032158"/>
                <a:gd name="connsiteX95" fmla="*/ 637394 w 3024845"/>
                <a:gd name="connsiteY95" fmla="*/ 615163 h 1032158"/>
                <a:gd name="connsiteX96" fmla="*/ 644488 w 3024845"/>
                <a:gd name="connsiteY96" fmla="*/ 615163 h 1032158"/>
                <a:gd name="connsiteX97" fmla="*/ 644488 w 3024845"/>
                <a:gd name="connsiteY97" fmla="*/ 582736 h 1032158"/>
                <a:gd name="connsiteX98" fmla="*/ 645501 w 3024845"/>
                <a:gd name="connsiteY98" fmla="*/ 582736 h 1032158"/>
                <a:gd name="connsiteX99" fmla="*/ 652595 w 3024845"/>
                <a:gd name="connsiteY99" fmla="*/ 582736 h 1032158"/>
                <a:gd name="connsiteX100" fmla="*/ 652595 w 3024845"/>
                <a:gd name="connsiteY100" fmla="*/ 580845 h 1032158"/>
                <a:gd name="connsiteX101" fmla="*/ 652595 w 3024845"/>
                <a:gd name="connsiteY101" fmla="*/ 567604 h 1032158"/>
                <a:gd name="connsiteX102" fmla="*/ 651328 w 3024845"/>
                <a:gd name="connsiteY102" fmla="*/ 565982 h 1032158"/>
                <a:gd name="connsiteX103" fmla="*/ 656648 w 3024845"/>
                <a:gd name="connsiteY103" fmla="*/ 554633 h 1032158"/>
                <a:gd name="connsiteX104" fmla="*/ 664755 w 3024845"/>
                <a:gd name="connsiteY104" fmla="*/ 582736 h 1032158"/>
                <a:gd name="connsiteX105" fmla="*/ 665515 w 3024845"/>
                <a:gd name="connsiteY105" fmla="*/ 582736 h 1032158"/>
                <a:gd name="connsiteX106" fmla="*/ 670835 w 3024845"/>
                <a:gd name="connsiteY106" fmla="*/ 582736 h 1032158"/>
                <a:gd name="connsiteX107" fmla="*/ 670835 w 3024845"/>
                <a:gd name="connsiteY107" fmla="*/ 476809 h 1032158"/>
                <a:gd name="connsiteX108" fmla="*/ 672355 w 3024845"/>
                <a:gd name="connsiteY108" fmla="*/ 476809 h 1032158"/>
                <a:gd name="connsiteX109" fmla="*/ 682995 w 3024845"/>
                <a:gd name="connsiteY109" fmla="*/ 476809 h 1032158"/>
                <a:gd name="connsiteX110" fmla="*/ 682995 w 3024845"/>
                <a:gd name="connsiteY110" fmla="*/ 429250 h 1032158"/>
                <a:gd name="connsiteX111" fmla="*/ 709342 w 3024845"/>
                <a:gd name="connsiteY111" fmla="*/ 429250 h 1032158"/>
                <a:gd name="connsiteX112" fmla="*/ 709342 w 3024845"/>
                <a:gd name="connsiteY112" fmla="*/ 407632 h 1032158"/>
                <a:gd name="connsiteX113" fmla="*/ 743796 w 3024845"/>
                <a:gd name="connsiteY113" fmla="*/ 407632 h 1032158"/>
                <a:gd name="connsiteX114" fmla="*/ 743796 w 3024845"/>
                <a:gd name="connsiteY114" fmla="*/ 410064 h 1032158"/>
                <a:gd name="connsiteX115" fmla="*/ 743796 w 3024845"/>
                <a:gd name="connsiteY115" fmla="*/ 427088 h 1032158"/>
                <a:gd name="connsiteX116" fmla="*/ 746076 w 3024845"/>
                <a:gd name="connsiteY116" fmla="*/ 427088 h 1032158"/>
                <a:gd name="connsiteX117" fmla="*/ 762036 w 3024845"/>
                <a:gd name="connsiteY117" fmla="*/ 427088 h 1032158"/>
                <a:gd name="connsiteX118" fmla="*/ 762036 w 3024845"/>
                <a:gd name="connsiteY118" fmla="*/ 474647 h 1032158"/>
                <a:gd name="connsiteX119" fmla="*/ 763049 w 3024845"/>
                <a:gd name="connsiteY119" fmla="*/ 474647 h 1032158"/>
                <a:gd name="connsiteX120" fmla="*/ 770143 w 3024845"/>
                <a:gd name="connsiteY120" fmla="*/ 474647 h 1032158"/>
                <a:gd name="connsiteX121" fmla="*/ 784330 w 3024845"/>
                <a:gd name="connsiteY121" fmla="*/ 478971 h 1032158"/>
                <a:gd name="connsiteX122" fmla="*/ 784330 w 3024845"/>
                <a:gd name="connsiteY122" fmla="*/ 517883 h 1032158"/>
                <a:gd name="connsiteX123" fmla="*/ 785343 w 3024845"/>
                <a:gd name="connsiteY123" fmla="*/ 517883 h 1032158"/>
                <a:gd name="connsiteX124" fmla="*/ 792436 w 3024845"/>
                <a:gd name="connsiteY124" fmla="*/ 517883 h 1032158"/>
                <a:gd name="connsiteX125" fmla="*/ 792436 w 3024845"/>
                <a:gd name="connsiteY125" fmla="*/ 519504 h 1032158"/>
                <a:gd name="connsiteX126" fmla="*/ 792436 w 3024845"/>
                <a:gd name="connsiteY126" fmla="*/ 530853 h 1032158"/>
                <a:gd name="connsiteX127" fmla="*/ 794463 w 3024845"/>
                <a:gd name="connsiteY127" fmla="*/ 530853 h 1032158"/>
                <a:gd name="connsiteX128" fmla="*/ 808650 w 3024845"/>
                <a:gd name="connsiteY128" fmla="*/ 530853 h 1032158"/>
                <a:gd name="connsiteX129" fmla="*/ 814730 w 3024845"/>
                <a:gd name="connsiteY129" fmla="*/ 537339 h 1032158"/>
                <a:gd name="connsiteX130" fmla="*/ 814730 w 3024845"/>
                <a:gd name="connsiteY130" fmla="*/ 558957 h 1032158"/>
                <a:gd name="connsiteX131" fmla="*/ 817010 w 3024845"/>
                <a:gd name="connsiteY131" fmla="*/ 558957 h 1032158"/>
                <a:gd name="connsiteX132" fmla="*/ 832970 w 3024845"/>
                <a:gd name="connsiteY132" fmla="*/ 558957 h 1032158"/>
                <a:gd name="connsiteX133" fmla="*/ 832970 w 3024845"/>
                <a:gd name="connsiteY133" fmla="*/ 560037 h 1032158"/>
                <a:gd name="connsiteX134" fmla="*/ 832970 w 3024845"/>
                <a:gd name="connsiteY134" fmla="*/ 567604 h 1032158"/>
                <a:gd name="connsiteX135" fmla="*/ 834237 w 3024845"/>
                <a:gd name="connsiteY135" fmla="*/ 567604 h 1032158"/>
                <a:gd name="connsiteX136" fmla="*/ 843104 w 3024845"/>
                <a:gd name="connsiteY136" fmla="*/ 567604 h 1032158"/>
                <a:gd name="connsiteX137" fmla="*/ 843104 w 3024845"/>
                <a:gd name="connsiteY137" fmla="*/ 569765 h 1032158"/>
                <a:gd name="connsiteX138" fmla="*/ 843104 w 3024845"/>
                <a:gd name="connsiteY138" fmla="*/ 584898 h 1032158"/>
                <a:gd name="connsiteX139" fmla="*/ 847157 w 3024845"/>
                <a:gd name="connsiteY139" fmla="*/ 583006 h 1032158"/>
                <a:gd name="connsiteX140" fmla="*/ 847157 w 3024845"/>
                <a:gd name="connsiteY140" fmla="*/ 569765 h 1032158"/>
                <a:gd name="connsiteX141" fmla="*/ 848170 w 3024845"/>
                <a:gd name="connsiteY141" fmla="*/ 569765 h 1032158"/>
                <a:gd name="connsiteX142" fmla="*/ 855264 w 3024845"/>
                <a:gd name="connsiteY142" fmla="*/ 569765 h 1032158"/>
                <a:gd name="connsiteX143" fmla="*/ 855264 w 3024845"/>
                <a:gd name="connsiteY143" fmla="*/ 571387 h 1032158"/>
                <a:gd name="connsiteX144" fmla="*/ 855264 w 3024845"/>
                <a:gd name="connsiteY144" fmla="*/ 582736 h 1032158"/>
                <a:gd name="connsiteX145" fmla="*/ 856024 w 3024845"/>
                <a:gd name="connsiteY145" fmla="*/ 582736 h 1032158"/>
                <a:gd name="connsiteX146" fmla="*/ 861344 w 3024845"/>
                <a:gd name="connsiteY146" fmla="*/ 582736 h 1032158"/>
                <a:gd name="connsiteX147" fmla="*/ 909984 w 3024845"/>
                <a:gd name="connsiteY147" fmla="*/ 578413 h 1032158"/>
                <a:gd name="connsiteX148" fmla="*/ 909984 w 3024845"/>
                <a:gd name="connsiteY148" fmla="*/ 579764 h 1032158"/>
                <a:gd name="connsiteX149" fmla="*/ 909984 w 3024845"/>
                <a:gd name="connsiteY149" fmla="*/ 589221 h 1032158"/>
                <a:gd name="connsiteX150" fmla="*/ 910744 w 3024845"/>
                <a:gd name="connsiteY150" fmla="*/ 589221 h 1032158"/>
                <a:gd name="connsiteX151" fmla="*/ 916065 w 3024845"/>
                <a:gd name="connsiteY151" fmla="*/ 589221 h 1032158"/>
                <a:gd name="connsiteX152" fmla="*/ 916065 w 3024845"/>
                <a:gd name="connsiteY152" fmla="*/ 591383 h 1032158"/>
                <a:gd name="connsiteX153" fmla="*/ 916065 w 3024845"/>
                <a:gd name="connsiteY153" fmla="*/ 606516 h 1032158"/>
                <a:gd name="connsiteX154" fmla="*/ 918091 w 3024845"/>
                <a:gd name="connsiteY154" fmla="*/ 605165 h 1032158"/>
                <a:gd name="connsiteX155" fmla="*/ 932278 w 3024845"/>
                <a:gd name="connsiteY155" fmla="*/ 595707 h 1032158"/>
                <a:gd name="connsiteX156" fmla="*/ 938358 w 3024845"/>
                <a:gd name="connsiteY156" fmla="*/ 554633 h 1032158"/>
                <a:gd name="connsiteX157" fmla="*/ 939118 w 3024845"/>
                <a:gd name="connsiteY157" fmla="*/ 554363 h 1032158"/>
                <a:gd name="connsiteX158" fmla="*/ 944438 w 3024845"/>
                <a:gd name="connsiteY158" fmla="*/ 552471 h 1032158"/>
                <a:gd name="connsiteX159" fmla="*/ 946465 w 3024845"/>
                <a:gd name="connsiteY159" fmla="*/ 483294 h 1032158"/>
                <a:gd name="connsiteX160" fmla="*/ 948492 w 3024845"/>
                <a:gd name="connsiteY160" fmla="*/ 552471 h 1032158"/>
                <a:gd name="connsiteX161" fmla="*/ 949252 w 3024845"/>
                <a:gd name="connsiteY161" fmla="*/ 552741 h 1032158"/>
                <a:gd name="connsiteX162" fmla="*/ 954572 w 3024845"/>
                <a:gd name="connsiteY162" fmla="*/ 554633 h 1032158"/>
                <a:gd name="connsiteX163" fmla="*/ 954572 w 3024845"/>
                <a:gd name="connsiteY163" fmla="*/ 468162 h 1032158"/>
                <a:gd name="connsiteX164" fmla="*/ 958625 w 3024845"/>
                <a:gd name="connsiteY164" fmla="*/ 435735 h 1032158"/>
                <a:gd name="connsiteX165" fmla="*/ 997132 w 3024845"/>
                <a:gd name="connsiteY165" fmla="*/ 435735 h 1032158"/>
                <a:gd name="connsiteX166" fmla="*/ 997132 w 3024845"/>
                <a:gd name="connsiteY166" fmla="*/ 468162 h 1032158"/>
                <a:gd name="connsiteX167" fmla="*/ 997892 w 3024845"/>
                <a:gd name="connsiteY167" fmla="*/ 468162 h 1032158"/>
                <a:gd name="connsiteX168" fmla="*/ 1003212 w 3024845"/>
                <a:gd name="connsiteY168" fmla="*/ 468162 h 1032158"/>
                <a:gd name="connsiteX169" fmla="*/ 1003212 w 3024845"/>
                <a:gd name="connsiteY169" fmla="*/ 386014 h 1032158"/>
                <a:gd name="connsiteX170" fmla="*/ 1004986 w 3024845"/>
                <a:gd name="connsiteY170" fmla="*/ 386014 h 1032158"/>
                <a:gd name="connsiteX171" fmla="*/ 1017399 w 3024845"/>
                <a:gd name="connsiteY171" fmla="*/ 386014 h 1032158"/>
                <a:gd name="connsiteX172" fmla="*/ 1017399 w 3024845"/>
                <a:gd name="connsiteY172" fmla="*/ 384123 h 1032158"/>
                <a:gd name="connsiteX173" fmla="*/ 1017399 w 3024845"/>
                <a:gd name="connsiteY173" fmla="*/ 370882 h 1032158"/>
                <a:gd name="connsiteX174" fmla="*/ 1039693 w 3024845"/>
                <a:gd name="connsiteY174" fmla="*/ 370882 h 1032158"/>
                <a:gd name="connsiteX175" fmla="*/ 1039693 w 3024845"/>
                <a:gd name="connsiteY175" fmla="*/ 369801 h 1032158"/>
                <a:gd name="connsiteX176" fmla="*/ 1039693 w 3024845"/>
                <a:gd name="connsiteY176" fmla="*/ 362235 h 1032158"/>
                <a:gd name="connsiteX177" fmla="*/ 1041466 w 3024845"/>
                <a:gd name="connsiteY177" fmla="*/ 362235 h 1032158"/>
                <a:gd name="connsiteX178" fmla="*/ 1053880 w 3024845"/>
                <a:gd name="connsiteY178" fmla="*/ 362235 h 1032158"/>
                <a:gd name="connsiteX179" fmla="*/ 1053880 w 3024845"/>
                <a:gd name="connsiteY179" fmla="*/ 363316 h 1032158"/>
                <a:gd name="connsiteX180" fmla="*/ 1053880 w 3024845"/>
                <a:gd name="connsiteY180" fmla="*/ 370882 h 1032158"/>
                <a:gd name="connsiteX181" fmla="*/ 1054640 w 3024845"/>
                <a:gd name="connsiteY181" fmla="*/ 370882 h 1032158"/>
                <a:gd name="connsiteX182" fmla="*/ 1059960 w 3024845"/>
                <a:gd name="connsiteY182" fmla="*/ 370882 h 1032158"/>
                <a:gd name="connsiteX183" fmla="*/ 1070093 w 3024845"/>
                <a:gd name="connsiteY183" fmla="*/ 366558 h 1032158"/>
                <a:gd name="connsiteX184" fmla="*/ 1074146 w 3024845"/>
                <a:gd name="connsiteY184" fmla="*/ 369801 h 1032158"/>
                <a:gd name="connsiteX185" fmla="*/ 1074146 w 3024845"/>
                <a:gd name="connsiteY185" fmla="*/ 362235 h 1032158"/>
                <a:gd name="connsiteX186" fmla="*/ 1076426 w 3024845"/>
                <a:gd name="connsiteY186" fmla="*/ 362235 h 1032158"/>
                <a:gd name="connsiteX187" fmla="*/ 1092387 w 3024845"/>
                <a:gd name="connsiteY187" fmla="*/ 362235 h 1032158"/>
                <a:gd name="connsiteX188" fmla="*/ 1092387 w 3024845"/>
                <a:gd name="connsiteY188" fmla="*/ 363316 h 1032158"/>
                <a:gd name="connsiteX189" fmla="*/ 1092387 w 3024845"/>
                <a:gd name="connsiteY189" fmla="*/ 370882 h 1032158"/>
                <a:gd name="connsiteX190" fmla="*/ 1122787 w 3024845"/>
                <a:gd name="connsiteY190" fmla="*/ 370882 h 1032158"/>
                <a:gd name="connsiteX191" fmla="*/ 1122787 w 3024845"/>
                <a:gd name="connsiteY191" fmla="*/ 372503 h 1032158"/>
                <a:gd name="connsiteX192" fmla="*/ 1122787 w 3024845"/>
                <a:gd name="connsiteY192" fmla="*/ 383853 h 1032158"/>
                <a:gd name="connsiteX193" fmla="*/ 1149134 w 3024845"/>
                <a:gd name="connsiteY193" fmla="*/ 383853 h 1032158"/>
                <a:gd name="connsiteX194" fmla="*/ 1149134 w 3024845"/>
                <a:gd name="connsiteY194" fmla="*/ 414117 h 1032158"/>
                <a:gd name="connsiteX195" fmla="*/ 1149894 w 3024845"/>
                <a:gd name="connsiteY195" fmla="*/ 414117 h 1032158"/>
                <a:gd name="connsiteX196" fmla="*/ 1155214 w 3024845"/>
                <a:gd name="connsiteY196" fmla="*/ 414117 h 1032158"/>
                <a:gd name="connsiteX197" fmla="*/ 1155214 w 3024845"/>
                <a:gd name="connsiteY197" fmla="*/ 415198 h 1032158"/>
                <a:gd name="connsiteX198" fmla="*/ 1155214 w 3024845"/>
                <a:gd name="connsiteY198" fmla="*/ 422765 h 1032158"/>
                <a:gd name="connsiteX199" fmla="*/ 1159268 w 3024845"/>
                <a:gd name="connsiteY199" fmla="*/ 453029 h 1032158"/>
                <a:gd name="connsiteX200" fmla="*/ 1160028 w 3024845"/>
                <a:gd name="connsiteY200" fmla="*/ 453029 h 1032158"/>
                <a:gd name="connsiteX201" fmla="*/ 1165348 w 3024845"/>
                <a:gd name="connsiteY201" fmla="*/ 453029 h 1032158"/>
                <a:gd name="connsiteX202" fmla="*/ 1165348 w 3024845"/>
                <a:gd name="connsiteY202" fmla="*/ 453840 h 1032158"/>
                <a:gd name="connsiteX203" fmla="*/ 1165348 w 3024845"/>
                <a:gd name="connsiteY203" fmla="*/ 459515 h 1032158"/>
                <a:gd name="connsiteX204" fmla="*/ 1166361 w 3024845"/>
                <a:gd name="connsiteY204" fmla="*/ 459515 h 1032158"/>
                <a:gd name="connsiteX205" fmla="*/ 1173454 w 3024845"/>
                <a:gd name="connsiteY205" fmla="*/ 459515 h 1032158"/>
                <a:gd name="connsiteX206" fmla="*/ 1173454 w 3024845"/>
                <a:gd name="connsiteY206" fmla="*/ 489780 h 1032158"/>
                <a:gd name="connsiteX207" fmla="*/ 1175481 w 3024845"/>
                <a:gd name="connsiteY207" fmla="*/ 489780 h 1032158"/>
                <a:gd name="connsiteX208" fmla="*/ 1189668 w 3024845"/>
                <a:gd name="connsiteY208" fmla="*/ 489780 h 1032158"/>
                <a:gd name="connsiteX209" fmla="*/ 1189668 w 3024845"/>
                <a:gd name="connsiteY209" fmla="*/ 513559 h 1032158"/>
                <a:gd name="connsiteX210" fmla="*/ 1191695 w 3024845"/>
                <a:gd name="connsiteY210" fmla="*/ 515180 h 1032158"/>
                <a:gd name="connsiteX211" fmla="*/ 1191695 w 3024845"/>
                <a:gd name="connsiteY211" fmla="*/ 526530 h 1032158"/>
                <a:gd name="connsiteX212" fmla="*/ 1192455 w 3024845"/>
                <a:gd name="connsiteY212" fmla="*/ 526530 h 1032158"/>
                <a:gd name="connsiteX213" fmla="*/ 1197775 w 3024845"/>
                <a:gd name="connsiteY213" fmla="*/ 526530 h 1032158"/>
                <a:gd name="connsiteX214" fmla="*/ 1197775 w 3024845"/>
                <a:gd name="connsiteY214" fmla="*/ 550309 h 1032158"/>
                <a:gd name="connsiteX215" fmla="*/ 1199041 w 3024845"/>
                <a:gd name="connsiteY215" fmla="*/ 550309 h 1032158"/>
                <a:gd name="connsiteX216" fmla="*/ 1207908 w 3024845"/>
                <a:gd name="connsiteY216" fmla="*/ 550309 h 1032158"/>
                <a:gd name="connsiteX217" fmla="*/ 1209935 w 3024845"/>
                <a:gd name="connsiteY217" fmla="*/ 554363 h 1032158"/>
                <a:gd name="connsiteX218" fmla="*/ 1209935 w 3024845"/>
                <a:gd name="connsiteY218" fmla="*/ 567604 h 1032158"/>
                <a:gd name="connsiteX219" fmla="*/ 1211455 w 3024845"/>
                <a:gd name="connsiteY219" fmla="*/ 565712 h 1032158"/>
                <a:gd name="connsiteX220" fmla="*/ 1222095 w 3024845"/>
                <a:gd name="connsiteY220" fmla="*/ 552471 h 1032158"/>
                <a:gd name="connsiteX221" fmla="*/ 1250469 w 3024845"/>
                <a:gd name="connsiteY221" fmla="*/ 552471 h 1032158"/>
                <a:gd name="connsiteX222" fmla="*/ 1250469 w 3024845"/>
                <a:gd name="connsiteY222" fmla="*/ 638942 h 1032158"/>
                <a:gd name="connsiteX223" fmla="*/ 1251229 w 3024845"/>
                <a:gd name="connsiteY223" fmla="*/ 638942 h 1032158"/>
                <a:gd name="connsiteX224" fmla="*/ 1256549 w 3024845"/>
                <a:gd name="connsiteY224" fmla="*/ 638942 h 1032158"/>
                <a:gd name="connsiteX225" fmla="*/ 1257309 w 3024845"/>
                <a:gd name="connsiteY225" fmla="*/ 637591 h 1032158"/>
                <a:gd name="connsiteX226" fmla="*/ 1262629 w 3024845"/>
                <a:gd name="connsiteY226" fmla="*/ 628133 h 1032158"/>
                <a:gd name="connsiteX227" fmla="*/ 1262629 w 3024845"/>
                <a:gd name="connsiteY227" fmla="*/ 630025 h 1032158"/>
                <a:gd name="connsiteX228" fmla="*/ 1262629 w 3024845"/>
                <a:gd name="connsiteY228" fmla="*/ 643266 h 1032158"/>
                <a:gd name="connsiteX229" fmla="*/ 1266682 w 3024845"/>
                <a:gd name="connsiteY229" fmla="*/ 597869 h 1032158"/>
                <a:gd name="connsiteX230" fmla="*/ 1267442 w 3024845"/>
                <a:gd name="connsiteY230" fmla="*/ 597869 h 1032158"/>
                <a:gd name="connsiteX231" fmla="*/ 1272762 w 3024845"/>
                <a:gd name="connsiteY231" fmla="*/ 597869 h 1032158"/>
                <a:gd name="connsiteX232" fmla="*/ 1272762 w 3024845"/>
                <a:gd name="connsiteY232" fmla="*/ 533015 h 1032158"/>
                <a:gd name="connsiteX233" fmla="*/ 1273776 w 3024845"/>
                <a:gd name="connsiteY233" fmla="*/ 533015 h 1032158"/>
                <a:gd name="connsiteX234" fmla="*/ 1280869 w 3024845"/>
                <a:gd name="connsiteY234" fmla="*/ 533015 h 1032158"/>
                <a:gd name="connsiteX235" fmla="*/ 1293029 w 3024845"/>
                <a:gd name="connsiteY235" fmla="*/ 489780 h 1032158"/>
                <a:gd name="connsiteX236" fmla="*/ 1294296 w 3024845"/>
                <a:gd name="connsiteY236" fmla="*/ 489780 h 1032158"/>
                <a:gd name="connsiteX237" fmla="*/ 1303163 w 3024845"/>
                <a:gd name="connsiteY237" fmla="*/ 489780 h 1032158"/>
                <a:gd name="connsiteX238" fmla="*/ 1313296 w 3024845"/>
                <a:gd name="connsiteY238" fmla="*/ 533015 h 1032158"/>
                <a:gd name="connsiteX239" fmla="*/ 1314309 w 3024845"/>
                <a:gd name="connsiteY239" fmla="*/ 533015 h 1032158"/>
                <a:gd name="connsiteX240" fmla="*/ 1321403 w 3024845"/>
                <a:gd name="connsiteY240" fmla="*/ 533015 h 1032158"/>
                <a:gd name="connsiteX241" fmla="*/ 1321403 w 3024845"/>
                <a:gd name="connsiteY241" fmla="*/ 571927 h 1032158"/>
                <a:gd name="connsiteX242" fmla="*/ 1323176 w 3024845"/>
                <a:gd name="connsiteY242" fmla="*/ 571927 h 1032158"/>
                <a:gd name="connsiteX243" fmla="*/ 1335590 w 3024845"/>
                <a:gd name="connsiteY243" fmla="*/ 571927 h 1032158"/>
                <a:gd name="connsiteX244" fmla="*/ 1335590 w 3024845"/>
                <a:gd name="connsiteY244" fmla="*/ 574089 h 1032158"/>
                <a:gd name="connsiteX245" fmla="*/ 1335590 w 3024845"/>
                <a:gd name="connsiteY245" fmla="*/ 589221 h 1032158"/>
                <a:gd name="connsiteX246" fmla="*/ 1339643 w 3024845"/>
                <a:gd name="connsiteY246" fmla="*/ 587060 h 1032158"/>
                <a:gd name="connsiteX247" fmla="*/ 1339643 w 3024845"/>
                <a:gd name="connsiteY247" fmla="*/ 571927 h 1032158"/>
                <a:gd name="connsiteX248" fmla="*/ 1341163 w 3024845"/>
                <a:gd name="connsiteY248" fmla="*/ 571927 h 1032158"/>
                <a:gd name="connsiteX249" fmla="*/ 1351803 w 3024845"/>
                <a:gd name="connsiteY249" fmla="*/ 571927 h 1032158"/>
                <a:gd name="connsiteX250" fmla="*/ 1351803 w 3024845"/>
                <a:gd name="connsiteY250" fmla="*/ 573548 h 1032158"/>
                <a:gd name="connsiteX251" fmla="*/ 1351803 w 3024845"/>
                <a:gd name="connsiteY251" fmla="*/ 584898 h 1032158"/>
                <a:gd name="connsiteX252" fmla="*/ 1382204 w 3024845"/>
                <a:gd name="connsiteY252" fmla="*/ 584898 h 1032158"/>
                <a:gd name="connsiteX253" fmla="*/ 1382204 w 3024845"/>
                <a:gd name="connsiteY253" fmla="*/ 548148 h 1032158"/>
                <a:gd name="connsiteX254" fmla="*/ 1383470 w 3024845"/>
                <a:gd name="connsiteY254" fmla="*/ 548148 h 1032158"/>
                <a:gd name="connsiteX255" fmla="*/ 1392337 w 3024845"/>
                <a:gd name="connsiteY255" fmla="*/ 548148 h 1032158"/>
                <a:gd name="connsiteX256" fmla="*/ 1392337 w 3024845"/>
                <a:gd name="connsiteY256" fmla="*/ 569765 h 1032158"/>
                <a:gd name="connsiteX257" fmla="*/ 1394364 w 3024845"/>
                <a:gd name="connsiteY257" fmla="*/ 537339 h 1032158"/>
                <a:gd name="connsiteX258" fmla="*/ 1416657 w 3024845"/>
                <a:gd name="connsiteY258" fmla="*/ 537339 h 1032158"/>
                <a:gd name="connsiteX259" fmla="*/ 1416657 w 3024845"/>
                <a:gd name="connsiteY259" fmla="*/ 535717 h 1032158"/>
                <a:gd name="connsiteX260" fmla="*/ 1416657 w 3024845"/>
                <a:gd name="connsiteY260" fmla="*/ 524368 h 1032158"/>
                <a:gd name="connsiteX261" fmla="*/ 1417417 w 3024845"/>
                <a:gd name="connsiteY261" fmla="*/ 524368 h 1032158"/>
                <a:gd name="connsiteX262" fmla="*/ 1422737 w 3024845"/>
                <a:gd name="connsiteY262" fmla="*/ 524368 h 1032158"/>
                <a:gd name="connsiteX263" fmla="*/ 1422737 w 3024845"/>
                <a:gd name="connsiteY263" fmla="*/ 522477 h 1032158"/>
                <a:gd name="connsiteX264" fmla="*/ 1422737 w 3024845"/>
                <a:gd name="connsiteY264" fmla="*/ 509236 h 1032158"/>
                <a:gd name="connsiteX265" fmla="*/ 1426791 w 3024845"/>
                <a:gd name="connsiteY265" fmla="*/ 515721 h 1032158"/>
                <a:gd name="connsiteX266" fmla="*/ 1429071 w 3024845"/>
                <a:gd name="connsiteY266" fmla="*/ 515721 h 1032158"/>
                <a:gd name="connsiteX267" fmla="*/ 1445031 w 3024845"/>
                <a:gd name="connsiteY267" fmla="*/ 515721 h 1032158"/>
                <a:gd name="connsiteX268" fmla="*/ 1445031 w 3024845"/>
                <a:gd name="connsiteY268" fmla="*/ 514910 h 1032158"/>
                <a:gd name="connsiteX269" fmla="*/ 1445031 w 3024845"/>
                <a:gd name="connsiteY269" fmla="*/ 509236 h 1032158"/>
                <a:gd name="connsiteX270" fmla="*/ 1445791 w 3024845"/>
                <a:gd name="connsiteY270" fmla="*/ 509236 h 1032158"/>
                <a:gd name="connsiteX271" fmla="*/ 1451111 w 3024845"/>
                <a:gd name="connsiteY271" fmla="*/ 509236 h 1032158"/>
                <a:gd name="connsiteX272" fmla="*/ 1451111 w 3024845"/>
                <a:gd name="connsiteY272" fmla="*/ 510587 h 1032158"/>
                <a:gd name="connsiteX273" fmla="*/ 1451111 w 3024845"/>
                <a:gd name="connsiteY273" fmla="*/ 520045 h 1032158"/>
                <a:gd name="connsiteX274" fmla="*/ 1489618 w 3024845"/>
                <a:gd name="connsiteY274" fmla="*/ 520045 h 1032158"/>
                <a:gd name="connsiteX275" fmla="*/ 1489618 w 3024845"/>
                <a:gd name="connsiteY275" fmla="*/ 658398 h 1032158"/>
                <a:gd name="connsiteX276" fmla="*/ 1491138 w 3024845"/>
                <a:gd name="connsiteY276" fmla="*/ 658398 h 1032158"/>
                <a:gd name="connsiteX277" fmla="*/ 1501778 w 3024845"/>
                <a:gd name="connsiteY277" fmla="*/ 658398 h 1032158"/>
                <a:gd name="connsiteX278" fmla="*/ 1501778 w 3024845"/>
                <a:gd name="connsiteY278" fmla="*/ 645428 h 1032158"/>
                <a:gd name="connsiteX279" fmla="*/ 1505832 w 3024845"/>
                <a:gd name="connsiteY279" fmla="*/ 645428 h 1032158"/>
                <a:gd name="connsiteX280" fmla="*/ 1505832 w 3024845"/>
                <a:gd name="connsiteY280" fmla="*/ 658398 h 1032158"/>
                <a:gd name="connsiteX281" fmla="*/ 1536232 w 3024845"/>
                <a:gd name="connsiteY281" fmla="*/ 658398 h 1032158"/>
                <a:gd name="connsiteX282" fmla="*/ 1536232 w 3024845"/>
                <a:gd name="connsiteY282" fmla="*/ 628133 h 1032158"/>
                <a:gd name="connsiteX283" fmla="*/ 1548392 w 3024845"/>
                <a:gd name="connsiteY283" fmla="*/ 628133 h 1032158"/>
                <a:gd name="connsiteX284" fmla="*/ 1560552 w 3024845"/>
                <a:gd name="connsiteY284" fmla="*/ 625972 h 1032158"/>
                <a:gd name="connsiteX285" fmla="*/ 1564606 w 3024845"/>
                <a:gd name="connsiteY285" fmla="*/ 628133 h 1032158"/>
                <a:gd name="connsiteX286" fmla="*/ 1574739 w 3024845"/>
                <a:gd name="connsiteY286" fmla="*/ 628133 h 1032158"/>
                <a:gd name="connsiteX287" fmla="*/ 1574739 w 3024845"/>
                <a:gd name="connsiteY287" fmla="*/ 658398 h 1032158"/>
                <a:gd name="connsiteX288" fmla="*/ 1582846 w 3024845"/>
                <a:gd name="connsiteY288" fmla="*/ 658398 h 1032158"/>
                <a:gd name="connsiteX289" fmla="*/ 1582846 w 3024845"/>
                <a:gd name="connsiteY289" fmla="*/ 675693 h 1032158"/>
                <a:gd name="connsiteX290" fmla="*/ 1592182 w 3024845"/>
                <a:gd name="connsiteY290" fmla="*/ 676598 h 1032158"/>
                <a:gd name="connsiteX291" fmla="*/ 1605140 w 3024845"/>
                <a:gd name="connsiteY291" fmla="*/ 676598 h 1032158"/>
                <a:gd name="connsiteX292" fmla="*/ 1605140 w 3024845"/>
                <a:gd name="connsiteY292" fmla="*/ 660560 h 1032158"/>
                <a:gd name="connsiteX293" fmla="*/ 1673096 w 3024845"/>
                <a:gd name="connsiteY293" fmla="*/ 660560 h 1032158"/>
                <a:gd name="connsiteX294" fmla="*/ 1673096 w 3024845"/>
                <a:gd name="connsiteY294" fmla="*/ 575307 h 1032158"/>
                <a:gd name="connsiteX295" fmla="*/ 1745104 w 3024845"/>
                <a:gd name="connsiteY295" fmla="*/ 575307 h 1032158"/>
                <a:gd name="connsiteX296" fmla="*/ 1745104 w 3024845"/>
                <a:gd name="connsiteY296" fmla="*/ 654075 h 1032158"/>
                <a:gd name="connsiteX297" fmla="*/ 1747008 w 3024845"/>
                <a:gd name="connsiteY297" fmla="*/ 654075 h 1032158"/>
                <a:gd name="connsiteX298" fmla="*/ 1748250 w 3024845"/>
                <a:gd name="connsiteY298" fmla="*/ 676598 h 1032158"/>
                <a:gd name="connsiteX299" fmla="*/ 1757926 w 3024845"/>
                <a:gd name="connsiteY299" fmla="*/ 676598 h 1032158"/>
                <a:gd name="connsiteX300" fmla="*/ 1759168 w 3024845"/>
                <a:gd name="connsiteY300" fmla="*/ 654075 h 1032158"/>
                <a:gd name="connsiteX301" fmla="*/ 1765248 w 3024845"/>
                <a:gd name="connsiteY301" fmla="*/ 654075 h 1032158"/>
                <a:gd name="connsiteX302" fmla="*/ 1766490 w 3024845"/>
                <a:gd name="connsiteY302" fmla="*/ 676598 h 1032158"/>
                <a:gd name="connsiteX303" fmla="*/ 1817112 w 3024845"/>
                <a:gd name="connsiteY303" fmla="*/ 676598 h 1032158"/>
                <a:gd name="connsiteX304" fmla="*/ 1817112 w 3024845"/>
                <a:gd name="connsiteY304" fmla="*/ 513570 h 1032158"/>
                <a:gd name="connsiteX305" fmla="*/ 2014439 w 3024845"/>
                <a:gd name="connsiteY305" fmla="*/ 513570 h 1032158"/>
                <a:gd name="connsiteX306" fmla="*/ 2014439 w 3024845"/>
                <a:gd name="connsiteY306" fmla="*/ 676598 h 1032158"/>
                <a:gd name="connsiteX307" fmla="*/ 2033136 w 3024845"/>
                <a:gd name="connsiteY307" fmla="*/ 676598 h 1032158"/>
                <a:gd name="connsiteX308" fmla="*/ 2033136 w 3024845"/>
                <a:gd name="connsiteY308" fmla="*/ 593905 h 1032158"/>
                <a:gd name="connsiteX309" fmla="*/ 2128256 w 3024845"/>
                <a:gd name="connsiteY309" fmla="*/ 593905 h 1032158"/>
                <a:gd name="connsiteX310" fmla="*/ 2146266 w 3024845"/>
                <a:gd name="connsiteY310" fmla="*/ 104983 h 1032158"/>
                <a:gd name="connsiteX311" fmla="*/ 2150320 w 3024845"/>
                <a:gd name="connsiteY311" fmla="*/ 33644 h 1032158"/>
                <a:gd name="connsiteX312" fmla="*/ 2180720 w 3024845"/>
                <a:gd name="connsiteY312" fmla="*/ 528692 h 1032158"/>
                <a:gd name="connsiteX313" fmla="*/ 2245574 w 3024845"/>
                <a:gd name="connsiteY313" fmla="*/ 528692 h 1032158"/>
                <a:gd name="connsiteX314" fmla="*/ 2245574 w 3024845"/>
                <a:gd name="connsiteY314" fmla="*/ 604354 h 1032158"/>
                <a:gd name="connsiteX315" fmla="*/ 2253681 w 3024845"/>
                <a:gd name="connsiteY315" fmla="*/ 604354 h 1032158"/>
                <a:gd name="connsiteX316" fmla="*/ 2255708 w 3024845"/>
                <a:gd name="connsiteY316" fmla="*/ 597869 h 1032158"/>
                <a:gd name="connsiteX317" fmla="*/ 2261788 w 3024845"/>
                <a:gd name="connsiteY317" fmla="*/ 597869 h 1032158"/>
                <a:gd name="connsiteX318" fmla="*/ 2263815 w 3024845"/>
                <a:gd name="connsiteY318" fmla="*/ 606516 h 1032158"/>
                <a:gd name="connsiteX319" fmla="*/ 2275975 w 3024845"/>
                <a:gd name="connsiteY319" fmla="*/ 606516 h 1032158"/>
                <a:gd name="connsiteX320" fmla="*/ 2275975 w 3024845"/>
                <a:gd name="connsiteY320" fmla="*/ 600030 h 1032158"/>
                <a:gd name="connsiteX321" fmla="*/ 2298268 w 3024845"/>
                <a:gd name="connsiteY321" fmla="*/ 600030 h 1032158"/>
                <a:gd name="connsiteX322" fmla="*/ 2298268 w 3024845"/>
                <a:gd name="connsiteY322" fmla="*/ 606516 h 1032158"/>
                <a:gd name="connsiteX323" fmla="*/ 2318535 w 3024845"/>
                <a:gd name="connsiteY323" fmla="*/ 606516 h 1032158"/>
                <a:gd name="connsiteX324" fmla="*/ 2318535 w 3024845"/>
                <a:gd name="connsiteY324" fmla="*/ 651913 h 1032158"/>
                <a:gd name="connsiteX325" fmla="*/ 2332722 w 3024845"/>
                <a:gd name="connsiteY325" fmla="*/ 651913 h 1032158"/>
                <a:gd name="connsiteX326" fmla="*/ 2332722 w 3024845"/>
                <a:gd name="connsiteY326" fmla="*/ 638942 h 1032158"/>
                <a:gd name="connsiteX327" fmla="*/ 2348936 w 3024845"/>
                <a:gd name="connsiteY327" fmla="*/ 638942 h 1032158"/>
                <a:gd name="connsiteX328" fmla="*/ 2348936 w 3024845"/>
                <a:gd name="connsiteY328" fmla="*/ 459515 h 1032158"/>
                <a:gd name="connsiteX329" fmla="*/ 2355016 w 3024845"/>
                <a:gd name="connsiteY329" fmla="*/ 453029 h 1032158"/>
                <a:gd name="connsiteX330" fmla="*/ 2427977 w 3024845"/>
                <a:gd name="connsiteY330" fmla="*/ 453029 h 1032158"/>
                <a:gd name="connsiteX331" fmla="*/ 2427977 w 3024845"/>
                <a:gd name="connsiteY331" fmla="*/ 461677 h 1032158"/>
                <a:gd name="connsiteX332" fmla="*/ 2438110 w 3024845"/>
                <a:gd name="connsiteY332" fmla="*/ 461677 h 1032158"/>
                <a:gd name="connsiteX333" fmla="*/ 2438110 w 3024845"/>
                <a:gd name="connsiteY333" fmla="*/ 576251 h 1032158"/>
                <a:gd name="connsiteX334" fmla="*/ 2460404 w 3024845"/>
                <a:gd name="connsiteY334" fmla="*/ 576251 h 1032158"/>
                <a:gd name="connsiteX335" fmla="*/ 2460404 w 3024845"/>
                <a:gd name="connsiteY335" fmla="*/ 509236 h 1032158"/>
                <a:gd name="connsiteX336" fmla="*/ 2486751 w 3024845"/>
                <a:gd name="connsiteY336" fmla="*/ 509236 h 1032158"/>
                <a:gd name="connsiteX337" fmla="*/ 2490804 w 3024845"/>
                <a:gd name="connsiteY337" fmla="*/ 504912 h 1032158"/>
                <a:gd name="connsiteX338" fmla="*/ 2498911 w 3024845"/>
                <a:gd name="connsiteY338" fmla="*/ 504912 h 1032158"/>
                <a:gd name="connsiteX339" fmla="*/ 2502964 w 3024845"/>
                <a:gd name="connsiteY339" fmla="*/ 509236 h 1032158"/>
                <a:gd name="connsiteX340" fmla="*/ 2525258 w 3024845"/>
                <a:gd name="connsiteY340" fmla="*/ 509236 h 1032158"/>
                <a:gd name="connsiteX341" fmla="*/ 2525258 w 3024845"/>
                <a:gd name="connsiteY341" fmla="*/ 392500 h 1032158"/>
                <a:gd name="connsiteX342" fmla="*/ 2582005 w 3024845"/>
                <a:gd name="connsiteY342" fmla="*/ 381691 h 1032158"/>
                <a:gd name="connsiteX343" fmla="*/ 2582005 w 3024845"/>
                <a:gd name="connsiteY343" fmla="*/ 382772 h 1032158"/>
                <a:gd name="connsiteX344" fmla="*/ 2582005 w 3024845"/>
                <a:gd name="connsiteY344" fmla="*/ 390338 h 1032158"/>
                <a:gd name="connsiteX345" fmla="*/ 2608352 w 3024845"/>
                <a:gd name="connsiteY345" fmla="*/ 390338 h 1032158"/>
                <a:gd name="connsiteX346" fmla="*/ 2608352 w 3024845"/>
                <a:gd name="connsiteY346" fmla="*/ 645428 h 1032158"/>
                <a:gd name="connsiteX347" fmla="*/ 2630646 w 3024845"/>
                <a:gd name="connsiteY347" fmla="*/ 645428 h 1032158"/>
                <a:gd name="connsiteX348" fmla="*/ 2630646 w 3024845"/>
                <a:gd name="connsiteY348" fmla="*/ 641104 h 1032158"/>
                <a:gd name="connsiteX349" fmla="*/ 2642806 w 3024845"/>
                <a:gd name="connsiteY349" fmla="*/ 641104 h 1032158"/>
                <a:gd name="connsiteX350" fmla="*/ 2642806 w 3024845"/>
                <a:gd name="connsiteY350" fmla="*/ 645428 h 1032158"/>
                <a:gd name="connsiteX351" fmla="*/ 2667126 w 3024845"/>
                <a:gd name="connsiteY351" fmla="*/ 645428 h 1032158"/>
                <a:gd name="connsiteX352" fmla="*/ 2667126 w 3024845"/>
                <a:gd name="connsiteY352" fmla="*/ 632457 h 1032158"/>
                <a:gd name="connsiteX353" fmla="*/ 2695500 w 3024845"/>
                <a:gd name="connsiteY353" fmla="*/ 632457 h 1032158"/>
                <a:gd name="connsiteX354" fmla="*/ 2707660 w 3024845"/>
                <a:gd name="connsiteY354" fmla="*/ 628133 h 1032158"/>
                <a:gd name="connsiteX355" fmla="*/ 2727927 w 3024845"/>
                <a:gd name="connsiteY355" fmla="*/ 632457 h 1032158"/>
                <a:gd name="connsiteX356" fmla="*/ 2727927 w 3024845"/>
                <a:gd name="connsiteY356" fmla="*/ 615163 h 1032158"/>
                <a:gd name="connsiteX357" fmla="*/ 2736034 w 3024845"/>
                <a:gd name="connsiteY357" fmla="*/ 615163 h 1032158"/>
                <a:gd name="connsiteX358" fmla="*/ 2736034 w 3024845"/>
                <a:gd name="connsiteY358" fmla="*/ 602192 h 1032158"/>
                <a:gd name="connsiteX359" fmla="*/ 2792781 w 3024845"/>
                <a:gd name="connsiteY359" fmla="*/ 602192 h 1032158"/>
                <a:gd name="connsiteX360" fmla="*/ 2792781 w 3024845"/>
                <a:gd name="connsiteY360" fmla="*/ 571927 h 1032158"/>
                <a:gd name="connsiteX361" fmla="*/ 2811021 w 3024845"/>
                <a:gd name="connsiteY361" fmla="*/ 571927 h 1032158"/>
                <a:gd name="connsiteX362" fmla="*/ 2811021 w 3024845"/>
                <a:gd name="connsiteY362" fmla="*/ 565442 h 1032158"/>
                <a:gd name="connsiteX363" fmla="*/ 2823181 w 3024845"/>
                <a:gd name="connsiteY363" fmla="*/ 565442 h 1032158"/>
                <a:gd name="connsiteX364" fmla="*/ 2823181 w 3024845"/>
                <a:gd name="connsiteY364" fmla="*/ 571927 h 1032158"/>
                <a:gd name="connsiteX365" fmla="*/ 2839395 w 3024845"/>
                <a:gd name="connsiteY365" fmla="*/ 571927 h 1032158"/>
                <a:gd name="connsiteX366" fmla="*/ 2839395 w 3024845"/>
                <a:gd name="connsiteY366" fmla="*/ 621648 h 1032158"/>
                <a:gd name="connsiteX367" fmla="*/ 2871822 w 3024845"/>
                <a:gd name="connsiteY367" fmla="*/ 621648 h 1032158"/>
                <a:gd name="connsiteX368" fmla="*/ 2871822 w 3024845"/>
                <a:gd name="connsiteY368" fmla="*/ 595707 h 1032158"/>
                <a:gd name="connsiteX369" fmla="*/ 2910329 w 3024845"/>
                <a:gd name="connsiteY369" fmla="*/ 595707 h 1032158"/>
                <a:gd name="connsiteX370" fmla="*/ 2910329 w 3024845"/>
                <a:gd name="connsiteY370" fmla="*/ 565442 h 1032158"/>
                <a:gd name="connsiteX371" fmla="*/ 2958970 w 3024845"/>
                <a:gd name="connsiteY371" fmla="*/ 565442 h 1032158"/>
                <a:gd name="connsiteX372" fmla="*/ 2958970 w 3024845"/>
                <a:gd name="connsiteY372" fmla="*/ 676598 h 1032158"/>
                <a:gd name="connsiteX373" fmla="*/ 2958970 w 3024845"/>
                <a:gd name="connsiteY373" fmla="*/ 690377 h 1032158"/>
                <a:gd name="connsiteX374" fmla="*/ 3024845 w 3024845"/>
                <a:gd name="connsiteY374" fmla="*/ 690377 h 1032158"/>
                <a:gd name="connsiteX375" fmla="*/ 3024845 w 3024845"/>
                <a:gd name="connsiteY375" fmla="*/ 1032158 h 1032158"/>
                <a:gd name="connsiteX376" fmla="*/ 2054 w 3024845"/>
                <a:gd name="connsiteY376" fmla="*/ 1029825 h 1032158"/>
                <a:gd name="connsiteX377" fmla="*/ 0 w 3024845"/>
                <a:gd name="connsiteY377" fmla="*/ 595707 h 1032158"/>
                <a:gd name="connsiteX378" fmla="*/ 20267 w 3024845"/>
                <a:gd name="connsiteY378" fmla="*/ 595707 h 1032158"/>
                <a:gd name="connsiteX379" fmla="*/ 20774 w 3024845"/>
                <a:gd name="connsiteY379" fmla="*/ 594626 h 1032158"/>
                <a:gd name="connsiteX380" fmla="*/ 24320 w 3024845"/>
                <a:gd name="connsiteY380" fmla="*/ 587060 h 1032158"/>
                <a:gd name="connsiteX381" fmla="*/ 26094 w 3024845"/>
                <a:gd name="connsiteY381" fmla="*/ 587330 h 1032158"/>
                <a:gd name="connsiteX382" fmla="*/ 38507 w 3024845"/>
                <a:gd name="connsiteY382" fmla="*/ 589221 h 1032158"/>
                <a:gd name="connsiteX383" fmla="*/ 39014 w 3024845"/>
                <a:gd name="connsiteY383" fmla="*/ 590573 h 1032158"/>
                <a:gd name="connsiteX384" fmla="*/ 42560 w 3024845"/>
                <a:gd name="connsiteY384" fmla="*/ 600030 h 1032158"/>
                <a:gd name="connsiteX385" fmla="*/ 68907 w 3024845"/>
                <a:gd name="connsiteY385" fmla="*/ 602192 h 1032158"/>
                <a:gd name="connsiteX386" fmla="*/ 68907 w 3024845"/>
                <a:gd name="connsiteY386" fmla="*/ 478971 h 1032158"/>
                <a:gd name="connsiteX387" fmla="*/ 70934 w 3024845"/>
                <a:gd name="connsiteY387" fmla="*/ 478971 h 1032158"/>
                <a:gd name="connsiteX388" fmla="*/ 85121 w 3024845"/>
                <a:gd name="connsiteY388" fmla="*/ 478971 h 1032158"/>
                <a:gd name="connsiteX389" fmla="*/ 85121 w 3024845"/>
                <a:gd name="connsiteY389" fmla="*/ 342779 h 1032158"/>
                <a:gd name="connsiteX390" fmla="*/ 86894 w 3024845"/>
                <a:gd name="connsiteY390" fmla="*/ 342779 h 1032158"/>
                <a:gd name="connsiteX391" fmla="*/ 99308 w 3024845"/>
                <a:gd name="connsiteY391" fmla="*/ 342779 h 1032158"/>
                <a:gd name="connsiteX392" fmla="*/ 99308 w 3024845"/>
                <a:gd name="connsiteY392" fmla="*/ 228205 h 1032158"/>
                <a:gd name="connsiteX393" fmla="*/ 103361 w 3024845"/>
                <a:gd name="connsiteY393" fmla="*/ 200101 h 1032158"/>
                <a:gd name="connsiteX394" fmla="*/ 105388 w 3024845"/>
                <a:gd name="connsiteY394" fmla="*/ 200101 h 1032158"/>
                <a:gd name="connsiteX395" fmla="*/ 119575 w 3024845"/>
                <a:gd name="connsiteY395" fmla="*/ 200101 h 1032158"/>
                <a:gd name="connsiteX0" fmla="*/ 119575 w 3024845"/>
                <a:gd name="connsiteY0" fmla="*/ 95357 h 927414"/>
                <a:gd name="connsiteX1" fmla="*/ 200642 w 3024845"/>
                <a:gd name="connsiteY1" fmla="*/ 93196 h 927414"/>
                <a:gd name="connsiteX2" fmla="*/ 202669 w 3024845"/>
                <a:gd name="connsiteY2" fmla="*/ 93196 h 927414"/>
                <a:gd name="connsiteX3" fmla="*/ 216856 w 3024845"/>
                <a:gd name="connsiteY3" fmla="*/ 93196 h 927414"/>
                <a:gd name="connsiteX4" fmla="*/ 216856 w 3024845"/>
                <a:gd name="connsiteY4" fmla="*/ 116975 h 927414"/>
                <a:gd name="connsiteX5" fmla="*/ 217363 w 3024845"/>
                <a:gd name="connsiteY5" fmla="*/ 117786 h 927414"/>
                <a:gd name="connsiteX6" fmla="*/ 220909 w 3024845"/>
                <a:gd name="connsiteY6" fmla="*/ 123461 h 927414"/>
                <a:gd name="connsiteX7" fmla="*/ 220909 w 3024845"/>
                <a:gd name="connsiteY7" fmla="*/ 238035 h 927414"/>
                <a:gd name="connsiteX8" fmla="*/ 223189 w 3024845"/>
                <a:gd name="connsiteY8" fmla="*/ 238035 h 927414"/>
                <a:gd name="connsiteX9" fmla="*/ 239150 w 3024845"/>
                <a:gd name="connsiteY9" fmla="*/ 238035 h 927414"/>
                <a:gd name="connsiteX10" fmla="*/ 239150 w 3024845"/>
                <a:gd name="connsiteY10" fmla="*/ 378550 h 927414"/>
                <a:gd name="connsiteX11" fmla="*/ 240670 w 3024845"/>
                <a:gd name="connsiteY11" fmla="*/ 378280 h 927414"/>
                <a:gd name="connsiteX12" fmla="*/ 251310 w 3024845"/>
                <a:gd name="connsiteY12" fmla="*/ 376389 h 927414"/>
                <a:gd name="connsiteX13" fmla="*/ 249283 w 3024845"/>
                <a:gd name="connsiteY13" fmla="*/ 465021 h 927414"/>
                <a:gd name="connsiteX14" fmla="*/ 250803 w 3024845"/>
                <a:gd name="connsiteY14" fmla="*/ 465292 h 927414"/>
                <a:gd name="connsiteX15" fmla="*/ 261443 w 3024845"/>
                <a:gd name="connsiteY15" fmla="*/ 467183 h 927414"/>
                <a:gd name="connsiteX16" fmla="*/ 261696 w 3024845"/>
                <a:gd name="connsiteY16" fmla="*/ 467994 h 927414"/>
                <a:gd name="connsiteX17" fmla="*/ 263470 w 3024845"/>
                <a:gd name="connsiteY17" fmla="*/ 473669 h 927414"/>
                <a:gd name="connsiteX18" fmla="*/ 264230 w 3024845"/>
                <a:gd name="connsiteY18" fmla="*/ 471237 h 927414"/>
                <a:gd name="connsiteX19" fmla="*/ 269550 w 3024845"/>
                <a:gd name="connsiteY19" fmla="*/ 454213 h 927414"/>
                <a:gd name="connsiteX20" fmla="*/ 271323 w 3024845"/>
                <a:gd name="connsiteY20" fmla="*/ 454213 h 927414"/>
                <a:gd name="connsiteX21" fmla="*/ 283737 w 3024845"/>
                <a:gd name="connsiteY21" fmla="*/ 454213 h 927414"/>
                <a:gd name="connsiteX22" fmla="*/ 283737 w 3024845"/>
                <a:gd name="connsiteY22" fmla="*/ 486639 h 927414"/>
                <a:gd name="connsiteX23" fmla="*/ 284750 w 3024845"/>
                <a:gd name="connsiteY23" fmla="*/ 487180 h 927414"/>
                <a:gd name="connsiteX24" fmla="*/ 291844 w 3024845"/>
                <a:gd name="connsiteY24" fmla="*/ 490963 h 927414"/>
                <a:gd name="connsiteX25" fmla="*/ 291844 w 3024845"/>
                <a:gd name="connsiteY25" fmla="*/ 492314 h 927414"/>
                <a:gd name="connsiteX26" fmla="*/ 291844 w 3024845"/>
                <a:gd name="connsiteY26" fmla="*/ 501772 h 927414"/>
                <a:gd name="connsiteX27" fmla="*/ 336431 w 3024845"/>
                <a:gd name="connsiteY27" fmla="*/ 501772 h 927414"/>
                <a:gd name="connsiteX28" fmla="*/ 336431 w 3024845"/>
                <a:gd name="connsiteY28" fmla="*/ 502853 h 927414"/>
                <a:gd name="connsiteX29" fmla="*/ 336431 w 3024845"/>
                <a:gd name="connsiteY29" fmla="*/ 510419 h 927414"/>
                <a:gd name="connsiteX30" fmla="*/ 338457 w 3024845"/>
                <a:gd name="connsiteY30" fmla="*/ 510419 h 927414"/>
                <a:gd name="connsiteX31" fmla="*/ 352644 w 3024845"/>
                <a:gd name="connsiteY31" fmla="*/ 510419 h 927414"/>
                <a:gd name="connsiteX32" fmla="*/ 352644 w 3024845"/>
                <a:gd name="connsiteY32" fmla="*/ 480154 h 927414"/>
                <a:gd name="connsiteX33" fmla="*/ 397231 w 3024845"/>
                <a:gd name="connsiteY33" fmla="*/ 480154 h 927414"/>
                <a:gd name="connsiteX34" fmla="*/ 397231 w 3024845"/>
                <a:gd name="connsiteY34" fmla="*/ 478803 h 927414"/>
                <a:gd name="connsiteX35" fmla="*/ 397231 w 3024845"/>
                <a:gd name="connsiteY35" fmla="*/ 469345 h 927414"/>
                <a:gd name="connsiteX36" fmla="*/ 398245 w 3024845"/>
                <a:gd name="connsiteY36" fmla="*/ 469345 h 927414"/>
                <a:gd name="connsiteX37" fmla="*/ 405338 w 3024845"/>
                <a:gd name="connsiteY37" fmla="*/ 469345 h 927414"/>
                <a:gd name="connsiteX38" fmla="*/ 405338 w 3024845"/>
                <a:gd name="connsiteY38" fmla="*/ 467454 h 927414"/>
                <a:gd name="connsiteX39" fmla="*/ 405338 w 3024845"/>
                <a:gd name="connsiteY39" fmla="*/ 454213 h 927414"/>
                <a:gd name="connsiteX40" fmla="*/ 406098 w 3024845"/>
                <a:gd name="connsiteY40" fmla="*/ 454213 h 927414"/>
                <a:gd name="connsiteX41" fmla="*/ 411418 w 3024845"/>
                <a:gd name="connsiteY41" fmla="*/ 454213 h 927414"/>
                <a:gd name="connsiteX42" fmla="*/ 411418 w 3024845"/>
                <a:gd name="connsiteY42" fmla="*/ 453132 h 927414"/>
                <a:gd name="connsiteX43" fmla="*/ 411418 w 3024845"/>
                <a:gd name="connsiteY43" fmla="*/ 445565 h 927414"/>
                <a:gd name="connsiteX44" fmla="*/ 413445 w 3024845"/>
                <a:gd name="connsiteY44" fmla="*/ 445565 h 927414"/>
                <a:gd name="connsiteX45" fmla="*/ 427632 w 3024845"/>
                <a:gd name="connsiteY45" fmla="*/ 445565 h 927414"/>
                <a:gd name="connsiteX46" fmla="*/ 427632 w 3024845"/>
                <a:gd name="connsiteY46" fmla="*/ 446646 h 927414"/>
                <a:gd name="connsiteX47" fmla="*/ 427632 w 3024845"/>
                <a:gd name="connsiteY47" fmla="*/ 454213 h 927414"/>
                <a:gd name="connsiteX48" fmla="*/ 449925 w 3024845"/>
                <a:gd name="connsiteY48" fmla="*/ 454213 h 927414"/>
                <a:gd name="connsiteX49" fmla="*/ 449925 w 3024845"/>
                <a:gd name="connsiteY49" fmla="*/ 452321 h 927414"/>
                <a:gd name="connsiteX50" fmla="*/ 449925 w 3024845"/>
                <a:gd name="connsiteY50" fmla="*/ 439080 h 927414"/>
                <a:gd name="connsiteX51" fmla="*/ 451699 w 3024845"/>
                <a:gd name="connsiteY51" fmla="*/ 439080 h 927414"/>
                <a:gd name="connsiteX52" fmla="*/ 464112 w 3024845"/>
                <a:gd name="connsiteY52" fmla="*/ 439080 h 927414"/>
                <a:gd name="connsiteX53" fmla="*/ 464112 w 3024845"/>
                <a:gd name="connsiteY53" fmla="*/ 462860 h 927414"/>
                <a:gd name="connsiteX54" fmla="*/ 465126 w 3024845"/>
                <a:gd name="connsiteY54" fmla="*/ 462860 h 927414"/>
                <a:gd name="connsiteX55" fmla="*/ 472219 w 3024845"/>
                <a:gd name="connsiteY55" fmla="*/ 462860 h 927414"/>
                <a:gd name="connsiteX56" fmla="*/ 472219 w 3024845"/>
                <a:gd name="connsiteY56" fmla="*/ 461779 h 927414"/>
                <a:gd name="connsiteX57" fmla="*/ 472219 w 3024845"/>
                <a:gd name="connsiteY57" fmla="*/ 454213 h 927414"/>
                <a:gd name="connsiteX58" fmla="*/ 473992 w 3024845"/>
                <a:gd name="connsiteY58" fmla="*/ 454213 h 927414"/>
                <a:gd name="connsiteX59" fmla="*/ 486406 w 3024845"/>
                <a:gd name="connsiteY59" fmla="*/ 454213 h 927414"/>
                <a:gd name="connsiteX60" fmla="*/ 486406 w 3024845"/>
                <a:gd name="connsiteY60" fmla="*/ 480154 h 927414"/>
                <a:gd name="connsiteX61" fmla="*/ 488433 w 3024845"/>
                <a:gd name="connsiteY61" fmla="*/ 480154 h 927414"/>
                <a:gd name="connsiteX62" fmla="*/ 502619 w 3024845"/>
                <a:gd name="connsiteY62" fmla="*/ 480154 h 927414"/>
                <a:gd name="connsiteX63" fmla="*/ 502619 w 3024845"/>
                <a:gd name="connsiteY63" fmla="*/ 481775 h 927414"/>
                <a:gd name="connsiteX64" fmla="*/ 502619 w 3024845"/>
                <a:gd name="connsiteY64" fmla="*/ 493125 h 927414"/>
                <a:gd name="connsiteX65" fmla="*/ 503379 w 3024845"/>
                <a:gd name="connsiteY65" fmla="*/ 493125 h 927414"/>
                <a:gd name="connsiteX66" fmla="*/ 508700 w 3024845"/>
                <a:gd name="connsiteY66" fmla="*/ 493125 h 927414"/>
                <a:gd name="connsiteX67" fmla="*/ 508700 w 3024845"/>
                <a:gd name="connsiteY67" fmla="*/ 492314 h 927414"/>
                <a:gd name="connsiteX68" fmla="*/ 508700 w 3024845"/>
                <a:gd name="connsiteY68" fmla="*/ 486639 h 927414"/>
                <a:gd name="connsiteX69" fmla="*/ 539100 w 3024845"/>
                <a:gd name="connsiteY69" fmla="*/ 486639 h 927414"/>
                <a:gd name="connsiteX70" fmla="*/ 539100 w 3024845"/>
                <a:gd name="connsiteY70" fmla="*/ 510419 h 927414"/>
                <a:gd name="connsiteX71" fmla="*/ 540113 w 3024845"/>
                <a:gd name="connsiteY71" fmla="*/ 510419 h 927414"/>
                <a:gd name="connsiteX72" fmla="*/ 547207 w 3024845"/>
                <a:gd name="connsiteY72" fmla="*/ 510419 h 927414"/>
                <a:gd name="connsiteX73" fmla="*/ 547207 w 3024845"/>
                <a:gd name="connsiteY73" fmla="*/ 511500 h 927414"/>
                <a:gd name="connsiteX74" fmla="*/ 547207 w 3024845"/>
                <a:gd name="connsiteY74" fmla="*/ 519066 h 927414"/>
                <a:gd name="connsiteX75" fmla="*/ 547967 w 3024845"/>
                <a:gd name="connsiteY75" fmla="*/ 519066 h 927414"/>
                <a:gd name="connsiteX76" fmla="*/ 553287 w 3024845"/>
                <a:gd name="connsiteY76" fmla="*/ 519066 h 927414"/>
                <a:gd name="connsiteX77" fmla="*/ 553287 w 3024845"/>
                <a:gd name="connsiteY77" fmla="*/ 516904 h 927414"/>
                <a:gd name="connsiteX78" fmla="*/ 553287 w 3024845"/>
                <a:gd name="connsiteY78" fmla="*/ 501772 h 927414"/>
                <a:gd name="connsiteX79" fmla="*/ 554300 w 3024845"/>
                <a:gd name="connsiteY79" fmla="*/ 501772 h 927414"/>
                <a:gd name="connsiteX80" fmla="*/ 561394 w 3024845"/>
                <a:gd name="connsiteY80" fmla="*/ 501772 h 927414"/>
                <a:gd name="connsiteX81" fmla="*/ 561394 w 3024845"/>
                <a:gd name="connsiteY81" fmla="*/ 502853 h 927414"/>
                <a:gd name="connsiteX82" fmla="*/ 561394 w 3024845"/>
                <a:gd name="connsiteY82" fmla="*/ 510419 h 927414"/>
                <a:gd name="connsiteX83" fmla="*/ 566714 w 3024845"/>
                <a:gd name="connsiteY83" fmla="*/ 508426 h 927414"/>
                <a:gd name="connsiteX84" fmla="*/ 567474 w 3024845"/>
                <a:gd name="connsiteY84" fmla="*/ 507446 h 927414"/>
                <a:gd name="connsiteX85" fmla="*/ 567474 w 3024845"/>
                <a:gd name="connsiteY85" fmla="*/ 501772 h 927414"/>
                <a:gd name="connsiteX86" fmla="*/ 605981 w 3024845"/>
                <a:gd name="connsiteY86" fmla="*/ 501772 h 927414"/>
                <a:gd name="connsiteX87" fmla="*/ 605981 w 3024845"/>
                <a:gd name="connsiteY87" fmla="*/ 525551 h 927414"/>
                <a:gd name="connsiteX88" fmla="*/ 608007 w 3024845"/>
                <a:gd name="connsiteY88" fmla="*/ 525551 h 927414"/>
                <a:gd name="connsiteX89" fmla="*/ 622194 w 3024845"/>
                <a:gd name="connsiteY89" fmla="*/ 525551 h 927414"/>
                <a:gd name="connsiteX90" fmla="*/ 622194 w 3024845"/>
                <a:gd name="connsiteY90" fmla="*/ 526632 h 927414"/>
                <a:gd name="connsiteX91" fmla="*/ 622194 w 3024845"/>
                <a:gd name="connsiteY91" fmla="*/ 534198 h 927414"/>
                <a:gd name="connsiteX92" fmla="*/ 623968 w 3024845"/>
                <a:gd name="connsiteY92" fmla="*/ 534198 h 927414"/>
                <a:gd name="connsiteX93" fmla="*/ 636381 w 3024845"/>
                <a:gd name="connsiteY93" fmla="*/ 534198 h 927414"/>
                <a:gd name="connsiteX94" fmla="*/ 636381 w 3024845"/>
                <a:gd name="connsiteY94" fmla="*/ 510419 h 927414"/>
                <a:gd name="connsiteX95" fmla="*/ 637394 w 3024845"/>
                <a:gd name="connsiteY95" fmla="*/ 510419 h 927414"/>
                <a:gd name="connsiteX96" fmla="*/ 644488 w 3024845"/>
                <a:gd name="connsiteY96" fmla="*/ 510419 h 927414"/>
                <a:gd name="connsiteX97" fmla="*/ 644488 w 3024845"/>
                <a:gd name="connsiteY97" fmla="*/ 477992 h 927414"/>
                <a:gd name="connsiteX98" fmla="*/ 645501 w 3024845"/>
                <a:gd name="connsiteY98" fmla="*/ 477992 h 927414"/>
                <a:gd name="connsiteX99" fmla="*/ 652595 w 3024845"/>
                <a:gd name="connsiteY99" fmla="*/ 477992 h 927414"/>
                <a:gd name="connsiteX100" fmla="*/ 652595 w 3024845"/>
                <a:gd name="connsiteY100" fmla="*/ 476101 h 927414"/>
                <a:gd name="connsiteX101" fmla="*/ 652595 w 3024845"/>
                <a:gd name="connsiteY101" fmla="*/ 462860 h 927414"/>
                <a:gd name="connsiteX102" fmla="*/ 651328 w 3024845"/>
                <a:gd name="connsiteY102" fmla="*/ 461238 h 927414"/>
                <a:gd name="connsiteX103" fmla="*/ 656648 w 3024845"/>
                <a:gd name="connsiteY103" fmla="*/ 449889 h 927414"/>
                <a:gd name="connsiteX104" fmla="*/ 664755 w 3024845"/>
                <a:gd name="connsiteY104" fmla="*/ 477992 h 927414"/>
                <a:gd name="connsiteX105" fmla="*/ 665515 w 3024845"/>
                <a:gd name="connsiteY105" fmla="*/ 477992 h 927414"/>
                <a:gd name="connsiteX106" fmla="*/ 670835 w 3024845"/>
                <a:gd name="connsiteY106" fmla="*/ 477992 h 927414"/>
                <a:gd name="connsiteX107" fmla="*/ 670835 w 3024845"/>
                <a:gd name="connsiteY107" fmla="*/ 372065 h 927414"/>
                <a:gd name="connsiteX108" fmla="*/ 672355 w 3024845"/>
                <a:gd name="connsiteY108" fmla="*/ 372065 h 927414"/>
                <a:gd name="connsiteX109" fmla="*/ 682995 w 3024845"/>
                <a:gd name="connsiteY109" fmla="*/ 372065 h 927414"/>
                <a:gd name="connsiteX110" fmla="*/ 682995 w 3024845"/>
                <a:gd name="connsiteY110" fmla="*/ 324506 h 927414"/>
                <a:gd name="connsiteX111" fmla="*/ 709342 w 3024845"/>
                <a:gd name="connsiteY111" fmla="*/ 324506 h 927414"/>
                <a:gd name="connsiteX112" fmla="*/ 709342 w 3024845"/>
                <a:gd name="connsiteY112" fmla="*/ 302888 h 927414"/>
                <a:gd name="connsiteX113" fmla="*/ 743796 w 3024845"/>
                <a:gd name="connsiteY113" fmla="*/ 302888 h 927414"/>
                <a:gd name="connsiteX114" fmla="*/ 743796 w 3024845"/>
                <a:gd name="connsiteY114" fmla="*/ 305320 h 927414"/>
                <a:gd name="connsiteX115" fmla="*/ 743796 w 3024845"/>
                <a:gd name="connsiteY115" fmla="*/ 322344 h 927414"/>
                <a:gd name="connsiteX116" fmla="*/ 746076 w 3024845"/>
                <a:gd name="connsiteY116" fmla="*/ 322344 h 927414"/>
                <a:gd name="connsiteX117" fmla="*/ 762036 w 3024845"/>
                <a:gd name="connsiteY117" fmla="*/ 322344 h 927414"/>
                <a:gd name="connsiteX118" fmla="*/ 762036 w 3024845"/>
                <a:gd name="connsiteY118" fmla="*/ 369903 h 927414"/>
                <a:gd name="connsiteX119" fmla="*/ 763049 w 3024845"/>
                <a:gd name="connsiteY119" fmla="*/ 369903 h 927414"/>
                <a:gd name="connsiteX120" fmla="*/ 770143 w 3024845"/>
                <a:gd name="connsiteY120" fmla="*/ 369903 h 927414"/>
                <a:gd name="connsiteX121" fmla="*/ 784330 w 3024845"/>
                <a:gd name="connsiteY121" fmla="*/ 374227 h 927414"/>
                <a:gd name="connsiteX122" fmla="*/ 784330 w 3024845"/>
                <a:gd name="connsiteY122" fmla="*/ 413139 h 927414"/>
                <a:gd name="connsiteX123" fmla="*/ 785343 w 3024845"/>
                <a:gd name="connsiteY123" fmla="*/ 413139 h 927414"/>
                <a:gd name="connsiteX124" fmla="*/ 792436 w 3024845"/>
                <a:gd name="connsiteY124" fmla="*/ 413139 h 927414"/>
                <a:gd name="connsiteX125" fmla="*/ 792436 w 3024845"/>
                <a:gd name="connsiteY125" fmla="*/ 414760 h 927414"/>
                <a:gd name="connsiteX126" fmla="*/ 792436 w 3024845"/>
                <a:gd name="connsiteY126" fmla="*/ 426109 h 927414"/>
                <a:gd name="connsiteX127" fmla="*/ 794463 w 3024845"/>
                <a:gd name="connsiteY127" fmla="*/ 426109 h 927414"/>
                <a:gd name="connsiteX128" fmla="*/ 808650 w 3024845"/>
                <a:gd name="connsiteY128" fmla="*/ 426109 h 927414"/>
                <a:gd name="connsiteX129" fmla="*/ 814730 w 3024845"/>
                <a:gd name="connsiteY129" fmla="*/ 432595 h 927414"/>
                <a:gd name="connsiteX130" fmla="*/ 814730 w 3024845"/>
                <a:gd name="connsiteY130" fmla="*/ 454213 h 927414"/>
                <a:gd name="connsiteX131" fmla="*/ 817010 w 3024845"/>
                <a:gd name="connsiteY131" fmla="*/ 454213 h 927414"/>
                <a:gd name="connsiteX132" fmla="*/ 832970 w 3024845"/>
                <a:gd name="connsiteY132" fmla="*/ 454213 h 927414"/>
                <a:gd name="connsiteX133" fmla="*/ 832970 w 3024845"/>
                <a:gd name="connsiteY133" fmla="*/ 455293 h 927414"/>
                <a:gd name="connsiteX134" fmla="*/ 832970 w 3024845"/>
                <a:gd name="connsiteY134" fmla="*/ 462860 h 927414"/>
                <a:gd name="connsiteX135" fmla="*/ 834237 w 3024845"/>
                <a:gd name="connsiteY135" fmla="*/ 462860 h 927414"/>
                <a:gd name="connsiteX136" fmla="*/ 843104 w 3024845"/>
                <a:gd name="connsiteY136" fmla="*/ 462860 h 927414"/>
                <a:gd name="connsiteX137" fmla="*/ 843104 w 3024845"/>
                <a:gd name="connsiteY137" fmla="*/ 465021 h 927414"/>
                <a:gd name="connsiteX138" fmla="*/ 843104 w 3024845"/>
                <a:gd name="connsiteY138" fmla="*/ 480154 h 927414"/>
                <a:gd name="connsiteX139" fmla="*/ 847157 w 3024845"/>
                <a:gd name="connsiteY139" fmla="*/ 478262 h 927414"/>
                <a:gd name="connsiteX140" fmla="*/ 847157 w 3024845"/>
                <a:gd name="connsiteY140" fmla="*/ 465021 h 927414"/>
                <a:gd name="connsiteX141" fmla="*/ 848170 w 3024845"/>
                <a:gd name="connsiteY141" fmla="*/ 465021 h 927414"/>
                <a:gd name="connsiteX142" fmla="*/ 855264 w 3024845"/>
                <a:gd name="connsiteY142" fmla="*/ 465021 h 927414"/>
                <a:gd name="connsiteX143" fmla="*/ 855264 w 3024845"/>
                <a:gd name="connsiteY143" fmla="*/ 466643 h 927414"/>
                <a:gd name="connsiteX144" fmla="*/ 855264 w 3024845"/>
                <a:gd name="connsiteY144" fmla="*/ 477992 h 927414"/>
                <a:gd name="connsiteX145" fmla="*/ 856024 w 3024845"/>
                <a:gd name="connsiteY145" fmla="*/ 477992 h 927414"/>
                <a:gd name="connsiteX146" fmla="*/ 861344 w 3024845"/>
                <a:gd name="connsiteY146" fmla="*/ 477992 h 927414"/>
                <a:gd name="connsiteX147" fmla="*/ 909984 w 3024845"/>
                <a:gd name="connsiteY147" fmla="*/ 473669 h 927414"/>
                <a:gd name="connsiteX148" fmla="*/ 909984 w 3024845"/>
                <a:gd name="connsiteY148" fmla="*/ 475020 h 927414"/>
                <a:gd name="connsiteX149" fmla="*/ 909984 w 3024845"/>
                <a:gd name="connsiteY149" fmla="*/ 484477 h 927414"/>
                <a:gd name="connsiteX150" fmla="*/ 910744 w 3024845"/>
                <a:gd name="connsiteY150" fmla="*/ 484477 h 927414"/>
                <a:gd name="connsiteX151" fmla="*/ 916065 w 3024845"/>
                <a:gd name="connsiteY151" fmla="*/ 484477 h 927414"/>
                <a:gd name="connsiteX152" fmla="*/ 916065 w 3024845"/>
                <a:gd name="connsiteY152" fmla="*/ 486639 h 927414"/>
                <a:gd name="connsiteX153" fmla="*/ 916065 w 3024845"/>
                <a:gd name="connsiteY153" fmla="*/ 501772 h 927414"/>
                <a:gd name="connsiteX154" fmla="*/ 918091 w 3024845"/>
                <a:gd name="connsiteY154" fmla="*/ 500421 h 927414"/>
                <a:gd name="connsiteX155" fmla="*/ 932278 w 3024845"/>
                <a:gd name="connsiteY155" fmla="*/ 490963 h 927414"/>
                <a:gd name="connsiteX156" fmla="*/ 938358 w 3024845"/>
                <a:gd name="connsiteY156" fmla="*/ 449889 h 927414"/>
                <a:gd name="connsiteX157" fmla="*/ 939118 w 3024845"/>
                <a:gd name="connsiteY157" fmla="*/ 449619 h 927414"/>
                <a:gd name="connsiteX158" fmla="*/ 944438 w 3024845"/>
                <a:gd name="connsiteY158" fmla="*/ 447727 h 927414"/>
                <a:gd name="connsiteX159" fmla="*/ 946465 w 3024845"/>
                <a:gd name="connsiteY159" fmla="*/ 378550 h 927414"/>
                <a:gd name="connsiteX160" fmla="*/ 948492 w 3024845"/>
                <a:gd name="connsiteY160" fmla="*/ 447727 h 927414"/>
                <a:gd name="connsiteX161" fmla="*/ 949252 w 3024845"/>
                <a:gd name="connsiteY161" fmla="*/ 447997 h 927414"/>
                <a:gd name="connsiteX162" fmla="*/ 954572 w 3024845"/>
                <a:gd name="connsiteY162" fmla="*/ 449889 h 927414"/>
                <a:gd name="connsiteX163" fmla="*/ 954572 w 3024845"/>
                <a:gd name="connsiteY163" fmla="*/ 363418 h 927414"/>
                <a:gd name="connsiteX164" fmla="*/ 958625 w 3024845"/>
                <a:gd name="connsiteY164" fmla="*/ 330991 h 927414"/>
                <a:gd name="connsiteX165" fmla="*/ 997132 w 3024845"/>
                <a:gd name="connsiteY165" fmla="*/ 330991 h 927414"/>
                <a:gd name="connsiteX166" fmla="*/ 997132 w 3024845"/>
                <a:gd name="connsiteY166" fmla="*/ 363418 h 927414"/>
                <a:gd name="connsiteX167" fmla="*/ 997892 w 3024845"/>
                <a:gd name="connsiteY167" fmla="*/ 363418 h 927414"/>
                <a:gd name="connsiteX168" fmla="*/ 1003212 w 3024845"/>
                <a:gd name="connsiteY168" fmla="*/ 363418 h 927414"/>
                <a:gd name="connsiteX169" fmla="*/ 1003212 w 3024845"/>
                <a:gd name="connsiteY169" fmla="*/ 281270 h 927414"/>
                <a:gd name="connsiteX170" fmla="*/ 1004986 w 3024845"/>
                <a:gd name="connsiteY170" fmla="*/ 281270 h 927414"/>
                <a:gd name="connsiteX171" fmla="*/ 1017399 w 3024845"/>
                <a:gd name="connsiteY171" fmla="*/ 281270 h 927414"/>
                <a:gd name="connsiteX172" fmla="*/ 1017399 w 3024845"/>
                <a:gd name="connsiteY172" fmla="*/ 279379 h 927414"/>
                <a:gd name="connsiteX173" fmla="*/ 1017399 w 3024845"/>
                <a:gd name="connsiteY173" fmla="*/ 266138 h 927414"/>
                <a:gd name="connsiteX174" fmla="*/ 1039693 w 3024845"/>
                <a:gd name="connsiteY174" fmla="*/ 266138 h 927414"/>
                <a:gd name="connsiteX175" fmla="*/ 1039693 w 3024845"/>
                <a:gd name="connsiteY175" fmla="*/ 265057 h 927414"/>
                <a:gd name="connsiteX176" fmla="*/ 1039693 w 3024845"/>
                <a:gd name="connsiteY176" fmla="*/ 257491 h 927414"/>
                <a:gd name="connsiteX177" fmla="*/ 1041466 w 3024845"/>
                <a:gd name="connsiteY177" fmla="*/ 257491 h 927414"/>
                <a:gd name="connsiteX178" fmla="*/ 1053880 w 3024845"/>
                <a:gd name="connsiteY178" fmla="*/ 257491 h 927414"/>
                <a:gd name="connsiteX179" fmla="*/ 1053880 w 3024845"/>
                <a:gd name="connsiteY179" fmla="*/ 258572 h 927414"/>
                <a:gd name="connsiteX180" fmla="*/ 1053880 w 3024845"/>
                <a:gd name="connsiteY180" fmla="*/ 266138 h 927414"/>
                <a:gd name="connsiteX181" fmla="*/ 1054640 w 3024845"/>
                <a:gd name="connsiteY181" fmla="*/ 266138 h 927414"/>
                <a:gd name="connsiteX182" fmla="*/ 1059960 w 3024845"/>
                <a:gd name="connsiteY182" fmla="*/ 266138 h 927414"/>
                <a:gd name="connsiteX183" fmla="*/ 1070093 w 3024845"/>
                <a:gd name="connsiteY183" fmla="*/ 261814 h 927414"/>
                <a:gd name="connsiteX184" fmla="*/ 1074146 w 3024845"/>
                <a:gd name="connsiteY184" fmla="*/ 265057 h 927414"/>
                <a:gd name="connsiteX185" fmla="*/ 1074146 w 3024845"/>
                <a:gd name="connsiteY185" fmla="*/ 257491 h 927414"/>
                <a:gd name="connsiteX186" fmla="*/ 1076426 w 3024845"/>
                <a:gd name="connsiteY186" fmla="*/ 257491 h 927414"/>
                <a:gd name="connsiteX187" fmla="*/ 1092387 w 3024845"/>
                <a:gd name="connsiteY187" fmla="*/ 257491 h 927414"/>
                <a:gd name="connsiteX188" fmla="*/ 1092387 w 3024845"/>
                <a:gd name="connsiteY188" fmla="*/ 258572 h 927414"/>
                <a:gd name="connsiteX189" fmla="*/ 1092387 w 3024845"/>
                <a:gd name="connsiteY189" fmla="*/ 266138 h 927414"/>
                <a:gd name="connsiteX190" fmla="*/ 1122787 w 3024845"/>
                <a:gd name="connsiteY190" fmla="*/ 266138 h 927414"/>
                <a:gd name="connsiteX191" fmla="*/ 1122787 w 3024845"/>
                <a:gd name="connsiteY191" fmla="*/ 267759 h 927414"/>
                <a:gd name="connsiteX192" fmla="*/ 1122787 w 3024845"/>
                <a:gd name="connsiteY192" fmla="*/ 279109 h 927414"/>
                <a:gd name="connsiteX193" fmla="*/ 1149134 w 3024845"/>
                <a:gd name="connsiteY193" fmla="*/ 279109 h 927414"/>
                <a:gd name="connsiteX194" fmla="*/ 1149134 w 3024845"/>
                <a:gd name="connsiteY194" fmla="*/ 309373 h 927414"/>
                <a:gd name="connsiteX195" fmla="*/ 1149894 w 3024845"/>
                <a:gd name="connsiteY195" fmla="*/ 309373 h 927414"/>
                <a:gd name="connsiteX196" fmla="*/ 1155214 w 3024845"/>
                <a:gd name="connsiteY196" fmla="*/ 309373 h 927414"/>
                <a:gd name="connsiteX197" fmla="*/ 1155214 w 3024845"/>
                <a:gd name="connsiteY197" fmla="*/ 310454 h 927414"/>
                <a:gd name="connsiteX198" fmla="*/ 1155214 w 3024845"/>
                <a:gd name="connsiteY198" fmla="*/ 318021 h 927414"/>
                <a:gd name="connsiteX199" fmla="*/ 1159268 w 3024845"/>
                <a:gd name="connsiteY199" fmla="*/ 348285 h 927414"/>
                <a:gd name="connsiteX200" fmla="*/ 1160028 w 3024845"/>
                <a:gd name="connsiteY200" fmla="*/ 348285 h 927414"/>
                <a:gd name="connsiteX201" fmla="*/ 1165348 w 3024845"/>
                <a:gd name="connsiteY201" fmla="*/ 348285 h 927414"/>
                <a:gd name="connsiteX202" fmla="*/ 1165348 w 3024845"/>
                <a:gd name="connsiteY202" fmla="*/ 349096 h 927414"/>
                <a:gd name="connsiteX203" fmla="*/ 1165348 w 3024845"/>
                <a:gd name="connsiteY203" fmla="*/ 354771 h 927414"/>
                <a:gd name="connsiteX204" fmla="*/ 1166361 w 3024845"/>
                <a:gd name="connsiteY204" fmla="*/ 354771 h 927414"/>
                <a:gd name="connsiteX205" fmla="*/ 1173454 w 3024845"/>
                <a:gd name="connsiteY205" fmla="*/ 354771 h 927414"/>
                <a:gd name="connsiteX206" fmla="*/ 1173454 w 3024845"/>
                <a:gd name="connsiteY206" fmla="*/ 385036 h 927414"/>
                <a:gd name="connsiteX207" fmla="*/ 1175481 w 3024845"/>
                <a:gd name="connsiteY207" fmla="*/ 385036 h 927414"/>
                <a:gd name="connsiteX208" fmla="*/ 1189668 w 3024845"/>
                <a:gd name="connsiteY208" fmla="*/ 385036 h 927414"/>
                <a:gd name="connsiteX209" fmla="*/ 1189668 w 3024845"/>
                <a:gd name="connsiteY209" fmla="*/ 408815 h 927414"/>
                <a:gd name="connsiteX210" fmla="*/ 1191695 w 3024845"/>
                <a:gd name="connsiteY210" fmla="*/ 410436 h 927414"/>
                <a:gd name="connsiteX211" fmla="*/ 1191695 w 3024845"/>
                <a:gd name="connsiteY211" fmla="*/ 421786 h 927414"/>
                <a:gd name="connsiteX212" fmla="*/ 1192455 w 3024845"/>
                <a:gd name="connsiteY212" fmla="*/ 421786 h 927414"/>
                <a:gd name="connsiteX213" fmla="*/ 1197775 w 3024845"/>
                <a:gd name="connsiteY213" fmla="*/ 421786 h 927414"/>
                <a:gd name="connsiteX214" fmla="*/ 1197775 w 3024845"/>
                <a:gd name="connsiteY214" fmla="*/ 445565 h 927414"/>
                <a:gd name="connsiteX215" fmla="*/ 1199041 w 3024845"/>
                <a:gd name="connsiteY215" fmla="*/ 445565 h 927414"/>
                <a:gd name="connsiteX216" fmla="*/ 1207908 w 3024845"/>
                <a:gd name="connsiteY216" fmla="*/ 445565 h 927414"/>
                <a:gd name="connsiteX217" fmla="*/ 1209935 w 3024845"/>
                <a:gd name="connsiteY217" fmla="*/ 449619 h 927414"/>
                <a:gd name="connsiteX218" fmla="*/ 1209935 w 3024845"/>
                <a:gd name="connsiteY218" fmla="*/ 462860 h 927414"/>
                <a:gd name="connsiteX219" fmla="*/ 1211455 w 3024845"/>
                <a:gd name="connsiteY219" fmla="*/ 460968 h 927414"/>
                <a:gd name="connsiteX220" fmla="*/ 1222095 w 3024845"/>
                <a:gd name="connsiteY220" fmla="*/ 447727 h 927414"/>
                <a:gd name="connsiteX221" fmla="*/ 1250469 w 3024845"/>
                <a:gd name="connsiteY221" fmla="*/ 447727 h 927414"/>
                <a:gd name="connsiteX222" fmla="*/ 1250469 w 3024845"/>
                <a:gd name="connsiteY222" fmla="*/ 534198 h 927414"/>
                <a:gd name="connsiteX223" fmla="*/ 1251229 w 3024845"/>
                <a:gd name="connsiteY223" fmla="*/ 534198 h 927414"/>
                <a:gd name="connsiteX224" fmla="*/ 1256549 w 3024845"/>
                <a:gd name="connsiteY224" fmla="*/ 534198 h 927414"/>
                <a:gd name="connsiteX225" fmla="*/ 1257309 w 3024845"/>
                <a:gd name="connsiteY225" fmla="*/ 532847 h 927414"/>
                <a:gd name="connsiteX226" fmla="*/ 1262629 w 3024845"/>
                <a:gd name="connsiteY226" fmla="*/ 523389 h 927414"/>
                <a:gd name="connsiteX227" fmla="*/ 1262629 w 3024845"/>
                <a:gd name="connsiteY227" fmla="*/ 525281 h 927414"/>
                <a:gd name="connsiteX228" fmla="*/ 1262629 w 3024845"/>
                <a:gd name="connsiteY228" fmla="*/ 538522 h 927414"/>
                <a:gd name="connsiteX229" fmla="*/ 1266682 w 3024845"/>
                <a:gd name="connsiteY229" fmla="*/ 493125 h 927414"/>
                <a:gd name="connsiteX230" fmla="*/ 1267442 w 3024845"/>
                <a:gd name="connsiteY230" fmla="*/ 493125 h 927414"/>
                <a:gd name="connsiteX231" fmla="*/ 1272762 w 3024845"/>
                <a:gd name="connsiteY231" fmla="*/ 493125 h 927414"/>
                <a:gd name="connsiteX232" fmla="*/ 1272762 w 3024845"/>
                <a:gd name="connsiteY232" fmla="*/ 428271 h 927414"/>
                <a:gd name="connsiteX233" fmla="*/ 1273776 w 3024845"/>
                <a:gd name="connsiteY233" fmla="*/ 428271 h 927414"/>
                <a:gd name="connsiteX234" fmla="*/ 1280869 w 3024845"/>
                <a:gd name="connsiteY234" fmla="*/ 428271 h 927414"/>
                <a:gd name="connsiteX235" fmla="*/ 1293029 w 3024845"/>
                <a:gd name="connsiteY235" fmla="*/ 385036 h 927414"/>
                <a:gd name="connsiteX236" fmla="*/ 1294296 w 3024845"/>
                <a:gd name="connsiteY236" fmla="*/ 385036 h 927414"/>
                <a:gd name="connsiteX237" fmla="*/ 1303163 w 3024845"/>
                <a:gd name="connsiteY237" fmla="*/ 385036 h 927414"/>
                <a:gd name="connsiteX238" fmla="*/ 1313296 w 3024845"/>
                <a:gd name="connsiteY238" fmla="*/ 428271 h 927414"/>
                <a:gd name="connsiteX239" fmla="*/ 1314309 w 3024845"/>
                <a:gd name="connsiteY239" fmla="*/ 428271 h 927414"/>
                <a:gd name="connsiteX240" fmla="*/ 1321403 w 3024845"/>
                <a:gd name="connsiteY240" fmla="*/ 428271 h 927414"/>
                <a:gd name="connsiteX241" fmla="*/ 1321403 w 3024845"/>
                <a:gd name="connsiteY241" fmla="*/ 467183 h 927414"/>
                <a:gd name="connsiteX242" fmla="*/ 1323176 w 3024845"/>
                <a:gd name="connsiteY242" fmla="*/ 467183 h 927414"/>
                <a:gd name="connsiteX243" fmla="*/ 1335590 w 3024845"/>
                <a:gd name="connsiteY243" fmla="*/ 467183 h 927414"/>
                <a:gd name="connsiteX244" fmla="*/ 1335590 w 3024845"/>
                <a:gd name="connsiteY244" fmla="*/ 469345 h 927414"/>
                <a:gd name="connsiteX245" fmla="*/ 1335590 w 3024845"/>
                <a:gd name="connsiteY245" fmla="*/ 484477 h 927414"/>
                <a:gd name="connsiteX246" fmla="*/ 1339643 w 3024845"/>
                <a:gd name="connsiteY246" fmla="*/ 482316 h 927414"/>
                <a:gd name="connsiteX247" fmla="*/ 1339643 w 3024845"/>
                <a:gd name="connsiteY247" fmla="*/ 467183 h 927414"/>
                <a:gd name="connsiteX248" fmla="*/ 1341163 w 3024845"/>
                <a:gd name="connsiteY248" fmla="*/ 467183 h 927414"/>
                <a:gd name="connsiteX249" fmla="*/ 1351803 w 3024845"/>
                <a:gd name="connsiteY249" fmla="*/ 467183 h 927414"/>
                <a:gd name="connsiteX250" fmla="*/ 1351803 w 3024845"/>
                <a:gd name="connsiteY250" fmla="*/ 468804 h 927414"/>
                <a:gd name="connsiteX251" fmla="*/ 1351803 w 3024845"/>
                <a:gd name="connsiteY251" fmla="*/ 480154 h 927414"/>
                <a:gd name="connsiteX252" fmla="*/ 1382204 w 3024845"/>
                <a:gd name="connsiteY252" fmla="*/ 480154 h 927414"/>
                <a:gd name="connsiteX253" fmla="*/ 1382204 w 3024845"/>
                <a:gd name="connsiteY253" fmla="*/ 443404 h 927414"/>
                <a:gd name="connsiteX254" fmla="*/ 1383470 w 3024845"/>
                <a:gd name="connsiteY254" fmla="*/ 443404 h 927414"/>
                <a:gd name="connsiteX255" fmla="*/ 1392337 w 3024845"/>
                <a:gd name="connsiteY255" fmla="*/ 443404 h 927414"/>
                <a:gd name="connsiteX256" fmla="*/ 1392337 w 3024845"/>
                <a:gd name="connsiteY256" fmla="*/ 465021 h 927414"/>
                <a:gd name="connsiteX257" fmla="*/ 1394364 w 3024845"/>
                <a:gd name="connsiteY257" fmla="*/ 432595 h 927414"/>
                <a:gd name="connsiteX258" fmla="*/ 1416657 w 3024845"/>
                <a:gd name="connsiteY258" fmla="*/ 432595 h 927414"/>
                <a:gd name="connsiteX259" fmla="*/ 1416657 w 3024845"/>
                <a:gd name="connsiteY259" fmla="*/ 430973 h 927414"/>
                <a:gd name="connsiteX260" fmla="*/ 1416657 w 3024845"/>
                <a:gd name="connsiteY260" fmla="*/ 419624 h 927414"/>
                <a:gd name="connsiteX261" fmla="*/ 1417417 w 3024845"/>
                <a:gd name="connsiteY261" fmla="*/ 419624 h 927414"/>
                <a:gd name="connsiteX262" fmla="*/ 1422737 w 3024845"/>
                <a:gd name="connsiteY262" fmla="*/ 419624 h 927414"/>
                <a:gd name="connsiteX263" fmla="*/ 1422737 w 3024845"/>
                <a:gd name="connsiteY263" fmla="*/ 417733 h 927414"/>
                <a:gd name="connsiteX264" fmla="*/ 1422737 w 3024845"/>
                <a:gd name="connsiteY264" fmla="*/ 404492 h 927414"/>
                <a:gd name="connsiteX265" fmla="*/ 1426791 w 3024845"/>
                <a:gd name="connsiteY265" fmla="*/ 410977 h 927414"/>
                <a:gd name="connsiteX266" fmla="*/ 1429071 w 3024845"/>
                <a:gd name="connsiteY266" fmla="*/ 410977 h 927414"/>
                <a:gd name="connsiteX267" fmla="*/ 1445031 w 3024845"/>
                <a:gd name="connsiteY267" fmla="*/ 410977 h 927414"/>
                <a:gd name="connsiteX268" fmla="*/ 1445031 w 3024845"/>
                <a:gd name="connsiteY268" fmla="*/ 410166 h 927414"/>
                <a:gd name="connsiteX269" fmla="*/ 1445031 w 3024845"/>
                <a:gd name="connsiteY269" fmla="*/ 404492 h 927414"/>
                <a:gd name="connsiteX270" fmla="*/ 1445791 w 3024845"/>
                <a:gd name="connsiteY270" fmla="*/ 404492 h 927414"/>
                <a:gd name="connsiteX271" fmla="*/ 1451111 w 3024845"/>
                <a:gd name="connsiteY271" fmla="*/ 404492 h 927414"/>
                <a:gd name="connsiteX272" fmla="*/ 1451111 w 3024845"/>
                <a:gd name="connsiteY272" fmla="*/ 405843 h 927414"/>
                <a:gd name="connsiteX273" fmla="*/ 1451111 w 3024845"/>
                <a:gd name="connsiteY273" fmla="*/ 415301 h 927414"/>
                <a:gd name="connsiteX274" fmla="*/ 1489618 w 3024845"/>
                <a:gd name="connsiteY274" fmla="*/ 415301 h 927414"/>
                <a:gd name="connsiteX275" fmla="*/ 1489618 w 3024845"/>
                <a:gd name="connsiteY275" fmla="*/ 553654 h 927414"/>
                <a:gd name="connsiteX276" fmla="*/ 1491138 w 3024845"/>
                <a:gd name="connsiteY276" fmla="*/ 553654 h 927414"/>
                <a:gd name="connsiteX277" fmla="*/ 1501778 w 3024845"/>
                <a:gd name="connsiteY277" fmla="*/ 553654 h 927414"/>
                <a:gd name="connsiteX278" fmla="*/ 1501778 w 3024845"/>
                <a:gd name="connsiteY278" fmla="*/ 540684 h 927414"/>
                <a:gd name="connsiteX279" fmla="*/ 1505832 w 3024845"/>
                <a:gd name="connsiteY279" fmla="*/ 540684 h 927414"/>
                <a:gd name="connsiteX280" fmla="*/ 1505832 w 3024845"/>
                <a:gd name="connsiteY280" fmla="*/ 553654 h 927414"/>
                <a:gd name="connsiteX281" fmla="*/ 1536232 w 3024845"/>
                <a:gd name="connsiteY281" fmla="*/ 553654 h 927414"/>
                <a:gd name="connsiteX282" fmla="*/ 1536232 w 3024845"/>
                <a:gd name="connsiteY282" fmla="*/ 523389 h 927414"/>
                <a:gd name="connsiteX283" fmla="*/ 1548392 w 3024845"/>
                <a:gd name="connsiteY283" fmla="*/ 523389 h 927414"/>
                <a:gd name="connsiteX284" fmla="*/ 1560552 w 3024845"/>
                <a:gd name="connsiteY284" fmla="*/ 521228 h 927414"/>
                <a:gd name="connsiteX285" fmla="*/ 1564606 w 3024845"/>
                <a:gd name="connsiteY285" fmla="*/ 523389 h 927414"/>
                <a:gd name="connsiteX286" fmla="*/ 1574739 w 3024845"/>
                <a:gd name="connsiteY286" fmla="*/ 523389 h 927414"/>
                <a:gd name="connsiteX287" fmla="*/ 1574739 w 3024845"/>
                <a:gd name="connsiteY287" fmla="*/ 553654 h 927414"/>
                <a:gd name="connsiteX288" fmla="*/ 1582846 w 3024845"/>
                <a:gd name="connsiteY288" fmla="*/ 553654 h 927414"/>
                <a:gd name="connsiteX289" fmla="*/ 1582846 w 3024845"/>
                <a:gd name="connsiteY289" fmla="*/ 570949 h 927414"/>
                <a:gd name="connsiteX290" fmla="*/ 1592182 w 3024845"/>
                <a:gd name="connsiteY290" fmla="*/ 571854 h 927414"/>
                <a:gd name="connsiteX291" fmla="*/ 1605140 w 3024845"/>
                <a:gd name="connsiteY291" fmla="*/ 571854 h 927414"/>
                <a:gd name="connsiteX292" fmla="*/ 1605140 w 3024845"/>
                <a:gd name="connsiteY292" fmla="*/ 555816 h 927414"/>
                <a:gd name="connsiteX293" fmla="*/ 1673096 w 3024845"/>
                <a:gd name="connsiteY293" fmla="*/ 555816 h 927414"/>
                <a:gd name="connsiteX294" fmla="*/ 1673096 w 3024845"/>
                <a:gd name="connsiteY294" fmla="*/ 470563 h 927414"/>
                <a:gd name="connsiteX295" fmla="*/ 1745104 w 3024845"/>
                <a:gd name="connsiteY295" fmla="*/ 470563 h 927414"/>
                <a:gd name="connsiteX296" fmla="*/ 1745104 w 3024845"/>
                <a:gd name="connsiteY296" fmla="*/ 549331 h 927414"/>
                <a:gd name="connsiteX297" fmla="*/ 1747008 w 3024845"/>
                <a:gd name="connsiteY297" fmla="*/ 549331 h 927414"/>
                <a:gd name="connsiteX298" fmla="*/ 1748250 w 3024845"/>
                <a:gd name="connsiteY298" fmla="*/ 571854 h 927414"/>
                <a:gd name="connsiteX299" fmla="*/ 1757926 w 3024845"/>
                <a:gd name="connsiteY299" fmla="*/ 571854 h 927414"/>
                <a:gd name="connsiteX300" fmla="*/ 1759168 w 3024845"/>
                <a:gd name="connsiteY300" fmla="*/ 549331 h 927414"/>
                <a:gd name="connsiteX301" fmla="*/ 1765248 w 3024845"/>
                <a:gd name="connsiteY301" fmla="*/ 549331 h 927414"/>
                <a:gd name="connsiteX302" fmla="*/ 1766490 w 3024845"/>
                <a:gd name="connsiteY302" fmla="*/ 571854 h 927414"/>
                <a:gd name="connsiteX303" fmla="*/ 1817112 w 3024845"/>
                <a:gd name="connsiteY303" fmla="*/ 571854 h 927414"/>
                <a:gd name="connsiteX304" fmla="*/ 1817112 w 3024845"/>
                <a:gd name="connsiteY304" fmla="*/ 408826 h 927414"/>
                <a:gd name="connsiteX305" fmla="*/ 2014439 w 3024845"/>
                <a:gd name="connsiteY305" fmla="*/ 408826 h 927414"/>
                <a:gd name="connsiteX306" fmla="*/ 2014439 w 3024845"/>
                <a:gd name="connsiteY306" fmla="*/ 571854 h 927414"/>
                <a:gd name="connsiteX307" fmla="*/ 2033136 w 3024845"/>
                <a:gd name="connsiteY307" fmla="*/ 571854 h 927414"/>
                <a:gd name="connsiteX308" fmla="*/ 2033136 w 3024845"/>
                <a:gd name="connsiteY308" fmla="*/ 489161 h 927414"/>
                <a:gd name="connsiteX309" fmla="*/ 2128256 w 3024845"/>
                <a:gd name="connsiteY309" fmla="*/ 489161 h 927414"/>
                <a:gd name="connsiteX310" fmla="*/ 2146266 w 3024845"/>
                <a:gd name="connsiteY310" fmla="*/ 239 h 927414"/>
                <a:gd name="connsiteX311" fmla="*/ 2180720 w 3024845"/>
                <a:gd name="connsiteY311" fmla="*/ 423948 h 927414"/>
                <a:gd name="connsiteX312" fmla="*/ 2245574 w 3024845"/>
                <a:gd name="connsiteY312" fmla="*/ 423948 h 927414"/>
                <a:gd name="connsiteX313" fmla="*/ 2245574 w 3024845"/>
                <a:gd name="connsiteY313" fmla="*/ 499610 h 927414"/>
                <a:gd name="connsiteX314" fmla="*/ 2253681 w 3024845"/>
                <a:gd name="connsiteY314" fmla="*/ 499610 h 927414"/>
                <a:gd name="connsiteX315" fmla="*/ 2255708 w 3024845"/>
                <a:gd name="connsiteY315" fmla="*/ 493125 h 927414"/>
                <a:gd name="connsiteX316" fmla="*/ 2261788 w 3024845"/>
                <a:gd name="connsiteY316" fmla="*/ 493125 h 927414"/>
                <a:gd name="connsiteX317" fmla="*/ 2263815 w 3024845"/>
                <a:gd name="connsiteY317" fmla="*/ 501772 h 927414"/>
                <a:gd name="connsiteX318" fmla="*/ 2275975 w 3024845"/>
                <a:gd name="connsiteY318" fmla="*/ 501772 h 927414"/>
                <a:gd name="connsiteX319" fmla="*/ 2275975 w 3024845"/>
                <a:gd name="connsiteY319" fmla="*/ 495286 h 927414"/>
                <a:gd name="connsiteX320" fmla="*/ 2298268 w 3024845"/>
                <a:gd name="connsiteY320" fmla="*/ 495286 h 927414"/>
                <a:gd name="connsiteX321" fmla="*/ 2298268 w 3024845"/>
                <a:gd name="connsiteY321" fmla="*/ 501772 h 927414"/>
                <a:gd name="connsiteX322" fmla="*/ 2318535 w 3024845"/>
                <a:gd name="connsiteY322" fmla="*/ 501772 h 927414"/>
                <a:gd name="connsiteX323" fmla="*/ 2318535 w 3024845"/>
                <a:gd name="connsiteY323" fmla="*/ 547169 h 927414"/>
                <a:gd name="connsiteX324" fmla="*/ 2332722 w 3024845"/>
                <a:gd name="connsiteY324" fmla="*/ 547169 h 927414"/>
                <a:gd name="connsiteX325" fmla="*/ 2332722 w 3024845"/>
                <a:gd name="connsiteY325" fmla="*/ 534198 h 927414"/>
                <a:gd name="connsiteX326" fmla="*/ 2348936 w 3024845"/>
                <a:gd name="connsiteY326" fmla="*/ 534198 h 927414"/>
                <a:gd name="connsiteX327" fmla="*/ 2348936 w 3024845"/>
                <a:gd name="connsiteY327" fmla="*/ 354771 h 927414"/>
                <a:gd name="connsiteX328" fmla="*/ 2355016 w 3024845"/>
                <a:gd name="connsiteY328" fmla="*/ 348285 h 927414"/>
                <a:gd name="connsiteX329" fmla="*/ 2427977 w 3024845"/>
                <a:gd name="connsiteY329" fmla="*/ 348285 h 927414"/>
                <a:gd name="connsiteX330" fmla="*/ 2427977 w 3024845"/>
                <a:gd name="connsiteY330" fmla="*/ 356933 h 927414"/>
                <a:gd name="connsiteX331" fmla="*/ 2438110 w 3024845"/>
                <a:gd name="connsiteY331" fmla="*/ 356933 h 927414"/>
                <a:gd name="connsiteX332" fmla="*/ 2438110 w 3024845"/>
                <a:gd name="connsiteY332" fmla="*/ 471507 h 927414"/>
                <a:gd name="connsiteX333" fmla="*/ 2460404 w 3024845"/>
                <a:gd name="connsiteY333" fmla="*/ 471507 h 927414"/>
                <a:gd name="connsiteX334" fmla="*/ 2460404 w 3024845"/>
                <a:gd name="connsiteY334" fmla="*/ 404492 h 927414"/>
                <a:gd name="connsiteX335" fmla="*/ 2486751 w 3024845"/>
                <a:gd name="connsiteY335" fmla="*/ 404492 h 927414"/>
                <a:gd name="connsiteX336" fmla="*/ 2490804 w 3024845"/>
                <a:gd name="connsiteY336" fmla="*/ 400168 h 927414"/>
                <a:gd name="connsiteX337" fmla="*/ 2498911 w 3024845"/>
                <a:gd name="connsiteY337" fmla="*/ 400168 h 927414"/>
                <a:gd name="connsiteX338" fmla="*/ 2502964 w 3024845"/>
                <a:gd name="connsiteY338" fmla="*/ 404492 h 927414"/>
                <a:gd name="connsiteX339" fmla="*/ 2525258 w 3024845"/>
                <a:gd name="connsiteY339" fmla="*/ 404492 h 927414"/>
                <a:gd name="connsiteX340" fmla="*/ 2525258 w 3024845"/>
                <a:gd name="connsiteY340" fmla="*/ 287756 h 927414"/>
                <a:gd name="connsiteX341" fmla="*/ 2582005 w 3024845"/>
                <a:gd name="connsiteY341" fmla="*/ 276947 h 927414"/>
                <a:gd name="connsiteX342" fmla="*/ 2582005 w 3024845"/>
                <a:gd name="connsiteY342" fmla="*/ 278028 h 927414"/>
                <a:gd name="connsiteX343" fmla="*/ 2582005 w 3024845"/>
                <a:gd name="connsiteY343" fmla="*/ 285594 h 927414"/>
                <a:gd name="connsiteX344" fmla="*/ 2608352 w 3024845"/>
                <a:gd name="connsiteY344" fmla="*/ 285594 h 927414"/>
                <a:gd name="connsiteX345" fmla="*/ 2608352 w 3024845"/>
                <a:gd name="connsiteY345" fmla="*/ 540684 h 927414"/>
                <a:gd name="connsiteX346" fmla="*/ 2630646 w 3024845"/>
                <a:gd name="connsiteY346" fmla="*/ 540684 h 927414"/>
                <a:gd name="connsiteX347" fmla="*/ 2630646 w 3024845"/>
                <a:gd name="connsiteY347" fmla="*/ 536360 h 927414"/>
                <a:gd name="connsiteX348" fmla="*/ 2642806 w 3024845"/>
                <a:gd name="connsiteY348" fmla="*/ 536360 h 927414"/>
                <a:gd name="connsiteX349" fmla="*/ 2642806 w 3024845"/>
                <a:gd name="connsiteY349" fmla="*/ 540684 h 927414"/>
                <a:gd name="connsiteX350" fmla="*/ 2667126 w 3024845"/>
                <a:gd name="connsiteY350" fmla="*/ 540684 h 927414"/>
                <a:gd name="connsiteX351" fmla="*/ 2667126 w 3024845"/>
                <a:gd name="connsiteY351" fmla="*/ 527713 h 927414"/>
                <a:gd name="connsiteX352" fmla="*/ 2695500 w 3024845"/>
                <a:gd name="connsiteY352" fmla="*/ 527713 h 927414"/>
                <a:gd name="connsiteX353" fmla="*/ 2707660 w 3024845"/>
                <a:gd name="connsiteY353" fmla="*/ 523389 h 927414"/>
                <a:gd name="connsiteX354" fmla="*/ 2727927 w 3024845"/>
                <a:gd name="connsiteY354" fmla="*/ 527713 h 927414"/>
                <a:gd name="connsiteX355" fmla="*/ 2727927 w 3024845"/>
                <a:gd name="connsiteY355" fmla="*/ 510419 h 927414"/>
                <a:gd name="connsiteX356" fmla="*/ 2736034 w 3024845"/>
                <a:gd name="connsiteY356" fmla="*/ 510419 h 927414"/>
                <a:gd name="connsiteX357" fmla="*/ 2736034 w 3024845"/>
                <a:gd name="connsiteY357" fmla="*/ 497448 h 927414"/>
                <a:gd name="connsiteX358" fmla="*/ 2792781 w 3024845"/>
                <a:gd name="connsiteY358" fmla="*/ 497448 h 927414"/>
                <a:gd name="connsiteX359" fmla="*/ 2792781 w 3024845"/>
                <a:gd name="connsiteY359" fmla="*/ 467183 h 927414"/>
                <a:gd name="connsiteX360" fmla="*/ 2811021 w 3024845"/>
                <a:gd name="connsiteY360" fmla="*/ 467183 h 927414"/>
                <a:gd name="connsiteX361" fmla="*/ 2811021 w 3024845"/>
                <a:gd name="connsiteY361" fmla="*/ 460698 h 927414"/>
                <a:gd name="connsiteX362" fmla="*/ 2823181 w 3024845"/>
                <a:gd name="connsiteY362" fmla="*/ 460698 h 927414"/>
                <a:gd name="connsiteX363" fmla="*/ 2823181 w 3024845"/>
                <a:gd name="connsiteY363" fmla="*/ 467183 h 927414"/>
                <a:gd name="connsiteX364" fmla="*/ 2839395 w 3024845"/>
                <a:gd name="connsiteY364" fmla="*/ 467183 h 927414"/>
                <a:gd name="connsiteX365" fmla="*/ 2839395 w 3024845"/>
                <a:gd name="connsiteY365" fmla="*/ 516904 h 927414"/>
                <a:gd name="connsiteX366" fmla="*/ 2871822 w 3024845"/>
                <a:gd name="connsiteY366" fmla="*/ 516904 h 927414"/>
                <a:gd name="connsiteX367" fmla="*/ 2871822 w 3024845"/>
                <a:gd name="connsiteY367" fmla="*/ 490963 h 927414"/>
                <a:gd name="connsiteX368" fmla="*/ 2910329 w 3024845"/>
                <a:gd name="connsiteY368" fmla="*/ 490963 h 927414"/>
                <a:gd name="connsiteX369" fmla="*/ 2910329 w 3024845"/>
                <a:gd name="connsiteY369" fmla="*/ 460698 h 927414"/>
                <a:gd name="connsiteX370" fmla="*/ 2958970 w 3024845"/>
                <a:gd name="connsiteY370" fmla="*/ 460698 h 927414"/>
                <a:gd name="connsiteX371" fmla="*/ 2958970 w 3024845"/>
                <a:gd name="connsiteY371" fmla="*/ 571854 h 927414"/>
                <a:gd name="connsiteX372" fmla="*/ 2958970 w 3024845"/>
                <a:gd name="connsiteY372" fmla="*/ 585633 h 927414"/>
                <a:gd name="connsiteX373" fmla="*/ 3024845 w 3024845"/>
                <a:gd name="connsiteY373" fmla="*/ 585633 h 927414"/>
                <a:gd name="connsiteX374" fmla="*/ 3024845 w 3024845"/>
                <a:gd name="connsiteY374" fmla="*/ 927414 h 927414"/>
                <a:gd name="connsiteX375" fmla="*/ 2054 w 3024845"/>
                <a:gd name="connsiteY375" fmla="*/ 925081 h 927414"/>
                <a:gd name="connsiteX376" fmla="*/ 0 w 3024845"/>
                <a:gd name="connsiteY376" fmla="*/ 490963 h 927414"/>
                <a:gd name="connsiteX377" fmla="*/ 20267 w 3024845"/>
                <a:gd name="connsiteY377" fmla="*/ 490963 h 927414"/>
                <a:gd name="connsiteX378" fmla="*/ 20774 w 3024845"/>
                <a:gd name="connsiteY378" fmla="*/ 489882 h 927414"/>
                <a:gd name="connsiteX379" fmla="*/ 24320 w 3024845"/>
                <a:gd name="connsiteY379" fmla="*/ 482316 h 927414"/>
                <a:gd name="connsiteX380" fmla="*/ 26094 w 3024845"/>
                <a:gd name="connsiteY380" fmla="*/ 482586 h 927414"/>
                <a:gd name="connsiteX381" fmla="*/ 38507 w 3024845"/>
                <a:gd name="connsiteY381" fmla="*/ 484477 h 927414"/>
                <a:gd name="connsiteX382" fmla="*/ 39014 w 3024845"/>
                <a:gd name="connsiteY382" fmla="*/ 485829 h 927414"/>
                <a:gd name="connsiteX383" fmla="*/ 42560 w 3024845"/>
                <a:gd name="connsiteY383" fmla="*/ 495286 h 927414"/>
                <a:gd name="connsiteX384" fmla="*/ 68907 w 3024845"/>
                <a:gd name="connsiteY384" fmla="*/ 497448 h 927414"/>
                <a:gd name="connsiteX385" fmla="*/ 68907 w 3024845"/>
                <a:gd name="connsiteY385" fmla="*/ 374227 h 927414"/>
                <a:gd name="connsiteX386" fmla="*/ 70934 w 3024845"/>
                <a:gd name="connsiteY386" fmla="*/ 374227 h 927414"/>
                <a:gd name="connsiteX387" fmla="*/ 85121 w 3024845"/>
                <a:gd name="connsiteY387" fmla="*/ 374227 h 927414"/>
                <a:gd name="connsiteX388" fmla="*/ 85121 w 3024845"/>
                <a:gd name="connsiteY388" fmla="*/ 238035 h 927414"/>
                <a:gd name="connsiteX389" fmla="*/ 86894 w 3024845"/>
                <a:gd name="connsiteY389" fmla="*/ 238035 h 927414"/>
                <a:gd name="connsiteX390" fmla="*/ 99308 w 3024845"/>
                <a:gd name="connsiteY390" fmla="*/ 238035 h 927414"/>
                <a:gd name="connsiteX391" fmla="*/ 99308 w 3024845"/>
                <a:gd name="connsiteY391" fmla="*/ 123461 h 927414"/>
                <a:gd name="connsiteX392" fmla="*/ 103361 w 3024845"/>
                <a:gd name="connsiteY392" fmla="*/ 95357 h 927414"/>
                <a:gd name="connsiteX393" fmla="*/ 105388 w 3024845"/>
                <a:gd name="connsiteY393" fmla="*/ 95357 h 927414"/>
                <a:gd name="connsiteX394" fmla="*/ 119575 w 3024845"/>
                <a:gd name="connsiteY394" fmla="*/ 95357 h 927414"/>
                <a:gd name="connsiteX0" fmla="*/ 119575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392" fmla="*/ 105388 w 3024845"/>
                <a:gd name="connsiteY392" fmla="*/ 2161 h 834218"/>
                <a:gd name="connsiteX393" fmla="*/ 119575 w 3024845"/>
                <a:gd name="connsiteY393" fmla="*/ 2161 h 834218"/>
                <a:gd name="connsiteX0" fmla="*/ 105388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392" fmla="*/ 105388 w 3024845"/>
                <a:gd name="connsiteY392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17363 w 3024845"/>
                <a:gd name="connsiteY5" fmla="*/ 24590 h 834218"/>
                <a:gd name="connsiteX6" fmla="*/ 220909 w 3024845"/>
                <a:gd name="connsiteY6" fmla="*/ 30265 h 834218"/>
                <a:gd name="connsiteX7" fmla="*/ 220909 w 3024845"/>
                <a:gd name="connsiteY7" fmla="*/ 144839 h 834218"/>
                <a:gd name="connsiteX8" fmla="*/ 223189 w 3024845"/>
                <a:gd name="connsiteY8" fmla="*/ 144839 h 834218"/>
                <a:gd name="connsiteX9" fmla="*/ 239150 w 3024845"/>
                <a:gd name="connsiteY9" fmla="*/ 144839 h 834218"/>
                <a:gd name="connsiteX10" fmla="*/ 239150 w 3024845"/>
                <a:gd name="connsiteY10" fmla="*/ 285354 h 834218"/>
                <a:gd name="connsiteX11" fmla="*/ 240670 w 3024845"/>
                <a:gd name="connsiteY11" fmla="*/ 285084 h 834218"/>
                <a:gd name="connsiteX12" fmla="*/ 251310 w 3024845"/>
                <a:gd name="connsiteY12" fmla="*/ 283193 h 834218"/>
                <a:gd name="connsiteX13" fmla="*/ 249283 w 3024845"/>
                <a:gd name="connsiteY13" fmla="*/ 371825 h 834218"/>
                <a:gd name="connsiteX14" fmla="*/ 250803 w 3024845"/>
                <a:gd name="connsiteY14" fmla="*/ 372096 h 834218"/>
                <a:gd name="connsiteX15" fmla="*/ 261443 w 3024845"/>
                <a:gd name="connsiteY15" fmla="*/ 373987 h 834218"/>
                <a:gd name="connsiteX16" fmla="*/ 261696 w 3024845"/>
                <a:gd name="connsiteY16" fmla="*/ 374798 h 834218"/>
                <a:gd name="connsiteX17" fmla="*/ 263470 w 3024845"/>
                <a:gd name="connsiteY17" fmla="*/ 380473 h 834218"/>
                <a:gd name="connsiteX18" fmla="*/ 264230 w 3024845"/>
                <a:gd name="connsiteY18" fmla="*/ 378041 h 834218"/>
                <a:gd name="connsiteX19" fmla="*/ 269550 w 3024845"/>
                <a:gd name="connsiteY19" fmla="*/ 361017 h 834218"/>
                <a:gd name="connsiteX20" fmla="*/ 271323 w 3024845"/>
                <a:gd name="connsiteY20" fmla="*/ 361017 h 834218"/>
                <a:gd name="connsiteX21" fmla="*/ 283737 w 3024845"/>
                <a:gd name="connsiteY21" fmla="*/ 361017 h 834218"/>
                <a:gd name="connsiteX22" fmla="*/ 283737 w 3024845"/>
                <a:gd name="connsiteY22" fmla="*/ 393443 h 834218"/>
                <a:gd name="connsiteX23" fmla="*/ 284750 w 3024845"/>
                <a:gd name="connsiteY23" fmla="*/ 393984 h 834218"/>
                <a:gd name="connsiteX24" fmla="*/ 291844 w 3024845"/>
                <a:gd name="connsiteY24" fmla="*/ 397767 h 834218"/>
                <a:gd name="connsiteX25" fmla="*/ 291844 w 3024845"/>
                <a:gd name="connsiteY25" fmla="*/ 399118 h 834218"/>
                <a:gd name="connsiteX26" fmla="*/ 291844 w 3024845"/>
                <a:gd name="connsiteY26" fmla="*/ 408576 h 834218"/>
                <a:gd name="connsiteX27" fmla="*/ 336431 w 3024845"/>
                <a:gd name="connsiteY27" fmla="*/ 408576 h 834218"/>
                <a:gd name="connsiteX28" fmla="*/ 336431 w 3024845"/>
                <a:gd name="connsiteY28" fmla="*/ 409657 h 834218"/>
                <a:gd name="connsiteX29" fmla="*/ 336431 w 3024845"/>
                <a:gd name="connsiteY29" fmla="*/ 417223 h 834218"/>
                <a:gd name="connsiteX30" fmla="*/ 338457 w 3024845"/>
                <a:gd name="connsiteY30" fmla="*/ 417223 h 834218"/>
                <a:gd name="connsiteX31" fmla="*/ 352644 w 3024845"/>
                <a:gd name="connsiteY31" fmla="*/ 417223 h 834218"/>
                <a:gd name="connsiteX32" fmla="*/ 352644 w 3024845"/>
                <a:gd name="connsiteY32" fmla="*/ 386958 h 834218"/>
                <a:gd name="connsiteX33" fmla="*/ 397231 w 3024845"/>
                <a:gd name="connsiteY33" fmla="*/ 386958 h 834218"/>
                <a:gd name="connsiteX34" fmla="*/ 397231 w 3024845"/>
                <a:gd name="connsiteY34" fmla="*/ 385607 h 834218"/>
                <a:gd name="connsiteX35" fmla="*/ 397231 w 3024845"/>
                <a:gd name="connsiteY35" fmla="*/ 376149 h 834218"/>
                <a:gd name="connsiteX36" fmla="*/ 398245 w 3024845"/>
                <a:gd name="connsiteY36" fmla="*/ 376149 h 834218"/>
                <a:gd name="connsiteX37" fmla="*/ 405338 w 3024845"/>
                <a:gd name="connsiteY37" fmla="*/ 376149 h 834218"/>
                <a:gd name="connsiteX38" fmla="*/ 405338 w 3024845"/>
                <a:gd name="connsiteY38" fmla="*/ 374258 h 834218"/>
                <a:gd name="connsiteX39" fmla="*/ 405338 w 3024845"/>
                <a:gd name="connsiteY39" fmla="*/ 361017 h 834218"/>
                <a:gd name="connsiteX40" fmla="*/ 406098 w 3024845"/>
                <a:gd name="connsiteY40" fmla="*/ 361017 h 834218"/>
                <a:gd name="connsiteX41" fmla="*/ 411418 w 3024845"/>
                <a:gd name="connsiteY41" fmla="*/ 361017 h 834218"/>
                <a:gd name="connsiteX42" fmla="*/ 411418 w 3024845"/>
                <a:gd name="connsiteY42" fmla="*/ 359936 h 834218"/>
                <a:gd name="connsiteX43" fmla="*/ 411418 w 3024845"/>
                <a:gd name="connsiteY43" fmla="*/ 352369 h 834218"/>
                <a:gd name="connsiteX44" fmla="*/ 413445 w 3024845"/>
                <a:gd name="connsiteY44" fmla="*/ 352369 h 834218"/>
                <a:gd name="connsiteX45" fmla="*/ 427632 w 3024845"/>
                <a:gd name="connsiteY45" fmla="*/ 352369 h 834218"/>
                <a:gd name="connsiteX46" fmla="*/ 427632 w 3024845"/>
                <a:gd name="connsiteY46" fmla="*/ 353450 h 834218"/>
                <a:gd name="connsiteX47" fmla="*/ 427632 w 3024845"/>
                <a:gd name="connsiteY47" fmla="*/ 361017 h 834218"/>
                <a:gd name="connsiteX48" fmla="*/ 449925 w 3024845"/>
                <a:gd name="connsiteY48" fmla="*/ 361017 h 834218"/>
                <a:gd name="connsiteX49" fmla="*/ 449925 w 3024845"/>
                <a:gd name="connsiteY49" fmla="*/ 359125 h 834218"/>
                <a:gd name="connsiteX50" fmla="*/ 449925 w 3024845"/>
                <a:gd name="connsiteY50" fmla="*/ 345884 h 834218"/>
                <a:gd name="connsiteX51" fmla="*/ 451699 w 3024845"/>
                <a:gd name="connsiteY51" fmla="*/ 345884 h 834218"/>
                <a:gd name="connsiteX52" fmla="*/ 464112 w 3024845"/>
                <a:gd name="connsiteY52" fmla="*/ 345884 h 834218"/>
                <a:gd name="connsiteX53" fmla="*/ 464112 w 3024845"/>
                <a:gd name="connsiteY53" fmla="*/ 369664 h 834218"/>
                <a:gd name="connsiteX54" fmla="*/ 465126 w 3024845"/>
                <a:gd name="connsiteY54" fmla="*/ 369664 h 834218"/>
                <a:gd name="connsiteX55" fmla="*/ 472219 w 3024845"/>
                <a:gd name="connsiteY55" fmla="*/ 369664 h 834218"/>
                <a:gd name="connsiteX56" fmla="*/ 472219 w 3024845"/>
                <a:gd name="connsiteY56" fmla="*/ 368583 h 834218"/>
                <a:gd name="connsiteX57" fmla="*/ 472219 w 3024845"/>
                <a:gd name="connsiteY57" fmla="*/ 361017 h 834218"/>
                <a:gd name="connsiteX58" fmla="*/ 473992 w 3024845"/>
                <a:gd name="connsiteY58" fmla="*/ 361017 h 834218"/>
                <a:gd name="connsiteX59" fmla="*/ 486406 w 3024845"/>
                <a:gd name="connsiteY59" fmla="*/ 361017 h 834218"/>
                <a:gd name="connsiteX60" fmla="*/ 486406 w 3024845"/>
                <a:gd name="connsiteY60" fmla="*/ 386958 h 834218"/>
                <a:gd name="connsiteX61" fmla="*/ 488433 w 3024845"/>
                <a:gd name="connsiteY61" fmla="*/ 386958 h 834218"/>
                <a:gd name="connsiteX62" fmla="*/ 502619 w 3024845"/>
                <a:gd name="connsiteY62" fmla="*/ 386958 h 834218"/>
                <a:gd name="connsiteX63" fmla="*/ 502619 w 3024845"/>
                <a:gd name="connsiteY63" fmla="*/ 388579 h 834218"/>
                <a:gd name="connsiteX64" fmla="*/ 502619 w 3024845"/>
                <a:gd name="connsiteY64" fmla="*/ 399929 h 834218"/>
                <a:gd name="connsiteX65" fmla="*/ 503379 w 3024845"/>
                <a:gd name="connsiteY65" fmla="*/ 399929 h 834218"/>
                <a:gd name="connsiteX66" fmla="*/ 508700 w 3024845"/>
                <a:gd name="connsiteY66" fmla="*/ 399929 h 834218"/>
                <a:gd name="connsiteX67" fmla="*/ 508700 w 3024845"/>
                <a:gd name="connsiteY67" fmla="*/ 399118 h 834218"/>
                <a:gd name="connsiteX68" fmla="*/ 508700 w 3024845"/>
                <a:gd name="connsiteY68" fmla="*/ 393443 h 834218"/>
                <a:gd name="connsiteX69" fmla="*/ 539100 w 3024845"/>
                <a:gd name="connsiteY69" fmla="*/ 393443 h 834218"/>
                <a:gd name="connsiteX70" fmla="*/ 539100 w 3024845"/>
                <a:gd name="connsiteY70" fmla="*/ 417223 h 834218"/>
                <a:gd name="connsiteX71" fmla="*/ 540113 w 3024845"/>
                <a:gd name="connsiteY71" fmla="*/ 417223 h 834218"/>
                <a:gd name="connsiteX72" fmla="*/ 547207 w 3024845"/>
                <a:gd name="connsiteY72" fmla="*/ 417223 h 834218"/>
                <a:gd name="connsiteX73" fmla="*/ 547207 w 3024845"/>
                <a:gd name="connsiteY73" fmla="*/ 418304 h 834218"/>
                <a:gd name="connsiteX74" fmla="*/ 547207 w 3024845"/>
                <a:gd name="connsiteY74" fmla="*/ 425870 h 834218"/>
                <a:gd name="connsiteX75" fmla="*/ 547967 w 3024845"/>
                <a:gd name="connsiteY75" fmla="*/ 425870 h 834218"/>
                <a:gd name="connsiteX76" fmla="*/ 553287 w 3024845"/>
                <a:gd name="connsiteY76" fmla="*/ 425870 h 834218"/>
                <a:gd name="connsiteX77" fmla="*/ 553287 w 3024845"/>
                <a:gd name="connsiteY77" fmla="*/ 423708 h 834218"/>
                <a:gd name="connsiteX78" fmla="*/ 553287 w 3024845"/>
                <a:gd name="connsiteY78" fmla="*/ 408576 h 834218"/>
                <a:gd name="connsiteX79" fmla="*/ 554300 w 3024845"/>
                <a:gd name="connsiteY79" fmla="*/ 408576 h 834218"/>
                <a:gd name="connsiteX80" fmla="*/ 561394 w 3024845"/>
                <a:gd name="connsiteY80" fmla="*/ 408576 h 834218"/>
                <a:gd name="connsiteX81" fmla="*/ 561394 w 3024845"/>
                <a:gd name="connsiteY81" fmla="*/ 409657 h 834218"/>
                <a:gd name="connsiteX82" fmla="*/ 561394 w 3024845"/>
                <a:gd name="connsiteY82" fmla="*/ 417223 h 834218"/>
                <a:gd name="connsiteX83" fmla="*/ 566714 w 3024845"/>
                <a:gd name="connsiteY83" fmla="*/ 415230 h 834218"/>
                <a:gd name="connsiteX84" fmla="*/ 567474 w 3024845"/>
                <a:gd name="connsiteY84" fmla="*/ 414250 h 834218"/>
                <a:gd name="connsiteX85" fmla="*/ 567474 w 3024845"/>
                <a:gd name="connsiteY85" fmla="*/ 408576 h 834218"/>
                <a:gd name="connsiteX86" fmla="*/ 605981 w 3024845"/>
                <a:gd name="connsiteY86" fmla="*/ 408576 h 834218"/>
                <a:gd name="connsiteX87" fmla="*/ 605981 w 3024845"/>
                <a:gd name="connsiteY87" fmla="*/ 432355 h 834218"/>
                <a:gd name="connsiteX88" fmla="*/ 608007 w 3024845"/>
                <a:gd name="connsiteY88" fmla="*/ 432355 h 834218"/>
                <a:gd name="connsiteX89" fmla="*/ 622194 w 3024845"/>
                <a:gd name="connsiteY89" fmla="*/ 432355 h 834218"/>
                <a:gd name="connsiteX90" fmla="*/ 622194 w 3024845"/>
                <a:gd name="connsiteY90" fmla="*/ 433436 h 834218"/>
                <a:gd name="connsiteX91" fmla="*/ 622194 w 3024845"/>
                <a:gd name="connsiteY91" fmla="*/ 441002 h 834218"/>
                <a:gd name="connsiteX92" fmla="*/ 623968 w 3024845"/>
                <a:gd name="connsiteY92" fmla="*/ 441002 h 834218"/>
                <a:gd name="connsiteX93" fmla="*/ 636381 w 3024845"/>
                <a:gd name="connsiteY93" fmla="*/ 441002 h 834218"/>
                <a:gd name="connsiteX94" fmla="*/ 636381 w 3024845"/>
                <a:gd name="connsiteY94" fmla="*/ 417223 h 834218"/>
                <a:gd name="connsiteX95" fmla="*/ 637394 w 3024845"/>
                <a:gd name="connsiteY95" fmla="*/ 417223 h 834218"/>
                <a:gd name="connsiteX96" fmla="*/ 644488 w 3024845"/>
                <a:gd name="connsiteY96" fmla="*/ 417223 h 834218"/>
                <a:gd name="connsiteX97" fmla="*/ 644488 w 3024845"/>
                <a:gd name="connsiteY97" fmla="*/ 384796 h 834218"/>
                <a:gd name="connsiteX98" fmla="*/ 645501 w 3024845"/>
                <a:gd name="connsiteY98" fmla="*/ 384796 h 834218"/>
                <a:gd name="connsiteX99" fmla="*/ 652595 w 3024845"/>
                <a:gd name="connsiteY99" fmla="*/ 384796 h 834218"/>
                <a:gd name="connsiteX100" fmla="*/ 652595 w 3024845"/>
                <a:gd name="connsiteY100" fmla="*/ 382905 h 834218"/>
                <a:gd name="connsiteX101" fmla="*/ 652595 w 3024845"/>
                <a:gd name="connsiteY101" fmla="*/ 369664 h 834218"/>
                <a:gd name="connsiteX102" fmla="*/ 651328 w 3024845"/>
                <a:gd name="connsiteY102" fmla="*/ 368042 h 834218"/>
                <a:gd name="connsiteX103" fmla="*/ 656648 w 3024845"/>
                <a:gd name="connsiteY103" fmla="*/ 356693 h 834218"/>
                <a:gd name="connsiteX104" fmla="*/ 664755 w 3024845"/>
                <a:gd name="connsiteY104" fmla="*/ 384796 h 834218"/>
                <a:gd name="connsiteX105" fmla="*/ 665515 w 3024845"/>
                <a:gd name="connsiteY105" fmla="*/ 384796 h 834218"/>
                <a:gd name="connsiteX106" fmla="*/ 670835 w 3024845"/>
                <a:gd name="connsiteY106" fmla="*/ 384796 h 834218"/>
                <a:gd name="connsiteX107" fmla="*/ 670835 w 3024845"/>
                <a:gd name="connsiteY107" fmla="*/ 278869 h 834218"/>
                <a:gd name="connsiteX108" fmla="*/ 672355 w 3024845"/>
                <a:gd name="connsiteY108" fmla="*/ 278869 h 834218"/>
                <a:gd name="connsiteX109" fmla="*/ 682995 w 3024845"/>
                <a:gd name="connsiteY109" fmla="*/ 278869 h 834218"/>
                <a:gd name="connsiteX110" fmla="*/ 682995 w 3024845"/>
                <a:gd name="connsiteY110" fmla="*/ 231310 h 834218"/>
                <a:gd name="connsiteX111" fmla="*/ 709342 w 3024845"/>
                <a:gd name="connsiteY111" fmla="*/ 231310 h 834218"/>
                <a:gd name="connsiteX112" fmla="*/ 709342 w 3024845"/>
                <a:gd name="connsiteY112" fmla="*/ 209692 h 834218"/>
                <a:gd name="connsiteX113" fmla="*/ 743796 w 3024845"/>
                <a:gd name="connsiteY113" fmla="*/ 209692 h 834218"/>
                <a:gd name="connsiteX114" fmla="*/ 743796 w 3024845"/>
                <a:gd name="connsiteY114" fmla="*/ 212124 h 834218"/>
                <a:gd name="connsiteX115" fmla="*/ 743796 w 3024845"/>
                <a:gd name="connsiteY115" fmla="*/ 229148 h 834218"/>
                <a:gd name="connsiteX116" fmla="*/ 746076 w 3024845"/>
                <a:gd name="connsiteY116" fmla="*/ 229148 h 834218"/>
                <a:gd name="connsiteX117" fmla="*/ 762036 w 3024845"/>
                <a:gd name="connsiteY117" fmla="*/ 229148 h 834218"/>
                <a:gd name="connsiteX118" fmla="*/ 762036 w 3024845"/>
                <a:gd name="connsiteY118" fmla="*/ 276707 h 834218"/>
                <a:gd name="connsiteX119" fmla="*/ 763049 w 3024845"/>
                <a:gd name="connsiteY119" fmla="*/ 276707 h 834218"/>
                <a:gd name="connsiteX120" fmla="*/ 770143 w 3024845"/>
                <a:gd name="connsiteY120" fmla="*/ 276707 h 834218"/>
                <a:gd name="connsiteX121" fmla="*/ 784330 w 3024845"/>
                <a:gd name="connsiteY121" fmla="*/ 281031 h 834218"/>
                <a:gd name="connsiteX122" fmla="*/ 784330 w 3024845"/>
                <a:gd name="connsiteY122" fmla="*/ 319943 h 834218"/>
                <a:gd name="connsiteX123" fmla="*/ 785343 w 3024845"/>
                <a:gd name="connsiteY123" fmla="*/ 319943 h 834218"/>
                <a:gd name="connsiteX124" fmla="*/ 792436 w 3024845"/>
                <a:gd name="connsiteY124" fmla="*/ 319943 h 834218"/>
                <a:gd name="connsiteX125" fmla="*/ 792436 w 3024845"/>
                <a:gd name="connsiteY125" fmla="*/ 321564 h 834218"/>
                <a:gd name="connsiteX126" fmla="*/ 792436 w 3024845"/>
                <a:gd name="connsiteY126" fmla="*/ 332913 h 834218"/>
                <a:gd name="connsiteX127" fmla="*/ 794463 w 3024845"/>
                <a:gd name="connsiteY127" fmla="*/ 332913 h 834218"/>
                <a:gd name="connsiteX128" fmla="*/ 808650 w 3024845"/>
                <a:gd name="connsiteY128" fmla="*/ 332913 h 834218"/>
                <a:gd name="connsiteX129" fmla="*/ 814730 w 3024845"/>
                <a:gd name="connsiteY129" fmla="*/ 339399 h 834218"/>
                <a:gd name="connsiteX130" fmla="*/ 814730 w 3024845"/>
                <a:gd name="connsiteY130" fmla="*/ 361017 h 834218"/>
                <a:gd name="connsiteX131" fmla="*/ 817010 w 3024845"/>
                <a:gd name="connsiteY131" fmla="*/ 361017 h 834218"/>
                <a:gd name="connsiteX132" fmla="*/ 832970 w 3024845"/>
                <a:gd name="connsiteY132" fmla="*/ 361017 h 834218"/>
                <a:gd name="connsiteX133" fmla="*/ 832970 w 3024845"/>
                <a:gd name="connsiteY133" fmla="*/ 362097 h 834218"/>
                <a:gd name="connsiteX134" fmla="*/ 832970 w 3024845"/>
                <a:gd name="connsiteY134" fmla="*/ 369664 h 834218"/>
                <a:gd name="connsiteX135" fmla="*/ 834237 w 3024845"/>
                <a:gd name="connsiteY135" fmla="*/ 369664 h 834218"/>
                <a:gd name="connsiteX136" fmla="*/ 843104 w 3024845"/>
                <a:gd name="connsiteY136" fmla="*/ 369664 h 834218"/>
                <a:gd name="connsiteX137" fmla="*/ 843104 w 3024845"/>
                <a:gd name="connsiteY137" fmla="*/ 371825 h 834218"/>
                <a:gd name="connsiteX138" fmla="*/ 843104 w 3024845"/>
                <a:gd name="connsiteY138" fmla="*/ 386958 h 834218"/>
                <a:gd name="connsiteX139" fmla="*/ 847157 w 3024845"/>
                <a:gd name="connsiteY139" fmla="*/ 385066 h 834218"/>
                <a:gd name="connsiteX140" fmla="*/ 847157 w 3024845"/>
                <a:gd name="connsiteY140" fmla="*/ 371825 h 834218"/>
                <a:gd name="connsiteX141" fmla="*/ 848170 w 3024845"/>
                <a:gd name="connsiteY141" fmla="*/ 371825 h 834218"/>
                <a:gd name="connsiteX142" fmla="*/ 855264 w 3024845"/>
                <a:gd name="connsiteY142" fmla="*/ 371825 h 834218"/>
                <a:gd name="connsiteX143" fmla="*/ 855264 w 3024845"/>
                <a:gd name="connsiteY143" fmla="*/ 373447 h 834218"/>
                <a:gd name="connsiteX144" fmla="*/ 855264 w 3024845"/>
                <a:gd name="connsiteY144" fmla="*/ 384796 h 834218"/>
                <a:gd name="connsiteX145" fmla="*/ 856024 w 3024845"/>
                <a:gd name="connsiteY145" fmla="*/ 384796 h 834218"/>
                <a:gd name="connsiteX146" fmla="*/ 861344 w 3024845"/>
                <a:gd name="connsiteY146" fmla="*/ 384796 h 834218"/>
                <a:gd name="connsiteX147" fmla="*/ 909984 w 3024845"/>
                <a:gd name="connsiteY147" fmla="*/ 380473 h 834218"/>
                <a:gd name="connsiteX148" fmla="*/ 909984 w 3024845"/>
                <a:gd name="connsiteY148" fmla="*/ 381824 h 834218"/>
                <a:gd name="connsiteX149" fmla="*/ 909984 w 3024845"/>
                <a:gd name="connsiteY149" fmla="*/ 391281 h 834218"/>
                <a:gd name="connsiteX150" fmla="*/ 910744 w 3024845"/>
                <a:gd name="connsiteY150" fmla="*/ 391281 h 834218"/>
                <a:gd name="connsiteX151" fmla="*/ 916065 w 3024845"/>
                <a:gd name="connsiteY151" fmla="*/ 391281 h 834218"/>
                <a:gd name="connsiteX152" fmla="*/ 916065 w 3024845"/>
                <a:gd name="connsiteY152" fmla="*/ 393443 h 834218"/>
                <a:gd name="connsiteX153" fmla="*/ 916065 w 3024845"/>
                <a:gd name="connsiteY153" fmla="*/ 408576 h 834218"/>
                <a:gd name="connsiteX154" fmla="*/ 918091 w 3024845"/>
                <a:gd name="connsiteY154" fmla="*/ 407225 h 834218"/>
                <a:gd name="connsiteX155" fmla="*/ 932278 w 3024845"/>
                <a:gd name="connsiteY155" fmla="*/ 397767 h 834218"/>
                <a:gd name="connsiteX156" fmla="*/ 938358 w 3024845"/>
                <a:gd name="connsiteY156" fmla="*/ 356693 h 834218"/>
                <a:gd name="connsiteX157" fmla="*/ 939118 w 3024845"/>
                <a:gd name="connsiteY157" fmla="*/ 356423 h 834218"/>
                <a:gd name="connsiteX158" fmla="*/ 944438 w 3024845"/>
                <a:gd name="connsiteY158" fmla="*/ 354531 h 834218"/>
                <a:gd name="connsiteX159" fmla="*/ 946465 w 3024845"/>
                <a:gd name="connsiteY159" fmla="*/ 285354 h 834218"/>
                <a:gd name="connsiteX160" fmla="*/ 948492 w 3024845"/>
                <a:gd name="connsiteY160" fmla="*/ 354531 h 834218"/>
                <a:gd name="connsiteX161" fmla="*/ 949252 w 3024845"/>
                <a:gd name="connsiteY161" fmla="*/ 354801 h 834218"/>
                <a:gd name="connsiteX162" fmla="*/ 954572 w 3024845"/>
                <a:gd name="connsiteY162" fmla="*/ 356693 h 834218"/>
                <a:gd name="connsiteX163" fmla="*/ 954572 w 3024845"/>
                <a:gd name="connsiteY163" fmla="*/ 270222 h 834218"/>
                <a:gd name="connsiteX164" fmla="*/ 958625 w 3024845"/>
                <a:gd name="connsiteY164" fmla="*/ 237795 h 834218"/>
                <a:gd name="connsiteX165" fmla="*/ 997132 w 3024845"/>
                <a:gd name="connsiteY165" fmla="*/ 237795 h 834218"/>
                <a:gd name="connsiteX166" fmla="*/ 997132 w 3024845"/>
                <a:gd name="connsiteY166" fmla="*/ 270222 h 834218"/>
                <a:gd name="connsiteX167" fmla="*/ 997892 w 3024845"/>
                <a:gd name="connsiteY167" fmla="*/ 270222 h 834218"/>
                <a:gd name="connsiteX168" fmla="*/ 1003212 w 3024845"/>
                <a:gd name="connsiteY168" fmla="*/ 270222 h 834218"/>
                <a:gd name="connsiteX169" fmla="*/ 1003212 w 3024845"/>
                <a:gd name="connsiteY169" fmla="*/ 188074 h 834218"/>
                <a:gd name="connsiteX170" fmla="*/ 1004986 w 3024845"/>
                <a:gd name="connsiteY170" fmla="*/ 188074 h 834218"/>
                <a:gd name="connsiteX171" fmla="*/ 1017399 w 3024845"/>
                <a:gd name="connsiteY171" fmla="*/ 188074 h 834218"/>
                <a:gd name="connsiteX172" fmla="*/ 1017399 w 3024845"/>
                <a:gd name="connsiteY172" fmla="*/ 186183 h 834218"/>
                <a:gd name="connsiteX173" fmla="*/ 1017399 w 3024845"/>
                <a:gd name="connsiteY173" fmla="*/ 172942 h 834218"/>
                <a:gd name="connsiteX174" fmla="*/ 1039693 w 3024845"/>
                <a:gd name="connsiteY174" fmla="*/ 172942 h 834218"/>
                <a:gd name="connsiteX175" fmla="*/ 1039693 w 3024845"/>
                <a:gd name="connsiteY175" fmla="*/ 171861 h 834218"/>
                <a:gd name="connsiteX176" fmla="*/ 1039693 w 3024845"/>
                <a:gd name="connsiteY176" fmla="*/ 164295 h 834218"/>
                <a:gd name="connsiteX177" fmla="*/ 1041466 w 3024845"/>
                <a:gd name="connsiteY177" fmla="*/ 164295 h 834218"/>
                <a:gd name="connsiteX178" fmla="*/ 1053880 w 3024845"/>
                <a:gd name="connsiteY178" fmla="*/ 164295 h 834218"/>
                <a:gd name="connsiteX179" fmla="*/ 1053880 w 3024845"/>
                <a:gd name="connsiteY179" fmla="*/ 165376 h 834218"/>
                <a:gd name="connsiteX180" fmla="*/ 1053880 w 3024845"/>
                <a:gd name="connsiteY180" fmla="*/ 172942 h 834218"/>
                <a:gd name="connsiteX181" fmla="*/ 1054640 w 3024845"/>
                <a:gd name="connsiteY181" fmla="*/ 172942 h 834218"/>
                <a:gd name="connsiteX182" fmla="*/ 1059960 w 3024845"/>
                <a:gd name="connsiteY182" fmla="*/ 172942 h 834218"/>
                <a:gd name="connsiteX183" fmla="*/ 1070093 w 3024845"/>
                <a:gd name="connsiteY183" fmla="*/ 168618 h 834218"/>
                <a:gd name="connsiteX184" fmla="*/ 1074146 w 3024845"/>
                <a:gd name="connsiteY184" fmla="*/ 171861 h 834218"/>
                <a:gd name="connsiteX185" fmla="*/ 1074146 w 3024845"/>
                <a:gd name="connsiteY185" fmla="*/ 164295 h 834218"/>
                <a:gd name="connsiteX186" fmla="*/ 1076426 w 3024845"/>
                <a:gd name="connsiteY186" fmla="*/ 164295 h 834218"/>
                <a:gd name="connsiteX187" fmla="*/ 1092387 w 3024845"/>
                <a:gd name="connsiteY187" fmla="*/ 164295 h 834218"/>
                <a:gd name="connsiteX188" fmla="*/ 1092387 w 3024845"/>
                <a:gd name="connsiteY188" fmla="*/ 165376 h 834218"/>
                <a:gd name="connsiteX189" fmla="*/ 1092387 w 3024845"/>
                <a:gd name="connsiteY189" fmla="*/ 172942 h 834218"/>
                <a:gd name="connsiteX190" fmla="*/ 1122787 w 3024845"/>
                <a:gd name="connsiteY190" fmla="*/ 172942 h 834218"/>
                <a:gd name="connsiteX191" fmla="*/ 1122787 w 3024845"/>
                <a:gd name="connsiteY191" fmla="*/ 174563 h 834218"/>
                <a:gd name="connsiteX192" fmla="*/ 1122787 w 3024845"/>
                <a:gd name="connsiteY192" fmla="*/ 185913 h 834218"/>
                <a:gd name="connsiteX193" fmla="*/ 1149134 w 3024845"/>
                <a:gd name="connsiteY193" fmla="*/ 185913 h 834218"/>
                <a:gd name="connsiteX194" fmla="*/ 1149134 w 3024845"/>
                <a:gd name="connsiteY194" fmla="*/ 216177 h 834218"/>
                <a:gd name="connsiteX195" fmla="*/ 1149894 w 3024845"/>
                <a:gd name="connsiteY195" fmla="*/ 216177 h 834218"/>
                <a:gd name="connsiteX196" fmla="*/ 1155214 w 3024845"/>
                <a:gd name="connsiteY196" fmla="*/ 216177 h 834218"/>
                <a:gd name="connsiteX197" fmla="*/ 1155214 w 3024845"/>
                <a:gd name="connsiteY197" fmla="*/ 217258 h 834218"/>
                <a:gd name="connsiteX198" fmla="*/ 1155214 w 3024845"/>
                <a:gd name="connsiteY198" fmla="*/ 224825 h 834218"/>
                <a:gd name="connsiteX199" fmla="*/ 1159268 w 3024845"/>
                <a:gd name="connsiteY199" fmla="*/ 255089 h 834218"/>
                <a:gd name="connsiteX200" fmla="*/ 1160028 w 3024845"/>
                <a:gd name="connsiteY200" fmla="*/ 255089 h 834218"/>
                <a:gd name="connsiteX201" fmla="*/ 1165348 w 3024845"/>
                <a:gd name="connsiteY201" fmla="*/ 255089 h 834218"/>
                <a:gd name="connsiteX202" fmla="*/ 1165348 w 3024845"/>
                <a:gd name="connsiteY202" fmla="*/ 255900 h 834218"/>
                <a:gd name="connsiteX203" fmla="*/ 1165348 w 3024845"/>
                <a:gd name="connsiteY203" fmla="*/ 261575 h 834218"/>
                <a:gd name="connsiteX204" fmla="*/ 1166361 w 3024845"/>
                <a:gd name="connsiteY204" fmla="*/ 261575 h 834218"/>
                <a:gd name="connsiteX205" fmla="*/ 1173454 w 3024845"/>
                <a:gd name="connsiteY205" fmla="*/ 261575 h 834218"/>
                <a:gd name="connsiteX206" fmla="*/ 1173454 w 3024845"/>
                <a:gd name="connsiteY206" fmla="*/ 291840 h 834218"/>
                <a:gd name="connsiteX207" fmla="*/ 1175481 w 3024845"/>
                <a:gd name="connsiteY207" fmla="*/ 291840 h 834218"/>
                <a:gd name="connsiteX208" fmla="*/ 1189668 w 3024845"/>
                <a:gd name="connsiteY208" fmla="*/ 291840 h 834218"/>
                <a:gd name="connsiteX209" fmla="*/ 1189668 w 3024845"/>
                <a:gd name="connsiteY209" fmla="*/ 315619 h 834218"/>
                <a:gd name="connsiteX210" fmla="*/ 1191695 w 3024845"/>
                <a:gd name="connsiteY210" fmla="*/ 317240 h 834218"/>
                <a:gd name="connsiteX211" fmla="*/ 1191695 w 3024845"/>
                <a:gd name="connsiteY211" fmla="*/ 328590 h 834218"/>
                <a:gd name="connsiteX212" fmla="*/ 1192455 w 3024845"/>
                <a:gd name="connsiteY212" fmla="*/ 328590 h 834218"/>
                <a:gd name="connsiteX213" fmla="*/ 1197775 w 3024845"/>
                <a:gd name="connsiteY213" fmla="*/ 328590 h 834218"/>
                <a:gd name="connsiteX214" fmla="*/ 1197775 w 3024845"/>
                <a:gd name="connsiteY214" fmla="*/ 352369 h 834218"/>
                <a:gd name="connsiteX215" fmla="*/ 1199041 w 3024845"/>
                <a:gd name="connsiteY215" fmla="*/ 352369 h 834218"/>
                <a:gd name="connsiteX216" fmla="*/ 1207908 w 3024845"/>
                <a:gd name="connsiteY216" fmla="*/ 352369 h 834218"/>
                <a:gd name="connsiteX217" fmla="*/ 1209935 w 3024845"/>
                <a:gd name="connsiteY217" fmla="*/ 356423 h 834218"/>
                <a:gd name="connsiteX218" fmla="*/ 1209935 w 3024845"/>
                <a:gd name="connsiteY218" fmla="*/ 369664 h 834218"/>
                <a:gd name="connsiteX219" fmla="*/ 1211455 w 3024845"/>
                <a:gd name="connsiteY219" fmla="*/ 367772 h 834218"/>
                <a:gd name="connsiteX220" fmla="*/ 1222095 w 3024845"/>
                <a:gd name="connsiteY220" fmla="*/ 354531 h 834218"/>
                <a:gd name="connsiteX221" fmla="*/ 1250469 w 3024845"/>
                <a:gd name="connsiteY221" fmla="*/ 354531 h 834218"/>
                <a:gd name="connsiteX222" fmla="*/ 1250469 w 3024845"/>
                <a:gd name="connsiteY222" fmla="*/ 441002 h 834218"/>
                <a:gd name="connsiteX223" fmla="*/ 1251229 w 3024845"/>
                <a:gd name="connsiteY223" fmla="*/ 441002 h 834218"/>
                <a:gd name="connsiteX224" fmla="*/ 1256549 w 3024845"/>
                <a:gd name="connsiteY224" fmla="*/ 441002 h 834218"/>
                <a:gd name="connsiteX225" fmla="*/ 1257309 w 3024845"/>
                <a:gd name="connsiteY225" fmla="*/ 439651 h 834218"/>
                <a:gd name="connsiteX226" fmla="*/ 1262629 w 3024845"/>
                <a:gd name="connsiteY226" fmla="*/ 430193 h 834218"/>
                <a:gd name="connsiteX227" fmla="*/ 1262629 w 3024845"/>
                <a:gd name="connsiteY227" fmla="*/ 432085 h 834218"/>
                <a:gd name="connsiteX228" fmla="*/ 1262629 w 3024845"/>
                <a:gd name="connsiteY228" fmla="*/ 445326 h 834218"/>
                <a:gd name="connsiteX229" fmla="*/ 1266682 w 3024845"/>
                <a:gd name="connsiteY229" fmla="*/ 399929 h 834218"/>
                <a:gd name="connsiteX230" fmla="*/ 1267442 w 3024845"/>
                <a:gd name="connsiteY230" fmla="*/ 399929 h 834218"/>
                <a:gd name="connsiteX231" fmla="*/ 1272762 w 3024845"/>
                <a:gd name="connsiteY231" fmla="*/ 399929 h 834218"/>
                <a:gd name="connsiteX232" fmla="*/ 1272762 w 3024845"/>
                <a:gd name="connsiteY232" fmla="*/ 335075 h 834218"/>
                <a:gd name="connsiteX233" fmla="*/ 1273776 w 3024845"/>
                <a:gd name="connsiteY233" fmla="*/ 335075 h 834218"/>
                <a:gd name="connsiteX234" fmla="*/ 1280869 w 3024845"/>
                <a:gd name="connsiteY234" fmla="*/ 335075 h 834218"/>
                <a:gd name="connsiteX235" fmla="*/ 1293029 w 3024845"/>
                <a:gd name="connsiteY235" fmla="*/ 291840 h 834218"/>
                <a:gd name="connsiteX236" fmla="*/ 1294296 w 3024845"/>
                <a:gd name="connsiteY236" fmla="*/ 291840 h 834218"/>
                <a:gd name="connsiteX237" fmla="*/ 1303163 w 3024845"/>
                <a:gd name="connsiteY237" fmla="*/ 291840 h 834218"/>
                <a:gd name="connsiteX238" fmla="*/ 1313296 w 3024845"/>
                <a:gd name="connsiteY238" fmla="*/ 335075 h 834218"/>
                <a:gd name="connsiteX239" fmla="*/ 1314309 w 3024845"/>
                <a:gd name="connsiteY239" fmla="*/ 335075 h 834218"/>
                <a:gd name="connsiteX240" fmla="*/ 1321403 w 3024845"/>
                <a:gd name="connsiteY240" fmla="*/ 335075 h 834218"/>
                <a:gd name="connsiteX241" fmla="*/ 1321403 w 3024845"/>
                <a:gd name="connsiteY241" fmla="*/ 373987 h 834218"/>
                <a:gd name="connsiteX242" fmla="*/ 1323176 w 3024845"/>
                <a:gd name="connsiteY242" fmla="*/ 373987 h 834218"/>
                <a:gd name="connsiteX243" fmla="*/ 1335590 w 3024845"/>
                <a:gd name="connsiteY243" fmla="*/ 373987 h 834218"/>
                <a:gd name="connsiteX244" fmla="*/ 1335590 w 3024845"/>
                <a:gd name="connsiteY244" fmla="*/ 376149 h 834218"/>
                <a:gd name="connsiteX245" fmla="*/ 1335590 w 3024845"/>
                <a:gd name="connsiteY245" fmla="*/ 391281 h 834218"/>
                <a:gd name="connsiteX246" fmla="*/ 1339643 w 3024845"/>
                <a:gd name="connsiteY246" fmla="*/ 389120 h 834218"/>
                <a:gd name="connsiteX247" fmla="*/ 1339643 w 3024845"/>
                <a:gd name="connsiteY247" fmla="*/ 373987 h 834218"/>
                <a:gd name="connsiteX248" fmla="*/ 1341163 w 3024845"/>
                <a:gd name="connsiteY248" fmla="*/ 373987 h 834218"/>
                <a:gd name="connsiteX249" fmla="*/ 1351803 w 3024845"/>
                <a:gd name="connsiteY249" fmla="*/ 373987 h 834218"/>
                <a:gd name="connsiteX250" fmla="*/ 1351803 w 3024845"/>
                <a:gd name="connsiteY250" fmla="*/ 375608 h 834218"/>
                <a:gd name="connsiteX251" fmla="*/ 1351803 w 3024845"/>
                <a:gd name="connsiteY251" fmla="*/ 386958 h 834218"/>
                <a:gd name="connsiteX252" fmla="*/ 1382204 w 3024845"/>
                <a:gd name="connsiteY252" fmla="*/ 386958 h 834218"/>
                <a:gd name="connsiteX253" fmla="*/ 1382204 w 3024845"/>
                <a:gd name="connsiteY253" fmla="*/ 350208 h 834218"/>
                <a:gd name="connsiteX254" fmla="*/ 1383470 w 3024845"/>
                <a:gd name="connsiteY254" fmla="*/ 350208 h 834218"/>
                <a:gd name="connsiteX255" fmla="*/ 1392337 w 3024845"/>
                <a:gd name="connsiteY255" fmla="*/ 350208 h 834218"/>
                <a:gd name="connsiteX256" fmla="*/ 1392337 w 3024845"/>
                <a:gd name="connsiteY256" fmla="*/ 371825 h 834218"/>
                <a:gd name="connsiteX257" fmla="*/ 1394364 w 3024845"/>
                <a:gd name="connsiteY257" fmla="*/ 339399 h 834218"/>
                <a:gd name="connsiteX258" fmla="*/ 1416657 w 3024845"/>
                <a:gd name="connsiteY258" fmla="*/ 339399 h 834218"/>
                <a:gd name="connsiteX259" fmla="*/ 1416657 w 3024845"/>
                <a:gd name="connsiteY259" fmla="*/ 337777 h 834218"/>
                <a:gd name="connsiteX260" fmla="*/ 1416657 w 3024845"/>
                <a:gd name="connsiteY260" fmla="*/ 326428 h 834218"/>
                <a:gd name="connsiteX261" fmla="*/ 1417417 w 3024845"/>
                <a:gd name="connsiteY261" fmla="*/ 326428 h 834218"/>
                <a:gd name="connsiteX262" fmla="*/ 1422737 w 3024845"/>
                <a:gd name="connsiteY262" fmla="*/ 326428 h 834218"/>
                <a:gd name="connsiteX263" fmla="*/ 1422737 w 3024845"/>
                <a:gd name="connsiteY263" fmla="*/ 324537 h 834218"/>
                <a:gd name="connsiteX264" fmla="*/ 1422737 w 3024845"/>
                <a:gd name="connsiteY264" fmla="*/ 311296 h 834218"/>
                <a:gd name="connsiteX265" fmla="*/ 1426791 w 3024845"/>
                <a:gd name="connsiteY265" fmla="*/ 317781 h 834218"/>
                <a:gd name="connsiteX266" fmla="*/ 1429071 w 3024845"/>
                <a:gd name="connsiteY266" fmla="*/ 317781 h 834218"/>
                <a:gd name="connsiteX267" fmla="*/ 1445031 w 3024845"/>
                <a:gd name="connsiteY267" fmla="*/ 317781 h 834218"/>
                <a:gd name="connsiteX268" fmla="*/ 1445031 w 3024845"/>
                <a:gd name="connsiteY268" fmla="*/ 316970 h 834218"/>
                <a:gd name="connsiteX269" fmla="*/ 1445031 w 3024845"/>
                <a:gd name="connsiteY269" fmla="*/ 311296 h 834218"/>
                <a:gd name="connsiteX270" fmla="*/ 1445791 w 3024845"/>
                <a:gd name="connsiteY270" fmla="*/ 311296 h 834218"/>
                <a:gd name="connsiteX271" fmla="*/ 1451111 w 3024845"/>
                <a:gd name="connsiteY271" fmla="*/ 311296 h 834218"/>
                <a:gd name="connsiteX272" fmla="*/ 1451111 w 3024845"/>
                <a:gd name="connsiteY272" fmla="*/ 312647 h 834218"/>
                <a:gd name="connsiteX273" fmla="*/ 1451111 w 3024845"/>
                <a:gd name="connsiteY273" fmla="*/ 322105 h 834218"/>
                <a:gd name="connsiteX274" fmla="*/ 1489618 w 3024845"/>
                <a:gd name="connsiteY274" fmla="*/ 322105 h 834218"/>
                <a:gd name="connsiteX275" fmla="*/ 1489618 w 3024845"/>
                <a:gd name="connsiteY275" fmla="*/ 460458 h 834218"/>
                <a:gd name="connsiteX276" fmla="*/ 1491138 w 3024845"/>
                <a:gd name="connsiteY276" fmla="*/ 460458 h 834218"/>
                <a:gd name="connsiteX277" fmla="*/ 1501778 w 3024845"/>
                <a:gd name="connsiteY277" fmla="*/ 460458 h 834218"/>
                <a:gd name="connsiteX278" fmla="*/ 1501778 w 3024845"/>
                <a:gd name="connsiteY278" fmla="*/ 447488 h 834218"/>
                <a:gd name="connsiteX279" fmla="*/ 1505832 w 3024845"/>
                <a:gd name="connsiteY279" fmla="*/ 447488 h 834218"/>
                <a:gd name="connsiteX280" fmla="*/ 1505832 w 3024845"/>
                <a:gd name="connsiteY280" fmla="*/ 460458 h 834218"/>
                <a:gd name="connsiteX281" fmla="*/ 1536232 w 3024845"/>
                <a:gd name="connsiteY281" fmla="*/ 460458 h 834218"/>
                <a:gd name="connsiteX282" fmla="*/ 1536232 w 3024845"/>
                <a:gd name="connsiteY282" fmla="*/ 430193 h 834218"/>
                <a:gd name="connsiteX283" fmla="*/ 1548392 w 3024845"/>
                <a:gd name="connsiteY283" fmla="*/ 430193 h 834218"/>
                <a:gd name="connsiteX284" fmla="*/ 1560552 w 3024845"/>
                <a:gd name="connsiteY284" fmla="*/ 428032 h 834218"/>
                <a:gd name="connsiteX285" fmla="*/ 1564606 w 3024845"/>
                <a:gd name="connsiteY285" fmla="*/ 430193 h 834218"/>
                <a:gd name="connsiteX286" fmla="*/ 1574739 w 3024845"/>
                <a:gd name="connsiteY286" fmla="*/ 430193 h 834218"/>
                <a:gd name="connsiteX287" fmla="*/ 1574739 w 3024845"/>
                <a:gd name="connsiteY287" fmla="*/ 460458 h 834218"/>
                <a:gd name="connsiteX288" fmla="*/ 1582846 w 3024845"/>
                <a:gd name="connsiteY288" fmla="*/ 460458 h 834218"/>
                <a:gd name="connsiteX289" fmla="*/ 1582846 w 3024845"/>
                <a:gd name="connsiteY289" fmla="*/ 477753 h 834218"/>
                <a:gd name="connsiteX290" fmla="*/ 1592182 w 3024845"/>
                <a:gd name="connsiteY290" fmla="*/ 478658 h 834218"/>
                <a:gd name="connsiteX291" fmla="*/ 1605140 w 3024845"/>
                <a:gd name="connsiteY291" fmla="*/ 478658 h 834218"/>
                <a:gd name="connsiteX292" fmla="*/ 1605140 w 3024845"/>
                <a:gd name="connsiteY292" fmla="*/ 462620 h 834218"/>
                <a:gd name="connsiteX293" fmla="*/ 1673096 w 3024845"/>
                <a:gd name="connsiteY293" fmla="*/ 462620 h 834218"/>
                <a:gd name="connsiteX294" fmla="*/ 1673096 w 3024845"/>
                <a:gd name="connsiteY294" fmla="*/ 377367 h 834218"/>
                <a:gd name="connsiteX295" fmla="*/ 1745104 w 3024845"/>
                <a:gd name="connsiteY295" fmla="*/ 377367 h 834218"/>
                <a:gd name="connsiteX296" fmla="*/ 1745104 w 3024845"/>
                <a:gd name="connsiteY296" fmla="*/ 456135 h 834218"/>
                <a:gd name="connsiteX297" fmla="*/ 1747008 w 3024845"/>
                <a:gd name="connsiteY297" fmla="*/ 456135 h 834218"/>
                <a:gd name="connsiteX298" fmla="*/ 1748250 w 3024845"/>
                <a:gd name="connsiteY298" fmla="*/ 478658 h 834218"/>
                <a:gd name="connsiteX299" fmla="*/ 1757926 w 3024845"/>
                <a:gd name="connsiteY299" fmla="*/ 478658 h 834218"/>
                <a:gd name="connsiteX300" fmla="*/ 1759168 w 3024845"/>
                <a:gd name="connsiteY300" fmla="*/ 456135 h 834218"/>
                <a:gd name="connsiteX301" fmla="*/ 1765248 w 3024845"/>
                <a:gd name="connsiteY301" fmla="*/ 456135 h 834218"/>
                <a:gd name="connsiteX302" fmla="*/ 1766490 w 3024845"/>
                <a:gd name="connsiteY302" fmla="*/ 478658 h 834218"/>
                <a:gd name="connsiteX303" fmla="*/ 1817112 w 3024845"/>
                <a:gd name="connsiteY303" fmla="*/ 478658 h 834218"/>
                <a:gd name="connsiteX304" fmla="*/ 1817112 w 3024845"/>
                <a:gd name="connsiteY304" fmla="*/ 315630 h 834218"/>
                <a:gd name="connsiteX305" fmla="*/ 2014439 w 3024845"/>
                <a:gd name="connsiteY305" fmla="*/ 315630 h 834218"/>
                <a:gd name="connsiteX306" fmla="*/ 2014439 w 3024845"/>
                <a:gd name="connsiteY306" fmla="*/ 478658 h 834218"/>
                <a:gd name="connsiteX307" fmla="*/ 2033136 w 3024845"/>
                <a:gd name="connsiteY307" fmla="*/ 478658 h 834218"/>
                <a:gd name="connsiteX308" fmla="*/ 2033136 w 3024845"/>
                <a:gd name="connsiteY308" fmla="*/ 395965 h 834218"/>
                <a:gd name="connsiteX309" fmla="*/ 2128256 w 3024845"/>
                <a:gd name="connsiteY309" fmla="*/ 395965 h 834218"/>
                <a:gd name="connsiteX310" fmla="*/ 2180720 w 3024845"/>
                <a:gd name="connsiteY310" fmla="*/ 330752 h 834218"/>
                <a:gd name="connsiteX311" fmla="*/ 2245574 w 3024845"/>
                <a:gd name="connsiteY311" fmla="*/ 330752 h 834218"/>
                <a:gd name="connsiteX312" fmla="*/ 2245574 w 3024845"/>
                <a:gd name="connsiteY312" fmla="*/ 406414 h 834218"/>
                <a:gd name="connsiteX313" fmla="*/ 2253681 w 3024845"/>
                <a:gd name="connsiteY313" fmla="*/ 406414 h 834218"/>
                <a:gd name="connsiteX314" fmla="*/ 2255708 w 3024845"/>
                <a:gd name="connsiteY314" fmla="*/ 399929 h 834218"/>
                <a:gd name="connsiteX315" fmla="*/ 2261788 w 3024845"/>
                <a:gd name="connsiteY315" fmla="*/ 399929 h 834218"/>
                <a:gd name="connsiteX316" fmla="*/ 2263815 w 3024845"/>
                <a:gd name="connsiteY316" fmla="*/ 408576 h 834218"/>
                <a:gd name="connsiteX317" fmla="*/ 2275975 w 3024845"/>
                <a:gd name="connsiteY317" fmla="*/ 408576 h 834218"/>
                <a:gd name="connsiteX318" fmla="*/ 2275975 w 3024845"/>
                <a:gd name="connsiteY318" fmla="*/ 402090 h 834218"/>
                <a:gd name="connsiteX319" fmla="*/ 2298268 w 3024845"/>
                <a:gd name="connsiteY319" fmla="*/ 402090 h 834218"/>
                <a:gd name="connsiteX320" fmla="*/ 2298268 w 3024845"/>
                <a:gd name="connsiteY320" fmla="*/ 408576 h 834218"/>
                <a:gd name="connsiteX321" fmla="*/ 2318535 w 3024845"/>
                <a:gd name="connsiteY321" fmla="*/ 408576 h 834218"/>
                <a:gd name="connsiteX322" fmla="*/ 2318535 w 3024845"/>
                <a:gd name="connsiteY322" fmla="*/ 453973 h 834218"/>
                <a:gd name="connsiteX323" fmla="*/ 2332722 w 3024845"/>
                <a:gd name="connsiteY323" fmla="*/ 453973 h 834218"/>
                <a:gd name="connsiteX324" fmla="*/ 2332722 w 3024845"/>
                <a:gd name="connsiteY324" fmla="*/ 441002 h 834218"/>
                <a:gd name="connsiteX325" fmla="*/ 2348936 w 3024845"/>
                <a:gd name="connsiteY325" fmla="*/ 441002 h 834218"/>
                <a:gd name="connsiteX326" fmla="*/ 2348936 w 3024845"/>
                <a:gd name="connsiteY326" fmla="*/ 261575 h 834218"/>
                <a:gd name="connsiteX327" fmla="*/ 2355016 w 3024845"/>
                <a:gd name="connsiteY327" fmla="*/ 255089 h 834218"/>
                <a:gd name="connsiteX328" fmla="*/ 2427977 w 3024845"/>
                <a:gd name="connsiteY328" fmla="*/ 255089 h 834218"/>
                <a:gd name="connsiteX329" fmla="*/ 2427977 w 3024845"/>
                <a:gd name="connsiteY329" fmla="*/ 263737 h 834218"/>
                <a:gd name="connsiteX330" fmla="*/ 2438110 w 3024845"/>
                <a:gd name="connsiteY330" fmla="*/ 263737 h 834218"/>
                <a:gd name="connsiteX331" fmla="*/ 2438110 w 3024845"/>
                <a:gd name="connsiteY331" fmla="*/ 378311 h 834218"/>
                <a:gd name="connsiteX332" fmla="*/ 2460404 w 3024845"/>
                <a:gd name="connsiteY332" fmla="*/ 378311 h 834218"/>
                <a:gd name="connsiteX333" fmla="*/ 2460404 w 3024845"/>
                <a:gd name="connsiteY333" fmla="*/ 311296 h 834218"/>
                <a:gd name="connsiteX334" fmla="*/ 2486751 w 3024845"/>
                <a:gd name="connsiteY334" fmla="*/ 311296 h 834218"/>
                <a:gd name="connsiteX335" fmla="*/ 2490804 w 3024845"/>
                <a:gd name="connsiteY335" fmla="*/ 306972 h 834218"/>
                <a:gd name="connsiteX336" fmla="*/ 2498911 w 3024845"/>
                <a:gd name="connsiteY336" fmla="*/ 306972 h 834218"/>
                <a:gd name="connsiteX337" fmla="*/ 2502964 w 3024845"/>
                <a:gd name="connsiteY337" fmla="*/ 311296 h 834218"/>
                <a:gd name="connsiteX338" fmla="*/ 2525258 w 3024845"/>
                <a:gd name="connsiteY338" fmla="*/ 311296 h 834218"/>
                <a:gd name="connsiteX339" fmla="*/ 2525258 w 3024845"/>
                <a:gd name="connsiteY339" fmla="*/ 194560 h 834218"/>
                <a:gd name="connsiteX340" fmla="*/ 2582005 w 3024845"/>
                <a:gd name="connsiteY340" fmla="*/ 183751 h 834218"/>
                <a:gd name="connsiteX341" fmla="*/ 2582005 w 3024845"/>
                <a:gd name="connsiteY341" fmla="*/ 184832 h 834218"/>
                <a:gd name="connsiteX342" fmla="*/ 2582005 w 3024845"/>
                <a:gd name="connsiteY342" fmla="*/ 192398 h 834218"/>
                <a:gd name="connsiteX343" fmla="*/ 2608352 w 3024845"/>
                <a:gd name="connsiteY343" fmla="*/ 192398 h 834218"/>
                <a:gd name="connsiteX344" fmla="*/ 2608352 w 3024845"/>
                <a:gd name="connsiteY344" fmla="*/ 447488 h 834218"/>
                <a:gd name="connsiteX345" fmla="*/ 2630646 w 3024845"/>
                <a:gd name="connsiteY345" fmla="*/ 447488 h 834218"/>
                <a:gd name="connsiteX346" fmla="*/ 2630646 w 3024845"/>
                <a:gd name="connsiteY346" fmla="*/ 443164 h 834218"/>
                <a:gd name="connsiteX347" fmla="*/ 2642806 w 3024845"/>
                <a:gd name="connsiteY347" fmla="*/ 443164 h 834218"/>
                <a:gd name="connsiteX348" fmla="*/ 2642806 w 3024845"/>
                <a:gd name="connsiteY348" fmla="*/ 447488 h 834218"/>
                <a:gd name="connsiteX349" fmla="*/ 2667126 w 3024845"/>
                <a:gd name="connsiteY349" fmla="*/ 447488 h 834218"/>
                <a:gd name="connsiteX350" fmla="*/ 2667126 w 3024845"/>
                <a:gd name="connsiteY350" fmla="*/ 434517 h 834218"/>
                <a:gd name="connsiteX351" fmla="*/ 2695500 w 3024845"/>
                <a:gd name="connsiteY351" fmla="*/ 434517 h 834218"/>
                <a:gd name="connsiteX352" fmla="*/ 2707660 w 3024845"/>
                <a:gd name="connsiteY352" fmla="*/ 430193 h 834218"/>
                <a:gd name="connsiteX353" fmla="*/ 2727927 w 3024845"/>
                <a:gd name="connsiteY353" fmla="*/ 434517 h 834218"/>
                <a:gd name="connsiteX354" fmla="*/ 2727927 w 3024845"/>
                <a:gd name="connsiteY354" fmla="*/ 417223 h 834218"/>
                <a:gd name="connsiteX355" fmla="*/ 2736034 w 3024845"/>
                <a:gd name="connsiteY355" fmla="*/ 417223 h 834218"/>
                <a:gd name="connsiteX356" fmla="*/ 2736034 w 3024845"/>
                <a:gd name="connsiteY356" fmla="*/ 404252 h 834218"/>
                <a:gd name="connsiteX357" fmla="*/ 2792781 w 3024845"/>
                <a:gd name="connsiteY357" fmla="*/ 404252 h 834218"/>
                <a:gd name="connsiteX358" fmla="*/ 2792781 w 3024845"/>
                <a:gd name="connsiteY358" fmla="*/ 373987 h 834218"/>
                <a:gd name="connsiteX359" fmla="*/ 2811021 w 3024845"/>
                <a:gd name="connsiteY359" fmla="*/ 373987 h 834218"/>
                <a:gd name="connsiteX360" fmla="*/ 2811021 w 3024845"/>
                <a:gd name="connsiteY360" fmla="*/ 367502 h 834218"/>
                <a:gd name="connsiteX361" fmla="*/ 2823181 w 3024845"/>
                <a:gd name="connsiteY361" fmla="*/ 367502 h 834218"/>
                <a:gd name="connsiteX362" fmla="*/ 2823181 w 3024845"/>
                <a:gd name="connsiteY362" fmla="*/ 373987 h 834218"/>
                <a:gd name="connsiteX363" fmla="*/ 2839395 w 3024845"/>
                <a:gd name="connsiteY363" fmla="*/ 373987 h 834218"/>
                <a:gd name="connsiteX364" fmla="*/ 2839395 w 3024845"/>
                <a:gd name="connsiteY364" fmla="*/ 423708 h 834218"/>
                <a:gd name="connsiteX365" fmla="*/ 2871822 w 3024845"/>
                <a:gd name="connsiteY365" fmla="*/ 423708 h 834218"/>
                <a:gd name="connsiteX366" fmla="*/ 2871822 w 3024845"/>
                <a:gd name="connsiteY366" fmla="*/ 397767 h 834218"/>
                <a:gd name="connsiteX367" fmla="*/ 2910329 w 3024845"/>
                <a:gd name="connsiteY367" fmla="*/ 397767 h 834218"/>
                <a:gd name="connsiteX368" fmla="*/ 2910329 w 3024845"/>
                <a:gd name="connsiteY368" fmla="*/ 367502 h 834218"/>
                <a:gd name="connsiteX369" fmla="*/ 2958970 w 3024845"/>
                <a:gd name="connsiteY369" fmla="*/ 367502 h 834218"/>
                <a:gd name="connsiteX370" fmla="*/ 2958970 w 3024845"/>
                <a:gd name="connsiteY370" fmla="*/ 478658 h 834218"/>
                <a:gd name="connsiteX371" fmla="*/ 2958970 w 3024845"/>
                <a:gd name="connsiteY371" fmla="*/ 492437 h 834218"/>
                <a:gd name="connsiteX372" fmla="*/ 3024845 w 3024845"/>
                <a:gd name="connsiteY372" fmla="*/ 492437 h 834218"/>
                <a:gd name="connsiteX373" fmla="*/ 3024845 w 3024845"/>
                <a:gd name="connsiteY373" fmla="*/ 834218 h 834218"/>
                <a:gd name="connsiteX374" fmla="*/ 2054 w 3024845"/>
                <a:gd name="connsiteY374" fmla="*/ 831885 h 834218"/>
                <a:gd name="connsiteX375" fmla="*/ 0 w 3024845"/>
                <a:gd name="connsiteY375" fmla="*/ 397767 h 834218"/>
                <a:gd name="connsiteX376" fmla="*/ 20267 w 3024845"/>
                <a:gd name="connsiteY376" fmla="*/ 397767 h 834218"/>
                <a:gd name="connsiteX377" fmla="*/ 20774 w 3024845"/>
                <a:gd name="connsiteY377" fmla="*/ 396686 h 834218"/>
                <a:gd name="connsiteX378" fmla="*/ 24320 w 3024845"/>
                <a:gd name="connsiteY378" fmla="*/ 389120 h 834218"/>
                <a:gd name="connsiteX379" fmla="*/ 26094 w 3024845"/>
                <a:gd name="connsiteY379" fmla="*/ 389390 h 834218"/>
                <a:gd name="connsiteX380" fmla="*/ 38507 w 3024845"/>
                <a:gd name="connsiteY380" fmla="*/ 391281 h 834218"/>
                <a:gd name="connsiteX381" fmla="*/ 39014 w 3024845"/>
                <a:gd name="connsiteY381" fmla="*/ 392633 h 834218"/>
                <a:gd name="connsiteX382" fmla="*/ 42560 w 3024845"/>
                <a:gd name="connsiteY382" fmla="*/ 402090 h 834218"/>
                <a:gd name="connsiteX383" fmla="*/ 68907 w 3024845"/>
                <a:gd name="connsiteY383" fmla="*/ 404252 h 834218"/>
                <a:gd name="connsiteX384" fmla="*/ 68907 w 3024845"/>
                <a:gd name="connsiteY384" fmla="*/ 281031 h 834218"/>
                <a:gd name="connsiteX385" fmla="*/ 70934 w 3024845"/>
                <a:gd name="connsiteY385" fmla="*/ 281031 h 834218"/>
                <a:gd name="connsiteX386" fmla="*/ 85121 w 3024845"/>
                <a:gd name="connsiteY386" fmla="*/ 281031 h 834218"/>
                <a:gd name="connsiteX387" fmla="*/ 85121 w 3024845"/>
                <a:gd name="connsiteY387" fmla="*/ 144839 h 834218"/>
                <a:gd name="connsiteX388" fmla="*/ 86894 w 3024845"/>
                <a:gd name="connsiteY388" fmla="*/ 144839 h 834218"/>
                <a:gd name="connsiteX389" fmla="*/ 99308 w 3024845"/>
                <a:gd name="connsiteY389" fmla="*/ 144839 h 834218"/>
                <a:gd name="connsiteX390" fmla="*/ 99308 w 3024845"/>
                <a:gd name="connsiteY390" fmla="*/ 30265 h 834218"/>
                <a:gd name="connsiteX391" fmla="*/ 103361 w 3024845"/>
                <a:gd name="connsiteY391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16856 w 3024845"/>
                <a:gd name="connsiteY4" fmla="*/ 23779 h 834218"/>
                <a:gd name="connsiteX5" fmla="*/ 220909 w 3024845"/>
                <a:gd name="connsiteY5" fmla="*/ 30265 h 834218"/>
                <a:gd name="connsiteX6" fmla="*/ 220909 w 3024845"/>
                <a:gd name="connsiteY6" fmla="*/ 144839 h 834218"/>
                <a:gd name="connsiteX7" fmla="*/ 223189 w 3024845"/>
                <a:gd name="connsiteY7" fmla="*/ 144839 h 834218"/>
                <a:gd name="connsiteX8" fmla="*/ 239150 w 3024845"/>
                <a:gd name="connsiteY8" fmla="*/ 144839 h 834218"/>
                <a:gd name="connsiteX9" fmla="*/ 239150 w 3024845"/>
                <a:gd name="connsiteY9" fmla="*/ 285354 h 834218"/>
                <a:gd name="connsiteX10" fmla="*/ 240670 w 3024845"/>
                <a:gd name="connsiteY10" fmla="*/ 285084 h 834218"/>
                <a:gd name="connsiteX11" fmla="*/ 251310 w 3024845"/>
                <a:gd name="connsiteY11" fmla="*/ 283193 h 834218"/>
                <a:gd name="connsiteX12" fmla="*/ 249283 w 3024845"/>
                <a:gd name="connsiteY12" fmla="*/ 371825 h 834218"/>
                <a:gd name="connsiteX13" fmla="*/ 250803 w 3024845"/>
                <a:gd name="connsiteY13" fmla="*/ 372096 h 834218"/>
                <a:gd name="connsiteX14" fmla="*/ 261443 w 3024845"/>
                <a:gd name="connsiteY14" fmla="*/ 373987 h 834218"/>
                <a:gd name="connsiteX15" fmla="*/ 261696 w 3024845"/>
                <a:gd name="connsiteY15" fmla="*/ 374798 h 834218"/>
                <a:gd name="connsiteX16" fmla="*/ 263470 w 3024845"/>
                <a:gd name="connsiteY16" fmla="*/ 380473 h 834218"/>
                <a:gd name="connsiteX17" fmla="*/ 264230 w 3024845"/>
                <a:gd name="connsiteY17" fmla="*/ 378041 h 834218"/>
                <a:gd name="connsiteX18" fmla="*/ 269550 w 3024845"/>
                <a:gd name="connsiteY18" fmla="*/ 361017 h 834218"/>
                <a:gd name="connsiteX19" fmla="*/ 271323 w 3024845"/>
                <a:gd name="connsiteY19" fmla="*/ 361017 h 834218"/>
                <a:gd name="connsiteX20" fmla="*/ 283737 w 3024845"/>
                <a:gd name="connsiteY20" fmla="*/ 361017 h 834218"/>
                <a:gd name="connsiteX21" fmla="*/ 283737 w 3024845"/>
                <a:gd name="connsiteY21" fmla="*/ 393443 h 834218"/>
                <a:gd name="connsiteX22" fmla="*/ 284750 w 3024845"/>
                <a:gd name="connsiteY22" fmla="*/ 393984 h 834218"/>
                <a:gd name="connsiteX23" fmla="*/ 291844 w 3024845"/>
                <a:gd name="connsiteY23" fmla="*/ 397767 h 834218"/>
                <a:gd name="connsiteX24" fmla="*/ 291844 w 3024845"/>
                <a:gd name="connsiteY24" fmla="*/ 399118 h 834218"/>
                <a:gd name="connsiteX25" fmla="*/ 291844 w 3024845"/>
                <a:gd name="connsiteY25" fmla="*/ 408576 h 834218"/>
                <a:gd name="connsiteX26" fmla="*/ 336431 w 3024845"/>
                <a:gd name="connsiteY26" fmla="*/ 408576 h 834218"/>
                <a:gd name="connsiteX27" fmla="*/ 336431 w 3024845"/>
                <a:gd name="connsiteY27" fmla="*/ 409657 h 834218"/>
                <a:gd name="connsiteX28" fmla="*/ 336431 w 3024845"/>
                <a:gd name="connsiteY28" fmla="*/ 417223 h 834218"/>
                <a:gd name="connsiteX29" fmla="*/ 338457 w 3024845"/>
                <a:gd name="connsiteY29" fmla="*/ 417223 h 834218"/>
                <a:gd name="connsiteX30" fmla="*/ 352644 w 3024845"/>
                <a:gd name="connsiteY30" fmla="*/ 417223 h 834218"/>
                <a:gd name="connsiteX31" fmla="*/ 352644 w 3024845"/>
                <a:gd name="connsiteY31" fmla="*/ 386958 h 834218"/>
                <a:gd name="connsiteX32" fmla="*/ 397231 w 3024845"/>
                <a:gd name="connsiteY32" fmla="*/ 386958 h 834218"/>
                <a:gd name="connsiteX33" fmla="*/ 397231 w 3024845"/>
                <a:gd name="connsiteY33" fmla="*/ 385607 h 834218"/>
                <a:gd name="connsiteX34" fmla="*/ 397231 w 3024845"/>
                <a:gd name="connsiteY34" fmla="*/ 376149 h 834218"/>
                <a:gd name="connsiteX35" fmla="*/ 398245 w 3024845"/>
                <a:gd name="connsiteY35" fmla="*/ 376149 h 834218"/>
                <a:gd name="connsiteX36" fmla="*/ 405338 w 3024845"/>
                <a:gd name="connsiteY36" fmla="*/ 376149 h 834218"/>
                <a:gd name="connsiteX37" fmla="*/ 405338 w 3024845"/>
                <a:gd name="connsiteY37" fmla="*/ 374258 h 834218"/>
                <a:gd name="connsiteX38" fmla="*/ 405338 w 3024845"/>
                <a:gd name="connsiteY38" fmla="*/ 361017 h 834218"/>
                <a:gd name="connsiteX39" fmla="*/ 406098 w 3024845"/>
                <a:gd name="connsiteY39" fmla="*/ 361017 h 834218"/>
                <a:gd name="connsiteX40" fmla="*/ 411418 w 3024845"/>
                <a:gd name="connsiteY40" fmla="*/ 361017 h 834218"/>
                <a:gd name="connsiteX41" fmla="*/ 411418 w 3024845"/>
                <a:gd name="connsiteY41" fmla="*/ 359936 h 834218"/>
                <a:gd name="connsiteX42" fmla="*/ 411418 w 3024845"/>
                <a:gd name="connsiteY42" fmla="*/ 352369 h 834218"/>
                <a:gd name="connsiteX43" fmla="*/ 413445 w 3024845"/>
                <a:gd name="connsiteY43" fmla="*/ 352369 h 834218"/>
                <a:gd name="connsiteX44" fmla="*/ 427632 w 3024845"/>
                <a:gd name="connsiteY44" fmla="*/ 352369 h 834218"/>
                <a:gd name="connsiteX45" fmla="*/ 427632 w 3024845"/>
                <a:gd name="connsiteY45" fmla="*/ 353450 h 834218"/>
                <a:gd name="connsiteX46" fmla="*/ 427632 w 3024845"/>
                <a:gd name="connsiteY46" fmla="*/ 361017 h 834218"/>
                <a:gd name="connsiteX47" fmla="*/ 449925 w 3024845"/>
                <a:gd name="connsiteY47" fmla="*/ 361017 h 834218"/>
                <a:gd name="connsiteX48" fmla="*/ 449925 w 3024845"/>
                <a:gd name="connsiteY48" fmla="*/ 359125 h 834218"/>
                <a:gd name="connsiteX49" fmla="*/ 449925 w 3024845"/>
                <a:gd name="connsiteY49" fmla="*/ 345884 h 834218"/>
                <a:gd name="connsiteX50" fmla="*/ 451699 w 3024845"/>
                <a:gd name="connsiteY50" fmla="*/ 345884 h 834218"/>
                <a:gd name="connsiteX51" fmla="*/ 464112 w 3024845"/>
                <a:gd name="connsiteY51" fmla="*/ 345884 h 834218"/>
                <a:gd name="connsiteX52" fmla="*/ 464112 w 3024845"/>
                <a:gd name="connsiteY52" fmla="*/ 369664 h 834218"/>
                <a:gd name="connsiteX53" fmla="*/ 465126 w 3024845"/>
                <a:gd name="connsiteY53" fmla="*/ 369664 h 834218"/>
                <a:gd name="connsiteX54" fmla="*/ 472219 w 3024845"/>
                <a:gd name="connsiteY54" fmla="*/ 369664 h 834218"/>
                <a:gd name="connsiteX55" fmla="*/ 472219 w 3024845"/>
                <a:gd name="connsiteY55" fmla="*/ 368583 h 834218"/>
                <a:gd name="connsiteX56" fmla="*/ 472219 w 3024845"/>
                <a:gd name="connsiteY56" fmla="*/ 361017 h 834218"/>
                <a:gd name="connsiteX57" fmla="*/ 473992 w 3024845"/>
                <a:gd name="connsiteY57" fmla="*/ 361017 h 834218"/>
                <a:gd name="connsiteX58" fmla="*/ 486406 w 3024845"/>
                <a:gd name="connsiteY58" fmla="*/ 361017 h 834218"/>
                <a:gd name="connsiteX59" fmla="*/ 486406 w 3024845"/>
                <a:gd name="connsiteY59" fmla="*/ 386958 h 834218"/>
                <a:gd name="connsiteX60" fmla="*/ 488433 w 3024845"/>
                <a:gd name="connsiteY60" fmla="*/ 386958 h 834218"/>
                <a:gd name="connsiteX61" fmla="*/ 502619 w 3024845"/>
                <a:gd name="connsiteY61" fmla="*/ 386958 h 834218"/>
                <a:gd name="connsiteX62" fmla="*/ 502619 w 3024845"/>
                <a:gd name="connsiteY62" fmla="*/ 388579 h 834218"/>
                <a:gd name="connsiteX63" fmla="*/ 502619 w 3024845"/>
                <a:gd name="connsiteY63" fmla="*/ 399929 h 834218"/>
                <a:gd name="connsiteX64" fmla="*/ 503379 w 3024845"/>
                <a:gd name="connsiteY64" fmla="*/ 399929 h 834218"/>
                <a:gd name="connsiteX65" fmla="*/ 508700 w 3024845"/>
                <a:gd name="connsiteY65" fmla="*/ 399929 h 834218"/>
                <a:gd name="connsiteX66" fmla="*/ 508700 w 3024845"/>
                <a:gd name="connsiteY66" fmla="*/ 399118 h 834218"/>
                <a:gd name="connsiteX67" fmla="*/ 508700 w 3024845"/>
                <a:gd name="connsiteY67" fmla="*/ 393443 h 834218"/>
                <a:gd name="connsiteX68" fmla="*/ 539100 w 3024845"/>
                <a:gd name="connsiteY68" fmla="*/ 393443 h 834218"/>
                <a:gd name="connsiteX69" fmla="*/ 539100 w 3024845"/>
                <a:gd name="connsiteY69" fmla="*/ 417223 h 834218"/>
                <a:gd name="connsiteX70" fmla="*/ 540113 w 3024845"/>
                <a:gd name="connsiteY70" fmla="*/ 417223 h 834218"/>
                <a:gd name="connsiteX71" fmla="*/ 547207 w 3024845"/>
                <a:gd name="connsiteY71" fmla="*/ 417223 h 834218"/>
                <a:gd name="connsiteX72" fmla="*/ 547207 w 3024845"/>
                <a:gd name="connsiteY72" fmla="*/ 418304 h 834218"/>
                <a:gd name="connsiteX73" fmla="*/ 547207 w 3024845"/>
                <a:gd name="connsiteY73" fmla="*/ 425870 h 834218"/>
                <a:gd name="connsiteX74" fmla="*/ 547967 w 3024845"/>
                <a:gd name="connsiteY74" fmla="*/ 425870 h 834218"/>
                <a:gd name="connsiteX75" fmla="*/ 553287 w 3024845"/>
                <a:gd name="connsiteY75" fmla="*/ 425870 h 834218"/>
                <a:gd name="connsiteX76" fmla="*/ 553287 w 3024845"/>
                <a:gd name="connsiteY76" fmla="*/ 423708 h 834218"/>
                <a:gd name="connsiteX77" fmla="*/ 553287 w 3024845"/>
                <a:gd name="connsiteY77" fmla="*/ 408576 h 834218"/>
                <a:gd name="connsiteX78" fmla="*/ 554300 w 3024845"/>
                <a:gd name="connsiteY78" fmla="*/ 408576 h 834218"/>
                <a:gd name="connsiteX79" fmla="*/ 561394 w 3024845"/>
                <a:gd name="connsiteY79" fmla="*/ 408576 h 834218"/>
                <a:gd name="connsiteX80" fmla="*/ 561394 w 3024845"/>
                <a:gd name="connsiteY80" fmla="*/ 409657 h 834218"/>
                <a:gd name="connsiteX81" fmla="*/ 561394 w 3024845"/>
                <a:gd name="connsiteY81" fmla="*/ 417223 h 834218"/>
                <a:gd name="connsiteX82" fmla="*/ 566714 w 3024845"/>
                <a:gd name="connsiteY82" fmla="*/ 415230 h 834218"/>
                <a:gd name="connsiteX83" fmla="*/ 567474 w 3024845"/>
                <a:gd name="connsiteY83" fmla="*/ 414250 h 834218"/>
                <a:gd name="connsiteX84" fmla="*/ 567474 w 3024845"/>
                <a:gd name="connsiteY84" fmla="*/ 408576 h 834218"/>
                <a:gd name="connsiteX85" fmla="*/ 605981 w 3024845"/>
                <a:gd name="connsiteY85" fmla="*/ 408576 h 834218"/>
                <a:gd name="connsiteX86" fmla="*/ 605981 w 3024845"/>
                <a:gd name="connsiteY86" fmla="*/ 432355 h 834218"/>
                <a:gd name="connsiteX87" fmla="*/ 608007 w 3024845"/>
                <a:gd name="connsiteY87" fmla="*/ 432355 h 834218"/>
                <a:gd name="connsiteX88" fmla="*/ 622194 w 3024845"/>
                <a:gd name="connsiteY88" fmla="*/ 432355 h 834218"/>
                <a:gd name="connsiteX89" fmla="*/ 622194 w 3024845"/>
                <a:gd name="connsiteY89" fmla="*/ 433436 h 834218"/>
                <a:gd name="connsiteX90" fmla="*/ 622194 w 3024845"/>
                <a:gd name="connsiteY90" fmla="*/ 441002 h 834218"/>
                <a:gd name="connsiteX91" fmla="*/ 623968 w 3024845"/>
                <a:gd name="connsiteY91" fmla="*/ 441002 h 834218"/>
                <a:gd name="connsiteX92" fmla="*/ 636381 w 3024845"/>
                <a:gd name="connsiteY92" fmla="*/ 441002 h 834218"/>
                <a:gd name="connsiteX93" fmla="*/ 636381 w 3024845"/>
                <a:gd name="connsiteY93" fmla="*/ 417223 h 834218"/>
                <a:gd name="connsiteX94" fmla="*/ 637394 w 3024845"/>
                <a:gd name="connsiteY94" fmla="*/ 417223 h 834218"/>
                <a:gd name="connsiteX95" fmla="*/ 644488 w 3024845"/>
                <a:gd name="connsiteY95" fmla="*/ 417223 h 834218"/>
                <a:gd name="connsiteX96" fmla="*/ 644488 w 3024845"/>
                <a:gd name="connsiteY96" fmla="*/ 384796 h 834218"/>
                <a:gd name="connsiteX97" fmla="*/ 645501 w 3024845"/>
                <a:gd name="connsiteY97" fmla="*/ 384796 h 834218"/>
                <a:gd name="connsiteX98" fmla="*/ 652595 w 3024845"/>
                <a:gd name="connsiteY98" fmla="*/ 384796 h 834218"/>
                <a:gd name="connsiteX99" fmla="*/ 652595 w 3024845"/>
                <a:gd name="connsiteY99" fmla="*/ 382905 h 834218"/>
                <a:gd name="connsiteX100" fmla="*/ 652595 w 3024845"/>
                <a:gd name="connsiteY100" fmla="*/ 369664 h 834218"/>
                <a:gd name="connsiteX101" fmla="*/ 651328 w 3024845"/>
                <a:gd name="connsiteY101" fmla="*/ 368042 h 834218"/>
                <a:gd name="connsiteX102" fmla="*/ 656648 w 3024845"/>
                <a:gd name="connsiteY102" fmla="*/ 356693 h 834218"/>
                <a:gd name="connsiteX103" fmla="*/ 664755 w 3024845"/>
                <a:gd name="connsiteY103" fmla="*/ 384796 h 834218"/>
                <a:gd name="connsiteX104" fmla="*/ 665515 w 3024845"/>
                <a:gd name="connsiteY104" fmla="*/ 384796 h 834218"/>
                <a:gd name="connsiteX105" fmla="*/ 670835 w 3024845"/>
                <a:gd name="connsiteY105" fmla="*/ 384796 h 834218"/>
                <a:gd name="connsiteX106" fmla="*/ 670835 w 3024845"/>
                <a:gd name="connsiteY106" fmla="*/ 278869 h 834218"/>
                <a:gd name="connsiteX107" fmla="*/ 672355 w 3024845"/>
                <a:gd name="connsiteY107" fmla="*/ 278869 h 834218"/>
                <a:gd name="connsiteX108" fmla="*/ 682995 w 3024845"/>
                <a:gd name="connsiteY108" fmla="*/ 278869 h 834218"/>
                <a:gd name="connsiteX109" fmla="*/ 682995 w 3024845"/>
                <a:gd name="connsiteY109" fmla="*/ 231310 h 834218"/>
                <a:gd name="connsiteX110" fmla="*/ 709342 w 3024845"/>
                <a:gd name="connsiteY110" fmla="*/ 231310 h 834218"/>
                <a:gd name="connsiteX111" fmla="*/ 709342 w 3024845"/>
                <a:gd name="connsiteY111" fmla="*/ 209692 h 834218"/>
                <a:gd name="connsiteX112" fmla="*/ 743796 w 3024845"/>
                <a:gd name="connsiteY112" fmla="*/ 209692 h 834218"/>
                <a:gd name="connsiteX113" fmla="*/ 743796 w 3024845"/>
                <a:gd name="connsiteY113" fmla="*/ 212124 h 834218"/>
                <a:gd name="connsiteX114" fmla="*/ 743796 w 3024845"/>
                <a:gd name="connsiteY114" fmla="*/ 229148 h 834218"/>
                <a:gd name="connsiteX115" fmla="*/ 746076 w 3024845"/>
                <a:gd name="connsiteY115" fmla="*/ 229148 h 834218"/>
                <a:gd name="connsiteX116" fmla="*/ 762036 w 3024845"/>
                <a:gd name="connsiteY116" fmla="*/ 229148 h 834218"/>
                <a:gd name="connsiteX117" fmla="*/ 762036 w 3024845"/>
                <a:gd name="connsiteY117" fmla="*/ 276707 h 834218"/>
                <a:gd name="connsiteX118" fmla="*/ 763049 w 3024845"/>
                <a:gd name="connsiteY118" fmla="*/ 276707 h 834218"/>
                <a:gd name="connsiteX119" fmla="*/ 770143 w 3024845"/>
                <a:gd name="connsiteY119" fmla="*/ 276707 h 834218"/>
                <a:gd name="connsiteX120" fmla="*/ 784330 w 3024845"/>
                <a:gd name="connsiteY120" fmla="*/ 281031 h 834218"/>
                <a:gd name="connsiteX121" fmla="*/ 784330 w 3024845"/>
                <a:gd name="connsiteY121" fmla="*/ 319943 h 834218"/>
                <a:gd name="connsiteX122" fmla="*/ 785343 w 3024845"/>
                <a:gd name="connsiteY122" fmla="*/ 319943 h 834218"/>
                <a:gd name="connsiteX123" fmla="*/ 792436 w 3024845"/>
                <a:gd name="connsiteY123" fmla="*/ 319943 h 834218"/>
                <a:gd name="connsiteX124" fmla="*/ 792436 w 3024845"/>
                <a:gd name="connsiteY124" fmla="*/ 321564 h 834218"/>
                <a:gd name="connsiteX125" fmla="*/ 792436 w 3024845"/>
                <a:gd name="connsiteY125" fmla="*/ 332913 h 834218"/>
                <a:gd name="connsiteX126" fmla="*/ 794463 w 3024845"/>
                <a:gd name="connsiteY126" fmla="*/ 332913 h 834218"/>
                <a:gd name="connsiteX127" fmla="*/ 808650 w 3024845"/>
                <a:gd name="connsiteY127" fmla="*/ 332913 h 834218"/>
                <a:gd name="connsiteX128" fmla="*/ 814730 w 3024845"/>
                <a:gd name="connsiteY128" fmla="*/ 339399 h 834218"/>
                <a:gd name="connsiteX129" fmla="*/ 814730 w 3024845"/>
                <a:gd name="connsiteY129" fmla="*/ 361017 h 834218"/>
                <a:gd name="connsiteX130" fmla="*/ 817010 w 3024845"/>
                <a:gd name="connsiteY130" fmla="*/ 361017 h 834218"/>
                <a:gd name="connsiteX131" fmla="*/ 832970 w 3024845"/>
                <a:gd name="connsiteY131" fmla="*/ 361017 h 834218"/>
                <a:gd name="connsiteX132" fmla="*/ 832970 w 3024845"/>
                <a:gd name="connsiteY132" fmla="*/ 362097 h 834218"/>
                <a:gd name="connsiteX133" fmla="*/ 832970 w 3024845"/>
                <a:gd name="connsiteY133" fmla="*/ 369664 h 834218"/>
                <a:gd name="connsiteX134" fmla="*/ 834237 w 3024845"/>
                <a:gd name="connsiteY134" fmla="*/ 369664 h 834218"/>
                <a:gd name="connsiteX135" fmla="*/ 843104 w 3024845"/>
                <a:gd name="connsiteY135" fmla="*/ 369664 h 834218"/>
                <a:gd name="connsiteX136" fmla="*/ 843104 w 3024845"/>
                <a:gd name="connsiteY136" fmla="*/ 371825 h 834218"/>
                <a:gd name="connsiteX137" fmla="*/ 843104 w 3024845"/>
                <a:gd name="connsiteY137" fmla="*/ 386958 h 834218"/>
                <a:gd name="connsiteX138" fmla="*/ 847157 w 3024845"/>
                <a:gd name="connsiteY138" fmla="*/ 385066 h 834218"/>
                <a:gd name="connsiteX139" fmla="*/ 847157 w 3024845"/>
                <a:gd name="connsiteY139" fmla="*/ 371825 h 834218"/>
                <a:gd name="connsiteX140" fmla="*/ 848170 w 3024845"/>
                <a:gd name="connsiteY140" fmla="*/ 371825 h 834218"/>
                <a:gd name="connsiteX141" fmla="*/ 855264 w 3024845"/>
                <a:gd name="connsiteY141" fmla="*/ 371825 h 834218"/>
                <a:gd name="connsiteX142" fmla="*/ 855264 w 3024845"/>
                <a:gd name="connsiteY142" fmla="*/ 373447 h 834218"/>
                <a:gd name="connsiteX143" fmla="*/ 855264 w 3024845"/>
                <a:gd name="connsiteY143" fmla="*/ 384796 h 834218"/>
                <a:gd name="connsiteX144" fmla="*/ 856024 w 3024845"/>
                <a:gd name="connsiteY144" fmla="*/ 384796 h 834218"/>
                <a:gd name="connsiteX145" fmla="*/ 861344 w 3024845"/>
                <a:gd name="connsiteY145" fmla="*/ 384796 h 834218"/>
                <a:gd name="connsiteX146" fmla="*/ 909984 w 3024845"/>
                <a:gd name="connsiteY146" fmla="*/ 380473 h 834218"/>
                <a:gd name="connsiteX147" fmla="*/ 909984 w 3024845"/>
                <a:gd name="connsiteY147" fmla="*/ 381824 h 834218"/>
                <a:gd name="connsiteX148" fmla="*/ 909984 w 3024845"/>
                <a:gd name="connsiteY148" fmla="*/ 391281 h 834218"/>
                <a:gd name="connsiteX149" fmla="*/ 910744 w 3024845"/>
                <a:gd name="connsiteY149" fmla="*/ 391281 h 834218"/>
                <a:gd name="connsiteX150" fmla="*/ 916065 w 3024845"/>
                <a:gd name="connsiteY150" fmla="*/ 391281 h 834218"/>
                <a:gd name="connsiteX151" fmla="*/ 916065 w 3024845"/>
                <a:gd name="connsiteY151" fmla="*/ 393443 h 834218"/>
                <a:gd name="connsiteX152" fmla="*/ 916065 w 3024845"/>
                <a:gd name="connsiteY152" fmla="*/ 408576 h 834218"/>
                <a:gd name="connsiteX153" fmla="*/ 918091 w 3024845"/>
                <a:gd name="connsiteY153" fmla="*/ 407225 h 834218"/>
                <a:gd name="connsiteX154" fmla="*/ 932278 w 3024845"/>
                <a:gd name="connsiteY154" fmla="*/ 397767 h 834218"/>
                <a:gd name="connsiteX155" fmla="*/ 938358 w 3024845"/>
                <a:gd name="connsiteY155" fmla="*/ 356693 h 834218"/>
                <a:gd name="connsiteX156" fmla="*/ 939118 w 3024845"/>
                <a:gd name="connsiteY156" fmla="*/ 356423 h 834218"/>
                <a:gd name="connsiteX157" fmla="*/ 944438 w 3024845"/>
                <a:gd name="connsiteY157" fmla="*/ 354531 h 834218"/>
                <a:gd name="connsiteX158" fmla="*/ 946465 w 3024845"/>
                <a:gd name="connsiteY158" fmla="*/ 285354 h 834218"/>
                <a:gd name="connsiteX159" fmla="*/ 948492 w 3024845"/>
                <a:gd name="connsiteY159" fmla="*/ 354531 h 834218"/>
                <a:gd name="connsiteX160" fmla="*/ 949252 w 3024845"/>
                <a:gd name="connsiteY160" fmla="*/ 354801 h 834218"/>
                <a:gd name="connsiteX161" fmla="*/ 954572 w 3024845"/>
                <a:gd name="connsiteY161" fmla="*/ 356693 h 834218"/>
                <a:gd name="connsiteX162" fmla="*/ 954572 w 3024845"/>
                <a:gd name="connsiteY162" fmla="*/ 270222 h 834218"/>
                <a:gd name="connsiteX163" fmla="*/ 958625 w 3024845"/>
                <a:gd name="connsiteY163" fmla="*/ 237795 h 834218"/>
                <a:gd name="connsiteX164" fmla="*/ 997132 w 3024845"/>
                <a:gd name="connsiteY164" fmla="*/ 237795 h 834218"/>
                <a:gd name="connsiteX165" fmla="*/ 997132 w 3024845"/>
                <a:gd name="connsiteY165" fmla="*/ 270222 h 834218"/>
                <a:gd name="connsiteX166" fmla="*/ 997892 w 3024845"/>
                <a:gd name="connsiteY166" fmla="*/ 270222 h 834218"/>
                <a:gd name="connsiteX167" fmla="*/ 1003212 w 3024845"/>
                <a:gd name="connsiteY167" fmla="*/ 270222 h 834218"/>
                <a:gd name="connsiteX168" fmla="*/ 1003212 w 3024845"/>
                <a:gd name="connsiteY168" fmla="*/ 188074 h 834218"/>
                <a:gd name="connsiteX169" fmla="*/ 1004986 w 3024845"/>
                <a:gd name="connsiteY169" fmla="*/ 188074 h 834218"/>
                <a:gd name="connsiteX170" fmla="*/ 1017399 w 3024845"/>
                <a:gd name="connsiteY170" fmla="*/ 188074 h 834218"/>
                <a:gd name="connsiteX171" fmla="*/ 1017399 w 3024845"/>
                <a:gd name="connsiteY171" fmla="*/ 186183 h 834218"/>
                <a:gd name="connsiteX172" fmla="*/ 1017399 w 3024845"/>
                <a:gd name="connsiteY172" fmla="*/ 172942 h 834218"/>
                <a:gd name="connsiteX173" fmla="*/ 1039693 w 3024845"/>
                <a:gd name="connsiteY173" fmla="*/ 172942 h 834218"/>
                <a:gd name="connsiteX174" fmla="*/ 1039693 w 3024845"/>
                <a:gd name="connsiteY174" fmla="*/ 171861 h 834218"/>
                <a:gd name="connsiteX175" fmla="*/ 1039693 w 3024845"/>
                <a:gd name="connsiteY175" fmla="*/ 164295 h 834218"/>
                <a:gd name="connsiteX176" fmla="*/ 1041466 w 3024845"/>
                <a:gd name="connsiteY176" fmla="*/ 164295 h 834218"/>
                <a:gd name="connsiteX177" fmla="*/ 1053880 w 3024845"/>
                <a:gd name="connsiteY177" fmla="*/ 164295 h 834218"/>
                <a:gd name="connsiteX178" fmla="*/ 1053880 w 3024845"/>
                <a:gd name="connsiteY178" fmla="*/ 165376 h 834218"/>
                <a:gd name="connsiteX179" fmla="*/ 1053880 w 3024845"/>
                <a:gd name="connsiteY179" fmla="*/ 172942 h 834218"/>
                <a:gd name="connsiteX180" fmla="*/ 1054640 w 3024845"/>
                <a:gd name="connsiteY180" fmla="*/ 172942 h 834218"/>
                <a:gd name="connsiteX181" fmla="*/ 1059960 w 3024845"/>
                <a:gd name="connsiteY181" fmla="*/ 172942 h 834218"/>
                <a:gd name="connsiteX182" fmla="*/ 1070093 w 3024845"/>
                <a:gd name="connsiteY182" fmla="*/ 168618 h 834218"/>
                <a:gd name="connsiteX183" fmla="*/ 1074146 w 3024845"/>
                <a:gd name="connsiteY183" fmla="*/ 171861 h 834218"/>
                <a:gd name="connsiteX184" fmla="*/ 1074146 w 3024845"/>
                <a:gd name="connsiteY184" fmla="*/ 164295 h 834218"/>
                <a:gd name="connsiteX185" fmla="*/ 1076426 w 3024845"/>
                <a:gd name="connsiteY185" fmla="*/ 164295 h 834218"/>
                <a:gd name="connsiteX186" fmla="*/ 1092387 w 3024845"/>
                <a:gd name="connsiteY186" fmla="*/ 164295 h 834218"/>
                <a:gd name="connsiteX187" fmla="*/ 1092387 w 3024845"/>
                <a:gd name="connsiteY187" fmla="*/ 165376 h 834218"/>
                <a:gd name="connsiteX188" fmla="*/ 1092387 w 3024845"/>
                <a:gd name="connsiteY188" fmla="*/ 172942 h 834218"/>
                <a:gd name="connsiteX189" fmla="*/ 1122787 w 3024845"/>
                <a:gd name="connsiteY189" fmla="*/ 172942 h 834218"/>
                <a:gd name="connsiteX190" fmla="*/ 1122787 w 3024845"/>
                <a:gd name="connsiteY190" fmla="*/ 174563 h 834218"/>
                <a:gd name="connsiteX191" fmla="*/ 1122787 w 3024845"/>
                <a:gd name="connsiteY191" fmla="*/ 185913 h 834218"/>
                <a:gd name="connsiteX192" fmla="*/ 1149134 w 3024845"/>
                <a:gd name="connsiteY192" fmla="*/ 185913 h 834218"/>
                <a:gd name="connsiteX193" fmla="*/ 1149134 w 3024845"/>
                <a:gd name="connsiteY193" fmla="*/ 216177 h 834218"/>
                <a:gd name="connsiteX194" fmla="*/ 1149894 w 3024845"/>
                <a:gd name="connsiteY194" fmla="*/ 216177 h 834218"/>
                <a:gd name="connsiteX195" fmla="*/ 1155214 w 3024845"/>
                <a:gd name="connsiteY195" fmla="*/ 216177 h 834218"/>
                <a:gd name="connsiteX196" fmla="*/ 1155214 w 3024845"/>
                <a:gd name="connsiteY196" fmla="*/ 217258 h 834218"/>
                <a:gd name="connsiteX197" fmla="*/ 1155214 w 3024845"/>
                <a:gd name="connsiteY197" fmla="*/ 224825 h 834218"/>
                <a:gd name="connsiteX198" fmla="*/ 1159268 w 3024845"/>
                <a:gd name="connsiteY198" fmla="*/ 255089 h 834218"/>
                <a:gd name="connsiteX199" fmla="*/ 1160028 w 3024845"/>
                <a:gd name="connsiteY199" fmla="*/ 255089 h 834218"/>
                <a:gd name="connsiteX200" fmla="*/ 1165348 w 3024845"/>
                <a:gd name="connsiteY200" fmla="*/ 255089 h 834218"/>
                <a:gd name="connsiteX201" fmla="*/ 1165348 w 3024845"/>
                <a:gd name="connsiteY201" fmla="*/ 255900 h 834218"/>
                <a:gd name="connsiteX202" fmla="*/ 1165348 w 3024845"/>
                <a:gd name="connsiteY202" fmla="*/ 261575 h 834218"/>
                <a:gd name="connsiteX203" fmla="*/ 1166361 w 3024845"/>
                <a:gd name="connsiteY203" fmla="*/ 261575 h 834218"/>
                <a:gd name="connsiteX204" fmla="*/ 1173454 w 3024845"/>
                <a:gd name="connsiteY204" fmla="*/ 261575 h 834218"/>
                <a:gd name="connsiteX205" fmla="*/ 1173454 w 3024845"/>
                <a:gd name="connsiteY205" fmla="*/ 291840 h 834218"/>
                <a:gd name="connsiteX206" fmla="*/ 1175481 w 3024845"/>
                <a:gd name="connsiteY206" fmla="*/ 291840 h 834218"/>
                <a:gd name="connsiteX207" fmla="*/ 1189668 w 3024845"/>
                <a:gd name="connsiteY207" fmla="*/ 291840 h 834218"/>
                <a:gd name="connsiteX208" fmla="*/ 1189668 w 3024845"/>
                <a:gd name="connsiteY208" fmla="*/ 315619 h 834218"/>
                <a:gd name="connsiteX209" fmla="*/ 1191695 w 3024845"/>
                <a:gd name="connsiteY209" fmla="*/ 317240 h 834218"/>
                <a:gd name="connsiteX210" fmla="*/ 1191695 w 3024845"/>
                <a:gd name="connsiteY210" fmla="*/ 328590 h 834218"/>
                <a:gd name="connsiteX211" fmla="*/ 1192455 w 3024845"/>
                <a:gd name="connsiteY211" fmla="*/ 328590 h 834218"/>
                <a:gd name="connsiteX212" fmla="*/ 1197775 w 3024845"/>
                <a:gd name="connsiteY212" fmla="*/ 328590 h 834218"/>
                <a:gd name="connsiteX213" fmla="*/ 1197775 w 3024845"/>
                <a:gd name="connsiteY213" fmla="*/ 352369 h 834218"/>
                <a:gd name="connsiteX214" fmla="*/ 1199041 w 3024845"/>
                <a:gd name="connsiteY214" fmla="*/ 352369 h 834218"/>
                <a:gd name="connsiteX215" fmla="*/ 1207908 w 3024845"/>
                <a:gd name="connsiteY215" fmla="*/ 352369 h 834218"/>
                <a:gd name="connsiteX216" fmla="*/ 1209935 w 3024845"/>
                <a:gd name="connsiteY216" fmla="*/ 356423 h 834218"/>
                <a:gd name="connsiteX217" fmla="*/ 1209935 w 3024845"/>
                <a:gd name="connsiteY217" fmla="*/ 369664 h 834218"/>
                <a:gd name="connsiteX218" fmla="*/ 1211455 w 3024845"/>
                <a:gd name="connsiteY218" fmla="*/ 367772 h 834218"/>
                <a:gd name="connsiteX219" fmla="*/ 1222095 w 3024845"/>
                <a:gd name="connsiteY219" fmla="*/ 354531 h 834218"/>
                <a:gd name="connsiteX220" fmla="*/ 1250469 w 3024845"/>
                <a:gd name="connsiteY220" fmla="*/ 354531 h 834218"/>
                <a:gd name="connsiteX221" fmla="*/ 1250469 w 3024845"/>
                <a:gd name="connsiteY221" fmla="*/ 441002 h 834218"/>
                <a:gd name="connsiteX222" fmla="*/ 1251229 w 3024845"/>
                <a:gd name="connsiteY222" fmla="*/ 441002 h 834218"/>
                <a:gd name="connsiteX223" fmla="*/ 1256549 w 3024845"/>
                <a:gd name="connsiteY223" fmla="*/ 441002 h 834218"/>
                <a:gd name="connsiteX224" fmla="*/ 1257309 w 3024845"/>
                <a:gd name="connsiteY224" fmla="*/ 439651 h 834218"/>
                <a:gd name="connsiteX225" fmla="*/ 1262629 w 3024845"/>
                <a:gd name="connsiteY225" fmla="*/ 430193 h 834218"/>
                <a:gd name="connsiteX226" fmla="*/ 1262629 w 3024845"/>
                <a:gd name="connsiteY226" fmla="*/ 432085 h 834218"/>
                <a:gd name="connsiteX227" fmla="*/ 1262629 w 3024845"/>
                <a:gd name="connsiteY227" fmla="*/ 445326 h 834218"/>
                <a:gd name="connsiteX228" fmla="*/ 1266682 w 3024845"/>
                <a:gd name="connsiteY228" fmla="*/ 399929 h 834218"/>
                <a:gd name="connsiteX229" fmla="*/ 1267442 w 3024845"/>
                <a:gd name="connsiteY229" fmla="*/ 399929 h 834218"/>
                <a:gd name="connsiteX230" fmla="*/ 1272762 w 3024845"/>
                <a:gd name="connsiteY230" fmla="*/ 399929 h 834218"/>
                <a:gd name="connsiteX231" fmla="*/ 1272762 w 3024845"/>
                <a:gd name="connsiteY231" fmla="*/ 335075 h 834218"/>
                <a:gd name="connsiteX232" fmla="*/ 1273776 w 3024845"/>
                <a:gd name="connsiteY232" fmla="*/ 335075 h 834218"/>
                <a:gd name="connsiteX233" fmla="*/ 1280869 w 3024845"/>
                <a:gd name="connsiteY233" fmla="*/ 335075 h 834218"/>
                <a:gd name="connsiteX234" fmla="*/ 1293029 w 3024845"/>
                <a:gd name="connsiteY234" fmla="*/ 291840 h 834218"/>
                <a:gd name="connsiteX235" fmla="*/ 1294296 w 3024845"/>
                <a:gd name="connsiteY235" fmla="*/ 291840 h 834218"/>
                <a:gd name="connsiteX236" fmla="*/ 1303163 w 3024845"/>
                <a:gd name="connsiteY236" fmla="*/ 291840 h 834218"/>
                <a:gd name="connsiteX237" fmla="*/ 1313296 w 3024845"/>
                <a:gd name="connsiteY237" fmla="*/ 335075 h 834218"/>
                <a:gd name="connsiteX238" fmla="*/ 1314309 w 3024845"/>
                <a:gd name="connsiteY238" fmla="*/ 335075 h 834218"/>
                <a:gd name="connsiteX239" fmla="*/ 1321403 w 3024845"/>
                <a:gd name="connsiteY239" fmla="*/ 335075 h 834218"/>
                <a:gd name="connsiteX240" fmla="*/ 1321403 w 3024845"/>
                <a:gd name="connsiteY240" fmla="*/ 373987 h 834218"/>
                <a:gd name="connsiteX241" fmla="*/ 1323176 w 3024845"/>
                <a:gd name="connsiteY241" fmla="*/ 373987 h 834218"/>
                <a:gd name="connsiteX242" fmla="*/ 1335590 w 3024845"/>
                <a:gd name="connsiteY242" fmla="*/ 373987 h 834218"/>
                <a:gd name="connsiteX243" fmla="*/ 1335590 w 3024845"/>
                <a:gd name="connsiteY243" fmla="*/ 376149 h 834218"/>
                <a:gd name="connsiteX244" fmla="*/ 1335590 w 3024845"/>
                <a:gd name="connsiteY244" fmla="*/ 391281 h 834218"/>
                <a:gd name="connsiteX245" fmla="*/ 1339643 w 3024845"/>
                <a:gd name="connsiteY245" fmla="*/ 389120 h 834218"/>
                <a:gd name="connsiteX246" fmla="*/ 1339643 w 3024845"/>
                <a:gd name="connsiteY246" fmla="*/ 373987 h 834218"/>
                <a:gd name="connsiteX247" fmla="*/ 1341163 w 3024845"/>
                <a:gd name="connsiteY247" fmla="*/ 373987 h 834218"/>
                <a:gd name="connsiteX248" fmla="*/ 1351803 w 3024845"/>
                <a:gd name="connsiteY248" fmla="*/ 373987 h 834218"/>
                <a:gd name="connsiteX249" fmla="*/ 1351803 w 3024845"/>
                <a:gd name="connsiteY249" fmla="*/ 375608 h 834218"/>
                <a:gd name="connsiteX250" fmla="*/ 1351803 w 3024845"/>
                <a:gd name="connsiteY250" fmla="*/ 386958 h 834218"/>
                <a:gd name="connsiteX251" fmla="*/ 1382204 w 3024845"/>
                <a:gd name="connsiteY251" fmla="*/ 386958 h 834218"/>
                <a:gd name="connsiteX252" fmla="*/ 1382204 w 3024845"/>
                <a:gd name="connsiteY252" fmla="*/ 350208 h 834218"/>
                <a:gd name="connsiteX253" fmla="*/ 1383470 w 3024845"/>
                <a:gd name="connsiteY253" fmla="*/ 350208 h 834218"/>
                <a:gd name="connsiteX254" fmla="*/ 1392337 w 3024845"/>
                <a:gd name="connsiteY254" fmla="*/ 350208 h 834218"/>
                <a:gd name="connsiteX255" fmla="*/ 1392337 w 3024845"/>
                <a:gd name="connsiteY255" fmla="*/ 371825 h 834218"/>
                <a:gd name="connsiteX256" fmla="*/ 1394364 w 3024845"/>
                <a:gd name="connsiteY256" fmla="*/ 339399 h 834218"/>
                <a:gd name="connsiteX257" fmla="*/ 1416657 w 3024845"/>
                <a:gd name="connsiteY257" fmla="*/ 339399 h 834218"/>
                <a:gd name="connsiteX258" fmla="*/ 1416657 w 3024845"/>
                <a:gd name="connsiteY258" fmla="*/ 337777 h 834218"/>
                <a:gd name="connsiteX259" fmla="*/ 1416657 w 3024845"/>
                <a:gd name="connsiteY259" fmla="*/ 326428 h 834218"/>
                <a:gd name="connsiteX260" fmla="*/ 1417417 w 3024845"/>
                <a:gd name="connsiteY260" fmla="*/ 326428 h 834218"/>
                <a:gd name="connsiteX261" fmla="*/ 1422737 w 3024845"/>
                <a:gd name="connsiteY261" fmla="*/ 326428 h 834218"/>
                <a:gd name="connsiteX262" fmla="*/ 1422737 w 3024845"/>
                <a:gd name="connsiteY262" fmla="*/ 324537 h 834218"/>
                <a:gd name="connsiteX263" fmla="*/ 1422737 w 3024845"/>
                <a:gd name="connsiteY263" fmla="*/ 311296 h 834218"/>
                <a:gd name="connsiteX264" fmla="*/ 1426791 w 3024845"/>
                <a:gd name="connsiteY264" fmla="*/ 317781 h 834218"/>
                <a:gd name="connsiteX265" fmla="*/ 1429071 w 3024845"/>
                <a:gd name="connsiteY265" fmla="*/ 317781 h 834218"/>
                <a:gd name="connsiteX266" fmla="*/ 1445031 w 3024845"/>
                <a:gd name="connsiteY266" fmla="*/ 317781 h 834218"/>
                <a:gd name="connsiteX267" fmla="*/ 1445031 w 3024845"/>
                <a:gd name="connsiteY267" fmla="*/ 316970 h 834218"/>
                <a:gd name="connsiteX268" fmla="*/ 1445031 w 3024845"/>
                <a:gd name="connsiteY268" fmla="*/ 311296 h 834218"/>
                <a:gd name="connsiteX269" fmla="*/ 1445791 w 3024845"/>
                <a:gd name="connsiteY269" fmla="*/ 311296 h 834218"/>
                <a:gd name="connsiteX270" fmla="*/ 1451111 w 3024845"/>
                <a:gd name="connsiteY270" fmla="*/ 311296 h 834218"/>
                <a:gd name="connsiteX271" fmla="*/ 1451111 w 3024845"/>
                <a:gd name="connsiteY271" fmla="*/ 312647 h 834218"/>
                <a:gd name="connsiteX272" fmla="*/ 1451111 w 3024845"/>
                <a:gd name="connsiteY272" fmla="*/ 322105 h 834218"/>
                <a:gd name="connsiteX273" fmla="*/ 1489618 w 3024845"/>
                <a:gd name="connsiteY273" fmla="*/ 322105 h 834218"/>
                <a:gd name="connsiteX274" fmla="*/ 1489618 w 3024845"/>
                <a:gd name="connsiteY274" fmla="*/ 460458 h 834218"/>
                <a:gd name="connsiteX275" fmla="*/ 1491138 w 3024845"/>
                <a:gd name="connsiteY275" fmla="*/ 460458 h 834218"/>
                <a:gd name="connsiteX276" fmla="*/ 1501778 w 3024845"/>
                <a:gd name="connsiteY276" fmla="*/ 460458 h 834218"/>
                <a:gd name="connsiteX277" fmla="*/ 1501778 w 3024845"/>
                <a:gd name="connsiteY277" fmla="*/ 447488 h 834218"/>
                <a:gd name="connsiteX278" fmla="*/ 1505832 w 3024845"/>
                <a:gd name="connsiteY278" fmla="*/ 447488 h 834218"/>
                <a:gd name="connsiteX279" fmla="*/ 1505832 w 3024845"/>
                <a:gd name="connsiteY279" fmla="*/ 460458 h 834218"/>
                <a:gd name="connsiteX280" fmla="*/ 1536232 w 3024845"/>
                <a:gd name="connsiteY280" fmla="*/ 460458 h 834218"/>
                <a:gd name="connsiteX281" fmla="*/ 1536232 w 3024845"/>
                <a:gd name="connsiteY281" fmla="*/ 430193 h 834218"/>
                <a:gd name="connsiteX282" fmla="*/ 1548392 w 3024845"/>
                <a:gd name="connsiteY282" fmla="*/ 430193 h 834218"/>
                <a:gd name="connsiteX283" fmla="*/ 1560552 w 3024845"/>
                <a:gd name="connsiteY283" fmla="*/ 428032 h 834218"/>
                <a:gd name="connsiteX284" fmla="*/ 1564606 w 3024845"/>
                <a:gd name="connsiteY284" fmla="*/ 430193 h 834218"/>
                <a:gd name="connsiteX285" fmla="*/ 1574739 w 3024845"/>
                <a:gd name="connsiteY285" fmla="*/ 430193 h 834218"/>
                <a:gd name="connsiteX286" fmla="*/ 1574739 w 3024845"/>
                <a:gd name="connsiteY286" fmla="*/ 460458 h 834218"/>
                <a:gd name="connsiteX287" fmla="*/ 1582846 w 3024845"/>
                <a:gd name="connsiteY287" fmla="*/ 460458 h 834218"/>
                <a:gd name="connsiteX288" fmla="*/ 1582846 w 3024845"/>
                <a:gd name="connsiteY288" fmla="*/ 477753 h 834218"/>
                <a:gd name="connsiteX289" fmla="*/ 1592182 w 3024845"/>
                <a:gd name="connsiteY289" fmla="*/ 478658 h 834218"/>
                <a:gd name="connsiteX290" fmla="*/ 1605140 w 3024845"/>
                <a:gd name="connsiteY290" fmla="*/ 478658 h 834218"/>
                <a:gd name="connsiteX291" fmla="*/ 1605140 w 3024845"/>
                <a:gd name="connsiteY291" fmla="*/ 462620 h 834218"/>
                <a:gd name="connsiteX292" fmla="*/ 1673096 w 3024845"/>
                <a:gd name="connsiteY292" fmla="*/ 462620 h 834218"/>
                <a:gd name="connsiteX293" fmla="*/ 1673096 w 3024845"/>
                <a:gd name="connsiteY293" fmla="*/ 377367 h 834218"/>
                <a:gd name="connsiteX294" fmla="*/ 1745104 w 3024845"/>
                <a:gd name="connsiteY294" fmla="*/ 377367 h 834218"/>
                <a:gd name="connsiteX295" fmla="*/ 1745104 w 3024845"/>
                <a:gd name="connsiteY295" fmla="*/ 456135 h 834218"/>
                <a:gd name="connsiteX296" fmla="*/ 1747008 w 3024845"/>
                <a:gd name="connsiteY296" fmla="*/ 456135 h 834218"/>
                <a:gd name="connsiteX297" fmla="*/ 1748250 w 3024845"/>
                <a:gd name="connsiteY297" fmla="*/ 478658 h 834218"/>
                <a:gd name="connsiteX298" fmla="*/ 1757926 w 3024845"/>
                <a:gd name="connsiteY298" fmla="*/ 478658 h 834218"/>
                <a:gd name="connsiteX299" fmla="*/ 1759168 w 3024845"/>
                <a:gd name="connsiteY299" fmla="*/ 456135 h 834218"/>
                <a:gd name="connsiteX300" fmla="*/ 1765248 w 3024845"/>
                <a:gd name="connsiteY300" fmla="*/ 456135 h 834218"/>
                <a:gd name="connsiteX301" fmla="*/ 1766490 w 3024845"/>
                <a:gd name="connsiteY301" fmla="*/ 478658 h 834218"/>
                <a:gd name="connsiteX302" fmla="*/ 1817112 w 3024845"/>
                <a:gd name="connsiteY302" fmla="*/ 478658 h 834218"/>
                <a:gd name="connsiteX303" fmla="*/ 1817112 w 3024845"/>
                <a:gd name="connsiteY303" fmla="*/ 315630 h 834218"/>
                <a:gd name="connsiteX304" fmla="*/ 2014439 w 3024845"/>
                <a:gd name="connsiteY304" fmla="*/ 315630 h 834218"/>
                <a:gd name="connsiteX305" fmla="*/ 2014439 w 3024845"/>
                <a:gd name="connsiteY305" fmla="*/ 478658 h 834218"/>
                <a:gd name="connsiteX306" fmla="*/ 2033136 w 3024845"/>
                <a:gd name="connsiteY306" fmla="*/ 478658 h 834218"/>
                <a:gd name="connsiteX307" fmla="*/ 2033136 w 3024845"/>
                <a:gd name="connsiteY307" fmla="*/ 395965 h 834218"/>
                <a:gd name="connsiteX308" fmla="*/ 2128256 w 3024845"/>
                <a:gd name="connsiteY308" fmla="*/ 395965 h 834218"/>
                <a:gd name="connsiteX309" fmla="*/ 2180720 w 3024845"/>
                <a:gd name="connsiteY309" fmla="*/ 330752 h 834218"/>
                <a:gd name="connsiteX310" fmla="*/ 2245574 w 3024845"/>
                <a:gd name="connsiteY310" fmla="*/ 330752 h 834218"/>
                <a:gd name="connsiteX311" fmla="*/ 2245574 w 3024845"/>
                <a:gd name="connsiteY311" fmla="*/ 406414 h 834218"/>
                <a:gd name="connsiteX312" fmla="*/ 2253681 w 3024845"/>
                <a:gd name="connsiteY312" fmla="*/ 406414 h 834218"/>
                <a:gd name="connsiteX313" fmla="*/ 2255708 w 3024845"/>
                <a:gd name="connsiteY313" fmla="*/ 399929 h 834218"/>
                <a:gd name="connsiteX314" fmla="*/ 2261788 w 3024845"/>
                <a:gd name="connsiteY314" fmla="*/ 399929 h 834218"/>
                <a:gd name="connsiteX315" fmla="*/ 2263815 w 3024845"/>
                <a:gd name="connsiteY315" fmla="*/ 408576 h 834218"/>
                <a:gd name="connsiteX316" fmla="*/ 2275975 w 3024845"/>
                <a:gd name="connsiteY316" fmla="*/ 408576 h 834218"/>
                <a:gd name="connsiteX317" fmla="*/ 2275975 w 3024845"/>
                <a:gd name="connsiteY317" fmla="*/ 402090 h 834218"/>
                <a:gd name="connsiteX318" fmla="*/ 2298268 w 3024845"/>
                <a:gd name="connsiteY318" fmla="*/ 402090 h 834218"/>
                <a:gd name="connsiteX319" fmla="*/ 2298268 w 3024845"/>
                <a:gd name="connsiteY319" fmla="*/ 408576 h 834218"/>
                <a:gd name="connsiteX320" fmla="*/ 2318535 w 3024845"/>
                <a:gd name="connsiteY320" fmla="*/ 408576 h 834218"/>
                <a:gd name="connsiteX321" fmla="*/ 2318535 w 3024845"/>
                <a:gd name="connsiteY321" fmla="*/ 453973 h 834218"/>
                <a:gd name="connsiteX322" fmla="*/ 2332722 w 3024845"/>
                <a:gd name="connsiteY322" fmla="*/ 453973 h 834218"/>
                <a:gd name="connsiteX323" fmla="*/ 2332722 w 3024845"/>
                <a:gd name="connsiteY323" fmla="*/ 441002 h 834218"/>
                <a:gd name="connsiteX324" fmla="*/ 2348936 w 3024845"/>
                <a:gd name="connsiteY324" fmla="*/ 441002 h 834218"/>
                <a:gd name="connsiteX325" fmla="*/ 2348936 w 3024845"/>
                <a:gd name="connsiteY325" fmla="*/ 261575 h 834218"/>
                <a:gd name="connsiteX326" fmla="*/ 2355016 w 3024845"/>
                <a:gd name="connsiteY326" fmla="*/ 255089 h 834218"/>
                <a:gd name="connsiteX327" fmla="*/ 2427977 w 3024845"/>
                <a:gd name="connsiteY327" fmla="*/ 255089 h 834218"/>
                <a:gd name="connsiteX328" fmla="*/ 2427977 w 3024845"/>
                <a:gd name="connsiteY328" fmla="*/ 263737 h 834218"/>
                <a:gd name="connsiteX329" fmla="*/ 2438110 w 3024845"/>
                <a:gd name="connsiteY329" fmla="*/ 263737 h 834218"/>
                <a:gd name="connsiteX330" fmla="*/ 2438110 w 3024845"/>
                <a:gd name="connsiteY330" fmla="*/ 378311 h 834218"/>
                <a:gd name="connsiteX331" fmla="*/ 2460404 w 3024845"/>
                <a:gd name="connsiteY331" fmla="*/ 378311 h 834218"/>
                <a:gd name="connsiteX332" fmla="*/ 2460404 w 3024845"/>
                <a:gd name="connsiteY332" fmla="*/ 311296 h 834218"/>
                <a:gd name="connsiteX333" fmla="*/ 2486751 w 3024845"/>
                <a:gd name="connsiteY333" fmla="*/ 311296 h 834218"/>
                <a:gd name="connsiteX334" fmla="*/ 2490804 w 3024845"/>
                <a:gd name="connsiteY334" fmla="*/ 306972 h 834218"/>
                <a:gd name="connsiteX335" fmla="*/ 2498911 w 3024845"/>
                <a:gd name="connsiteY335" fmla="*/ 306972 h 834218"/>
                <a:gd name="connsiteX336" fmla="*/ 2502964 w 3024845"/>
                <a:gd name="connsiteY336" fmla="*/ 311296 h 834218"/>
                <a:gd name="connsiteX337" fmla="*/ 2525258 w 3024845"/>
                <a:gd name="connsiteY337" fmla="*/ 311296 h 834218"/>
                <a:gd name="connsiteX338" fmla="*/ 2525258 w 3024845"/>
                <a:gd name="connsiteY338" fmla="*/ 194560 h 834218"/>
                <a:gd name="connsiteX339" fmla="*/ 2582005 w 3024845"/>
                <a:gd name="connsiteY339" fmla="*/ 183751 h 834218"/>
                <a:gd name="connsiteX340" fmla="*/ 2582005 w 3024845"/>
                <a:gd name="connsiteY340" fmla="*/ 184832 h 834218"/>
                <a:gd name="connsiteX341" fmla="*/ 2582005 w 3024845"/>
                <a:gd name="connsiteY341" fmla="*/ 192398 h 834218"/>
                <a:gd name="connsiteX342" fmla="*/ 2608352 w 3024845"/>
                <a:gd name="connsiteY342" fmla="*/ 192398 h 834218"/>
                <a:gd name="connsiteX343" fmla="*/ 2608352 w 3024845"/>
                <a:gd name="connsiteY343" fmla="*/ 447488 h 834218"/>
                <a:gd name="connsiteX344" fmla="*/ 2630646 w 3024845"/>
                <a:gd name="connsiteY344" fmla="*/ 447488 h 834218"/>
                <a:gd name="connsiteX345" fmla="*/ 2630646 w 3024845"/>
                <a:gd name="connsiteY345" fmla="*/ 443164 h 834218"/>
                <a:gd name="connsiteX346" fmla="*/ 2642806 w 3024845"/>
                <a:gd name="connsiteY346" fmla="*/ 443164 h 834218"/>
                <a:gd name="connsiteX347" fmla="*/ 2642806 w 3024845"/>
                <a:gd name="connsiteY347" fmla="*/ 447488 h 834218"/>
                <a:gd name="connsiteX348" fmla="*/ 2667126 w 3024845"/>
                <a:gd name="connsiteY348" fmla="*/ 447488 h 834218"/>
                <a:gd name="connsiteX349" fmla="*/ 2667126 w 3024845"/>
                <a:gd name="connsiteY349" fmla="*/ 434517 h 834218"/>
                <a:gd name="connsiteX350" fmla="*/ 2695500 w 3024845"/>
                <a:gd name="connsiteY350" fmla="*/ 434517 h 834218"/>
                <a:gd name="connsiteX351" fmla="*/ 2707660 w 3024845"/>
                <a:gd name="connsiteY351" fmla="*/ 430193 h 834218"/>
                <a:gd name="connsiteX352" fmla="*/ 2727927 w 3024845"/>
                <a:gd name="connsiteY352" fmla="*/ 434517 h 834218"/>
                <a:gd name="connsiteX353" fmla="*/ 2727927 w 3024845"/>
                <a:gd name="connsiteY353" fmla="*/ 417223 h 834218"/>
                <a:gd name="connsiteX354" fmla="*/ 2736034 w 3024845"/>
                <a:gd name="connsiteY354" fmla="*/ 417223 h 834218"/>
                <a:gd name="connsiteX355" fmla="*/ 2736034 w 3024845"/>
                <a:gd name="connsiteY355" fmla="*/ 404252 h 834218"/>
                <a:gd name="connsiteX356" fmla="*/ 2792781 w 3024845"/>
                <a:gd name="connsiteY356" fmla="*/ 404252 h 834218"/>
                <a:gd name="connsiteX357" fmla="*/ 2792781 w 3024845"/>
                <a:gd name="connsiteY357" fmla="*/ 373987 h 834218"/>
                <a:gd name="connsiteX358" fmla="*/ 2811021 w 3024845"/>
                <a:gd name="connsiteY358" fmla="*/ 373987 h 834218"/>
                <a:gd name="connsiteX359" fmla="*/ 2811021 w 3024845"/>
                <a:gd name="connsiteY359" fmla="*/ 367502 h 834218"/>
                <a:gd name="connsiteX360" fmla="*/ 2823181 w 3024845"/>
                <a:gd name="connsiteY360" fmla="*/ 367502 h 834218"/>
                <a:gd name="connsiteX361" fmla="*/ 2823181 w 3024845"/>
                <a:gd name="connsiteY361" fmla="*/ 373987 h 834218"/>
                <a:gd name="connsiteX362" fmla="*/ 2839395 w 3024845"/>
                <a:gd name="connsiteY362" fmla="*/ 373987 h 834218"/>
                <a:gd name="connsiteX363" fmla="*/ 2839395 w 3024845"/>
                <a:gd name="connsiteY363" fmla="*/ 423708 h 834218"/>
                <a:gd name="connsiteX364" fmla="*/ 2871822 w 3024845"/>
                <a:gd name="connsiteY364" fmla="*/ 423708 h 834218"/>
                <a:gd name="connsiteX365" fmla="*/ 2871822 w 3024845"/>
                <a:gd name="connsiteY365" fmla="*/ 397767 h 834218"/>
                <a:gd name="connsiteX366" fmla="*/ 2910329 w 3024845"/>
                <a:gd name="connsiteY366" fmla="*/ 397767 h 834218"/>
                <a:gd name="connsiteX367" fmla="*/ 2910329 w 3024845"/>
                <a:gd name="connsiteY367" fmla="*/ 367502 h 834218"/>
                <a:gd name="connsiteX368" fmla="*/ 2958970 w 3024845"/>
                <a:gd name="connsiteY368" fmla="*/ 367502 h 834218"/>
                <a:gd name="connsiteX369" fmla="*/ 2958970 w 3024845"/>
                <a:gd name="connsiteY369" fmla="*/ 478658 h 834218"/>
                <a:gd name="connsiteX370" fmla="*/ 2958970 w 3024845"/>
                <a:gd name="connsiteY370" fmla="*/ 492437 h 834218"/>
                <a:gd name="connsiteX371" fmla="*/ 3024845 w 3024845"/>
                <a:gd name="connsiteY371" fmla="*/ 492437 h 834218"/>
                <a:gd name="connsiteX372" fmla="*/ 3024845 w 3024845"/>
                <a:gd name="connsiteY372" fmla="*/ 834218 h 834218"/>
                <a:gd name="connsiteX373" fmla="*/ 2054 w 3024845"/>
                <a:gd name="connsiteY373" fmla="*/ 831885 h 834218"/>
                <a:gd name="connsiteX374" fmla="*/ 0 w 3024845"/>
                <a:gd name="connsiteY374" fmla="*/ 397767 h 834218"/>
                <a:gd name="connsiteX375" fmla="*/ 20267 w 3024845"/>
                <a:gd name="connsiteY375" fmla="*/ 397767 h 834218"/>
                <a:gd name="connsiteX376" fmla="*/ 20774 w 3024845"/>
                <a:gd name="connsiteY376" fmla="*/ 396686 h 834218"/>
                <a:gd name="connsiteX377" fmla="*/ 24320 w 3024845"/>
                <a:gd name="connsiteY377" fmla="*/ 389120 h 834218"/>
                <a:gd name="connsiteX378" fmla="*/ 26094 w 3024845"/>
                <a:gd name="connsiteY378" fmla="*/ 389390 h 834218"/>
                <a:gd name="connsiteX379" fmla="*/ 38507 w 3024845"/>
                <a:gd name="connsiteY379" fmla="*/ 391281 h 834218"/>
                <a:gd name="connsiteX380" fmla="*/ 39014 w 3024845"/>
                <a:gd name="connsiteY380" fmla="*/ 392633 h 834218"/>
                <a:gd name="connsiteX381" fmla="*/ 42560 w 3024845"/>
                <a:gd name="connsiteY381" fmla="*/ 402090 h 834218"/>
                <a:gd name="connsiteX382" fmla="*/ 68907 w 3024845"/>
                <a:gd name="connsiteY382" fmla="*/ 404252 h 834218"/>
                <a:gd name="connsiteX383" fmla="*/ 68907 w 3024845"/>
                <a:gd name="connsiteY383" fmla="*/ 281031 h 834218"/>
                <a:gd name="connsiteX384" fmla="*/ 70934 w 3024845"/>
                <a:gd name="connsiteY384" fmla="*/ 281031 h 834218"/>
                <a:gd name="connsiteX385" fmla="*/ 85121 w 3024845"/>
                <a:gd name="connsiteY385" fmla="*/ 281031 h 834218"/>
                <a:gd name="connsiteX386" fmla="*/ 85121 w 3024845"/>
                <a:gd name="connsiteY386" fmla="*/ 144839 h 834218"/>
                <a:gd name="connsiteX387" fmla="*/ 86894 w 3024845"/>
                <a:gd name="connsiteY387" fmla="*/ 144839 h 834218"/>
                <a:gd name="connsiteX388" fmla="*/ 99308 w 3024845"/>
                <a:gd name="connsiteY388" fmla="*/ 144839 h 834218"/>
                <a:gd name="connsiteX389" fmla="*/ 99308 w 3024845"/>
                <a:gd name="connsiteY389" fmla="*/ 30265 h 834218"/>
                <a:gd name="connsiteX390" fmla="*/ 103361 w 3024845"/>
                <a:gd name="connsiteY390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20909 w 3024845"/>
                <a:gd name="connsiteY4" fmla="*/ 30265 h 834218"/>
                <a:gd name="connsiteX5" fmla="*/ 220909 w 3024845"/>
                <a:gd name="connsiteY5" fmla="*/ 144839 h 834218"/>
                <a:gd name="connsiteX6" fmla="*/ 223189 w 3024845"/>
                <a:gd name="connsiteY6" fmla="*/ 144839 h 834218"/>
                <a:gd name="connsiteX7" fmla="*/ 239150 w 3024845"/>
                <a:gd name="connsiteY7" fmla="*/ 144839 h 834218"/>
                <a:gd name="connsiteX8" fmla="*/ 239150 w 3024845"/>
                <a:gd name="connsiteY8" fmla="*/ 285354 h 834218"/>
                <a:gd name="connsiteX9" fmla="*/ 240670 w 3024845"/>
                <a:gd name="connsiteY9" fmla="*/ 285084 h 834218"/>
                <a:gd name="connsiteX10" fmla="*/ 251310 w 3024845"/>
                <a:gd name="connsiteY10" fmla="*/ 283193 h 834218"/>
                <a:gd name="connsiteX11" fmla="*/ 249283 w 3024845"/>
                <a:gd name="connsiteY11" fmla="*/ 371825 h 834218"/>
                <a:gd name="connsiteX12" fmla="*/ 250803 w 3024845"/>
                <a:gd name="connsiteY12" fmla="*/ 372096 h 834218"/>
                <a:gd name="connsiteX13" fmla="*/ 261443 w 3024845"/>
                <a:gd name="connsiteY13" fmla="*/ 373987 h 834218"/>
                <a:gd name="connsiteX14" fmla="*/ 261696 w 3024845"/>
                <a:gd name="connsiteY14" fmla="*/ 374798 h 834218"/>
                <a:gd name="connsiteX15" fmla="*/ 263470 w 3024845"/>
                <a:gd name="connsiteY15" fmla="*/ 380473 h 834218"/>
                <a:gd name="connsiteX16" fmla="*/ 264230 w 3024845"/>
                <a:gd name="connsiteY16" fmla="*/ 378041 h 834218"/>
                <a:gd name="connsiteX17" fmla="*/ 269550 w 3024845"/>
                <a:gd name="connsiteY17" fmla="*/ 361017 h 834218"/>
                <a:gd name="connsiteX18" fmla="*/ 271323 w 3024845"/>
                <a:gd name="connsiteY18" fmla="*/ 361017 h 834218"/>
                <a:gd name="connsiteX19" fmla="*/ 283737 w 3024845"/>
                <a:gd name="connsiteY19" fmla="*/ 361017 h 834218"/>
                <a:gd name="connsiteX20" fmla="*/ 283737 w 3024845"/>
                <a:gd name="connsiteY20" fmla="*/ 393443 h 834218"/>
                <a:gd name="connsiteX21" fmla="*/ 284750 w 3024845"/>
                <a:gd name="connsiteY21" fmla="*/ 393984 h 834218"/>
                <a:gd name="connsiteX22" fmla="*/ 291844 w 3024845"/>
                <a:gd name="connsiteY22" fmla="*/ 397767 h 834218"/>
                <a:gd name="connsiteX23" fmla="*/ 291844 w 3024845"/>
                <a:gd name="connsiteY23" fmla="*/ 399118 h 834218"/>
                <a:gd name="connsiteX24" fmla="*/ 291844 w 3024845"/>
                <a:gd name="connsiteY24" fmla="*/ 408576 h 834218"/>
                <a:gd name="connsiteX25" fmla="*/ 336431 w 3024845"/>
                <a:gd name="connsiteY25" fmla="*/ 408576 h 834218"/>
                <a:gd name="connsiteX26" fmla="*/ 336431 w 3024845"/>
                <a:gd name="connsiteY26" fmla="*/ 409657 h 834218"/>
                <a:gd name="connsiteX27" fmla="*/ 336431 w 3024845"/>
                <a:gd name="connsiteY27" fmla="*/ 417223 h 834218"/>
                <a:gd name="connsiteX28" fmla="*/ 338457 w 3024845"/>
                <a:gd name="connsiteY28" fmla="*/ 417223 h 834218"/>
                <a:gd name="connsiteX29" fmla="*/ 352644 w 3024845"/>
                <a:gd name="connsiteY29" fmla="*/ 417223 h 834218"/>
                <a:gd name="connsiteX30" fmla="*/ 352644 w 3024845"/>
                <a:gd name="connsiteY30" fmla="*/ 386958 h 834218"/>
                <a:gd name="connsiteX31" fmla="*/ 397231 w 3024845"/>
                <a:gd name="connsiteY31" fmla="*/ 386958 h 834218"/>
                <a:gd name="connsiteX32" fmla="*/ 397231 w 3024845"/>
                <a:gd name="connsiteY32" fmla="*/ 385607 h 834218"/>
                <a:gd name="connsiteX33" fmla="*/ 397231 w 3024845"/>
                <a:gd name="connsiteY33" fmla="*/ 376149 h 834218"/>
                <a:gd name="connsiteX34" fmla="*/ 398245 w 3024845"/>
                <a:gd name="connsiteY34" fmla="*/ 376149 h 834218"/>
                <a:gd name="connsiteX35" fmla="*/ 405338 w 3024845"/>
                <a:gd name="connsiteY35" fmla="*/ 376149 h 834218"/>
                <a:gd name="connsiteX36" fmla="*/ 405338 w 3024845"/>
                <a:gd name="connsiteY36" fmla="*/ 374258 h 834218"/>
                <a:gd name="connsiteX37" fmla="*/ 405338 w 3024845"/>
                <a:gd name="connsiteY37" fmla="*/ 361017 h 834218"/>
                <a:gd name="connsiteX38" fmla="*/ 406098 w 3024845"/>
                <a:gd name="connsiteY38" fmla="*/ 361017 h 834218"/>
                <a:gd name="connsiteX39" fmla="*/ 411418 w 3024845"/>
                <a:gd name="connsiteY39" fmla="*/ 361017 h 834218"/>
                <a:gd name="connsiteX40" fmla="*/ 411418 w 3024845"/>
                <a:gd name="connsiteY40" fmla="*/ 359936 h 834218"/>
                <a:gd name="connsiteX41" fmla="*/ 411418 w 3024845"/>
                <a:gd name="connsiteY41" fmla="*/ 352369 h 834218"/>
                <a:gd name="connsiteX42" fmla="*/ 413445 w 3024845"/>
                <a:gd name="connsiteY42" fmla="*/ 352369 h 834218"/>
                <a:gd name="connsiteX43" fmla="*/ 427632 w 3024845"/>
                <a:gd name="connsiteY43" fmla="*/ 352369 h 834218"/>
                <a:gd name="connsiteX44" fmla="*/ 427632 w 3024845"/>
                <a:gd name="connsiteY44" fmla="*/ 353450 h 834218"/>
                <a:gd name="connsiteX45" fmla="*/ 427632 w 3024845"/>
                <a:gd name="connsiteY45" fmla="*/ 361017 h 834218"/>
                <a:gd name="connsiteX46" fmla="*/ 449925 w 3024845"/>
                <a:gd name="connsiteY46" fmla="*/ 361017 h 834218"/>
                <a:gd name="connsiteX47" fmla="*/ 449925 w 3024845"/>
                <a:gd name="connsiteY47" fmla="*/ 359125 h 834218"/>
                <a:gd name="connsiteX48" fmla="*/ 449925 w 3024845"/>
                <a:gd name="connsiteY48" fmla="*/ 345884 h 834218"/>
                <a:gd name="connsiteX49" fmla="*/ 451699 w 3024845"/>
                <a:gd name="connsiteY49" fmla="*/ 345884 h 834218"/>
                <a:gd name="connsiteX50" fmla="*/ 464112 w 3024845"/>
                <a:gd name="connsiteY50" fmla="*/ 345884 h 834218"/>
                <a:gd name="connsiteX51" fmla="*/ 464112 w 3024845"/>
                <a:gd name="connsiteY51" fmla="*/ 369664 h 834218"/>
                <a:gd name="connsiteX52" fmla="*/ 465126 w 3024845"/>
                <a:gd name="connsiteY52" fmla="*/ 369664 h 834218"/>
                <a:gd name="connsiteX53" fmla="*/ 472219 w 3024845"/>
                <a:gd name="connsiteY53" fmla="*/ 369664 h 834218"/>
                <a:gd name="connsiteX54" fmla="*/ 472219 w 3024845"/>
                <a:gd name="connsiteY54" fmla="*/ 368583 h 834218"/>
                <a:gd name="connsiteX55" fmla="*/ 472219 w 3024845"/>
                <a:gd name="connsiteY55" fmla="*/ 361017 h 834218"/>
                <a:gd name="connsiteX56" fmla="*/ 473992 w 3024845"/>
                <a:gd name="connsiteY56" fmla="*/ 361017 h 834218"/>
                <a:gd name="connsiteX57" fmla="*/ 486406 w 3024845"/>
                <a:gd name="connsiteY57" fmla="*/ 361017 h 834218"/>
                <a:gd name="connsiteX58" fmla="*/ 486406 w 3024845"/>
                <a:gd name="connsiteY58" fmla="*/ 386958 h 834218"/>
                <a:gd name="connsiteX59" fmla="*/ 488433 w 3024845"/>
                <a:gd name="connsiteY59" fmla="*/ 386958 h 834218"/>
                <a:gd name="connsiteX60" fmla="*/ 502619 w 3024845"/>
                <a:gd name="connsiteY60" fmla="*/ 386958 h 834218"/>
                <a:gd name="connsiteX61" fmla="*/ 502619 w 3024845"/>
                <a:gd name="connsiteY61" fmla="*/ 388579 h 834218"/>
                <a:gd name="connsiteX62" fmla="*/ 502619 w 3024845"/>
                <a:gd name="connsiteY62" fmla="*/ 399929 h 834218"/>
                <a:gd name="connsiteX63" fmla="*/ 503379 w 3024845"/>
                <a:gd name="connsiteY63" fmla="*/ 399929 h 834218"/>
                <a:gd name="connsiteX64" fmla="*/ 508700 w 3024845"/>
                <a:gd name="connsiteY64" fmla="*/ 399929 h 834218"/>
                <a:gd name="connsiteX65" fmla="*/ 508700 w 3024845"/>
                <a:gd name="connsiteY65" fmla="*/ 399118 h 834218"/>
                <a:gd name="connsiteX66" fmla="*/ 508700 w 3024845"/>
                <a:gd name="connsiteY66" fmla="*/ 393443 h 834218"/>
                <a:gd name="connsiteX67" fmla="*/ 539100 w 3024845"/>
                <a:gd name="connsiteY67" fmla="*/ 393443 h 834218"/>
                <a:gd name="connsiteX68" fmla="*/ 539100 w 3024845"/>
                <a:gd name="connsiteY68" fmla="*/ 417223 h 834218"/>
                <a:gd name="connsiteX69" fmla="*/ 540113 w 3024845"/>
                <a:gd name="connsiteY69" fmla="*/ 417223 h 834218"/>
                <a:gd name="connsiteX70" fmla="*/ 547207 w 3024845"/>
                <a:gd name="connsiteY70" fmla="*/ 417223 h 834218"/>
                <a:gd name="connsiteX71" fmla="*/ 547207 w 3024845"/>
                <a:gd name="connsiteY71" fmla="*/ 418304 h 834218"/>
                <a:gd name="connsiteX72" fmla="*/ 547207 w 3024845"/>
                <a:gd name="connsiteY72" fmla="*/ 425870 h 834218"/>
                <a:gd name="connsiteX73" fmla="*/ 547967 w 3024845"/>
                <a:gd name="connsiteY73" fmla="*/ 425870 h 834218"/>
                <a:gd name="connsiteX74" fmla="*/ 553287 w 3024845"/>
                <a:gd name="connsiteY74" fmla="*/ 425870 h 834218"/>
                <a:gd name="connsiteX75" fmla="*/ 553287 w 3024845"/>
                <a:gd name="connsiteY75" fmla="*/ 423708 h 834218"/>
                <a:gd name="connsiteX76" fmla="*/ 553287 w 3024845"/>
                <a:gd name="connsiteY76" fmla="*/ 408576 h 834218"/>
                <a:gd name="connsiteX77" fmla="*/ 554300 w 3024845"/>
                <a:gd name="connsiteY77" fmla="*/ 408576 h 834218"/>
                <a:gd name="connsiteX78" fmla="*/ 561394 w 3024845"/>
                <a:gd name="connsiteY78" fmla="*/ 408576 h 834218"/>
                <a:gd name="connsiteX79" fmla="*/ 561394 w 3024845"/>
                <a:gd name="connsiteY79" fmla="*/ 409657 h 834218"/>
                <a:gd name="connsiteX80" fmla="*/ 561394 w 3024845"/>
                <a:gd name="connsiteY80" fmla="*/ 417223 h 834218"/>
                <a:gd name="connsiteX81" fmla="*/ 566714 w 3024845"/>
                <a:gd name="connsiteY81" fmla="*/ 415230 h 834218"/>
                <a:gd name="connsiteX82" fmla="*/ 567474 w 3024845"/>
                <a:gd name="connsiteY82" fmla="*/ 414250 h 834218"/>
                <a:gd name="connsiteX83" fmla="*/ 567474 w 3024845"/>
                <a:gd name="connsiteY83" fmla="*/ 408576 h 834218"/>
                <a:gd name="connsiteX84" fmla="*/ 605981 w 3024845"/>
                <a:gd name="connsiteY84" fmla="*/ 408576 h 834218"/>
                <a:gd name="connsiteX85" fmla="*/ 605981 w 3024845"/>
                <a:gd name="connsiteY85" fmla="*/ 432355 h 834218"/>
                <a:gd name="connsiteX86" fmla="*/ 608007 w 3024845"/>
                <a:gd name="connsiteY86" fmla="*/ 432355 h 834218"/>
                <a:gd name="connsiteX87" fmla="*/ 622194 w 3024845"/>
                <a:gd name="connsiteY87" fmla="*/ 432355 h 834218"/>
                <a:gd name="connsiteX88" fmla="*/ 622194 w 3024845"/>
                <a:gd name="connsiteY88" fmla="*/ 433436 h 834218"/>
                <a:gd name="connsiteX89" fmla="*/ 622194 w 3024845"/>
                <a:gd name="connsiteY89" fmla="*/ 441002 h 834218"/>
                <a:gd name="connsiteX90" fmla="*/ 623968 w 3024845"/>
                <a:gd name="connsiteY90" fmla="*/ 441002 h 834218"/>
                <a:gd name="connsiteX91" fmla="*/ 636381 w 3024845"/>
                <a:gd name="connsiteY91" fmla="*/ 441002 h 834218"/>
                <a:gd name="connsiteX92" fmla="*/ 636381 w 3024845"/>
                <a:gd name="connsiteY92" fmla="*/ 417223 h 834218"/>
                <a:gd name="connsiteX93" fmla="*/ 637394 w 3024845"/>
                <a:gd name="connsiteY93" fmla="*/ 417223 h 834218"/>
                <a:gd name="connsiteX94" fmla="*/ 644488 w 3024845"/>
                <a:gd name="connsiteY94" fmla="*/ 417223 h 834218"/>
                <a:gd name="connsiteX95" fmla="*/ 644488 w 3024845"/>
                <a:gd name="connsiteY95" fmla="*/ 384796 h 834218"/>
                <a:gd name="connsiteX96" fmla="*/ 645501 w 3024845"/>
                <a:gd name="connsiteY96" fmla="*/ 384796 h 834218"/>
                <a:gd name="connsiteX97" fmla="*/ 652595 w 3024845"/>
                <a:gd name="connsiteY97" fmla="*/ 384796 h 834218"/>
                <a:gd name="connsiteX98" fmla="*/ 652595 w 3024845"/>
                <a:gd name="connsiteY98" fmla="*/ 382905 h 834218"/>
                <a:gd name="connsiteX99" fmla="*/ 652595 w 3024845"/>
                <a:gd name="connsiteY99" fmla="*/ 369664 h 834218"/>
                <a:gd name="connsiteX100" fmla="*/ 651328 w 3024845"/>
                <a:gd name="connsiteY100" fmla="*/ 368042 h 834218"/>
                <a:gd name="connsiteX101" fmla="*/ 656648 w 3024845"/>
                <a:gd name="connsiteY101" fmla="*/ 356693 h 834218"/>
                <a:gd name="connsiteX102" fmla="*/ 664755 w 3024845"/>
                <a:gd name="connsiteY102" fmla="*/ 384796 h 834218"/>
                <a:gd name="connsiteX103" fmla="*/ 665515 w 3024845"/>
                <a:gd name="connsiteY103" fmla="*/ 384796 h 834218"/>
                <a:gd name="connsiteX104" fmla="*/ 670835 w 3024845"/>
                <a:gd name="connsiteY104" fmla="*/ 384796 h 834218"/>
                <a:gd name="connsiteX105" fmla="*/ 670835 w 3024845"/>
                <a:gd name="connsiteY105" fmla="*/ 278869 h 834218"/>
                <a:gd name="connsiteX106" fmla="*/ 672355 w 3024845"/>
                <a:gd name="connsiteY106" fmla="*/ 278869 h 834218"/>
                <a:gd name="connsiteX107" fmla="*/ 682995 w 3024845"/>
                <a:gd name="connsiteY107" fmla="*/ 278869 h 834218"/>
                <a:gd name="connsiteX108" fmla="*/ 682995 w 3024845"/>
                <a:gd name="connsiteY108" fmla="*/ 231310 h 834218"/>
                <a:gd name="connsiteX109" fmla="*/ 709342 w 3024845"/>
                <a:gd name="connsiteY109" fmla="*/ 231310 h 834218"/>
                <a:gd name="connsiteX110" fmla="*/ 709342 w 3024845"/>
                <a:gd name="connsiteY110" fmla="*/ 209692 h 834218"/>
                <a:gd name="connsiteX111" fmla="*/ 743796 w 3024845"/>
                <a:gd name="connsiteY111" fmla="*/ 209692 h 834218"/>
                <a:gd name="connsiteX112" fmla="*/ 743796 w 3024845"/>
                <a:gd name="connsiteY112" fmla="*/ 212124 h 834218"/>
                <a:gd name="connsiteX113" fmla="*/ 743796 w 3024845"/>
                <a:gd name="connsiteY113" fmla="*/ 229148 h 834218"/>
                <a:gd name="connsiteX114" fmla="*/ 746076 w 3024845"/>
                <a:gd name="connsiteY114" fmla="*/ 229148 h 834218"/>
                <a:gd name="connsiteX115" fmla="*/ 762036 w 3024845"/>
                <a:gd name="connsiteY115" fmla="*/ 229148 h 834218"/>
                <a:gd name="connsiteX116" fmla="*/ 762036 w 3024845"/>
                <a:gd name="connsiteY116" fmla="*/ 276707 h 834218"/>
                <a:gd name="connsiteX117" fmla="*/ 763049 w 3024845"/>
                <a:gd name="connsiteY117" fmla="*/ 276707 h 834218"/>
                <a:gd name="connsiteX118" fmla="*/ 770143 w 3024845"/>
                <a:gd name="connsiteY118" fmla="*/ 276707 h 834218"/>
                <a:gd name="connsiteX119" fmla="*/ 784330 w 3024845"/>
                <a:gd name="connsiteY119" fmla="*/ 281031 h 834218"/>
                <a:gd name="connsiteX120" fmla="*/ 784330 w 3024845"/>
                <a:gd name="connsiteY120" fmla="*/ 319943 h 834218"/>
                <a:gd name="connsiteX121" fmla="*/ 785343 w 3024845"/>
                <a:gd name="connsiteY121" fmla="*/ 319943 h 834218"/>
                <a:gd name="connsiteX122" fmla="*/ 792436 w 3024845"/>
                <a:gd name="connsiteY122" fmla="*/ 319943 h 834218"/>
                <a:gd name="connsiteX123" fmla="*/ 792436 w 3024845"/>
                <a:gd name="connsiteY123" fmla="*/ 321564 h 834218"/>
                <a:gd name="connsiteX124" fmla="*/ 792436 w 3024845"/>
                <a:gd name="connsiteY124" fmla="*/ 332913 h 834218"/>
                <a:gd name="connsiteX125" fmla="*/ 794463 w 3024845"/>
                <a:gd name="connsiteY125" fmla="*/ 332913 h 834218"/>
                <a:gd name="connsiteX126" fmla="*/ 808650 w 3024845"/>
                <a:gd name="connsiteY126" fmla="*/ 332913 h 834218"/>
                <a:gd name="connsiteX127" fmla="*/ 814730 w 3024845"/>
                <a:gd name="connsiteY127" fmla="*/ 339399 h 834218"/>
                <a:gd name="connsiteX128" fmla="*/ 814730 w 3024845"/>
                <a:gd name="connsiteY128" fmla="*/ 361017 h 834218"/>
                <a:gd name="connsiteX129" fmla="*/ 817010 w 3024845"/>
                <a:gd name="connsiteY129" fmla="*/ 361017 h 834218"/>
                <a:gd name="connsiteX130" fmla="*/ 832970 w 3024845"/>
                <a:gd name="connsiteY130" fmla="*/ 361017 h 834218"/>
                <a:gd name="connsiteX131" fmla="*/ 832970 w 3024845"/>
                <a:gd name="connsiteY131" fmla="*/ 362097 h 834218"/>
                <a:gd name="connsiteX132" fmla="*/ 832970 w 3024845"/>
                <a:gd name="connsiteY132" fmla="*/ 369664 h 834218"/>
                <a:gd name="connsiteX133" fmla="*/ 834237 w 3024845"/>
                <a:gd name="connsiteY133" fmla="*/ 369664 h 834218"/>
                <a:gd name="connsiteX134" fmla="*/ 843104 w 3024845"/>
                <a:gd name="connsiteY134" fmla="*/ 369664 h 834218"/>
                <a:gd name="connsiteX135" fmla="*/ 843104 w 3024845"/>
                <a:gd name="connsiteY135" fmla="*/ 371825 h 834218"/>
                <a:gd name="connsiteX136" fmla="*/ 843104 w 3024845"/>
                <a:gd name="connsiteY136" fmla="*/ 386958 h 834218"/>
                <a:gd name="connsiteX137" fmla="*/ 847157 w 3024845"/>
                <a:gd name="connsiteY137" fmla="*/ 385066 h 834218"/>
                <a:gd name="connsiteX138" fmla="*/ 847157 w 3024845"/>
                <a:gd name="connsiteY138" fmla="*/ 371825 h 834218"/>
                <a:gd name="connsiteX139" fmla="*/ 848170 w 3024845"/>
                <a:gd name="connsiteY139" fmla="*/ 371825 h 834218"/>
                <a:gd name="connsiteX140" fmla="*/ 855264 w 3024845"/>
                <a:gd name="connsiteY140" fmla="*/ 371825 h 834218"/>
                <a:gd name="connsiteX141" fmla="*/ 855264 w 3024845"/>
                <a:gd name="connsiteY141" fmla="*/ 373447 h 834218"/>
                <a:gd name="connsiteX142" fmla="*/ 855264 w 3024845"/>
                <a:gd name="connsiteY142" fmla="*/ 384796 h 834218"/>
                <a:gd name="connsiteX143" fmla="*/ 856024 w 3024845"/>
                <a:gd name="connsiteY143" fmla="*/ 384796 h 834218"/>
                <a:gd name="connsiteX144" fmla="*/ 861344 w 3024845"/>
                <a:gd name="connsiteY144" fmla="*/ 384796 h 834218"/>
                <a:gd name="connsiteX145" fmla="*/ 909984 w 3024845"/>
                <a:gd name="connsiteY145" fmla="*/ 380473 h 834218"/>
                <a:gd name="connsiteX146" fmla="*/ 909984 w 3024845"/>
                <a:gd name="connsiteY146" fmla="*/ 381824 h 834218"/>
                <a:gd name="connsiteX147" fmla="*/ 909984 w 3024845"/>
                <a:gd name="connsiteY147" fmla="*/ 391281 h 834218"/>
                <a:gd name="connsiteX148" fmla="*/ 910744 w 3024845"/>
                <a:gd name="connsiteY148" fmla="*/ 391281 h 834218"/>
                <a:gd name="connsiteX149" fmla="*/ 916065 w 3024845"/>
                <a:gd name="connsiteY149" fmla="*/ 391281 h 834218"/>
                <a:gd name="connsiteX150" fmla="*/ 916065 w 3024845"/>
                <a:gd name="connsiteY150" fmla="*/ 393443 h 834218"/>
                <a:gd name="connsiteX151" fmla="*/ 916065 w 3024845"/>
                <a:gd name="connsiteY151" fmla="*/ 408576 h 834218"/>
                <a:gd name="connsiteX152" fmla="*/ 918091 w 3024845"/>
                <a:gd name="connsiteY152" fmla="*/ 407225 h 834218"/>
                <a:gd name="connsiteX153" fmla="*/ 932278 w 3024845"/>
                <a:gd name="connsiteY153" fmla="*/ 397767 h 834218"/>
                <a:gd name="connsiteX154" fmla="*/ 938358 w 3024845"/>
                <a:gd name="connsiteY154" fmla="*/ 356693 h 834218"/>
                <a:gd name="connsiteX155" fmla="*/ 939118 w 3024845"/>
                <a:gd name="connsiteY155" fmla="*/ 356423 h 834218"/>
                <a:gd name="connsiteX156" fmla="*/ 944438 w 3024845"/>
                <a:gd name="connsiteY156" fmla="*/ 354531 h 834218"/>
                <a:gd name="connsiteX157" fmla="*/ 946465 w 3024845"/>
                <a:gd name="connsiteY157" fmla="*/ 285354 h 834218"/>
                <a:gd name="connsiteX158" fmla="*/ 948492 w 3024845"/>
                <a:gd name="connsiteY158" fmla="*/ 354531 h 834218"/>
                <a:gd name="connsiteX159" fmla="*/ 949252 w 3024845"/>
                <a:gd name="connsiteY159" fmla="*/ 354801 h 834218"/>
                <a:gd name="connsiteX160" fmla="*/ 954572 w 3024845"/>
                <a:gd name="connsiteY160" fmla="*/ 356693 h 834218"/>
                <a:gd name="connsiteX161" fmla="*/ 954572 w 3024845"/>
                <a:gd name="connsiteY161" fmla="*/ 270222 h 834218"/>
                <a:gd name="connsiteX162" fmla="*/ 958625 w 3024845"/>
                <a:gd name="connsiteY162" fmla="*/ 237795 h 834218"/>
                <a:gd name="connsiteX163" fmla="*/ 997132 w 3024845"/>
                <a:gd name="connsiteY163" fmla="*/ 237795 h 834218"/>
                <a:gd name="connsiteX164" fmla="*/ 997132 w 3024845"/>
                <a:gd name="connsiteY164" fmla="*/ 270222 h 834218"/>
                <a:gd name="connsiteX165" fmla="*/ 997892 w 3024845"/>
                <a:gd name="connsiteY165" fmla="*/ 270222 h 834218"/>
                <a:gd name="connsiteX166" fmla="*/ 1003212 w 3024845"/>
                <a:gd name="connsiteY166" fmla="*/ 270222 h 834218"/>
                <a:gd name="connsiteX167" fmla="*/ 1003212 w 3024845"/>
                <a:gd name="connsiteY167" fmla="*/ 188074 h 834218"/>
                <a:gd name="connsiteX168" fmla="*/ 1004986 w 3024845"/>
                <a:gd name="connsiteY168" fmla="*/ 188074 h 834218"/>
                <a:gd name="connsiteX169" fmla="*/ 1017399 w 3024845"/>
                <a:gd name="connsiteY169" fmla="*/ 188074 h 834218"/>
                <a:gd name="connsiteX170" fmla="*/ 1017399 w 3024845"/>
                <a:gd name="connsiteY170" fmla="*/ 186183 h 834218"/>
                <a:gd name="connsiteX171" fmla="*/ 1017399 w 3024845"/>
                <a:gd name="connsiteY171" fmla="*/ 172942 h 834218"/>
                <a:gd name="connsiteX172" fmla="*/ 1039693 w 3024845"/>
                <a:gd name="connsiteY172" fmla="*/ 172942 h 834218"/>
                <a:gd name="connsiteX173" fmla="*/ 1039693 w 3024845"/>
                <a:gd name="connsiteY173" fmla="*/ 171861 h 834218"/>
                <a:gd name="connsiteX174" fmla="*/ 1039693 w 3024845"/>
                <a:gd name="connsiteY174" fmla="*/ 164295 h 834218"/>
                <a:gd name="connsiteX175" fmla="*/ 1041466 w 3024845"/>
                <a:gd name="connsiteY175" fmla="*/ 164295 h 834218"/>
                <a:gd name="connsiteX176" fmla="*/ 1053880 w 3024845"/>
                <a:gd name="connsiteY176" fmla="*/ 164295 h 834218"/>
                <a:gd name="connsiteX177" fmla="*/ 1053880 w 3024845"/>
                <a:gd name="connsiteY177" fmla="*/ 165376 h 834218"/>
                <a:gd name="connsiteX178" fmla="*/ 1053880 w 3024845"/>
                <a:gd name="connsiteY178" fmla="*/ 172942 h 834218"/>
                <a:gd name="connsiteX179" fmla="*/ 1054640 w 3024845"/>
                <a:gd name="connsiteY179" fmla="*/ 172942 h 834218"/>
                <a:gd name="connsiteX180" fmla="*/ 1059960 w 3024845"/>
                <a:gd name="connsiteY180" fmla="*/ 172942 h 834218"/>
                <a:gd name="connsiteX181" fmla="*/ 1070093 w 3024845"/>
                <a:gd name="connsiteY181" fmla="*/ 168618 h 834218"/>
                <a:gd name="connsiteX182" fmla="*/ 1074146 w 3024845"/>
                <a:gd name="connsiteY182" fmla="*/ 171861 h 834218"/>
                <a:gd name="connsiteX183" fmla="*/ 1074146 w 3024845"/>
                <a:gd name="connsiteY183" fmla="*/ 164295 h 834218"/>
                <a:gd name="connsiteX184" fmla="*/ 1076426 w 3024845"/>
                <a:gd name="connsiteY184" fmla="*/ 164295 h 834218"/>
                <a:gd name="connsiteX185" fmla="*/ 1092387 w 3024845"/>
                <a:gd name="connsiteY185" fmla="*/ 164295 h 834218"/>
                <a:gd name="connsiteX186" fmla="*/ 1092387 w 3024845"/>
                <a:gd name="connsiteY186" fmla="*/ 165376 h 834218"/>
                <a:gd name="connsiteX187" fmla="*/ 1092387 w 3024845"/>
                <a:gd name="connsiteY187" fmla="*/ 172942 h 834218"/>
                <a:gd name="connsiteX188" fmla="*/ 1122787 w 3024845"/>
                <a:gd name="connsiteY188" fmla="*/ 172942 h 834218"/>
                <a:gd name="connsiteX189" fmla="*/ 1122787 w 3024845"/>
                <a:gd name="connsiteY189" fmla="*/ 174563 h 834218"/>
                <a:gd name="connsiteX190" fmla="*/ 1122787 w 3024845"/>
                <a:gd name="connsiteY190" fmla="*/ 185913 h 834218"/>
                <a:gd name="connsiteX191" fmla="*/ 1149134 w 3024845"/>
                <a:gd name="connsiteY191" fmla="*/ 185913 h 834218"/>
                <a:gd name="connsiteX192" fmla="*/ 1149134 w 3024845"/>
                <a:gd name="connsiteY192" fmla="*/ 216177 h 834218"/>
                <a:gd name="connsiteX193" fmla="*/ 1149894 w 3024845"/>
                <a:gd name="connsiteY193" fmla="*/ 216177 h 834218"/>
                <a:gd name="connsiteX194" fmla="*/ 1155214 w 3024845"/>
                <a:gd name="connsiteY194" fmla="*/ 216177 h 834218"/>
                <a:gd name="connsiteX195" fmla="*/ 1155214 w 3024845"/>
                <a:gd name="connsiteY195" fmla="*/ 217258 h 834218"/>
                <a:gd name="connsiteX196" fmla="*/ 1155214 w 3024845"/>
                <a:gd name="connsiteY196" fmla="*/ 224825 h 834218"/>
                <a:gd name="connsiteX197" fmla="*/ 1159268 w 3024845"/>
                <a:gd name="connsiteY197" fmla="*/ 255089 h 834218"/>
                <a:gd name="connsiteX198" fmla="*/ 1160028 w 3024845"/>
                <a:gd name="connsiteY198" fmla="*/ 255089 h 834218"/>
                <a:gd name="connsiteX199" fmla="*/ 1165348 w 3024845"/>
                <a:gd name="connsiteY199" fmla="*/ 255089 h 834218"/>
                <a:gd name="connsiteX200" fmla="*/ 1165348 w 3024845"/>
                <a:gd name="connsiteY200" fmla="*/ 255900 h 834218"/>
                <a:gd name="connsiteX201" fmla="*/ 1165348 w 3024845"/>
                <a:gd name="connsiteY201" fmla="*/ 261575 h 834218"/>
                <a:gd name="connsiteX202" fmla="*/ 1166361 w 3024845"/>
                <a:gd name="connsiteY202" fmla="*/ 261575 h 834218"/>
                <a:gd name="connsiteX203" fmla="*/ 1173454 w 3024845"/>
                <a:gd name="connsiteY203" fmla="*/ 261575 h 834218"/>
                <a:gd name="connsiteX204" fmla="*/ 1173454 w 3024845"/>
                <a:gd name="connsiteY204" fmla="*/ 291840 h 834218"/>
                <a:gd name="connsiteX205" fmla="*/ 1175481 w 3024845"/>
                <a:gd name="connsiteY205" fmla="*/ 291840 h 834218"/>
                <a:gd name="connsiteX206" fmla="*/ 1189668 w 3024845"/>
                <a:gd name="connsiteY206" fmla="*/ 291840 h 834218"/>
                <a:gd name="connsiteX207" fmla="*/ 1189668 w 3024845"/>
                <a:gd name="connsiteY207" fmla="*/ 315619 h 834218"/>
                <a:gd name="connsiteX208" fmla="*/ 1191695 w 3024845"/>
                <a:gd name="connsiteY208" fmla="*/ 317240 h 834218"/>
                <a:gd name="connsiteX209" fmla="*/ 1191695 w 3024845"/>
                <a:gd name="connsiteY209" fmla="*/ 328590 h 834218"/>
                <a:gd name="connsiteX210" fmla="*/ 1192455 w 3024845"/>
                <a:gd name="connsiteY210" fmla="*/ 328590 h 834218"/>
                <a:gd name="connsiteX211" fmla="*/ 1197775 w 3024845"/>
                <a:gd name="connsiteY211" fmla="*/ 328590 h 834218"/>
                <a:gd name="connsiteX212" fmla="*/ 1197775 w 3024845"/>
                <a:gd name="connsiteY212" fmla="*/ 352369 h 834218"/>
                <a:gd name="connsiteX213" fmla="*/ 1199041 w 3024845"/>
                <a:gd name="connsiteY213" fmla="*/ 352369 h 834218"/>
                <a:gd name="connsiteX214" fmla="*/ 1207908 w 3024845"/>
                <a:gd name="connsiteY214" fmla="*/ 352369 h 834218"/>
                <a:gd name="connsiteX215" fmla="*/ 1209935 w 3024845"/>
                <a:gd name="connsiteY215" fmla="*/ 356423 h 834218"/>
                <a:gd name="connsiteX216" fmla="*/ 1209935 w 3024845"/>
                <a:gd name="connsiteY216" fmla="*/ 369664 h 834218"/>
                <a:gd name="connsiteX217" fmla="*/ 1211455 w 3024845"/>
                <a:gd name="connsiteY217" fmla="*/ 367772 h 834218"/>
                <a:gd name="connsiteX218" fmla="*/ 1222095 w 3024845"/>
                <a:gd name="connsiteY218" fmla="*/ 354531 h 834218"/>
                <a:gd name="connsiteX219" fmla="*/ 1250469 w 3024845"/>
                <a:gd name="connsiteY219" fmla="*/ 354531 h 834218"/>
                <a:gd name="connsiteX220" fmla="*/ 1250469 w 3024845"/>
                <a:gd name="connsiteY220" fmla="*/ 441002 h 834218"/>
                <a:gd name="connsiteX221" fmla="*/ 1251229 w 3024845"/>
                <a:gd name="connsiteY221" fmla="*/ 441002 h 834218"/>
                <a:gd name="connsiteX222" fmla="*/ 1256549 w 3024845"/>
                <a:gd name="connsiteY222" fmla="*/ 441002 h 834218"/>
                <a:gd name="connsiteX223" fmla="*/ 1257309 w 3024845"/>
                <a:gd name="connsiteY223" fmla="*/ 439651 h 834218"/>
                <a:gd name="connsiteX224" fmla="*/ 1262629 w 3024845"/>
                <a:gd name="connsiteY224" fmla="*/ 430193 h 834218"/>
                <a:gd name="connsiteX225" fmla="*/ 1262629 w 3024845"/>
                <a:gd name="connsiteY225" fmla="*/ 432085 h 834218"/>
                <a:gd name="connsiteX226" fmla="*/ 1262629 w 3024845"/>
                <a:gd name="connsiteY226" fmla="*/ 445326 h 834218"/>
                <a:gd name="connsiteX227" fmla="*/ 1266682 w 3024845"/>
                <a:gd name="connsiteY227" fmla="*/ 399929 h 834218"/>
                <a:gd name="connsiteX228" fmla="*/ 1267442 w 3024845"/>
                <a:gd name="connsiteY228" fmla="*/ 399929 h 834218"/>
                <a:gd name="connsiteX229" fmla="*/ 1272762 w 3024845"/>
                <a:gd name="connsiteY229" fmla="*/ 399929 h 834218"/>
                <a:gd name="connsiteX230" fmla="*/ 1272762 w 3024845"/>
                <a:gd name="connsiteY230" fmla="*/ 335075 h 834218"/>
                <a:gd name="connsiteX231" fmla="*/ 1273776 w 3024845"/>
                <a:gd name="connsiteY231" fmla="*/ 335075 h 834218"/>
                <a:gd name="connsiteX232" fmla="*/ 1280869 w 3024845"/>
                <a:gd name="connsiteY232" fmla="*/ 335075 h 834218"/>
                <a:gd name="connsiteX233" fmla="*/ 1293029 w 3024845"/>
                <a:gd name="connsiteY233" fmla="*/ 291840 h 834218"/>
                <a:gd name="connsiteX234" fmla="*/ 1294296 w 3024845"/>
                <a:gd name="connsiteY234" fmla="*/ 291840 h 834218"/>
                <a:gd name="connsiteX235" fmla="*/ 1303163 w 3024845"/>
                <a:gd name="connsiteY235" fmla="*/ 291840 h 834218"/>
                <a:gd name="connsiteX236" fmla="*/ 1313296 w 3024845"/>
                <a:gd name="connsiteY236" fmla="*/ 335075 h 834218"/>
                <a:gd name="connsiteX237" fmla="*/ 1314309 w 3024845"/>
                <a:gd name="connsiteY237" fmla="*/ 335075 h 834218"/>
                <a:gd name="connsiteX238" fmla="*/ 1321403 w 3024845"/>
                <a:gd name="connsiteY238" fmla="*/ 335075 h 834218"/>
                <a:gd name="connsiteX239" fmla="*/ 1321403 w 3024845"/>
                <a:gd name="connsiteY239" fmla="*/ 373987 h 834218"/>
                <a:gd name="connsiteX240" fmla="*/ 1323176 w 3024845"/>
                <a:gd name="connsiteY240" fmla="*/ 373987 h 834218"/>
                <a:gd name="connsiteX241" fmla="*/ 1335590 w 3024845"/>
                <a:gd name="connsiteY241" fmla="*/ 373987 h 834218"/>
                <a:gd name="connsiteX242" fmla="*/ 1335590 w 3024845"/>
                <a:gd name="connsiteY242" fmla="*/ 376149 h 834218"/>
                <a:gd name="connsiteX243" fmla="*/ 1335590 w 3024845"/>
                <a:gd name="connsiteY243" fmla="*/ 391281 h 834218"/>
                <a:gd name="connsiteX244" fmla="*/ 1339643 w 3024845"/>
                <a:gd name="connsiteY244" fmla="*/ 389120 h 834218"/>
                <a:gd name="connsiteX245" fmla="*/ 1339643 w 3024845"/>
                <a:gd name="connsiteY245" fmla="*/ 373987 h 834218"/>
                <a:gd name="connsiteX246" fmla="*/ 1341163 w 3024845"/>
                <a:gd name="connsiteY246" fmla="*/ 373987 h 834218"/>
                <a:gd name="connsiteX247" fmla="*/ 1351803 w 3024845"/>
                <a:gd name="connsiteY247" fmla="*/ 373987 h 834218"/>
                <a:gd name="connsiteX248" fmla="*/ 1351803 w 3024845"/>
                <a:gd name="connsiteY248" fmla="*/ 375608 h 834218"/>
                <a:gd name="connsiteX249" fmla="*/ 1351803 w 3024845"/>
                <a:gd name="connsiteY249" fmla="*/ 386958 h 834218"/>
                <a:gd name="connsiteX250" fmla="*/ 1382204 w 3024845"/>
                <a:gd name="connsiteY250" fmla="*/ 386958 h 834218"/>
                <a:gd name="connsiteX251" fmla="*/ 1382204 w 3024845"/>
                <a:gd name="connsiteY251" fmla="*/ 350208 h 834218"/>
                <a:gd name="connsiteX252" fmla="*/ 1383470 w 3024845"/>
                <a:gd name="connsiteY252" fmla="*/ 350208 h 834218"/>
                <a:gd name="connsiteX253" fmla="*/ 1392337 w 3024845"/>
                <a:gd name="connsiteY253" fmla="*/ 350208 h 834218"/>
                <a:gd name="connsiteX254" fmla="*/ 1392337 w 3024845"/>
                <a:gd name="connsiteY254" fmla="*/ 371825 h 834218"/>
                <a:gd name="connsiteX255" fmla="*/ 1394364 w 3024845"/>
                <a:gd name="connsiteY255" fmla="*/ 339399 h 834218"/>
                <a:gd name="connsiteX256" fmla="*/ 1416657 w 3024845"/>
                <a:gd name="connsiteY256" fmla="*/ 339399 h 834218"/>
                <a:gd name="connsiteX257" fmla="*/ 1416657 w 3024845"/>
                <a:gd name="connsiteY257" fmla="*/ 337777 h 834218"/>
                <a:gd name="connsiteX258" fmla="*/ 1416657 w 3024845"/>
                <a:gd name="connsiteY258" fmla="*/ 326428 h 834218"/>
                <a:gd name="connsiteX259" fmla="*/ 1417417 w 3024845"/>
                <a:gd name="connsiteY259" fmla="*/ 326428 h 834218"/>
                <a:gd name="connsiteX260" fmla="*/ 1422737 w 3024845"/>
                <a:gd name="connsiteY260" fmla="*/ 326428 h 834218"/>
                <a:gd name="connsiteX261" fmla="*/ 1422737 w 3024845"/>
                <a:gd name="connsiteY261" fmla="*/ 324537 h 834218"/>
                <a:gd name="connsiteX262" fmla="*/ 1422737 w 3024845"/>
                <a:gd name="connsiteY262" fmla="*/ 311296 h 834218"/>
                <a:gd name="connsiteX263" fmla="*/ 1426791 w 3024845"/>
                <a:gd name="connsiteY263" fmla="*/ 317781 h 834218"/>
                <a:gd name="connsiteX264" fmla="*/ 1429071 w 3024845"/>
                <a:gd name="connsiteY264" fmla="*/ 317781 h 834218"/>
                <a:gd name="connsiteX265" fmla="*/ 1445031 w 3024845"/>
                <a:gd name="connsiteY265" fmla="*/ 317781 h 834218"/>
                <a:gd name="connsiteX266" fmla="*/ 1445031 w 3024845"/>
                <a:gd name="connsiteY266" fmla="*/ 316970 h 834218"/>
                <a:gd name="connsiteX267" fmla="*/ 1445031 w 3024845"/>
                <a:gd name="connsiteY267" fmla="*/ 311296 h 834218"/>
                <a:gd name="connsiteX268" fmla="*/ 1445791 w 3024845"/>
                <a:gd name="connsiteY268" fmla="*/ 311296 h 834218"/>
                <a:gd name="connsiteX269" fmla="*/ 1451111 w 3024845"/>
                <a:gd name="connsiteY269" fmla="*/ 311296 h 834218"/>
                <a:gd name="connsiteX270" fmla="*/ 1451111 w 3024845"/>
                <a:gd name="connsiteY270" fmla="*/ 312647 h 834218"/>
                <a:gd name="connsiteX271" fmla="*/ 1451111 w 3024845"/>
                <a:gd name="connsiteY271" fmla="*/ 322105 h 834218"/>
                <a:gd name="connsiteX272" fmla="*/ 1489618 w 3024845"/>
                <a:gd name="connsiteY272" fmla="*/ 322105 h 834218"/>
                <a:gd name="connsiteX273" fmla="*/ 1489618 w 3024845"/>
                <a:gd name="connsiteY273" fmla="*/ 460458 h 834218"/>
                <a:gd name="connsiteX274" fmla="*/ 1491138 w 3024845"/>
                <a:gd name="connsiteY274" fmla="*/ 460458 h 834218"/>
                <a:gd name="connsiteX275" fmla="*/ 1501778 w 3024845"/>
                <a:gd name="connsiteY275" fmla="*/ 460458 h 834218"/>
                <a:gd name="connsiteX276" fmla="*/ 1501778 w 3024845"/>
                <a:gd name="connsiteY276" fmla="*/ 447488 h 834218"/>
                <a:gd name="connsiteX277" fmla="*/ 1505832 w 3024845"/>
                <a:gd name="connsiteY277" fmla="*/ 447488 h 834218"/>
                <a:gd name="connsiteX278" fmla="*/ 1505832 w 3024845"/>
                <a:gd name="connsiteY278" fmla="*/ 460458 h 834218"/>
                <a:gd name="connsiteX279" fmla="*/ 1536232 w 3024845"/>
                <a:gd name="connsiteY279" fmla="*/ 460458 h 834218"/>
                <a:gd name="connsiteX280" fmla="*/ 1536232 w 3024845"/>
                <a:gd name="connsiteY280" fmla="*/ 430193 h 834218"/>
                <a:gd name="connsiteX281" fmla="*/ 1548392 w 3024845"/>
                <a:gd name="connsiteY281" fmla="*/ 430193 h 834218"/>
                <a:gd name="connsiteX282" fmla="*/ 1560552 w 3024845"/>
                <a:gd name="connsiteY282" fmla="*/ 428032 h 834218"/>
                <a:gd name="connsiteX283" fmla="*/ 1564606 w 3024845"/>
                <a:gd name="connsiteY283" fmla="*/ 430193 h 834218"/>
                <a:gd name="connsiteX284" fmla="*/ 1574739 w 3024845"/>
                <a:gd name="connsiteY284" fmla="*/ 430193 h 834218"/>
                <a:gd name="connsiteX285" fmla="*/ 1574739 w 3024845"/>
                <a:gd name="connsiteY285" fmla="*/ 460458 h 834218"/>
                <a:gd name="connsiteX286" fmla="*/ 1582846 w 3024845"/>
                <a:gd name="connsiteY286" fmla="*/ 460458 h 834218"/>
                <a:gd name="connsiteX287" fmla="*/ 1582846 w 3024845"/>
                <a:gd name="connsiteY287" fmla="*/ 477753 h 834218"/>
                <a:gd name="connsiteX288" fmla="*/ 1592182 w 3024845"/>
                <a:gd name="connsiteY288" fmla="*/ 478658 h 834218"/>
                <a:gd name="connsiteX289" fmla="*/ 1605140 w 3024845"/>
                <a:gd name="connsiteY289" fmla="*/ 478658 h 834218"/>
                <a:gd name="connsiteX290" fmla="*/ 1605140 w 3024845"/>
                <a:gd name="connsiteY290" fmla="*/ 462620 h 834218"/>
                <a:gd name="connsiteX291" fmla="*/ 1673096 w 3024845"/>
                <a:gd name="connsiteY291" fmla="*/ 462620 h 834218"/>
                <a:gd name="connsiteX292" fmla="*/ 1673096 w 3024845"/>
                <a:gd name="connsiteY292" fmla="*/ 377367 h 834218"/>
                <a:gd name="connsiteX293" fmla="*/ 1745104 w 3024845"/>
                <a:gd name="connsiteY293" fmla="*/ 377367 h 834218"/>
                <a:gd name="connsiteX294" fmla="*/ 1745104 w 3024845"/>
                <a:gd name="connsiteY294" fmla="*/ 456135 h 834218"/>
                <a:gd name="connsiteX295" fmla="*/ 1747008 w 3024845"/>
                <a:gd name="connsiteY295" fmla="*/ 456135 h 834218"/>
                <a:gd name="connsiteX296" fmla="*/ 1748250 w 3024845"/>
                <a:gd name="connsiteY296" fmla="*/ 478658 h 834218"/>
                <a:gd name="connsiteX297" fmla="*/ 1757926 w 3024845"/>
                <a:gd name="connsiteY297" fmla="*/ 478658 h 834218"/>
                <a:gd name="connsiteX298" fmla="*/ 1759168 w 3024845"/>
                <a:gd name="connsiteY298" fmla="*/ 456135 h 834218"/>
                <a:gd name="connsiteX299" fmla="*/ 1765248 w 3024845"/>
                <a:gd name="connsiteY299" fmla="*/ 456135 h 834218"/>
                <a:gd name="connsiteX300" fmla="*/ 1766490 w 3024845"/>
                <a:gd name="connsiteY300" fmla="*/ 478658 h 834218"/>
                <a:gd name="connsiteX301" fmla="*/ 1817112 w 3024845"/>
                <a:gd name="connsiteY301" fmla="*/ 478658 h 834218"/>
                <a:gd name="connsiteX302" fmla="*/ 1817112 w 3024845"/>
                <a:gd name="connsiteY302" fmla="*/ 315630 h 834218"/>
                <a:gd name="connsiteX303" fmla="*/ 2014439 w 3024845"/>
                <a:gd name="connsiteY303" fmla="*/ 315630 h 834218"/>
                <a:gd name="connsiteX304" fmla="*/ 2014439 w 3024845"/>
                <a:gd name="connsiteY304" fmla="*/ 478658 h 834218"/>
                <a:gd name="connsiteX305" fmla="*/ 2033136 w 3024845"/>
                <a:gd name="connsiteY305" fmla="*/ 478658 h 834218"/>
                <a:gd name="connsiteX306" fmla="*/ 2033136 w 3024845"/>
                <a:gd name="connsiteY306" fmla="*/ 395965 h 834218"/>
                <a:gd name="connsiteX307" fmla="*/ 2128256 w 3024845"/>
                <a:gd name="connsiteY307" fmla="*/ 395965 h 834218"/>
                <a:gd name="connsiteX308" fmla="*/ 2180720 w 3024845"/>
                <a:gd name="connsiteY308" fmla="*/ 330752 h 834218"/>
                <a:gd name="connsiteX309" fmla="*/ 2245574 w 3024845"/>
                <a:gd name="connsiteY309" fmla="*/ 330752 h 834218"/>
                <a:gd name="connsiteX310" fmla="*/ 2245574 w 3024845"/>
                <a:gd name="connsiteY310" fmla="*/ 406414 h 834218"/>
                <a:gd name="connsiteX311" fmla="*/ 2253681 w 3024845"/>
                <a:gd name="connsiteY311" fmla="*/ 406414 h 834218"/>
                <a:gd name="connsiteX312" fmla="*/ 2255708 w 3024845"/>
                <a:gd name="connsiteY312" fmla="*/ 399929 h 834218"/>
                <a:gd name="connsiteX313" fmla="*/ 2261788 w 3024845"/>
                <a:gd name="connsiteY313" fmla="*/ 399929 h 834218"/>
                <a:gd name="connsiteX314" fmla="*/ 2263815 w 3024845"/>
                <a:gd name="connsiteY314" fmla="*/ 408576 h 834218"/>
                <a:gd name="connsiteX315" fmla="*/ 2275975 w 3024845"/>
                <a:gd name="connsiteY315" fmla="*/ 408576 h 834218"/>
                <a:gd name="connsiteX316" fmla="*/ 2275975 w 3024845"/>
                <a:gd name="connsiteY316" fmla="*/ 402090 h 834218"/>
                <a:gd name="connsiteX317" fmla="*/ 2298268 w 3024845"/>
                <a:gd name="connsiteY317" fmla="*/ 402090 h 834218"/>
                <a:gd name="connsiteX318" fmla="*/ 2298268 w 3024845"/>
                <a:gd name="connsiteY318" fmla="*/ 408576 h 834218"/>
                <a:gd name="connsiteX319" fmla="*/ 2318535 w 3024845"/>
                <a:gd name="connsiteY319" fmla="*/ 408576 h 834218"/>
                <a:gd name="connsiteX320" fmla="*/ 2318535 w 3024845"/>
                <a:gd name="connsiteY320" fmla="*/ 453973 h 834218"/>
                <a:gd name="connsiteX321" fmla="*/ 2332722 w 3024845"/>
                <a:gd name="connsiteY321" fmla="*/ 453973 h 834218"/>
                <a:gd name="connsiteX322" fmla="*/ 2332722 w 3024845"/>
                <a:gd name="connsiteY322" fmla="*/ 441002 h 834218"/>
                <a:gd name="connsiteX323" fmla="*/ 2348936 w 3024845"/>
                <a:gd name="connsiteY323" fmla="*/ 441002 h 834218"/>
                <a:gd name="connsiteX324" fmla="*/ 2348936 w 3024845"/>
                <a:gd name="connsiteY324" fmla="*/ 261575 h 834218"/>
                <a:gd name="connsiteX325" fmla="*/ 2355016 w 3024845"/>
                <a:gd name="connsiteY325" fmla="*/ 255089 h 834218"/>
                <a:gd name="connsiteX326" fmla="*/ 2427977 w 3024845"/>
                <a:gd name="connsiteY326" fmla="*/ 255089 h 834218"/>
                <a:gd name="connsiteX327" fmla="*/ 2427977 w 3024845"/>
                <a:gd name="connsiteY327" fmla="*/ 263737 h 834218"/>
                <a:gd name="connsiteX328" fmla="*/ 2438110 w 3024845"/>
                <a:gd name="connsiteY328" fmla="*/ 263737 h 834218"/>
                <a:gd name="connsiteX329" fmla="*/ 2438110 w 3024845"/>
                <a:gd name="connsiteY329" fmla="*/ 378311 h 834218"/>
                <a:gd name="connsiteX330" fmla="*/ 2460404 w 3024845"/>
                <a:gd name="connsiteY330" fmla="*/ 378311 h 834218"/>
                <a:gd name="connsiteX331" fmla="*/ 2460404 w 3024845"/>
                <a:gd name="connsiteY331" fmla="*/ 311296 h 834218"/>
                <a:gd name="connsiteX332" fmla="*/ 2486751 w 3024845"/>
                <a:gd name="connsiteY332" fmla="*/ 311296 h 834218"/>
                <a:gd name="connsiteX333" fmla="*/ 2490804 w 3024845"/>
                <a:gd name="connsiteY333" fmla="*/ 306972 h 834218"/>
                <a:gd name="connsiteX334" fmla="*/ 2498911 w 3024845"/>
                <a:gd name="connsiteY334" fmla="*/ 306972 h 834218"/>
                <a:gd name="connsiteX335" fmla="*/ 2502964 w 3024845"/>
                <a:gd name="connsiteY335" fmla="*/ 311296 h 834218"/>
                <a:gd name="connsiteX336" fmla="*/ 2525258 w 3024845"/>
                <a:gd name="connsiteY336" fmla="*/ 311296 h 834218"/>
                <a:gd name="connsiteX337" fmla="*/ 2525258 w 3024845"/>
                <a:gd name="connsiteY337" fmla="*/ 194560 h 834218"/>
                <a:gd name="connsiteX338" fmla="*/ 2582005 w 3024845"/>
                <a:gd name="connsiteY338" fmla="*/ 183751 h 834218"/>
                <a:gd name="connsiteX339" fmla="*/ 2582005 w 3024845"/>
                <a:gd name="connsiteY339" fmla="*/ 184832 h 834218"/>
                <a:gd name="connsiteX340" fmla="*/ 2582005 w 3024845"/>
                <a:gd name="connsiteY340" fmla="*/ 192398 h 834218"/>
                <a:gd name="connsiteX341" fmla="*/ 2608352 w 3024845"/>
                <a:gd name="connsiteY341" fmla="*/ 192398 h 834218"/>
                <a:gd name="connsiteX342" fmla="*/ 2608352 w 3024845"/>
                <a:gd name="connsiteY342" fmla="*/ 447488 h 834218"/>
                <a:gd name="connsiteX343" fmla="*/ 2630646 w 3024845"/>
                <a:gd name="connsiteY343" fmla="*/ 447488 h 834218"/>
                <a:gd name="connsiteX344" fmla="*/ 2630646 w 3024845"/>
                <a:gd name="connsiteY344" fmla="*/ 443164 h 834218"/>
                <a:gd name="connsiteX345" fmla="*/ 2642806 w 3024845"/>
                <a:gd name="connsiteY345" fmla="*/ 443164 h 834218"/>
                <a:gd name="connsiteX346" fmla="*/ 2642806 w 3024845"/>
                <a:gd name="connsiteY346" fmla="*/ 447488 h 834218"/>
                <a:gd name="connsiteX347" fmla="*/ 2667126 w 3024845"/>
                <a:gd name="connsiteY347" fmla="*/ 447488 h 834218"/>
                <a:gd name="connsiteX348" fmla="*/ 2667126 w 3024845"/>
                <a:gd name="connsiteY348" fmla="*/ 434517 h 834218"/>
                <a:gd name="connsiteX349" fmla="*/ 2695500 w 3024845"/>
                <a:gd name="connsiteY349" fmla="*/ 434517 h 834218"/>
                <a:gd name="connsiteX350" fmla="*/ 2707660 w 3024845"/>
                <a:gd name="connsiteY350" fmla="*/ 430193 h 834218"/>
                <a:gd name="connsiteX351" fmla="*/ 2727927 w 3024845"/>
                <a:gd name="connsiteY351" fmla="*/ 434517 h 834218"/>
                <a:gd name="connsiteX352" fmla="*/ 2727927 w 3024845"/>
                <a:gd name="connsiteY352" fmla="*/ 417223 h 834218"/>
                <a:gd name="connsiteX353" fmla="*/ 2736034 w 3024845"/>
                <a:gd name="connsiteY353" fmla="*/ 417223 h 834218"/>
                <a:gd name="connsiteX354" fmla="*/ 2736034 w 3024845"/>
                <a:gd name="connsiteY354" fmla="*/ 404252 h 834218"/>
                <a:gd name="connsiteX355" fmla="*/ 2792781 w 3024845"/>
                <a:gd name="connsiteY355" fmla="*/ 404252 h 834218"/>
                <a:gd name="connsiteX356" fmla="*/ 2792781 w 3024845"/>
                <a:gd name="connsiteY356" fmla="*/ 373987 h 834218"/>
                <a:gd name="connsiteX357" fmla="*/ 2811021 w 3024845"/>
                <a:gd name="connsiteY357" fmla="*/ 373987 h 834218"/>
                <a:gd name="connsiteX358" fmla="*/ 2811021 w 3024845"/>
                <a:gd name="connsiteY358" fmla="*/ 367502 h 834218"/>
                <a:gd name="connsiteX359" fmla="*/ 2823181 w 3024845"/>
                <a:gd name="connsiteY359" fmla="*/ 367502 h 834218"/>
                <a:gd name="connsiteX360" fmla="*/ 2823181 w 3024845"/>
                <a:gd name="connsiteY360" fmla="*/ 373987 h 834218"/>
                <a:gd name="connsiteX361" fmla="*/ 2839395 w 3024845"/>
                <a:gd name="connsiteY361" fmla="*/ 373987 h 834218"/>
                <a:gd name="connsiteX362" fmla="*/ 2839395 w 3024845"/>
                <a:gd name="connsiteY362" fmla="*/ 423708 h 834218"/>
                <a:gd name="connsiteX363" fmla="*/ 2871822 w 3024845"/>
                <a:gd name="connsiteY363" fmla="*/ 423708 h 834218"/>
                <a:gd name="connsiteX364" fmla="*/ 2871822 w 3024845"/>
                <a:gd name="connsiteY364" fmla="*/ 397767 h 834218"/>
                <a:gd name="connsiteX365" fmla="*/ 2910329 w 3024845"/>
                <a:gd name="connsiteY365" fmla="*/ 397767 h 834218"/>
                <a:gd name="connsiteX366" fmla="*/ 2910329 w 3024845"/>
                <a:gd name="connsiteY366" fmla="*/ 367502 h 834218"/>
                <a:gd name="connsiteX367" fmla="*/ 2958970 w 3024845"/>
                <a:gd name="connsiteY367" fmla="*/ 367502 h 834218"/>
                <a:gd name="connsiteX368" fmla="*/ 2958970 w 3024845"/>
                <a:gd name="connsiteY368" fmla="*/ 478658 h 834218"/>
                <a:gd name="connsiteX369" fmla="*/ 2958970 w 3024845"/>
                <a:gd name="connsiteY369" fmla="*/ 492437 h 834218"/>
                <a:gd name="connsiteX370" fmla="*/ 3024845 w 3024845"/>
                <a:gd name="connsiteY370" fmla="*/ 492437 h 834218"/>
                <a:gd name="connsiteX371" fmla="*/ 3024845 w 3024845"/>
                <a:gd name="connsiteY371" fmla="*/ 834218 h 834218"/>
                <a:gd name="connsiteX372" fmla="*/ 2054 w 3024845"/>
                <a:gd name="connsiteY372" fmla="*/ 831885 h 834218"/>
                <a:gd name="connsiteX373" fmla="*/ 0 w 3024845"/>
                <a:gd name="connsiteY373" fmla="*/ 397767 h 834218"/>
                <a:gd name="connsiteX374" fmla="*/ 20267 w 3024845"/>
                <a:gd name="connsiteY374" fmla="*/ 397767 h 834218"/>
                <a:gd name="connsiteX375" fmla="*/ 20774 w 3024845"/>
                <a:gd name="connsiteY375" fmla="*/ 396686 h 834218"/>
                <a:gd name="connsiteX376" fmla="*/ 24320 w 3024845"/>
                <a:gd name="connsiteY376" fmla="*/ 389120 h 834218"/>
                <a:gd name="connsiteX377" fmla="*/ 26094 w 3024845"/>
                <a:gd name="connsiteY377" fmla="*/ 389390 h 834218"/>
                <a:gd name="connsiteX378" fmla="*/ 38507 w 3024845"/>
                <a:gd name="connsiteY378" fmla="*/ 391281 h 834218"/>
                <a:gd name="connsiteX379" fmla="*/ 39014 w 3024845"/>
                <a:gd name="connsiteY379" fmla="*/ 392633 h 834218"/>
                <a:gd name="connsiteX380" fmla="*/ 42560 w 3024845"/>
                <a:gd name="connsiteY380" fmla="*/ 402090 h 834218"/>
                <a:gd name="connsiteX381" fmla="*/ 68907 w 3024845"/>
                <a:gd name="connsiteY381" fmla="*/ 404252 h 834218"/>
                <a:gd name="connsiteX382" fmla="*/ 68907 w 3024845"/>
                <a:gd name="connsiteY382" fmla="*/ 281031 h 834218"/>
                <a:gd name="connsiteX383" fmla="*/ 70934 w 3024845"/>
                <a:gd name="connsiteY383" fmla="*/ 281031 h 834218"/>
                <a:gd name="connsiteX384" fmla="*/ 85121 w 3024845"/>
                <a:gd name="connsiteY384" fmla="*/ 281031 h 834218"/>
                <a:gd name="connsiteX385" fmla="*/ 85121 w 3024845"/>
                <a:gd name="connsiteY385" fmla="*/ 144839 h 834218"/>
                <a:gd name="connsiteX386" fmla="*/ 86894 w 3024845"/>
                <a:gd name="connsiteY386" fmla="*/ 144839 h 834218"/>
                <a:gd name="connsiteX387" fmla="*/ 99308 w 3024845"/>
                <a:gd name="connsiteY387" fmla="*/ 144839 h 834218"/>
                <a:gd name="connsiteX388" fmla="*/ 99308 w 3024845"/>
                <a:gd name="connsiteY388" fmla="*/ 30265 h 834218"/>
                <a:gd name="connsiteX389" fmla="*/ 103361 w 3024845"/>
                <a:gd name="connsiteY389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16856 w 3024845"/>
                <a:gd name="connsiteY3" fmla="*/ 0 h 834218"/>
                <a:gd name="connsiteX4" fmla="*/ 220909 w 3024845"/>
                <a:gd name="connsiteY4" fmla="*/ 144839 h 834218"/>
                <a:gd name="connsiteX5" fmla="*/ 223189 w 3024845"/>
                <a:gd name="connsiteY5" fmla="*/ 144839 h 834218"/>
                <a:gd name="connsiteX6" fmla="*/ 239150 w 3024845"/>
                <a:gd name="connsiteY6" fmla="*/ 144839 h 834218"/>
                <a:gd name="connsiteX7" fmla="*/ 239150 w 3024845"/>
                <a:gd name="connsiteY7" fmla="*/ 285354 h 834218"/>
                <a:gd name="connsiteX8" fmla="*/ 240670 w 3024845"/>
                <a:gd name="connsiteY8" fmla="*/ 285084 h 834218"/>
                <a:gd name="connsiteX9" fmla="*/ 251310 w 3024845"/>
                <a:gd name="connsiteY9" fmla="*/ 283193 h 834218"/>
                <a:gd name="connsiteX10" fmla="*/ 249283 w 3024845"/>
                <a:gd name="connsiteY10" fmla="*/ 371825 h 834218"/>
                <a:gd name="connsiteX11" fmla="*/ 250803 w 3024845"/>
                <a:gd name="connsiteY11" fmla="*/ 372096 h 834218"/>
                <a:gd name="connsiteX12" fmla="*/ 261443 w 3024845"/>
                <a:gd name="connsiteY12" fmla="*/ 373987 h 834218"/>
                <a:gd name="connsiteX13" fmla="*/ 261696 w 3024845"/>
                <a:gd name="connsiteY13" fmla="*/ 374798 h 834218"/>
                <a:gd name="connsiteX14" fmla="*/ 263470 w 3024845"/>
                <a:gd name="connsiteY14" fmla="*/ 380473 h 834218"/>
                <a:gd name="connsiteX15" fmla="*/ 264230 w 3024845"/>
                <a:gd name="connsiteY15" fmla="*/ 378041 h 834218"/>
                <a:gd name="connsiteX16" fmla="*/ 269550 w 3024845"/>
                <a:gd name="connsiteY16" fmla="*/ 361017 h 834218"/>
                <a:gd name="connsiteX17" fmla="*/ 271323 w 3024845"/>
                <a:gd name="connsiteY17" fmla="*/ 361017 h 834218"/>
                <a:gd name="connsiteX18" fmla="*/ 283737 w 3024845"/>
                <a:gd name="connsiteY18" fmla="*/ 361017 h 834218"/>
                <a:gd name="connsiteX19" fmla="*/ 283737 w 3024845"/>
                <a:gd name="connsiteY19" fmla="*/ 393443 h 834218"/>
                <a:gd name="connsiteX20" fmla="*/ 284750 w 3024845"/>
                <a:gd name="connsiteY20" fmla="*/ 393984 h 834218"/>
                <a:gd name="connsiteX21" fmla="*/ 291844 w 3024845"/>
                <a:gd name="connsiteY21" fmla="*/ 397767 h 834218"/>
                <a:gd name="connsiteX22" fmla="*/ 291844 w 3024845"/>
                <a:gd name="connsiteY22" fmla="*/ 399118 h 834218"/>
                <a:gd name="connsiteX23" fmla="*/ 291844 w 3024845"/>
                <a:gd name="connsiteY23" fmla="*/ 408576 h 834218"/>
                <a:gd name="connsiteX24" fmla="*/ 336431 w 3024845"/>
                <a:gd name="connsiteY24" fmla="*/ 408576 h 834218"/>
                <a:gd name="connsiteX25" fmla="*/ 336431 w 3024845"/>
                <a:gd name="connsiteY25" fmla="*/ 409657 h 834218"/>
                <a:gd name="connsiteX26" fmla="*/ 336431 w 3024845"/>
                <a:gd name="connsiteY26" fmla="*/ 417223 h 834218"/>
                <a:gd name="connsiteX27" fmla="*/ 338457 w 3024845"/>
                <a:gd name="connsiteY27" fmla="*/ 417223 h 834218"/>
                <a:gd name="connsiteX28" fmla="*/ 352644 w 3024845"/>
                <a:gd name="connsiteY28" fmla="*/ 417223 h 834218"/>
                <a:gd name="connsiteX29" fmla="*/ 352644 w 3024845"/>
                <a:gd name="connsiteY29" fmla="*/ 386958 h 834218"/>
                <a:gd name="connsiteX30" fmla="*/ 397231 w 3024845"/>
                <a:gd name="connsiteY30" fmla="*/ 386958 h 834218"/>
                <a:gd name="connsiteX31" fmla="*/ 397231 w 3024845"/>
                <a:gd name="connsiteY31" fmla="*/ 385607 h 834218"/>
                <a:gd name="connsiteX32" fmla="*/ 397231 w 3024845"/>
                <a:gd name="connsiteY32" fmla="*/ 376149 h 834218"/>
                <a:gd name="connsiteX33" fmla="*/ 398245 w 3024845"/>
                <a:gd name="connsiteY33" fmla="*/ 376149 h 834218"/>
                <a:gd name="connsiteX34" fmla="*/ 405338 w 3024845"/>
                <a:gd name="connsiteY34" fmla="*/ 376149 h 834218"/>
                <a:gd name="connsiteX35" fmla="*/ 405338 w 3024845"/>
                <a:gd name="connsiteY35" fmla="*/ 374258 h 834218"/>
                <a:gd name="connsiteX36" fmla="*/ 405338 w 3024845"/>
                <a:gd name="connsiteY36" fmla="*/ 361017 h 834218"/>
                <a:gd name="connsiteX37" fmla="*/ 406098 w 3024845"/>
                <a:gd name="connsiteY37" fmla="*/ 361017 h 834218"/>
                <a:gd name="connsiteX38" fmla="*/ 411418 w 3024845"/>
                <a:gd name="connsiteY38" fmla="*/ 361017 h 834218"/>
                <a:gd name="connsiteX39" fmla="*/ 411418 w 3024845"/>
                <a:gd name="connsiteY39" fmla="*/ 359936 h 834218"/>
                <a:gd name="connsiteX40" fmla="*/ 411418 w 3024845"/>
                <a:gd name="connsiteY40" fmla="*/ 352369 h 834218"/>
                <a:gd name="connsiteX41" fmla="*/ 413445 w 3024845"/>
                <a:gd name="connsiteY41" fmla="*/ 352369 h 834218"/>
                <a:gd name="connsiteX42" fmla="*/ 427632 w 3024845"/>
                <a:gd name="connsiteY42" fmla="*/ 352369 h 834218"/>
                <a:gd name="connsiteX43" fmla="*/ 427632 w 3024845"/>
                <a:gd name="connsiteY43" fmla="*/ 353450 h 834218"/>
                <a:gd name="connsiteX44" fmla="*/ 427632 w 3024845"/>
                <a:gd name="connsiteY44" fmla="*/ 361017 h 834218"/>
                <a:gd name="connsiteX45" fmla="*/ 449925 w 3024845"/>
                <a:gd name="connsiteY45" fmla="*/ 361017 h 834218"/>
                <a:gd name="connsiteX46" fmla="*/ 449925 w 3024845"/>
                <a:gd name="connsiteY46" fmla="*/ 359125 h 834218"/>
                <a:gd name="connsiteX47" fmla="*/ 449925 w 3024845"/>
                <a:gd name="connsiteY47" fmla="*/ 345884 h 834218"/>
                <a:gd name="connsiteX48" fmla="*/ 451699 w 3024845"/>
                <a:gd name="connsiteY48" fmla="*/ 345884 h 834218"/>
                <a:gd name="connsiteX49" fmla="*/ 464112 w 3024845"/>
                <a:gd name="connsiteY49" fmla="*/ 345884 h 834218"/>
                <a:gd name="connsiteX50" fmla="*/ 464112 w 3024845"/>
                <a:gd name="connsiteY50" fmla="*/ 369664 h 834218"/>
                <a:gd name="connsiteX51" fmla="*/ 465126 w 3024845"/>
                <a:gd name="connsiteY51" fmla="*/ 369664 h 834218"/>
                <a:gd name="connsiteX52" fmla="*/ 472219 w 3024845"/>
                <a:gd name="connsiteY52" fmla="*/ 369664 h 834218"/>
                <a:gd name="connsiteX53" fmla="*/ 472219 w 3024845"/>
                <a:gd name="connsiteY53" fmla="*/ 368583 h 834218"/>
                <a:gd name="connsiteX54" fmla="*/ 472219 w 3024845"/>
                <a:gd name="connsiteY54" fmla="*/ 361017 h 834218"/>
                <a:gd name="connsiteX55" fmla="*/ 473992 w 3024845"/>
                <a:gd name="connsiteY55" fmla="*/ 361017 h 834218"/>
                <a:gd name="connsiteX56" fmla="*/ 486406 w 3024845"/>
                <a:gd name="connsiteY56" fmla="*/ 361017 h 834218"/>
                <a:gd name="connsiteX57" fmla="*/ 486406 w 3024845"/>
                <a:gd name="connsiteY57" fmla="*/ 386958 h 834218"/>
                <a:gd name="connsiteX58" fmla="*/ 488433 w 3024845"/>
                <a:gd name="connsiteY58" fmla="*/ 386958 h 834218"/>
                <a:gd name="connsiteX59" fmla="*/ 502619 w 3024845"/>
                <a:gd name="connsiteY59" fmla="*/ 386958 h 834218"/>
                <a:gd name="connsiteX60" fmla="*/ 502619 w 3024845"/>
                <a:gd name="connsiteY60" fmla="*/ 388579 h 834218"/>
                <a:gd name="connsiteX61" fmla="*/ 502619 w 3024845"/>
                <a:gd name="connsiteY61" fmla="*/ 399929 h 834218"/>
                <a:gd name="connsiteX62" fmla="*/ 503379 w 3024845"/>
                <a:gd name="connsiteY62" fmla="*/ 399929 h 834218"/>
                <a:gd name="connsiteX63" fmla="*/ 508700 w 3024845"/>
                <a:gd name="connsiteY63" fmla="*/ 399929 h 834218"/>
                <a:gd name="connsiteX64" fmla="*/ 508700 w 3024845"/>
                <a:gd name="connsiteY64" fmla="*/ 399118 h 834218"/>
                <a:gd name="connsiteX65" fmla="*/ 508700 w 3024845"/>
                <a:gd name="connsiteY65" fmla="*/ 393443 h 834218"/>
                <a:gd name="connsiteX66" fmla="*/ 539100 w 3024845"/>
                <a:gd name="connsiteY66" fmla="*/ 393443 h 834218"/>
                <a:gd name="connsiteX67" fmla="*/ 539100 w 3024845"/>
                <a:gd name="connsiteY67" fmla="*/ 417223 h 834218"/>
                <a:gd name="connsiteX68" fmla="*/ 540113 w 3024845"/>
                <a:gd name="connsiteY68" fmla="*/ 417223 h 834218"/>
                <a:gd name="connsiteX69" fmla="*/ 547207 w 3024845"/>
                <a:gd name="connsiteY69" fmla="*/ 417223 h 834218"/>
                <a:gd name="connsiteX70" fmla="*/ 547207 w 3024845"/>
                <a:gd name="connsiteY70" fmla="*/ 418304 h 834218"/>
                <a:gd name="connsiteX71" fmla="*/ 547207 w 3024845"/>
                <a:gd name="connsiteY71" fmla="*/ 425870 h 834218"/>
                <a:gd name="connsiteX72" fmla="*/ 547967 w 3024845"/>
                <a:gd name="connsiteY72" fmla="*/ 425870 h 834218"/>
                <a:gd name="connsiteX73" fmla="*/ 553287 w 3024845"/>
                <a:gd name="connsiteY73" fmla="*/ 425870 h 834218"/>
                <a:gd name="connsiteX74" fmla="*/ 553287 w 3024845"/>
                <a:gd name="connsiteY74" fmla="*/ 423708 h 834218"/>
                <a:gd name="connsiteX75" fmla="*/ 553287 w 3024845"/>
                <a:gd name="connsiteY75" fmla="*/ 408576 h 834218"/>
                <a:gd name="connsiteX76" fmla="*/ 554300 w 3024845"/>
                <a:gd name="connsiteY76" fmla="*/ 408576 h 834218"/>
                <a:gd name="connsiteX77" fmla="*/ 561394 w 3024845"/>
                <a:gd name="connsiteY77" fmla="*/ 408576 h 834218"/>
                <a:gd name="connsiteX78" fmla="*/ 561394 w 3024845"/>
                <a:gd name="connsiteY78" fmla="*/ 409657 h 834218"/>
                <a:gd name="connsiteX79" fmla="*/ 561394 w 3024845"/>
                <a:gd name="connsiteY79" fmla="*/ 417223 h 834218"/>
                <a:gd name="connsiteX80" fmla="*/ 566714 w 3024845"/>
                <a:gd name="connsiteY80" fmla="*/ 415230 h 834218"/>
                <a:gd name="connsiteX81" fmla="*/ 567474 w 3024845"/>
                <a:gd name="connsiteY81" fmla="*/ 414250 h 834218"/>
                <a:gd name="connsiteX82" fmla="*/ 567474 w 3024845"/>
                <a:gd name="connsiteY82" fmla="*/ 408576 h 834218"/>
                <a:gd name="connsiteX83" fmla="*/ 605981 w 3024845"/>
                <a:gd name="connsiteY83" fmla="*/ 408576 h 834218"/>
                <a:gd name="connsiteX84" fmla="*/ 605981 w 3024845"/>
                <a:gd name="connsiteY84" fmla="*/ 432355 h 834218"/>
                <a:gd name="connsiteX85" fmla="*/ 608007 w 3024845"/>
                <a:gd name="connsiteY85" fmla="*/ 432355 h 834218"/>
                <a:gd name="connsiteX86" fmla="*/ 622194 w 3024845"/>
                <a:gd name="connsiteY86" fmla="*/ 432355 h 834218"/>
                <a:gd name="connsiteX87" fmla="*/ 622194 w 3024845"/>
                <a:gd name="connsiteY87" fmla="*/ 433436 h 834218"/>
                <a:gd name="connsiteX88" fmla="*/ 622194 w 3024845"/>
                <a:gd name="connsiteY88" fmla="*/ 441002 h 834218"/>
                <a:gd name="connsiteX89" fmla="*/ 623968 w 3024845"/>
                <a:gd name="connsiteY89" fmla="*/ 441002 h 834218"/>
                <a:gd name="connsiteX90" fmla="*/ 636381 w 3024845"/>
                <a:gd name="connsiteY90" fmla="*/ 441002 h 834218"/>
                <a:gd name="connsiteX91" fmla="*/ 636381 w 3024845"/>
                <a:gd name="connsiteY91" fmla="*/ 417223 h 834218"/>
                <a:gd name="connsiteX92" fmla="*/ 637394 w 3024845"/>
                <a:gd name="connsiteY92" fmla="*/ 417223 h 834218"/>
                <a:gd name="connsiteX93" fmla="*/ 644488 w 3024845"/>
                <a:gd name="connsiteY93" fmla="*/ 417223 h 834218"/>
                <a:gd name="connsiteX94" fmla="*/ 644488 w 3024845"/>
                <a:gd name="connsiteY94" fmla="*/ 384796 h 834218"/>
                <a:gd name="connsiteX95" fmla="*/ 645501 w 3024845"/>
                <a:gd name="connsiteY95" fmla="*/ 384796 h 834218"/>
                <a:gd name="connsiteX96" fmla="*/ 652595 w 3024845"/>
                <a:gd name="connsiteY96" fmla="*/ 384796 h 834218"/>
                <a:gd name="connsiteX97" fmla="*/ 652595 w 3024845"/>
                <a:gd name="connsiteY97" fmla="*/ 382905 h 834218"/>
                <a:gd name="connsiteX98" fmla="*/ 652595 w 3024845"/>
                <a:gd name="connsiteY98" fmla="*/ 369664 h 834218"/>
                <a:gd name="connsiteX99" fmla="*/ 651328 w 3024845"/>
                <a:gd name="connsiteY99" fmla="*/ 368042 h 834218"/>
                <a:gd name="connsiteX100" fmla="*/ 656648 w 3024845"/>
                <a:gd name="connsiteY100" fmla="*/ 356693 h 834218"/>
                <a:gd name="connsiteX101" fmla="*/ 664755 w 3024845"/>
                <a:gd name="connsiteY101" fmla="*/ 384796 h 834218"/>
                <a:gd name="connsiteX102" fmla="*/ 665515 w 3024845"/>
                <a:gd name="connsiteY102" fmla="*/ 384796 h 834218"/>
                <a:gd name="connsiteX103" fmla="*/ 670835 w 3024845"/>
                <a:gd name="connsiteY103" fmla="*/ 384796 h 834218"/>
                <a:gd name="connsiteX104" fmla="*/ 670835 w 3024845"/>
                <a:gd name="connsiteY104" fmla="*/ 278869 h 834218"/>
                <a:gd name="connsiteX105" fmla="*/ 672355 w 3024845"/>
                <a:gd name="connsiteY105" fmla="*/ 278869 h 834218"/>
                <a:gd name="connsiteX106" fmla="*/ 682995 w 3024845"/>
                <a:gd name="connsiteY106" fmla="*/ 278869 h 834218"/>
                <a:gd name="connsiteX107" fmla="*/ 682995 w 3024845"/>
                <a:gd name="connsiteY107" fmla="*/ 231310 h 834218"/>
                <a:gd name="connsiteX108" fmla="*/ 709342 w 3024845"/>
                <a:gd name="connsiteY108" fmla="*/ 231310 h 834218"/>
                <a:gd name="connsiteX109" fmla="*/ 709342 w 3024845"/>
                <a:gd name="connsiteY109" fmla="*/ 209692 h 834218"/>
                <a:gd name="connsiteX110" fmla="*/ 743796 w 3024845"/>
                <a:gd name="connsiteY110" fmla="*/ 209692 h 834218"/>
                <a:gd name="connsiteX111" fmla="*/ 743796 w 3024845"/>
                <a:gd name="connsiteY111" fmla="*/ 212124 h 834218"/>
                <a:gd name="connsiteX112" fmla="*/ 743796 w 3024845"/>
                <a:gd name="connsiteY112" fmla="*/ 229148 h 834218"/>
                <a:gd name="connsiteX113" fmla="*/ 746076 w 3024845"/>
                <a:gd name="connsiteY113" fmla="*/ 229148 h 834218"/>
                <a:gd name="connsiteX114" fmla="*/ 762036 w 3024845"/>
                <a:gd name="connsiteY114" fmla="*/ 229148 h 834218"/>
                <a:gd name="connsiteX115" fmla="*/ 762036 w 3024845"/>
                <a:gd name="connsiteY115" fmla="*/ 276707 h 834218"/>
                <a:gd name="connsiteX116" fmla="*/ 763049 w 3024845"/>
                <a:gd name="connsiteY116" fmla="*/ 276707 h 834218"/>
                <a:gd name="connsiteX117" fmla="*/ 770143 w 3024845"/>
                <a:gd name="connsiteY117" fmla="*/ 276707 h 834218"/>
                <a:gd name="connsiteX118" fmla="*/ 784330 w 3024845"/>
                <a:gd name="connsiteY118" fmla="*/ 281031 h 834218"/>
                <a:gd name="connsiteX119" fmla="*/ 784330 w 3024845"/>
                <a:gd name="connsiteY119" fmla="*/ 319943 h 834218"/>
                <a:gd name="connsiteX120" fmla="*/ 785343 w 3024845"/>
                <a:gd name="connsiteY120" fmla="*/ 319943 h 834218"/>
                <a:gd name="connsiteX121" fmla="*/ 792436 w 3024845"/>
                <a:gd name="connsiteY121" fmla="*/ 319943 h 834218"/>
                <a:gd name="connsiteX122" fmla="*/ 792436 w 3024845"/>
                <a:gd name="connsiteY122" fmla="*/ 321564 h 834218"/>
                <a:gd name="connsiteX123" fmla="*/ 792436 w 3024845"/>
                <a:gd name="connsiteY123" fmla="*/ 332913 h 834218"/>
                <a:gd name="connsiteX124" fmla="*/ 794463 w 3024845"/>
                <a:gd name="connsiteY124" fmla="*/ 332913 h 834218"/>
                <a:gd name="connsiteX125" fmla="*/ 808650 w 3024845"/>
                <a:gd name="connsiteY125" fmla="*/ 332913 h 834218"/>
                <a:gd name="connsiteX126" fmla="*/ 814730 w 3024845"/>
                <a:gd name="connsiteY126" fmla="*/ 339399 h 834218"/>
                <a:gd name="connsiteX127" fmla="*/ 814730 w 3024845"/>
                <a:gd name="connsiteY127" fmla="*/ 361017 h 834218"/>
                <a:gd name="connsiteX128" fmla="*/ 817010 w 3024845"/>
                <a:gd name="connsiteY128" fmla="*/ 361017 h 834218"/>
                <a:gd name="connsiteX129" fmla="*/ 832970 w 3024845"/>
                <a:gd name="connsiteY129" fmla="*/ 361017 h 834218"/>
                <a:gd name="connsiteX130" fmla="*/ 832970 w 3024845"/>
                <a:gd name="connsiteY130" fmla="*/ 362097 h 834218"/>
                <a:gd name="connsiteX131" fmla="*/ 832970 w 3024845"/>
                <a:gd name="connsiteY131" fmla="*/ 369664 h 834218"/>
                <a:gd name="connsiteX132" fmla="*/ 834237 w 3024845"/>
                <a:gd name="connsiteY132" fmla="*/ 369664 h 834218"/>
                <a:gd name="connsiteX133" fmla="*/ 843104 w 3024845"/>
                <a:gd name="connsiteY133" fmla="*/ 369664 h 834218"/>
                <a:gd name="connsiteX134" fmla="*/ 843104 w 3024845"/>
                <a:gd name="connsiteY134" fmla="*/ 371825 h 834218"/>
                <a:gd name="connsiteX135" fmla="*/ 843104 w 3024845"/>
                <a:gd name="connsiteY135" fmla="*/ 386958 h 834218"/>
                <a:gd name="connsiteX136" fmla="*/ 847157 w 3024845"/>
                <a:gd name="connsiteY136" fmla="*/ 385066 h 834218"/>
                <a:gd name="connsiteX137" fmla="*/ 847157 w 3024845"/>
                <a:gd name="connsiteY137" fmla="*/ 371825 h 834218"/>
                <a:gd name="connsiteX138" fmla="*/ 848170 w 3024845"/>
                <a:gd name="connsiteY138" fmla="*/ 371825 h 834218"/>
                <a:gd name="connsiteX139" fmla="*/ 855264 w 3024845"/>
                <a:gd name="connsiteY139" fmla="*/ 371825 h 834218"/>
                <a:gd name="connsiteX140" fmla="*/ 855264 w 3024845"/>
                <a:gd name="connsiteY140" fmla="*/ 373447 h 834218"/>
                <a:gd name="connsiteX141" fmla="*/ 855264 w 3024845"/>
                <a:gd name="connsiteY141" fmla="*/ 384796 h 834218"/>
                <a:gd name="connsiteX142" fmla="*/ 856024 w 3024845"/>
                <a:gd name="connsiteY142" fmla="*/ 384796 h 834218"/>
                <a:gd name="connsiteX143" fmla="*/ 861344 w 3024845"/>
                <a:gd name="connsiteY143" fmla="*/ 384796 h 834218"/>
                <a:gd name="connsiteX144" fmla="*/ 909984 w 3024845"/>
                <a:gd name="connsiteY144" fmla="*/ 380473 h 834218"/>
                <a:gd name="connsiteX145" fmla="*/ 909984 w 3024845"/>
                <a:gd name="connsiteY145" fmla="*/ 381824 h 834218"/>
                <a:gd name="connsiteX146" fmla="*/ 909984 w 3024845"/>
                <a:gd name="connsiteY146" fmla="*/ 391281 h 834218"/>
                <a:gd name="connsiteX147" fmla="*/ 910744 w 3024845"/>
                <a:gd name="connsiteY147" fmla="*/ 391281 h 834218"/>
                <a:gd name="connsiteX148" fmla="*/ 916065 w 3024845"/>
                <a:gd name="connsiteY148" fmla="*/ 391281 h 834218"/>
                <a:gd name="connsiteX149" fmla="*/ 916065 w 3024845"/>
                <a:gd name="connsiteY149" fmla="*/ 393443 h 834218"/>
                <a:gd name="connsiteX150" fmla="*/ 916065 w 3024845"/>
                <a:gd name="connsiteY150" fmla="*/ 408576 h 834218"/>
                <a:gd name="connsiteX151" fmla="*/ 918091 w 3024845"/>
                <a:gd name="connsiteY151" fmla="*/ 407225 h 834218"/>
                <a:gd name="connsiteX152" fmla="*/ 932278 w 3024845"/>
                <a:gd name="connsiteY152" fmla="*/ 397767 h 834218"/>
                <a:gd name="connsiteX153" fmla="*/ 938358 w 3024845"/>
                <a:gd name="connsiteY153" fmla="*/ 356693 h 834218"/>
                <a:gd name="connsiteX154" fmla="*/ 939118 w 3024845"/>
                <a:gd name="connsiteY154" fmla="*/ 356423 h 834218"/>
                <a:gd name="connsiteX155" fmla="*/ 944438 w 3024845"/>
                <a:gd name="connsiteY155" fmla="*/ 354531 h 834218"/>
                <a:gd name="connsiteX156" fmla="*/ 946465 w 3024845"/>
                <a:gd name="connsiteY156" fmla="*/ 285354 h 834218"/>
                <a:gd name="connsiteX157" fmla="*/ 948492 w 3024845"/>
                <a:gd name="connsiteY157" fmla="*/ 354531 h 834218"/>
                <a:gd name="connsiteX158" fmla="*/ 949252 w 3024845"/>
                <a:gd name="connsiteY158" fmla="*/ 354801 h 834218"/>
                <a:gd name="connsiteX159" fmla="*/ 954572 w 3024845"/>
                <a:gd name="connsiteY159" fmla="*/ 356693 h 834218"/>
                <a:gd name="connsiteX160" fmla="*/ 954572 w 3024845"/>
                <a:gd name="connsiteY160" fmla="*/ 270222 h 834218"/>
                <a:gd name="connsiteX161" fmla="*/ 958625 w 3024845"/>
                <a:gd name="connsiteY161" fmla="*/ 237795 h 834218"/>
                <a:gd name="connsiteX162" fmla="*/ 997132 w 3024845"/>
                <a:gd name="connsiteY162" fmla="*/ 237795 h 834218"/>
                <a:gd name="connsiteX163" fmla="*/ 997132 w 3024845"/>
                <a:gd name="connsiteY163" fmla="*/ 270222 h 834218"/>
                <a:gd name="connsiteX164" fmla="*/ 997892 w 3024845"/>
                <a:gd name="connsiteY164" fmla="*/ 270222 h 834218"/>
                <a:gd name="connsiteX165" fmla="*/ 1003212 w 3024845"/>
                <a:gd name="connsiteY165" fmla="*/ 270222 h 834218"/>
                <a:gd name="connsiteX166" fmla="*/ 1003212 w 3024845"/>
                <a:gd name="connsiteY166" fmla="*/ 188074 h 834218"/>
                <a:gd name="connsiteX167" fmla="*/ 1004986 w 3024845"/>
                <a:gd name="connsiteY167" fmla="*/ 188074 h 834218"/>
                <a:gd name="connsiteX168" fmla="*/ 1017399 w 3024845"/>
                <a:gd name="connsiteY168" fmla="*/ 188074 h 834218"/>
                <a:gd name="connsiteX169" fmla="*/ 1017399 w 3024845"/>
                <a:gd name="connsiteY169" fmla="*/ 186183 h 834218"/>
                <a:gd name="connsiteX170" fmla="*/ 1017399 w 3024845"/>
                <a:gd name="connsiteY170" fmla="*/ 172942 h 834218"/>
                <a:gd name="connsiteX171" fmla="*/ 1039693 w 3024845"/>
                <a:gd name="connsiteY171" fmla="*/ 172942 h 834218"/>
                <a:gd name="connsiteX172" fmla="*/ 1039693 w 3024845"/>
                <a:gd name="connsiteY172" fmla="*/ 171861 h 834218"/>
                <a:gd name="connsiteX173" fmla="*/ 1039693 w 3024845"/>
                <a:gd name="connsiteY173" fmla="*/ 164295 h 834218"/>
                <a:gd name="connsiteX174" fmla="*/ 1041466 w 3024845"/>
                <a:gd name="connsiteY174" fmla="*/ 164295 h 834218"/>
                <a:gd name="connsiteX175" fmla="*/ 1053880 w 3024845"/>
                <a:gd name="connsiteY175" fmla="*/ 164295 h 834218"/>
                <a:gd name="connsiteX176" fmla="*/ 1053880 w 3024845"/>
                <a:gd name="connsiteY176" fmla="*/ 165376 h 834218"/>
                <a:gd name="connsiteX177" fmla="*/ 1053880 w 3024845"/>
                <a:gd name="connsiteY177" fmla="*/ 172942 h 834218"/>
                <a:gd name="connsiteX178" fmla="*/ 1054640 w 3024845"/>
                <a:gd name="connsiteY178" fmla="*/ 172942 h 834218"/>
                <a:gd name="connsiteX179" fmla="*/ 1059960 w 3024845"/>
                <a:gd name="connsiteY179" fmla="*/ 172942 h 834218"/>
                <a:gd name="connsiteX180" fmla="*/ 1070093 w 3024845"/>
                <a:gd name="connsiteY180" fmla="*/ 168618 h 834218"/>
                <a:gd name="connsiteX181" fmla="*/ 1074146 w 3024845"/>
                <a:gd name="connsiteY181" fmla="*/ 171861 h 834218"/>
                <a:gd name="connsiteX182" fmla="*/ 1074146 w 3024845"/>
                <a:gd name="connsiteY182" fmla="*/ 164295 h 834218"/>
                <a:gd name="connsiteX183" fmla="*/ 1076426 w 3024845"/>
                <a:gd name="connsiteY183" fmla="*/ 164295 h 834218"/>
                <a:gd name="connsiteX184" fmla="*/ 1092387 w 3024845"/>
                <a:gd name="connsiteY184" fmla="*/ 164295 h 834218"/>
                <a:gd name="connsiteX185" fmla="*/ 1092387 w 3024845"/>
                <a:gd name="connsiteY185" fmla="*/ 165376 h 834218"/>
                <a:gd name="connsiteX186" fmla="*/ 1092387 w 3024845"/>
                <a:gd name="connsiteY186" fmla="*/ 172942 h 834218"/>
                <a:gd name="connsiteX187" fmla="*/ 1122787 w 3024845"/>
                <a:gd name="connsiteY187" fmla="*/ 172942 h 834218"/>
                <a:gd name="connsiteX188" fmla="*/ 1122787 w 3024845"/>
                <a:gd name="connsiteY188" fmla="*/ 174563 h 834218"/>
                <a:gd name="connsiteX189" fmla="*/ 1122787 w 3024845"/>
                <a:gd name="connsiteY189" fmla="*/ 185913 h 834218"/>
                <a:gd name="connsiteX190" fmla="*/ 1149134 w 3024845"/>
                <a:gd name="connsiteY190" fmla="*/ 185913 h 834218"/>
                <a:gd name="connsiteX191" fmla="*/ 1149134 w 3024845"/>
                <a:gd name="connsiteY191" fmla="*/ 216177 h 834218"/>
                <a:gd name="connsiteX192" fmla="*/ 1149894 w 3024845"/>
                <a:gd name="connsiteY192" fmla="*/ 216177 h 834218"/>
                <a:gd name="connsiteX193" fmla="*/ 1155214 w 3024845"/>
                <a:gd name="connsiteY193" fmla="*/ 216177 h 834218"/>
                <a:gd name="connsiteX194" fmla="*/ 1155214 w 3024845"/>
                <a:gd name="connsiteY194" fmla="*/ 217258 h 834218"/>
                <a:gd name="connsiteX195" fmla="*/ 1155214 w 3024845"/>
                <a:gd name="connsiteY195" fmla="*/ 224825 h 834218"/>
                <a:gd name="connsiteX196" fmla="*/ 1159268 w 3024845"/>
                <a:gd name="connsiteY196" fmla="*/ 255089 h 834218"/>
                <a:gd name="connsiteX197" fmla="*/ 1160028 w 3024845"/>
                <a:gd name="connsiteY197" fmla="*/ 255089 h 834218"/>
                <a:gd name="connsiteX198" fmla="*/ 1165348 w 3024845"/>
                <a:gd name="connsiteY198" fmla="*/ 255089 h 834218"/>
                <a:gd name="connsiteX199" fmla="*/ 1165348 w 3024845"/>
                <a:gd name="connsiteY199" fmla="*/ 255900 h 834218"/>
                <a:gd name="connsiteX200" fmla="*/ 1165348 w 3024845"/>
                <a:gd name="connsiteY200" fmla="*/ 261575 h 834218"/>
                <a:gd name="connsiteX201" fmla="*/ 1166361 w 3024845"/>
                <a:gd name="connsiteY201" fmla="*/ 261575 h 834218"/>
                <a:gd name="connsiteX202" fmla="*/ 1173454 w 3024845"/>
                <a:gd name="connsiteY202" fmla="*/ 261575 h 834218"/>
                <a:gd name="connsiteX203" fmla="*/ 1173454 w 3024845"/>
                <a:gd name="connsiteY203" fmla="*/ 291840 h 834218"/>
                <a:gd name="connsiteX204" fmla="*/ 1175481 w 3024845"/>
                <a:gd name="connsiteY204" fmla="*/ 291840 h 834218"/>
                <a:gd name="connsiteX205" fmla="*/ 1189668 w 3024845"/>
                <a:gd name="connsiteY205" fmla="*/ 291840 h 834218"/>
                <a:gd name="connsiteX206" fmla="*/ 1189668 w 3024845"/>
                <a:gd name="connsiteY206" fmla="*/ 315619 h 834218"/>
                <a:gd name="connsiteX207" fmla="*/ 1191695 w 3024845"/>
                <a:gd name="connsiteY207" fmla="*/ 317240 h 834218"/>
                <a:gd name="connsiteX208" fmla="*/ 1191695 w 3024845"/>
                <a:gd name="connsiteY208" fmla="*/ 328590 h 834218"/>
                <a:gd name="connsiteX209" fmla="*/ 1192455 w 3024845"/>
                <a:gd name="connsiteY209" fmla="*/ 328590 h 834218"/>
                <a:gd name="connsiteX210" fmla="*/ 1197775 w 3024845"/>
                <a:gd name="connsiteY210" fmla="*/ 328590 h 834218"/>
                <a:gd name="connsiteX211" fmla="*/ 1197775 w 3024845"/>
                <a:gd name="connsiteY211" fmla="*/ 352369 h 834218"/>
                <a:gd name="connsiteX212" fmla="*/ 1199041 w 3024845"/>
                <a:gd name="connsiteY212" fmla="*/ 352369 h 834218"/>
                <a:gd name="connsiteX213" fmla="*/ 1207908 w 3024845"/>
                <a:gd name="connsiteY213" fmla="*/ 352369 h 834218"/>
                <a:gd name="connsiteX214" fmla="*/ 1209935 w 3024845"/>
                <a:gd name="connsiteY214" fmla="*/ 356423 h 834218"/>
                <a:gd name="connsiteX215" fmla="*/ 1209935 w 3024845"/>
                <a:gd name="connsiteY215" fmla="*/ 369664 h 834218"/>
                <a:gd name="connsiteX216" fmla="*/ 1211455 w 3024845"/>
                <a:gd name="connsiteY216" fmla="*/ 367772 h 834218"/>
                <a:gd name="connsiteX217" fmla="*/ 1222095 w 3024845"/>
                <a:gd name="connsiteY217" fmla="*/ 354531 h 834218"/>
                <a:gd name="connsiteX218" fmla="*/ 1250469 w 3024845"/>
                <a:gd name="connsiteY218" fmla="*/ 354531 h 834218"/>
                <a:gd name="connsiteX219" fmla="*/ 1250469 w 3024845"/>
                <a:gd name="connsiteY219" fmla="*/ 441002 h 834218"/>
                <a:gd name="connsiteX220" fmla="*/ 1251229 w 3024845"/>
                <a:gd name="connsiteY220" fmla="*/ 441002 h 834218"/>
                <a:gd name="connsiteX221" fmla="*/ 1256549 w 3024845"/>
                <a:gd name="connsiteY221" fmla="*/ 441002 h 834218"/>
                <a:gd name="connsiteX222" fmla="*/ 1257309 w 3024845"/>
                <a:gd name="connsiteY222" fmla="*/ 439651 h 834218"/>
                <a:gd name="connsiteX223" fmla="*/ 1262629 w 3024845"/>
                <a:gd name="connsiteY223" fmla="*/ 430193 h 834218"/>
                <a:gd name="connsiteX224" fmla="*/ 1262629 w 3024845"/>
                <a:gd name="connsiteY224" fmla="*/ 432085 h 834218"/>
                <a:gd name="connsiteX225" fmla="*/ 1262629 w 3024845"/>
                <a:gd name="connsiteY225" fmla="*/ 445326 h 834218"/>
                <a:gd name="connsiteX226" fmla="*/ 1266682 w 3024845"/>
                <a:gd name="connsiteY226" fmla="*/ 399929 h 834218"/>
                <a:gd name="connsiteX227" fmla="*/ 1267442 w 3024845"/>
                <a:gd name="connsiteY227" fmla="*/ 399929 h 834218"/>
                <a:gd name="connsiteX228" fmla="*/ 1272762 w 3024845"/>
                <a:gd name="connsiteY228" fmla="*/ 399929 h 834218"/>
                <a:gd name="connsiteX229" fmla="*/ 1272762 w 3024845"/>
                <a:gd name="connsiteY229" fmla="*/ 335075 h 834218"/>
                <a:gd name="connsiteX230" fmla="*/ 1273776 w 3024845"/>
                <a:gd name="connsiteY230" fmla="*/ 335075 h 834218"/>
                <a:gd name="connsiteX231" fmla="*/ 1280869 w 3024845"/>
                <a:gd name="connsiteY231" fmla="*/ 335075 h 834218"/>
                <a:gd name="connsiteX232" fmla="*/ 1293029 w 3024845"/>
                <a:gd name="connsiteY232" fmla="*/ 291840 h 834218"/>
                <a:gd name="connsiteX233" fmla="*/ 1294296 w 3024845"/>
                <a:gd name="connsiteY233" fmla="*/ 291840 h 834218"/>
                <a:gd name="connsiteX234" fmla="*/ 1303163 w 3024845"/>
                <a:gd name="connsiteY234" fmla="*/ 291840 h 834218"/>
                <a:gd name="connsiteX235" fmla="*/ 1313296 w 3024845"/>
                <a:gd name="connsiteY235" fmla="*/ 335075 h 834218"/>
                <a:gd name="connsiteX236" fmla="*/ 1314309 w 3024845"/>
                <a:gd name="connsiteY236" fmla="*/ 335075 h 834218"/>
                <a:gd name="connsiteX237" fmla="*/ 1321403 w 3024845"/>
                <a:gd name="connsiteY237" fmla="*/ 335075 h 834218"/>
                <a:gd name="connsiteX238" fmla="*/ 1321403 w 3024845"/>
                <a:gd name="connsiteY238" fmla="*/ 373987 h 834218"/>
                <a:gd name="connsiteX239" fmla="*/ 1323176 w 3024845"/>
                <a:gd name="connsiteY239" fmla="*/ 373987 h 834218"/>
                <a:gd name="connsiteX240" fmla="*/ 1335590 w 3024845"/>
                <a:gd name="connsiteY240" fmla="*/ 373987 h 834218"/>
                <a:gd name="connsiteX241" fmla="*/ 1335590 w 3024845"/>
                <a:gd name="connsiteY241" fmla="*/ 376149 h 834218"/>
                <a:gd name="connsiteX242" fmla="*/ 1335590 w 3024845"/>
                <a:gd name="connsiteY242" fmla="*/ 391281 h 834218"/>
                <a:gd name="connsiteX243" fmla="*/ 1339643 w 3024845"/>
                <a:gd name="connsiteY243" fmla="*/ 389120 h 834218"/>
                <a:gd name="connsiteX244" fmla="*/ 1339643 w 3024845"/>
                <a:gd name="connsiteY244" fmla="*/ 373987 h 834218"/>
                <a:gd name="connsiteX245" fmla="*/ 1341163 w 3024845"/>
                <a:gd name="connsiteY245" fmla="*/ 373987 h 834218"/>
                <a:gd name="connsiteX246" fmla="*/ 1351803 w 3024845"/>
                <a:gd name="connsiteY246" fmla="*/ 373987 h 834218"/>
                <a:gd name="connsiteX247" fmla="*/ 1351803 w 3024845"/>
                <a:gd name="connsiteY247" fmla="*/ 375608 h 834218"/>
                <a:gd name="connsiteX248" fmla="*/ 1351803 w 3024845"/>
                <a:gd name="connsiteY248" fmla="*/ 386958 h 834218"/>
                <a:gd name="connsiteX249" fmla="*/ 1382204 w 3024845"/>
                <a:gd name="connsiteY249" fmla="*/ 386958 h 834218"/>
                <a:gd name="connsiteX250" fmla="*/ 1382204 w 3024845"/>
                <a:gd name="connsiteY250" fmla="*/ 350208 h 834218"/>
                <a:gd name="connsiteX251" fmla="*/ 1383470 w 3024845"/>
                <a:gd name="connsiteY251" fmla="*/ 350208 h 834218"/>
                <a:gd name="connsiteX252" fmla="*/ 1392337 w 3024845"/>
                <a:gd name="connsiteY252" fmla="*/ 350208 h 834218"/>
                <a:gd name="connsiteX253" fmla="*/ 1392337 w 3024845"/>
                <a:gd name="connsiteY253" fmla="*/ 371825 h 834218"/>
                <a:gd name="connsiteX254" fmla="*/ 1394364 w 3024845"/>
                <a:gd name="connsiteY254" fmla="*/ 339399 h 834218"/>
                <a:gd name="connsiteX255" fmla="*/ 1416657 w 3024845"/>
                <a:gd name="connsiteY255" fmla="*/ 339399 h 834218"/>
                <a:gd name="connsiteX256" fmla="*/ 1416657 w 3024845"/>
                <a:gd name="connsiteY256" fmla="*/ 337777 h 834218"/>
                <a:gd name="connsiteX257" fmla="*/ 1416657 w 3024845"/>
                <a:gd name="connsiteY257" fmla="*/ 326428 h 834218"/>
                <a:gd name="connsiteX258" fmla="*/ 1417417 w 3024845"/>
                <a:gd name="connsiteY258" fmla="*/ 326428 h 834218"/>
                <a:gd name="connsiteX259" fmla="*/ 1422737 w 3024845"/>
                <a:gd name="connsiteY259" fmla="*/ 326428 h 834218"/>
                <a:gd name="connsiteX260" fmla="*/ 1422737 w 3024845"/>
                <a:gd name="connsiteY260" fmla="*/ 324537 h 834218"/>
                <a:gd name="connsiteX261" fmla="*/ 1422737 w 3024845"/>
                <a:gd name="connsiteY261" fmla="*/ 311296 h 834218"/>
                <a:gd name="connsiteX262" fmla="*/ 1426791 w 3024845"/>
                <a:gd name="connsiteY262" fmla="*/ 317781 h 834218"/>
                <a:gd name="connsiteX263" fmla="*/ 1429071 w 3024845"/>
                <a:gd name="connsiteY263" fmla="*/ 317781 h 834218"/>
                <a:gd name="connsiteX264" fmla="*/ 1445031 w 3024845"/>
                <a:gd name="connsiteY264" fmla="*/ 317781 h 834218"/>
                <a:gd name="connsiteX265" fmla="*/ 1445031 w 3024845"/>
                <a:gd name="connsiteY265" fmla="*/ 316970 h 834218"/>
                <a:gd name="connsiteX266" fmla="*/ 1445031 w 3024845"/>
                <a:gd name="connsiteY266" fmla="*/ 311296 h 834218"/>
                <a:gd name="connsiteX267" fmla="*/ 1445791 w 3024845"/>
                <a:gd name="connsiteY267" fmla="*/ 311296 h 834218"/>
                <a:gd name="connsiteX268" fmla="*/ 1451111 w 3024845"/>
                <a:gd name="connsiteY268" fmla="*/ 311296 h 834218"/>
                <a:gd name="connsiteX269" fmla="*/ 1451111 w 3024845"/>
                <a:gd name="connsiteY269" fmla="*/ 312647 h 834218"/>
                <a:gd name="connsiteX270" fmla="*/ 1451111 w 3024845"/>
                <a:gd name="connsiteY270" fmla="*/ 322105 h 834218"/>
                <a:gd name="connsiteX271" fmla="*/ 1489618 w 3024845"/>
                <a:gd name="connsiteY271" fmla="*/ 322105 h 834218"/>
                <a:gd name="connsiteX272" fmla="*/ 1489618 w 3024845"/>
                <a:gd name="connsiteY272" fmla="*/ 460458 h 834218"/>
                <a:gd name="connsiteX273" fmla="*/ 1491138 w 3024845"/>
                <a:gd name="connsiteY273" fmla="*/ 460458 h 834218"/>
                <a:gd name="connsiteX274" fmla="*/ 1501778 w 3024845"/>
                <a:gd name="connsiteY274" fmla="*/ 460458 h 834218"/>
                <a:gd name="connsiteX275" fmla="*/ 1501778 w 3024845"/>
                <a:gd name="connsiteY275" fmla="*/ 447488 h 834218"/>
                <a:gd name="connsiteX276" fmla="*/ 1505832 w 3024845"/>
                <a:gd name="connsiteY276" fmla="*/ 447488 h 834218"/>
                <a:gd name="connsiteX277" fmla="*/ 1505832 w 3024845"/>
                <a:gd name="connsiteY277" fmla="*/ 460458 h 834218"/>
                <a:gd name="connsiteX278" fmla="*/ 1536232 w 3024845"/>
                <a:gd name="connsiteY278" fmla="*/ 460458 h 834218"/>
                <a:gd name="connsiteX279" fmla="*/ 1536232 w 3024845"/>
                <a:gd name="connsiteY279" fmla="*/ 430193 h 834218"/>
                <a:gd name="connsiteX280" fmla="*/ 1548392 w 3024845"/>
                <a:gd name="connsiteY280" fmla="*/ 430193 h 834218"/>
                <a:gd name="connsiteX281" fmla="*/ 1560552 w 3024845"/>
                <a:gd name="connsiteY281" fmla="*/ 428032 h 834218"/>
                <a:gd name="connsiteX282" fmla="*/ 1564606 w 3024845"/>
                <a:gd name="connsiteY282" fmla="*/ 430193 h 834218"/>
                <a:gd name="connsiteX283" fmla="*/ 1574739 w 3024845"/>
                <a:gd name="connsiteY283" fmla="*/ 430193 h 834218"/>
                <a:gd name="connsiteX284" fmla="*/ 1574739 w 3024845"/>
                <a:gd name="connsiteY284" fmla="*/ 460458 h 834218"/>
                <a:gd name="connsiteX285" fmla="*/ 1582846 w 3024845"/>
                <a:gd name="connsiteY285" fmla="*/ 460458 h 834218"/>
                <a:gd name="connsiteX286" fmla="*/ 1582846 w 3024845"/>
                <a:gd name="connsiteY286" fmla="*/ 477753 h 834218"/>
                <a:gd name="connsiteX287" fmla="*/ 1592182 w 3024845"/>
                <a:gd name="connsiteY287" fmla="*/ 478658 h 834218"/>
                <a:gd name="connsiteX288" fmla="*/ 1605140 w 3024845"/>
                <a:gd name="connsiteY288" fmla="*/ 478658 h 834218"/>
                <a:gd name="connsiteX289" fmla="*/ 1605140 w 3024845"/>
                <a:gd name="connsiteY289" fmla="*/ 462620 h 834218"/>
                <a:gd name="connsiteX290" fmla="*/ 1673096 w 3024845"/>
                <a:gd name="connsiteY290" fmla="*/ 462620 h 834218"/>
                <a:gd name="connsiteX291" fmla="*/ 1673096 w 3024845"/>
                <a:gd name="connsiteY291" fmla="*/ 377367 h 834218"/>
                <a:gd name="connsiteX292" fmla="*/ 1745104 w 3024845"/>
                <a:gd name="connsiteY292" fmla="*/ 377367 h 834218"/>
                <a:gd name="connsiteX293" fmla="*/ 1745104 w 3024845"/>
                <a:gd name="connsiteY293" fmla="*/ 456135 h 834218"/>
                <a:gd name="connsiteX294" fmla="*/ 1747008 w 3024845"/>
                <a:gd name="connsiteY294" fmla="*/ 456135 h 834218"/>
                <a:gd name="connsiteX295" fmla="*/ 1748250 w 3024845"/>
                <a:gd name="connsiteY295" fmla="*/ 478658 h 834218"/>
                <a:gd name="connsiteX296" fmla="*/ 1757926 w 3024845"/>
                <a:gd name="connsiteY296" fmla="*/ 478658 h 834218"/>
                <a:gd name="connsiteX297" fmla="*/ 1759168 w 3024845"/>
                <a:gd name="connsiteY297" fmla="*/ 456135 h 834218"/>
                <a:gd name="connsiteX298" fmla="*/ 1765248 w 3024845"/>
                <a:gd name="connsiteY298" fmla="*/ 456135 h 834218"/>
                <a:gd name="connsiteX299" fmla="*/ 1766490 w 3024845"/>
                <a:gd name="connsiteY299" fmla="*/ 478658 h 834218"/>
                <a:gd name="connsiteX300" fmla="*/ 1817112 w 3024845"/>
                <a:gd name="connsiteY300" fmla="*/ 478658 h 834218"/>
                <a:gd name="connsiteX301" fmla="*/ 1817112 w 3024845"/>
                <a:gd name="connsiteY301" fmla="*/ 315630 h 834218"/>
                <a:gd name="connsiteX302" fmla="*/ 2014439 w 3024845"/>
                <a:gd name="connsiteY302" fmla="*/ 315630 h 834218"/>
                <a:gd name="connsiteX303" fmla="*/ 2014439 w 3024845"/>
                <a:gd name="connsiteY303" fmla="*/ 478658 h 834218"/>
                <a:gd name="connsiteX304" fmla="*/ 2033136 w 3024845"/>
                <a:gd name="connsiteY304" fmla="*/ 478658 h 834218"/>
                <a:gd name="connsiteX305" fmla="*/ 2033136 w 3024845"/>
                <a:gd name="connsiteY305" fmla="*/ 395965 h 834218"/>
                <a:gd name="connsiteX306" fmla="*/ 2128256 w 3024845"/>
                <a:gd name="connsiteY306" fmla="*/ 395965 h 834218"/>
                <a:gd name="connsiteX307" fmla="*/ 2180720 w 3024845"/>
                <a:gd name="connsiteY307" fmla="*/ 330752 h 834218"/>
                <a:gd name="connsiteX308" fmla="*/ 2245574 w 3024845"/>
                <a:gd name="connsiteY308" fmla="*/ 330752 h 834218"/>
                <a:gd name="connsiteX309" fmla="*/ 2245574 w 3024845"/>
                <a:gd name="connsiteY309" fmla="*/ 406414 h 834218"/>
                <a:gd name="connsiteX310" fmla="*/ 2253681 w 3024845"/>
                <a:gd name="connsiteY310" fmla="*/ 406414 h 834218"/>
                <a:gd name="connsiteX311" fmla="*/ 2255708 w 3024845"/>
                <a:gd name="connsiteY311" fmla="*/ 399929 h 834218"/>
                <a:gd name="connsiteX312" fmla="*/ 2261788 w 3024845"/>
                <a:gd name="connsiteY312" fmla="*/ 399929 h 834218"/>
                <a:gd name="connsiteX313" fmla="*/ 2263815 w 3024845"/>
                <a:gd name="connsiteY313" fmla="*/ 408576 h 834218"/>
                <a:gd name="connsiteX314" fmla="*/ 2275975 w 3024845"/>
                <a:gd name="connsiteY314" fmla="*/ 408576 h 834218"/>
                <a:gd name="connsiteX315" fmla="*/ 2275975 w 3024845"/>
                <a:gd name="connsiteY315" fmla="*/ 402090 h 834218"/>
                <a:gd name="connsiteX316" fmla="*/ 2298268 w 3024845"/>
                <a:gd name="connsiteY316" fmla="*/ 402090 h 834218"/>
                <a:gd name="connsiteX317" fmla="*/ 2298268 w 3024845"/>
                <a:gd name="connsiteY317" fmla="*/ 408576 h 834218"/>
                <a:gd name="connsiteX318" fmla="*/ 2318535 w 3024845"/>
                <a:gd name="connsiteY318" fmla="*/ 408576 h 834218"/>
                <a:gd name="connsiteX319" fmla="*/ 2318535 w 3024845"/>
                <a:gd name="connsiteY319" fmla="*/ 453973 h 834218"/>
                <a:gd name="connsiteX320" fmla="*/ 2332722 w 3024845"/>
                <a:gd name="connsiteY320" fmla="*/ 453973 h 834218"/>
                <a:gd name="connsiteX321" fmla="*/ 2332722 w 3024845"/>
                <a:gd name="connsiteY321" fmla="*/ 441002 h 834218"/>
                <a:gd name="connsiteX322" fmla="*/ 2348936 w 3024845"/>
                <a:gd name="connsiteY322" fmla="*/ 441002 h 834218"/>
                <a:gd name="connsiteX323" fmla="*/ 2348936 w 3024845"/>
                <a:gd name="connsiteY323" fmla="*/ 261575 h 834218"/>
                <a:gd name="connsiteX324" fmla="*/ 2355016 w 3024845"/>
                <a:gd name="connsiteY324" fmla="*/ 255089 h 834218"/>
                <a:gd name="connsiteX325" fmla="*/ 2427977 w 3024845"/>
                <a:gd name="connsiteY325" fmla="*/ 255089 h 834218"/>
                <a:gd name="connsiteX326" fmla="*/ 2427977 w 3024845"/>
                <a:gd name="connsiteY326" fmla="*/ 263737 h 834218"/>
                <a:gd name="connsiteX327" fmla="*/ 2438110 w 3024845"/>
                <a:gd name="connsiteY327" fmla="*/ 263737 h 834218"/>
                <a:gd name="connsiteX328" fmla="*/ 2438110 w 3024845"/>
                <a:gd name="connsiteY328" fmla="*/ 378311 h 834218"/>
                <a:gd name="connsiteX329" fmla="*/ 2460404 w 3024845"/>
                <a:gd name="connsiteY329" fmla="*/ 378311 h 834218"/>
                <a:gd name="connsiteX330" fmla="*/ 2460404 w 3024845"/>
                <a:gd name="connsiteY330" fmla="*/ 311296 h 834218"/>
                <a:gd name="connsiteX331" fmla="*/ 2486751 w 3024845"/>
                <a:gd name="connsiteY331" fmla="*/ 311296 h 834218"/>
                <a:gd name="connsiteX332" fmla="*/ 2490804 w 3024845"/>
                <a:gd name="connsiteY332" fmla="*/ 306972 h 834218"/>
                <a:gd name="connsiteX333" fmla="*/ 2498911 w 3024845"/>
                <a:gd name="connsiteY333" fmla="*/ 306972 h 834218"/>
                <a:gd name="connsiteX334" fmla="*/ 2502964 w 3024845"/>
                <a:gd name="connsiteY334" fmla="*/ 311296 h 834218"/>
                <a:gd name="connsiteX335" fmla="*/ 2525258 w 3024845"/>
                <a:gd name="connsiteY335" fmla="*/ 311296 h 834218"/>
                <a:gd name="connsiteX336" fmla="*/ 2525258 w 3024845"/>
                <a:gd name="connsiteY336" fmla="*/ 194560 h 834218"/>
                <a:gd name="connsiteX337" fmla="*/ 2582005 w 3024845"/>
                <a:gd name="connsiteY337" fmla="*/ 183751 h 834218"/>
                <a:gd name="connsiteX338" fmla="*/ 2582005 w 3024845"/>
                <a:gd name="connsiteY338" fmla="*/ 184832 h 834218"/>
                <a:gd name="connsiteX339" fmla="*/ 2582005 w 3024845"/>
                <a:gd name="connsiteY339" fmla="*/ 192398 h 834218"/>
                <a:gd name="connsiteX340" fmla="*/ 2608352 w 3024845"/>
                <a:gd name="connsiteY340" fmla="*/ 192398 h 834218"/>
                <a:gd name="connsiteX341" fmla="*/ 2608352 w 3024845"/>
                <a:gd name="connsiteY341" fmla="*/ 447488 h 834218"/>
                <a:gd name="connsiteX342" fmla="*/ 2630646 w 3024845"/>
                <a:gd name="connsiteY342" fmla="*/ 447488 h 834218"/>
                <a:gd name="connsiteX343" fmla="*/ 2630646 w 3024845"/>
                <a:gd name="connsiteY343" fmla="*/ 443164 h 834218"/>
                <a:gd name="connsiteX344" fmla="*/ 2642806 w 3024845"/>
                <a:gd name="connsiteY344" fmla="*/ 443164 h 834218"/>
                <a:gd name="connsiteX345" fmla="*/ 2642806 w 3024845"/>
                <a:gd name="connsiteY345" fmla="*/ 447488 h 834218"/>
                <a:gd name="connsiteX346" fmla="*/ 2667126 w 3024845"/>
                <a:gd name="connsiteY346" fmla="*/ 447488 h 834218"/>
                <a:gd name="connsiteX347" fmla="*/ 2667126 w 3024845"/>
                <a:gd name="connsiteY347" fmla="*/ 434517 h 834218"/>
                <a:gd name="connsiteX348" fmla="*/ 2695500 w 3024845"/>
                <a:gd name="connsiteY348" fmla="*/ 434517 h 834218"/>
                <a:gd name="connsiteX349" fmla="*/ 2707660 w 3024845"/>
                <a:gd name="connsiteY349" fmla="*/ 430193 h 834218"/>
                <a:gd name="connsiteX350" fmla="*/ 2727927 w 3024845"/>
                <a:gd name="connsiteY350" fmla="*/ 434517 h 834218"/>
                <a:gd name="connsiteX351" fmla="*/ 2727927 w 3024845"/>
                <a:gd name="connsiteY351" fmla="*/ 417223 h 834218"/>
                <a:gd name="connsiteX352" fmla="*/ 2736034 w 3024845"/>
                <a:gd name="connsiteY352" fmla="*/ 417223 h 834218"/>
                <a:gd name="connsiteX353" fmla="*/ 2736034 w 3024845"/>
                <a:gd name="connsiteY353" fmla="*/ 404252 h 834218"/>
                <a:gd name="connsiteX354" fmla="*/ 2792781 w 3024845"/>
                <a:gd name="connsiteY354" fmla="*/ 404252 h 834218"/>
                <a:gd name="connsiteX355" fmla="*/ 2792781 w 3024845"/>
                <a:gd name="connsiteY355" fmla="*/ 373987 h 834218"/>
                <a:gd name="connsiteX356" fmla="*/ 2811021 w 3024845"/>
                <a:gd name="connsiteY356" fmla="*/ 373987 h 834218"/>
                <a:gd name="connsiteX357" fmla="*/ 2811021 w 3024845"/>
                <a:gd name="connsiteY357" fmla="*/ 367502 h 834218"/>
                <a:gd name="connsiteX358" fmla="*/ 2823181 w 3024845"/>
                <a:gd name="connsiteY358" fmla="*/ 367502 h 834218"/>
                <a:gd name="connsiteX359" fmla="*/ 2823181 w 3024845"/>
                <a:gd name="connsiteY359" fmla="*/ 373987 h 834218"/>
                <a:gd name="connsiteX360" fmla="*/ 2839395 w 3024845"/>
                <a:gd name="connsiteY360" fmla="*/ 373987 h 834218"/>
                <a:gd name="connsiteX361" fmla="*/ 2839395 w 3024845"/>
                <a:gd name="connsiteY361" fmla="*/ 423708 h 834218"/>
                <a:gd name="connsiteX362" fmla="*/ 2871822 w 3024845"/>
                <a:gd name="connsiteY362" fmla="*/ 423708 h 834218"/>
                <a:gd name="connsiteX363" fmla="*/ 2871822 w 3024845"/>
                <a:gd name="connsiteY363" fmla="*/ 397767 h 834218"/>
                <a:gd name="connsiteX364" fmla="*/ 2910329 w 3024845"/>
                <a:gd name="connsiteY364" fmla="*/ 397767 h 834218"/>
                <a:gd name="connsiteX365" fmla="*/ 2910329 w 3024845"/>
                <a:gd name="connsiteY365" fmla="*/ 367502 h 834218"/>
                <a:gd name="connsiteX366" fmla="*/ 2958970 w 3024845"/>
                <a:gd name="connsiteY366" fmla="*/ 367502 h 834218"/>
                <a:gd name="connsiteX367" fmla="*/ 2958970 w 3024845"/>
                <a:gd name="connsiteY367" fmla="*/ 478658 h 834218"/>
                <a:gd name="connsiteX368" fmla="*/ 2958970 w 3024845"/>
                <a:gd name="connsiteY368" fmla="*/ 492437 h 834218"/>
                <a:gd name="connsiteX369" fmla="*/ 3024845 w 3024845"/>
                <a:gd name="connsiteY369" fmla="*/ 492437 h 834218"/>
                <a:gd name="connsiteX370" fmla="*/ 3024845 w 3024845"/>
                <a:gd name="connsiteY370" fmla="*/ 834218 h 834218"/>
                <a:gd name="connsiteX371" fmla="*/ 2054 w 3024845"/>
                <a:gd name="connsiteY371" fmla="*/ 831885 h 834218"/>
                <a:gd name="connsiteX372" fmla="*/ 0 w 3024845"/>
                <a:gd name="connsiteY372" fmla="*/ 397767 h 834218"/>
                <a:gd name="connsiteX373" fmla="*/ 20267 w 3024845"/>
                <a:gd name="connsiteY373" fmla="*/ 397767 h 834218"/>
                <a:gd name="connsiteX374" fmla="*/ 20774 w 3024845"/>
                <a:gd name="connsiteY374" fmla="*/ 396686 h 834218"/>
                <a:gd name="connsiteX375" fmla="*/ 24320 w 3024845"/>
                <a:gd name="connsiteY375" fmla="*/ 389120 h 834218"/>
                <a:gd name="connsiteX376" fmla="*/ 26094 w 3024845"/>
                <a:gd name="connsiteY376" fmla="*/ 389390 h 834218"/>
                <a:gd name="connsiteX377" fmla="*/ 38507 w 3024845"/>
                <a:gd name="connsiteY377" fmla="*/ 391281 h 834218"/>
                <a:gd name="connsiteX378" fmla="*/ 39014 w 3024845"/>
                <a:gd name="connsiteY378" fmla="*/ 392633 h 834218"/>
                <a:gd name="connsiteX379" fmla="*/ 42560 w 3024845"/>
                <a:gd name="connsiteY379" fmla="*/ 402090 h 834218"/>
                <a:gd name="connsiteX380" fmla="*/ 68907 w 3024845"/>
                <a:gd name="connsiteY380" fmla="*/ 404252 h 834218"/>
                <a:gd name="connsiteX381" fmla="*/ 68907 w 3024845"/>
                <a:gd name="connsiteY381" fmla="*/ 281031 h 834218"/>
                <a:gd name="connsiteX382" fmla="*/ 70934 w 3024845"/>
                <a:gd name="connsiteY382" fmla="*/ 281031 h 834218"/>
                <a:gd name="connsiteX383" fmla="*/ 85121 w 3024845"/>
                <a:gd name="connsiteY383" fmla="*/ 281031 h 834218"/>
                <a:gd name="connsiteX384" fmla="*/ 85121 w 3024845"/>
                <a:gd name="connsiteY384" fmla="*/ 144839 h 834218"/>
                <a:gd name="connsiteX385" fmla="*/ 86894 w 3024845"/>
                <a:gd name="connsiteY385" fmla="*/ 144839 h 834218"/>
                <a:gd name="connsiteX386" fmla="*/ 99308 w 3024845"/>
                <a:gd name="connsiteY386" fmla="*/ 144839 h 834218"/>
                <a:gd name="connsiteX387" fmla="*/ 99308 w 3024845"/>
                <a:gd name="connsiteY387" fmla="*/ 30265 h 834218"/>
                <a:gd name="connsiteX388" fmla="*/ 103361 w 3024845"/>
                <a:gd name="connsiteY388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02669 w 3024845"/>
                <a:gd name="connsiteY2" fmla="*/ 0 h 834218"/>
                <a:gd name="connsiteX3" fmla="*/ 220909 w 3024845"/>
                <a:gd name="connsiteY3" fmla="*/ 144839 h 834218"/>
                <a:gd name="connsiteX4" fmla="*/ 223189 w 3024845"/>
                <a:gd name="connsiteY4" fmla="*/ 144839 h 834218"/>
                <a:gd name="connsiteX5" fmla="*/ 239150 w 3024845"/>
                <a:gd name="connsiteY5" fmla="*/ 144839 h 834218"/>
                <a:gd name="connsiteX6" fmla="*/ 239150 w 3024845"/>
                <a:gd name="connsiteY6" fmla="*/ 285354 h 834218"/>
                <a:gd name="connsiteX7" fmla="*/ 240670 w 3024845"/>
                <a:gd name="connsiteY7" fmla="*/ 285084 h 834218"/>
                <a:gd name="connsiteX8" fmla="*/ 251310 w 3024845"/>
                <a:gd name="connsiteY8" fmla="*/ 283193 h 834218"/>
                <a:gd name="connsiteX9" fmla="*/ 249283 w 3024845"/>
                <a:gd name="connsiteY9" fmla="*/ 371825 h 834218"/>
                <a:gd name="connsiteX10" fmla="*/ 250803 w 3024845"/>
                <a:gd name="connsiteY10" fmla="*/ 372096 h 834218"/>
                <a:gd name="connsiteX11" fmla="*/ 261443 w 3024845"/>
                <a:gd name="connsiteY11" fmla="*/ 373987 h 834218"/>
                <a:gd name="connsiteX12" fmla="*/ 261696 w 3024845"/>
                <a:gd name="connsiteY12" fmla="*/ 374798 h 834218"/>
                <a:gd name="connsiteX13" fmla="*/ 263470 w 3024845"/>
                <a:gd name="connsiteY13" fmla="*/ 380473 h 834218"/>
                <a:gd name="connsiteX14" fmla="*/ 264230 w 3024845"/>
                <a:gd name="connsiteY14" fmla="*/ 378041 h 834218"/>
                <a:gd name="connsiteX15" fmla="*/ 269550 w 3024845"/>
                <a:gd name="connsiteY15" fmla="*/ 361017 h 834218"/>
                <a:gd name="connsiteX16" fmla="*/ 271323 w 3024845"/>
                <a:gd name="connsiteY16" fmla="*/ 361017 h 834218"/>
                <a:gd name="connsiteX17" fmla="*/ 283737 w 3024845"/>
                <a:gd name="connsiteY17" fmla="*/ 361017 h 834218"/>
                <a:gd name="connsiteX18" fmla="*/ 283737 w 3024845"/>
                <a:gd name="connsiteY18" fmla="*/ 393443 h 834218"/>
                <a:gd name="connsiteX19" fmla="*/ 284750 w 3024845"/>
                <a:gd name="connsiteY19" fmla="*/ 393984 h 834218"/>
                <a:gd name="connsiteX20" fmla="*/ 291844 w 3024845"/>
                <a:gd name="connsiteY20" fmla="*/ 397767 h 834218"/>
                <a:gd name="connsiteX21" fmla="*/ 291844 w 3024845"/>
                <a:gd name="connsiteY21" fmla="*/ 399118 h 834218"/>
                <a:gd name="connsiteX22" fmla="*/ 291844 w 3024845"/>
                <a:gd name="connsiteY22" fmla="*/ 408576 h 834218"/>
                <a:gd name="connsiteX23" fmla="*/ 336431 w 3024845"/>
                <a:gd name="connsiteY23" fmla="*/ 408576 h 834218"/>
                <a:gd name="connsiteX24" fmla="*/ 336431 w 3024845"/>
                <a:gd name="connsiteY24" fmla="*/ 409657 h 834218"/>
                <a:gd name="connsiteX25" fmla="*/ 336431 w 3024845"/>
                <a:gd name="connsiteY25" fmla="*/ 417223 h 834218"/>
                <a:gd name="connsiteX26" fmla="*/ 338457 w 3024845"/>
                <a:gd name="connsiteY26" fmla="*/ 417223 h 834218"/>
                <a:gd name="connsiteX27" fmla="*/ 352644 w 3024845"/>
                <a:gd name="connsiteY27" fmla="*/ 417223 h 834218"/>
                <a:gd name="connsiteX28" fmla="*/ 352644 w 3024845"/>
                <a:gd name="connsiteY28" fmla="*/ 386958 h 834218"/>
                <a:gd name="connsiteX29" fmla="*/ 397231 w 3024845"/>
                <a:gd name="connsiteY29" fmla="*/ 386958 h 834218"/>
                <a:gd name="connsiteX30" fmla="*/ 397231 w 3024845"/>
                <a:gd name="connsiteY30" fmla="*/ 385607 h 834218"/>
                <a:gd name="connsiteX31" fmla="*/ 397231 w 3024845"/>
                <a:gd name="connsiteY31" fmla="*/ 376149 h 834218"/>
                <a:gd name="connsiteX32" fmla="*/ 398245 w 3024845"/>
                <a:gd name="connsiteY32" fmla="*/ 376149 h 834218"/>
                <a:gd name="connsiteX33" fmla="*/ 405338 w 3024845"/>
                <a:gd name="connsiteY33" fmla="*/ 376149 h 834218"/>
                <a:gd name="connsiteX34" fmla="*/ 405338 w 3024845"/>
                <a:gd name="connsiteY34" fmla="*/ 374258 h 834218"/>
                <a:gd name="connsiteX35" fmla="*/ 405338 w 3024845"/>
                <a:gd name="connsiteY35" fmla="*/ 361017 h 834218"/>
                <a:gd name="connsiteX36" fmla="*/ 406098 w 3024845"/>
                <a:gd name="connsiteY36" fmla="*/ 361017 h 834218"/>
                <a:gd name="connsiteX37" fmla="*/ 411418 w 3024845"/>
                <a:gd name="connsiteY37" fmla="*/ 361017 h 834218"/>
                <a:gd name="connsiteX38" fmla="*/ 411418 w 3024845"/>
                <a:gd name="connsiteY38" fmla="*/ 359936 h 834218"/>
                <a:gd name="connsiteX39" fmla="*/ 411418 w 3024845"/>
                <a:gd name="connsiteY39" fmla="*/ 352369 h 834218"/>
                <a:gd name="connsiteX40" fmla="*/ 413445 w 3024845"/>
                <a:gd name="connsiteY40" fmla="*/ 352369 h 834218"/>
                <a:gd name="connsiteX41" fmla="*/ 427632 w 3024845"/>
                <a:gd name="connsiteY41" fmla="*/ 352369 h 834218"/>
                <a:gd name="connsiteX42" fmla="*/ 427632 w 3024845"/>
                <a:gd name="connsiteY42" fmla="*/ 353450 h 834218"/>
                <a:gd name="connsiteX43" fmla="*/ 427632 w 3024845"/>
                <a:gd name="connsiteY43" fmla="*/ 361017 h 834218"/>
                <a:gd name="connsiteX44" fmla="*/ 449925 w 3024845"/>
                <a:gd name="connsiteY44" fmla="*/ 361017 h 834218"/>
                <a:gd name="connsiteX45" fmla="*/ 449925 w 3024845"/>
                <a:gd name="connsiteY45" fmla="*/ 359125 h 834218"/>
                <a:gd name="connsiteX46" fmla="*/ 449925 w 3024845"/>
                <a:gd name="connsiteY46" fmla="*/ 345884 h 834218"/>
                <a:gd name="connsiteX47" fmla="*/ 451699 w 3024845"/>
                <a:gd name="connsiteY47" fmla="*/ 345884 h 834218"/>
                <a:gd name="connsiteX48" fmla="*/ 464112 w 3024845"/>
                <a:gd name="connsiteY48" fmla="*/ 345884 h 834218"/>
                <a:gd name="connsiteX49" fmla="*/ 464112 w 3024845"/>
                <a:gd name="connsiteY49" fmla="*/ 369664 h 834218"/>
                <a:gd name="connsiteX50" fmla="*/ 465126 w 3024845"/>
                <a:gd name="connsiteY50" fmla="*/ 369664 h 834218"/>
                <a:gd name="connsiteX51" fmla="*/ 472219 w 3024845"/>
                <a:gd name="connsiteY51" fmla="*/ 369664 h 834218"/>
                <a:gd name="connsiteX52" fmla="*/ 472219 w 3024845"/>
                <a:gd name="connsiteY52" fmla="*/ 368583 h 834218"/>
                <a:gd name="connsiteX53" fmla="*/ 472219 w 3024845"/>
                <a:gd name="connsiteY53" fmla="*/ 361017 h 834218"/>
                <a:gd name="connsiteX54" fmla="*/ 473992 w 3024845"/>
                <a:gd name="connsiteY54" fmla="*/ 361017 h 834218"/>
                <a:gd name="connsiteX55" fmla="*/ 486406 w 3024845"/>
                <a:gd name="connsiteY55" fmla="*/ 361017 h 834218"/>
                <a:gd name="connsiteX56" fmla="*/ 486406 w 3024845"/>
                <a:gd name="connsiteY56" fmla="*/ 386958 h 834218"/>
                <a:gd name="connsiteX57" fmla="*/ 488433 w 3024845"/>
                <a:gd name="connsiteY57" fmla="*/ 386958 h 834218"/>
                <a:gd name="connsiteX58" fmla="*/ 502619 w 3024845"/>
                <a:gd name="connsiteY58" fmla="*/ 386958 h 834218"/>
                <a:gd name="connsiteX59" fmla="*/ 502619 w 3024845"/>
                <a:gd name="connsiteY59" fmla="*/ 388579 h 834218"/>
                <a:gd name="connsiteX60" fmla="*/ 502619 w 3024845"/>
                <a:gd name="connsiteY60" fmla="*/ 399929 h 834218"/>
                <a:gd name="connsiteX61" fmla="*/ 503379 w 3024845"/>
                <a:gd name="connsiteY61" fmla="*/ 399929 h 834218"/>
                <a:gd name="connsiteX62" fmla="*/ 508700 w 3024845"/>
                <a:gd name="connsiteY62" fmla="*/ 399929 h 834218"/>
                <a:gd name="connsiteX63" fmla="*/ 508700 w 3024845"/>
                <a:gd name="connsiteY63" fmla="*/ 399118 h 834218"/>
                <a:gd name="connsiteX64" fmla="*/ 508700 w 3024845"/>
                <a:gd name="connsiteY64" fmla="*/ 393443 h 834218"/>
                <a:gd name="connsiteX65" fmla="*/ 539100 w 3024845"/>
                <a:gd name="connsiteY65" fmla="*/ 393443 h 834218"/>
                <a:gd name="connsiteX66" fmla="*/ 539100 w 3024845"/>
                <a:gd name="connsiteY66" fmla="*/ 417223 h 834218"/>
                <a:gd name="connsiteX67" fmla="*/ 540113 w 3024845"/>
                <a:gd name="connsiteY67" fmla="*/ 417223 h 834218"/>
                <a:gd name="connsiteX68" fmla="*/ 547207 w 3024845"/>
                <a:gd name="connsiteY68" fmla="*/ 417223 h 834218"/>
                <a:gd name="connsiteX69" fmla="*/ 547207 w 3024845"/>
                <a:gd name="connsiteY69" fmla="*/ 418304 h 834218"/>
                <a:gd name="connsiteX70" fmla="*/ 547207 w 3024845"/>
                <a:gd name="connsiteY70" fmla="*/ 425870 h 834218"/>
                <a:gd name="connsiteX71" fmla="*/ 547967 w 3024845"/>
                <a:gd name="connsiteY71" fmla="*/ 425870 h 834218"/>
                <a:gd name="connsiteX72" fmla="*/ 553287 w 3024845"/>
                <a:gd name="connsiteY72" fmla="*/ 425870 h 834218"/>
                <a:gd name="connsiteX73" fmla="*/ 553287 w 3024845"/>
                <a:gd name="connsiteY73" fmla="*/ 423708 h 834218"/>
                <a:gd name="connsiteX74" fmla="*/ 553287 w 3024845"/>
                <a:gd name="connsiteY74" fmla="*/ 408576 h 834218"/>
                <a:gd name="connsiteX75" fmla="*/ 554300 w 3024845"/>
                <a:gd name="connsiteY75" fmla="*/ 408576 h 834218"/>
                <a:gd name="connsiteX76" fmla="*/ 561394 w 3024845"/>
                <a:gd name="connsiteY76" fmla="*/ 408576 h 834218"/>
                <a:gd name="connsiteX77" fmla="*/ 561394 w 3024845"/>
                <a:gd name="connsiteY77" fmla="*/ 409657 h 834218"/>
                <a:gd name="connsiteX78" fmla="*/ 561394 w 3024845"/>
                <a:gd name="connsiteY78" fmla="*/ 417223 h 834218"/>
                <a:gd name="connsiteX79" fmla="*/ 566714 w 3024845"/>
                <a:gd name="connsiteY79" fmla="*/ 415230 h 834218"/>
                <a:gd name="connsiteX80" fmla="*/ 567474 w 3024845"/>
                <a:gd name="connsiteY80" fmla="*/ 414250 h 834218"/>
                <a:gd name="connsiteX81" fmla="*/ 567474 w 3024845"/>
                <a:gd name="connsiteY81" fmla="*/ 408576 h 834218"/>
                <a:gd name="connsiteX82" fmla="*/ 605981 w 3024845"/>
                <a:gd name="connsiteY82" fmla="*/ 408576 h 834218"/>
                <a:gd name="connsiteX83" fmla="*/ 605981 w 3024845"/>
                <a:gd name="connsiteY83" fmla="*/ 432355 h 834218"/>
                <a:gd name="connsiteX84" fmla="*/ 608007 w 3024845"/>
                <a:gd name="connsiteY84" fmla="*/ 432355 h 834218"/>
                <a:gd name="connsiteX85" fmla="*/ 622194 w 3024845"/>
                <a:gd name="connsiteY85" fmla="*/ 432355 h 834218"/>
                <a:gd name="connsiteX86" fmla="*/ 622194 w 3024845"/>
                <a:gd name="connsiteY86" fmla="*/ 433436 h 834218"/>
                <a:gd name="connsiteX87" fmla="*/ 622194 w 3024845"/>
                <a:gd name="connsiteY87" fmla="*/ 441002 h 834218"/>
                <a:gd name="connsiteX88" fmla="*/ 623968 w 3024845"/>
                <a:gd name="connsiteY88" fmla="*/ 441002 h 834218"/>
                <a:gd name="connsiteX89" fmla="*/ 636381 w 3024845"/>
                <a:gd name="connsiteY89" fmla="*/ 441002 h 834218"/>
                <a:gd name="connsiteX90" fmla="*/ 636381 w 3024845"/>
                <a:gd name="connsiteY90" fmla="*/ 417223 h 834218"/>
                <a:gd name="connsiteX91" fmla="*/ 637394 w 3024845"/>
                <a:gd name="connsiteY91" fmla="*/ 417223 h 834218"/>
                <a:gd name="connsiteX92" fmla="*/ 644488 w 3024845"/>
                <a:gd name="connsiteY92" fmla="*/ 417223 h 834218"/>
                <a:gd name="connsiteX93" fmla="*/ 644488 w 3024845"/>
                <a:gd name="connsiteY93" fmla="*/ 384796 h 834218"/>
                <a:gd name="connsiteX94" fmla="*/ 645501 w 3024845"/>
                <a:gd name="connsiteY94" fmla="*/ 384796 h 834218"/>
                <a:gd name="connsiteX95" fmla="*/ 652595 w 3024845"/>
                <a:gd name="connsiteY95" fmla="*/ 384796 h 834218"/>
                <a:gd name="connsiteX96" fmla="*/ 652595 w 3024845"/>
                <a:gd name="connsiteY96" fmla="*/ 382905 h 834218"/>
                <a:gd name="connsiteX97" fmla="*/ 652595 w 3024845"/>
                <a:gd name="connsiteY97" fmla="*/ 369664 h 834218"/>
                <a:gd name="connsiteX98" fmla="*/ 651328 w 3024845"/>
                <a:gd name="connsiteY98" fmla="*/ 368042 h 834218"/>
                <a:gd name="connsiteX99" fmla="*/ 656648 w 3024845"/>
                <a:gd name="connsiteY99" fmla="*/ 356693 h 834218"/>
                <a:gd name="connsiteX100" fmla="*/ 664755 w 3024845"/>
                <a:gd name="connsiteY100" fmla="*/ 384796 h 834218"/>
                <a:gd name="connsiteX101" fmla="*/ 665515 w 3024845"/>
                <a:gd name="connsiteY101" fmla="*/ 384796 h 834218"/>
                <a:gd name="connsiteX102" fmla="*/ 670835 w 3024845"/>
                <a:gd name="connsiteY102" fmla="*/ 384796 h 834218"/>
                <a:gd name="connsiteX103" fmla="*/ 670835 w 3024845"/>
                <a:gd name="connsiteY103" fmla="*/ 278869 h 834218"/>
                <a:gd name="connsiteX104" fmla="*/ 672355 w 3024845"/>
                <a:gd name="connsiteY104" fmla="*/ 278869 h 834218"/>
                <a:gd name="connsiteX105" fmla="*/ 682995 w 3024845"/>
                <a:gd name="connsiteY105" fmla="*/ 278869 h 834218"/>
                <a:gd name="connsiteX106" fmla="*/ 682995 w 3024845"/>
                <a:gd name="connsiteY106" fmla="*/ 231310 h 834218"/>
                <a:gd name="connsiteX107" fmla="*/ 709342 w 3024845"/>
                <a:gd name="connsiteY107" fmla="*/ 231310 h 834218"/>
                <a:gd name="connsiteX108" fmla="*/ 709342 w 3024845"/>
                <a:gd name="connsiteY108" fmla="*/ 209692 h 834218"/>
                <a:gd name="connsiteX109" fmla="*/ 743796 w 3024845"/>
                <a:gd name="connsiteY109" fmla="*/ 209692 h 834218"/>
                <a:gd name="connsiteX110" fmla="*/ 743796 w 3024845"/>
                <a:gd name="connsiteY110" fmla="*/ 212124 h 834218"/>
                <a:gd name="connsiteX111" fmla="*/ 743796 w 3024845"/>
                <a:gd name="connsiteY111" fmla="*/ 229148 h 834218"/>
                <a:gd name="connsiteX112" fmla="*/ 746076 w 3024845"/>
                <a:gd name="connsiteY112" fmla="*/ 229148 h 834218"/>
                <a:gd name="connsiteX113" fmla="*/ 762036 w 3024845"/>
                <a:gd name="connsiteY113" fmla="*/ 229148 h 834218"/>
                <a:gd name="connsiteX114" fmla="*/ 762036 w 3024845"/>
                <a:gd name="connsiteY114" fmla="*/ 276707 h 834218"/>
                <a:gd name="connsiteX115" fmla="*/ 763049 w 3024845"/>
                <a:gd name="connsiteY115" fmla="*/ 276707 h 834218"/>
                <a:gd name="connsiteX116" fmla="*/ 770143 w 3024845"/>
                <a:gd name="connsiteY116" fmla="*/ 276707 h 834218"/>
                <a:gd name="connsiteX117" fmla="*/ 784330 w 3024845"/>
                <a:gd name="connsiteY117" fmla="*/ 281031 h 834218"/>
                <a:gd name="connsiteX118" fmla="*/ 784330 w 3024845"/>
                <a:gd name="connsiteY118" fmla="*/ 319943 h 834218"/>
                <a:gd name="connsiteX119" fmla="*/ 785343 w 3024845"/>
                <a:gd name="connsiteY119" fmla="*/ 319943 h 834218"/>
                <a:gd name="connsiteX120" fmla="*/ 792436 w 3024845"/>
                <a:gd name="connsiteY120" fmla="*/ 319943 h 834218"/>
                <a:gd name="connsiteX121" fmla="*/ 792436 w 3024845"/>
                <a:gd name="connsiteY121" fmla="*/ 321564 h 834218"/>
                <a:gd name="connsiteX122" fmla="*/ 792436 w 3024845"/>
                <a:gd name="connsiteY122" fmla="*/ 332913 h 834218"/>
                <a:gd name="connsiteX123" fmla="*/ 794463 w 3024845"/>
                <a:gd name="connsiteY123" fmla="*/ 332913 h 834218"/>
                <a:gd name="connsiteX124" fmla="*/ 808650 w 3024845"/>
                <a:gd name="connsiteY124" fmla="*/ 332913 h 834218"/>
                <a:gd name="connsiteX125" fmla="*/ 814730 w 3024845"/>
                <a:gd name="connsiteY125" fmla="*/ 339399 h 834218"/>
                <a:gd name="connsiteX126" fmla="*/ 814730 w 3024845"/>
                <a:gd name="connsiteY126" fmla="*/ 361017 h 834218"/>
                <a:gd name="connsiteX127" fmla="*/ 817010 w 3024845"/>
                <a:gd name="connsiteY127" fmla="*/ 361017 h 834218"/>
                <a:gd name="connsiteX128" fmla="*/ 832970 w 3024845"/>
                <a:gd name="connsiteY128" fmla="*/ 361017 h 834218"/>
                <a:gd name="connsiteX129" fmla="*/ 832970 w 3024845"/>
                <a:gd name="connsiteY129" fmla="*/ 362097 h 834218"/>
                <a:gd name="connsiteX130" fmla="*/ 832970 w 3024845"/>
                <a:gd name="connsiteY130" fmla="*/ 369664 h 834218"/>
                <a:gd name="connsiteX131" fmla="*/ 834237 w 3024845"/>
                <a:gd name="connsiteY131" fmla="*/ 369664 h 834218"/>
                <a:gd name="connsiteX132" fmla="*/ 843104 w 3024845"/>
                <a:gd name="connsiteY132" fmla="*/ 369664 h 834218"/>
                <a:gd name="connsiteX133" fmla="*/ 843104 w 3024845"/>
                <a:gd name="connsiteY133" fmla="*/ 371825 h 834218"/>
                <a:gd name="connsiteX134" fmla="*/ 843104 w 3024845"/>
                <a:gd name="connsiteY134" fmla="*/ 386958 h 834218"/>
                <a:gd name="connsiteX135" fmla="*/ 847157 w 3024845"/>
                <a:gd name="connsiteY135" fmla="*/ 385066 h 834218"/>
                <a:gd name="connsiteX136" fmla="*/ 847157 w 3024845"/>
                <a:gd name="connsiteY136" fmla="*/ 371825 h 834218"/>
                <a:gd name="connsiteX137" fmla="*/ 848170 w 3024845"/>
                <a:gd name="connsiteY137" fmla="*/ 371825 h 834218"/>
                <a:gd name="connsiteX138" fmla="*/ 855264 w 3024845"/>
                <a:gd name="connsiteY138" fmla="*/ 371825 h 834218"/>
                <a:gd name="connsiteX139" fmla="*/ 855264 w 3024845"/>
                <a:gd name="connsiteY139" fmla="*/ 373447 h 834218"/>
                <a:gd name="connsiteX140" fmla="*/ 855264 w 3024845"/>
                <a:gd name="connsiteY140" fmla="*/ 384796 h 834218"/>
                <a:gd name="connsiteX141" fmla="*/ 856024 w 3024845"/>
                <a:gd name="connsiteY141" fmla="*/ 384796 h 834218"/>
                <a:gd name="connsiteX142" fmla="*/ 861344 w 3024845"/>
                <a:gd name="connsiteY142" fmla="*/ 384796 h 834218"/>
                <a:gd name="connsiteX143" fmla="*/ 909984 w 3024845"/>
                <a:gd name="connsiteY143" fmla="*/ 380473 h 834218"/>
                <a:gd name="connsiteX144" fmla="*/ 909984 w 3024845"/>
                <a:gd name="connsiteY144" fmla="*/ 381824 h 834218"/>
                <a:gd name="connsiteX145" fmla="*/ 909984 w 3024845"/>
                <a:gd name="connsiteY145" fmla="*/ 391281 h 834218"/>
                <a:gd name="connsiteX146" fmla="*/ 910744 w 3024845"/>
                <a:gd name="connsiteY146" fmla="*/ 391281 h 834218"/>
                <a:gd name="connsiteX147" fmla="*/ 916065 w 3024845"/>
                <a:gd name="connsiteY147" fmla="*/ 391281 h 834218"/>
                <a:gd name="connsiteX148" fmla="*/ 916065 w 3024845"/>
                <a:gd name="connsiteY148" fmla="*/ 393443 h 834218"/>
                <a:gd name="connsiteX149" fmla="*/ 916065 w 3024845"/>
                <a:gd name="connsiteY149" fmla="*/ 408576 h 834218"/>
                <a:gd name="connsiteX150" fmla="*/ 918091 w 3024845"/>
                <a:gd name="connsiteY150" fmla="*/ 407225 h 834218"/>
                <a:gd name="connsiteX151" fmla="*/ 932278 w 3024845"/>
                <a:gd name="connsiteY151" fmla="*/ 397767 h 834218"/>
                <a:gd name="connsiteX152" fmla="*/ 938358 w 3024845"/>
                <a:gd name="connsiteY152" fmla="*/ 356693 h 834218"/>
                <a:gd name="connsiteX153" fmla="*/ 939118 w 3024845"/>
                <a:gd name="connsiteY153" fmla="*/ 356423 h 834218"/>
                <a:gd name="connsiteX154" fmla="*/ 944438 w 3024845"/>
                <a:gd name="connsiteY154" fmla="*/ 354531 h 834218"/>
                <a:gd name="connsiteX155" fmla="*/ 946465 w 3024845"/>
                <a:gd name="connsiteY155" fmla="*/ 285354 h 834218"/>
                <a:gd name="connsiteX156" fmla="*/ 948492 w 3024845"/>
                <a:gd name="connsiteY156" fmla="*/ 354531 h 834218"/>
                <a:gd name="connsiteX157" fmla="*/ 949252 w 3024845"/>
                <a:gd name="connsiteY157" fmla="*/ 354801 h 834218"/>
                <a:gd name="connsiteX158" fmla="*/ 954572 w 3024845"/>
                <a:gd name="connsiteY158" fmla="*/ 356693 h 834218"/>
                <a:gd name="connsiteX159" fmla="*/ 954572 w 3024845"/>
                <a:gd name="connsiteY159" fmla="*/ 270222 h 834218"/>
                <a:gd name="connsiteX160" fmla="*/ 958625 w 3024845"/>
                <a:gd name="connsiteY160" fmla="*/ 237795 h 834218"/>
                <a:gd name="connsiteX161" fmla="*/ 997132 w 3024845"/>
                <a:gd name="connsiteY161" fmla="*/ 237795 h 834218"/>
                <a:gd name="connsiteX162" fmla="*/ 997132 w 3024845"/>
                <a:gd name="connsiteY162" fmla="*/ 270222 h 834218"/>
                <a:gd name="connsiteX163" fmla="*/ 997892 w 3024845"/>
                <a:gd name="connsiteY163" fmla="*/ 270222 h 834218"/>
                <a:gd name="connsiteX164" fmla="*/ 1003212 w 3024845"/>
                <a:gd name="connsiteY164" fmla="*/ 270222 h 834218"/>
                <a:gd name="connsiteX165" fmla="*/ 1003212 w 3024845"/>
                <a:gd name="connsiteY165" fmla="*/ 188074 h 834218"/>
                <a:gd name="connsiteX166" fmla="*/ 1004986 w 3024845"/>
                <a:gd name="connsiteY166" fmla="*/ 188074 h 834218"/>
                <a:gd name="connsiteX167" fmla="*/ 1017399 w 3024845"/>
                <a:gd name="connsiteY167" fmla="*/ 188074 h 834218"/>
                <a:gd name="connsiteX168" fmla="*/ 1017399 w 3024845"/>
                <a:gd name="connsiteY168" fmla="*/ 186183 h 834218"/>
                <a:gd name="connsiteX169" fmla="*/ 1017399 w 3024845"/>
                <a:gd name="connsiteY169" fmla="*/ 172942 h 834218"/>
                <a:gd name="connsiteX170" fmla="*/ 1039693 w 3024845"/>
                <a:gd name="connsiteY170" fmla="*/ 172942 h 834218"/>
                <a:gd name="connsiteX171" fmla="*/ 1039693 w 3024845"/>
                <a:gd name="connsiteY171" fmla="*/ 171861 h 834218"/>
                <a:gd name="connsiteX172" fmla="*/ 1039693 w 3024845"/>
                <a:gd name="connsiteY172" fmla="*/ 164295 h 834218"/>
                <a:gd name="connsiteX173" fmla="*/ 1041466 w 3024845"/>
                <a:gd name="connsiteY173" fmla="*/ 164295 h 834218"/>
                <a:gd name="connsiteX174" fmla="*/ 1053880 w 3024845"/>
                <a:gd name="connsiteY174" fmla="*/ 164295 h 834218"/>
                <a:gd name="connsiteX175" fmla="*/ 1053880 w 3024845"/>
                <a:gd name="connsiteY175" fmla="*/ 165376 h 834218"/>
                <a:gd name="connsiteX176" fmla="*/ 1053880 w 3024845"/>
                <a:gd name="connsiteY176" fmla="*/ 172942 h 834218"/>
                <a:gd name="connsiteX177" fmla="*/ 1054640 w 3024845"/>
                <a:gd name="connsiteY177" fmla="*/ 172942 h 834218"/>
                <a:gd name="connsiteX178" fmla="*/ 1059960 w 3024845"/>
                <a:gd name="connsiteY178" fmla="*/ 172942 h 834218"/>
                <a:gd name="connsiteX179" fmla="*/ 1070093 w 3024845"/>
                <a:gd name="connsiteY179" fmla="*/ 168618 h 834218"/>
                <a:gd name="connsiteX180" fmla="*/ 1074146 w 3024845"/>
                <a:gd name="connsiteY180" fmla="*/ 171861 h 834218"/>
                <a:gd name="connsiteX181" fmla="*/ 1074146 w 3024845"/>
                <a:gd name="connsiteY181" fmla="*/ 164295 h 834218"/>
                <a:gd name="connsiteX182" fmla="*/ 1076426 w 3024845"/>
                <a:gd name="connsiteY182" fmla="*/ 164295 h 834218"/>
                <a:gd name="connsiteX183" fmla="*/ 1092387 w 3024845"/>
                <a:gd name="connsiteY183" fmla="*/ 164295 h 834218"/>
                <a:gd name="connsiteX184" fmla="*/ 1092387 w 3024845"/>
                <a:gd name="connsiteY184" fmla="*/ 165376 h 834218"/>
                <a:gd name="connsiteX185" fmla="*/ 1092387 w 3024845"/>
                <a:gd name="connsiteY185" fmla="*/ 172942 h 834218"/>
                <a:gd name="connsiteX186" fmla="*/ 1122787 w 3024845"/>
                <a:gd name="connsiteY186" fmla="*/ 172942 h 834218"/>
                <a:gd name="connsiteX187" fmla="*/ 1122787 w 3024845"/>
                <a:gd name="connsiteY187" fmla="*/ 174563 h 834218"/>
                <a:gd name="connsiteX188" fmla="*/ 1122787 w 3024845"/>
                <a:gd name="connsiteY188" fmla="*/ 185913 h 834218"/>
                <a:gd name="connsiteX189" fmla="*/ 1149134 w 3024845"/>
                <a:gd name="connsiteY189" fmla="*/ 185913 h 834218"/>
                <a:gd name="connsiteX190" fmla="*/ 1149134 w 3024845"/>
                <a:gd name="connsiteY190" fmla="*/ 216177 h 834218"/>
                <a:gd name="connsiteX191" fmla="*/ 1149894 w 3024845"/>
                <a:gd name="connsiteY191" fmla="*/ 216177 h 834218"/>
                <a:gd name="connsiteX192" fmla="*/ 1155214 w 3024845"/>
                <a:gd name="connsiteY192" fmla="*/ 216177 h 834218"/>
                <a:gd name="connsiteX193" fmla="*/ 1155214 w 3024845"/>
                <a:gd name="connsiteY193" fmla="*/ 217258 h 834218"/>
                <a:gd name="connsiteX194" fmla="*/ 1155214 w 3024845"/>
                <a:gd name="connsiteY194" fmla="*/ 224825 h 834218"/>
                <a:gd name="connsiteX195" fmla="*/ 1159268 w 3024845"/>
                <a:gd name="connsiteY195" fmla="*/ 255089 h 834218"/>
                <a:gd name="connsiteX196" fmla="*/ 1160028 w 3024845"/>
                <a:gd name="connsiteY196" fmla="*/ 255089 h 834218"/>
                <a:gd name="connsiteX197" fmla="*/ 1165348 w 3024845"/>
                <a:gd name="connsiteY197" fmla="*/ 255089 h 834218"/>
                <a:gd name="connsiteX198" fmla="*/ 1165348 w 3024845"/>
                <a:gd name="connsiteY198" fmla="*/ 255900 h 834218"/>
                <a:gd name="connsiteX199" fmla="*/ 1165348 w 3024845"/>
                <a:gd name="connsiteY199" fmla="*/ 261575 h 834218"/>
                <a:gd name="connsiteX200" fmla="*/ 1166361 w 3024845"/>
                <a:gd name="connsiteY200" fmla="*/ 261575 h 834218"/>
                <a:gd name="connsiteX201" fmla="*/ 1173454 w 3024845"/>
                <a:gd name="connsiteY201" fmla="*/ 261575 h 834218"/>
                <a:gd name="connsiteX202" fmla="*/ 1173454 w 3024845"/>
                <a:gd name="connsiteY202" fmla="*/ 291840 h 834218"/>
                <a:gd name="connsiteX203" fmla="*/ 1175481 w 3024845"/>
                <a:gd name="connsiteY203" fmla="*/ 291840 h 834218"/>
                <a:gd name="connsiteX204" fmla="*/ 1189668 w 3024845"/>
                <a:gd name="connsiteY204" fmla="*/ 291840 h 834218"/>
                <a:gd name="connsiteX205" fmla="*/ 1189668 w 3024845"/>
                <a:gd name="connsiteY205" fmla="*/ 315619 h 834218"/>
                <a:gd name="connsiteX206" fmla="*/ 1191695 w 3024845"/>
                <a:gd name="connsiteY206" fmla="*/ 317240 h 834218"/>
                <a:gd name="connsiteX207" fmla="*/ 1191695 w 3024845"/>
                <a:gd name="connsiteY207" fmla="*/ 328590 h 834218"/>
                <a:gd name="connsiteX208" fmla="*/ 1192455 w 3024845"/>
                <a:gd name="connsiteY208" fmla="*/ 328590 h 834218"/>
                <a:gd name="connsiteX209" fmla="*/ 1197775 w 3024845"/>
                <a:gd name="connsiteY209" fmla="*/ 328590 h 834218"/>
                <a:gd name="connsiteX210" fmla="*/ 1197775 w 3024845"/>
                <a:gd name="connsiteY210" fmla="*/ 352369 h 834218"/>
                <a:gd name="connsiteX211" fmla="*/ 1199041 w 3024845"/>
                <a:gd name="connsiteY211" fmla="*/ 352369 h 834218"/>
                <a:gd name="connsiteX212" fmla="*/ 1207908 w 3024845"/>
                <a:gd name="connsiteY212" fmla="*/ 352369 h 834218"/>
                <a:gd name="connsiteX213" fmla="*/ 1209935 w 3024845"/>
                <a:gd name="connsiteY213" fmla="*/ 356423 h 834218"/>
                <a:gd name="connsiteX214" fmla="*/ 1209935 w 3024845"/>
                <a:gd name="connsiteY214" fmla="*/ 369664 h 834218"/>
                <a:gd name="connsiteX215" fmla="*/ 1211455 w 3024845"/>
                <a:gd name="connsiteY215" fmla="*/ 367772 h 834218"/>
                <a:gd name="connsiteX216" fmla="*/ 1222095 w 3024845"/>
                <a:gd name="connsiteY216" fmla="*/ 354531 h 834218"/>
                <a:gd name="connsiteX217" fmla="*/ 1250469 w 3024845"/>
                <a:gd name="connsiteY217" fmla="*/ 354531 h 834218"/>
                <a:gd name="connsiteX218" fmla="*/ 1250469 w 3024845"/>
                <a:gd name="connsiteY218" fmla="*/ 441002 h 834218"/>
                <a:gd name="connsiteX219" fmla="*/ 1251229 w 3024845"/>
                <a:gd name="connsiteY219" fmla="*/ 441002 h 834218"/>
                <a:gd name="connsiteX220" fmla="*/ 1256549 w 3024845"/>
                <a:gd name="connsiteY220" fmla="*/ 441002 h 834218"/>
                <a:gd name="connsiteX221" fmla="*/ 1257309 w 3024845"/>
                <a:gd name="connsiteY221" fmla="*/ 439651 h 834218"/>
                <a:gd name="connsiteX222" fmla="*/ 1262629 w 3024845"/>
                <a:gd name="connsiteY222" fmla="*/ 430193 h 834218"/>
                <a:gd name="connsiteX223" fmla="*/ 1262629 w 3024845"/>
                <a:gd name="connsiteY223" fmla="*/ 432085 h 834218"/>
                <a:gd name="connsiteX224" fmla="*/ 1262629 w 3024845"/>
                <a:gd name="connsiteY224" fmla="*/ 445326 h 834218"/>
                <a:gd name="connsiteX225" fmla="*/ 1266682 w 3024845"/>
                <a:gd name="connsiteY225" fmla="*/ 399929 h 834218"/>
                <a:gd name="connsiteX226" fmla="*/ 1267442 w 3024845"/>
                <a:gd name="connsiteY226" fmla="*/ 399929 h 834218"/>
                <a:gd name="connsiteX227" fmla="*/ 1272762 w 3024845"/>
                <a:gd name="connsiteY227" fmla="*/ 399929 h 834218"/>
                <a:gd name="connsiteX228" fmla="*/ 1272762 w 3024845"/>
                <a:gd name="connsiteY228" fmla="*/ 335075 h 834218"/>
                <a:gd name="connsiteX229" fmla="*/ 1273776 w 3024845"/>
                <a:gd name="connsiteY229" fmla="*/ 335075 h 834218"/>
                <a:gd name="connsiteX230" fmla="*/ 1280869 w 3024845"/>
                <a:gd name="connsiteY230" fmla="*/ 335075 h 834218"/>
                <a:gd name="connsiteX231" fmla="*/ 1293029 w 3024845"/>
                <a:gd name="connsiteY231" fmla="*/ 291840 h 834218"/>
                <a:gd name="connsiteX232" fmla="*/ 1294296 w 3024845"/>
                <a:gd name="connsiteY232" fmla="*/ 291840 h 834218"/>
                <a:gd name="connsiteX233" fmla="*/ 1303163 w 3024845"/>
                <a:gd name="connsiteY233" fmla="*/ 291840 h 834218"/>
                <a:gd name="connsiteX234" fmla="*/ 1313296 w 3024845"/>
                <a:gd name="connsiteY234" fmla="*/ 335075 h 834218"/>
                <a:gd name="connsiteX235" fmla="*/ 1314309 w 3024845"/>
                <a:gd name="connsiteY235" fmla="*/ 335075 h 834218"/>
                <a:gd name="connsiteX236" fmla="*/ 1321403 w 3024845"/>
                <a:gd name="connsiteY236" fmla="*/ 335075 h 834218"/>
                <a:gd name="connsiteX237" fmla="*/ 1321403 w 3024845"/>
                <a:gd name="connsiteY237" fmla="*/ 373987 h 834218"/>
                <a:gd name="connsiteX238" fmla="*/ 1323176 w 3024845"/>
                <a:gd name="connsiteY238" fmla="*/ 373987 h 834218"/>
                <a:gd name="connsiteX239" fmla="*/ 1335590 w 3024845"/>
                <a:gd name="connsiteY239" fmla="*/ 373987 h 834218"/>
                <a:gd name="connsiteX240" fmla="*/ 1335590 w 3024845"/>
                <a:gd name="connsiteY240" fmla="*/ 376149 h 834218"/>
                <a:gd name="connsiteX241" fmla="*/ 1335590 w 3024845"/>
                <a:gd name="connsiteY241" fmla="*/ 391281 h 834218"/>
                <a:gd name="connsiteX242" fmla="*/ 1339643 w 3024845"/>
                <a:gd name="connsiteY242" fmla="*/ 389120 h 834218"/>
                <a:gd name="connsiteX243" fmla="*/ 1339643 w 3024845"/>
                <a:gd name="connsiteY243" fmla="*/ 373987 h 834218"/>
                <a:gd name="connsiteX244" fmla="*/ 1341163 w 3024845"/>
                <a:gd name="connsiteY244" fmla="*/ 373987 h 834218"/>
                <a:gd name="connsiteX245" fmla="*/ 1351803 w 3024845"/>
                <a:gd name="connsiteY245" fmla="*/ 373987 h 834218"/>
                <a:gd name="connsiteX246" fmla="*/ 1351803 w 3024845"/>
                <a:gd name="connsiteY246" fmla="*/ 375608 h 834218"/>
                <a:gd name="connsiteX247" fmla="*/ 1351803 w 3024845"/>
                <a:gd name="connsiteY247" fmla="*/ 386958 h 834218"/>
                <a:gd name="connsiteX248" fmla="*/ 1382204 w 3024845"/>
                <a:gd name="connsiteY248" fmla="*/ 386958 h 834218"/>
                <a:gd name="connsiteX249" fmla="*/ 1382204 w 3024845"/>
                <a:gd name="connsiteY249" fmla="*/ 350208 h 834218"/>
                <a:gd name="connsiteX250" fmla="*/ 1383470 w 3024845"/>
                <a:gd name="connsiteY250" fmla="*/ 350208 h 834218"/>
                <a:gd name="connsiteX251" fmla="*/ 1392337 w 3024845"/>
                <a:gd name="connsiteY251" fmla="*/ 350208 h 834218"/>
                <a:gd name="connsiteX252" fmla="*/ 1392337 w 3024845"/>
                <a:gd name="connsiteY252" fmla="*/ 371825 h 834218"/>
                <a:gd name="connsiteX253" fmla="*/ 1394364 w 3024845"/>
                <a:gd name="connsiteY253" fmla="*/ 339399 h 834218"/>
                <a:gd name="connsiteX254" fmla="*/ 1416657 w 3024845"/>
                <a:gd name="connsiteY254" fmla="*/ 339399 h 834218"/>
                <a:gd name="connsiteX255" fmla="*/ 1416657 w 3024845"/>
                <a:gd name="connsiteY255" fmla="*/ 337777 h 834218"/>
                <a:gd name="connsiteX256" fmla="*/ 1416657 w 3024845"/>
                <a:gd name="connsiteY256" fmla="*/ 326428 h 834218"/>
                <a:gd name="connsiteX257" fmla="*/ 1417417 w 3024845"/>
                <a:gd name="connsiteY257" fmla="*/ 326428 h 834218"/>
                <a:gd name="connsiteX258" fmla="*/ 1422737 w 3024845"/>
                <a:gd name="connsiteY258" fmla="*/ 326428 h 834218"/>
                <a:gd name="connsiteX259" fmla="*/ 1422737 w 3024845"/>
                <a:gd name="connsiteY259" fmla="*/ 324537 h 834218"/>
                <a:gd name="connsiteX260" fmla="*/ 1422737 w 3024845"/>
                <a:gd name="connsiteY260" fmla="*/ 311296 h 834218"/>
                <a:gd name="connsiteX261" fmla="*/ 1426791 w 3024845"/>
                <a:gd name="connsiteY261" fmla="*/ 317781 h 834218"/>
                <a:gd name="connsiteX262" fmla="*/ 1429071 w 3024845"/>
                <a:gd name="connsiteY262" fmla="*/ 317781 h 834218"/>
                <a:gd name="connsiteX263" fmla="*/ 1445031 w 3024845"/>
                <a:gd name="connsiteY263" fmla="*/ 317781 h 834218"/>
                <a:gd name="connsiteX264" fmla="*/ 1445031 w 3024845"/>
                <a:gd name="connsiteY264" fmla="*/ 316970 h 834218"/>
                <a:gd name="connsiteX265" fmla="*/ 1445031 w 3024845"/>
                <a:gd name="connsiteY265" fmla="*/ 311296 h 834218"/>
                <a:gd name="connsiteX266" fmla="*/ 1445791 w 3024845"/>
                <a:gd name="connsiteY266" fmla="*/ 311296 h 834218"/>
                <a:gd name="connsiteX267" fmla="*/ 1451111 w 3024845"/>
                <a:gd name="connsiteY267" fmla="*/ 311296 h 834218"/>
                <a:gd name="connsiteX268" fmla="*/ 1451111 w 3024845"/>
                <a:gd name="connsiteY268" fmla="*/ 312647 h 834218"/>
                <a:gd name="connsiteX269" fmla="*/ 1451111 w 3024845"/>
                <a:gd name="connsiteY269" fmla="*/ 322105 h 834218"/>
                <a:gd name="connsiteX270" fmla="*/ 1489618 w 3024845"/>
                <a:gd name="connsiteY270" fmla="*/ 322105 h 834218"/>
                <a:gd name="connsiteX271" fmla="*/ 1489618 w 3024845"/>
                <a:gd name="connsiteY271" fmla="*/ 460458 h 834218"/>
                <a:gd name="connsiteX272" fmla="*/ 1491138 w 3024845"/>
                <a:gd name="connsiteY272" fmla="*/ 460458 h 834218"/>
                <a:gd name="connsiteX273" fmla="*/ 1501778 w 3024845"/>
                <a:gd name="connsiteY273" fmla="*/ 460458 h 834218"/>
                <a:gd name="connsiteX274" fmla="*/ 1501778 w 3024845"/>
                <a:gd name="connsiteY274" fmla="*/ 447488 h 834218"/>
                <a:gd name="connsiteX275" fmla="*/ 1505832 w 3024845"/>
                <a:gd name="connsiteY275" fmla="*/ 447488 h 834218"/>
                <a:gd name="connsiteX276" fmla="*/ 1505832 w 3024845"/>
                <a:gd name="connsiteY276" fmla="*/ 460458 h 834218"/>
                <a:gd name="connsiteX277" fmla="*/ 1536232 w 3024845"/>
                <a:gd name="connsiteY277" fmla="*/ 460458 h 834218"/>
                <a:gd name="connsiteX278" fmla="*/ 1536232 w 3024845"/>
                <a:gd name="connsiteY278" fmla="*/ 430193 h 834218"/>
                <a:gd name="connsiteX279" fmla="*/ 1548392 w 3024845"/>
                <a:gd name="connsiteY279" fmla="*/ 430193 h 834218"/>
                <a:gd name="connsiteX280" fmla="*/ 1560552 w 3024845"/>
                <a:gd name="connsiteY280" fmla="*/ 428032 h 834218"/>
                <a:gd name="connsiteX281" fmla="*/ 1564606 w 3024845"/>
                <a:gd name="connsiteY281" fmla="*/ 430193 h 834218"/>
                <a:gd name="connsiteX282" fmla="*/ 1574739 w 3024845"/>
                <a:gd name="connsiteY282" fmla="*/ 430193 h 834218"/>
                <a:gd name="connsiteX283" fmla="*/ 1574739 w 3024845"/>
                <a:gd name="connsiteY283" fmla="*/ 460458 h 834218"/>
                <a:gd name="connsiteX284" fmla="*/ 1582846 w 3024845"/>
                <a:gd name="connsiteY284" fmla="*/ 460458 h 834218"/>
                <a:gd name="connsiteX285" fmla="*/ 1582846 w 3024845"/>
                <a:gd name="connsiteY285" fmla="*/ 477753 h 834218"/>
                <a:gd name="connsiteX286" fmla="*/ 1592182 w 3024845"/>
                <a:gd name="connsiteY286" fmla="*/ 478658 h 834218"/>
                <a:gd name="connsiteX287" fmla="*/ 1605140 w 3024845"/>
                <a:gd name="connsiteY287" fmla="*/ 478658 h 834218"/>
                <a:gd name="connsiteX288" fmla="*/ 1605140 w 3024845"/>
                <a:gd name="connsiteY288" fmla="*/ 462620 h 834218"/>
                <a:gd name="connsiteX289" fmla="*/ 1673096 w 3024845"/>
                <a:gd name="connsiteY289" fmla="*/ 462620 h 834218"/>
                <a:gd name="connsiteX290" fmla="*/ 1673096 w 3024845"/>
                <a:gd name="connsiteY290" fmla="*/ 377367 h 834218"/>
                <a:gd name="connsiteX291" fmla="*/ 1745104 w 3024845"/>
                <a:gd name="connsiteY291" fmla="*/ 377367 h 834218"/>
                <a:gd name="connsiteX292" fmla="*/ 1745104 w 3024845"/>
                <a:gd name="connsiteY292" fmla="*/ 456135 h 834218"/>
                <a:gd name="connsiteX293" fmla="*/ 1747008 w 3024845"/>
                <a:gd name="connsiteY293" fmla="*/ 456135 h 834218"/>
                <a:gd name="connsiteX294" fmla="*/ 1748250 w 3024845"/>
                <a:gd name="connsiteY294" fmla="*/ 478658 h 834218"/>
                <a:gd name="connsiteX295" fmla="*/ 1757926 w 3024845"/>
                <a:gd name="connsiteY295" fmla="*/ 478658 h 834218"/>
                <a:gd name="connsiteX296" fmla="*/ 1759168 w 3024845"/>
                <a:gd name="connsiteY296" fmla="*/ 456135 h 834218"/>
                <a:gd name="connsiteX297" fmla="*/ 1765248 w 3024845"/>
                <a:gd name="connsiteY297" fmla="*/ 456135 h 834218"/>
                <a:gd name="connsiteX298" fmla="*/ 1766490 w 3024845"/>
                <a:gd name="connsiteY298" fmla="*/ 478658 h 834218"/>
                <a:gd name="connsiteX299" fmla="*/ 1817112 w 3024845"/>
                <a:gd name="connsiteY299" fmla="*/ 478658 h 834218"/>
                <a:gd name="connsiteX300" fmla="*/ 1817112 w 3024845"/>
                <a:gd name="connsiteY300" fmla="*/ 315630 h 834218"/>
                <a:gd name="connsiteX301" fmla="*/ 2014439 w 3024845"/>
                <a:gd name="connsiteY301" fmla="*/ 315630 h 834218"/>
                <a:gd name="connsiteX302" fmla="*/ 2014439 w 3024845"/>
                <a:gd name="connsiteY302" fmla="*/ 478658 h 834218"/>
                <a:gd name="connsiteX303" fmla="*/ 2033136 w 3024845"/>
                <a:gd name="connsiteY303" fmla="*/ 478658 h 834218"/>
                <a:gd name="connsiteX304" fmla="*/ 2033136 w 3024845"/>
                <a:gd name="connsiteY304" fmla="*/ 395965 h 834218"/>
                <a:gd name="connsiteX305" fmla="*/ 2128256 w 3024845"/>
                <a:gd name="connsiteY305" fmla="*/ 395965 h 834218"/>
                <a:gd name="connsiteX306" fmla="*/ 2180720 w 3024845"/>
                <a:gd name="connsiteY306" fmla="*/ 330752 h 834218"/>
                <a:gd name="connsiteX307" fmla="*/ 2245574 w 3024845"/>
                <a:gd name="connsiteY307" fmla="*/ 330752 h 834218"/>
                <a:gd name="connsiteX308" fmla="*/ 2245574 w 3024845"/>
                <a:gd name="connsiteY308" fmla="*/ 406414 h 834218"/>
                <a:gd name="connsiteX309" fmla="*/ 2253681 w 3024845"/>
                <a:gd name="connsiteY309" fmla="*/ 406414 h 834218"/>
                <a:gd name="connsiteX310" fmla="*/ 2255708 w 3024845"/>
                <a:gd name="connsiteY310" fmla="*/ 399929 h 834218"/>
                <a:gd name="connsiteX311" fmla="*/ 2261788 w 3024845"/>
                <a:gd name="connsiteY311" fmla="*/ 399929 h 834218"/>
                <a:gd name="connsiteX312" fmla="*/ 2263815 w 3024845"/>
                <a:gd name="connsiteY312" fmla="*/ 408576 h 834218"/>
                <a:gd name="connsiteX313" fmla="*/ 2275975 w 3024845"/>
                <a:gd name="connsiteY313" fmla="*/ 408576 h 834218"/>
                <a:gd name="connsiteX314" fmla="*/ 2275975 w 3024845"/>
                <a:gd name="connsiteY314" fmla="*/ 402090 h 834218"/>
                <a:gd name="connsiteX315" fmla="*/ 2298268 w 3024845"/>
                <a:gd name="connsiteY315" fmla="*/ 402090 h 834218"/>
                <a:gd name="connsiteX316" fmla="*/ 2298268 w 3024845"/>
                <a:gd name="connsiteY316" fmla="*/ 408576 h 834218"/>
                <a:gd name="connsiteX317" fmla="*/ 2318535 w 3024845"/>
                <a:gd name="connsiteY317" fmla="*/ 408576 h 834218"/>
                <a:gd name="connsiteX318" fmla="*/ 2318535 w 3024845"/>
                <a:gd name="connsiteY318" fmla="*/ 453973 h 834218"/>
                <a:gd name="connsiteX319" fmla="*/ 2332722 w 3024845"/>
                <a:gd name="connsiteY319" fmla="*/ 453973 h 834218"/>
                <a:gd name="connsiteX320" fmla="*/ 2332722 w 3024845"/>
                <a:gd name="connsiteY320" fmla="*/ 441002 h 834218"/>
                <a:gd name="connsiteX321" fmla="*/ 2348936 w 3024845"/>
                <a:gd name="connsiteY321" fmla="*/ 441002 h 834218"/>
                <a:gd name="connsiteX322" fmla="*/ 2348936 w 3024845"/>
                <a:gd name="connsiteY322" fmla="*/ 261575 h 834218"/>
                <a:gd name="connsiteX323" fmla="*/ 2355016 w 3024845"/>
                <a:gd name="connsiteY323" fmla="*/ 255089 h 834218"/>
                <a:gd name="connsiteX324" fmla="*/ 2427977 w 3024845"/>
                <a:gd name="connsiteY324" fmla="*/ 255089 h 834218"/>
                <a:gd name="connsiteX325" fmla="*/ 2427977 w 3024845"/>
                <a:gd name="connsiteY325" fmla="*/ 263737 h 834218"/>
                <a:gd name="connsiteX326" fmla="*/ 2438110 w 3024845"/>
                <a:gd name="connsiteY326" fmla="*/ 263737 h 834218"/>
                <a:gd name="connsiteX327" fmla="*/ 2438110 w 3024845"/>
                <a:gd name="connsiteY327" fmla="*/ 378311 h 834218"/>
                <a:gd name="connsiteX328" fmla="*/ 2460404 w 3024845"/>
                <a:gd name="connsiteY328" fmla="*/ 378311 h 834218"/>
                <a:gd name="connsiteX329" fmla="*/ 2460404 w 3024845"/>
                <a:gd name="connsiteY329" fmla="*/ 311296 h 834218"/>
                <a:gd name="connsiteX330" fmla="*/ 2486751 w 3024845"/>
                <a:gd name="connsiteY330" fmla="*/ 311296 h 834218"/>
                <a:gd name="connsiteX331" fmla="*/ 2490804 w 3024845"/>
                <a:gd name="connsiteY331" fmla="*/ 306972 h 834218"/>
                <a:gd name="connsiteX332" fmla="*/ 2498911 w 3024845"/>
                <a:gd name="connsiteY332" fmla="*/ 306972 h 834218"/>
                <a:gd name="connsiteX333" fmla="*/ 2502964 w 3024845"/>
                <a:gd name="connsiteY333" fmla="*/ 311296 h 834218"/>
                <a:gd name="connsiteX334" fmla="*/ 2525258 w 3024845"/>
                <a:gd name="connsiteY334" fmla="*/ 311296 h 834218"/>
                <a:gd name="connsiteX335" fmla="*/ 2525258 w 3024845"/>
                <a:gd name="connsiteY335" fmla="*/ 194560 h 834218"/>
                <a:gd name="connsiteX336" fmla="*/ 2582005 w 3024845"/>
                <a:gd name="connsiteY336" fmla="*/ 183751 h 834218"/>
                <a:gd name="connsiteX337" fmla="*/ 2582005 w 3024845"/>
                <a:gd name="connsiteY337" fmla="*/ 184832 h 834218"/>
                <a:gd name="connsiteX338" fmla="*/ 2582005 w 3024845"/>
                <a:gd name="connsiteY338" fmla="*/ 192398 h 834218"/>
                <a:gd name="connsiteX339" fmla="*/ 2608352 w 3024845"/>
                <a:gd name="connsiteY339" fmla="*/ 192398 h 834218"/>
                <a:gd name="connsiteX340" fmla="*/ 2608352 w 3024845"/>
                <a:gd name="connsiteY340" fmla="*/ 447488 h 834218"/>
                <a:gd name="connsiteX341" fmla="*/ 2630646 w 3024845"/>
                <a:gd name="connsiteY341" fmla="*/ 447488 h 834218"/>
                <a:gd name="connsiteX342" fmla="*/ 2630646 w 3024845"/>
                <a:gd name="connsiteY342" fmla="*/ 443164 h 834218"/>
                <a:gd name="connsiteX343" fmla="*/ 2642806 w 3024845"/>
                <a:gd name="connsiteY343" fmla="*/ 443164 h 834218"/>
                <a:gd name="connsiteX344" fmla="*/ 2642806 w 3024845"/>
                <a:gd name="connsiteY344" fmla="*/ 447488 h 834218"/>
                <a:gd name="connsiteX345" fmla="*/ 2667126 w 3024845"/>
                <a:gd name="connsiteY345" fmla="*/ 447488 h 834218"/>
                <a:gd name="connsiteX346" fmla="*/ 2667126 w 3024845"/>
                <a:gd name="connsiteY346" fmla="*/ 434517 h 834218"/>
                <a:gd name="connsiteX347" fmla="*/ 2695500 w 3024845"/>
                <a:gd name="connsiteY347" fmla="*/ 434517 h 834218"/>
                <a:gd name="connsiteX348" fmla="*/ 2707660 w 3024845"/>
                <a:gd name="connsiteY348" fmla="*/ 430193 h 834218"/>
                <a:gd name="connsiteX349" fmla="*/ 2727927 w 3024845"/>
                <a:gd name="connsiteY349" fmla="*/ 434517 h 834218"/>
                <a:gd name="connsiteX350" fmla="*/ 2727927 w 3024845"/>
                <a:gd name="connsiteY350" fmla="*/ 417223 h 834218"/>
                <a:gd name="connsiteX351" fmla="*/ 2736034 w 3024845"/>
                <a:gd name="connsiteY351" fmla="*/ 417223 h 834218"/>
                <a:gd name="connsiteX352" fmla="*/ 2736034 w 3024845"/>
                <a:gd name="connsiteY352" fmla="*/ 404252 h 834218"/>
                <a:gd name="connsiteX353" fmla="*/ 2792781 w 3024845"/>
                <a:gd name="connsiteY353" fmla="*/ 404252 h 834218"/>
                <a:gd name="connsiteX354" fmla="*/ 2792781 w 3024845"/>
                <a:gd name="connsiteY354" fmla="*/ 373987 h 834218"/>
                <a:gd name="connsiteX355" fmla="*/ 2811021 w 3024845"/>
                <a:gd name="connsiteY355" fmla="*/ 373987 h 834218"/>
                <a:gd name="connsiteX356" fmla="*/ 2811021 w 3024845"/>
                <a:gd name="connsiteY356" fmla="*/ 367502 h 834218"/>
                <a:gd name="connsiteX357" fmla="*/ 2823181 w 3024845"/>
                <a:gd name="connsiteY357" fmla="*/ 367502 h 834218"/>
                <a:gd name="connsiteX358" fmla="*/ 2823181 w 3024845"/>
                <a:gd name="connsiteY358" fmla="*/ 373987 h 834218"/>
                <a:gd name="connsiteX359" fmla="*/ 2839395 w 3024845"/>
                <a:gd name="connsiteY359" fmla="*/ 373987 h 834218"/>
                <a:gd name="connsiteX360" fmla="*/ 2839395 w 3024845"/>
                <a:gd name="connsiteY360" fmla="*/ 423708 h 834218"/>
                <a:gd name="connsiteX361" fmla="*/ 2871822 w 3024845"/>
                <a:gd name="connsiteY361" fmla="*/ 423708 h 834218"/>
                <a:gd name="connsiteX362" fmla="*/ 2871822 w 3024845"/>
                <a:gd name="connsiteY362" fmla="*/ 397767 h 834218"/>
                <a:gd name="connsiteX363" fmla="*/ 2910329 w 3024845"/>
                <a:gd name="connsiteY363" fmla="*/ 397767 h 834218"/>
                <a:gd name="connsiteX364" fmla="*/ 2910329 w 3024845"/>
                <a:gd name="connsiteY364" fmla="*/ 367502 h 834218"/>
                <a:gd name="connsiteX365" fmla="*/ 2958970 w 3024845"/>
                <a:gd name="connsiteY365" fmla="*/ 367502 h 834218"/>
                <a:gd name="connsiteX366" fmla="*/ 2958970 w 3024845"/>
                <a:gd name="connsiteY366" fmla="*/ 478658 h 834218"/>
                <a:gd name="connsiteX367" fmla="*/ 2958970 w 3024845"/>
                <a:gd name="connsiteY367" fmla="*/ 492437 h 834218"/>
                <a:gd name="connsiteX368" fmla="*/ 3024845 w 3024845"/>
                <a:gd name="connsiteY368" fmla="*/ 492437 h 834218"/>
                <a:gd name="connsiteX369" fmla="*/ 3024845 w 3024845"/>
                <a:gd name="connsiteY369" fmla="*/ 834218 h 834218"/>
                <a:gd name="connsiteX370" fmla="*/ 2054 w 3024845"/>
                <a:gd name="connsiteY370" fmla="*/ 831885 h 834218"/>
                <a:gd name="connsiteX371" fmla="*/ 0 w 3024845"/>
                <a:gd name="connsiteY371" fmla="*/ 397767 h 834218"/>
                <a:gd name="connsiteX372" fmla="*/ 20267 w 3024845"/>
                <a:gd name="connsiteY372" fmla="*/ 397767 h 834218"/>
                <a:gd name="connsiteX373" fmla="*/ 20774 w 3024845"/>
                <a:gd name="connsiteY373" fmla="*/ 396686 h 834218"/>
                <a:gd name="connsiteX374" fmla="*/ 24320 w 3024845"/>
                <a:gd name="connsiteY374" fmla="*/ 389120 h 834218"/>
                <a:gd name="connsiteX375" fmla="*/ 26094 w 3024845"/>
                <a:gd name="connsiteY375" fmla="*/ 389390 h 834218"/>
                <a:gd name="connsiteX376" fmla="*/ 38507 w 3024845"/>
                <a:gd name="connsiteY376" fmla="*/ 391281 h 834218"/>
                <a:gd name="connsiteX377" fmla="*/ 39014 w 3024845"/>
                <a:gd name="connsiteY377" fmla="*/ 392633 h 834218"/>
                <a:gd name="connsiteX378" fmla="*/ 42560 w 3024845"/>
                <a:gd name="connsiteY378" fmla="*/ 402090 h 834218"/>
                <a:gd name="connsiteX379" fmla="*/ 68907 w 3024845"/>
                <a:gd name="connsiteY379" fmla="*/ 404252 h 834218"/>
                <a:gd name="connsiteX380" fmla="*/ 68907 w 3024845"/>
                <a:gd name="connsiteY380" fmla="*/ 281031 h 834218"/>
                <a:gd name="connsiteX381" fmla="*/ 70934 w 3024845"/>
                <a:gd name="connsiteY381" fmla="*/ 281031 h 834218"/>
                <a:gd name="connsiteX382" fmla="*/ 85121 w 3024845"/>
                <a:gd name="connsiteY382" fmla="*/ 281031 h 834218"/>
                <a:gd name="connsiteX383" fmla="*/ 85121 w 3024845"/>
                <a:gd name="connsiteY383" fmla="*/ 144839 h 834218"/>
                <a:gd name="connsiteX384" fmla="*/ 86894 w 3024845"/>
                <a:gd name="connsiteY384" fmla="*/ 144839 h 834218"/>
                <a:gd name="connsiteX385" fmla="*/ 99308 w 3024845"/>
                <a:gd name="connsiteY385" fmla="*/ 144839 h 834218"/>
                <a:gd name="connsiteX386" fmla="*/ 99308 w 3024845"/>
                <a:gd name="connsiteY386" fmla="*/ 30265 h 834218"/>
                <a:gd name="connsiteX387" fmla="*/ 103361 w 3024845"/>
                <a:gd name="connsiteY387" fmla="*/ 2161 h 834218"/>
                <a:gd name="connsiteX0" fmla="*/ 103361 w 3024845"/>
                <a:gd name="connsiteY0" fmla="*/ 2161 h 834218"/>
                <a:gd name="connsiteX1" fmla="*/ 200642 w 3024845"/>
                <a:gd name="connsiteY1" fmla="*/ 0 h 834218"/>
                <a:gd name="connsiteX2" fmla="*/ 220909 w 3024845"/>
                <a:gd name="connsiteY2" fmla="*/ 144839 h 834218"/>
                <a:gd name="connsiteX3" fmla="*/ 223189 w 3024845"/>
                <a:gd name="connsiteY3" fmla="*/ 144839 h 834218"/>
                <a:gd name="connsiteX4" fmla="*/ 239150 w 3024845"/>
                <a:gd name="connsiteY4" fmla="*/ 144839 h 834218"/>
                <a:gd name="connsiteX5" fmla="*/ 239150 w 3024845"/>
                <a:gd name="connsiteY5" fmla="*/ 285354 h 834218"/>
                <a:gd name="connsiteX6" fmla="*/ 240670 w 3024845"/>
                <a:gd name="connsiteY6" fmla="*/ 285084 h 834218"/>
                <a:gd name="connsiteX7" fmla="*/ 251310 w 3024845"/>
                <a:gd name="connsiteY7" fmla="*/ 283193 h 834218"/>
                <a:gd name="connsiteX8" fmla="*/ 249283 w 3024845"/>
                <a:gd name="connsiteY8" fmla="*/ 371825 h 834218"/>
                <a:gd name="connsiteX9" fmla="*/ 250803 w 3024845"/>
                <a:gd name="connsiteY9" fmla="*/ 372096 h 834218"/>
                <a:gd name="connsiteX10" fmla="*/ 261443 w 3024845"/>
                <a:gd name="connsiteY10" fmla="*/ 373987 h 834218"/>
                <a:gd name="connsiteX11" fmla="*/ 261696 w 3024845"/>
                <a:gd name="connsiteY11" fmla="*/ 374798 h 834218"/>
                <a:gd name="connsiteX12" fmla="*/ 263470 w 3024845"/>
                <a:gd name="connsiteY12" fmla="*/ 380473 h 834218"/>
                <a:gd name="connsiteX13" fmla="*/ 264230 w 3024845"/>
                <a:gd name="connsiteY13" fmla="*/ 378041 h 834218"/>
                <a:gd name="connsiteX14" fmla="*/ 269550 w 3024845"/>
                <a:gd name="connsiteY14" fmla="*/ 361017 h 834218"/>
                <a:gd name="connsiteX15" fmla="*/ 271323 w 3024845"/>
                <a:gd name="connsiteY15" fmla="*/ 361017 h 834218"/>
                <a:gd name="connsiteX16" fmla="*/ 283737 w 3024845"/>
                <a:gd name="connsiteY16" fmla="*/ 361017 h 834218"/>
                <a:gd name="connsiteX17" fmla="*/ 283737 w 3024845"/>
                <a:gd name="connsiteY17" fmla="*/ 393443 h 834218"/>
                <a:gd name="connsiteX18" fmla="*/ 284750 w 3024845"/>
                <a:gd name="connsiteY18" fmla="*/ 393984 h 834218"/>
                <a:gd name="connsiteX19" fmla="*/ 291844 w 3024845"/>
                <a:gd name="connsiteY19" fmla="*/ 397767 h 834218"/>
                <a:gd name="connsiteX20" fmla="*/ 291844 w 3024845"/>
                <a:gd name="connsiteY20" fmla="*/ 399118 h 834218"/>
                <a:gd name="connsiteX21" fmla="*/ 291844 w 3024845"/>
                <a:gd name="connsiteY21" fmla="*/ 408576 h 834218"/>
                <a:gd name="connsiteX22" fmla="*/ 336431 w 3024845"/>
                <a:gd name="connsiteY22" fmla="*/ 408576 h 834218"/>
                <a:gd name="connsiteX23" fmla="*/ 336431 w 3024845"/>
                <a:gd name="connsiteY23" fmla="*/ 409657 h 834218"/>
                <a:gd name="connsiteX24" fmla="*/ 336431 w 3024845"/>
                <a:gd name="connsiteY24" fmla="*/ 417223 h 834218"/>
                <a:gd name="connsiteX25" fmla="*/ 338457 w 3024845"/>
                <a:gd name="connsiteY25" fmla="*/ 417223 h 834218"/>
                <a:gd name="connsiteX26" fmla="*/ 352644 w 3024845"/>
                <a:gd name="connsiteY26" fmla="*/ 417223 h 834218"/>
                <a:gd name="connsiteX27" fmla="*/ 352644 w 3024845"/>
                <a:gd name="connsiteY27" fmla="*/ 386958 h 834218"/>
                <a:gd name="connsiteX28" fmla="*/ 397231 w 3024845"/>
                <a:gd name="connsiteY28" fmla="*/ 386958 h 834218"/>
                <a:gd name="connsiteX29" fmla="*/ 397231 w 3024845"/>
                <a:gd name="connsiteY29" fmla="*/ 385607 h 834218"/>
                <a:gd name="connsiteX30" fmla="*/ 397231 w 3024845"/>
                <a:gd name="connsiteY30" fmla="*/ 376149 h 834218"/>
                <a:gd name="connsiteX31" fmla="*/ 398245 w 3024845"/>
                <a:gd name="connsiteY31" fmla="*/ 376149 h 834218"/>
                <a:gd name="connsiteX32" fmla="*/ 405338 w 3024845"/>
                <a:gd name="connsiteY32" fmla="*/ 376149 h 834218"/>
                <a:gd name="connsiteX33" fmla="*/ 405338 w 3024845"/>
                <a:gd name="connsiteY33" fmla="*/ 374258 h 834218"/>
                <a:gd name="connsiteX34" fmla="*/ 405338 w 3024845"/>
                <a:gd name="connsiteY34" fmla="*/ 361017 h 834218"/>
                <a:gd name="connsiteX35" fmla="*/ 406098 w 3024845"/>
                <a:gd name="connsiteY35" fmla="*/ 361017 h 834218"/>
                <a:gd name="connsiteX36" fmla="*/ 411418 w 3024845"/>
                <a:gd name="connsiteY36" fmla="*/ 361017 h 834218"/>
                <a:gd name="connsiteX37" fmla="*/ 411418 w 3024845"/>
                <a:gd name="connsiteY37" fmla="*/ 359936 h 834218"/>
                <a:gd name="connsiteX38" fmla="*/ 411418 w 3024845"/>
                <a:gd name="connsiteY38" fmla="*/ 352369 h 834218"/>
                <a:gd name="connsiteX39" fmla="*/ 413445 w 3024845"/>
                <a:gd name="connsiteY39" fmla="*/ 352369 h 834218"/>
                <a:gd name="connsiteX40" fmla="*/ 427632 w 3024845"/>
                <a:gd name="connsiteY40" fmla="*/ 352369 h 834218"/>
                <a:gd name="connsiteX41" fmla="*/ 427632 w 3024845"/>
                <a:gd name="connsiteY41" fmla="*/ 353450 h 834218"/>
                <a:gd name="connsiteX42" fmla="*/ 427632 w 3024845"/>
                <a:gd name="connsiteY42" fmla="*/ 361017 h 834218"/>
                <a:gd name="connsiteX43" fmla="*/ 449925 w 3024845"/>
                <a:gd name="connsiteY43" fmla="*/ 361017 h 834218"/>
                <a:gd name="connsiteX44" fmla="*/ 449925 w 3024845"/>
                <a:gd name="connsiteY44" fmla="*/ 359125 h 834218"/>
                <a:gd name="connsiteX45" fmla="*/ 449925 w 3024845"/>
                <a:gd name="connsiteY45" fmla="*/ 345884 h 834218"/>
                <a:gd name="connsiteX46" fmla="*/ 451699 w 3024845"/>
                <a:gd name="connsiteY46" fmla="*/ 345884 h 834218"/>
                <a:gd name="connsiteX47" fmla="*/ 464112 w 3024845"/>
                <a:gd name="connsiteY47" fmla="*/ 345884 h 834218"/>
                <a:gd name="connsiteX48" fmla="*/ 464112 w 3024845"/>
                <a:gd name="connsiteY48" fmla="*/ 369664 h 834218"/>
                <a:gd name="connsiteX49" fmla="*/ 465126 w 3024845"/>
                <a:gd name="connsiteY49" fmla="*/ 369664 h 834218"/>
                <a:gd name="connsiteX50" fmla="*/ 472219 w 3024845"/>
                <a:gd name="connsiteY50" fmla="*/ 369664 h 834218"/>
                <a:gd name="connsiteX51" fmla="*/ 472219 w 3024845"/>
                <a:gd name="connsiteY51" fmla="*/ 368583 h 834218"/>
                <a:gd name="connsiteX52" fmla="*/ 472219 w 3024845"/>
                <a:gd name="connsiteY52" fmla="*/ 361017 h 834218"/>
                <a:gd name="connsiteX53" fmla="*/ 473992 w 3024845"/>
                <a:gd name="connsiteY53" fmla="*/ 361017 h 834218"/>
                <a:gd name="connsiteX54" fmla="*/ 486406 w 3024845"/>
                <a:gd name="connsiteY54" fmla="*/ 361017 h 834218"/>
                <a:gd name="connsiteX55" fmla="*/ 486406 w 3024845"/>
                <a:gd name="connsiteY55" fmla="*/ 386958 h 834218"/>
                <a:gd name="connsiteX56" fmla="*/ 488433 w 3024845"/>
                <a:gd name="connsiteY56" fmla="*/ 386958 h 834218"/>
                <a:gd name="connsiteX57" fmla="*/ 502619 w 3024845"/>
                <a:gd name="connsiteY57" fmla="*/ 386958 h 834218"/>
                <a:gd name="connsiteX58" fmla="*/ 502619 w 3024845"/>
                <a:gd name="connsiteY58" fmla="*/ 388579 h 834218"/>
                <a:gd name="connsiteX59" fmla="*/ 502619 w 3024845"/>
                <a:gd name="connsiteY59" fmla="*/ 399929 h 834218"/>
                <a:gd name="connsiteX60" fmla="*/ 503379 w 3024845"/>
                <a:gd name="connsiteY60" fmla="*/ 399929 h 834218"/>
                <a:gd name="connsiteX61" fmla="*/ 508700 w 3024845"/>
                <a:gd name="connsiteY61" fmla="*/ 399929 h 834218"/>
                <a:gd name="connsiteX62" fmla="*/ 508700 w 3024845"/>
                <a:gd name="connsiteY62" fmla="*/ 399118 h 834218"/>
                <a:gd name="connsiteX63" fmla="*/ 508700 w 3024845"/>
                <a:gd name="connsiteY63" fmla="*/ 393443 h 834218"/>
                <a:gd name="connsiteX64" fmla="*/ 539100 w 3024845"/>
                <a:gd name="connsiteY64" fmla="*/ 393443 h 834218"/>
                <a:gd name="connsiteX65" fmla="*/ 539100 w 3024845"/>
                <a:gd name="connsiteY65" fmla="*/ 417223 h 834218"/>
                <a:gd name="connsiteX66" fmla="*/ 540113 w 3024845"/>
                <a:gd name="connsiteY66" fmla="*/ 417223 h 834218"/>
                <a:gd name="connsiteX67" fmla="*/ 547207 w 3024845"/>
                <a:gd name="connsiteY67" fmla="*/ 417223 h 834218"/>
                <a:gd name="connsiteX68" fmla="*/ 547207 w 3024845"/>
                <a:gd name="connsiteY68" fmla="*/ 418304 h 834218"/>
                <a:gd name="connsiteX69" fmla="*/ 547207 w 3024845"/>
                <a:gd name="connsiteY69" fmla="*/ 425870 h 834218"/>
                <a:gd name="connsiteX70" fmla="*/ 547967 w 3024845"/>
                <a:gd name="connsiteY70" fmla="*/ 425870 h 834218"/>
                <a:gd name="connsiteX71" fmla="*/ 553287 w 3024845"/>
                <a:gd name="connsiteY71" fmla="*/ 425870 h 834218"/>
                <a:gd name="connsiteX72" fmla="*/ 553287 w 3024845"/>
                <a:gd name="connsiteY72" fmla="*/ 423708 h 834218"/>
                <a:gd name="connsiteX73" fmla="*/ 553287 w 3024845"/>
                <a:gd name="connsiteY73" fmla="*/ 408576 h 834218"/>
                <a:gd name="connsiteX74" fmla="*/ 554300 w 3024845"/>
                <a:gd name="connsiteY74" fmla="*/ 408576 h 834218"/>
                <a:gd name="connsiteX75" fmla="*/ 561394 w 3024845"/>
                <a:gd name="connsiteY75" fmla="*/ 408576 h 834218"/>
                <a:gd name="connsiteX76" fmla="*/ 561394 w 3024845"/>
                <a:gd name="connsiteY76" fmla="*/ 409657 h 834218"/>
                <a:gd name="connsiteX77" fmla="*/ 561394 w 3024845"/>
                <a:gd name="connsiteY77" fmla="*/ 417223 h 834218"/>
                <a:gd name="connsiteX78" fmla="*/ 566714 w 3024845"/>
                <a:gd name="connsiteY78" fmla="*/ 415230 h 834218"/>
                <a:gd name="connsiteX79" fmla="*/ 567474 w 3024845"/>
                <a:gd name="connsiteY79" fmla="*/ 414250 h 834218"/>
                <a:gd name="connsiteX80" fmla="*/ 567474 w 3024845"/>
                <a:gd name="connsiteY80" fmla="*/ 408576 h 834218"/>
                <a:gd name="connsiteX81" fmla="*/ 605981 w 3024845"/>
                <a:gd name="connsiteY81" fmla="*/ 408576 h 834218"/>
                <a:gd name="connsiteX82" fmla="*/ 605981 w 3024845"/>
                <a:gd name="connsiteY82" fmla="*/ 432355 h 834218"/>
                <a:gd name="connsiteX83" fmla="*/ 608007 w 3024845"/>
                <a:gd name="connsiteY83" fmla="*/ 432355 h 834218"/>
                <a:gd name="connsiteX84" fmla="*/ 622194 w 3024845"/>
                <a:gd name="connsiteY84" fmla="*/ 432355 h 834218"/>
                <a:gd name="connsiteX85" fmla="*/ 622194 w 3024845"/>
                <a:gd name="connsiteY85" fmla="*/ 433436 h 834218"/>
                <a:gd name="connsiteX86" fmla="*/ 622194 w 3024845"/>
                <a:gd name="connsiteY86" fmla="*/ 441002 h 834218"/>
                <a:gd name="connsiteX87" fmla="*/ 623968 w 3024845"/>
                <a:gd name="connsiteY87" fmla="*/ 441002 h 834218"/>
                <a:gd name="connsiteX88" fmla="*/ 636381 w 3024845"/>
                <a:gd name="connsiteY88" fmla="*/ 441002 h 834218"/>
                <a:gd name="connsiteX89" fmla="*/ 636381 w 3024845"/>
                <a:gd name="connsiteY89" fmla="*/ 417223 h 834218"/>
                <a:gd name="connsiteX90" fmla="*/ 637394 w 3024845"/>
                <a:gd name="connsiteY90" fmla="*/ 417223 h 834218"/>
                <a:gd name="connsiteX91" fmla="*/ 644488 w 3024845"/>
                <a:gd name="connsiteY91" fmla="*/ 417223 h 834218"/>
                <a:gd name="connsiteX92" fmla="*/ 644488 w 3024845"/>
                <a:gd name="connsiteY92" fmla="*/ 384796 h 834218"/>
                <a:gd name="connsiteX93" fmla="*/ 645501 w 3024845"/>
                <a:gd name="connsiteY93" fmla="*/ 384796 h 834218"/>
                <a:gd name="connsiteX94" fmla="*/ 652595 w 3024845"/>
                <a:gd name="connsiteY94" fmla="*/ 384796 h 834218"/>
                <a:gd name="connsiteX95" fmla="*/ 652595 w 3024845"/>
                <a:gd name="connsiteY95" fmla="*/ 382905 h 834218"/>
                <a:gd name="connsiteX96" fmla="*/ 652595 w 3024845"/>
                <a:gd name="connsiteY96" fmla="*/ 369664 h 834218"/>
                <a:gd name="connsiteX97" fmla="*/ 651328 w 3024845"/>
                <a:gd name="connsiteY97" fmla="*/ 368042 h 834218"/>
                <a:gd name="connsiteX98" fmla="*/ 656648 w 3024845"/>
                <a:gd name="connsiteY98" fmla="*/ 356693 h 834218"/>
                <a:gd name="connsiteX99" fmla="*/ 664755 w 3024845"/>
                <a:gd name="connsiteY99" fmla="*/ 384796 h 834218"/>
                <a:gd name="connsiteX100" fmla="*/ 665515 w 3024845"/>
                <a:gd name="connsiteY100" fmla="*/ 384796 h 834218"/>
                <a:gd name="connsiteX101" fmla="*/ 670835 w 3024845"/>
                <a:gd name="connsiteY101" fmla="*/ 384796 h 834218"/>
                <a:gd name="connsiteX102" fmla="*/ 670835 w 3024845"/>
                <a:gd name="connsiteY102" fmla="*/ 278869 h 834218"/>
                <a:gd name="connsiteX103" fmla="*/ 672355 w 3024845"/>
                <a:gd name="connsiteY103" fmla="*/ 278869 h 834218"/>
                <a:gd name="connsiteX104" fmla="*/ 682995 w 3024845"/>
                <a:gd name="connsiteY104" fmla="*/ 278869 h 834218"/>
                <a:gd name="connsiteX105" fmla="*/ 682995 w 3024845"/>
                <a:gd name="connsiteY105" fmla="*/ 231310 h 834218"/>
                <a:gd name="connsiteX106" fmla="*/ 709342 w 3024845"/>
                <a:gd name="connsiteY106" fmla="*/ 231310 h 834218"/>
                <a:gd name="connsiteX107" fmla="*/ 709342 w 3024845"/>
                <a:gd name="connsiteY107" fmla="*/ 209692 h 834218"/>
                <a:gd name="connsiteX108" fmla="*/ 743796 w 3024845"/>
                <a:gd name="connsiteY108" fmla="*/ 209692 h 834218"/>
                <a:gd name="connsiteX109" fmla="*/ 743796 w 3024845"/>
                <a:gd name="connsiteY109" fmla="*/ 212124 h 834218"/>
                <a:gd name="connsiteX110" fmla="*/ 743796 w 3024845"/>
                <a:gd name="connsiteY110" fmla="*/ 229148 h 834218"/>
                <a:gd name="connsiteX111" fmla="*/ 746076 w 3024845"/>
                <a:gd name="connsiteY111" fmla="*/ 229148 h 834218"/>
                <a:gd name="connsiteX112" fmla="*/ 762036 w 3024845"/>
                <a:gd name="connsiteY112" fmla="*/ 229148 h 834218"/>
                <a:gd name="connsiteX113" fmla="*/ 762036 w 3024845"/>
                <a:gd name="connsiteY113" fmla="*/ 276707 h 834218"/>
                <a:gd name="connsiteX114" fmla="*/ 763049 w 3024845"/>
                <a:gd name="connsiteY114" fmla="*/ 276707 h 834218"/>
                <a:gd name="connsiteX115" fmla="*/ 770143 w 3024845"/>
                <a:gd name="connsiteY115" fmla="*/ 276707 h 834218"/>
                <a:gd name="connsiteX116" fmla="*/ 784330 w 3024845"/>
                <a:gd name="connsiteY116" fmla="*/ 281031 h 834218"/>
                <a:gd name="connsiteX117" fmla="*/ 784330 w 3024845"/>
                <a:gd name="connsiteY117" fmla="*/ 319943 h 834218"/>
                <a:gd name="connsiteX118" fmla="*/ 785343 w 3024845"/>
                <a:gd name="connsiteY118" fmla="*/ 319943 h 834218"/>
                <a:gd name="connsiteX119" fmla="*/ 792436 w 3024845"/>
                <a:gd name="connsiteY119" fmla="*/ 319943 h 834218"/>
                <a:gd name="connsiteX120" fmla="*/ 792436 w 3024845"/>
                <a:gd name="connsiteY120" fmla="*/ 321564 h 834218"/>
                <a:gd name="connsiteX121" fmla="*/ 792436 w 3024845"/>
                <a:gd name="connsiteY121" fmla="*/ 332913 h 834218"/>
                <a:gd name="connsiteX122" fmla="*/ 794463 w 3024845"/>
                <a:gd name="connsiteY122" fmla="*/ 332913 h 834218"/>
                <a:gd name="connsiteX123" fmla="*/ 808650 w 3024845"/>
                <a:gd name="connsiteY123" fmla="*/ 332913 h 834218"/>
                <a:gd name="connsiteX124" fmla="*/ 814730 w 3024845"/>
                <a:gd name="connsiteY124" fmla="*/ 339399 h 834218"/>
                <a:gd name="connsiteX125" fmla="*/ 814730 w 3024845"/>
                <a:gd name="connsiteY125" fmla="*/ 361017 h 834218"/>
                <a:gd name="connsiteX126" fmla="*/ 817010 w 3024845"/>
                <a:gd name="connsiteY126" fmla="*/ 361017 h 834218"/>
                <a:gd name="connsiteX127" fmla="*/ 832970 w 3024845"/>
                <a:gd name="connsiteY127" fmla="*/ 361017 h 834218"/>
                <a:gd name="connsiteX128" fmla="*/ 832970 w 3024845"/>
                <a:gd name="connsiteY128" fmla="*/ 362097 h 834218"/>
                <a:gd name="connsiteX129" fmla="*/ 832970 w 3024845"/>
                <a:gd name="connsiteY129" fmla="*/ 369664 h 834218"/>
                <a:gd name="connsiteX130" fmla="*/ 834237 w 3024845"/>
                <a:gd name="connsiteY130" fmla="*/ 369664 h 834218"/>
                <a:gd name="connsiteX131" fmla="*/ 843104 w 3024845"/>
                <a:gd name="connsiteY131" fmla="*/ 369664 h 834218"/>
                <a:gd name="connsiteX132" fmla="*/ 843104 w 3024845"/>
                <a:gd name="connsiteY132" fmla="*/ 371825 h 834218"/>
                <a:gd name="connsiteX133" fmla="*/ 843104 w 3024845"/>
                <a:gd name="connsiteY133" fmla="*/ 386958 h 834218"/>
                <a:gd name="connsiteX134" fmla="*/ 847157 w 3024845"/>
                <a:gd name="connsiteY134" fmla="*/ 385066 h 834218"/>
                <a:gd name="connsiteX135" fmla="*/ 847157 w 3024845"/>
                <a:gd name="connsiteY135" fmla="*/ 371825 h 834218"/>
                <a:gd name="connsiteX136" fmla="*/ 848170 w 3024845"/>
                <a:gd name="connsiteY136" fmla="*/ 371825 h 834218"/>
                <a:gd name="connsiteX137" fmla="*/ 855264 w 3024845"/>
                <a:gd name="connsiteY137" fmla="*/ 371825 h 834218"/>
                <a:gd name="connsiteX138" fmla="*/ 855264 w 3024845"/>
                <a:gd name="connsiteY138" fmla="*/ 373447 h 834218"/>
                <a:gd name="connsiteX139" fmla="*/ 855264 w 3024845"/>
                <a:gd name="connsiteY139" fmla="*/ 384796 h 834218"/>
                <a:gd name="connsiteX140" fmla="*/ 856024 w 3024845"/>
                <a:gd name="connsiteY140" fmla="*/ 384796 h 834218"/>
                <a:gd name="connsiteX141" fmla="*/ 861344 w 3024845"/>
                <a:gd name="connsiteY141" fmla="*/ 384796 h 834218"/>
                <a:gd name="connsiteX142" fmla="*/ 909984 w 3024845"/>
                <a:gd name="connsiteY142" fmla="*/ 380473 h 834218"/>
                <a:gd name="connsiteX143" fmla="*/ 909984 w 3024845"/>
                <a:gd name="connsiteY143" fmla="*/ 381824 h 834218"/>
                <a:gd name="connsiteX144" fmla="*/ 909984 w 3024845"/>
                <a:gd name="connsiteY144" fmla="*/ 391281 h 834218"/>
                <a:gd name="connsiteX145" fmla="*/ 910744 w 3024845"/>
                <a:gd name="connsiteY145" fmla="*/ 391281 h 834218"/>
                <a:gd name="connsiteX146" fmla="*/ 916065 w 3024845"/>
                <a:gd name="connsiteY146" fmla="*/ 391281 h 834218"/>
                <a:gd name="connsiteX147" fmla="*/ 916065 w 3024845"/>
                <a:gd name="connsiteY147" fmla="*/ 393443 h 834218"/>
                <a:gd name="connsiteX148" fmla="*/ 916065 w 3024845"/>
                <a:gd name="connsiteY148" fmla="*/ 408576 h 834218"/>
                <a:gd name="connsiteX149" fmla="*/ 918091 w 3024845"/>
                <a:gd name="connsiteY149" fmla="*/ 407225 h 834218"/>
                <a:gd name="connsiteX150" fmla="*/ 932278 w 3024845"/>
                <a:gd name="connsiteY150" fmla="*/ 397767 h 834218"/>
                <a:gd name="connsiteX151" fmla="*/ 938358 w 3024845"/>
                <a:gd name="connsiteY151" fmla="*/ 356693 h 834218"/>
                <a:gd name="connsiteX152" fmla="*/ 939118 w 3024845"/>
                <a:gd name="connsiteY152" fmla="*/ 356423 h 834218"/>
                <a:gd name="connsiteX153" fmla="*/ 944438 w 3024845"/>
                <a:gd name="connsiteY153" fmla="*/ 354531 h 834218"/>
                <a:gd name="connsiteX154" fmla="*/ 946465 w 3024845"/>
                <a:gd name="connsiteY154" fmla="*/ 285354 h 834218"/>
                <a:gd name="connsiteX155" fmla="*/ 948492 w 3024845"/>
                <a:gd name="connsiteY155" fmla="*/ 354531 h 834218"/>
                <a:gd name="connsiteX156" fmla="*/ 949252 w 3024845"/>
                <a:gd name="connsiteY156" fmla="*/ 354801 h 834218"/>
                <a:gd name="connsiteX157" fmla="*/ 954572 w 3024845"/>
                <a:gd name="connsiteY157" fmla="*/ 356693 h 834218"/>
                <a:gd name="connsiteX158" fmla="*/ 954572 w 3024845"/>
                <a:gd name="connsiteY158" fmla="*/ 270222 h 834218"/>
                <a:gd name="connsiteX159" fmla="*/ 958625 w 3024845"/>
                <a:gd name="connsiteY159" fmla="*/ 237795 h 834218"/>
                <a:gd name="connsiteX160" fmla="*/ 997132 w 3024845"/>
                <a:gd name="connsiteY160" fmla="*/ 237795 h 834218"/>
                <a:gd name="connsiteX161" fmla="*/ 997132 w 3024845"/>
                <a:gd name="connsiteY161" fmla="*/ 270222 h 834218"/>
                <a:gd name="connsiteX162" fmla="*/ 997892 w 3024845"/>
                <a:gd name="connsiteY162" fmla="*/ 270222 h 834218"/>
                <a:gd name="connsiteX163" fmla="*/ 1003212 w 3024845"/>
                <a:gd name="connsiteY163" fmla="*/ 270222 h 834218"/>
                <a:gd name="connsiteX164" fmla="*/ 1003212 w 3024845"/>
                <a:gd name="connsiteY164" fmla="*/ 188074 h 834218"/>
                <a:gd name="connsiteX165" fmla="*/ 1004986 w 3024845"/>
                <a:gd name="connsiteY165" fmla="*/ 188074 h 834218"/>
                <a:gd name="connsiteX166" fmla="*/ 1017399 w 3024845"/>
                <a:gd name="connsiteY166" fmla="*/ 188074 h 834218"/>
                <a:gd name="connsiteX167" fmla="*/ 1017399 w 3024845"/>
                <a:gd name="connsiteY167" fmla="*/ 186183 h 834218"/>
                <a:gd name="connsiteX168" fmla="*/ 1017399 w 3024845"/>
                <a:gd name="connsiteY168" fmla="*/ 172942 h 834218"/>
                <a:gd name="connsiteX169" fmla="*/ 1039693 w 3024845"/>
                <a:gd name="connsiteY169" fmla="*/ 172942 h 834218"/>
                <a:gd name="connsiteX170" fmla="*/ 1039693 w 3024845"/>
                <a:gd name="connsiteY170" fmla="*/ 171861 h 834218"/>
                <a:gd name="connsiteX171" fmla="*/ 1039693 w 3024845"/>
                <a:gd name="connsiteY171" fmla="*/ 164295 h 834218"/>
                <a:gd name="connsiteX172" fmla="*/ 1041466 w 3024845"/>
                <a:gd name="connsiteY172" fmla="*/ 164295 h 834218"/>
                <a:gd name="connsiteX173" fmla="*/ 1053880 w 3024845"/>
                <a:gd name="connsiteY173" fmla="*/ 164295 h 834218"/>
                <a:gd name="connsiteX174" fmla="*/ 1053880 w 3024845"/>
                <a:gd name="connsiteY174" fmla="*/ 165376 h 834218"/>
                <a:gd name="connsiteX175" fmla="*/ 1053880 w 3024845"/>
                <a:gd name="connsiteY175" fmla="*/ 172942 h 834218"/>
                <a:gd name="connsiteX176" fmla="*/ 1054640 w 3024845"/>
                <a:gd name="connsiteY176" fmla="*/ 172942 h 834218"/>
                <a:gd name="connsiteX177" fmla="*/ 1059960 w 3024845"/>
                <a:gd name="connsiteY177" fmla="*/ 172942 h 834218"/>
                <a:gd name="connsiteX178" fmla="*/ 1070093 w 3024845"/>
                <a:gd name="connsiteY178" fmla="*/ 168618 h 834218"/>
                <a:gd name="connsiteX179" fmla="*/ 1074146 w 3024845"/>
                <a:gd name="connsiteY179" fmla="*/ 171861 h 834218"/>
                <a:gd name="connsiteX180" fmla="*/ 1074146 w 3024845"/>
                <a:gd name="connsiteY180" fmla="*/ 164295 h 834218"/>
                <a:gd name="connsiteX181" fmla="*/ 1076426 w 3024845"/>
                <a:gd name="connsiteY181" fmla="*/ 164295 h 834218"/>
                <a:gd name="connsiteX182" fmla="*/ 1092387 w 3024845"/>
                <a:gd name="connsiteY182" fmla="*/ 164295 h 834218"/>
                <a:gd name="connsiteX183" fmla="*/ 1092387 w 3024845"/>
                <a:gd name="connsiteY183" fmla="*/ 165376 h 834218"/>
                <a:gd name="connsiteX184" fmla="*/ 1092387 w 3024845"/>
                <a:gd name="connsiteY184" fmla="*/ 172942 h 834218"/>
                <a:gd name="connsiteX185" fmla="*/ 1122787 w 3024845"/>
                <a:gd name="connsiteY185" fmla="*/ 172942 h 834218"/>
                <a:gd name="connsiteX186" fmla="*/ 1122787 w 3024845"/>
                <a:gd name="connsiteY186" fmla="*/ 174563 h 834218"/>
                <a:gd name="connsiteX187" fmla="*/ 1122787 w 3024845"/>
                <a:gd name="connsiteY187" fmla="*/ 185913 h 834218"/>
                <a:gd name="connsiteX188" fmla="*/ 1149134 w 3024845"/>
                <a:gd name="connsiteY188" fmla="*/ 185913 h 834218"/>
                <a:gd name="connsiteX189" fmla="*/ 1149134 w 3024845"/>
                <a:gd name="connsiteY189" fmla="*/ 216177 h 834218"/>
                <a:gd name="connsiteX190" fmla="*/ 1149894 w 3024845"/>
                <a:gd name="connsiteY190" fmla="*/ 216177 h 834218"/>
                <a:gd name="connsiteX191" fmla="*/ 1155214 w 3024845"/>
                <a:gd name="connsiteY191" fmla="*/ 216177 h 834218"/>
                <a:gd name="connsiteX192" fmla="*/ 1155214 w 3024845"/>
                <a:gd name="connsiteY192" fmla="*/ 217258 h 834218"/>
                <a:gd name="connsiteX193" fmla="*/ 1155214 w 3024845"/>
                <a:gd name="connsiteY193" fmla="*/ 224825 h 834218"/>
                <a:gd name="connsiteX194" fmla="*/ 1159268 w 3024845"/>
                <a:gd name="connsiteY194" fmla="*/ 255089 h 834218"/>
                <a:gd name="connsiteX195" fmla="*/ 1160028 w 3024845"/>
                <a:gd name="connsiteY195" fmla="*/ 255089 h 834218"/>
                <a:gd name="connsiteX196" fmla="*/ 1165348 w 3024845"/>
                <a:gd name="connsiteY196" fmla="*/ 255089 h 834218"/>
                <a:gd name="connsiteX197" fmla="*/ 1165348 w 3024845"/>
                <a:gd name="connsiteY197" fmla="*/ 255900 h 834218"/>
                <a:gd name="connsiteX198" fmla="*/ 1165348 w 3024845"/>
                <a:gd name="connsiteY198" fmla="*/ 261575 h 834218"/>
                <a:gd name="connsiteX199" fmla="*/ 1166361 w 3024845"/>
                <a:gd name="connsiteY199" fmla="*/ 261575 h 834218"/>
                <a:gd name="connsiteX200" fmla="*/ 1173454 w 3024845"/>
                <a:gd name="connsiteY200" fmla="*/ 261575 h 834218"/>
                <a:gd name="connsiteX201" fmla="*/ 1173454 w 3024845"/>
                <a:gd name="connsiteY201" fmla="*/ 291840 h 834218"/>
                <a:gd name="connsiteX202" fmla="*/ 1175481 w 3024845"/>
                <a:gd name="connsiteY202" fmla="*/ 291840 h 834218"/>
                <a:gd name="connsiteX203" fmla="*/ 1189668 w 3024845"/>
                <a:gd name="connsiteY203" fmla="*/ 291840 h 834218"/>
                <a:gd name="connsiteX204" fmla="*/ 1189668 w 3024845"/>
                <a:gd name="connsiteY204" fmla="*/ 315619 h 834218"/>
                <a:gd name="connsiteX205" fmla="*/ 1191695 w 3024845"/>
                <a:gd name="connsiteY205" fmla="*/ 317240 h 834218"/>
                <a:gd name="connsiteX206" fmla="*/ 1191695 w 3024845"/>
                <a:gd name="connsiteY206" fmla="*/ 328590 h 834218"/>
                <a:gd name="connsiteX207" fmla="*/ 1192455 w 3024845"/>
                <a:gd name="connsiteY207" fmla="*/ 328590 h 834218"/>
                <a:gd name="connsiteX208" fmla="*/ 1197775 w 3024845"/>
                <a:gd name="connsiteY208" fmla="*/ 328590 h 834218"/>
                <a:gd name="connsiteX209" fmla="*/ 1197775 w 3024845"/>
                <a:gd name="connsiteY209" fmla="*/ 352369 h 834218"/>
                <a:gd name="connsiteX210" fmla="*/ 1199041 w 3024845"/>
                <a:gd name="connsiteY210" fmla="*/ 352369 h 834218"/>
                <a:gd name="connsiteX211" fmla="*/ 1207908 w 3024845"/>
                <a:gd name="connsiteY211" fmla="*/ 352369 h 834218"/>
                <a:gd name="connsiteX212" fmla="*/ 1209935 w 3024845"/>
                <a:gd name="connsiteY212" fmla="*/ 356423 h 834218"/>
                <a:gd name="connsiteX213" fmla="*/ 1209935 w 3024845"/>
                <a:gd name="connsiteY213" fmla="*/ 369664 h 834218"/>
                <a:gd name="connsiteX214" fmla="*/ 1211455 w 3024845"/>
                <a:gd name="connsiteY214" fmla="*/ 367772 h 834218"/>
                <a:gd name="connsiteX215" fmla="*/ 1222095 w 3024845"/>
                <a:gd name="connsiteY215" fmla="*/ 354531 h 834218"/>
                <a:gd name="connsiteX216" fmla="*/ 1250469 w 3024845"/>
                <a:gd name="connsiteY216" fmla="*/ 354531 h 834218"/>
                <a:gd name="connsiteX217" fmla="*/ 1250469 w 3024845"/>
                <a:gd name="connsiteY217" fmla="*/ 441002 h 834218"/>
                <a:gd name="connsiteX218" fmla="*/ 1251229 w 3024845"/>
                <a:gd name="connsiteY218" fmla="*/ 441002 h 834218"/>
                <a:gd name="connsiteX219" fmla="*/ 1256549 w 3024845"/>
                <a:gd name="connsiteY219" fmla="*/ 441002 h 834218"/>
                <a:gd name="connsiteX220" fmla="*/ 1257309 w 3024845"/>
                <a:gd name="connsiteY220" fmla="*/ 439651 h 834218"/>
                <a:gd name="connsiteX221" fmla="*/ 1262629 w 3024845"/>
                <a:gd name="connsiteY221" fmla="*/ 430193 h 834218"/>
                <a:gd name="connsiteX222" fmla="*/ 1262629 w 3024845"/>
                <a:gd name="connsiteY222" fmla="*/ 432085 h 834218"/>
                <a:gd name="connsiteX223" fmla="*/ 1262629 w 3024845"/>
                <a:gd name="connsiteY223" fmla="*/ 445326 h 834218"/>
                <a:gd name="connsiteX224" fmla="*/ 1266682 w 3024845"/>
                <a:gd name="connsiteY224" fmla="*/ 399929 h 834218"/>
                <a:gd name="connsiteX225" fmla="*/ 1267442 w 3024845"/>
                <a:gd name="connsiteY225" fmla="*/ 399929 h 834218"/>
                <a:gd name="connsiteX226" fmla="*/ 1272762 w 3024845"/>
                <a:gd name="connsiteY226" fmla="*/ 399929 h 834218"/>
                <a:gd name="connsiteX227" fmla="*/ 1272762 w 3024845"/>
                <a:gd name="connsiteY227" fmla="*/ 335075 h 834218"/>
                <a:gd name="connsiteX228" fmla="*/ 1273776 w 3024845"/>
                <a:gd name="connsiteY228" fmla="*/ 335075 h 834218"/>
                <a:gd name="connsiteX229" fmla="*/ 1280869 w 3024845"/>
                <a:gd name="connsiteY229" fmla="*/ 335075 h 834218"/>
                <a:gd name="connsiteX230" fmla="*/ 1293029 w 3024845"/>
                <a:gd name="connsiteY230" fmla="*/ 291840 h 834218"/>
                <a:gd name="connsiteX231" fmla="*/ 1294296 w 3024845"/>
                <a:gd name="connsiteY231" fmla="*/ 291840 h 834218"/>
                <a:gd name="connsiteX232" fmla="*/ 1303163 w 3024845"/>
                <a:gd name="connsiteY232" fmla="*/ 291840 h 834218"/>
                <a:gd name="connsiteX233" fmla="*/ 1313296 w 3024845"/>
                <a:gd name="connsiteY233" fmla="*/ 335075 h 834218"/>
                <a:gd name="connsiteX234" fmla="*/ 1314309 w 3024845"/>
                <a:gd name="connsiteY234" fmla="*/ 335075 h 834218"/>
                <a:gd name="connsiteX235" fmla="*/ 1321403 w 3024845"/>
                <a:gd name="connsiteY235" fmla="*/ 335075 h 834218"/>
                <a:gd name="connsiteX236" fmla="*/ 1321403 w 3024845"/>
                <a:gd name="connsiteY236" fmla="*/ 373987 h 834218"/>
                <a:gd name="connsiteX237" fmla="*/ 1323176 w 3024845"/>
                <a:gd name="connsiteY237" fmla="*/ 373987 h 834218"/>
                <a:gd name="connsiteX238" fmla="*/ 1335590 w 3024845"/>
                <a:gd name="connsiteY238" fmla="*/ 373987 h 834218"/>
                <a:gd name="connsiteX239" fmla="*/ 1335590 w 3024845"/>
                <a:gd name="connsiteY239" fmla="*/ 376149 h 834218"/>
                <a:gd name="connsiteX240" fmla="*/ 1335590 w 3024845"/>
                <a:gd name="connsiteY240" fmla="*/ 391281 h 834218"/>
                <a:gd name="connsiteX241" fmla="*/ 1339643 w 3024845"/>
                <a:gd name="connsiteY241" fmla="*/ 389120 h 834218"/>
                <a:gd name="connsiteX242" fmla="*/ 1339643 w 3024845"/>
                <a:gd name="connsiteY242" fmla="*/ 373987 h 834218"/>
                <a:gd name="connsiteX243" fmla="*/ 1341163 w 3024845"/>
                <a:gd name="connsiteY243" fmla="*/ 373987 h 834218"/>
                <a:gd name="connsiteX244" fmla="*/ 1351803 w 3024845"/>
                <a:gd name="connsiteY244" fmla="*/ 373987 h 834218"/>
                <a:gd name="connsiteX245" fmla="*/ 1351803 w 3024845"/>
                <a:gd name="connsiteY245" fmla="*/ 375608 h 834218"/>
                <a:gd name="connsiteX246" fmla="*/ 1351803 w 3024845"/>
                <a:gd name="connsiteY246" fmla="*/ 386958 h 834218"/>
                <a:gd name="connsiteX247" fmla="*/ 1382204 w 3024845"/>
                <a:gd name="connsiteY247" fmla="*/ 386958 h 834218"/>
                <a:gd name="connsiteX248" fmla="*/ 1382204 w 3024845"/>
                <a:gd name="connsiteY248" fmla="*/ 350208 h 834218"/>
                <a:gd name="connsiteX249" fmla="*/ 1383470 w 3024845"/>
                <a:gd name="connsiteY249" fmla="*/ 350208 h 834218"/>
                <a:gd name="connsiteX250" fmla="*/ 1392337 w 3024845"/>
                <a:gd name="connsiteY250" fmla="*/ 350208 h 834218"/>
                <a:gd name="connsiteX251" fmla="*/ 1392337 w 3024845"/>
                <a:gd name="connsiteY251" fmla="*/ 371825 h 834218"/>
                <a:gd name="connsiteX252" fmla="*/ 1394364 w 3024845"/>
                <a:gd name="connsiteY252" fmla="*/ 339399 h 834218"/>
                <a:gd name="connsiteX253" fmla="*/ 1416657 w 3024845"/>
                <a:gd name="connsiteY253" fmla="*/ 339399 h 834218"/>
                <a:gd name="connsiteX254" fmla="*/ 1416657 w 3024845"/>
                <a:gd name="connsiteY254" fmla="*/ 337777 h 834218"/>
                <a:gd name="connsiteX255" fmla="*/ 1416657 w 3024845"/>
                <a:gd name="connsiteY255" fmla="*/ 326428 h 834218"/>
                <a:gd name="connsiteX256" fmla="*/ 1417417 w 3024845"/>
                <a:gd name="connsiteY256" fmla="*/ 326428 h 834218"/>
                <a:gd name="connsiteX257" fmla="*/ 1422737 w 3024845"/>
                <a:gd name="connsiteY257" fmla="*/ 326428 h 834218"/>
                <a:gd name="connsiteX258" fmla="*/ 1422737 w 3024845"/>
                <a:gd name="connsiteY258" fmla="*/ 324537 h 834218"/>
                <a:gd name="connsiteX259" fmla="*/ 1422737 w 3024845"/>
                <a:gd name="connsiteY259" fmla="*/ 311296 h 834218"/>
                <a:gd name="connsiteX260" fmla="*/ 1426791 w 3024845"/>
                <a:gd name="connsiteY260" fmla="*/ 317781 h 834218"/>
                <a:gd name="connsiteX261" fmla="*/ 1429071 w 3024845"/>
                <a:gd name="connsiteY261" fmla="*/ 317781 h 834218"/>
                <a:gd name="connsiteX262" fmla="*/ 1445031 w 3024845"/>
                <a:gd name="connsiteY262" fmla="*/ 317781 h 834218"/>
                <a:gd name="connsiteX263" fmla="*/ 1445031 w 3024845"/>
                <a:gd name="connsiteY263" fmla="*/ 316970 h 834218"/>
                <a:gd name="connsiteX264" fmla="*/ 1445031 w 3024845"/>
                <a:gd name="connsiteY264" fmla="*/ 311296 h 834218"/>
                <a:gd name="connsiteX265" fmla="*/ 1445791 w 3024845"/>
                <a:gd name="connsiteY265" fmla="*/ 311296 h 834218"/>
                <a:gd name="connsiteX266" fmla="*/ 1451111 w 3024845"/>
                <a:gd name="connsiteY266" fmla="*/ 311296 h 834218"/>
                <a:gd name="connsiteX267" fmla="*/ 1451111 w 3024845"/>
                <a:gd name="connsiteY267" fmla="*/ 312647 h 834218"/>
                <a:gd name="connsiteX268" fmla="*/ 1451111 w 3024845"/>
                <a:gd name="connsiteY268" fmla="*/ 322105 h 834218"/>
                <a:gd name="connsiteX269" fmla="*/ 1489618 w 3024845"/>
                <a:gd name="connsiteY269" fmla="*/ 322105 h 834218"/>
                <a:gd name="connsiteX270" fmla="*/ 1489618 w 3024845"/>
                <a:gd name="connsiteY270" fmla="*/ 460458 h 834218"/>
                <a:gd name="connsiteX271" fmla="*/ 1491138 w 3024845"/>
                <a:gd name="connsiteY271" fmla="*/ 460458 h 834218"/>
                <a:gd name="connsiteX272" fmla="*/ 1501778 w 3024845"/>
                <a:gd name="connsiteY272" fmla="*/ 460458 h 834218"/>
                <a:gd name="connsiteX273" fmla="*/ 1501778 w 3024845"/>
                <a:gd name="connsiteY273" fmla="*/ 447488 h 834218"/>
                <a:gd name="connsiteX274" fmla="*/ 1505832 w 3024845"/>
                <a:gd name="connsiteY274" fmla="*/ 447488 h 834218"/>
                <a:gd name="connsiteX275" fmla="*/ 1505832 w 3024845"/>
                <a:gd name="connsiteY275" fmla="*/ 460458 h 834218"/>
                <a:gd name="connsiteX276" fmla="*/ 1536232 w 3024845"/>
                <a:gd name="connsiteY276" fmla="*/ 460458 h 834218"/>
                <a:gd name="connsiteX277" fmla="*/ 1536232 w 3024845"/>
                <a:gd name="connsiteY277" fmla="*/ 430193 h 834218"/>
                <a:gd name="connsiteX278" fmla="*/ 1548392 w 3024845"/>
                <a:gd name="connsiteY278" fmla="*/ 430193 h 834218"/>
                <a:gd name="connsiteX279" fmla="*/ 1560552 w 3024845"/>
                <a:gd name="connsiteY279" fmla="*/ 428032 h 834218"/>
                <a:gd name="connsiteX280" fmla="*/ 1564606 w 3024845"/>
                <a:gd name="connsiteY280" fmla="*/ 430193 h 834218"/>
                <a:gd name="connsiteX281" fmla="*/ 1574739 w 3024845"/>
                <a:gd name="connsiteY281" fmla="*/ 430193 h 834218"/>
                <a:gd name="connsiteX282" fmla="*/ 1574739 w 3024845"/>
                <a:gd name="connsiteY282" fmla="*/ 460458 h 834218"/>
                <a:gd name="connsiteX283" fmla="*/ 1582846 w 3024845"/>
                <a:gd name="connsiteY283" fmla="*/ 460458 h 834218"/>
                <a:gd name="connsiteX284" fmla="*/ 1582846 w 3024845"/>
                <a:gd name="connsiteY284" fmla="*/ 477753 h 834218"/>
                <a:gd name="connsiteX285" fmla="*/ 1592182 w 3024845"/>
                <a:gd name="connsiteY285" fmla="*/ 478658 h 834218"/>
                <a:gd name="connsiteX286" fmla="*/ 1605140 w 3024845"/>
                <a:gd name="connsiteY286" fmla="*/ 478658 h 834218"/>
                <a:gd name="connsiteX287" fmla="*/ 1605140 w 3024845"/>
                <a:gd name="connsiteY287" fmla="*/ 462620 h 834218"/>
                <a:gd name="connsiteX288" fmla="*/ 1673096 w 3024845"/>
                <a:gd name="connsiteY288" fmla="*/ 462620 h 834218"/>
                <a:gd name="connsiteX289" fmla="*/ 1673096 w 3024845"/>
                <a:gd name="connsiteY289" fmla="*/ 377367 h 834218"/>
                <a:gd name="connsiteX290" fmla="*/ 1745104 w 3024845"/>
                <a:gd name="connsiteY290" fmla="*/ 377367 h 834218"/>
                <a:gd name="connsiteX291" fmla="*/ 1745104 w 3024845"/>
                <a:gd name="connsiteY291" fmla="*/ 456135 h 834218"/>
                <a:gd name="connsiteX292" fmla="*/ 1747008 w 3024845"/>
                <a:gd name="connsiteY292" fmla="*/ 456135 h 834218"/>
                <a:gd name="connsiteX293" fmla="*/ 1748250 w 3024845"/>
                <a:gd name="connsiteY293" fmla="*/ 478658 h 834218"/>
                <a:gd name="connsiteX294" fmla="*/ 1757926 w 3024845"/>
                <a:gd name="connsiteY294" fmla="*/ 478658 h 834218"/>
                <a:gd name="connsiteX295" fmla="*/ 1759168 w 3024845"/>
                <a:gd name="connsiteY295" fmla="*/ 456135 h 834218"/>
                <a:gd name="connsiteX296" fmla="*/ 1765248 w 3024845"/>
                <a:gd name="connsiteY296" fmla="*/ 456135 h 834218"/>
                <a:gd name="connsiteX297" fmla="*/ 1766490 w 3024845"/>
                <a:gd name="connsiteY297" fmla="*/ 478658 h 834218"/>
                <a:gd name="connsiteX298" fmla="*/ 1817112 w 3024845"/>
                <a:gd name="connsiteY298" fmla="*/ 478658 h 834218"/>
                <a:gd name="connsiteX299" fmla="*/ 1817112 w 3024845"/>
                <a:gd name="connsiteY299" fmla="*/ 315630 h 834218"/>
                <a:gd name="connsiteX300" fmla="*/ 2014439 w 3024845"/>
                <a:gd name="connsiteY300" fmla="*/ 315630 h 834218"/>
                <a:gd name="connsiteX301" fmla="*/ 2014439 w 3024845"/>
                <a:gd name="connsiteY301" fmla="*/ 478658 h 834218"/>
                <a:gd name="connsiteX302" fmla="*/ 2033136 w 3024845"/>
                <a:gd name="connsiteY302" fmla="*/ 478658 h 834218"/>
                <a:gd name="connsiteX303" fmla="*/ 2033136 w 3024845"/>
                <a:gd name="connsiteY303" fmla="*/ 395965 h 834218"/>
                <a:gd name="connsiteX304" fmla="*/ 2128256 w 3024845"/>
                <a:gd name="connsiteY304" fmla="*/ 395965 h 834218"/>
                <a:gd name="connsiteX305" fmla="*/ 2180720 w 3024845"/>
                <a:gd name="connsiteY305" fmla="*/ 330752 h 834218"/>
                <a:gd name="connsiteX306" fmla="*/ 2245574 w 3024845"/>
                <a:gd name="connsiteY306" fmla="*/ 330752 h 834218"/>
                <a:gd name="connsiteX307" fmla="*/ 2245574 w 3024845"/>
                <a:gd name="connsiteY307" fmla="*/ 406414 h 834218"/>
                <a:gd name="connsiteX308" fmla="*/ 2253681 w 3024845"/>
                <a:gd name="connsiteY308" fmla="*/ 406414 h 834218"/>
                <a:gd name="connsiteX309" fmla="*/ 2255708 w 3024845"/>
                <a:gd name="connsiteY309" fmla="*/ 399929 h 834218"/>
                <a:gd name="connsiteX310" fmla="*/ 2261788 w 3024845"/>
                <a:gd name="connsiteY310" fmla="*/ 399929 h 834218"/>
                <a:gd name="connsiteX311" fmla="*/ 2263815 w 3024845"/>
                <a:gd name="connsiteY311" fmla="*/ 408576 h 834218"/>
                <a:gd name="connsiteX312" fmla="*/ 2275975 w 3024845"/>
                <a:gd name="connsiteY312" fmla="*/ 408576 h 834218"/>
                <a:gd name="connsiteX313" fmla="*/ 2275975 w 3024845"/>
                <a:gd name="connsiteY313" fmla="*/ 402090 h 834218"/>
                <a:gd name="connsiteX314" fmla="*/ 2298268 w 3024845"/>
                <a:gd name="connsiteY314" fmla="*/ 402090 h 834218"/>
                <a:gd name="connsiteX315" fmla="*/ 2298268 w 3024845"/>
                <a:gd name="connsiteY315" fmla="*/ 408576 h 834218"/>
                <a:gd name="connsiteX316" fmla="*/ 2318535 w 3024845"/>
                <a:gd name="connsiteY316" fmla="*/ 408576 h 834218"/>
                <a:gd name="connsiteX317" fmla="*/ 2318535 w 3024845"/>
                <a:gd name="connsiteY317" fmla="*/ 453973 h 834218"/>
                <a:gd name="connsiteX318" fmla="*/ 2332722 w 3024845"/>
                <a:gd name="connsiteY318" fmla="*/ 453973 h 834218"/>
                <a:gd name="connsiteX319" fmla="*/ 2332722 w 3024845"/>
                <a:gd name="connsiteY319" fmla="*/ 441002 h 834218"/>
                <a:gd name="connsiteX320" fmla="*/ 2348936 w 3024845"/>
                <a:gd name="connsiteY320" fmla="*/ 441002 h 834218"/>
                <a:gd name="connsiteX321" fmla="*/ 2348936 w 3024845"/>
                <a:gd name="connsiteY321" fmla="*/ 261575 h 834218"/>
                <a:gd name="connsiteX322" fmla="*/ 2355016 w 3024845"/>
                <a:gd name="connsiteY322" fmla="*/ 255089 h 834218"/>
                <a:gd name="connsiteX323" fmla="*/ 2427977 w 3024845"/>
                <a:gd name="connsiteY323" fmla="*/ 255089 h 834218"/>
                <a:gd name="connsiteX324" fmla="*/ 2427977 w 3024845"/>
                <a:gd name="connsiteY324" fmla="*/ 263737 h 834218"/>
                <a:gd name="connsiteX325" fmla="*/ 2438110 w 3024845"/>
                <a:gd name="connsiteY325" fmla="*/ 263737 h 834218"/>
                <a:gd name="connsiteX326" fmla="*/ 2438110 w 3024845"/>
                <a:gd name="connsiteY326" fmla="*/ 378311 h 834218"/>
                <a:gd name="connsiteX327" fmla="*/ 2460404 w 3024845"/>
                <a:gd name="connsiteY327" fmla="*/ 378311 h 834218"/>
                <a:gd name="connsiteX328" fmla="*/ 2460404 w 3024845"/>
                <a:gd name="connsiteY328" fmla="*/ 311296 h 834218"/>
                <a:gd name="connsiteX329" fmla="*/ 2486751 w 3024845"/>
                <a:gd name="connsiteY329" fmla="*/ 311296 h 834218"/>
                <a:gd name="connsiteX330" fmla="*/ 2490804 w 3024845"/>
                <a:gd name="connsiteY330" fmla="*/ 306972 h 834218"/>
                <a:gd name="connsiteX331" fmla="*/ 2498911 w 3024845"/>
                <a:gd name="connsiteY331" fmla="*/ 306972 h 834218"/>
                <a:gd name="connsiteX332" fmla="*/ 2502964 w 3024845"/>
                <a:gd name="connsiteY332" fmla="*/ 311296 h 834218"/>
                <a:gd name="connsiteX333" fmla="*/ 2525258 w 3024845"/>
                <a:gd name="connsiteY333" fmla="*/ 311296 h 834218"/>
                <a:gd name="connsiteX334" fmla="*/ 2525258 w 3024845"/>
                <a:gd name="connsiteY334" fmla="*/ 194560 h 834218"/>
                <a:gd name="connsiteX335" fmla="*/ 2582005 w 3024845"/>
                <a:gd name="connsiteY335" fmla="*/ 183751 h 834218"/>
                <a:gd name="connsiteX336" fmla="*/ 2582005 w 3024845"/>
                <a:gd name="connsiteY336" fmla="*/ 184832 h 834218"/>
                <a:gd name="connsiteX337" fmla="*/ 2582005 w 3024845"/>
                <a:gd name="connsiteY337" fmla="*/ 192398 h 834218"/>
                <a:gd name="connsiteX338" fmla="*/ 2608352 w 3024845"/>
                <a:gd name="connsiteY338" fmla="*/ 192398 h 834218"/>
                <a:gd name="connsiteX339" fmla="*/ 2608352 w 3024845"/>
                <a:gd name="connsiteY339" fmla="*/ 447488 h 834218"/>
                <a:gd name="connsiteX340" fmla="*/ 2630646 w 3024845"/>
                <a:gd name="connsiteY340" fmla="*/ 447488 h 834218"/>
                <a:gd name="connsiteX341" fmla="*/ 2630646 w 3024845"/>
                <a:gd name="connsiteY341" fmla="*/ 443164 h 834218"/>
                <a:gd name="connsiteX342" fmla="*/ 2642806 w 3024845"/>
                <a:gd name="connsiteY342" fmla="*/ 443164 h 834218"/>
                <a:gd name="connsiteX343" fmla="*/ 2642806 w 3024845"/>
                <a:gd name="connsiteY343" fmla="*/ 447488 h 834218"/>
                <a:gd name="connsiteX344" fmla="*/ 2667126 w 3024845"/>
                <a:gd name="connsiteY344" fmla="*/ 447488 h 834218"/>
                <a:gd name="connsiteX345" fmla="*/ 2667126 w 3024845"/>
                <a:gd name="connsiteY345" fmla="*/ 434517 h 834218"/>
                <a:gd name="connsiteX346" fmla="*/ 2695500 w 3024845"/>
                <a:gd name="connsiteY346" fmla="*/ 434517 h 834218"/>
                <a:gd name="connsiteX347" fmla="*/ 2707660 w 3024845"/>
                <a:gd name="connsiteY347" fmla="*/ 430193 h 834218"/>
                <a:gd name="connsiteX348" fmla="*/ 2727927 w 3024845"/>
                <a:gd name="connsiteY348" fmla="*/ 434517 h 834218"/>
                <a:gd name="connsiteX349" fmla="*/ 2727927 w 3024845"/>
                <a:gd name="connsiteY349" fmla="*/ 417223 h 834218"/>
                <a:gd name="connsiteX350" fmla="*/ 2736034 w 3024845"/>
                <a:gd name="connsiteY350" fmla="*/ 417223 h 834218"/>
                <a:gd name="connsiteX351" fmla="*/ 2736034 w 3024845"/>
                <a:gd name="connsiteY351" fmla="*/ 404252 h 834218"/>
                <a:gd name="connsiteX352" fmla="*/ 2792781 w 3024845"/>
                <a:gd name="connsiteY352" fmla="*/ 404252 h 834218"/>
                <a:gd name="connsiteX353" fmla="*/ 2792781 w 3024845"/>
                <a:gd name="connsiteY353" fmla="*/ 373987 h 834218"/>
                <a:gd name="connsiteX354" fmla="*/ 2811021 w 3024845"/>
                <a:gd name="connsiteY354" fmla="*/ 373987 h 834218"/>
                <a:gd name="connsiteX355" fmla="*/ 2811021 w 3024845"/>
                <a:gd name="connsiteY355" fmla="*/ 367502 h 834218"/>
                <a:gd name="connsiteX356" fmla="*/ 2823181 w 3024845"/>
                <a:gd name="connsiteY356" fmla="*/ 367502 h 834218"/>
                <a:gd name="connsiteX357" fmla="*/ 2823181 w 3024845"/>
                <a:gd name="connsiteY357" fmla="*/ 373987 h 834218"/>
                <a:gd name="connsiteX358" fmla="*/ 2839395 w 3024845"/>
                <a:gd name="connsiteY358" fmla="*/ 373987 h 834218"/>
                <a:gd name="connsiteX359" fmla="*/ 2839395 w 3024845"/>
                <a:gd name="connsiteY359" fmla="*/ 423708 h 834218"/>
                <a:gd name="connsiteX360" fmla="*/ 2871822 w 3024845"/>
                <a:gd name="connsiteY360" fmla="*/ 423708 h 834218"/>
                <a:gd name="connsiteX361" fmla="*/ 2871822 w 3024845"/>
                <a:gd name="connsiteY361" fmla="*/ 397767 h 834218"/>
                <a:gd name="connsiteX362" fmla="*/ 2910329 w 3024845"/>
                <a:gd name="connsiteY362" fmla="*/ 397767 h 834218"/>
                <a:gd name="connsiteX363" fmla="*/ 2910329 w 3024845"/>
                <a:gd name="connsiteY363" fmla="*/ 367502 h 834218"/>
                <a:gd name="connsiteX364" fmla="*/ 2958970 w 3024845"/>
                <a:gd name="connsiteY364" fmla="*/ 367502 h 834218"/>
                <a:gd name="connsiteX365" fmla="*/ 2958970 w 3024845"/>
                <a:gd name="connsiteY365" fmla="*/ 478658 h 834218"/>
                <a:gd name="connsiteX366" fmla="*/ 2958970 w 3024845"/>
                <a:gd name="connsiteY366" fmla="*/ 492437 h 834218"/>
                <a:gd name="connsiteX367" fmla="*/ 3024845 w 3024845"/>
                <a:gd name="connsiteY367" fmla="*/ 492437 h 834218"/>
                <a:gd name="connsiteX368" fmla="*/ 3024845 w 3024845"/>
                <a:gd name="connsiteY368" fmla="*/ 834218 h 834218"/>
                <a:gd name="connsiteX369" fmla="*/ 2054 w 3024845"/>
                <a:gd name="connsiteY369" fmla="*/ 831885 h 834218"/>
                <a:gd name="connsiteX370" fmla="*/ 0 w 3024845"/>
                <a:gd name="connsiteY370" fmla="*/ 397767 h 834218"/>
                <a:gd name="connsiteX371" fmla="*/ 20267 w 3024845"/>
                <a:gd name="connsiteY371" fmla="*/ 397767 h 834218"/>
                <a:gd name="connsiteX372" fmla="*/ 20774 w 3024845"/>
                <a:gd name="connsiteY372" fmla="*/ 396686 h 834218"/>
                <a:gd name="connsiteX373" fmla="*/ 24320 w 3024845"/>
                <a:gd name="connsiteY373" fmla="*/ 389120 h 834218"/>
                <a:gd name="connsiteX374" fmla="*/ 26094 w 3024845"/>
                <a:gd name="connsiteY374" fmla="*/ 389390 h 834218"/>
                <a:gd name="connsiteX375" fmla="*/ 38507 w 3024845"/>
                <a:gd name="connsiteY375" fmla="*/ 391281 h 834218"/>
                <a:gd name="connsiteX376" fmla="*/ 39014 w 3024845"/>
                <a:gd name="connsiteY376" fmla="*/ 392633 h 834218"/>
                <a:gd name="connsiteX377" fmla="*/ 42560 w 3024845"/>
                <a:gd name="connsiteY377" fmla="*/ 402090 h 834218"/>
                <a:gd name="connsiteX378" fmla="*/ 68907 w 3024845"/>
                <a:gd name="connsiteY378" fmla="*/ 404252 h 834218"/>
                <a:gd name="connsiteX379" fmla="*/ 68907 w 3024845"/>
                <a:gd name="connsiteY379" fmla="*/ 281031 h 834218"/>
                <a:gd name="connsiteX380" fmla="*/ 70934 w 3024845"/>
                <a:gd name="connsiteY380" fmla="*/ 281031 h 834218"/>
                <a:gd name="connsiteX381" fmla="*/ 85121 w 3024845"/>
                <a:gd name="connsiteY381" fmla="*/ 281031 h 834218"/>
                <a:gd name="connsiteX382" fmla="*/ 85121 w 3024845"/>
                <a:gd name="connsiteY382" fmla="*/ 144839 h 834218"/>
                <a:gd name="connsiteX383" fmla="*/ 86894 w 3024845"/>
                <a:gd name="connsiteY383" fmla="*/ 144839 h 834218"/>
                <a:gd name="connsiteX384" fmla="*/ 99308 w 3024845"/>
                <a:gd name="connsiteY384" fmla="*/ 144839 h 834218"/>
                <a:gd name="connsiteX385" fmla="*/ 99308 w 3024845"/>
                <a:gd name="connsiteY385" fmla="*/ 30265 h 834218"/>
                <a:gd name="connsiteX386" fmla="*/ 103361 w 3024845"/>
                <a:gd name="connsiteY386" fmla="*/ 2161 h 834218"/>
                <a:gd name="connsiteX0" fmla="*/ 99308 w 3024845"/>
                <a:gd name="connsiteY0" fmla="*/ 36988 h 840941"/>
                <a:gd name="connsiteX1" fmla="*/ 200642 w 3024845"/>
                <a:gd name="connsiteY1" fmla="*/ 6723 h 840941"/>
                <a:gd name="connsiteX2" fmla="*/ 220909 w 3024845"/>
                <a:gd name="connsiteY2" fmla="*/ 151562 h 840941"/>
                <a:gd name="connsiteX3" fmla="*/ 223189 w 3024845"/>
                <a:gd name="connsiteY3" fmla="*/ 151562 h 840941"/>
                <a:gd name="connsiteX4" fmla="*/ 239150 w 3024845"/>
                <a:gd name="connsiteY4" fmla="*/ 151562 h 840941"/>
                <a:gd name="connsiteX5" fmla="*/ 239150 w 3024845"/>
                <a:gd name="connsiteY5" fmla="*/ 292077 h 840941"/>
                <a:gd name="connsiteX6" fmla="*/ 240670 w 3024845"/>
                <a:gd name="connsiteY6" fmla="*/ 291807 h 840941"/>
                <a:gd name="connsiteX7" fmla="*/ 251310 w 3024845"/>
                <a:gd name="connsiteY7" fmla="*/ 289916 h 840941"/>
                <a:gd name="connsiteX8" fmla="*/ 249283 w 3024845"/>
                <a:gd name="connsiteY8" fmla="*/ 378548 h 840941"/>
                <a:gd name="connsiteX9" fmla="*/ 250803 w 3024845"/>
                <a:gd name="connsiteY9" fmla="*/ 378819 h 840941"/>
                <a:gd name="connsiteX10" fmla="*/ 261443 w 3024845"/>
                <a:gd name="connsiteY10" fmla="*/ 380710 h 840941"/>
                <a:gd name="connsiteX11" fmla="*/ 261696 w 3024845"/>
                <a:gd name="connsiteY11" fmla="*/ 381521 h 840941"/>
                <a:gd name="connsiteX12" fmla="*/ 263470 w 3024845"/>
                <a:gd name="connsiteY12" fmla="*/ 387196 h 840941"/>
                <a:gd name="connsiteX13" fmla="*/ 264230 w 3024845"/>
                <a:gd name="connsiteY13" fmla="*/ 384764 h 840941"/>
                <a:gd name="connsiteX14" fmla="*/ 269550 w 3024845"/>
                <a:gd name="connsiteY14" fmla="*/ 367740 h 840941"/>
                <a:gd name="connsiteX15" fmla="*/ 271323 w 3024845"/>
                <a:gd name="connsiteY15" fmla="*/ 367740 h 840941"/>
                <a:gd name="connsiteX16" fmla="*/ 283737 w 3024845"/>
                <a:gd name="connsiteY16" fmla="*/ 367740 h 840941"/>
                <a:gd name="connsiteX17" fmla="*/ 283737 w 3024845"/>
                <a:gd name="connsiteY17" fmla="*/ 400166 h 840941"/>
                <a:gd name="connsiteX18" fmla="*/ 284750 w 3024845"/>
                <a:gd name="connsiteY18" fmla="*/ 400707 h 840941"/>
                <a:gd name="connsiteX19" fmla="*/ 291844 w 3024845"/>
                <a:gd name="connsiteY19" fmla="*/ 404490 h 840941"/>
                <a:gd name="connsiteX20" fmla="*/ 291844 w 3024845"/>
                <a:gd name="connsiteY20" fmla="*/ 405841 h 840941"/>
                <a:gd name="connsiteX21" fmla="*/ 291844 w 3024845"/>
                <a:gd name="connsiteY21" fmla="*/ 415299 h 840941"/>
                <a:gd name="connsiteX22" fmla="*/ 336431 w 3024845"/>
                <a:gd name="connsiteY22" fmla="*/ 415299 h 840941"/>
                <a:gd name="connsiteX23" fmla="*/ 336431 w 3024845"/>
                <a:gd name="connsiteY23" fmla="*/ 416380 h 840941"/>
                <a:gd name="connsiteX24" fmla="*/ 336431 w 3024845"/>
                <a:gd name="connsiteY24" fmla="*/ 423946 h 840941"/>
                <a:gd name="connsiteX25" fmla="*/ 338457 w 3024845"/>
                <a:gd name="connsiteY25" fmla="*/ 423946 h 840941"/>
                <a:gd name="connsiteX26" fmla="*/ 352644 w 3024845"/>
                <a:gd name="connsiteY26" fmla="*/ 423946 h 840941"/>
                <a:gd name="connsiteX27" fmla="*/ 352644 w 3024845"/>
                <a:gd name="connsiteY27" fmla="*/ 393681 h 840941"/>
                <a:gd name="connsiteX28" fmla="*/ 397231 w 3024845"/>
                <a:gd name="connsiteY28" fmla="*/ 393681 h 840941"/>
                <a:gd name="connsiteX29" fmla="*/ 397231 w 3024845"/>
                <a:gd name="connsiteY29" fmla="*/ 392330 h 840941"/>
                <a:gd name="connsiteX30" fmla="*/ 397231 w 3024845"/>
                <a:gd name="connsiteY30" fmla="*/ 382872 h 840941"/>
                <a:gd name="connsiteX31" fmla="*/ 398245 w 3024845"/>
                <a:gd name="connsiteY31" fmla="*/ 382872 h 840941"/>
                <a:gd name="connsiteX32" fmla="*/ 405338 w 3024845"/>
                <a:gd name="connsiteY32" fmla="*/ 382872 h 840941"/>
                <a:gd name="connsiteX33" fmla="*/ 405338 w 3024845"/>
                <a:gd name="connsiteY33" fmla="*/ 380981 h 840941"/>
                <a:gd name="connsiteX34" fmla="*/ 405338 w 3024845"/>
                <a:gd name="connsiteY34" fmla="*/ 367740 h 840941"/>
                <a:gd name="connsiteX35" fmla="*/ 406098 w 3024845"/>
                <a:gd name="connsiteY35" fmla="*/ 367740 h 840941"/>
                <a:gd name="connsiteX36" fmla="*/ 411418 w 3024845"/>
                <a:gd name="connsiteY36" fmla="*/ 367740 h 840941"/>
                <a:gd name="connsiteX37" fmla="*/ 411418 w 3024845"/>
                <a:gd name="connsiteY37" fmla="*/ 366659 h 840941"/>
                <a:gd name="connsiteX38" fmla="*/ 411418 w 3024845"/>
                <a:gd name="connsiteY38" fmla="*/ 359092 h 840941"/>
                <a:gd name="connsiteX39" fmla="*/ 413445 w 3024845"/>
                <a:gd name="connsiteY39" fmla="*/ 359092 h 840941"/>
                <a:gd name="connsiteX40" fmla="*/ 427632 w 3024845"/>
                <a:gd name="connsiteY40" fmla="*/ 359092 h 840941"/>
                <a:gd name="connsiteX41" fmla="*/ 427632 w 3024845"/>
                <a:gd name="connsiteY41" fmla="*/ 360173 h 840941"/>
                <a:gd name="connsiteX42" fmla="*/ 427632 w 3024845"/>
                <a:gd name="connsiteY42" fmla="*/ 367740 h 840941"/>
                <a:gd name="connsiteX43" fmla="*/ 449925 w 3024845"/>
                <a:gd name="connsiteY43" fmla="*/ 367740 h 840941"/>
                <a:gd name="connsiteX44" fmla="*/ 449925 w 3024845"/>
                <a:gd name="connsiteY44" fmla="*/ 365848 h 840941"/>
                <a:gd name="connsiteX45" fmla="*/ 449925 w 3024845"/>
                <a:gd name="connsiteY45" fmla="*/ 352607 h 840941"/>
                <a:gd name="connsiteX46" fmla="*/ 451699 w 3024845"/>
                <a:gd name="connsiteY46" fmla="*/ 352607 h 840941"/>
                <a:gd name="connsiteX47" fmla="*/ 464112 w 3024845"/>
                <a:gd name="connsiteY47" fmla="*/ 352607 h 840941"/>
                <a:gd name="connsiteX48" fmla="*/ 464112 w 3024845"/>
                <a:gd name="connsiteY48" fmla="*/ 376387 h 840941"/>
                <a:gd name="connsiteX49" fmla="*/ 465126 w 3024845"/>
                <a:gd name="connsiteY49" fmla="*/ 376387 h 840941"/>
                <a:gd name="connsiteX50" fmla="*/ 472219 w 3024845"/>
                <a:gd name="connsiteY50" fmla="*/ 376387 h 840941"/>
                <a:gd name="connsiteX51" fmla="*/ 472219 w 3024845"/>
                <a:gd name="connsiteY51" fmla="*/ 375306 h 840941"/>
                <a:gd name="connsiteX52" fmla="*/ 472219 w 3024845"/>
                <a:gd name="connsiteY52" fmla="*/ 367740 h 840941"/>
                <a:gd name="connsiteX53" fmla="*/ 473992 w 3024845"/>
                <a:gd name="connsiteY53" fmla="*/ 367740 h 840941"/>
                <a:gd name="connsiteX54" fmla="*/ 486406 w 3024845"/>
                <a:gd name="connsiteY54" fmla="*/ 367740 h 840941"/>
                <a:gd name="connsiteX55" fmla="*/ 486406 w 3024845"/>
                <a:gd name="connsiteY55" fmla="*/ 393681 h 840941"/>
                <a:gd name="connsiteX56" fmla="*/ 488433 w 3024845"/>
                <a:gd name="connsiteY56" fmla="*/ 393681 h 840941"/>
                <a:gd name="connsiteX57" fmla="*/ 502619 w 3024845"/>
                <a:gd name="connsiteY57" fmla="*/ 393681 h 840941"/>
                <a:gd name="connsiteX58" fmla="*/ 502619 w 3024845"/>
                <a:gd name="connsiteY58" fmla="*/ 395302 h 840941"/>
                <a:gd name="connsiteX59" fmla="*/ 502619 w 3024845"/>
                <a:gd name="connsiteY59" fmla="*/ 406652 h 840941"/>
                <a:gd name="connsiteX60" fmla="*/ 503379 w 3024845"/>
                <a:gd name="connsiteY60" fmla="*/ 406652 h 840941"/>
                <a:gd name="connsiteX61" fmla="*/ 508700 w 3024845"/>
                <a:gd name="connsiteY61" fmla="*/ 406652 h 840941"/>
                <a:gd name="connsiteX62" fmla="*/ 508700 w 3024845"/>
                <a:gd name="connsiteY62" fmla="*/ 405841 h 840941"/>
                <a:gd name="connsiteX63" fmla="*/ 508700 w 3024845"/>
                <a:gd name="connsiteY63" fmla="*/ 400166 h 840941"/>
                <a:gd name="connsiteX64" fmla="*/ 539100 w 3024845"/>
                <a:gd name="connsiteY64" fmla="*/ 400166 h 840941"/>
                <a:gd name="connsiteX65" fmla="*/ 539100 w 3024845"/>
                <a:gd name="connsiteY65" fmla="*/ 423946 h 840941"/>
                <a:gd name="connsiteX66" fmla="*/ 540113 w 3024845"/>
                <a:gd name="connsiteY66" fmla="*/ 423946 h 840941"/>
                <a:gd name="connsiteX67" fmla="*/ 547207 w 3024845"/>
                <a:gd name="connsiteY67" fmla="*/ 423946 h 840941"/>
                <a:gd name="connsiteX68" fmla="*/ 547207 w 3024845"/>
                <a:gd name="connsiteY68" fmla="*/ 425027 h 840941"/>
                <a:gd name="connsiteX69" fmla="*/ 547207 w 3024845"/>
                <a:gd name="connsiteY69" fmla="*/ 432593 h 840941"/>
                <a:gd name="connsiteX70" fmla="*/ 547967 w 3024845"/>
                <a:gd name="connsiteY70" fmla="*/ 432593 h 840941"/>
                <a:gd name="connsiteX71" fmla="*/ 553287 w 3024845"/>
                <a:gd name="connsiteY71" fmla="*/ 432593 h 840941"/>
                <a:gd name="connsiteX72" fmla="*/ 553287 w 3024845"/>
                <a:gd name="connsiteY72" fmla="*/ 430431 h 840941"/>
                <a:gd name="connsiteX73" fmla="*/ 553287 w 3024845"/>
                <a:gd name="connsiteY73" fmla="*/ 415299 h 840941"/>
                <a:gd name="connsiteX74" fmla="*/ 554300 w 3024845"/>
                <a:gd name="connsiteY74" fmla="*/ 415299 h 840941"/>
                <a:gd name="connsiteX75" fmla="*/ 561394 w 3024845"/>
                <a:gd name="connsiteY75" fmla="*/ 415299 h 840941"/>
                <a:gd name="connsiteX76" fmla="*/ 561394 w 3024845"/>
                <a:gd name="connsiteY76" fmla="*/ 416380 h 840941"/>
                <a:gd name="connsiteX77" fmla="*/ 561394 w 3024845"/>
                <a:gd name="connsiteY77" fmla="*/ 423946 h 840941"/>
                <a:gd name="connsiteX78" fmla="*/ 566714 w 3024845"/>
                <a:gd name="connsiteY78" fmla="*/ 421953 h 840941"/>
                <a:gd name="connsiteX79" fmla="*/ 567474 w 3024845"/>
                <a:gd name="connsiteY79" fmla="*/ 420973 h 840941"/>
                <a:gd name="connsiteX80" fmla="*/ 567474 w 3024845"/>
                <a:gd name="connsiteY80" fmla="*/ 415299 h 840941"/>
                <a:gd name="connsiteX81" fmla="*/ 605981 w 3024845"/>
                <a:gd name="connsiteY81" fmla="*/ 415299 h 840941"/>
                <a:gd name="connsiteX82" fmla="*/ 605981 w 3024845"/>
                <a:gd name="connsiteY82" fmla="*/ 439078 h 840941"/>
                <a:gd name="connsiteX83" fmla="*/ 608007 w 3024845"/>
                <a:gd name="connsiteY83" fmla="*/ 439078 h 840941"/>
                <a:gd name="connsiteX84" fmla="*/ 622194 w 3024845"/>
                <a:gd name="connsiteY84" fmla="*/ 439078 h 840941"/>
                <a:gd name="connsiteX85" fmla="*/ 622194 w 3024845"/>
                <a:gd name="connsiteY85" fmla="*/ 440159 h 840941"/>
                <a:gd name="connsiteX86" fmla="*/ 622194 w 3024845"/>
                <a:gd name="connsiteY86" fmla="*/ 447725 h 840941"/>
                <a:gd name="connsiteX87" fmla="*/ 623968 w 3024845"/>
                <a:gd name="connsiteY87" fmla="*/ 447725 h 840941"/>
                <a:gd name="connsiteX88" fmla="*/ 636381 w 3024845"/>
                <a:gd name="connsiteY88" fmla="*/ 447725 h 840941"/>
                <a:gd name="connsiteX89" fmla="*/ 636381 w 3024845"/>
                <a:gd name="connsiteY89" fmla="*/ 423946 h 840941"/>
                <a:gd name="connsiteX90" fmla="*/ 637394 w 3024845"/>
                <a:gd name="connsiteY90" fmla="*/ 423946 h 840941"/>
                <a:gd name="connsiteX91" fmla="*/ 644488 w 3024845"/>
                <a:gd name="connsiteY91" fmla="*/ 423946 h 840941"/>
                <a:gd name="connsiteX92" fmla="*/ 644488 w 3024845"/>
                <a:gd name="connsiteY92" fmla="*/ 391519 h 840941"/>
                <a:gd name="connsiteX93" fmla="*/ 645501 w 3024845"/>
                <a:gd name="connsiteY93" fmla="*/ 391519 h 840941"/>
                <a:gd name="connsiteX94" fmla="*/ 652595 w 3024845"/>
                <a:gd name="connsiteY94" fmla="*/ 391519 h 840941"/>
                <a:gd name="connsiteX95" fmla="*/ 652595 w 3024845"/>
                <a:gd name="connsiteY95" fmla="*/ 389628 h 840941"/>
                <a:gd name="connsiteX96" fmla="*/ 652595 w 3024845"/>
                <a:gd name="connsiteY96" fmla="*/ 376387 h 840941"/>
                <a:gd name="connsiteX97" fmla="*/ 651328 w 3024845"/>
                <a:gd name="connsiteY97" fmla="*/ 374765 h 840941"/>
                <a:gd name="connsiteX98" fmla="*/ 656648 w 3024845"/>
                <a:gd name="connsiteY98" fmla="*/ 363416 h 840941"/>
                <a:gd name="connsiteX99" fmla="*/ 664755 w 3024845"/>
                <a:gd name="connsiteY99" fmla="*/ 391519 h 840941"/>
                <a:gd name="connsiteX100" fmla="*/ 665515 w 3024845"/>
                <a:gd name="connsiteY100" fmla="*/ 391519 h 840941"/>
                <a:gd name="connsiteX101" fmla="*/ 670835 w 3024845"/>
                <a:gd name="connsiteY101" fmla="*/ 391519 h 840941"/>
                <a:gd name="connsiteX102" fmla="*/ 670835 w 3024845"/>
                <a:gd name="connsiteY102" fmla="*/ 285592 h 840941"/>
                <a:gd name="connsiteX103" fmla="*/ 672355 w 3024845"/>
                <a:gd name="connsiteY103" fmla="*/ 285592 h 840941"/>
                <a:gd name="connsiteX104" fmla="*/ 682995 w 3024845"/>
                <a:gd name="connsiteY104" fmla="*/ 285592 h 840941"/>
                <a:gd name="connsiteX105" fmla="*/ 682995 w 3024845"/>
                <a:gd name="connsiteY105" fmla="*/ 238033 h 840941"/>
                <a:gd name="connsiteX106" fmla="*/ 709342 w 3024845"/>
                <a:gd name="connsiteY106" fmla="*/ 238033 h 840941"/>
                <a:gd name="connsiteX107" fmla="*/ 709342 w 3024845"/>
                <a:gd name="connsiteY107" fmla="*/ 216415 h 840941"/>
                <a:gd name="connsiteX108" fmla="*/ 743796 w 3024845"/>
                <a:gd name="connsiteY108" fmla="*/ 216415 h 840941"/>
                <a:gd name="connsiteX109" fmla="*/ 743796 w 3024845"/>
                <a:gd name="connsiteY109" fmla="*/ 218847 h 840941"/>
                <a:gd name="connsiteX110" fmla="*/ 743796 w 3024845"/>
                <a:gd name="connsiteY110" fmla="*/ 235871 h 840941"/>
                <a:gd name="connsiteX111" fmla="*/ 746076 w 3024845"/>
                <a:gd name="connsiteY111" fmla="*/ 235871 h 840941"/>
                <a:gd name="connsiteX112" fmla="*/ 762036 w 3024845"/>
                <a:gd name="connsiteY112" fmla="*/ 235871 h 840941"/>
                <a:gd name="connsiteX113" fmla="*/ 762036 w 3024845"/>
                <a:gd name="connsiteY113" fmla="*/ 283430 h 840941"/>
                <a:gd name="connsiteX114" fmla="*/ 763049 w 3024845"/>
                <a:gd name="connsiteY114" fmla="*/ 283430 h 840941"/>
                <a:gd name="connsiteX115" fmla="*/ 770143 w 3024845"/>
                <a:gd name="connsiteY115" fmla="*/ 283430 h 840941"/>
                <a:gd name="connsiteX116" fmla="*/ 784330 w 3024845"/>
                <a:gd name="connsiteY116" fmla="*/ 287754 h 840941"/>
                <a:gd name="connsiteX117" fmla="*/ 784330 w 3024845"/>
                <a:gd name="connsiteY117" fmla="*/ 326666 h 840941"/>
                <a:gd name="connsiteX118" fmla="*/ 785343 w 3024845"/>
                <a:gd name="connsiteY118" fmla="*/ 326666 h 840941"/>
                <a:gd name="connsiteX119" fmla="*/ 792436 w 3024845"/>
                <a:gd name="connsiteY119" fmla="*/ 326666 h 840941"/>
                <a:gd name="connsiteX120" fmla="*/ 792436 w 3024845"/>
                <a:gd name="connsiteY120" fmla="*/ 328287 h 840941"/>
                <a:gd name="connsiteX121" fmla="*/ 792436 w 3024845"/>
                <a:gd name="connsiteY121" fmla="*/ 339636 h 840941"/>
                <a:gd name="connsiteX122" fmla="*/ 794463 w 3024845"/>
                <a:gd name="connsiteY122" fmla="*/ 339636 h 840941"/>
                <a:gd name="connsiteX123" fmla="*/ 808650 w 3024845"/>
                <a:gd name="connsiteY123" fmla="*/ 339636 h 840941"/>
                <a:gd name="connsiteX124" fmla="*/ 814730 w 3024845"/>
                <a:gd name="connsiteY124" fmla="*/ 346122 h 840941"/>
                <a:gd name="connsiteX125" fmla="*/ 814730 w 3024845"/>
                <a:gd name="connsiteY125" fmla="*/ 367740 h 840941"/>
                <a:gd name="connsiteX126" fmla="*/ 817010 w 3024845"/>
                <a:gd name="connsiteY126" fmla="*/ 367740 h 840941"/>
                <a:gd name="connsiteX127" fmla="*/ 832970 w 3024845"/>
                <a:gd name="connsiteY127" fmla="*/ 367740 h 840941"/>
                <a:gd name="connsiteX128" fmla="*/ 832970 w 3024845"/>
                <a:gd name="connsiteY128" fmla="*/ 368820 h 840941"/>
                <a:gd name="connsiteX129" fmla="*/ 832970 w 3024845"/>
                <a:gd name="connsiteY129" fmla="*/ 376387 h 840941"/>
                <a:gd name="connsiteX130" fmla="*/ 834237 w 3024845"/>
                <a:gd name="connsiteY130" fmla="*/ 376387 h 840941"/>
                <a:gd name="connsiteX131" fmla="*/ 843104 w 3024845"/>
                <a:gd name="connsiteY131" fmla="*/ 376387 h 840941"/>
                <a:gd name="connsiteX132" fmla="*/ 843104 w 3024845"/>
                <a:gd name="connsiteY132" fmla="*/ 378548 h 840941"/>
                <a:gd name="connsiteX133" fmla="*/ 843104 w 3024845"/>
                <a:gd name="connsiteY133" fmla="*/ 393681 h 840941"/>
                <a:gd name="connsiteX134" fmla="*/ 847157 w 3024845"/>
                <a:gd name="connsiteY134" fmla="*/ 391789 h 840941"/>
                <a:gd name="connsiteX135" fmla="*/ 847157 w 3024845"/>
                <a:gd name="connsiteY135" fmla="*/ 378548 h 840941"/>
                <a:gd name="connsiteX136" fmla="*/ 848170 w 3024845"/>
                <a:gd name="connsiteY136" fmla="*/ 378548 h 840941"/>
                <a:gd name="connsiteX137" fmla="*/ 855264 w 3024845"/>
                <a:gd name="connsiteY137" fmla="*/ 378548 h 840941"/>
                <a:gd name="connsiteX138" fmla="*/ 855264 w 3024845"/>
                <a:gd name="connsiteY138" fmla="*/ 380170 h 840941"/>
                <a:gd name="connsiteX139" fmla="*/ 855264 w 3024845"/>
                <a:gd name="connsiteY139" fmla="*/ 391519 h 840941"/>
                <a:gd name="connsiteX140" fmla="*/ 856024 w 3024845"/>
                <a:gd name="connsiteY140" fmla="*/ 391519 h 840941"/>
                <a:gd name="connsiteX141" fmla="*/ 861344 w 3024845"/>
                <a:gd name="connsiteY141" fmla="*/ 391519 h 840941"/>
                <a:gd name="connsiteX142" fmla="*/ 909984 w 3024845"/>
                <a:gd name="connsiteY142" fmla="*/ 387196 h 840941"/>
                <a:gd name="connsiteX143" fmla="*/ 909984 w 3024845"/>
                <a:gd name="connsiteY143" fmla="*/ 388547 h 840941"/>
                <a:gd name="connsiteX144" fmla="*/ 909984 w 3024845"/>
                <a:gd name="connsiteY144" fmla="*/ 398004 h 840941"/>
                <a:gd name="connsiteX145" fmla="*/ 910744 w 3024845"/>
                <a:gd name="connsiteY145" fmla="*/ 398004 h 840941"/>
                <a:gd name="connsiteX146" fmla="*/ 916065 w 3024845"/>
                <a:gd name="connsiteY146" fmla="*/ 398004 h 840941"/>
                <a:gd name="connsiteX147" fmla="*/ 916065 w 3024845"/>
                <a:gd name="connsiteY147" fmla="*/ 400166 h 840941"/>
                <a:gd name="connsiteX148" fmla="*/ 916065 w 3024845"/>
                <a:gd name="connsiteY148" fmla="*/ 415299 h 840941"/>
                <a:gd name="connsiteX149" fmla="*/ 918091 w 3024845"/>
                <a:gd name="connsiteY149" fmla="*/ 413948 h 840941"/>
                <a:gd name="connsiteX150" fmla="*/ 932278 w 3024845"/>
                <a:gd name="connsiteY150" fmla="*/ 404490 h 840941"/>
                <a:gd name="connsiteX151" fmla="*/ 938358 w 3024845"/>
                <a:gd name="connsiteY151" fmla="*/ 363416 h 840941"/>
                <a:gd name="connsiteX152" fmla="*/ 939118 w 3024845"/>
                <a:gd name="connsiteY152" fmla="*/ 363146 h 840941"/>
                <a:gd name="connsiteX153" fmla="*/ 944438 w 3024845"/>
                <a:gd name="connsiteY153" fmla="*/ 361254 h 840941"/>
                <a:gd name="connsiteX154" fmla="*/ 946465 w 3024845"/>
                <a:gd name="connsiteY154" fmla="*/ 292077 h 840941"/>
                <a:gd name="connsiteX155" fmla="*/ 948492 w 3024845"/>
                <a:gd name="connsiteY155" fmla="*/ 361254 h 840941"/>
                <a:gd name="connsiteX156" fmla="*/ 949252 w 3024845"/>
                <a:gd name="connsiteY156" fmla="*/ 361524 h 840941"/>
                <a:gd name="connsiteX157" fmla="*/ 954572 w 3024845"/>
                <a:gd name="connsiteY157" fmla="*/ 363416 h 840941"/>
                <a:gd name="connsiteX158" fmla="*/ 954572 w 3024845"/>
                <a:gd name="connsiteY158" fmla="*/ 276945 h 840941"/>
                <a:gd name="connsiteX159" fmla="*/ 958625 w 3024845"/>
                <a:gd name="connsiteY159" fmla="*/ 244518 h 840941"/>
                <a:gd name="connsiteX160" fmla="*/ 997132 w 3024845"/>
                <a:gd name="connsiteY160" fmla="*/ 244518 h 840941"/>
                <a:gd name="connsiteX161" fmla="*/ 997132 w 3024845"/>
                <a:gd name="connsiteY161" fmla="*/ 276945 h 840941"/>
                <a:gd name="connsiteX162" fmla="*/ 997892 w 3024845"/>
                <a:gd name="connsiteY162" fmla="*/ 276945 h 840941"/>
                <a:gd name="connsiteX163" fmla="*/ 1003212 w 3024845"/>
                <a:gd name="connsiteY163" fmla="*/ 276945 h 840941"/>
                <a:gd name="connsiteX164" fmla="*/ 1003212 w 3024845"/>
                <a:gd name="connsiteY164" fmla="*/ 194797 h 840941"/>
                <a:gd name="connsiteX165" fmla="*/ 1004986 w 3024845"/>
                <a:gd name="connsiteY165" fmla="*/ 194797 h 840941"/>
                <a:gd name="connsiteX166" fmla="*/ 1017399 w 3024845"/>
                <a:gd name="connsiteY166" fmla="*/ 194797 h 840941"/>
                <a:gd name="connsiteX167" fmla="*/ 1017399 w 3024845"/>
                <a:gd name="connsiteY167" fmla="*/ 192906 h 840941"/>
                <a:gd name="connsiteX168" fmla="*/ 1017399 w 3024845"/>
                <a:gd name="connsiteY168" fmla="*/ 179665 h 840941"/>
                <a:gd name="connsiteX169" fmla="*/ 1039693 w 3024845"/>
                <a:gd name="connsiteY169" fmla="*/ 179665 h 840941"/>
                <a:gd name="connsiteX170" fmla="*/ 1039693 w 3024845"/>
                <a:gd name="connsiteY170" fmla="*/ 178584 h 840941"/>
                <a:gd name="connsiteX171" fmla="*/ 1039693 w 3024845"/>
                <a:gd name="connsiteY171" fmla="*/ 171018 h 840941"/>
                <a:gd name="connsiteX172" fmla="*/ 1041466 w 3024845"/>
                <a:gd name="connsiteY172" fmla="*/ 171018 h 840941"/>
                <a:gd name="connsiteX173" fmla="*/ 1053880 w 3024845"/>
                <a:gd name="connsiteY173" fmla="*/ 171018 h 840941"/>
                <a:gd name="connsiteX174" fmla="*/ 1053880 w 3024845"/>
                <a:gd name="connsiteY174" fmla="*/ 172099 h 840941"/>
                <a:gd name="connsiteX175" fmla="*/ 1053880 w 3024845"/>
                <a:gd name="connsiteY175" fmla="*/ 179665 h 840941"/>
                <a:gd name="connsiteX176" fmla="*/ 1054640 w 3024845"/>
                <a:gd name="connsiteY176" fmla="*/ 179665 h 840941"/>
                <a:gd name="connsiteX177" fmla="*/ 1059960 w 3024845"/>
                <a:gd name="connsiteY177" fmla="*/ 179665 h 840941"/>
                <a:gd name="connsiteX178" fmla="*/ 1070093 w 3024845"/>
                <a:gd name="connsiteY178" fmla="*/ 175341 h 840941"/>
                <a:gd name="connsiteX179" fmla="*/ 1074146 w 3024845"/>
                <a:gd name="connsiteY179" fmla="*/ 178584 h 840941"/>
                <a:gd name="connsiteX180" fmla="*/ 1074146 w 3024845"/>
                <a:gd name="connsiteY180" fmla="*/ 171018 h 840941"/>
                <a:gd name="connsiteX181" fmla="*/ 1076426 w 3024845"/>
                <a:gd name="connsiteY181" fmla="*/ 171018 h 840941"/>
                <a:gd name="connsiteX182" fmla="*/ 1092387 w 3024845"/>
                <a:gd name="connsiteY182" fmla="*/ 171018 h 840941"/>
                <a:gd name="connsiteX183" fmla="*/ 1092387 w 3024845"/>
                <a:gd name="connsiteY183" fmla="*/ 172099 h 840941"/>
                <a:gd name="connsiteX184" fmla="*/ 1092387 w 3024845"/>
                <a:gd name="connsiteY184" fmla="*/ 179665 h 840941"/>
                <a:gd name="connsiteX185" fmla="*/ 1122787 w 3024845"/>
                <a:gd name="connsiteY185" fmla="*/ 179665 h 840941"/>
                <a:gd name="connsiteX186" fmla="*/ 1122787 w 3024845"/>
                <a:gd name="connsiteY186" fmla="*/ 181286 h 840941"/>
                <a:gd name="connsiteX187" fmla="*/ 1122787 w 3024845"/>
                <a:gd name="connsiteY187" fmla="*/ 192636 h 840941"/>
                <a:gd name="connsiteX188" fmla="*/ 1149134 w 3024845"/>
                <a:gd name="connsiteY188" fmla="*/ 192636 h 840941"/>
                <a:gd name="connsiteX189" fmla="*/ 1149134 w 3024845"/>
                <a:gd name="connsiteY189" fmla="*/ 222900 h 840941"/>
                <a:gd name="connsiteX190" fmla="*/ 1149894 w 3024845"/>
                <a:gd name="connsiteY190" fmla="*/ 222900 h 840941"/>
                <a:gd name="connsiteX191" fmla="*/ 1155214 w 3024845"/>
                <a:gd name="connsiteY191" fmla="*/ 222900 h 840941"/>
                <a:gd name="connsiteX192" fmla="*/ 1155214 w 3024845"/>
                <a:gd name="connsiteY192" fmla="*/ 223981 h 840941"/>
                <a:gd name="connsiteX193" fmla="*/ 1155214 w 3024845"/>
                <a:gd name="connsiteY193" fmla="*/ 231548 h 840941"/>
                <a:gd name="connsiteX194" fmla="*/ 1159268 w 3024845"/>
                <a:gd name="connsiteY194" fmla="*/ 261812 h 840941"/>
                <a:gd name="connsiteX195" fmla="*/ 1160028 w 3024845"/>
                <a:gd name="connsiteY195" fmla="*/ 261812 h 840941"/>
                <a:gd name="connsiteX196" fmla="*/ 1165348 w 3024845"/>
                <a:gd name="connsiteY196" fmla="*/ 261812 h 840941"/>
                <a:gd name="connsiteX197" fmla="*/ 1165348 w 3024845"/>
                <a:gd name="connsiteY197" fmla="*/ 262623 h 840941"/>
                <a:gd name="connsiteX198" fmla="*/ 1165348 w 3024845"/>
                <a:gd name="connsiteY198" fmla="*/ 268298 h 840941"/>
                <a:gd name="connsiteX199" fmla="*/ 1166361 w 3024845"/>
                <a:gd name="connsiteY199" fmla="*/ 268298 h 840941"/>
                <a:gd name="connsiteX200" fmla="*/ 1173454 w 3024845"/>
                <a:gd name="connsiteY200" fmla="*/ 268298 h 840941"/>
                <a:gd name="connsiteX201" fmla="*/ 1173454 w 3024845"/>
                <a:gd name="connsiteY201" fmla="*/ 298563 h 840941"/>
                <a:gd name="connsiteX202" fmla="*/ 1175481 w 3024845"/>
                <a:gd name="connsiteY202" fmla="*/ 298563 h 840941"/>
                <a:gd name="connsiteX203" fmla="*/ 1189668 w 3024845"/>
                <a:gd name="connsiteY203" fmla="*/ 298563 h 840941"/>
                <a:gd name="connsiteX204" fmla="*/ 1189668 w 3024845"/>
                <a:gd name="connsiteY204" fmla="*/ 322342 h 840941"/>
                <a:gd name="connsiteX205" fmla="*/ 1191695 w 3024845"/>
                <a:gd name="connsiteY205" fmla="*/ 323963 h 840941"/>
                <a:gd name="connsiteX206" fmla="*/ 1191695 w 3024845"/>
                <a:gd name="connsiteY206" fmla="*/ 335313 h 840941"/>
                <a:gd name="connsiteX207" fmla="*/ 1192455 w 3024845"/>
                <a:gd name="connsiteY207" fmla="*/ 335313 h 840941"/>
                <a:gd name="connsiteX208" fmla="*/ 1197775 w 3024845"/>
                <a:gd name="connsiteY208" fmla="*/ 335313 h 840941"/>
                <a:gd name="connsiteX209" fmla="*/ 1197775 w 3024845"/>
                <a:gd name="connsiteY209" fmla="*/ 359092 h 840941"/>
                <a:gd name="connsiteX210" fmla="*/ 1199041 w 3024845"/>
                <a:gd name="connsiteY210" fmla="*/ 359092 h 840941"/>
                <a:gd name="connsiteX211" fmla="*/ 1207908 w 3024845"/>
                <a:gd name="connsiteY211" fmla="*/ 359092 h 840941"/>
                <a:gd name="connsiteX212" fmla="*/ 1209935 w 3024845"/>
                <a:gd name="connsiteY212" fmla="*/ 363146 h 840941"/>
                <a:gd name="connsiteX213" fmla="*/ 1209935 w 3024845"/>
                <a:gd name="connsiteY213" fmla="*/ 376387 h 840941"/>
                <a:gd name="connsiteX214" fmla="*/ 1211455 w 3024845"/>
                <a:gd name="connsiteY214" fmla="*/ 374495 h 840941"/>
                <a:gd name="connsiteX215" fmla="*/ 1222095 w 3024845"/>
                <a:gd name="connsiteY215" fmla="*/ 361254 h 840941"/>
                <a:gd name="connsiteX216" fmla="*/ 1250469 w 3024845"/>
                <a:gd name="connsiteY216" fmla="*/ 361254 h 840941"/>
                <a:gd name="connsiteX217" fmla="*/ 1250469 w 3024845"/>
                <a:gd name="connsiteY217" fmla="*/ 447725 h 840941"/>
                <a:gd name="connsiteX218" fmla="*/ 1251229 w 3024845"/>
                <a:gd name="connsiteY218" fmla="*/ 447725 h 840941"/>
                <a:gd name="connsiteX219" fmla="*/ 1256549 w 3024845"/>
                <a:gd name="connsiteY219" fmla="*/ 447725 h 840941"/>
                <a:gd name="connsiteX220" fmla="*/ 1257309 w 3024845"/>
                <a:gd name="connsiteY220" fmla="*/ 446374 h 840941"/>
                <a:gd name="connsiteX221" fmla="*/ 1262629 w 3024845"/>
                <a:gd name="connsiteY221" fmla="*/ 436916 h 840941"/>
                <a:gd name="connsiteX222" fmla="*/ 1262629 w 3024845"/>
                <a:gd name="connsiteY222" fmla="*/ 438808 h 840941"/>
                <a:gd name="connsiteX223" fmla="*/ 1262629 w 3024845"/>
                <a:gd name="connsiteY223" fmla="*/ 452049 h 840941"/>
                <a:gd name="connsiteX224" fmla="*/ 1266682 w 3024845"/>
                <a:gd name="connsiteY224" fmla="*/ 406652 h 840941"/>
                <a:gd name="connsiteX225" fmla="*/ 1267442 w 3024845"/>
                <a:gd name="connsiteY225" fmla="*/ 406652 h 840941"/>
                <a:gd name="connsiteX226" fmla="*/ 1272762 w 3024845"/>
                <a:gd name="connsiteY226" fmla="*/ 406652 h 840941"/>
                <a:gd name="connsiteX227" fmla="*/ 1272762 w 3024845"/>
                <a:gd name="connsiteY227" fmla="*/ 341798 h 840941"/>
                <a:gd name="connsiteX228" fmla="*/ 1273776 w 3024845"/>
                <a:gd name="connsiteY228" fmla="*/ 341798 h 840941"/>
                <a:gd name="connsiteX229" fmla="*/ 1280869 w 3024845"/>
                <a:gd name="connsiteY229" fmla="*/ 341798 h 840941"/>
                <a:gd name="connsiteX230" fmla="*/ 1293029 w 3024845"/>
                <a:gd name="connsiteY230" fmla="*/ 298563 h 840941"/>
                <a:gd name="connsiteX231" fmla="*/ 1294296 w 3024845"/>
                <a:gd name="connsiteY231" fmla="*/ 298563 h 840941"/>
                <a:gd name="connsiteX232" fmla="*/ 1303163 w 3024845"/>
                <a:gd name="connsiteY232" fmla="*/ 298563 h 840941"/>
                <a:gd name="connsiteX233" fmla="*/ 1313296 w 3024845"/>
                <a:gd name="connsiteY233" fmla="*/ 341798 h 840941"/>
                <a:gd name="connsiteX234" fmla="*/ 1314309 w 3024845"/>
                <a:gd name="connsiteY234" fmla="*/ 341798 h 840941"/>
                <a:gd name="connsiteX235" fmla="*/ 1321403 w 3024845"/>
                <a:gd name="connsiteY235" fmla="*/ 341798 h 840941"/>
                <a:gd name="connsiteX236" fmla="*/ 1321403 w 3024845"/>
                <a:gd name="connsiteY236" fmla="*/ 380710 h 840941"/>
                <a:gd name="connsiteX237" fmla="*/ 1323176 w 3024845"/>
                <a:gd name="connsiteY237" fmla="*/ 380710 h 840941"/>
                <a:gd name="connsiteX238" fmla="*/ 1335590 w 3024845"/>
                <a:gd name="connsiteY238" fmla="*/ 380710 h 840941"/>
                <a:gd name="connsiteX239" fmla="*/ 1335590 w 3024845"/>
                <a:gd name="connsiteY239" fmla="*/ 382872 h 840941"/>
                <a:gd name="connsiteX240" fmla="*/ 1335590 w 3024845"/>
                <a:gd name="connsiteY240" fmla="*/ 398004 h 840941"/>
                <a:gd name="connsiteX241" fmla="*/ 1339643 w 3024845"/>
                <a:gd name="connsiteY241" fmla="*/ 395843 h 840941"/>
                <a:gd name="connsiteX242" fmla="*/ 1339643 w 3024845"/>
                <a:gd name="connsiteY242" fmla="*/ 380710 h 840941"/>
                <a:gd name="connsiteX243" fmla="*/ 1341163 w 3024845"/>
                <a:gd name="connsiteY243" fmla="*/ 380710 h 840941"/>
                <a:gd name="connsiteX244" fmla="*/ 1351803 w 3024845"/>
                <a:gd name="connsiteY244" fmla="*/ 380710 h 840941"/>
                <a:gd name="connsiteX245" fmla="*/ 1351803 w 3024845"/>
                <a:gd name="connsiteY245" fmla="*/ 382331 h 840941"/>
                <a:gd name="connsiteX246" fmla="*/ 1351803 w 3024845"/>
                <a:gd name="connsiteY246" fmla="*/ 393681 h 840941"/>
                <a:gd name="connsiteX247" fmla="*/ 1382204 w 3024845"/>
                <a:gd name="connsiteY247" fmla="*/ 393681 h 840941"/>
                <a:gd name="connsiteX248" fmla="*/ 1382204 w 3024845"/>
                <a:gd name="connsiteY248" fmla="*/ 356931 h 840941"/>
                <a:gd name="connsiteX249" fmla="*/ 1383470 w 3024845"/>
                <a:gd name="connsiteY249" fmla="*/ 356931 h 840941"/>
                <a:gd name="connsiteX250" fmla="*/ 1392337 w 3024845"/>
                <a:gd name="connsiteY250" fmla="*/ 356931 h 840941"/>
                <a:gd name="connsiteX251" fmla="*/ 1392337 w 3024845"/>
                <a:gd name="connsiteY251" fmla="*/ 378548 h 840941"/>
                <a:gd name="connsiteX252" fmla="*/ 1394364 w 3024845"/>
                <a:gd name="connsiteY252" fmla="*/ 346122 h 840941"/>
                <a:gd name="connsiteX253" fmla="*/ 1416657 w 3024845"/>
                <a:gd name="connsiteY253" fmla="*/ 346122 h 840941"/>
                <a:gd name="connsiteX254" fmla="*/ 1416657 w 3024845"/>
                <a:gd name="connsiteY254" fmla="*/ 344500 h 840941"/>
                <a:gd name="connsiteX255" fmla="*/ 1416657 w 3024845"/>
                <a:gd name="connsiteY255" fmla="*/ 333151 h 840941"/>
                <a:gd name="connsiteX256" fmla="*/ 1417417 w 3024845"/>
                <a:gd name="connsiteY256" fmla="*/ 333151 h 840941"/>
                <a:gd name="connsiteX257" fmla="*/ 1422737 w 3024845"/>
                <a:gd name="connsiteY257" fmla="*/ 333151 h 840941"/>
                <a:gd name="connsiteX258" fmla="*/ 1422737 w 3024845"/>
                <a:gd name="connsiteY258" fmla="*/ 331260 h 840941"/>
                <a:gd name="connsiteX259" fmla="*/ 1422737 w 3024845"/>
                <a:gd name="connsiteY259" fmla="*/ 318019 h 840941"/>
                <a:gd name="connsiteX260" fmla="*/ 1426791 w 3024845"/>
                <a:gd name="connsiteY260" fmla="*/ 324504 h 840941"/>
                <a:gd name="connsiteX261" fmla="*/ 1429071 w 3024845"/>
                <a:gd name="connsiteY261" fmla="*/ 324504 h 840941"/>
                <a:gd name="connsiteX262" fmla="*/ 1445031 w 3024845"/>
                <a:gd name="connsiteY262" fmla="*/ 324504 h 840941"/>
                <a:gd name="connsiteX263" fmla="*/ 1445031 w 3024845"/>
                <a:gd name="connsiteY263" fmla="*/ 323693 h 840941"/>
                <a:gd name="connsiteX264" fmla="*/ 1445031 w 3024845"/>
                <a:gd name="connsiteY264" fmla="*/ 318019 h 840941"/>
                <a:gd name="connsiteX265" fmla="*/ 1445791 w 3024845"/>
                <a:gd name="connsiteY265" fmla="*/ 318019 h 840941"/>
                <a:gd name="connsiteX266" fmla="*/ 1451111 w 3024845"/>
                <a:gd name="connsiteY266" fmla="*/ 318019 h 840941"/>
                <a:gd name="connsiteX267" fmla="*/ 1451111 w 3024845"/>
                <a:gd name="connsiteY267" fmla="*/ 319370 h 840941"/>
                <a:gd name="connsiteX268" fmla="*/ 1451111 w 3024845"/>
                <a:gd name="connsiteY268" fmla="*/ 328828 h 840941"/>
                <a:gd name="connsiteX269" fmla="*/ 1489618 w 3024845"/>
                <a:gd name="connsiteY269" fmla="*/ 328828 h 840941"/>
                <a:gd name="connsiteX270" fmla="*/ 1489618 w 3024845"/>
                <a:gd name="connsiteY270" fmla="*/ 467181 h 840941"/>
                <a:gd name="connsiteX271" fmla="*/ 1491138 w 3024845"/>
                <a:gd name="connsiteY271" fmla="*/ 467181 h 840941"/>
                <a:gd name="connsiteX272" fmla="*/ 1501778 w 3024845"/>
                <a:gd name="connsiteY272" fmla="*/ 467181 h 840941"/>
                <a:gd name="connsiteX273" fmla="*/ 1501778 w 3024845"/>
                <a:gd name="connsiteY273" fmla="*/ 454211 h 840941"/>
                <a:gd name="connsiteX274" fmla="*/ 1505832 w 3024845"/>
                <a:gd name="connsiteY274" fmla="*/ 454211 h 840941"/>
                <a:gd name="connsiteX275" fmla="*/ 1505832 w 3024845"/>
                <a:gd name="connsiteY275" fmla="*/ 467181 h 840941"/>
                <a:gd name="connsiteX276" fmla="*/ 1536232 w 3024845"/>
                <a:gd name="connsiteY276" fmla="*/ 467181 h 840941"/>
                <a:gd name="connsiteX277" fmla="*/ 1536232 w 3024845"/>
                <a:gd name="connsiteY277" fmla="*/ 436916 h 840941"/>
                <a:gd name="connsiteX278" fmla="*/ 1548392 w 3024845"/>
                <a:gd name="connsiteY278" fmla="*/ 436916 h 840941"/>
                <a:gd name="connsiteX279" fmla="*/ 1560552 w 3024845"/>
                <a:gd name="connsiteY279" fmla="*/ 434755 h 840941"/>
                <a:gd name="connsiteX280" fmla="*/ 1564606 w 3024845"/>
                <a:gd name="connsiteY280" fmla="*/ 436916 h 840941"/>
                <a:gd name="connsiteX281" fmla="*/ 1574739 w 3024845"/>
                <a:gd name="connsiteY281" fmla="*/ 436916 h 840941"/>
                <a:gd name="connsiteX282" fmla="*/ 1574739 w 3024845"/>
                <a:gd name="connsiteY282" fmla="*/ 467181 h 840941"/>
                <a:gd name="connsiteX283" fmla="*/ 1582846 w 3024845"/>
                <a:gd name="connsiteY283" fmla="*/ 467181 h 840941"/>
                <a:gd name="connsiteX284" fmla="*/ 1582846 w 3024845"/>
                <a:gd name="connsiteY284" fmla="*/ 484476 h 840941"/>
                <a:gd name="connsiteX285" fmla="*/ 1592182 w 3024845"/>
                <a:gd name="connsiteY285" fmla="*/ 485381 h 840941"/>
                <a:gd name="connsiteX286" fmla="*/ 1605140 w 3024845"/>
                <a:gd name="connsiteY286" fmla="*/ 485381 h 840941"/>
                <a:gd name="connsiteX287" fmla="*/ 1605140 w 3024845"/>
                <a:gd name="connsiteY287" fmla="*/ 469343 h 840941"/>
                <a:gd name="connsiteX288" fmla="*/ 1673096 w 3024845"/>
                <a:gd name="connsiteY288" fmla="*/ 469343 h 840941"/>
                <a:gd name="connsiteX289" fmla="*/ 1673096 w 3024845"/>
                <a:gd name="connsiteY289" fmla="*/ 384090 h 840941"/>
                <a:gd name="connsiteX290" fmla="*/ 1745104 w 3024845"/>
                <a:gd name="connsiteY290" fmla="*/ 384090 h 840941"/>
                <a:gd name="connsiteX291" fmla="*/ 1745104 w 3024845"/>
                <a:gd name="connsiteY291" fmla="*/ 462858 h 840941"/>
                <a:gd name="connsiteX292" fmla="*/ 1747008 w 3024845"/>
                <a:gd name="connsiteY292" fmla="*/ 462858 h 840941"/>
                <a:gd name="connsiteX293" fmla="*/ 1748250 w 3024845"/>
                <a:gd name="connsiteY293" fmla="*/ 485381 h 840941"/>
                <a:gd name="connsiteX294" fmla="*/ 1757926 w 3024845"/>
                <a:gd name="connsiteY294" fmla="*/ 485381 h 840941"/>
                <a:gd name="connsiteX295" fmla="*/ 1759168 w 3024845"/>
                <a:gd name="connsiteY295" fmla="*/ 462858 h 840941"/>
                <a:gd name="connsiteX296" fmla="*/ 1765248 w 3024845"/>
                <a:gd name="connsiteY296" fmla="*/ 462858 h 840941"/>
                <a:gd name="connsiteX297" fmla="*/ 1766490 w 3024845"/>
                <a:gd name="connsiteY297" fmla="*/ 485381 h 840941"/>
                <a:gd name="connsiteX298" fmla="*/ 1817112 w 3024845"/>
                <a:gd name="connsiteY298" fmla="*/ 485381 h 840941"/>
                <a:gd name="connsiteX299" fmla="*/ 1817112 w 3024845"/>
                <a:gd name="connsiteY299" fmla="*/ 322353 h 840941"/>
                <a:gd name="connsiteX300" fmla="*/ 2014439 w 3024845"/>
                <a:gd name="connsiteY300" fmla="*/ 322353 h 840941"/>
                <a:gd name="connsiteX301" fmla="*/ 2014439 w 3024845"/>
                <a:gd name="connsiteY301" fmla="*/ 485381 h 840941"/>
                <a:gd name="connsiteX302" fmla="*/ 2033136 w 3024845"/>
                <a:gd name="connsiteY302" fmla="*/ 485381 h 840941"/>
                <a:gd name="connsiteX303" fmla="*/ 2033136 w 3024845"/>
                <a:gd name="connsiteY303" fmla="*/ 402688 h 840941"/>
                <a:gd name="connsiteX304" fmla="*/ 2128256 w 3024845"/>
                <a:gd name="connsiteY304" fmla="*/ 402688 h 840941"/>
                <a:gd name="connsiteX305" fmla="*/ 2180720 w 3024845"/>
                <a:gd name="connsiteY305" fmla="*/ 337475 h 840941"/>
                <a:gd name="connsiteX306" fmla="*/ 2245574 w 3024845"/>
                <a:gd name="connsiteY306" fmla="*/ 337475 h 840941"/>
                <a:gd name="connsiteX307" fmla="*/ 2245574 w 3024845"/>
                <a:gd name="connsiteY307" fmla="*/ 413137 h 840941"/>
                <a:gd name="connsiteX308" fmla="*/ 2253681 w 3024845"/>
                <a:gd name="connsiteY308" fmla="*/ 413137 h 840941"/>
                <a:gd name="connsiteX309" fmla="*/ 2255708 w 3024845"/>
                <a:gd name="connsiteY309" fmla="*/ 406652 h 840941"/>
                <a:gd name="connsiteX310" fmla="*/ 2261788 w 3024845"/>
                <a:gd name="connsiteY310" fmla="*/ 406652 h 840941"/>
                <a:gd name="connsiteX311" fmla="*/ 2263815 w 3024845"/>
                <a:gd name="connsiteY311" fmla="*/ 415299 h 840941"/>
                <a:gd name="connsiteX312" fmla="*/ 2275975 w 3024845"/>
                <a:gd name="connsiteY312" fmla="*/ 415299 h 840941"/>
                <a:gd name="connsiteX313" fmla="*/ 2275975 w 3024845"/>
                <a:gd name="connsiteY313" fmla="*/ 408813 h 840941"/>
                <a:gd name="connsiteX314" fmla="*/ 2298268 w 3024845"/>
                <a:gd name="connsiteY314" fmla="*/ 408813 h 840941"/>
                <a:gd name="connsiteX315" fmla="*/ 2298268 w 3024845"/>
                <a:gd name="connsiteY315" fmla="*/ 415299 h 840941"/>
                <a:gd name="connsiteX316" fmla="*/ 2318535 w 3024845"/>
                <a:gd name="connsiteY316" fmla="*/ 415299 h 840941"/>
                <a:gd name="connsiteX317" fmla="*/ 2318535 w 3024845"/>
                <a:gd name="connsiteY317" fmla="*/ 460696 h 840941"/>
                <a:gd name="connsiteX318" fmla="*/ 2332722 w 3024845"/>
                <a:gd name="connsiteY318" fmla="*/ 460696 h 840941"/>
                <a:gd name="connsiteX319" fmla="*/ 2332722 w 3024845"/>
                <a:gd name="connsiteY319" fmla="*/ 447725 h 840941"/>
                <a:gd name="connsiteX320" fmla="*/ 2348936 w 3024845"/>
                <a:gd name="connsiteY320" fmla="*/ 447725 h 840941"/>
                <a:gd name="connsiteX321" fmla="*/ 2348936 w 3024845"/>
                <a:gd name="connsiteY321" fmla="*/ 268298 h 840941"/>
                <a:gd name="connsiteX322" fmla="*/ 2355016 w 3024845"/>
                <a:gd name="connsiteY322" fmla="*/ 261812 h 840941"/>
                <a:gd name="connsiteX323" fmla="*/ 2427977 w 3024845"/>
                <a:gd name="connsiteY323" fmla="*/ 261812 h 840941"/>
                <a:gd name="connsiteX324" fmla="*/ 2427977 w 3024845"/>
                <a:gd name="connsiteY324" fmla="*/ 270460 h 840941"/>
                <a:gd name="connsiteX325" fmla="*/ 2438110 w 3024845"/>
                <a:gd name="connsiteY325" fmla="*/ 270460 h 840941"/>
                <a:gd name="connsiteX326" fmla="*/ 2438110 w 3024845"/>
                <a:gd name="connsiteY326" fmla="*/ 385034 h 840941"/>
                <a:gd name="connsiteX327" fmla="*/ 2460404 w 3024845"/>
                <a:gd name="connsiteY327" fmla="*/ 385034 h 840941"/>
                <a:gd name="connsiteX328" fmla="*/ 2460404 w 3024845"/>
                <a:gd name="connsiteY328" fmla="*/ 318019 h 840941"/>
                <a:gd name="connsiteX329" fmla="*/ 2486751 w 3024845"/>
                <a:gd name="connsiteY329" fmla="*/ 318019 h 840941"/>
                <a:gd name="connsiteX330" fmla="*/ 2490804 w 3024845"/>
                <a:gd name="connsiteY330" fmla="*/ 313695 h 840941"/>
                <a:gd name="connsiteX331" fmla="*/ 2498911 w 3024845"/>
                <a:gd name="connsiteY331" fmla="*/ 313695 h 840941"/>
                <a:gd name="connsiteX332" fmla="*/ 2502964 w 3024845"/>
                <a:gd name="connsiteY332" fmla="*/ 318019 h 840941"/>
                <a:gd name="connsiteX333" fmla="*/ 2525258 w 3024845"/>
                <a:gd name="connsiteY333" fmla="*/ 318019 h 840941"/>
                <a:gd name="connsiteX334" fmla="*/ 2525258 w 3024845"/>
                <a:gd name="connsiteY334" fmla="*/ 201283 h 840941"/>
                <a:gd name="connsiteX335" fmla="*/ 2582005 w 3024845"/>
                <a:gd name="connsiteY335" fmla="*/ 190474 h 840941"/>
                <a:gd name="connsiteX336" fmla="*/ 2582005 w 3024845"/>
                <a:gd name="connsiteY336" fmla="*/ 191555 h 840941"/>
                <a:gd name="connsiteX337" fmla="*/ 2582005 w 3024845"/>
                <a:gd name="connsiteY337" fmla="*/ 199121 h 840941"/>
                <a:gd name="connsiteX338" fmla="*/ 2608352 w 3024845"/>
                <a:gd name="connsiteY338" fmla="*/ 199121 h 840941"/>
                <a:gd name="connsiteX339" fmla="*/ 2608352 w 3024845"/>
                <a:gd name="connsiteY339" fmla="*/ 454211 h 840941"/>
                <a:gd name="connsiteX340" fmla="*/ 2630646 w 3024845"/>
                <a:gd name="connsiteY340" fmla="*/ 454211 h 840941"/>
                <a:gd name="connsiteX341" fmla="*/ 2630646 w 3024845"/>
                <a:gd name="connsiteY341" fmla="*/ 449887 h 840941"/>
                <a:gd name="connsiteX342" fmla="*/ 2642806 w 3024845"/>
                <a:gd name="connsiteY342" fmla="*/ 449887 h 840941"/>
                <a:gd name="connsiteX343" fmla="*/ 2642806 w 3024845"/>
                <a:gd name="connsiteY343" fmla="*/ 454211 h 840941"/>
                <a:gd name="connsiteX344" fmla="*/ 2667126 w 3024845"/>
                <a:gd name="connsiteY344" fmla="*/ 454211 h 840941"/>
                <a:gd name="connsiteX345" fmla="*/ 2667126 w 3024845"/>
                <a:gd name="connsiteY345" fmla="*/ 441240 h 840941"/>
                <a:gd name="connsiteX346" fmla="*/ 2695500 w 3024845"/>
                <a:gd name="connsiteY346" fmla="*/ 441240 h 840941"/>
                <a:gd name="connsiteX347" fmla="*/ 2707660 w 3024845"/>
                <a:gd name="connsiteY347" fmla="*/ 436916 h 840941"/>
                <a:gd name="connsiteX348" fmla="*/ 2727927 w 3024845"/>
                <a:gd name="connsiteY348" fmla="*/ 441240 h 840941"/>
                <a:gd name="connsiteX349" fmla="*/ 2727927 w 3024845"/>
                <a:gd name="connsiteY349" fmla="*/ 423946 h 840941"/>
                <a:gd name="connsiteX350" fmla="*/ 2736034 w 3024845"/>
                <a:gd name="connsiteY350" fmla="*/ 423946 h 840941"/>
                <a:gd name="connsiteX351" fmla="*/ 2736034 w 3024845"/>
                <a:gd name="connsiteY351" fmla="*/ 410975 h 840941"/>
                <a:gd name="connsiteX352" fmla="*/ 2792781 w 3024845"/>
                <a:gd name="connsiteY352" fmla="*/ 410975 h 840941"/>
                <a:gd name="connsiteX353" fmla="*/ 2792781 w 3024845"/>
                <a:gd name="connsiteY353" fmla="*/ 380710 h 840941"/>
                <a:gd name="connsiteX354" fmla="*/ 2811021 w 3024845"/>
                <a:gd name="connsiteY354" fmla="*/ 380710 h 840941"/>
                <a:gd name="connsiteX355" fmla="*/ 2811021 w 3024845"/>
                <a:gd name="connsiteY355" fmla="*/ 374225 h 840941"/>
                <a:gd name="connsiteX356" fmla="*/ 2823181 w 3024845"/>
                <a:gd name="connsiteY356" fmla="*/ 374225 h 840941"/>
                <a:gd name="connsiteX357" fmla="*/ 2823181 w 3024845"/>
                <a:gd name="connsiteY357" fmla="*/ 380710 h 840941"/>
                <a:gd name="connsiteX358" fmla="*/ 2839395 w 3024845"/>
                <a:gd name="connsiteY358" fmla="*/ 380710 h 840941"/>
                <a:gd name="connsiteX359" fmla="*/ 2839395 w 3024845"/>
                <a:gd name="connsiteY359" fmla="*/ 430431 h 840941"/>
                <a:gd name="connsiteX360" fmla="*/ 2871822 w 3024845"/>
                <a:gd name="connsiteY360" fmla="*/ 430431 h 840941"/>
                <a:gd name="connsiteX361" fmla="*/ 2871822 w 3024845"/>
                <a:gd name="connsiteY361" fmla="*/ 404490 h 840941"/>
                <a:gd name="connsiteX362" fmla="*/ 2910329 w 3024845"/>
                <a:gd name="connsiteY362" fmla="*/ 404490 h 840941"/>
                <a:gd name="connsiteX363" fmla="*/ 2910329 w 3024845"/>
                <a:gd name="connsiteY363" fmla="*/ 374225 h 840941"/>
                <a:gd name="connsiteX364" fmla="*/ 2958970 w 3024845"/>
                <a:gd name="connsiteY364" fmla="*/ 374225 h 840941"/>
                <a:gd name="connsiteX365" fmla="*/ 2958970 w 3024845"/>
                <a:gd name="connsiteY365" fmla="*/ 485381 h 840941"/>
                <a:gd name="connsiteX366" fmla="*/ 2958970 w 3024845"/>
                <a:gd name="connsiteY366" fmla="*/ 499160 h 840941"/>
                <a:gd name="connsiteX367" fmla="*/ 3024845 w 3024845"/>
                <a:gd name="connsiteY367" fmla="*/ 499160 h 840941"/>
                <a:gd name="connsiteX368" fmla="*/ 3024845 w 3024845"/>
                <a:gd name="connsiteY368" fmla="*/ 840941 h 840941"/>
                <a:gd name="connsiteX369" fmla="*/ 2054 w 3024845"/>
                <a:gd name="connsiteY369" fmla="*/ 838608 h 840941"/>
                <a:gd name="connsiteX370" fmla="*/ 0 w 3024845"/>
                <a:gd name="connsiteY370" fmla="*/ 404490 h 840941"/>
                <a:gd name="connsiteX371" fmla="*/ 20267 w 3024845"/>
                <a:gd name="connsiteY371" fmla="*/ 404490 h 840941"/>
                <a:gd name="connsiteX372" fmla="*/ 20774 w 3024845"/>
                <a:gd name="connsiteY372" fmla="*/ 403409 h 840941"/>
                <a:gd name="connsiteX373" fmla="*/ 24320 w 3024845"/>
                <a:gd name="connsiteY373" fmla="*/ 395843 h 840941"/>
                <a:gd name="connsiteX374" fmla="*/ 26094 w 3024845"/>
                <a:gd name="connsiteY374" fmla="*/ 396113 h 840941"/>
                <a:gd name="connsiteX375" fmla="*/ 38507 w 3024845"/>
                <a:gd name="connsiteY375" fmla="*/ 398004 h 840941"/>
                <a:gd name="connsiteX376" fmla="*/ 39014 w 3024845"/>
                <a:gd name="connsiteY376" fmla="*/ 399356 h 840941"/>
                <a:gd name="connsiteX377" fmla="*/ 42560 w 3024845"/>
                <a:gd name="connsiteY377" fmla="*/ 408813 h 840941"/>
                <a:gd name="connsiteX378" fmla="*/ 68907 w 3024845"/>
                <a:gd name="connsiteY378" fmla="*/ 410975 h 840941"/>
                <a:gd name="connsiteX379" fmla="*/ 68907 w 3024845"/>
                <a:gd name="connsiteY379" fmla="*/ 287754 h 840941"/>
                <a:gd name="connsiteX380" fmla="*/ 70934 w 3024845"/>
                <a:gd name="connsiteY380" fmla="*/ 287754 h 840941"/>
                <a:gd name="connsiteX381" fmla="*/ 85121 w 3024845"/>
                <a:gd name="connsiteY381" fmla="*/ 287754 h 840941"/>
                <a:gd name="connsiteX382" fmla="*/ 85121 w 3024845"/>
                <a:gd name="connsiteY382" fmla="*/ 151562 h 840941"/>
                <a:gd name="connsiteX383" fmla="*/ 86894 w 3024845"/>
                <a:gd name="connsiteY383" fmla="*/ 151562 h 840941"/>
                <a:gd name="connsiteX384" fmla="*/ 99308 w 3024845"/>
                <a:gd name="connsiteY384" fmla="*/ 151562 h 840941"/>
                <a:gd name="connsiteX385" fmla="*/ 99308 w 3024845"/>
                <a:gd name="connsiteY385" fmla="*/ 36988 h 840941"/>
                <a:gd name="connsiteX0" fmla="*/ 99308 w 3024845"/>
                <a:gd name="connsiteY0" fmla="*/ 0 h 803953"/>
                <a:gd name="connsiteX1" fmla="*/ 220909 w 3024845"/>
                <a:gd name="connsiteY1" fmla="*/ 114574 h 803953"/>
                <a:gd name="connsiteX2" fmla="*/ 223189 w 3024845"/>
                <a:gd name="connsiteY2" fmla="*/ 114574 h 803953"/>
                <a:gd name="connsiteX3" fmla="*/ 239150 w 3024845"/>
                <a:gd name="connsiteY3" fmla="*/ 114574 h 803953"/>
                <a:gd name="connsiteX4" fmla="*/ 239150 w 3024845"/>
                <a:gd name="connsiteY4" fmla="*/ 255089 h 803953"/>
                <a:gd name="connsiteX5" fmla="*/ 240670 w 3024845"/>
                <a:gd name="connsiteY5" fmla="*/ 254819 h 803953"/>
                <a:gd name="connsiteX6" fmla="*/ 251310 w 3024845"/>
                <a:gd name="connsiteY6" fmla="*/ 252928 h 803953"/>
                <a:gd name="connsiteX7" fmla="*/ 249283 w 3024845"/>
                <a:gd name="connsiteY7" fmla="*/ 341560 h 803953"/>
                <a:gd name="connsiteX8" fmla="*/ 250803 w 3024845"/>
                <a:gd name="connsiteY8" fmla="*/ 341831 h 803953"/>
                <a:gd name="connsiteX9" fmla="*/ 261443 w 3024845"/>
                <a:gd name="connsiteY9" fmla="*/ 343722 h 803953"/>
                <a:gd name="connsiteX10" fmla="*/ 261696 w 3024845"/>
                <a:gd name="connsiteY10" fmla="*/ 344533 h 803953"/>
                <a:gd name="connsiteX11" fmla="*/ 263470 w 3024845"/>
                <a:gd name="connsiteY11" fmla="*/ 350208 h 803953"/>
                <a:gd name="connsiteX12" fmla="*/ 264230 w 3024845"/>
                <a:gd name="connsiteY12" fmla="*/ 347776 h 803953"/>
                <a:gd name="connsiteX13" fmla="*/ 269550 w 3024845"/>
                <a:gd name="connsiteY13" fmla="*/ 330752 h 803953"/>
                <a:gd name="connsiteX14" fmla="*/ 271323 w 3024845"/>
                <a:gd name="connsiteY14" fmla="*/ 330752 h 803953"/>
                <a:gd name="connsiteX15" fmla="*/ 283737 w 3024845"/>
                <a:gd name="connsiteY15" fmla="*/ 330752 h 803953"/>
                <a:gd name="connsiteX16" fmla="*/ 283737 w 3024845"/>
                <a:gd name="connsiteY16" fmla="*/ 363178 h 803953"/>
                <a:gd name="connsiteX17" fmla="*/ 284750 w 3024845"/>
                <a:gd name="connsiteY17" fmla="*/ 363719 h 803953"/>
                <a:gd name="connsiteX18" fmla="*/ 291844 w 3024845"/>
                <a:gd name="connsiteY18" fmla="*/ 367502 h 803953"/>
                <a:gd name="connsiteX19" fmla="*/ 291844 w 3024845"/>
                <a:gd name="connsiteY19" fmla="*/ 368853 h 803953"/>
                <a:gd name="connsiteX20" fmla="*/ 291844 w 3024845"/>
                <a:gd name="connsiteY20" fmla="*/ 378311 h 803953"/>
                <a:gd name="connsiteX21" fmla="*/ 336431 w 3024845"/>
                <a:gd name="connsiteY21" fmla="*/ 378311 h 803953"/>
                <a:gd name="connsiteX22" fmla="*/ 336431 w 3024845"/>
                <a:gd name="connsiteY22" fmla="*/ 379392 h 803953"/>
                <a:gd name="connsiteX23" fmla="*/ 336431 w 3024845"/>
                <a:gd name="connsiteY23" fmla="*/ 386958 h 803953"/>
                <a:gd name="connsiteX24" fmla="*/ 338457 w 3024845"/>
                <a:gd name="connsiteY24" fmla="*/ 386958 h 803953"/>
                <a:gd name="connsiteX25" fmla="*/ 352644 w 3024845"/>
                <a:gd name="connsiteY25" fmla="*/ 386958 h 803953"/>
                <a:gd name="connsiteX26" fmla="*/ 352644 w 3024845"/>
                <a:gd name="connsiteY26" fmla="*/ 356693 h 803953"/>
                <a:gd name="connsiteX27" fmla="*/ 397231 w 3024845"/>
                <a:gd name="connsiteY27" fmla="*/ 356693 h 803953"/>
                <a:gd name="connsiteX28" fmla="*/ 397231 w 3024845"/>
                <a:gd name="connsiteY28" fmla="*/ 355342 h 803953"/>
                <a:gd name="connsiteX29" fmla="*/ 397231 w 3024845"/>
                <a:gd name="connsiteY29" fmla="*/ 345884 h 803953"/>
                <a:gd name="connsiteX30" fmla="*/ 398245 w 3024845"/>
                <a:gd name="connsiteY30" fmla="*/ 345884 h 803953"/>
                <a:gd name="connsiteX31" fmla="*/ 405338 w 3024845"/>
                <a:gd name="connsiteY31" fmla="*/ 345884 h 803953"/>
                <a:gd name="connsiteX32" fmla="*/ 405338 w 3024845"/>
                <a:gd name="connsiteY32" fmla="*/ 343993 h 803953"/>
                <a:gd name="connsiteX33" fmla="*/ 405338 w 3024845"/>
                <a:gd name="connsiteY33" fmla="*/ 330752 h 803953"/>
                <a:gd name="connsiteX34" fmla="*/ 406098 w 3024845"/>
                <a:gd name="connsiteY34" fmla="*/ 330752 h 803953"/>
                <a:gd name="connsiteX35" fmla="*/ 411418 w 3024845"/>
                <a:gd name="connsiteY35" fmla="*/ 330752 h 803953"/>
                <a:gd name="connsiteX36" fmla="*/ 411418 w 3024845"/>
                <a:gd name="connsiteY36" fmla="*/ 329671 h 803953"/>
                <a:gd name="connsiteX37" fmla="*/ 411418 w 3024845"/>
                <a:gd name="connsiteY37" fmla="*/ 322104 h 803953"/>
                <a:gd name="connsiteX38" fmla="*/ 413445 w 3024845"/>
                <a:gd name="connsiteY38" fmla="*/ 322104 h 803953"/>
                <a:gd name="connsiteX39" fmla="*/ 427632 w 3024845"/>
                <a:gd name="connsiteY39" fmla="*/ 322104 h 803953"/>
                <a:gd name="connsiteX40" fmla="*/ 427632 w 3024845"/>
                <a:gd name="connsiteY40" fmla="*/ 323185 h 803953"/>
                <a:gd name="connsiteX41" fmla="*/ 427632 w 3024845"/>
                <a:gd name="connsiteY41" fmla="*/ 330752 h 803953"/>
                <a:gd name="connsiteX42" fmla="*/ 449925 w 3024845"/>
                <a:gd name="connsiteY42" fmla="*/ 330752 h 803953"/>
                <a:gd name="connsiteX43" fmla="*/ 449925 w 3024845"/>
                <a:gd name="connsiteY43" fmla="*/ 328860 h 803953"/>
                <a:gd name="connsiteX44" fmla="*/ 449925 w 3024845"/>
                <a:gd name="connsiteY44" fmla="*/ 315619 h 803953"/>
                <a:gd name="connsiteX45" fmla="*/ 451699 w 3024845"/>
                <a:gd name="connsiteY45" fmla="*/ 315619 h 803953"/>
                <a:gd name="connsiteX46" fmla="*/ 464112 w 3024845"/>
                <a:gd name="connsiteY46" fmla="*/ 315619 h 803953"/>
                <a:gd name="connsiteX47" fmla="*/ 464112 w 3024845"/>
                <a:gd name="connsiteY47" fmla="*/ 339399 h 803953"/>
                <a:gd name="connsiteX48" fmla="*/ 465126 w 3024845"/>
                <a:gd name="connsiteY48" fmla="*/ 339399 h 803953"/>
                <a:gd name="connsiteX49" fmla="*/ 472219 w 3024845"/>
                <a:gd name="connsiteY49" fmla="*/ 339399 h 803953"/>
                <a:gd name="connsiteX50" fmla="*/ 472219 w 3024845"/>
                <a:gd name="connsiteY50" fmla="*/ 338318 h 803953"/>
                <a:gd name="connsiteX51" fmla="*/ 472219 w 3024845"/>
                <a:gd name="connsiteY51" fmla="*/ 330752 h 803953"/>
                <a:gd name="connsiteX52" fmla="*/ 473992 w 3024845"/>
                <a:gd name="connsiteY52" fmla="*/ 330752 h 803953"/>
                <a:gd name="connsiteX53" fmla="*/ 486406 w 3024845"/>
                <a:gd name="connsiteY53" fmla="*/ 330752 h 803953"/>
                <a:gd name="connsiteX54" fmla="*/ 486406 w 3024845"/>
                <a:gd name="connsiteY54" fmla="*/ 356693 h 803953"/>
                <a:gd name="connsiteX55" fmla="*/ 488433 w 3024845"/>
                <a:gd name="connsiteY55" fmla="*/ 356693 h 803953"/>
                <a:gd name="connsiteX56" fmla="*/ 502619 w 3024845"/>
                <a:gd name="connsiteY56" fmla="*/ 356693 h 803953"/>
                <a:gd name="connsiteX57" fmla="*/ 502619 w 3024845"/>
                <a:gd name="connsiteY57" fmla="*/ 358314 h 803953"/>
                <a:gd name="connsiteX58" fmla="*/ 502619 w 3024845"/>
                <a:gd name="connsiteY58" fmla="*/ 369664 h 803953"/>
                <a:gd name="connsiteX59" fmla="*/ 503379 w 3024845"/>
                <a:gd name="connsiteY59" fmla="*/ 369664 h 803953"/>
                <a:gd name="connsiteX60" fmla="*/ 508700 w 3024845"/>
                <a:gd name="connsiteY60" fmla="*/ 369664 h 803953"/>
                <a:gd name="connsiteX61" fmla="*/ 508700 w 3024845"/>
                <a:gd name="connsiteY61" fmla="*/ 368853 h 803953"/>
                <a:gd name="connsiteX62" fmla="*/ 508700 w 3024845"/>
                <a:gd name="connsiteY62" fmla="*/ 363178 h 803953"/>
                <a:gd name="connsiteX63" fmla="*/ 539100 w 3024845"/>
                <a:gd name="connsiteY63" fmla="*/ 363178 h 803953"/>
                <a:gd name="connsiteX64" fmla="*/ 539100 w 3024845"/>
                <a:gd name="connsiteY64" fmla="*/ 386958 h 803953"/>
                <a:gd name="connsiteX65" fmla="*/ 540113 w 3024845"/>
                <a:gd name="connsiteY65" fmla="*/ 386958 h 803953"/>
                <a:gd name="connsiteX66" fmla="*/ 547207 w 3024845"/>
                <a:gd name="connsiteY66" fmla="*/ 386958 h 803953"/>
                <a:gd name="connsiteX67" fmla="*/ 547207 w 3024845"/>
                <a:gd name="connsiteY67" fmla="*/ 388039 h 803953"/>
                <a:gd name="connsiteX68" fmla="*/ 547207 w 3024845"/>
                <a:gd name="connsiteY68" fmla="*/ 395605 h 803953"/>
                <a:gd name="connsiteX69" fmla="*/ 547967 w 3024845"/>
                <a:gd name="connsiteY69" fmla="*/ 395605 h 803953"/>
                <a:gd name="connsiteX70" fmla="*/ 553287 w 3024845"/>
                <a:gd name="connsiteY70" fmla="*/ 395605 h 803953"/>
                <a:gd name="connsiteX71" fmla="*/ 553287 w 3024845"/>
                <a:gd name="connsiteY71" fmla="*/ 393443 h 803953"/>
                <a:gd name="connsiteX72" fmla="*/ 553287 w 3024845"/>
                <a:gd name="connsiteY72" fmla="*/ 378311 h 803953"/>
                <a:gd name="connsiteX73" fmla="*/ 554300 w 3024845"/>
                <a:gd name="connsiteY73" fmla="*/ 378311 h 803953"/>
                <a:gd name="connsiteX74" fmla="*/ 561394 w 3024845"/>
                <a:gd name="connsiteY74" fmla="*/ 378311 h 803953"/>
                <a:gd name="connsiteX75" fmla="*/ 561394 w 3024845"/>
                <a:gd name="connsiteY75" fmla="*/ 379392 h 803953"/>
                <a:gd name="connsiteX76" fmla="*/ 561394 w 3024845"/>
                <a:gd name="connsiteY76" fmla="*/ 386958 h 803953"/>
                <a:gd name="connsiteX77" fmla="*/ 566714 w 3024845"/>
                <a:gd name="connsiteY77" fmla="*/ 384965 h 803953"/>
                <a:gd name="connsiteX78" fmla="*/ 567474 w 3024845"/>
                <a:gd name="connsiteY78" fmla="*/ 383985 h 803953"/>
                <a:gd name="connsiteX79" fmla="*/ 567474 w 3024845"/>
                <a:gd name="connsiteY79" fmla="*/ 378311 h 803953"/>
                <a:gd name="connsiteX80" fmla="*/ 605981 w 3024845"/>
                <a:gd name="connsiteY80" fmla="*/ 378311 h 803953"/>
                <a:gd name="connsiteX81" fmla="*/ 605981 w 3024845"/>
                <a:gd name="connsiteY81" fmla="*/ 402090 h 803953"/>
                <a:gd name="connsiteX82" fmla="*/ 608007 w 3024845"/>
                <a:gd name="connsiteY82" fmla="*/ 402090 h 803953"/>
                <a:gd name="connsiteX83" fmla="*/ 622194 w 3024845"/>
                <a:gd name="connsiteY83" fmla="*/ 402090 h 803953"/>
                <a:gd name="connsiteX84" fmla="*/ 622194 w 3024845"/>
                <a:gd name="connsiteY84" fmla="*/ 403171 h 803953"/>
                <a:gd name="connsiteX85" fmla="*/ 622194 w 3024845"/>
                <a:gd name="connsiteY85" fmla="*/ 410737 h 803953"/>
                <a:gd name="connsiteX86" fmla="*/ 623968 w 3024845"/>
                <a:gd name="connsiteY86" fmla="*/ 410737 h 803953"/>
                <a:gd name="connsiteX87" fmla="*/ 636381 w 3024845"/>
                <a:gd name="connsiteY87" fmla="*/ 410737 h 803953"/>
                <a:gd name="connsiteX88" fmla="*/ 636381 w 3024845"/>
                <a:gd name="connsiteY88" fmla="*/ 386958 h 803953"/>
                <a:gd name="connsiteX89" fmla="*/ 637394 w 3024845"/>
                <a:gd name="connsiteY89" fmla="*/ 386958 h 803953"/>
                <a:gd name="connsiteX90" fmla="*/ 644488 w 3024845"/>
                <a:gd name="connsiteY90" fmla="*/ 386958 h 803953"/>
                <a:gd name="connsiteX91" fmla="*/ 644488 w 3024845"/>
                <a:gd name="connsiteY91" fmla="*/ 354531 h 803953"/>
                <a:gd name="connsiteX92" fmla="*/ 645501 w 3024845"/>
                <a:gd name="connsiteY92" fmla="*/ 354531 h 803953"/>
                <a:gd name="connsiteX93" fmla="*/ 652595 w 3024845"/>
                <a:gd name="connsiteY93" fmla="*/ 354531 h 803953"/>
                <a:gd name="connsiteX94" fmla="*/ 652595 w 3024845"/>
                <a:gd name="connsiteY94" fmla="*/ 352640 h 803953"/>
                <a:gd name="connsiteX95" fmla="*/ 652595 w 3024845"/>
                <a:gd name="connsiteY95" fmla="*/ 339399 h 803953"/>
                <a:gd name="connsiteX96" fmla="*/ 651328 w 3024845"/>
                <a:gd name="connsiteY96" fmla="*/ 337777 h 803953"/>
                <a:gd name="connsiteX97" fmla="*/ 656648 w 3024845"/>
                <a:gd name="connsiteY97" fmla="*/ 326428 h 803953"/>
                <a:gd name="connsiteX98" fmla="*/ 664755 w 3024845"/>
                <a:gd name="connsiteY98" fmla="*/ 354531 h 803953"/>
                <a:gd name="connsiteX99" fmla="*/ 665515 w 3024845"/>
                <a:gd name="connsiteY99" fmla="*/ 354531 h 803953"/>
                <a:gd name="connsiteX100" fmla="*/ 670835 w 3024845"/>
                <a:gd name="connsiteY100" fmla="*/ 354531 h 803953"/>
                <a:gd name="connsiteX101" fmla="*/ 670835 w 3024845"/>
                <a:gd name="connsiteY101" fmla="*/ 248604 h 803953"/>
                <a:gd name="connsiteX102" fmla="*/ 672355 w 3024845"/>
                <a:gd name="connsiteY102" fmla="*/ 248604 h 803953"/>
                <a:gd name="connsiteX103" fmla="*/ 682995 w 3024845"/>
                <a:gd name="connsiteY103" fmla="*/ 248604 h 803953"/>
                <a:gd name="connsiteX104" fmla="*/ 682995 w 3024845"/>
                <a:gd name="connsiteY104" fmla="*/ 201045 h 803953"/>
                <a:gd name="connsiteX105" fmla="*/ 709342 w 3024845"/>
                <a:gd name="connsiteY105" fmla="*/ 201045 h 803953"/>
                <a:gd name="connsiteX106" fmla="*/ 709342 w 3024845"/>
                <a:gd name="connsiteY106" fmla="*/ 179427 h 803953"/>
                <a:gd name="connsiteX107" fmla="*/ 743796 w 3024845"/>
                <a:gd name="connsiteY107" fmla="*/ 179427 h 803953"/>
                <a:gd name="connsiteX108" fmla="*/ 743796 w 3024845"/>
                <a:gd name="connsiteY108" fmla="*/ 181859 h 803953"/>
                <a:gd name="connsiteX109" fmla="*/ 743796 w 3024845"/>
                <a:gd name="connsiteY109" fmla="*/ 198883 h 803953"/>
                <a:gd name="connsiteX110" fmla="*/ 746076 w 3024845"/>
                <a:gd name="connsiteY110" fmla="*/ 198883 h 803953"/>
                <a:gd name="connsiteX111" fmla="*/ 762036 w 3024845"/>
                <a:gd name="connsiteY111" fmla="*/ 198883 h 803953"/>
                <a:gd name="connsiteX112" fmla="*/ 762036 w 3024845"/>
                <a:gd name="connsiteY112" fmla="*/ 246442 h 803953"/>
                <a:gd name="connsiteX113" fmla="*/ 763049 w 3024845"/>
                <a:gd name="connsiteY113" fmla="*/ 246442 h 803953"/>
                <a:gd name="connsiteX114" fmla="*/ 770143 w 3024845"/>
                <a:gd name="connsiteY114" fmla="*/ 246442 h 803953"/>
                <a:gd name="connsiteX115" fmla="*/ 784330 w 3024845"/>
                <a:gd name="connsiteY115" fmla="*/ 250766 h 803953"/>
                <a:gd name="connsiteX116" fmla="*/ 784330 w 3024845"/>
                <a:gd name="connsiteY116" fmla="*/ 289678 h 803953"/>
                <a:gd name="connsiteX117" fmla="*/ 785343 w 3024845"/>
                <a:gd name="connsiteY117" fmla="*/ 289678 h 803953"/>
                <a:gd name="connsiteX118" fmla="*/ 792436 w 3024845"/>
                <a:gd name="connsiteY118" fmla="*/ 289678 h 803953"/>
                <a:gd name="connsiteX119" fmla="*/ 792436 w 3024845"/>
                <a:gd name="connsiteY119" fmla="*/ 291299 h 803953"/>
                <a:gd name="connsiteX120" fmla="*/ 792436 w 3024845"/>
                <a:gd name="connsiteY120" fmla="*/ 302648 h 803953"/>
                <a:gd name="connsiteX121" fmla="*/ 794463 w 3024845"/>
                <a:gd name="connsiteY121" fmla="*/ 302648 h 803953"/>
                <a:gd name="connsiteX122" fmla="*/ 808650 w 3024845"/>
                <a:gd name="connsiteY122" fmla="*/ 302648 h 803953"/>
                <a:gd name="connsiteX123" fmla="*/ 814730 w 3024845"/>
                <a:gd name="connsiteY123" fmla="*/ 309134 h 803953"/>
                <a:gd name="connsiteX124" fmla="*/ 814730 w 3024845"/>
                <a:gd name="connsiteY124" fmla="*/ 330752 h 803953"/>
                <a:gd name="connsiteX125" fmla="*/ 817010 w 3024845"/>
                <a:gd name="connsiteY125" fmla="*/ 330752 h 803953"/>
                <a:gd name="connsiteX126" fmla="*/ 832970 w 3024845"/>
                <a:gd name="connsiteY126" fmla="*/ 330752 h 803953"/>
                <a:gd name="connsiteX127" fmla="*/ 832970 w 3024845"/>
                <a:gd name="connsiteY127" fmla="*/ 331832 h 803953"/>
                <a:gd name="connsiteX128" fmla="*/ 832970 w 3024845"/>
                <a:gd name="connsiteY128" fmla="*/ 339399 h 803953"/>
                <a:gd name="connsiteX129" fmla="*/ 834237 w 3024845"/>
                <a:gd name="connsiteY129" fmla="*/ 339399 h 803953"/>
                <a:gd name="connsiteX130" fmla="*/ 843104 w 3024845"/>
                <a:gd name="connsiteY130" fmla="*/ 339399 h 803953"/>
                <a:gd name="connsiteX131" fmla="*/ 843104 w 3024845"/>
                <a:gd name="connsiteY131" fmla="*/ 341560 h 803953"/>
                <a:gd name="connsiteX132" fmla="*/ 843104 w 3024845"/>
                <a:gd name="connsiteY132" fmla="*/ 356693 h 803953"/>
                <a:gd name="connsiteX133" fmla="*/ 847157 w 3024845"/>
                <a:gd name="connsiteY133" fmla="*/ 354801 h 803953"/>
                <a:gd name="connsiteX134" fmla="*/ 847157 w 3024845"/>
                <a:gd name="connsiteY134" fmla="*/ 341560 h 803953"/>
                <a:gd name="connsiteX135" fmla="*/ 848170 w 3024845"/>
                <a:gd name="connsiteY135" fmla="*/ 341560 h 803953"/>
                <a:gd name="connsiteX136" fmla="*/ 855264 w 3024845"/>
                <a:gd name="connsiteY136" fmla="*/ 341560 h 803953"/>
                <a:gd name="connsiteX137" fmla="*/ 855264 w 3024845"/>
                <a:gd name="connsiteY137" fmla="*/ 343182 h 803953"/>
                <a:gd name="connsiteX138" fmla="*/ 855264 w 3024845"/>
                <a:gd name="connsiteY138" fmla="*/ 354531 h 803953"/>
                <a:gd name="connsiteX139" fmla="*/ 856024 w 3024845"/>
                <a:gd name="connsiteY139" fmla="*/ 354531 h 803953"/>
                <a:gd name="connsiteX140" fmla="*/ 861344 w 3024845"/>
                <a:gd name="connsiteY140" fmla="*/ 354531 h 803953"/>
                <a:gd name="connsiteX141" fmla="*/ 909984 w 3024845"/>
                <a:gd name="connsiteY141" fmla="*/ 350208 h 803953"/>
                <a:gd name="connsiteX142" fmla="*/ 909984 w 3024845"/>
                <a:gd name="connsiteY142" fmla="*/ 351559 h 803953"/>
                <a:gd name="connsiteX143" fmla="*/ 909984 w 3024845"/>
                <a:gd name="connsiteY143" fmla="*/ 361016 h 803953"/>
                <a:gd name="connsiteX144" fmla="*/ 910744 w 3024845"/>
                <a:gd name="connsiteY144" fmla="*/ 361016 h 803953"/>
                <a:gd name="connsiteX145" fmla="*/ 916065 w 3024845"/>
                <a:gd name="connsiteY145" fmla="*/ 361016 h 803953"/>
                <a:gd name="connsiteX146" fmla="*/ 916065 w 3024845"/>
                <a:gd name="connsiteY146" fmla="*/ 363178 h 803953"/>
                <a:gd name="connsiteX147" fmla="*/ 916065 w 3024845"/>
                <a:gd name="connsiteY147" fmla="*/ 378311 h 803953"/>
                <a:gd name="connsiteX148" fmla="*/ 918091 w 3024845"/>
                <a:gd name="connsiteY148" fmla="*/ 376960 h 803953"/>
                <a:gd name="connsiteX149" fmla="*/ 932278 w 3024845"/>
                <a:gd name="connsiteY149" fmla="*/ 367502 h 803953"/>
                <a:gd name="connsiteX150" fmla="*/ 938358 w 3024845"/>
                <a:gd name="connsiteY150" fmla="*/ 326428 h 803953"/>
                <a:gd name="connsiteX151" fmla="*/ 939118 w 3024845"/>
                <a:gd name="connsiteY151" fmla="*/ 326158 h 803953"/>
                <a:gd name="connsiteX152" fmla="*/ 944438 w 3024845"/>
                <a:gd name="connsiteY152" fmla="*/ 324266 h 803953"/>
                <a:gd name="connsiteX153" fmla="*/ 946465 w 3024845"/>
                <a:gd name="connsiteY153" fmla="*/ 255089 h 803953"/>
                <a:gd name="connsiteX154" fmla="*/ 948492 w 3024845"/>
                <a:gd name="connsiteY154" fmla="*/ 324266 h 803953"/>
                <a:gd name="connsiteX155" fmla="*/ 949252 w 3024845"/>
                <a:gd name="connsiteY155" fmla="*/ 324536 h 803953"/>
                <a:gd name="connsiteX156" fmla="*/ 954572 w 3024845"/>
                <a:gd name="connsiteY156" fmla="*/ 326428 h 803953"/>
                <a:gd name="connsiteX157" fmla="*/ 954572 w 3024845"/>
                <a:gd name="connsiteY157" fmla="*/ 239957 h 803953"/>
                <a:gd name="connsiteX158" fmla="*/ 958625 w 3024845"/>
                <a:gd name="connsiteY158" fmla="*/ 207530 h 803953"/>
                <a:gd name="connsiteX159" fmla="*/ 997132 w 3024845"/>
                <a:gd name="connsiteY159" fmla="*/ 207530 h 803953"/>
                <a:gd name="connsiteX160" fmla="*/ 997132 w 3024845"/>
                <a:gd name="connsiteY160" fmla="*/ 239957 h 803953"/>
                <a:gd name="connsiteX161" fmla="*/ 997892 w 3024845"/>
                <a:gd name="connsiteY161" fmla="*/ 239957 h 803953"/>
                <a:gd name="connsiteX162" fmla="*/ 1003212 w 3024845"/>
                <a:gd name="connsiteY162" fmla="*/ 239957 h 803953"/>
                <a:gd name="connsiteX163" fmla="*/ 1003212 w 3024845"/>
                <a:gd name="connsiteY163" fmla="*/ 157809 h 803953"/>
                <a:gd name="connsiteX164" fmla="*/ 1004986 w 3024845"/>
                <a:gd name="connsiteY164" fmla="*/ 157809 h 803953"/>
                <a:gd name="connsiteX165" fmla="*/ 1017399 w 3024845"/>
                <a:gd name="connsiteY165" fmla="*/ 157809 h 803953"/>
                <a:gd name="connsiteX166" fmla="*/ 1017399 w 3024845"/>
                <a:gd name="connsiteY166" fmla="*/ 155918 h 803953"/>
                <a:gd name="connsiteX167" fmla="*/ 1017399 w 3024845"/>
                <a:gd name="connsiteY167" fmla="*/ 142677 h 803953"/>
                <a:gd name="connsiteX168" fmla="*/ 1039693 w 3024845"/>
                <a:gd name="connsiteY168" fmla="*/ 142677 h 803953"/>
                <a:gd name="connsiteX169" fmla="*/ 1039693 w 3024845"/>
                <a:gd name="connsiteY169" fmla="*/ 141596 h 803953"/>
                <a:gd name="connsiteX170" fmla="*/ 1039693 w 3024845"/>
                <a:gd name="connsiteY170" fmla="*/ 134030 h 803953"/>
                <a:gd name="connsiteX171" fmla="*/ 1041466 w 3024845"/>
                <a:gd name="connsiteY171" fmla="*/ 134030 h 803953"/>
                <a:gd name="connsiteX172" fmla="*/ 1053880 w 3024845"/>
                <a:gd name="connsiteY172" fmla="*/ 134030 h 803953"/>
                <a:gd name="connsiteX173" fmla="*/ 1053880 w 3024845"/>
                <a:gd name="connsiteY173" fmla="*/ 135111 h 803953"/>
                <a:gd name="connsiteX174" fmla="*/ 1053880 w 3024845"/>
                <a:gd name="connsiteY174" fmla="*/ 142677 h 803953"/>
                <a:gd name="connsiteX175" fmla="*/ 1054640 w 3024845"/>
                <a:gd name="connsiteY175" fmla="*/ 142677 h 803953"/>
                <a:gd name="connsiteX176" fmla="*/ 1059960 w 3024845"/>
                <a:gd name="connsiteY176" fmla="*/ 142677 h 803953"/>
                <a:gd name="connsiteX177" fmla="*/ 1070093 w 3024845"/>
                <a:gd name="connsiteY177" fmla="*/ 138353 h 803953"/>
                <a:gd name="connsiteX178" fmla="*/ 1074146 w 3024845"/>
                <a:gd name="connsiteY178" fmla="*/ 141596 h 803953"/>
                <a:gd name="connsiteX179" fmla="*/ 1074146 w 3024845"/>
                <a:gd name="connsiteY179" fmla="*/ 134030 h 803953"/>
                <a:gd name="connsiteX180" fmla="*/ 1076426 w 3024845"/>
                <a:gd name="connsiteY180" fmla="*/ 134030 h 803953"/>
                <a:gd name="connsiteX181" fmla="*/ 1092387 w 3024845"/>
                <a:gd name="connsiteY181" fmla="*/ 134030 h 803953"/>
                <a:gd name="connsiteX182" fmla="*/ 1092387 w 3024845"/>
                <a:gd name="connsiteY182" fmla="*/ 135111 h 803953"/>
                <a:gd name="connsiteX183" fmla="*/ 1092387 w 3024845"/>
                <a:gd name="connsiteY183" fmla="*/ 142677 h 803953"/>
                <a:gd name="connsiteX184" fmla="*/ 1122787 w 3024845"/>
                <a:gd name="connsiteY184" fmla="*/ 142677 h 803953"/>
                <a:gd name="connsiteX185" fmla="*/ 1122787 w 3024845"/>
                <a:gd name="connsiteY185" fmla="*/ 144298 h 803953"/>
                <a:gd name="connsiteX186" fmla="*/ 1122787 w 3024845"/>
                <a:gd name="connsiteY186" fmla="*/ 155648 h 803953"/>
                <a:gd name="connsiteX187" fmla="*/ 1149134 w 3024845"/>
                <a:gd name="connsiteY187" fmla="*/ 155648 h 803953"/>
                <a:gd name="connsiteX188" fmla="*/ 1149134 w 3024845"/>
                <a:gd name="connsiteY188" fmla="*/ 185912 h 803953"/>
                <a:gd name="connsiteX189" fmla="*/ 1149894 w 3024845"/>
                <a:gd name="connsiteY189" fmla="*/ 185912 h 803953"/>
                <a:gd name="connsiteX190" fmla="*/ 1155214 w 3024845"/>
                <a:gd name="connsiteY190" fmla="*/ 185912 h 803953"/>
                <a:gd name="connsiteX191" fmla="*/ 1155214 w 3024845"/>
                <a:gd name="connsiteY191" fmla="*/ 186993 h 803953"/>
                <a:gd name="connsiteX192" fmla="*/ 1155214 w 3024845"/>
                <a:gd name="connsiteY192" fmla="*/ 194560 h 803953"/>
                <a:gd name="connsiteX193" fmla="*/ 1159268 w 3024845"/>
                <a:gd name="connsiteY193" fmla="*/ 224824 h 803953"/>
                <a:gd name="connsiteX194" fmla="*/ 1160028 w 3024845"/>
                <a:gd name="connsiteY194" fmla="*/ 224824 h 803953"/>
                <a:gd name="connsiteX195" fmla="*/ 1165348 w 3024845"/>
                <a:gd name="connsiteY195" fmla="*/ 224824 h 803953"/>
                <a:gd name="connsiteX196" fmla="*/ 1165348 w 3024845"/>
                <a:gd name="connsiteY196" fmla="*/ 225635 h 803953"/>
                <a:gd name="connsiteX197" fmla="*/ 1165348 w 3024845"/>
                <a:gd name="connsiteY197" fmla="*/ 231310 h 803953"/>
                <a:gd name="connsiteX198" fmla="*/ 1166361 w 3024845"/>
                <a:gd name="connsiteY198" fmla="*/ 231310 h 803953"/>
                <a:gd name="connsiteX199" fmla="*/ 1173454 w 3024845"/>
                <a:gd name="connsiteY199" fmla="*/ 231310 h 803953"/>
                <a:gd name="connsiteX200" fmla="*/ 1173454 w 3024845"/>
                <a:gd name="connsiteY200" fmla="*/ 261575 h 803953"/>
                <a:gd name="connsiteX201" fmla="*/ 1175481 w 3024845"/>
                <a:gd name="connsiteY201" fmla="*/ 261575 h 803953"/>
                <a:gd name="connsiteX202" fmla="*/ 1189668 w 3024845"/>
                <a:gd name="connsiteY202" fmla="*/ 261575 h 803953"/>
                <a:gd name="connsiteX203" fmla="*/ 1189668 w 3024845"/>
                <a:gd name="connsiteY203" fmla="*/ 285354 h 803953"/>
                <a:gd name="connsiteX204" fmla="*/ 1191695 w 3024845"/>
                <a:gd name="connsiteY204" fmla="*/ 286975 h 803953"/>
                <a:gd name="connsiteX205" fmla="*/ 1191695 w 3024845"/>
                <a:gd name="connsiteY205" fmla="*/ 298325 h 803953"/>
                <a:gd name="connsiteX206" fmla="*/ 1192455 w 3024845"/>
                <a:gd name="connsiteY206" fmla="*/ 298325 h 803953"/>
                <a:gd name="connsiteX207" fmla="*/ 1197775 w 3024845"/>
                <a:gd name="connsiteY207" fmla="*/ 298325 h 803953"/>
                <a:gd name="connsiteX208" fmla="*/ 1197775 w 3024845"/>
                <a:gd name="connsiteY208" fmla="*/ 322104 h 803953"/>
                <a:gd name="connsiteX209" fmla="*/ 1199041 w 3024845"/>
                <a:gd name="connsiteY209" fmla="*/ 322104 h 803953"/>
                <a:gd name="connsiteX210" fmla="*/ 1207908 w 3024845"/>
                <a:gd name="connsiteY210" fmla="*/ 322104 h 803953"/>
                <a:gd name="connsiteX211" fmla="*/ 1209935 w 3024845"/>
                <a:gd name="connsiteY211" fmla="*/ 326158 h 803953"/>
                <a:gd name="connsiteX212" fmla="*/ 1209935 w 3024845"/>
                <a:gd name="connsiteY212" fmla="*/ 339399 h 803953"/>
                <a:gd name="connsiteX213" fmla="*/ 1211455 w 3024845"/>
                <a:gd name="connsiteY213" fmla="*/ 337507 h 803953"/>
                <a:gd name="connsiteX214" fmla="*/ 1222095 w 3024845"/>
                <a:gd name="connsiteY214" fmla="*/ 324266 h 803953"/>
                <a:gd name="connsiteX215" fmla="*/ 1250469 w 3024845"/>
                <a:gd name="connsiteY215" fmla="*/ 324266 h 803953"/>
                <a:gd name="connsiteX216" fmla="*/ 1250469 w 3024845"/>
                <a:gd name="connsiteY216" fmla="*/ 410737 h 803953"/>
                <a:gd name="connsiteX217" fmla="*/ 1251229 w 3024845"/>
                <a:gd name="connsiteY217" fmla="*/ 410737 h 803953"/>
                <a:gd name="connsiteX218" fmla="*/ 1256549 w 3024845"/>
                <a:gd name="connsiteY218" fmla="*/ 410737 h 803953"/>
                <a:gd name="connsiteX219" fmla="*/ 1257309 w 3024845"/>
                <a:gd name="connsiteY219" fmla="*/ 409386 h 803953"/>
                <a:gd name="connsiteX220" fmla="*/ 1262629 w 3024845"/>
                <a:gd name="connsiteY220" fmla="*/ 399928 h 803953"/>
                <a:gd name="connsiteX221" fmla="*/ 1262629 w 3024845"/>
                <a:gd name="connsiteY221" fmla="*/ 401820 h 803953"/>
                <a:gd name="connsiteX222" fmla="*/ 1262629 w 3024845"/>
                <a:gd name="connsiteY222" fmla="*/ 415061 h 803953"/>
                <a:gd name="connsiteX223" fmla="*/ 1266682 w 3024845"/>
                <a:gd name="connsiteY223" fmla="*/ 369664 h 803953"/>
                <a:gd name="connsiteX224" fmla="*/ 1267442 w 3024845"/>
                <a:gd name="connsiteY224" fmla="*/ 369664 h 803953"/>
                <a:gd name="connsiteX225" fmla="*/ 1272762 w 3024845"/>
                <a:gd name="connsiteY225" fmla="*/ 369664 h 803953"/>
                <a:gd name="connsiteX226" fmla="*/ 1272762 w 3024845"/>
                <a:gd name="connsiteY226" fmla="*/ 304810 h 803953"/>
                <a:gd name="connsiteX227" fmla="*/ 1273776 w 3024845"/>
                <a:gd name="connsiteY227" fmla="*/ 304810 h 803953"/>
                <a:gd name="connsiteX228" fmla="*/ 1280869 w 3024845"/>
                <a:gd name="connsiteY228" fmla="*/ 304810 h 803953"/>
                <a:gd name="connsiteX229" fmla="*/ 1293029 w 3024845"/>
                <a:gd name="connsiteY229" fmla="*/ 261575 h 803953"/>
                <a:gd name="connsiteX230" fmla="*/ 1294296 w 3024845"/>
                <a:gd name="connsiteY230" fmla="*/ 261575 h 803953"/>
                <a:gd name="connsiteX231" fmla="*/ 1303163 w 3024845"/>
                <a:gd name="connsiteY231" fmla="*/ 261575 h 803953"/>
                <a:gd name="connsiteX232" fmla="*/ 1313296 w 3024845"/>
                <a:gd name="connsiteY232" fmla="*/ 304810 h 803953"/>
                <a:gd name="connsiteX233" fmla="*/ 1314309 w 3024845"/>
                <a:gd name="connsiteY233" fmla="*/ 304810 h 803953"/>
                <a:gd name="connsiteX234" fmla="*/ 1321403 w 3024845"/>
                <a:gd name="connsiteY234" fmla="*/ 304810 h 803953"/>
                <a:gd name="connsiteX235" fmla="*/ 1321403 w 3024845"/>
                <a:gd name="connsiteY235" fmla="*/ 343722 h 803953"/>
                <a:gd name="connsiteX236" fmla="*/ 1323176 w 3024845"/>
                <a:gd name="connsiteY236" fmla="*/ 343722 h 803953"/>
                <a:gd name="connsiteX237" fmla="*/ 1335590 w 3024845"/>
                <a:gd name="connsiteY237" fmla="*/ 343722 h 803953"/>
                <a:gd name="connsiteX238" fmla="*/ 1335590 w 3024845"/>
                <a:gd name="connsiteY238" fmla="*/ 345884 h 803953"/>
                <a:gd name="connsiteX239" fmla="*/ 1335590 w 3024845"/>
                <a:gd name="connsiteY239" fmla="*/ 361016 h 803953"/>
                <a:gd name="connsiteX240" fmla="*/ 1339643 w 3024845"/>
                <a:gd name="connsiteY240" fmla="*/ 358855 h 803953"/>
                <a:gd name="connsiteX241" fmla="*/ 1339643 w 3024845"/>
                <a:gd name="connsiteY241" fmla="*/ 343722 h 803953"/>
                <a:gd name="connsiteX242" fmla="*/ 1341163 w 3024845"/>
                <a:gd name="connsiteY242" fmla="*/ 343722 h 803953"/>
                <a:gd name="connsiteX243" fmla="*/ 1351803 w 3024845"/>
                <a:gd name="connsiteY243" fmla="*/ 343722 h 803953"/>
                <a:gd name="connsiteX244" fmla="*/ 1351803 w 3024845"/>
                <a:gd name="connsiteY244" fmla="*/ 345343 h 803953"/>
                <a:gd name="connsiteX245" fmla="*/ 1351803 w 3024845"/>
                <a:gd name="connsiteY245" fmla="*/ 356693 h 803953"/>
                <a:gd name="connsiteX246" fmla="*/ 1382204 w 3024845"/>
                <a:gd name="connsiteY246" fmla="*/ 356693 h 803953"/>
                <a:gd name="connsiteX247" fmla="*/ 1382204 w 3024845"/>
                <a:gd name="connsiteY247" fmla="*/ 319943 h 803953"/>
                <a:gd name="connsiteX248" fmla="*/ 1383470 w 3024845"/>
                <a:gd name="connsiteY248" fmla="*/ 319943 h 803953"/>
                <a:gd name="connsiteX249" fmla="*/ 1392337 w 3024845"/>
                <a:gd name="connsiteY249" fmla="*/ 319943 h 803953"/>
                <a:gd name="connsiteX250" fmla="*/ 1392337 w 3024845"/>
                <a:gd name="connsiteY250" fmla="*/ 341560 h 803953"/>
                <a:gd name="connsiteX251" fmla="*/ 1394364 w 3024845"/>
                <a:gd name="connsiteY251" fmla="*/ 309134 h 803953"/>
                <a:gd name="connsiteX252" fmla="*/ 1416657 w 3024845"/>
                <a:gd name="connsiteY252" fmla="*/ 309134 h 803953"/>
                <a:gd name="connsiteX253" fmla="*/ 1416657 w 3024845"/>
                <a:gd name="connsiteY253" fmla="*/ 307512 h 803953"/>
                <a:gd name="connsiteX254" fmla="*/ 1416657 w 3024845"/>
                <a:gd name="connsiteY254" fmla="*/ 296163 h 803953"/>
                <a:gd name="connsiteX255" fmla="*/ 1417417 w 3024845"/>
                <a:gd name="connsiteY255" fmla="*/ 296163 h 803953"/>
                <a:gd name="connsiteX256" fmla="*/ 1422737 w 3024845"/>
                <a:gd name="connsiteY256" fmla="*/ 296163 h 803953"/>
                <a:gd name="connsiteX257" fmla="*/ 1422737 w 3024845"/>
                <a:gd name="connsiteY257" fmla="*/ 294272 h 803953"/>
                <a:gd name="connsiteX258" fmla="*/ 1422737 w 3024845"/>
                <a:gd name="connsiteY258" fmla="*/ 281031 h 803953"/>
                <a:gd name="connsiteX259" fmla="*/ 1426791 w 3024845"/>
                <a:gd name="connsiteY259" fmla="*/ 287516 h 803953"/>
                <a:gd name="connsiteX260" fmla="*/ 1429071 w 3024845"/>
                <a:gd name="connsiteY260" fmla="*/ 287516 h 803953"/>
                <a:gd name="connsiteX261" fmla="*/ 1445031 w 3024845"/>
                <a:gd name="connsiteY261" fmla="*/ 287516 h 803953"/>
                <a:gd name="connsiteX262" fmla="*/ 1445031 w 3024845"/>
                <a:gd name="connsiteY262" fmla="*/ 286705 h 803953"/>
                <a:gd name="connsiteX263" fmla="*/ 1445031 w 3024845"/>
                <a:gd name="connsiteY263" fmla="*/ 281031 h 803953"/>
                <a:gd name="connsiteX264" fmla="*/ 1445791 w 3024845"/>
                <a:gd name="connsiteY264" fmla="*/ 281031 h 803953"/>
                <a:gd name="connsiteX265" fmla="*/ 1451111 w 3024845"/>
                <a:gd name="connsiteY265" fmla="*/ 281031 h 803953"/>
                <a:gd name="connsiteX266" fmla="*/ 1451111 w 3024845"/>
                <a:gd name="connsiteY266" fmla="*/ 282382 h 803953"/>
                <a:gd name="connsiteX267" fmla="*/ 1451111 w 3024845"/>
                <a:gd name="connsiteY267" fmla="*/ 291840 h 803953"/>
                <a:gd name="connsiteX268" fmla="*/ 1489618 w 3024845"/>
                <a:gd name="connsiteY268" fmla="*/ 291840 h 803953"/>
                <a:gd name="connsiteX269" fmla="*/ 1489618 w 3024845"/>
                <a:gd name="connsiteY269" fmla="*/ 430193 h 803953"/>
                <a:gd name="connsiteX270" fmla="*/ 1491138 w 3024845"/>
                <a:gd name="connsiteY270" fmla="*/ 430193 h 803953"/>
                <a:gd name="connsiteX271" fmla="*/ 1501778 w 3024845"/>
                <a:gd name="connsiteY271" fmla="*/ 430193 h 803953"/>
                <a:gd name="connsiteX272" fmla="*/ 1501778 w 3024845"/>
                <a:gd name="connsiteY272" fmla="*/ 417223 h 803953"/>
                <a:gd name="connsiteX273" fmla="*/ 1505832 w 3024845"/>
                <a:gd name="connsiteY273" fmla="*/ 417223 h 803953"/>
                <a:gd name="connsiteX274" fmla="*/ 1505832 w 3024845"/>
                <a:gd name="connsiteY274" fmla="*/ 430193 h 803953"/>
                <a:gd name="connsiteX275" fmla="*/ 1536232 w 3024845"/>
                <a:gd name="connsiteY275" fmla="*/ 430193 h 803953"/>
                <a:gd name="connsiteX276" fmla="*/ 1536232 w 3024845"/>
                <a:gd name="connsiteY276" fmla="*/ 399928 h 803953"/>
                <a:gd name="connsiteX277" fmla="*/ 1548392 w 3024845"/>
                <a:gd name="connsiteY277" fmla="*/ 399928 h 803953"/>
                <a:gd name="connsiteX278" fmla="*/ 1560552 w 3024845"/>
                <a:gd name="connsiteY278" fmla="*/ 397767 h 803953"/>
                <a:gd name="connsiteX279" fmla="*/ 1564606 w 3024845"/>
                <a:gd name="connsiteY279" fmla="*/ 399928 h 803953"/>
                <a:gd name="connsiteX280" fmla="*/ 1574739 w 3024845"/>
                <a:gd name="connsiteY280" fmla="*/ 399928 h 803953"/>
                <a:gd name="connsiteX281" fmla="*/ 1574739 w 3024845"/>
                <a:gd name="connsiteY281" fmla="*/ 430193 h 803953"/>
                <a:gd name="connsiteX282" fmla="*/ 1582846 w 3024845"/>
                <a:gd name="connsiteY282" fmla="*/ 430193 h 803953"/>
                <a:gd name="connsiteX283" fmla="*/ 1582846 w 3024845"/>
                <a:gd name="connsiteY283" fmla="*/ 447488 h 803953"/>
                <a:gd name="connsiteX284" fmla="*/ 1592182 w 3024845"/>
                <a:gd name="connsiteY284" fmla="*/ 448393 h 803953"/>
                <a:gd name="connsiteX285" fmla="*/ 1605140 w 3024845"/>
                <a:gd name="connsiteY285" fmla="*/ 448393 h 803953"/>
                <a:gd name="connsiteX286" fmla="*/ 1605140 w 3024845"/>
                <a:gd name="connsiteY286" fmla="*/ 432355 h 803953"/>
                <a:gd name="connsiteX287" fmla="*/ 1673096 w 3024845"/>
                <a:gd name="connsiteY287" fmla="*/ 432355 h 803953"/>
                <a:gd name="connsiteX288" fmla="*/ 1673096 w 3024845"/>
                <a:gd name="connsiteY288" fmla="*/ 347102 h 803953"/>
                <a:gd name="connsiteX289" fmla="*/ 1745104 w 3024845"/>
                <a:gd name="connsiteY289" fmla="*/ 347102 h 803953"/>
                <a:gd name="connsiteX290" fmla="*/ 1745104 w 3024845"/>
                <a:gd name="connsiteY290" fmla="*/ 425870 h 803953"/>
                <a:gd name="connsiteX291" fmla="*/ 1747008 w 3024845"/>
                <a:gd name="connsiteY291" fmla="*/ 425870 h 803953"/>
                <a:gd name="connsiteX292" fmla="*/ 1748250 w 3024845"/>
                <a:gd name="connsiteY292" fmla="*/ 448393 h 803953"/>
                <a:gd name="connsiteX293" fmla="*/ 1757926 w 3024845"/>
                <a:gd name="connsiteY293" fmla="*/ 448393 h 803953"/>
                <a:gd name="connsiteX294" fmla="*/ 1759168 w 3024845"/>
                <a:gd name="connsiteY294" fmla="*/ 425870 h 803953"/>
                <a:gd name="connsiteX295" fmla="*/ 1765248 w 3024845"/>
                <a:gd name="connsiteY295" fmla="*/ 425870 h 803953"/>
                <a:gd name="connsiteX296" fmla="*/ 1766490 w 3024845"/>
                <a:gd name="connsiteY296" fmla="*/ 448393 h 803953"/>
                <a:gd name="connsiteX297" fmla="*/ 1817112 w 3024845"/>
                <a:gd name="connsiteY297" fmla="*/ 448393 h 803953"/>
                <a:gd name="connsiteX298" fmla="*/ 1817112 w 3024845"/>
                <a:gd name="connsiteY298" fmla="*/ 285365 h 803953"/>
                <a:gd name="connsiteX299" fmla="*/ 2014439 w 3024845"/>
                <a:gd name="connsiteY299" fmla="*/ 285365 h 803953"/>
                <a:gd name="connsiteX300" fmla="*/ 2014439 w 3024845"/>
                <a:gd name="connsiteY300" fmla="*/ 448393 h 803953"/>
                <a:gd name="connsiteX301" fmla="*/ 2033136 w 3024845"/>
                <a:gd name="connsiteY301" fmla="*/ 448393 h 803953"/>
                <a:gd name="connsiteX302" fmla="*/ 2033136 w 3024845"/>
                <a:gd name="connsiteY302" fmla="*/ 365700 h 803953"/>
                <a:gd name="connsiteX303" fmla="*/ 2128256 w 3024845"/>
                <a:gd name="connsiteY303" fmla="*/ 365700 h 803953"/>
                <a:gd name="connsiteX304" fmla="*/ 2180720 w 3024845"/>
                <a:gd name="connsiteY304" fmla="*/ 300487 h 803953"/>
                <a:gd name="connsiteX305" fmla="*/ 2245574 w 3024845"/>
                <a:gd name="connsiteY305" fmla="*/ 300487 h 803953"/>
                <a:gd name="connsiteX306" fmla="*/ 2245574 w 3024845"/>
                <a:gd name="connsiteY306" fmla="*/ 376149 h 803953"/>
                <a:gd name="connsiteX307" fmla="*/ 2253681 w 3024845"/>
                <a:gd name="connsiteY307" fmla="*/ 376149 h 803953"/>
                <a:gd name="connsiteX308" fmla="*/ 2255708 w 3024845"/>
                <a:gd name="connsiteY308" fmla="*/ 369664 h 803953"/>
                <a:gd name="connsiteX309" fmla="*/ 2261788 w 3024845"/>
                <a:gd name="connsiteY309" fmla="*/ 369664 h 803953"/>
                <a:gd name="connsiteX310" fmla="*/ 2263815 w 3024845"/>
                <a:gd name="connsiteY310" fmla="*/ 378311 h 803953"/>
                <a:gd name="connsiteX311" fmla="*/ 2275975 w 3024845"/>
                <a:gd name="connsiteY311" fmla="*/ 378311 h 803953"/>
                <a:gd name="connsiteX312" fmla="*/ 2275975 w 3024845"/>
                <a:gd name="connsiteY312" fmla="*/ 371825 h 803953"/>
                <a:gd name="connsiteX313" fmla="*/ 2298268 w 3024845"/>
                <a:gd name="connsiteY313" fmla="*/ 371825 h 803953"/>
                <a:gd name="connsiteX314" fmla="*/ 2298268 w 3024845"/>
                <a:gd name="connsiteY314" fmla="*/ 378311 h 803953"/>
                <a:gd name="connsiteX315" fmla="*/ 2318535 w 3024845"/>
                <a:gd name="connsiteY315" fmla="*/ 378311 h 803953"/>
                <a:gd name="connsiteX316" fmla="*/ 2318535 w 3024845"/>
                <a:gd name="connsiteY316" fmla="*/ 423708 h 803953"/>
                <a:gd name="connsiteX317" fmla="*/ 2332722 w 3024845"/>
                <a:gd name="connsiteY317" fmla="*/ 423708 h 803953"/>
                <a:gd name="connsiteX318" fmla="*/ 2332722 w 3024845"/>
                <a:gd name="connsiteY318" fmla="*/ 410737 h 803953"/>
                <a:gd name="connsiteX319" fmla="*/ 2348936 w 3024845"/>
                <a:gd name="connsiteY319" fmla="*/ 410737 h 803953"/>
                <a:gd name="connsiteX320" fmla="*/ 2348936 w 3024845"/>
                <a:gd name="connsiteY320" fmla="*/ 231310 h 803953"/>
                <a:gd name="connsiteX321" fmla="*/ 2355016 w 3024845"/>
                <a:gd name="connsiteY321" fmla="*/ 224824 h 803953"/>
                <a:gd name="connsiteX322" fmla="*/ 2427977 w 3024845"/>
                <a:gd name="connsiteY322" fmla="*/ 224824 h 803953"/>
                <a:gd name="connsiteX323" fmla="*/ 2427977 w 3024845"/>
                <a:gd name="connsiteY323" fmla="*/ 233472 h 803953"/>
                <a:gd name="connsiteX324" fmla="*/ 2438110 w 3024845"/>
                <a:gd name="connsiteY324" fmla="*/ 233472 h 803953"/>
                <a:gd name="connsiteX325" fmla="*/ 2438110 w 3024845"/>
                <a:gd name="connsiteY325" fmla="*/ 348046 h 803953"/>
                <a:gd name="connsiteX326" fmla="*/ 2460404 w 3024845"/>
                <a:gd name="connsiteY326" fmla="*/ 348046 h 803953"/>
                <a:gd name="connsiteX327" fmla="*/ 2460404 w 3024845"/>
                <a:gd name="connsiteY327" fmla="*/ 281031 h 803953"/>
                <a:gd name="connsiteX328" fmla="*/ 2486751 w 3024845"/>
                <a:gd name="connsiteY328" fmla="*/ 281031 h 803953"/>
                <a:gd name="connsiteX329" fmla="*/ 2490804 w 3024845"/>
                <a:gd name="connsiteY329" fmla="*/ 276707 h 803953"/>
                <a:gd name="connsiteX330" fmla="*/ 2498911 w 3024845"/>
                <a:gd name="connsiteY330" fmla="*/ 276707 h 803953"/>
                <a:gd name="connsiteX331" fmla="*/ 2502964 w 3024845"/>
                <a:gd name="connsiteY331" fmla="*/ 281031 h 803953"/>
                <a:gd name="connsiteX332" fmla="*/ 2525258 w 3024845"/>
                <a:gd name="connsiteY332" fmla="*/ 281031 h 803953"/>
                <a:gd name="connsiteX333" fmla="*/ 2525258 w 3024845"/>
                <a:gd name="connsiteY333" fmla="*/ 164295 h 803953"/>
                <a:gd name="connsiteX334" fmla="*/ 2582005 w 3024845"/>
                <a:gd name="connsiteY334" fmla="*/ 153486 h 803953"/>
                <a:gd name="connsiteX335" fmla="*/ 2582005 w 3024845"/>
                <a:gd name="connsiteY335" fmla="*/ 154567 h 803953"/>
                <a:gd name="connsiteX336" fmla="*/ 2582005 w 3024845"/>
                <a:gd name="connsiteY336" fmla="*/ 162133 h 803953"/>
                <a:gd name="connsiteX337" fmla="*/ 2608352 w 3024845"/>
                <a:gd name="connsiteY337" fmla="*/ 162133 h 803953"/>
                <a:gd name="connsiteX338" fmla="*/ 2608352 w 3024845"/>
                <a:gd name="connsiteY338" fmla="*/ 417223 h 803953"/>
                <a:gd name="connsiteX339" fmla="*/ 2630646 w 3024845"/>
                <a:gd name="connsiteY339" fmla="*/ 417223 h 803953"/>
                <a:gd name="connsiteX340" fmla="*/ 2630646 w 3024845"/>
                <a:gd name="connsiteY340" fmla="*/ 412899 h 803953"/>
                <a:gd name="connsiteX341" fmla="*/ 2642806 w 3024845"/>
                <a:gd name="connsiteY341" fmla="*/ 412899 h 803953"/>
                <a:gd name="connsiteX342" fmla="*/ 2642806 w 3024845"/>
                <a:gd name="connsiteY342" fmla="*/ 417223 h 803953"/>
                <a:gd name="connsiteX343" fmla="*/ 2667126 w 3024845"/>
                <a:gd name="connsiteY343" fmla="*/ 417223 h 803953"/>
                <a:gd name="connsiteX344" fmla="*/ 2667126 w 3024845"/>
                <a:gd name="connsiteY344" fmla="*/ 404252 h 803953"/>
                <a:gd name="connsiteX345" fmla="*/ 2695500 w 3024845"/>
                <a:gd name="connsiteY345" fmla="*/ 404252 h 803953"/>
                <a:gd name="connsiteX346" fmla="*/ 2707660 w 3024845"/>
                <a:gd name="connsiteY346" fmla="*/ 399928 h 803953"/>
                <a:gd name="connsiteX347" fmla="*/ 2727927 w 3024845"/>
                <a:gd name="connsiteY347" fmla="*/ 404252 h 803953"/>
                <a:gd name="connsiteX348" fmla="*/ 2727927 w 3024845"/>
                <a:gd name="connsiteY348" fmla="*/ 386958 h 803953"/>
                <a:gd name="connsiteX349" fmla="*/ 2736034 w 3024845"/>
                <a:gd name="connsiteY349" fmla="*/ 386958 h 803953"/>
                <a:gd name="connsiteX350" fmla="*/ 2736034 w 3024845"/>
                <a:gd name="connsiteY350" fmla="*/ 373987 h 803953"/>
                <a:gd name="connsiteX351" fmla="*/ 2792781 w 3024845"/>
                <a:gd name="connsiteY351" fmla="*/ 373987 h 803953"/>
                <a:gd name="connsiteX352" fmla="*/ 2792781 w 3024845"/>
                <a:gd name="connsiteY352" fmla="*/ 343722 h 803953"/>
                <a:gd name="connsiteX353" fmla="*/ 2811021 w 3024845"/>
                <a:gd name="connsiteY353" fmla="*/ 343722 h 803953"/>
                <a:gd name="connsiteX354" fmla="*/ 2811021 w 3024845"/>
                <a:gd name="connsiteY354" fmla="*/ 337237 h 803953"/>
                <a:gd name="connsiteX355" fmla="*/ 2823181 w 3024845"/>
                <a:gd name="connsiteY355" fmla="*/ 337237 h 803953"/>
                <a:gd name="connsiteX356" fmla="*/ 2823181 w 3024845"/>
                <a:gd name="connsiteY356" fmla="*/ 343722 h 803953"/>
                <a:gd name="connsiteX357" fmla="*/ 2839395 w 3024845"/>
                <a:gd name="connsiteY357" fmla="*/ 343722 h 803953"/>
                <a:gd name="connsiteX358" fmla="*/ 2839395 w 3024845"/>
                <a:gd name="connsiteY358" fmla="*/ 393443 h 803953"/>
                <a:gd name="connsiteX359" fmla="*/ 2871822 w 3024845"/>
                <a:gd name="connsiteY359" fmla="*/ 393443 h 803953"/>
                <a:gd name="connsiteX360" fmla="*/ 2871822 w 3024845"/>
                <a:gd name="connsiteY360" fmla="*/ 367502 h 803953"/>
                <a:gd name="connsiteX361" fmla="*/ 2910329 w 3024845"/>
                <a:gd name="connsiteY361" fmla="*/ 367502 h 803953"/>
                <a:gd name="connsiteX362" fmla="*/ 2910329 w 3024845"/>
                <a:gd name="connsiteY362" fmla="*/ 337237 h 803953"/>
                <a:gd name="connsiteX363" fmla="*/ 2958970 w 3024845"/>
                <a:gd name="connsiteY363" fmla="*/ 337237 h 803953"/>
                <a:gd name="connsiteX364" fmla="*/ 2958970 w 3024845"/>
                <a:gd name="connsiteY364" fmla="*/ 448393 h 803953"/>
                <a:gd name="connsiteX365" fmla="*/ 2958970 w 3024845"/>
                <a:gd name="connsiteY365" fmla="*/ 462172 h 803953"/>
                <a:gd name="connsiteX366" fmla="*/ 3024845 w 3024845"/>
                <a:gd name="connsiteY366" fmla="*/ 462172 h 803953"/>
                <a:gd name="connsiteX367" fmla="*/ 3024845 w 3024845"/>
                <a:gd name="connsiteY367" fmla="*/ 803953 h 803953"/>
                <a:gd name="connsiteX368" fmla="*/ 2054 w 3024845"/>
                <a:gd name="connsiteY368" fmla="*/ 801620 h 803953"/>
                <a:gd name="connsiteX369" fmla="*/ 0 w 3024845"/>
                <a:gd name="connsiteY369" fmla="*/ 367502 h 803953"/>
                <a:gd name="connsiteX370" fmla="*/ 20267 w 3024845"/>
                <a:gd name="connsiteY370" fmla="*/ 367502 h 803953"/>
                <a:gd name="connsiteX371" fmla="*/ 20774 w 3024845"/>
                <a:gd name="connsiteY371" fmla="*/ 366421 h 803953"/>
                <a:gd name="connsiteX372" fmla="*/ 24320 w 3024845"/>
                <a:gd name="connsiteY372" fmla="*/ 358855 h 803953"/>
                <a:gd name="connsiteX373" fmla="*/ 26094 w 3024845"/>
                <a:gd name="connsiteY373" fmla="*/ 359125 h 803953"/>
                <a:gd name="connsiteX374" fmla="*/ 38507 w 3024845"/>
                <a:gd name="connsiteY374" fmla="*/ 361016 h 803953"/>
                <a:gd name="connsiteX375" fmla="*/ 39014 w 3024845"/>
                <a:gd name="connsiteY375" fmla="*/ 362368 h 803953"/>
                <a:gd name="connsiteX376" fmla="*/ 42560 w 3024845"/>
                <a:gd name="connsiteY376" fmla="*/ 371825 h 803953"/>
                <a:gd name="connsiteX377" fmla="*/ 68907 w 3024845"/>
                <a:gd name="connsiteY377" fmla="*/ 373987 h 803953"/>
                <a:gd name="connsiteX378" fmla="*/ 68907 w 3024845"/>
                <a:gd name="connsiteY378" fmla="*/ 250766 h 803953"/>
                <a:gd name="connsiteX379" fmla="*/ 70934 w 3024845"/>
                <a:gd name="connsiteY379" fmla="*/ 250766 h 803953"/>
                <a:gd name="connsiteX380" fmla="*/ 85121 w 3024845"/>
                <a:gd name="connsiteY380" fmla="*/ 250766 h 803953"/>
                <a:gd name="connsiteX381" fmla="*/ 85121 w 3024845"/>
                <a:gd name="connsiteY381" fmla="*/ 114574 h 803953"/>
                <a:gd name="connsiteX382" fmla="*/ 86894 w 3024845"/>
                <a:gd name="connsiteY382" fmla="*/ 114574 h 803953"/>
                <a:gd name="connsiteX383" fmla="*/ 99308 w 3024845"/>
                <a:gd name="connsiteY383" fmla="*/ 114574 h 803953"/>
                <a:gd name="connsiteX384" fmla="*/ 99308 w 3024845"/>
                <a:gd name="connsiteY384" fmla="*/ 0 h 803953"/>
                <a:gd name="connsiteX0" fmla="*/ 99308 w 3024845"/>
                <a:gd name="connsiteY0" fmla="*/ 0 h 689379"/>
                <a:gd name="connsiteX1" fmla="*/ 220909 w 3024845"/>
                <a:gd name="connsiteY1" fmla="*/ 0 h 689379"/>
                <a:gd name="connsiteX2" fmla="*/ 223189 w 3024845"/>
                <a:gd name="connsiteY2" fmla="*/ 0 h 689379"/>
                <a:gd name="connsiteX3" fmla="*/ 239150 w 3024845"/>
                <a:gd name="connsiteY3" fmla="*/ 0 h 689379"/>
                <a:gd name="connsiteX4" fmla="*/ 239150 w 3024845"/>
                <a:gd name="connsiteY4" fmla="*/ 140515 h 689379"/>
                <a:gd name="connsiteX5" fmla="*/ 240670 w 3024845"/>
                <a:gd name="connsiteY5" fmla="*/ 140245 h 689379"/>
                <a:gd name="connsiteX6" fmla="*/ 251310 w 3024845"/>
                <a:gd name="connsiteY6" fmla="*/ 138354 h 689379"/>
                <a:gd name="connsiteX7" fmla="*/ 249283 w 3024845"/>
                <a:gd name="connsiteY7" fmla="*/ 226986 h 689379"/>
                <a:gd name="connsiteX8" fmla="*/ 250803 w 3024845"/>
                <a:gd name="connsiteY8" fmla="*/ 227257 h 689379"/>
                <a:gd name="connsiteX9" fmla="*/ 261443 w 3024845"/>
                <a:gd name="connsiteY9" fmla="*/ 229148 h 689379"/>
                <a:gd name="connsiteX10" fmla="*/ 261696 w 3024845"/>
                <a:gd name="connsiteY10" fmla="*/ 229959 h 689379"/>
                <a:gd name="connsiteX11" fmla="*/ 263470 w 3024845"/>
                <a:gd name="connsiteY11" fmla="*/ 235634 h 689379"/>
                <a:gd name="connsiteX12" fmla="*/ 264230 w 3024845"/>
                <a:gd name="connsiteY12" fmla="*/ 233202 h 689379"/>
                <a:gd name="connsiteX13" fmla="*/ 269550 w 3024845"/>
                <a:gd name="connsiteY13" fmla="*/ 216178 h 689379"/>
                <a:gd name="connsiteX14" fmla="*/ 271323 w 3024845"/>
                <a:gd name="connsiteY14" fmla="*/ 216178 h 689379"/>
                <a:gd name="connsiteX15" fmla="*/ 283737 w 3024845"/>
                <a:gd name="connsiteY15" fmla="*/ 216178 h 689379"/>
                <a:gd name="connsiteX16" fmla="*/ 283737 w 3024845"/>
                <a:gd name="connsiteY16" fmla="*/ 248604 h 689379"/>
                <a:gd name="connsiteX17" fmla="*/ 284750 w 3024845"/>
                <a:gd name="connsiteY17" fmla="*/ 249145 h 689379"/>
                <a:gd name="connsiteX18" fmla="*/ 291844 w 3024845"/>
                <a:gd name="connsiteY18" fmla="*/ 252928 h 689379"/>
                <a:gd name="connsiteX19" fmla="*/ 291844 w 3024845"/>
                <a:gd name="connsiteY19" fmla="*/ 254279 h 689379"/>
                <a:gd name="connsiteX20" fmla="*/ 291844 w 3024845"/>
                <a:gd name="connsiteY20" fmla="*/ 263737 h 689379"/>
                <a:gd name="connsiteX21" fmla="*/ 336431 w 3024845"/>
                <a:gd name="connsiteY21" fmla="*/ 263737 h 689379"/>
                <a:gd name="connsiteX22" fmla="*/ 336431 w 3024845"/>
                <a:gd name="connsiteY22" fmla="*/ 264818 h 689379"/>
                <a:gd name="connsiteX23" fmla="*/ 336431 w 3024845"/>
                <a:gd name="connsiteY23" fmla="*/ 272384 h 689379"/>
                <a:gd name="connsiteX24" fmla="*/ 338457 w 3024845"/>
                <a:gd name="connsiteY24" fmla="*/ 272384 h 689379"/>
                <a:gd name="connsiteX25" fmla="*/ 352644 w 3024845"/>
                <a:gd name="connsiteY25" fmla="*/ 272384 h 689379"/>
                <a:gd name="connsiteX26" fmla="*/ 352644 w 3024845"/>
                <a:gd name="connsiteY26" fmla="*/ 242119 h 689379"/>
                <a:gd name="connsiteX27" fmla="*/ 397231 w 3024845"/>
                <a:gd name="connsiteY27" fmla="*/ 242119 h 689379"/>
                <a:gd name="connsiteX28" fmla="*/ 397231 w 3024845"/>
                <a:gd name="connsiteY28" fmla="*/ 240768 h 689379"/>
                <a:gd name="connsiteX29" fmla="*/ 397231 w 3024845"/>
                <a:gd name="connsiteY29" fmla="*/ 231310 h 689379"/>
                <a:gd name="connsiteX30" fmla="*/ 398245 w 3024845"/>
                <a:gd name="connsiteY30" fmla="*/ 231310 h 689379"/>
                <a:gd name="connsiteX31" fmla="*/ 405338 w 3024845"/>
                <a:gd name="connsiteY31" fmla="*/ 231310 h 689379"/>
                <a:gd name="connsiteX32" fmla="*/ 405338 w 3024845"/>
                <a:gd name="connsiteY32" fmla="*/ 229419 h 689379"/>
                <a:gd name="connsiteX33" fmla="*/ 405338 w 3024845"/>
                <a:gd name="connsiteY33" fmla="*/ 216178 h 689379"/>
                <a:gd name="connsiteX34" fmla="*/ 406098 w 3024845"/>
                <a:gd name="connsiteY34" fmla="*/ 216178 h 689379"/>
                <a:gd name="connsiteX35" fmla="*/ 411418 w 3024845"/>
                <a:gd name="connsiteY35" fmla="*/ 216178 h 689379"/>
                <a:gd name="connsiteX36" fmla="*/ 411418 w 3024845"/>
                <a:gd name="connsiteY36" fmla="*/ 215097 h 689379"/>
                <a:gd name="connsiteX37" fmla="*/ 411418 w 3024845"/>
                <a:gd name="connsiteY37" fmla="*/ 207530 h 689379"/>
                <a:gd name="connsiteX38" fmla="*/ 413445 w 3024845"/>
                <a:gd name="connsiteY38" fmla="*/ 207530 h 689379"/>
                <a:gd name="connsiteX39" fmla="*/ 427632 w 3024845"/>
                <a:gd name="connsiteY39" fmla="*/ 207530 h 689379"/>
                <a:gd name="connsiteX40" fmla="*/ 427632 w 3024845"/>
                <a:gd name="connsiteY40" fmla="*/ 208611 h 689379"/>
                <a:gd name="connsiteX41" fmla="*/ 427632 w 3024845"/>
                <a:gd name="connsiteY41" fmla="*/ 216178 h 689379"/>
                <a:gd name="connsiteX42" fmla="*/ 449925 w 3024845"/>
                <a:gd name="connsiteY42" fmla="*/ 216178 h 689379"/>
                <a:gd name="connsiteX43" fmla="*/ 449925 w 3024845"/>
                <a:gd name="connsiteY43" fmla="*/ 214286 h 689379"/>
                <a:gd name="connsiteX44" fmla="*/ 449925 w 3024845"/>
                <a:gd name="connsiteY44" fmla="*/ 201045 h 689379"/>
                <a:gd name="connsiteX45" fmla="*/ 451699 w 3024845"/>
                <a:gd name="connsiteY45" fmla="*/ 201045 h 689379"/>
                <a:gd name="connsiteX46" fmla="*/ 464112 w 3024845"/>
                <a:gd name="connsiteY46" fmla="*/ 201045 h 689379"/>
                <a:gd name="connsiteX47" fmla="*/ 464112 w 3024845"/>
                <a:gd name="connsiteY47" fmla="*/ 224825 h 689379"/>
                <a:gd name="connsiteX48" fmla="*/ 465126 w 3024845"/>
                <a:gd name="connsiteY48" fmla="*/ 224825 h 689379"/>
                <a:gd name="connsiteX49" fmla="*/ 472219 w 3024845"/>
                <a:gd name="connsiteY49" fmla="*/ 224825 h 689379"/>
                <a:gd name="connsiteX50" fmla="*/ 472219 w 3024845"/>
                <a:gd name="connsiteY50" fmla="*/ 223744 h 689379"/>
                <a:gd name="connsiteX51" fmla="*/ 472219 w 3024845"/>
                <a:gd name="connsiteY51" fmla="*/ 216178 h 689379"/>
                <a:gd name="connsiteX52" fmla="*/ 473992 w 3024845"/>
                <a:gd name="connsiteY52" fmla="*/ 216178 h 689379"/>
                <a:gd name="connsiteX53" fmla="*/ 486406 w 3024845"/>
                <a:gd name="connsiteY53" fmla="*/ 216178 h 689379"/>
                <a:gd name="connsiteX54" fmla="*/ 486406 w 3024845"/>
                <a:gd name="connsiteY54" fmla="*/ 242119 h 689379"/>
                <a:gd name="connsiteX55" fmla="*/ 488433 w 3024845"/>
                <a:gd name="connsiteY55" fmla="*/ 242119 h 689379"/>
                <a:gd name="connsiteX56" fmla="*/ 502619 w 3024845"/>
                <a:gd name="connsiteY56" fmla="*/ 242119 h 689379"/>
                <a:gd name="connsiteX57" fmla="*/ 502619 w 3024845"/>
                <a:gd name="connsiteY57" fmla="*/ 243740 h 689379"/>
                <a:gd name="connsiteX58" fmla="*/ 502619 w 3024845"/>
                <a:gd name="connsiteY58" fmla="*/ 255090 h 689379"/>
                <a:gd name="connsiteX59" fmla="*/ 503379 w 3024845"/>
                <a:gd name="connsiteY59" fmla="*/ 255090 h 689379"/>
                <a:gd name="connsiteX60" fmla="*/ 508700 w 3024845"/>
                <a:gd name="connsiteY60" fmla="*/ 255090 h 689379"/>
                <a:gd name="connsiteX61" fmla="*/ 508700 w 3024845"/>
                <a:gd name="connsiteY61" fmla="*/ 254279 h 689379"/>
                <a:gd name="connsiteX62" fmla="*/ 508700 w 3024845"/>
                <a:gd name="connsiteY62" fmla="*/ 248604 h 689379"/>
                <a:gd name="connsiteX63" fmla="*/ 539100 w 3024845"/>
                <a:gd name="connsiteY63" fmla="*/ 248604 h 689379"/>
                <a:gd name="connsiteX64" fmla="*/ 539100 w 3024845"/>
                <a:gd name="connsiteY64" fmla="*/ 272384 h 689379"/>
                <a:gd name="connsiteX65" fmla="*/ 540113 w 3024845"/>
                <a:gd name="connsiteY65" fmla="*/ 272384 h 689379"/>
                <a:gd name="connsiteX66" fmla="*/ 547207 w 3024845"/>
                <a:gd name="connsiteY66" fmla="*/ 272384 h 689379"/>
                <a:gd name="connsiteX67" fmla="*/ 547207 w 3024845"/>
                <a:gd name="connsiteY67" fmla="*/ 273465 h 689379"/>
                <a:gd name="connsiteX68" fmla="*/ 547207 w 3024845"/>
                <a:gd name="connsiteY68" fmla="*/ 281031 h 689379"/>
                <a:gd name="connsiteX69" fmla="*/ 547967 w 3024845"/>
                <a:gd name="connsiteY69" fmla="*/ 281031 h 689379"/>
                <a:gd name="connsiteX70" fmla="*/ 553287 w 3024845"/>
                <a:gd name="connsiteY70" fmla="*/ 281031 h 689379"/>
                <a:gd name="connsiteX71" fmla="*/ 553287 w 3024845"/>
                <a:gd name="connsiteY71" fmla="*/ 278869 h 689379"/>
                <a:gd name="connsiteX72" fmla="*/ 553287 w 3024845"/>
                <a:gd name="connsiteY72" fmla="*/ 263737 h 689379"/>
                <a:gd name="connsiteX73" fmla="*/ 554300 w 3024845"/>
                <a:gd name="connsiteY73" fmla="*/ 263737 h 689379"/>
                <a:gd name="connsiteX74" fmla="*/ 561394 w 3024845"/>
                <a:gd name="connsiteY74" fmla="*/ 263737 h 689379"/>
                <a:gd name="connsiteX75" fmla="*/ 561394 w 3024845"/>
                <a:gd name="connsiteY75" fmla="*/ 264818 h 689379"/>
                <a:gd name="connsiteX76" fmla="*/ 561394 w 3024845"/>
                <a:gd name="connsiteY76" fmla="*/ 272384 h 689379"/>
                <a:gd name="connsiteX77" fmla="*/ 566714 w 3024845"/>
                <a:gd name="connsiteY77" fmla="*/ 270391 h 689379"/>
                <a:gd name="connsiteX78" fmla="*/ 567474 w 3024845"/>
                <a:gd name="connsiteY78" fmla="*/ 269411 h 689379"/>
                <a:gd name="connsiteX79" fmla="*/ 567474 w 3024845"/>
                <a:gd name="connsiteY79" fmla="*/ 263737 h 689379"/>
                <a:gd name="connsiteX80" fmla="*/ 605981 w 3024845"/>
                <a:gd name="connsiteY80" fmla="*/ 263737 h 689379"/>
                <a:gd name="connsiteX81" fmla="*/ 605981 w 3024845"/>
                <a:gd name="connsiteY81" fmla="*/ 287516 h 689379"/>
                <a:gd name="connsiteX82" fmla="*/ 608007 w 3024845"/>
                <a:gd name="connsiteY82" fmla="*/ 287516 h 689379"/>
                <a:gd name="connsiteX83" fmla="*/ 622194 w 3024845"/>
                <a:gd name="connsiteY83" fmla="*/ 287516 h 689379"/>
                <a:gd name="connsiteX84" fmla="*/ 622194 w 3024845"/>
                <a:gd name="connsiteY84" fmla="*/ 288597 h 689379"/>
                <a:gd name="connsiteX85" fmla="*/ 622194 w 3024845"/>
                <a:gd name="connsiteY85" fmla="*/ 296163 h 689379"/>
                <a:gd name="connsiteX86" fmla="*/ 623968 w 3024845"/>
                <a:gd name="connsiteY86" fmla="*/ 296163 h 689379"/>
                <a:gd name="connsiteX87" fmla="*/ 636381 w 3024845"/>
                <a:gd name="connsiteY87" fmla="*/ 296163 h 689379"/>
                <a:gd name="connsiteX88" fmla="*/ 636381 w 3024845"/>
                <a:gd name="connsiteY88" fmla="*/ 272384 h 689379"/>
                <a:gd name="connsiteX89" fmla="*/ 637394 w 3024845"/>
                <a:gd name="connsiteY89" fmla="*/ 272384 h 689379"/>
                <a:gd name="connsiteX90" fmla="*/ 644488 w 3024845"/>
                <a:gd name="connsiteY90" fmla="*/ 272384 h 689379"/>
                <a:gd name="connsiteX91" fmla="*/ 644488 w 3024845"/>
                <a:gd name="connsiteY91" fmla="*/ 239957 h 689379"/>
                <a:gd name="connsiteX92" fmla="*/ 645501 w 3024845"/>
                <a:gd name="connsiteY92" fmla="*/ 239957 h 689379"/>
                <a:gd name="connsiteX93" fmla="*/ 652595 w 3024845"/>
                <a:gd name="connsiteY93" fmla="*/ 239957 h 689379"/>
                <a:gd name="connsiteX94" fmla="*/ 652595 w 3024845"/>
                <a:gd name="connsiteY94" fmla="*/ 238066 h 689379"/>
                <a:gd name="connsiteX95" fmla="*/ 652595 w 3024845"/>
                <a:gd name="connsiteY95" fmla="*/ 224825 h 689379"/>
                <a:gd name="connsiteX96" fmla="*/ 651328 w 3024845"/>
                <a:gd name="connsiteY96" fmla="*/ 223203 h 689379"/>
                <a:gd name="connsiteX97" fmla="*/ 656648 w 3024845"/>
                <a:gd name="connsiteY97" fmla="*/ 211854 h 689379"/>
                <a:gd name="connsiteX98" fmla="*/ 664755 w 3024845"/>
                <a:gd name="connsiteY98" fmla="*/ 239957 h 689379"/>
                <a:gd name="connsiteX99" fmla="*/ 665515 w 3024845"/>
                <a:gd name="connsiteY99" fmla="*/ 239957 h 689379"/>
                <a:gd name="connsiteX100" fmla="*/ 670835 w 3024845"/>
                <a:gd name="connsiteY100" fmla="*/ 239957 h 689379"/>
                <a:gd name="connsiteX101" fmla="*/ 670835 w 3024845"/>
                <a:gd name="connsiteY101" fmla="*/ 134030 h 689379"/>
                <a:gd name="connsiteX102" fmla="*/ 672355 w 3024845"/>
                <a:gd name="connsiteY102" fmla="*/ 134030 h 689379"/>
                <a:gd name="connsiteX103" fmla="*/ 682995 w 3024845"/>
                <a:gd name="connsiteY103" fmla="*/ 134030 h 689379"/>
                <a:gd name="connsiteX104" fmla="*/ 682995 w 3024845"/>
                <a:gd name="connsiteY104" fmla="*/ 86471 h 689379"/>
                <a:gd name="connsiteX105" fmla="*/ 709342 w 3024845"/>
                <a:gd name="connsiteY105" fmla="*/ 86471 h 689379"/>
                <a:gd name="connsiteX106" fmla="*/ 709342 w 3024845"/>
                <a:gd name="connsiteY106" fmla="*/ 64853 h 689379"/>
                <a:gd name="connsiteX107" fmla="*/ 743796 w 3024845"/>
                <a:gd name="connsiteY107" fmla="*/ 64853 h 689379"/>
                <a:gd name="connsiteX108" fmla="*/ 743796 w 3024845"/>
                <a:gd name="connsiteY108" fmla="*/ 67285 h 689379"/>
                <a:gd name="connsiteX109" fmla="*/ 743796 w 3024845"/>
                <a:gd name="connsiteY109" fmla="*/ 84309 h 689379"/>
                <a:gd name="connsiteX110" fmla="*/ 746076 w 3024845"/>
                <a:gd name="connsiteY110" fmla="*/ 84309 h 689379"/>
                <a:gd name="connsiteX111" fmla="*/ 762036 w 3024845"/>
                <a:gd name="connsiteY111" fmla="*/ 84309 h 689379"/>
                <a:gd name="connsiteX112" fmla="*/ 762036 w 3024845"/>
                <a:gd name="connsiteY112" fmla="*/ 131868 h 689379"/>
                <a:gd name="connsiteX113" fmla="*/ 763049 w 3024845"/>
                <a:gd name="connsiteY113" fmla="*/ 131868 h 689379"/>
                <a:gd name="connsiteX114" fmla="*/ 770143 w 3024845"/>
                <a:gd name="connsiteY114" fmla="*/ 131868 h 689379"/>
                <a:gd name="connsiteX115" fmla="*/ 784330 w 3024845"/>
                <a:gd name="connsiteY115" fmla="*/ 136192 h 689379"/>
                <a:gd name="connsiteX116" fmla="*/ 784330 w 3024845"/>
                <a:gd name="connsiteY116" fmla="*/ 175104 h 689379"/>
                <a:gd name="connsiteX117" fmla="*/ 785343 w 3024845"/>
                <a:gd name="connsiteY117" fmla="*/ 175104 h 689379"/>
                <a:gd name="connsiteX118" fmla="*/ 792436 w 3024845"/>
                <a:gd name="connsiteY118" fmla="*/ 175104 h 689379"/>
                <a:gd name="connsiteX119" fmla="*/ 792436 w 3024845"/>
                <a:gd name="connsiteY119" fmla="*/ 176725 h 689379"/>
                <a:gd name="connsiteX120" fmla="*/ 792436 w 3024845"/>
                <a:gd name="connsiteY120" fmla="*/ 188074 h 689379"/>
                <a:gd name="connsiteX121" fmla="*/ 794463 w 3024845"/>
                <a:gd name="connsiteY121" fmla="*/ 188074 h 689379"/>
                <a:gd name="connsiteX122" fmla="*/ 808650 w 3024845"/>
                <a:gd name="connsiteY122" fmla="*/ 188074 h 689379"/>
                <a:gd name="connsiteX123" fmla="*/ 814730 w 3024845"/>
                <a:gd name="connsiteY123" fmla="*/ 194560 h 689379"/>
                <a:gd name="connsiteX124" fmla="*/ 814730 w 3024845"/>
                <a:gd name="connsiteY124" fmla="*/ 216178 h 689379"/>
                <a:gd name="connsiteX125" fmla="*/ 817010 w 3024845"/>
                <a:gd name="connsiteY125" fmla="*/ 216178 h 689379"/>
                <a:gd name="connsiteX126" fmla="*/ 832970 w 3024845"/>
                <a:gd name="connsiteY126" fmla="*/ 216178 h 689379"/>
                <a:gd name="connsiteX127" fmla="*/ 832970 w 3024845"/>
                <a:gd name="connsiteY127" fmla="*/ 217258 h 689379"/>
                <a:gd name="connsiteX128" fmla="*/ 832970 w 3024845"/>
                <a:gd name="connsiteY128" fmla="*/ 224825 h 689379"/>
                <a:gd name="connsiteX129" fmla="*/ 834237 w 3024845"/>
                <a:gd name="connsiteY129" fmla="*/ 224825 h 689379"/>
                <a:gd name="connsiteX130" fmla="*/ 843104 w 3024845"/>
                <a:gd name="connsiteY130" fmla="*/ 224825 h 689379"/>
                <a:gd name="connsiteX131" fmla="*/ 843104 w 3024845"/>
                <a:gd name="connsiteY131" fmla="*/ 226986 h 689379"/>
                <a:gd name="connsiteX132" fmla="*/ 843104 w 3024845"/>
                <a:gd name="connsiteY132" fmla="*/ 242119 h 689379"/>
                <a:gd name="connsiteX133" fmla="*/ 847157 w 3024845"/>
                <a:gd name="connsiteY133" fmla="*/ 240227 h 689379"/>
                <a:gd name="connsiteX134" fmla="*/ 847157 w 3024845"/>
                <a:gd name="connsiteY134" fmla="*/ 226986 h 689379"/>
                <a:gd name="connsiteX135" fmla="*/ 848170 w 3024845"/>
                <a:gd name="connsiteY135" fmla="*/ 226986 h 689379"/>
                <a:gd name="connsiteX136" fmla="*/ 855264 w 3024845"/>
                <a:gd name="connsiteY136" fmla="*/ 226986 h 689379"/>
                <a:gd name="connsiteX137" fmla="*/ 855264 w 3024845"/>
                <a:gd name="connsiteY137" fmla="*/ 228608 h 689379"/>
                <a:gd name="connsiteX138" fmla="*/ 855264 w 3024845"/>
                <a:gd name="connsiteY138" fmla="*/ 239957 h 689379"/>
                <a:gd name="connsiteX139" fmla="*/ 856024 w 3024845"/>
                <a:gd name="connsiteY139" fmla="*/ 239957 h 689379"/>
                <a:gd name="connsiteX140" fmla="*/ 861344 w 3024845"/>
                <a:gd name="connsiteY140" fmla="*/ 239957 h 689379"/>
                <a:gd name="connsiteX141" fmla="*/ 909984 w 3024845"/>
                <a:gd name="connsiteY141" fmla="*/ 235634 h 689379"/>
                <a:gd name="connsiteX142" fmla="*/ 909984 w 3024845"/>
                <a:gd name="connsiteY142" fmla="*/ 236985 h 689379"/>
                <a:gd name="connsiteX143" fmla="*/ 909984 w 3024845"/>
                <a:gd name="connsiteY143" fmla="*/ 246442 h 689379"/>
                <a:gd name="connsiteX144" fmla="*/ 910744 w 3024845"/>
                <a:gd name="connsiteY144" fmla="*/ 246442 h 689379"/>
                <a:gd name="connsiteX145" fmla="*/ 916065 w 3024845"/>
                <a:gd name="connsiteY145" fmla="*/ 246442 h 689379"/>
                <a:gd name="connsiteX146" fmla="*/ 916065 w 3024845"/>
                <a:gd name="connsiteY146" fmla="*/ 248604 h 689379"/>
                <a:gd name="connsiteX147" fmla="*/ 916065 w 3024845"/>
                <a:gd name="connsiteY147" fmla="*/ 263737 h 689379"/>
                <a:gd name="connsiteX148" fmla="*/ 918091 w 3024845"/>
                <a:gd name="connsiteY148" fmla="*/ 262386 h 689379"/>
                <a:gd name="connsiteX149" fmla="*/ 932278 w 3024845"/>
                <a:gd name="connsiteY149" fmla="*/ 252928 h 689379"/>
                <a:gd name="connsiteX150" fmla="*/ 938358 w 3024845"/>
                <a:gd name="connsiteY150" fmla="*/ 211854 h 689379"/>
                <a:gd name="connsiteX151" fmla="*/ 939118 w 3024845"/>
                <a:gd name="connsiteY151" fmla="*/ 211584 h 689379"/>
                <a:gd name="connsiteX152" fmla="*/ 944438 w 3024845"/>
                <a:gd name="connsiteY152" fmla="*/ 209692 h 689379"/>
                <a:gd name="connsiteX153" fmla="*/ 946465 w 3024845"/>
                <a:gd name="connsiteY153" fmla="*/ 140515 h 689379"/>
                <a:gd name="connsiteX154" fmla="*/ 948492 w 3024845"/>
                <a:gd name="connsiteY154" fmla="*/ 209692 h 689379"/>
                <a:gd name="connsiteX155" fmla="*/ 949252 w 3024845"/>
                <a:gd name="connsiteY155" fmla="*/ 209962 h 689379"/>
                <a:gd name="connsiteX156" fmla="*/ 954572 w 3024845"/>
                <a:gd name="connsiteY156" fmla="*/ 211854 h 689379"/>
                <a:gd name="connsiteX157" fmla="*/ 954572 w 3024845"/>
                <a:gd name="connsiteY157" fmla="*/ 125383 h 689379"/>
                <a:gd name="connsiteX158" fmla="*/ 958625 w 3024845"/>
                <a:gd name="connsiteY158" fmla="*/ 92956 h 689379"/>
                <a:gd name="connsiteX159" fmla="*/ 997132 w 3024845"/>
                <a:gd name="connsiteY159" fmla="*/ 92956 h 689379"/>
                <a:gd name="connsiteX160" fmla="*/ 997132 w 3024845"/>
                <a:gd name="connsiteY160" fmla="*/ 125383 h 689379"/>
                <a:gd name="connsiteX161" fmla="*/ 997892 w 3024845"/>
                <a:gd name="connsiteY161" fmla="*/ 125383 h 689379"/>
                <a:gd name="connsiteX162" fmla="*/ 1003212 w 3024845"/>
                <a:gd name="connsiteY162" fmla="*/ 125383 h 689379"/>
                <a:gd name="connsiteX163" fmla="*/ 1003212 w 3024845"/>
                <a:gd name="connsiteY163" fmla="*/ 43235 h 689379"/>
                <a:gd name="connsiteX164" fmla="*/ 1004986 w 3024845"/>
                <a:gd name="connsiteY164" fmla="*/ 43235 h 689379"/>
                <a:gd name="connsiteX165" fmla="*/ 1017399 w 3024845"/>
                <a:gd name="connsiteY165" fmla="*/ 43235 h 689379"/>
                <a:gd name="connsiteX166" fmla="*/ 1017399 w 3024845"/>
                <a:gd name="connsiteY166" fmla="*/ 41344 h 689379"/>
                <a:gd name="connsiteX167" fmla="*/ 1017399 w 3024845"/>
                <a:gd name="connsiteY167" fmla="*/ 28103 h 689379"/>
                <a:gd name="connsiteX168" fmla="*/ 1039693 w 3024845"/>
                <a:gd name="connsiteY168" fmla="*/ 28103 h 689379"/>
                <a:gd name="connsiteX169" fmla="*/ 1039693 w 3024845"/>
                <a:gd name="connsiteY169" fmla="*/ 27022 h 689379"/>
                <a:gd name="connsiteX170" fmla="*/ 1039693 w 3024845"/>
                <a:gd name="connsiteY170" fmla="*/ 19456 h 689379"/>
                <a:gd name="connsiteX171" fmla="*/ 1041466 w 3024845"/>
                <a:gd name="connsiteY171" fmla="*/ 19456 h 689379"/>
                <a:gd name="connsiteX172" fmla="*/ 1053880 w 3024845"/>
                <a:gd name="connsiteY172" fmla="*/ 19456 h 689379"/>
                <a:gd name="connsiteX173" fmla="*/ 1053880 w 3024845"/>
                <a:gd name="connsiteY173" fmla="*/ 20537 h 689379"/>
                <a:gd name="connsiteX174" fmla="*/ 1053880 w 3024845"/>
                <a:gd name="connsiteY174" fmla="*/ 28103 h 689379"/>
                <a:gd name="connsiteX175" fmla="*/ 1054640 w 3024845"/>
                <a:gd name="connsiteY175" fmla="*/ 28103 h 689379"/>
                <a:gd name="connsiteX176" fmla="*/ 1059960 w 3024845"/>
                <a:gd name="connsiteY176" fmla="*/ 28103 h 689379"/>
                <a:gd name="connsiteX177" fmla="*/ 1070093 w 3024845"/>
                <a:gd name="connsiteY177" fmla="*/ 23779 h 689379"/>
                <a:gd name="connsiteX178" fmla="*/ 1074146 w 3024845"/>
                <a:gd name="connsiteY178" fmla="*/ 27022 h 689379"/>
                <a:gd name="connsiteX179" fmla="*/ 1074146 w 3024845"/>
                <a:gd name="connsiteY179" fmla="*/ 19456 h 689379"/>
                <a:gd name="connsiteX180" fmla="*/ 1076426 w 3024845"/>
                <a:gd name="connsiteY180" fmla="*/ 19456 h 689379"/>
                <a:gd name="connsiteX181" fmla="*/ 1092387 w 3024845"/>
                <a:gd name="connsiteY181" fmla="*/ 19456 h 689379"/>
                <a:gd name="connsiteX182" fmla="*/ 1092387 w 3024845"/>
                <a:gd name="connsiteY182" fmla="*/ 20537 h 689379"/>
                <a:gd name="connsiteX183" fmla="*/ 1092387 w 3024845"/>
                <a:gd name="connsiteY183" fmla="*/ 28103 h 689379"/>
                <a:gd name="connsiteX184" fmla="*/ 1122787 w 3024845"/>
                <a:gd name="connsiteY184" fmla="*/ 28103 h 689379"/>
                <a:gd name="connsiteX185" fmla="*/ 1122787 w 3024845"/>
                <a:gd name="connsiteY185" fmla="*/ 29724 h 689379"/>
                <a:gd name="connsiteX186" fmla="*/ 1122787 w 3024845"/>
                <a:gd name="connsiteY186" fmla="*/ 41074 h 689379"/>
                <a:gd name="connsiteX187" fmla="*/ 1149134 w 3024845"/>
                <a:gd name="connsiteY187" fmla="*/ 41074 h 689379"/>
                <a:gd name="connsiteX188" fmla="*/ 1149134 w 3024845"/>
                <a:gd name="connsiteY188" fmla="*/ 71338 h 689379"/>
                <a:gd name="connsiteX189" fmla="*/ 1149894 w 3024845"/>
                <a:gd name="connsiteY189" fmla="*/ 71338 h 689379"/>
                <a:gd name="connsiteX190" fmla="*/ 1155214 w 3024845"/>
                <a:gd name="connsiteY190" fmla="*/ 71338 h 689379"/>
                <a:gd name="connsiteX191" fmla="*/ 1155214 w 3024845"/>
                <a:gd name="connsiteY191" fmla="*/ 72419 h 689379"/>
                <a:gd name="connsiteX192" fmla="*/ 1155214 w 3024845"/>
                <a:gd name="connsiteY192" fmla="*/ 79986 h 689379"/>
                <a:gd name="connsiteX193" fmla="*/ 1159268 w 3024845"/>
                <a:gd name="connsiteY193" fmla="*/ 110250 h 689379"/>
                <a:gd name="connsiteX194" fmla="*/ 1160028 w 3024845"/>
                <a:gd name="connsiteY194" fmla="*/ 110250 h 689379"/>
                <a:gd name="connsiteX195" fmla="*/ 1165348 w 3024845"/>
                <a:gd name="connsiteY195" fmla="*/ 110250 h 689379"/>
                <a:gd name="connsiteX196" fmla="*/ 1165348 w 3024845"/>
                <a:gd name="connsiteY196" fmla="*/ 111061 h 689379"/>
                <a:gd name="connsiteX197" fmla="*/ 1165348 w 3024845"/>
                <a:gd name="connsiteY197" fmla="*/ 116736 h 689379"/>
                <a:gd name="connsiteX198" fmla="*/ 1166361 w 3024845"/>
                <a:gd name="connsiteY198" fmla="*/ 116736 h 689379"/>
                <a:gd name="connsiteX199" fmla="*/ 1173454 w 3024845"/>
                <a:gd name="connsiteY199" fmla="*/ 116736 h 689379"/>
                <a:gd name="connsiteX200" fmla="*/ 1173454 w 3024845"/>
                <a:gd name="connsiteY200" fmla="*/ 147001 h 689379"/>
                <a:gd name="connsiteX201" fmla="*/ 1175481 w 3024845"/>
                <a:gd name="connsiteY201" fmla="*/ 147001 h 689379"/>
                <a:gd name="connsiteX202" fmla="*/ 1189668 w 3024845"/>
                <a:gd name="connsiteY202" fmla="*/ 147001 h 689379"/>
                <a:gd name="connsiteX203" fmla="*/ 1189668 w 3024845"/>
                <a:gd name="connsiteY203" fmla="*/ 170780 h 689379"/>
                <a:gd name="connsiteX204" fmla="*/ 1191695 w 3024845"/>
                <a:gd name="connsiteY204" fmla="*/ 172401 h 689379"/>
                <a:gd name="connsiteX205" fmla="*/ 1191695 w 3024845"/>
                <a:gd name="connsiteY205" fmla="*/ 183751 h 689379"/>
                <a:gd name="connsiteX206" fmla="*/ 1192455 w 3024845"/>
                <a:gd name="connsiteY206" fmla="*/ 183751 h 689379"/>
                <a:gd name="connsiteX207" fmla="*/ 1197775 w 3024845"/>
                <a:gd name="connsiteY207" fmla="*/ 183751 h 689379"/>
                <a:gd name="connsiteX208" fmla="*/ 1197775 w 3024845"/>
                <a:gd name="connsiteY208" fmla="*/ 207530 h 689379"/>
                <a:gd name="connsiteX209" fmla="*/ 1199041 w 3024845"/>
                <a:gd name="connsiteY209" fmla="*/ 207530 h 689379"/>
                <a:gd name="connsiteX210" fmla="*/ 1207908 w 3024845"/>
                <a:gd name="connsiteY210" fmla="*/ 207530 h 689379"/>
                <a:gd name="connsiteX211" fmla="*/ 1209935 w 3024845"/>
                <a:gd name="connsiteY211" fmla="*/ 211584 h 689379"/>
                <a:gd name="connsiteX212" fmla="*/ 1209935 w 3024845"/>
                <a:gd name="connsiteY212" fmla="*/ 224825 h 689379"/>
                <a:gd name="connsiteX213" fmla="*/ 1211455 w 3024845"/>
                <a:gd name="connsiteY213" fmla="*/ 222933 h 689379"/>
                <a:gd name="connsiteX214" fmla="*/ 1222095 w 3024845"/>
                <a:gd name="connsiteY214" fmla="*/ 209692 h 689379"/>
                <a:gd name="connsiteX215" fmla="*/ 1250469 w 3024845"/>
                <a:gd name="connsiteY215" fmla="*/ 209692 h 689379"/>
                <a:gd name="connsiteX216" fmla="*/ 1250469 w 3024845"/>
                <a:gd name="connsiteY216" fmla="*/ 296163 h 689379"/>
                <a:gd name="connsiteX217" fmla="*/ 1251229 w 3024845"/>
                <a:gd name="connsiteY217" fmla="*/ 296163 h 689379"/>
                <a:gd name="connsiteX218" fmla="*/ 1256549 w 3024845"/>
                <a:gd name="connsiteY218" fmla="*/ 296163 h 689379"/>
                <a:gd name="connsiteX219" fmla="*/ 1257309 w 3024845"/>
                <a:gd name="connsiteY219" fmla="*/ 294812 h 689379"/>
                <a:gd name="connsiteX220" fmla="*/ 1262629 w 3024845"/>
                <a:gd name="connsiteY220" fmla="*/ 285354 h 689379"/>
                <a:gd name="connsiteX221" fmla="*/ 1262629 w 3024845"/>
                <a:gd name="connsiteY221" fmla="*/ 287246 h 689379"/>
                <a:gd name="connsiteX222" fmla="*/ 1262629 w 3024845"/>
                <a:gd name="connsiteY222" fmla="*/ 300487 h 689379"/>
                <a:gd name="connsiteX223" fmla="*/ 1266682 w 3024845"/>
                <a:gd name="connsiteY223" fmla="*/ 255090 h 689379"/>
                <a:gd name="connsiteX224" fmla="*/ 1267442 w 3024845"/>
                <a:gd name="connsiteY224" fmla="*/ 255090 h 689379"/>
                <a:gd name="connsiteX225" fmla="*/ 1272762 w 3024845"/>
                <a:gd name="connsiteY225" fmla="*/ 255090 h 689379"/>
                <a:gd name="connsiteX226" fmla="*/ 1272762 w 3024845"/>
                <a:gd name="connsiteY226" fmla="*/ 190236 h 689379"/>
                <a:gd name="connsiteX227" fmla="*/ 1273776 w 3024845"/>
                <a:gd name="connsiteY227" fmla="*/ 190236 h 689379"/>
                <a:gd name="connsiteX228" fmla="*/ 1280869 w 3024845"/>
                <a:gd name="connsiteY228" fmla="*/ 190236 h 689379"/>
                <a:gd name="connsiteX229" fmla="*/ 1293029 w 3024845"/>
                <a:gd name="connsiteY229" fmla="*/ 147001 h 689379"/>
                <a:gd name="connsiteX230" fmla="*/ 1294296 w 3024845"/>
                <a:gd name="connsiteY230" fmla="*/ 147001 h 689379"/>
                <a:gd name="connsiteX231" fmla="*/ 1303163 w 3024845"/>
                <a:gd name="connsiteY231" fmla="*/ 147001 h 689379"/>
                <a:gd name="connsiteX232" fmla="*/ 1313296 w 3024845"/>
                <a:gd name="connsiteY232" fmla="*/ 190236 h 689379"/>
                <a:gd name="connsiteX233" fmla="*/ 1314309 w 3024845"/>
                <a:gd name="connsiteY233" fmla="*/ 190236 h 689379"/>
                <a:gd name="connsiteX234" fmla="*/ 1321403 w 3024845"/>
                <a:gd name="connsiteY234" fmla="*/ 190236 h 689379"/>
                <a:gd name="connsiteX235" fmla="*/ 1321403 w 3024845"/>
                <a:gd name="connsiteY235" fmla="*/ 229148 h 689379"/>
                <a:gd name="connsiteX236" fmla="*/ 1323176 w 3024845"/>
                <a:gd name="connsiteY236" fmla="*/ 229148 h 689379"/>
                <a:gd name="connsiteX237" fmla="*/ 1335590 w 3024845"/>
                <a:gd name="connsiteY237" fmla="*/ 229148 h 689379"/>
                <a:gd name="connsiteX238" fmla="*/ 1335590 w 3024845"/>
                <a:gd name="connsiteY238" fmla="*/ 231310 h 689379"/>
                <a:gd name="connsiteX239" fmla="*/ 1335590 w 3024845"/>
                <a:gd name="connsiteY239" fmla="*/ 246442 h 689379"/>
                <a:gd name="connsiteX240" fmla="*/ 1339643 w 3024845"/>
                <a:gd name="connsiteY240" fmla="*/ 244281 h 689379"/>
                <a:gd name="connsiteX241" fmla="*/ 1339643 w 3024845"/>
                <a:gd name="connsiteY241" fmla="*/ 229148 h 689379"/>
                <a:gd name="connsiteX242" fmla="*/ 1341163 w 3024845"/>
                <a:gd name="connsiteY242" fmla="*/ 229148 h 689379"/>
                <a:gd name="connsiteX243" fmla="*/ 1351803 w 3024845"/>
                <a:gd name="connsiteY243" fmla="*/ 229148 h 689379"/>
                <a:gd name="connsiteX244" fmla="*/ 1351803 w 3024845"/>
                <a:gd name="connsiteY244" fmla="*/ 230769 h 689379"/>
                <a:gd name="connsiteX245" fmla="*/ 1351803 w 3024845"/>
                <a:gd name="connsiteY245" fmla="*/ 242119 h 689379"/>
                <a:gd name="connsiteX246" fmla="*/ 1382204 w 3024845"/>
                <a:gd name="connsiteY246" fmla="*/ 242119 h 689379"/>
                <a:gd name="connsiteX247" fmla="*/ 1382204 w 3024845"/>
                <a:gd name="connsiteY247" fmla="*/ 205369 h 689379"/>
                <a:gd name="connsiteX248" fmla="*/ 1383470 w 3024845"/>
                <a:gd name="connsiteY248" fmla="*/ 205369 h 689379"/>
                <a:gd name="connsiteX249" fmla="*/ 1392337 w 3024845"/>
                <a:gd name="connsiteY249" fmla="*/ 205369 h 689379"/>
                <a:gd name="connsiteX250" fmla="*/ 1392337 w 3024845"/>
                <a:gd name="connsiteY250" fmla="*/ 226986 h 689379"/>
                <a:gd name="connsiteX251" fmla="*/ 1394364 w 3024845"/>
                <a:gd name="connsiteY251" fmla="*/ 194560 h 689379"/>
                <a:gd name="connsiteX252" fmla="*/ 1416657 w 3024845"/>
                <a:gd name="connsiteY252" fmla="*/ 194560 h 689379"/>
                <a:gd name="connsiteX253" fmla="*/ 1416657 w 3024845"/>
                <a:gd name="connsiteY253" fmla="*/ 192938 h 689379"/>
                <a:gd name="connsiteX254" fmla="*/ 1416657 w 3024845"/>
                <a:gd name="connsiteY254" fmla="*/ 181589 h 689379"/>
                <a:gd name="connsiteX255" fmla="*/ 1417417 w 3024845"/>
                <a:gd name="connsiteY255" fmla="*/ 181589 h 689379"/>
                <a:gd name="connsiteX256" fmla="*/ 1422737 w 3024845"/>
                <a:gd name="connsiteY256" fmla="*/ 181589 h 689379"/>
                <a:gd name="connsiteX257" fmla="*/ 1422737 w 3024845"/>
                <a:gd name="connsiteY257" fmla="*/ 179698 h 689379"/>
                <a:gd name="connsiteX258" fmla="*/ 1422737 w 3024845"/>
                <a:gd name="connsiteY258" fmla="*/ 166457 h 689379"/>
                <a:gd name="connsiteX259" fmla="*/ 1426791 w 3024845"/>
                <a:gd name="connsiteY259" fmla="*/ 172942 h 689379"/>
                <a:gd name="connsiteX260" fmla="*/ 1429071 w 3024845"/>
                <a:gd name="connsiteY260" fmla="*/ 172942 h 689379"/>
                <a:gd name="connsiteX261" fmla="*/ 1445031 w 3024845"/>
                <a:gd name="connsiteY261" fmla="*/ 172942 h 689379"/>
                <a:gd name="connsiteX262" fmla="*/ 1445031 w 3024845"/>
                <a:gd name="connsiteY262" fmla="*/ 172131 h 689379"/>
                <a:gd name="connsiteX263" fmla="*/ 1445031 w 3024845"/>
                <a:gd name="connsiteY263" fmla="*/ 166457 h 689379"/>
                <a:gd name="connsiteX264" fmla="*/ 1445791 w 3024845"/>
                <a:gd name="connsiteY264" fmla="*/ 166457 h 689379"/>
                <a:gd name="connsiteX265" fmla="*/ 1451111 w 3024845"/>
                <a:gd name="connsiteY265" fmla="*/ 166457 h 689379"/>
                <a:gd name="connsiteX266" fmla="*/ 1451111 w 3024845"/>
                <a:gd name="connsiteY266" fmla="*/ 167808 h 689379"/>
                <a:gd name="connsiteX267" fmla="*/ 1451111 w 3024845"/>
                <a:gd name="connsiteY267" fmla="*/ 177266 h 689379"/>
                <a:gd name="connsiteX268" fmla="*/ 1489618 w 3024845"/>
                <a:gd name="connsiteY268" fmla="*/ 177266 h 689379"/>
                <a:gd name="connsiteX269" fmla="*/ 1489618 w 3024845"/>
                <a:gd name="connsiteY269" fmla="*/ 315619 h 689379"/>
                <a:gd name="connsiteX270" fmla="*/ 1491138 w 3024845"/>
                <a:gd name="connsiteY270" fmla="*/ 315619 h 689379"/>
                <a:gd name="connsiteX271" fmla="*/ 1501778 w 3024845"/>
                <a:gd name="connsiteY271" fmla="*/ 315619 h 689379"/>
                <a:gd name="connsiteX272" fmla="*/ 1501778 w 3024845"/>
                <a:gd name="connsiteY272" fmla="*/ 302649 h 689379"/>
                <a:gd name="connsiteX273" fmla="*/ 1505832 w 3024845"/>
                <a:gd name="connsiteY273" fmla="*/ 302649 h 689379"/>
                <a:gd name="connsiteX274" fmla="*/ 1505832 w 3024845"/>
                <a:gd name="connsiteY274" fmla="*/ 315619 h 689379"/>
                <a:gd name="connsiteX275" fmla="*/ 1536232 w 3024845"/>
                <a:gd name="connsiteY275" fmla="*/ 315619 h 689379"/>
                <a:gd name="connsiteX276" fmla="*/ 1536232 w 3024845"/>
                <a:gd name="connsiteY276" fmla="*/ 285354 h 689379"/>
                <a:gd name="connsiteX277" fmla="*/ 1548392 w 3024845"/>
                <a:gd name="connsiteY277" fmla="*/ 285354 h 689379"/>
                <a:gd name="connsiteX278" fmla="*/ 1560552 w 3024845"/>
                <a:gd name="connsiteY278" fmla="*/ 283193 h 689379"/>
                <a:gd name="connsiteX279" fmla="*/ 1564606 w 3024845"/>
                <a:gd name="connsiteY279" fmla="*/ 285354 h 689379"/>
                <a:gd name="connsiteX280" fmla="*/ 1574739 w 3024845"/>
                <a:gd name="connsiteY280" fmla="*/ 285354 h 689379"/>
                <a:gd name="connsiteX281" fmla="*/ 1574739 w 3024845"/>
                <a:gd name="connsiteY281" fmla="*/ 315619 h 689379"/>
                <a:gd name="connsiteX282" fmla="*/ 1582846 w 3024845"/>
                <a:gd name="connsiteY282" fmla="*/ 315619 h 689379"/>
                <a:gd name="connsiteX283" fmla="*/ 1582846 w 3024845"/>
                <a:gd name="connsiteY283" fmla="*/ 332914 h 689379"/>
                <a:gd name="connsiteX284" fmla="*/ 1592182 w 3024845"/>
                <a:gd name="connsiteY284" fmla="*/ 333819 h 689379"/>
                <a:gd name="connsiteX285" fmla="*/ 1605140 w 3024845"/>
                <a:gd name="connsiteY285" fmla="*/ 333819 h 689379"/>
                <a:gd name="connsiteX286" fmla="*/ 1605140 w 3024845"/>
                <a:gd name="connsiteY286" fmla="*/ 317781 h 689379"/>
                <a:gd name="connsiteX287" fmla="*/ 1673096 w 3024845"/>
                <a:gd name="connsiteY287" fmla="*/ 317781 h 689379"/>
                <a:gd name="connsiteX288" fmla="*/ 1673096 w 3024845"/>
                <a:gd name="connsiteY288" fmla="*/ 232528 h 689379"/>
                <a:gd name="connsiteX289" fmla="*/ 1745104 w 3024845"/>
                <a:gd name="connsiteY289" fmla="*/ 232528 h 689379"/>
                <a:gd name="connsiteX290" fmla="*/ 1745104 w 3024845"/>
                <a:gd name="connsiteY290" fmla="*/ 311296 h 689379"/>
                <a:gd name="connsiteX291" fmla="*/ 1747008 w 3024845"/>
                <a:gd name="connsiteY291" fmla="*/ 311296 h 689379"/>
                <a:gd name="connsiteX292" fmla="*/ 1748250 w 3024845"/>
                <a:gd name="connsiteY292" fmla="*/ 333819 h 689379"/>
                <a:gd name="connsiteX293" fmla="*/ 1757926 w 3024845"/>
                <a:gd name="connsiteY293" fmla="*/ 333819 h 689379"/>
                <a:gd name="connsiteX294" fmla="*/ 1759168 w 3024845"/>
                <a:gd name="connsiteY294" fmla="*/ 311296 h 689379"/>
                <a:gd name="connsiteX295" fmla="*/ 1765248 w 3024845"/>
                <a:gd name="connsiteY295" fmla="*/ 311296 h 689379"/>
                <a:gd name="connsiteX296" fmla="*/ 1766490 w 3024845"/>
                <a:gd name="connsiteY296" fmla="*/ 333819 h 689379"/>
                <a:gd name="connsiteX297" fmla="*/ 1817112 w 3024845"/>
                <a:gd name="connsiteY297" fmla="*/ 333819 h 689379"/>
                <a:gd name="connsiteX298" fmla="*/ 1817112 w 3024845"/>
                <a:gd name="connsiteY298" fmla="*/ 170791 h 689379"/>
                <a:gd name="connsiteX299" fmla="*/ 2014439 w 3024845"/>
                <a:gd name="connsiteY299" fmla="*/ 170791 h 689379"/>
                <a:gd name="connsiteX300" fmla="*/ 2014439 w 3024845"/>
                <a:gd name="connsiteY300" fmla="*/ 333819 h 689379"/>
                <a:gd name="connsiteX301" fmla="*/ 2033136 w 3024845"/>
                <a:gd name="connsiteY301" fmla="*/ 333819 h 689379"/>
                <a:gd name="connsiteX302" fmla="*/ 2033136 w 3024845"/>
                <a:gd name="connsiteY302" fmla="*/ 251126 h 689379"/>
                <a:gd name="connsiteX303" fmla="*/ 2128256 w 3024845"/>
                <a:gd name="connsiteY303" fmla="*/ 251126 h 689379"/>
                <a:gd name="connsiteX304" fmla="*/ 2180720 w 3024845"/>
                <a:gd name="connsiteY304" fmla="*/ 185913 h 689379"/>
                <a:gd name="connsiteX305" fmla="*/ 2245574 w 3024845"/>
                <a:gd name="connsiteY305" fmla="*/ 185913 h 689379"/>
                <a:gd name="connsiteX306" fmla="*/ 2245574 w 3024845"/>
                <a:gd name="connsiteY306" fmla="*/ 261575 h 689379"/>
                <a:gd name="connsiteX307" fmla="*/ 2253681 w 3024845"/>
                <a:gd name="connsiteY307" fmla="*/ 261575 h 689379"/>
                <a:gd name="connsiteX308" fmla="*/ 2255708 w 3024845"/>
                <a:gd name="connsiteY308" fmla="*/ 255090 h 689379"/>
                <a:gd name="connsiteX309" fmla="*/ 2261788 w 3024845"/>
                <a:gd name="connsiteY309" fmla="*/ 255090 h 689379"/>
                <a:gd name="connsiteX310" fmla="*/ 2263815 w 3024845"/>
                <a:gd name="connsiteY310" fmla="*/ 263737 h 689379"/>
                <a:gd name="connsiteX311" fmla="*/ 2275975 w 3024845"/>
                <a:gd name="connsiteY311" fmla="*/ 263737 h 689379"/>
                <a:gd name="connsiteX312" fmla="*/ 2275975 w 3024845"/>
                <a:gd name="connsiteY312" fmla="*/ 257251 h 689379"/>
                <a:gd name="connsiteX313" fmla="*/ 2298268 w 3024845"/>
                <a:gd name="connsiteY313" fmla="*/ 257251 h 689379"/>
                <a:gd name="connsiteX314" fmla="*/ 2298268 w 3024845"/>
                <a:gd name="connsiteY314" fmla="*/ 263737 h 689379"/>
                <a:gd name="connsiteX315" fmla="*/ 2318535 w 3024845"/>
                <a:gd name="connsiteY315" fmla="*/ 263737 h 689379"/>
                <a:gd name="connsiteX316" fmla="*/ 2318535 w 3024845"/>
                <a:gd name="connsiteY316" fmla="*/ 309134 h 689379"/>
                <a:gd name="connsiteX317" fmla="*/ 2332722 w 3024845"/>
                <a:gd name="connsiteY317" fmla="*/ 309134 h 689379"/>
                <a:gd name="connsiteX318" fmla="*/ 2332722 w 3024845"/>
                <a:gd name="connsiteY318" fmla="*/ 296163 h 689379"/>
                <a:gd name="connsiteX319" fmla="*/ 2348936 w 3024845"/>
                <a:gd name="connsiteY319" fmla="*/ 296163 h 689379"/>
                <a:gd name="connsiteX320" fmla="*/ 2348936 w 3024845"/>
                <a:gd name="connsiteY320" fmla="*/ 116736 h 689379"/>
                <a:gd name="connsiteX321" fmla="*/ 2355016 w 3024845"/>
                <a:gd name="connsiteY321" fmla="*/ 110250 h 689379"/>
                <a:gd name="connsiteX322" fmla="*/ 2427977 w 3024845"/>
                <a:gd name="connsiteY322" fmla="*/ 110250 h 689379"/>
                <a:gd name="connsiteX323" fmla="*/ 2427977 w 3024845"/>
                <a:gd name="connsiteY323" fmla="*/ 118898 h 689379"/>
                <a:gd name="connsiteX324" fmla="*/ 2438110 w 3024845"/>
                <a:gd name="connsiteY324" fmla="*/ 118898 h 689379"/>
                <a:gd name="connsiteX325" fmla="*/ 2438110 w 3024845"/>
                <a:gd name="connsiteY325" fmla="*/ 233472 h 689379"/>
                <a:gd name="connsiteX326" fmla="*/ 2460404 w 3024845"/>
                <a:gd name="connsiteY326" fmla="*/ 233472 h 689379"/>
                <a:gd name="connsiteX327" fmla="*/ 2460404 w 3024845"/>
                <a:gd name="connsiteY327" fmla="*/ 166457 h 689379"/>
                <a:gd name="connsiteX328" fmla="*/ 2486751 w 3024845"/>
                <a:gd name="connsiteY328" fmla="*/ 166457 h 689379"/>
                <a:gd name="connsiteX329" fmla="*/ 2490804 w 3024845"/>
                <a:gd name="connsiteY329" fmla="*/ 162133 h 689379"/>
                <a:gd name="connsiteX330" fmla="*/ 2498911 w 3024845"/>
                <a:gd name="connsiteY330" fmla="*/ 162133 h 689379"/>
                <a:gd name="connsiteX331" fmla="*/ 2502964 w 3024845"/>
                <a:gd name="connsiteY331" fmla="*/ 166457 h 689379"/>
                <a:gd name="connsiteX332" fmla="*/ 2525258 w 3024845"/>
                <a:gd name="connsiteY332" fmla="*/ 166457 h 689379"/>
                <a:gd name="connsiteX333" fmla="*/ 2525258 w 3024845"/>
                <a:gd name="connsiteY333" fmla="*/ 49721 h 689379"/>
                <a:gd name="connsiteX334" fmla="*/ 2582005 w 3024845"/>
                <a:gd name="connsiteY334" fmla="*/ 38912 h 689379"/>
                <a:gd name="connsiteX335" fmla="*/ 2582005 w 3024845"/>
                <a:gd name="connsiteY335" fmla="*/ 39993 h 689379"/>
                <a:gd name="connsiteX336" fmla="*/ 2582005 w 3024845"/>
                <a:gd name="connsiteY336" fmla="*/ 47559 h 689379"/>
                <a:gd name="connsiteX337" fmla="*/ 2608352 w 3024845"/>
                <a:gd name="connsiteY337" fmla="*/ 47559 h 689379"/>
                <a:gd name="connsiteX338" fmla="*/ 2608352 w 3024845"/>
                <a:gd name="connsiteY338" fmla="*/ 302649 h 689379"/>
                <a:gd name="connsiteX339" fmla="*/ 2630646 w 3024845"/>
                <a:gd name="connsiteY339" fmla="*/ 302649 h 689379"/>
                <a:gd name="connsiteX340" fmla="*/ 2630646 w 3024845"/>
                <a:gd name="connsiteY340" fmla="*/ 298325 h 689379"/>
                <a:gd name="connsiteX341" fmla="*/ 2642806 w 3024845"/>
                <a:gd name="connsiteY341" fmla="*/ 298325 h 689379"/>
                <a:gd name="connsiteX342" fmla="*/ 2642806 w 3024845"/>
                <a:gd name="connsiteY342" fmla="*/ 302649 h 689379"/>
                <a:gd name="connsiteX343" fmla="*/ 2667126 w 3024845"/>
                <a:gd name="connsiteY343" fmla="*/ 302649 h 689379"/>
                <a:gd name="connsiteX344" fmla="*/ 2667126 w 3024845"/>
                <a:gd name="connsiteY344" fmla="*/ 289678 h 689379"/>
                <a:gd name="connsiteX345" fmla="*/ 2695500 w 3024845"/>
                <a:gd name="connsiteY345" fmla="*/ 289678 h 689379"/>
                <a:gd name="connsiteX346" fmla="*/ 2707660 w 3024845"/>
                <a:gd name="connsiteY346" fmla="*/ 285354 h 689379"/>
                <a:gd name="connsiteX347" fmla="*/ 2727927 w 3024845"/>
                <a:gd name="connsiteY347" fmla="*/ 289678 h 689379"/>
                <a:gd name="connsiteX348" fmla="*/ 2727927 w 3024845"/>
                <a:gd name="connsiteY348" fmla="*/ 272384 h 689379"/>
                <a:gd name="connsiteX349" fmla="*/ 2736034 w 3024845"/>
                <a:gd name="connsiteY349" fmla="*/ 272384 h 689379"/>
                <a:gd name="connsiteX350" fmla="*/ 2736034 w 3024845"/>
                <a:gd name="connsiteY350" fmla="*/ 259413 h 689379"/>
                <a:gd name="connsiteX351" fmla="*/ 2792781 w 3024845"/>
                <a:gd name="connsiteY351" fmla="*/ 259413 h 689379"/>
                <a:gd name="connsiteX352" fmla="*/ 2792781 w 3024845"/>
                <a:gd name="connsiteY352" fmla="*/ 229148 h 689379"/>
                <a:gd name="connsiteX353" fmla="*/ 2811021 w 3024845"/>
                <a:gd name="connsiteY353" fmla="*/ 229148 h 689379"/>
                <a:gd name="connsiteX354" fmla="*/ 2811021 w 3024845"/>
                <a:gd name="connsiteY354" fmla="*/ 222663 h 689379"/>
                <a:gd name="connsiteX355" fmla="*/ 2823181 w 3024845"/>
                <a:gd name="connsiteY355" fmla="*/ 222663 h 689379"/>
                <a:gd name="connsiteX356" fmla="*/ 2823181 w 3024845"/>
                <a:gd name="connsiteY356" fmla="*/ 229148 h 689379"/>
                <a:gd name="connsiteX357" fmla="*/ 2839395 w 3024845"/>
                <a:gd name="connsiteY357" fmla="*/ 229148 h 689379"/>
                <a:gd name="connsiteX358" fmla="*/ 2839395 w 3024845"/>
                <a:gd name="connsiteY358" fmla="*/ 278869 h 689379"/>
                <a:gd name="connsiteX359" fmla="*/ 2871822 w 3024845"/>
                <a:gd name="connsiteY359" fmla="*/ 278869 h 689379"/>
                <a:gd name="connsiteX360" fmla="*/ 2871822 w 3024845"/>
                <a:gd name="connsiteY360" fmla="*/ 252928 h 689379"/>
                <a:gd name="connsiteX361" fmla="*/ 2910329 w 3024845"/>
                <a:gd name="connsiteY361" fmla="*/ 252928 h 689379"/>
                <a:gd name="connsiteX362" fmla="*/ 2910329 w 3024845"/>
                <a:gd name="connsiteY362" fmla="*/ 222663 h 689379"/>
                <a:gd name="connsiteX363" fmla="*/ 2958970 w 3024845"/>
                <a:gd name="connsiteY363" fmla="*/ 222663 h 689379"/>
                <a:gd name="connsiteX364" fmla="*/ 2958970 w 3024845"/>
                <a:gd name="connsiteY364" fmla="*/ 333819 h 689379"/>
                <a:gd name="connsiteX365" fmla="*/ 2958970 w 3024845"/>
                <a:gd name="connsiteY365" fmla="*/ 347598 h 689379"/>
                <a:gd name="connsiteX366" fmla="*/ 3024845 w 3024845"/>
                <a:gd name="connsiteY366" fmla="*/ 347598 h 689379"/>
                <a:gd name="connsiteX367" fmla="*/ 3024845 w 3024845"/>
                <a:gd name="connsiteY367" fmla="*/ 689379 h 689379"/>
                <a:gd name="connsiteX368" fmla="*/ 2054 w 3024845"/>
                <a:gd name="connsiteY368" fmla="*/ 687046 h 689379"/>
                <a:gd name="connsiteX369" fmla="*/ 0 w 3024845"/>
                <a:gd name="connsiteY369" fmla="*/ 252928 h 689379"/>
                <a:gd name="connsiteX370" fmla="*/ 20267 w 3024845"/>
                <a:gd name="connsiteY370" fmla="*/ 252928 h 689379"/>
                <a:gd name="connsiteX371" fmla="*/ 20774 w 3024845"/>
                <a:gd name="connsiteY371" fmla="*/ 251847 h 689379"/>
                <a:gd name="connsiteX372" fmla="*/ 24320 w 3024845"/>
                <a:gd name="connsiteY372" fmla="*/ 244281 h 689379"/>
                <a:gd name="connsiteX373" fmla="*/ 26094 w 3024845"/>
                <a:gd name="connsiteY373" fmla="*/ 244551 h 689379"/>
                <a:gd name="connsiteX374" fmla="*/ 38507 w 3024845"/>
                <a:gd name="connsiteY374" fmla="*/ 246442 h 689379"/>
                <a:gd name="connsiteX375" fmla="*/ 39014 w 3024845"/>
                <a:gd name="connsiteY375" fmla="*/ 247794 h 689379"/>
                <a:gd name="connsiteX376" fmla="*/ 42560 w 3024845"/>
                <a:gd name="connsiteY376" fmla="*/ 257251 h 689379"/>
                <a:gd name="connsiteX377" fmla="*/ 68907 w 3024845"/>
                <a:gd name="connsiteY377" fmla="*/ 259413 h 689379"/>
                <a:gd name="connsiteX378" fmla="*/ 68907 w 3024845"/>
                <a:gd name="connsiteY378" fmla="*/ 136192 h 689379"/>
                <a:gd name="connsiteX379" fmla="*/ 70934 w 3024845"/>
                <a:gd name="connsiteY379" fmla="*/ 136192 h 689379"/>
                <a:gd name="connsiteX380" fmla="*/ 85121 w 3024845"/>
                <a:gd name="connsiteY380" fmla="*/ 136192 h 689379"/>
                <a:gd name="connsiteX381" fmla="*/ 85121 w 3024845"/>
                <a:gd name="connsiteY381" fmla="*/ 0 h 689379"/>
                <a:gd name="connsiteX382" fmla="*/ 86894 w 3024845"/>
                <a:gd name="connsiteY382" fmla="*/ 0 h 689379"/>
                <a:gd name="connsiteX383" fmla="*/ 99308 w 3024845"/>
                <a:gd name="connsiteY383" fmla="*/ 0 h 689379"/>
                <a:gd name="connsiteX0" fmla="*/ 99308 w 3024845"/>
                <a:gd name="connsiteY0" fmla="*/ 0 h 689379"/>
                <a:gd name="connsiteX1" fmla="*/ 220909 w 3024845"/>
                <a:gd name="connsiteY1" fmla="*/ 0 h 689379"/>
                <a:gd name="connsiteX2" fmla="*/ 223189 w 3024845"/>
                <a:gd name="connsiteY2" fmla="*/ 0 h 689379"/>
                <a:gd name="connsiteX3" fmla="*/ 239150 w 3024845"/>
                <a:gd name="connsiteY3" fmla="*/ 0 h 689379"/>
                <a:gd name="connsiteX4" fmla="*/ 239150 w 3024845"/>
                <a:gd name="connsiteY4" fmla="*/ 140515 h 689379"/>
                <a:gd name="connsiteX5" fmla="*/ 240670 w 3024845"/>
                <a:gd name="connsiteY5" fmla="*/ 140245 h 689379"/>
                <a:gd name="connsiteX6" fmla="*/ 251310 w 3024845"/>
                <a:gd name="connsiteY6" fmla="*/ 138354 h 689379"/>
                <a:gd name="connsiteX7" fmla="*/ 249283 w 3024845"/>
                <a:gd name="connsiteY7" fmla="*/ 226986 h 689379"/>
                <a:gd name="connsiteX8" fmla="*/ 250803 w 3024845"/>
                <a:gd name="connsiteY8" fmla="*/ 227257 h 689379"/>
                <a:gd name="connsiteX9" fmla="*/ 261443 w 3024845"/>
                <a:gd name="connsiteY9" fmla="*/ 229148 h 689379"/>
                <a:gd name="connsiteX10" fmla="*/ 261696 w 3024845"/>
                <a:gd name="connsiteY10" fmla="*/ 229959 h 689379"/>
                <a:gd name="connsiteX11" fmla="*/ 263470 w 3024845"/>
                <a:gd name="connsiteY11" fmla="*/ 235634 h 689379"/>
                <a:gd name="connsiteX12" fmla="*/ 264230 w 3024845"/>
                <a:gd name="connsiteY12" fmla="*/ 233202 h 689379"/>
                <a:gd name="connsiteX13" fmla="*/ 269550 w 3024845"/>
                <a:gd name="connsiteY13" fmla="*/ 216178 h 689379"/>
                <a:gd name="connsiteX14" fmla="*/ 271323 w 3024845"/>
                <a:gd name="connsiteY14" fmla="*/ 216178 h 689379"/>
                <a:gd name="connsiteX15" fmla="*/ 283737 w 3024845"/>
                <a:gd name="connsiteY15" fmla="*/ 216178 h 689379"/>
                <a:gd name="connsiteX16" fmla="*/ 283737 w 3024845"/>
                <a:gd name="connsiteY16" fmla="*/ 248604 h 689379"/>
                <a:gd name="connsiteX17" fmla="*/ 284750 w 3024845"/>
                <a:gd name="connsiteY17" fmla="*/ 249145 h 689379"/>
                <a:gd name="connsiteX18" fmla="*/ 291844 w 3024845"/>
                <a:gd name="connsiteY18" fmla="*/ 252928 h 689379"/>
                <a:gd name="connsiteX19" fmla="*/ 291844 w 3024845"/>
                <a:gd name="connsiteY19" fmla="*/ 254279 h 689379"/>
                <a:gd name="connsiteX20" fmla="*/ 291844 w 3024845"/>
                <a:gd name="connsiteY20" fmla="*/ 263737 h 689379"/>
                <a:gd name="connsiteX21" fmla="*/ 336431 w 3024845"/>
                <a:gd name="connsiteY21" fmla="*/ 263737 h 689379"/>
                <a:gd name="connsiteX22" fmla="*/ 336431 w 3024845"/>
                <a:gd name="connsiteY22" fmla="*/ 264818 h 689379"/>
                <a:gd name="connsiteX23" fmla="*/ 336431 w 3024845"/>
                <a:gd name="connsiteY23" fmla="*/ 272384 h 689379"/>
                <a:gd name="connsiteX24" fmla="*/ 338457 w 3024845"/>
                <a:gd name="connsiteY24" fmla="*/ 272384 h 689379"/>
                <a:gd name="connsiteX25" fmla="*/ 352644 w 3024845"/>
                <a:gd name="connsiteY25" fmla="*/ 272384 h 689379"/>
                <a:gd name="connsiteX26" fmla="*/ 352644 w 3024845"/>
                <a:gd name="connsiteY26" fmla="*/ 242119 h 689379"/>
                <a:gd name="connsiteX27" fmla="*/ 397231 w 3024845"/>
                <a:gd name="connsiteY27" fmla="*/ 242119 h 689379"/>
                <a:gd name="connsiteX28" fmla="*/ 397231 w 3024845"/>
                <a:gd name="connsiteY28" fmla="*/ 240768 h 689379"/>
                <a:gd name="connsiteX29" fmla="*/ 397231 w 3024845"/>
                <a:gd name="connsiteY29" fmla="*/ 231310 h 689379"/>
                <a:gd name="connsiteX30" fmla="*/ 398245 w 3024845"/>
                <a:gd name="connsiteY30" fmla="*/ 231310 h 689379"/>
                <a:gd name="connsiteX31" fmla="*/ 405338 w 3024845"/>
                <a:gd name="connsiteY31" fmla="*/ 231310 h 689379"/>
                <a:gd name="connsiteX32" fmla="*/ 405338 w 3024845"/>
                <a:gd name="connsiteY32" fmla="*/ 229419 h 689379"/>
                <a:gd name="connsiteX33" fmla="*/ 405338 w 3024845"/>
                <a:gd name="connsiteY33" fmla="*/ 216178 h 689379"/>
                <a:gd name="connsiteX34" fmla="*/ 406098 w 3024845"/>
                <a:gd name="connsiteY34" fmla="*/ 216178 h 689379"/>
                <a:gd name="connsiteX35" fmla="*/ 411418 w 3024845"/>
                <a:gd name="connsiteY35" fmla="*/ 216178 h 689379"/>
                <a:gd name="connsiteX36" fmla="*/ 411418 w 3024845"/>
                <a:gd name="connsiteY36" fmla="*/ 215097 h 689379"/>
                <a:gd name="connsiteX37" fmla="*/ 411418 w 3024845"/>
                <a:gd name="connsiteY37" fmla="*/ 207530 h 689379"/>
                <a:gd name="connsiteX38" fmla="*/ 413445 w 3024845"/>
                <a:gd name="connsiteY38" fmla="*/ 207530 h 689379"/>
                <a:gd name="connsiteX39" fmla="*/ 427632 w 3024845"/>
                <a:gd name="connsiteY39" fmla="*/ 207530 h 689379"/>
                <a:gd name="connsiteX40" fmla="*/ 427632 w 3024845"/>
                <a:gd name="connsiteY40" fmla="*/ 208611 h 689379"/>
                <a:gd name="connsiteX41" fmla="*/ 427632 w 3024845"/>
                <a:gd name="connsiteY41" fmla="*/ 216178 h 689379"/>
                <a:gd name="connsiteX42" fmla="*/ 449925 w 3024845"/>
                <a:gd name="connsiteY42" fmla="*/ 216178 h 689379"/>
                <a:gd name="connsiteX43" fmla="*/ 449925 w 3024845"/>
                <a:gd name="connsiteY43" fmla="*/ 214286 h 689379"/>
                <a:gd name="connsiteX44" fmla="*/ 449925 w 3024845"/>
                <a:gd name="connsiteY44" fmla="*/ 201045 h 689379"/>
                <a:gd name="connsiteX45" fmla="*/ 451699 w 3024845"/>
                <a:gd name="connsiteY45" fmla="*/ 201045 h 689379"/>
                <a:gd name="connsiteX46" fmla="*/ 464112 w 3024845"/>
                <a:gd name="connsiteY46" fmla="*/ 201045 h 689379"/>
                <a:gd name="connsiteX47" fmla="*/ 464112 w 3024845"/>
                <a:gd name="connsiteY47" fmla="*/ 224825 h 689379"/>
                <a:gd name="connsiteX48" fmla="*/ 465126 w 3024845"/>
                <a:gd name="connsiteY48" fmla="*/ 224825 h 689379"/>
                <a:gd name="connsiteX49" fmla="*/ 472219 w 3024845"/>
                <a:gd name="connsiteY49" fmla="*/ 224825 h 689379"/>
                <a:gd name="connsiteX50" fmla="*/ 472219 w 3024845"/>
                <a:gd name="connsiteY50" fmla="*/ 223744 h 689379"/>
                <a:gd name="connsiteX51" fmla="*/ 472219 w 3024845"/>
                <a:gd name="connsiteY51" fmla="*/ 216178 h 689379"/>
                <a:gd name="connsiteX52" fmla="*/ 473992 w 3024845"/>
                <a:gd name="connsiteY52" fmla="*/ 216178 h 689379"/>
                <a:gd name="connsiteX53" fmla="*/ 486406 w 3024845"/>
                <a:gd name="connsiteY53" fmla="*/ 216178 h 689379"/>
                <a:gd name="connsiteX54" fmla="*/ 486406 w 3024845"/>
                <a:gd name="connsiteY54" fmla="*/ 242119 h 689379"/>
                <a:gd name="connsiteX55" fmla="*/ 488433 w 3024845"/>
                <a:gd name="connsiteY55" fmla="*/ 242119 h 689379"/>
                <a:gd name="connsiteX56" fmla="*/ 502619 w 3024845"/>
                <a:gd name="connsiteY56" fmla="*/ 242119 h 689379"/>
                <a:gd name="connsiteX57" fmla="*/ 502619 w 3024845"/>
                <a:gd name="connsiteY57" fmla="*/ 243740 h 689379"/>
                <a:gd name="connsiteX58" fmla="*/ 502619 w 3024845"/>
                <a:gd name="connsiteY58" fmla="*/ 255090 h 689379"/>
                <a:gd name="connsiteX59" fmla="*/ 503379 w 3024845"/>
                <a:gd name="connsiteY59" fmla="*/ 255090 h 689379"/>
                <a:gd name="connsiteX60" fmla="*/ 508700 w 3024845"/>
                <a:gd name="connsiteY60" fmla="*/ 255090 h 689379"/>
                <a:gd name="connsiteX61" fmla="*/ 508700 w 3024845"/>
                <a:gd name="connsiteY61" fmla="*/ 254279 h 689379"/>
                <a:gd name="connsiteX62" fmla="*/ 508700 w 3024845"/>
                <a:gd name="connsiteY62" fmla="*/ 248604 h 689379"/>
                <a:gd name="connsiteX63" fmla="*/ 539100 w 3024845"/>
                <a:gd name="connsiteY63" fmla="*/ 248604 h 689379"/>
                <a:gd name="connsiteX64" fmla="*/ 539100 w 3024845"/>
                <a:gd name="connsiteY64" fmla="*/ 272384 h 689379"/>
                <a:gd name="connsiteX65" fmla="*/ 540113 w 3024845"/>
                <a:gd name="connsiteY65" fmla="*/ 272384 h 689379"/>
                <a:gd name="connsiteX66" fmla="*/ 547207 w 3024845"/>
                <a:gd name="connsiteY66" fmla="*/ 272384 h 689379"/>
                <a:gd name="connsiteX67" fmla="*/ 547207 w 3024845"/>
                <a:gd name="connsiteY67" fmla="*/ 273465 h 689379"/>
                <a:gd name="connsiteX68" fmla="*/ 547207 w 3024845"/>
                <a:gd name="connsiteY68" fmla="*/ 281031 h 689379"/>
                <a:gd name="connsiteX69" fmla="*/ 547967 w 3024845"/>
                <a:gd name="connsiteY69" fmla="*/ 281031 h 689379"/>
                <a:gd name="connsiteX70" fmla="*/ 553287 w 3024845"/>
                <a:gd name="connsiteY70" fmla="*/ 281031 h 689379"/>
                <a:gd name="connsiteX71" fmla="*/ 553287 w 3024845"/>
                <a:gd name="connsiteY71" fmla="*/ 278869 h 689379"/>
                <a:gd name="connsiteX72" fmla="*/ 553287 w 3024845"/>
                <a:gd name="connsiteY72" fmla="*/ 263737 h 689379"/>
                <a:gd name="connsiteX73" fmla="*/ 554300 w 3024845"/>
                <a:gd name="connsiteY73" fmla="*/ 263737 h 689379"/>
                <a:gd name="connsiteX74" fmla="*/ 561394 w 3024845"/>
                <a:gd name="connsiteY74" fmla="*/ 263737 h 689379"/>
                <a:gd name="connsiteX75" fmla="*/ 561394 w 3024845"/>
                <a:gd name="connsiteY75" fmla="*/ 264818 h 689379"/>
                <a:gd name="connsiteX76" fmla="*/ 561394 w 3024845"/>
                <a:gd name="connsiteY76" fmla="*/ 272384 h 689379"/>
                <a:gd name="connsiteX77" fmla="*/ 566714 w 3024845"/>
                <a:gd name="connsiteY77" fmla="*/ 270391 h 689379"/>
                <a:gd name="connsiteX78" fmla="*/ 567474 w 3024845"/>
                <a:gd name="connsiteY78" fmla="*/ 269411 h 689379"/>
                <a:gd name="connsiteX79" fmla="*/ 567474 w 3024845"/>
                <a:gd name="connsiteY79" fmla="*/ 263737 h 689379"/>
                <a:gd name="connsiteX80" fmla="*/ 605981 w 3024845"/>
                <a:gd name="connsiteY80" fmla="*/ 263737 h 689379"/>
                <a:gd name="connsiteX81" fmla="*/ 605981 w 3024845"/>
                <a:gd name="connsiteY81" fmla="*/ 287516 h 689379"/>
                <a:gd name="connsiteX82" fmla="*/ 608007 w 3024845"/>
                <a:gd name="connsiteY82" fmla="*/ 287516 h 689379"/>
                <a:gd name="connsiteX83" fmla="*/ 622194 w 3024845"/>
                <a:gd name="connsiteY83" fmla="*/ 287516 h 689379"/>
                <a:gd name="connsiteX84" fmla="*/ 622194 w 3024845"/>
                <a:gd name="connsiteY84" fmla="*/ 288597 h 689379"/>
                <a:gd name="connsiteX85" fmla="*/ 622194 w 3024845"/>
                <a:gd name="connsiteY85" fmla="*/ 296163 h 689379"/>
                <a:gd name="connsiteX86" fmla="*/ 623968 w 3024845"/>
                <a:gd name="connsiteY86" fmla="*/ 296163 h 689379"/>
                <a:gd name="connsiteX87" fmla="*/ 636381 w 3024845"/>
                <a:gd name="connsiteY87" fmla="*/ 296163 h 689379"/>
                <a:gd name="connsiteX88" fmla="*/ 636381 w 3024845"/>
                <a:gd name="connsiteY88" fmla="*/ 272384 h 689379"/>
                <a:gd name="connsiteX89" fmla="*/ 637394 w 3024845"/>
                <a:gd name="connsiteY89" fmla="*/ 272384 h 689379"/>
                <a:gd name="connsiteX90" fmla="*/ 644488 w 3024845"/>
                <a:gd name="connsiteY90" fmla="*/ 272384 h 689379"/>
                <a:gd name="connsiteX91" fmla="*/ 644488 w 3024845"/>
                <a:gd name="connsiteY91" fmla="*/ 239957 h 689379"/>
                <a:gd name="connsiteX92" fmla="*/ 645501 w 3024845"/>
                <a:gd name="connsiteY92" fmla="*/ 239957 h 689379"/>
                <a:gd name="connsiteX93" fmla="*/ 652595 w 3024845"/>
                <a:gd name="connsiteY93" fmla="*/ 239957 h 689379"/>
                <a:gd name="connsiteX94" fmla="*/ 652595 w 3024845"/>
                <a:gd name="connsiteY94" fmla="*/ 238066 h 689379"/>
                <a:gd name="connsiteX95" fmla="*/ 652595 w 3024845"/>
                <a:gd name="connsiteY95" fmla="*/ 224825 h 689379"/>
                <a:gd name="connsiteX96" fmla="*/ 651328 w 3024845"/>
                <a:gd name="connsiteY96" fmla="*/ 223203 h 689379"/>
                <a:gd name="connsiteX97" fmla="*/ 656648 w 3024845"/>
                <a:gd name="connsiteY97" fmla="*/ 211854 h 689379"/>
                <a:gd name="connsiteX98" fmla="*/ 664755 w 3024845"/>
                <a:gd name="connsiteY98" fmla="*/ 239957 h 689379"/>
                <a:gd name="connsiteX99" fmla="*/ 665515 w 3024845"/>
                <a:gd name="connsiteY99" fmla="*/ 239957 h 689379"/>
                <a:gd name="connsiteX100" fmla="*/ 670835 w 3024845"/>
                <a:gd name="connsiteY100" fmla="*/ 239957 h 689379"/>
                <a:gd name="connsiteX101" fmla="*/ 670835 w 3024845"/>
                <a:gd name="connsiteY101" fmla="*/ 134030 h 689379"/>
                <a:gd name="connsiteX102" fmla="*/ 672355 w 3024845"/>
                <a:gd name="connsiteY102" fmla="*/ 134030 h 689379"/>
                <a:gd name="connsiteX103" fmla="*/ 682995 w 3024845"/>
                <a:gd name="connsiteY103" fmla="*/ 134030 h 689379"/>
                <a:gd name="connsiteX104" fmla="*/ 682995 w 3024845"/>
                <a:gd name="connsiteY104" fmla="*/ 86471 h 689379"/>
                <a:gd name="connsiteX105" fmla="*/ 709342 w 3024845"/>
                <a:gd name="connsiteY105" fmla="*/ 86471 h 689379"/>
                <a:gd name="connsiteX106" fmla="*/ 709342 w 3024845"/>
                <a:gd name="connsiteY106" fmla="*/ 64853 h 689379"/>
                <a:gd name="connsiteX107" fmla="*/ 743796 w 3024845"/>
                <a:gd name="connsiteY107" fmla="*/ 64853 h 689379"/>
                <a:gd name="connsiteX108" fmla="*/ 743796 w 3024845"/>
                <a:gd name="connsiteY108" fmla="*/ 67285 h 689379"/>
                <a:gd name="connsiteX109" fmla="*/ 743796 w 3024845"/>
                <a:gd name="connsiteY109" fmla="*/ 84309 h 689379"/>
                <a:gd name="connsiteX110" fmla="*/ 746076 w 3024845"/>
                <a:gd name="connsiteY110" fmla="*/ 84309 h 689379"/>
                <a:gd name="connsiteX111" fmla="*/ 762036 w 3024845"/>
                <a:gd name="connsiteY111" fmla="*/ 84309 h 689379"/>
                <a:gd name="connsiteX112" fmla="*/ 762036 w 3024845"/>
                <a:gd name="connsiteY112" fmla="*/ 131868 h 689379"/>
                <a:gd name="connsiteX113" fmla="*/ 763049 w 3024845"/>
                <a:gd name="connsiteY113" fmla="*/ 131868 h 689379"/>
                <a:gd name="connsiteX114" fmla="*/ 770143 w 3024845"/>
                <a:gd name="connsiteY114" fmla="*/ 131868 h 689379"/>
                <a:gd name="connsiteX115" fmla="*/ 784330 w 3024845"/>
                <a:gd name="connsiteY115" fmla="*/ 136192 h 689379"/>
                <a:gd name="connsiteX116" fmla="*/ 784330 w 3024845"/>
                <a:gd name="connsiteY116" fmla="*/ 175104 h 689379"/>
                <a:gd name="connsiteX117" fmla="*/ 785343 w 3024845"/>
                <a:gd name="connsiteY117" fmla="*/ 175104 h 689379"/>
                <a:gd name="connsiteX118" fmla="*/ 792436 w 3024845"/>
                <a:gd name="connsiteY118" fmla="*/ 175104 h 689379"/>
                <a:gd name="connsiteX119" fmla="*/ 792436 w 3024845"/>
                <a:gd name="connsiteY119" fmla="*/ 176725 h 689379"/>
                <a:gd name="connsiteX120" fmla="*/ 792436 w 3024845"/>
                <a:gd name="connsiteY120" fmla="*/ 188074 h 689379"/>
                <a:gd name="connsiteX121" fmla="*/ 794463 w 3024845"/>
                <a:gd name="connsiteY121" fmla="*/ 188074 h 689379"/>
                <a:gd name="connsiteX122" fmla="*/ 808650 w 3024845"/>
                <a:gd name="connsiteY122" fmla="*/ 188074 h 689379"/>
                <a:gd name="connsiteX123" fmla="*/ 814730 w 3024845"/>
                <a:gd name="connsiteY123" fmla="*/ 194560 h 689379"/>
                <a:gd name="connsiteX124" fmla="*/ 814730 w 3024845"/>
                <a:gd name="connsiteY124" fmla="*/ 216178 h 689379"/>
                <a:gd name="connsiteX125" fmla="*/ 817010 w 3024845"/>
                <a:gd name="connsiteY125" fmla="*/ 216178 h 689379"/>
                <a:gd name="connsiteX126" fmla="*/ 832970 w 3024845"/>
                <a:gd name="connsiteY126" fmla="*/ 216178 h 689379"/>
                <a:gd name="connsiteX127" fmla="*/ 832970 w 3024845"/>
                <a:gd name="connsiteY127" fmla="*/ 217258 h 689379"/>
                <a:gd name="connsiteX128" fmla="*/ 832970 w 3024845"/>
                <a:gd name="connsiteY128" fmla="*/ 224825 h 689379"/>
                <a:gd name="connsiteX129" fmla="*/ 834237 w 3024845"/>
                <a:gd name="connsiteY129" fmla="*/ 224825 h 689379"/>
                <a:gd name="connsiteX130" fmla="*/ 843104 w 3024845"/>
                <a:gd name="connsiteY130" fmla="*/ 224825 h 689379"/>
                <a:gd name="connsiteX131" fmla="*/ 843104 w 3024845"/>
                <a:gd name="connsiteY131" fmla="*/ 226986 h 689379"/>
                <a:gd name="connsiteX132" fmla="*/ 843104 w 3024845"/>
                <a:gd name="connsiteY132" fmla="*/ 242119 h 689379"/>
                <a:gd name="connsiteX133" fmla="*/ 847157 w 3024845"/>
                <a:gd name="connsiteY133" fmla="*/ 240227 h 689379"/>
                <a:gd name="connsiteX134" fmla="*/ 847157 w 3024845"/>
                <a:gd name="connsiteY134" fmla="*/ 226986 h 689379"/>
                <a:gd name="connsiteX135" fmla="*/ 848170 w 3024845"/>
                <a:gd name="connsiteY135" fmla="*/ 226986 h 689379"/>
                <a:gd name="connsiteX136" fmla="*/ 855264 w 3024845"/>
                <a:gd name="connsiteY136" fmla="*/ 226986 h 689379"/>
                <a:gd name="connsiteX137" fmla="*/ 855264 w 3024845"/>
                <a:gd name="connsiteY137" fmla="*/ 228608 h 689379"/>
                <a:gd name="connsiteX138" fmla="*/ 855264 w 3024845"/>
                <a:gd name="connsiteY138" fmla="*/ 239957 h 689379"/>
                <a:gd name="connsiteX139" fmla="*/ 856024 w 3024845"/>
                <a:gd name="connsiteY139" fmla="*/ 239957 h 689379"/>
                <a:gd name="connsiteX140" fmla="*/ 861344 w 3024845"/>
                <a:gd name="connsiteY140" fmla="*/ 239957 h 689379"/>
                <a:gd name="connsiteX141" fmla="*/ 909984 w 3024845"/>
                <a:gd name="connsiteY141" fmla="*/ 235634 h 689379"/>
                <a:gd name="connsiteX142" fmla="*/ 909984 w 3024845"/>
                <a:gd name="connsiteY142" fmla="*/ 236985 h 689379"/>
                <a:gd name="connsiteX143" fmla="*/ 909984 w 3024845"/>
                <a:gd name="connsiteY143" fmla="*/ 246442 h 689379"/>
                <a:gd name="connsiteX144" fmla="*/ 910744 w 3024845"/>
                <a:gd name="connsiteY144" fmla="*/ 246442 h 689379"/>
                <a:gd name="connsiteX145" fmla="*/ 916065 w 3024845"/>
                <a:gd name="connsiteY145" fmla="*/ 246442 h 689379"/>
                <a:gd name="connsiteX146" fmla="*/ 916065 w 3024845"/>
                <a:gd name="connsiteY146" fmla="*/ 248604 h 689379"/>
                <a:gd name="connsiteX147" fmla="*/ 916065 w 3024845"/>
                <a:gd name="connsiteY147" fmla="*/ 263737 h 689379"/>
                <a:gd name="connsiteX148" fmla="*/ 918091 w 3024845"/>
                <a:gd name="connsiteY148" fmla="*/ 262386 h 689379"/>
                <a:gd name="connsiteX149" fmla="*/ 932278 w 3024845"/>
                <a:gd name="connsiteY149" fmla="*/ 252928 h 689379"/>
                <a:gd name="connsiteX150" fmla="*/ 938358 w 3024845"/>
                <a:gd name="connsiteY150" fmla="*/ 211854 h 689379"/>
                <a:gd name="connsiteX151" fmla="*/ 939118 w 3024845"/>
                <a:gd name="connsiteY151" fmla="*/ 211584 h 689379"/>
                <a:gd name="connsiteX152" fmla="*/ 944438 w 3024845"/>
                <a:gd name="connsiteY152" fmla="*/ 209692 h 689379"/>
                <a:gd name="connsiteX153" fmla="*/ 946465 w 3024845"/>
                <a:gd name="connsiteY153" fmla="*/ 140515 h 689379"/>
                <a:gd name="connsiteX154" fmla="*/ 948492 w 3024845"/>
                <a:gd name="connsiteY154" fmla="*/ 209692 h 689379"/>
                <a:gd name="connsiteX155" fmla="*/ 949252 w 3024845"/>
                <a:gd name="connsiteY155" fmla="*/ 209962 h 689379"/>
                <a:gd name="connsiteX156" fmla="*/ 954572 w 3024845"/>
                <a:gd name="connsiteY156" fmla="*/ 211854 h 689379"/>
                <a:gd name="connsiteX157" fmla="*/ 954572 w 3024845"/>
                <a:gd name="connsiteY157" fmla="*/ 125383 h 689379"/>
                <a:gd name="connsiteX158" fmla="*/ 958625 w 3024845"/>
                <a:gd name="connsiteY158" fmla="*/ 92956 h 689379"/>
                <a:gd name="connsiteX159" fmla="*/ 997132 w 3024845"/>
                <a:gd name="connsiteY159" fmla="*/ 92956 h 689379"/>
                <a:gd name="connsiteX160" fmla="*/ 997132 w 3024845"/>
                <a:gd name="connsiteY160" fmla="*/ 125383 h 689379"/>
                <a:gd name="connsiteX161" fmla="*/ 997892 w 3024845"/>
                <a:gd name="connsiteY161" fmla="*/ 125383 h 689379"/>
                <a:gd name="connsiteX162" fmla="*/ 1003212 w 3024845"/>
                <a:gd name="connsiteY162" fmla="*/ 125383 h 689379"/>
                <a:gd name="connsiteX163" fmla="*/ 1003212 w 3024845"/>
                <a:gd name="connsiteY163" fmla="*/ 43235 h 689379"/>
                <a:gd name="connsiteX164" fmla="*/ 1004986 w 3024845"/>
                <a:gd name="connsiteY164" fmla="*/ 43235 h 689379"/>
                <a:gd name="connsiteX165" fmla="*/ 1017399 w 3024845"/>
                <a:gd name="connsiteY165" fmla="*/ 43235 h 689379"/>
                <a:gd name="connsiteX166" fmla="*/ 1017399 w 3024845"/>
                <a:gd name="connsiteY166" fmla="*/ 41344 h 689379"/>
                <a:gd name="connsiteX167" fmla="*/ 1017399 w 3024845"/>
                <a:gd name="connsiteY167" fmla="*/ 28103 h 689379"/>
                <a:gd name="connsiteX168" fmla="*/ 1039693 w 3024845"/>
                <a:gd name="connsiteY168" fmla="*/ 28103 h 689379"/>
                <a:gd name="connsiteX169" fmla="*/ 1039693 w 3024845"/>
                <a:gd name="connsiteY169" fmla="*/ 27022 h 689379"/>
                <a:gd name="connsiteX170" fmla="*/ 1039693 w 3024845"/>
                <a:gd name="connsiteY170" fmla="*/ 19456 h 689379"/>
                <a:gd name="connsiteX171" fmla="*/ 1041466 w 3024845"/>
                <a:gd name="connsiteY171" fmla="*/ 19456 h 689379"/>
                <a:gd name="connsiteX172" fmla="*/ 1053880 w 3024845"/>
                <a:gd name="connsiteY172" fmla="*/ 19456 h 689379"/>
                <a:gd name="connsiteX173" fmla="*/ 1053880 w 3024845"/>
                <a:gd name="connsiteY173" fmla="*/ 20537 h 689379"/>
                <a:gd name="connsiteX174" fmla="*/ 1053880 w 3024845"/>
                <a:gd name="connsiteY174" fmla="*/ 28103 h 689379"/>
                <a:gd name="connsiteX175" fmla="*/ 1054640 w 3024845"/>
                <a:gd name="connsiteY175" fmla="*/ 28103 h 689379"/>
                <a:gd name="connsiteX176" fmla="*/ 1059960 w 3024845"/>
                <a:gd name="connsiteY176" fmla="*/ 28103 h 689379"/>
                <a:gd name="connsiteX177" fmla="*/ 1070093 w 3024845"/>
                <a:gd name="connsiteY177" fmla="*/ 23779 h 689379"/>
                <a:gd name="connsiteX178" fmla="*/ 1074146 w 3024845"/>
                <a:gd name="connsiteY178" fmla="*/ 27022 h 689379"/>
                <a:gd name="connsiteX179" fmla="*/ 1074146 w 3024845"/>
                <a:gd name="connsiteY179" fmla="*/ 19456 h 689379"/>
                <a:gd name="connsiteX180" fmla="*/ 1076426 w 3024845"/>
                <a:gd name="connsiteY180" fmla="*/ 19456 h 689379"/>
                <a:gd name="connsiteX181" fmla="*/ 1092387 w 3024845"/>
                <a:gd name="connsiteY181" fmla="*/ 19456 h 689379"/>
                <a:gd name="connsiteX182" fmla="*/ 1092387 w 3024845"/>
                <a:gd name="connsiteY182" fmla="*/ 20537 h 689379"/>
                <a:gd name="connsiteX183" fmla="*/ 1092387 w 3024845"/>
                <a:gd name="connsiteY183" fmla="*/ 28103 h 689379"/>
                <a:gd name="connsiteX184" fmla="*/ 1122787 w 3024845"/>
                <a:gd name="connsiteY184" fmla="*/ 28103 h 689379"/>
                <a:gd name="connsiteX185" fmla="*/ 1122787 w 3024845"/>
                <a:gd name="connsiteY185" fmla="*/ 29724 h 689379"/>
                <a:gd name="connsiteX186" fmla="*/ 1122787 w 3024845"/>
                <a:gd name="connsiteY186" fmla="*/ 41074 h 689379"/>
                <a:gd name="connsiteX187" fmla="*/ 1149134 w 3024845"/>
                <a:gd name="connsiteY187" fmla="*/ 41074 h 689379"/>
                <a:gd name="connsiteX188" fmla="*/ 1149134 w 3024845"/>
                <a:gd name="connsiteY188" fmla="*/ 71338 h 689379"/>
                <a:gd name="connsiteX189" fmla="*/ 1149894 w 3024845"/>
                <a:gd name="connsiteY189" fmla="*/ 71338 h 689379"/>
                <a:gd name="connsiteX190" fmla="*/ 1155214 w 3024845"/>
                <a:gd name="connsiteY190" fmla="*/ 71338 h 689379"/>
                <a:gd name="connsiteX191" fmla="*/ 1155214 w 3024845"/>
                <a:gd name="connsiteY191" fmla="*/ 72419 h 689379"/>
                <a:gd name="connsiteX192" fmla="*/ 1155214 w 3024845"/>
                <a:gd name="connsiteY192" fmla="*/ 79986 h 689379"/>
                <a:gd name="connsiteX193" fmla="*/ 1159268 w 3024845"/>
                <a:gd name="connsiteY193" fmla="*/ 110250 h 689379"/>
                <a:gd name="connsiteX194" fmla="*/ 1160028 w 3024845"/>
                <a:gd name="connsiteY194" fmla="*/ 110250 h 689379"/>
                <a:gd name="connsiteX195" fmla="*/ 1165348 w 3024845"/>
                <a:gd name="connsiteY195" fmla="*/ 110250 h 689379"/>
                <a:gd name="connsiteX196" fmla="*/ 1165348 w 3024845"/>
                <a:gd name="connsiteY196" fmla="*/ 111061 h 689379"/>
                <a:gd name="connsiteX197" fmla="*/ 1165348 w 3024845"/>
                <a:gd name="connsiteY197" fmla="*/ 116736 h 689379"/>
                <a:gd name="connsiteX198" fmla="*/ 1166361 w 3024845"/>
                <a:gd name="connsiteY198" fmla="*/ 116736 h 689379"/>
                <a:gd name="connsiteX199" fmla="*/ 1173454 w 3024845"/>
                <a:gd name="connsiteY199" fmla="*/ 116736 h 689379"/>
                <a:gd name="connsiteX200" fmla="*/ 1173454 w 3024845"/>
                <a:gd name="connsiteY200" fmla="*/ 147001 h 689379"/>
                <a:gd name="connsiteX201" fmla="*/ 1175481 w 3024845"/>
                <a:gd name="connsiteY201" fmla="*/ 147001 h 689379"/>
                <a:gd name="connsiteX202" fmla="*/ 1189668 w 3024845"/>
                <a:gd name="connsiteY202" fmla="*/ 147001 h 689379"/>
                <a:gd name="connsiteX203" fmla="*/ 1189668 w 3024845"/>
                <a:gd name="connsiteY203" fmla="*/ 170780 h 689379"/>
                <a:gd name="connsiteX204" fmla="*/ 1191695 w 3024845"/>
                <a:gd name="connsiteY204" fmla="*/ 172401 h 689379"/>
                <a:gd name="connsiteX205" fmla="*/ 1191695 w 3024845"/>
                <a:gd name="connsiteY205" fmla="*/ 183751 h 689379"/>
                <a:gd name="connsiteX206" fmla="*/ 1192455 w 3024845"/>
                <a:gd name="connsiteY206" fmla="*/ 183751 h 689379"/>
                <a:gd name="connsiteX207" fmla="*/ 1197775 w 3024845"/>
                <a:gd name="connsiteY207" fmla="*/ 183751 h 689379"/>
                <a:gd name="connsiteX208" fmla="*/ 1197775 w 3024845"/>
                <a:gd name="connsiteY208" fmla="*/ 207530 h 689379"/>
                <a:gd name="connsiteX209" fmla="*/ 1199041 w 3024845"/>
                <a:gd name="connsiteY209" fmla="*/ 207530 h 689379"/>
                <a:gd name="connsiteX210" fmla="*/ 1207908 w 3024845"/>
                <a:gd name="connsiteY210" fmla="*/ 207530 h 689379"/>
                <a:gd name="connsiteX211" fmla="*/ 1209935 w 3024845"/>
                <a:gd name="connsiteY211" fmla="*/ 211584 h 689379"/>
                <a:gd name="connsiteX212" fmla="*/ 1209935 w 3024845"/>
                <a:gd name="connsiteY212" fmla="*/ 224825 h 689379"/>
                <a:gd name="connsiteX213" fmla="*/ 1211455 w 3024845"/>
                <a:gd name="connsiteY213" fmla="*/ 222933 h 689379"/>
                <a:gd name="connsiteX214" fmla="*/ 1222095 w 3024845"/>
                <a:gd name="connsiteY214" fmla="*/ 209692 h 689379"/>
                <a:gd name="connsiteX215" fmla="*/ 1250469 w 3024845"/>
                <a:gd name="connsiteY215" fmla="*/ 209692 h 689379"/>
                <a:gd name="connsiteX216" fmla="*/ 1250469 w 3024845"/>
                <a:gd name="connsiteY216" fmla="*/ 296163 h 689379"/>
                <a:gd name="connsiteX217" fmla="*/ 1251229 w 3024845"/>
                <a:gd name="connsiteY217" fmla="*/ 296163 h 689379"/>
                <a:gd name="connsiteX218" fmla="*/ 1256549 w 3024845"/>
                <a:gd name="connsiteY218" fmla="*/ 296163 h 689379"/>
                <a:gd name="connsiteX219" fmla="*/ 1257309 w 3024845"/>
                <a:gd name="connsiteY219" fmla="*/ 294812 h 689379"/>
                <a:gd name="connsiteX220" fmla="*/ 1262629 w 3024845"/>
                <a:gd name="connsiteY220" fmla="*/ 285354 h 689379"/>
                <a:gd name="connsiteX221" fmla="*/ 1262629 w 3024845"/>
                <a:gd name="connsiteY221" fmla="*/ 287246 h 689379"/>
                <a:gd name="connsiteX222" fmla="*/ 1262629 w 3024845"/>
                <a:gd name="connsiteY222" fmla="*/ 300487 h 689379"/>
                <a:gd name="connsiteX223" fmla="*/ 1266682 w 3024845"/>
                <a:gd name="connsiteY223" fmla="*/ 255090 h 689379"/>
                <a:gd name="connsiteX224" fmla="*/ 1267442 w 3024845"/>
                <a:gd name="connsiteY224" fmla="*/ 255090 h 689379"/>
                <a:gd name="connsiteX225" fmla="*/ 1272762 w 3024845"/>
                <a:gd name="connsiteY225" fmla="*/ 255090 h 689379"/>
                <a:gd name="connsiteX226" fmla="*/ 1272762 w 3024845"/>
                <a:gd name="connsiteY226" fmla="*/ 190236 h 689379"/>
                <a:gd name="connsiteX227" fmla="*/ 1273776 w 3024845"/>
                <a:gd name="connsiteY227" fmla="*/ 190236 h 689379"/>
                <a:gd name="connsiteX228" fmla="*/ 1280869 w 3024845"/>
                <a:gd name="connsiteY228" fmla="*/ 190236 h 689379"/>
                <a:gd name="connsiteX229" fmla="*/ 1293029 w 3024845"/>
                <a:gd name="connsiteY229" fmla="*/ 147001 h 689379"/>
                <a:gd name="connsiteX230" fmla="*/ 1294296 w 3024845"/>
                <a:gd name="connsiteY230" fmla="*/ 147001 h 689379"/>
                <a:gd name="connsiteX231" fmla="*/ 1303163 w 3024845"/>
                <a:gd name="connsiteY231" fmla="*/ 147001 h 689379"/>
                <a:gd name="connsiteX232" fmla="*/ 1313296 w 3024845"/>
                <a:gd name="connsiteY232" fmla="*/ 190236 h 689379"/>
                <a:gd name="connsiteX233" fmla="*/ 1314309 w 3024845"/>
                <a:gd name="connsiteY233" fmla="*/ 190236 h 689379"/>
                <a:gd name="connsiteX234" fmla="*/ 1321403 w 3024845"/>
                <a:gd name="connsiteY234" fmla="*/ 190236 h 689379"/>
                <a:gd name="connsiteX235" fmla="*/ 1321403 w 3024845"/>
                <a:gd name="connsiteY235" fmla="*/ 229148 h 689379"/>
                <a:gd name="connsiteX236" fmla="*/ 1323176 w 3024845"/>
                <a:gd name="connsiteY236" fmla="*/ 229148 h 689379"/>
                <a:gd name="connsiteX237" fmla="*/ 1335590 w 3024845"/>
                <a:gd name="connsiteY237" fmla="*/ 229148 h 689379"/>
                <a:gd name="connsiteX238" fmla="*/ 1335590 w 3024845"/>
                <a:gd name="connsiteY238" fmla="*/ 231310 h 689379"/>
                <a:gd name="connsiteX239" fmla="*/ 1335590 w 3024845"/>
                <a:gd name="connsiteY239" fmla="*/ 246442 h 689379"/>
                <a:gd name="connsiteX240" fmla="*/ 1339643 w 3024845"/>
                <a:gd name="connsiteY240" fmla="*/ 244281 h 689379"/>
                <a:gd name="connsiteX241" fmla="*/ 1339643 w 3024845"/>
                <a:gd name="connsiteY241" fmla="*/ 229148 h 689379"/>
                <a:gd name="connsiteX242" fmla="*/ 1341163 w 3024845"/>
                <a:gd name="connsiteY242" fmla="*/ 229148 h 689379"/>
                <a:gd name="connsiteX243" fmla="*/ 1351803 w 3024845"/>
                <a:gd name="connsiteY243" fmla="*/ 229148 h 689379"/>
                <a:gd name="connsiteX244" fmla="*/ 1351803 w 3024845"/>
                <a:gd name="connsiteY244" fmla="*/ 230769 h 689379"/>
                <a:gd name="connsiteX245" fmla="*/ 1351803 w 3024845"/>
                <a:gd name="connsiteY245" fmla="*/ 242119 h 689379"/>
                <a:gd name="connsiteX246" fmla="*/ 1382204 w 3024845"/>
                <a:gd name="connsiteY246" fmla="*/ 242119 h 689379"/>
                <a:gd name="connsiteX247" fmla="*/ 1382204 w 3024845"/>
                <a:gd name="connsiteY247" fmla="*/ 205369 h 689379"/>
                <a:gd name="connsiteX248" fmla="*/ 1383470 w 3024845"/>
                <a:gd name="connsiteY248" fmla="*/ 205369 h 689379"/>
                <a:gd name="connsiteX249" fmla="*/ 1392337 w 3024845"/>
                <a:gd name="connsiteY249" fmla="*/ 205369 h 689379"/>
                <a:gd name="connsiteX250" fmla="*/ 1392337 w 3024845"/>
                <a:gd name="connsiteY250" fmla="*/ 226986 h 689379"/>
                <a:gd name="connsiteX251" fmla="*/ 1394364 w 3024845"/>
                <a:gd name="connsiteY251" fmla="*/ 194560 h 689379"/>
                <a:gd name="connsiteX252" fmla="*/ 1416657 w 3024845"/>
                <a:gd name="connsiteY252" fmla="*/ 194560 h 689379"/>
                <a:gd name="connsiteX253" fmla="*/ 1416657 w 3024845"/>
                <a:gd name="connsiteY253" fmla="*/ 192938 h 689379"/>
                <a:gd name="connsiteX254" fmla="*/ 1416657 w 3024845"/>
                <a:gd name="connsiteY254" fmla="*/ 181589 h 689379"/>
                <a:gd name="connsiteX255" fmla="*/ 1417417 w 3024845"/>
                <a:gd name="connsiteY255" fmla="*/ 181589 h 689379"/>
                <a:gd name="connsiteX256" fmla="*/ 1422737 w 3024845"/>
                <a:gd name="connsiteY256" fmla="*/ 181589 h 689379"/>
                <a:gd name="connsiteX257" fmla="*/ 1422737 w 3024845"/>
                <a:gd name="connsiteY257" fmla="*/ 179698 h 689379"/>
                <a:gd name="connsiteX258" fmla="*/ 1422737 w 3024845"/>
                <a:gd name="connsiteY258" fmla="*/ 166457 h 689379"/>
                <a:gd name="connsiteX259" fmla="*/ 1426791 w 3024845"/>
                <a:gd name="connsiteY259" fmla="*/ 172942 h 689379"/>
                <a:gd name="connsiteX260" fmla="*/ 1429071 w 3024845"/>
                <a:gd name="connsiteY260" fmla="*/ 172942 h 689379"/>
                <a:gd name="connsiteX261" fmla="*/ 1445031 w 3024845"/>
                <a:gd name="connsiteY261" fmla="*/ 172942 h 689379"/>
                <a:gd name="connsiteX262" fmla="*/ 1445031 w 3024845"/>
                <a:gd name="connsiteY262" fmla="*/ 172131 h 689379"/>
                <a:gd name="connsiteX263" fmla="*/ 1445031 w 3024845"/>
                <a:gd name="connsiteY263" fmla="*/ 166457 h 689379"/>
                <a:gd name="connsiteX264" fmla="*/ 1445791 w 3024845"/>
                <a:gd name="connsiteY264" fmla="*/ 166457 h 689379"/>
                <a:gd name="connsiteX265" fmla="*/ 1451111 w 3024845"/>
                <a:gd name="connsiteY265" fmla="*/ 166457 h 689379"/>
                <a:gd name="connsiteX266" fmla="*/ 1451111 w 3024845"/>
                <a:gd name="connsiteY266" fmla="*/ 167808 h 689379"/>
                <a:gd name="connsiteX267" fmla="*/ 1451111 w 3024845"/>
                <a:gd name="connsiteY267" fmla="*/ 177266 h 689379"/>
                <a:gd name="connsiteX268" fmla="*/ 1489618 w 3024845"/>
                <a:gd name="connsiteY268" fmla="*/ 177266 h 689379"/>
                <a:gd name="connsiteX269" fmla="*/ 1489618 w 3024845"/>
                <a:gd name="connsiteY269" fmla="*/ 315619 h 689379"/>
                <a:gd name="connsiteX270" fmla="*/ 1491138 w 3024845"/>
                <a:gd name="connsiteY270" fmla="*/ 315619 h 689379"/>
                <a:gd name="connsiteX271" fmla="*/ 1501778 w 3024845"/>
                <a:gd name="connsiteY271" fmla="*/ 315619 h 689379"/>
                <a:gd name="connsiteX272" fmla="*/ 1501778 w 3024845"/>
                <a:gd name="connsiteY272" fmla="*/ 302649 h 689379"/>
                <a:gd name="connsiteX273" fmla="*/ 1505832 w 3024845"/>
                <a:gd name="connsiteY273" fmla="*/ 302649 h 689379"/>
                <a:gd name="connsiteX274" fmla="*/ 1505832 w 3024845"/>
                <a:gd name="connsiteY274" fmla="*/ 315619 h 689379"/>
                <a:gd name="connsiteX275" fmla="*/ 1536232 w 3024845"/>
                <a:gd name="connsiteY275" fmla="*/ 315619 h 689379"/>
                <a:gd name="connsiteX276" fmla="*/ 1536232 w 3024845"/>
                <a:gd name="connsiteY276" fmla="*/ 285354 h 689379"/>
                <a:gd name="connsiteX277" fmla="*/ 1548392 w 3024845"/>
                <a:gd name="connsiteY277" fmla="*/ 285354 h 689379"/>
                <a:gd name="connsiteX278" fmla="*/ 1560552 w 3024845"/>
                <a:gd name="connsiteY278" fmla="*/ 283193 h 689379"/>
                <a:gd name="connsiteX279" fmla="*/ 1564606 w 3024845"/>
                <a:gd name="connsiteY279" fmla="*/ 285354 h 689379"/>
                <a:gd name="connsiteX280" fmla="*/ 1574739 w 3024845"/>
                <a:gd name="connsiteY280" fmla="*/ 285354 h 689379"/>
                <a:gd name="connsiteX281" fmla="*/ 1574739 w 3024845"/>
                <a:gd name="connsiteY281" fmla="*/ 315619 h 689379"/>
                <a:gd name="connsiteX282" fmla="*/ 1582846 w 3024845"/>
                <a:gd name="connsiteY282" fmla="*/ 315619 h 689379"/>
                <a:gd name="connsiteX283" fmla="*/ 1582846 w 3024845"/>
                <a:gd name="connsiteY283" fmla="*/ 332914 h 689379"/>
                <a:gd name="connsiteX284" fmla="*/ 1592182 w 3024845"/>
                <a:gd name="connsiteY284" fmla="*/ 333819 h 689379"/>
                <a:gd name="connsiteX285" fmla="*/ 1605140 w 3024845"/>
                <a:gd name="connsiteY285" fmla="*/ 333819 h 689379"/>
                <a:gd name="connsiteX286" fmla="*/ 1605140 w 3024845"/>
                <a:gd name="connsiteY286" fmla="*/ 317781 h 689379"/>
                <a:gd name="connsiteX287" fmla="*/ 1673096 w 3024845"/>
                <a:gd name="connsiteY287" fmla="*/ 317781 h 689379"/>
                <a:gd name="connsiteX288" fmla="*/ 1673096 w 3024845"/>
                <a:gd name="connsiteY288" fmla="*/ 232528 h 689379"/>
                <a:gd name="connsiteX289" fmla="*/ 1745104 w 3024845"/>
                <a:gd name="connsiteY289" fmla="*/ 232528 h 689379"/>
                <a:gd name="connsiteX290" fmla="*/ 1745104 w 3024845"/>
                <a:gd name="connsiteY290" fmla="*/ 311296 h 689379"/>
                <a:gd name="connsiteX291" fmla="*/ 1747008 w 3024845"/>
                <a:gd name="connsiteY291" fmla="*/ 311296 h 689379"/>
                <a:gd name="connsiteX292" fmla="*/ 1748250 w 3024845"/>
                <a:gd name="connsiteY292" fmla="*/ 333819 h 689379"/>
                <a:gd name="connsiteX293" fmla="*/ 1757926 w 3024845"/>
                <a:gd name="connsiteY293" fmla="*/ 333819 h 689379"/>
                <a:gd name="connsiteX294" fmla="*/ 1759168 w 3024845"/>
                <a:gd name="connsiteY294" fmla="*/ 311296 h 689379"/>
                <a:gd name="connsiteX295" fmla="*/ 1765248 w 3024845"/>
                <a:gd name="connsiteY295" fmla="*/ 311296 h 689379"/>
                <a:gd name="connsiteX296" fmla="*/ 1766490 w 3024845"/>
                <a:gd name="connsiteY296" fmla="*/ 333819 h 689379"/>
                <a:gd name="connsiteX297" fmla="*/ 1817112 w 3024845"/>
                <a:gd name="connsiteY297" fmla="*/ 333819 h 689379"/>
                <a:gd name="connsiteX298" fmla="*/ 1817112 w 3024845"/>
                <a:gd name="connsiteY298" fmla="*/ 170791 h 689379"/>
                <a:gd name="connsiteX299" fmla="*/ 2014439 w 3024845"/>
                <a:gd name="connsiteY299" fmla="*/ 170791 h 689379"/>
                <a:gd name="connsiteX300" fmla="*/ 2014439 w 3024845"/>
                <a:gd name="connsiteY300" fmla="*/ 333819 h 689379"/>
                <a:gd name="connsiteX301" fmla="*/ 2033136 w 3024845"/>
                <a:gd name="connsiteY301" fmla="*/ 333819 h 689379"/>
                <a:gd name="connsiteX302" fmla="*/ 2033136 w 3024845"/>
                <a:gd name="connsiteY302" fmla="*/ 251126 h 689379"/>
                <a:gd name="connsiteX303" fmla="*/ 2128256 w 3024845"/>
                <a:gd name="connsiteY303" fmla="*/ 251126 h 689379"/>
                <a:gd name="connsiteX304" fmla="*/ 2180720 w 3024845"/>
                <a:gd name="connsiteY304" fmla="*/ 185913 h 689379"/>
                <a:gd name="connsiteX305" fmla="*/ 2245574 w 3024845"/>
                <a:gd name="connsiteY305" fmla="*/ 185913 h 689379"/>
                <a:gd name="connsiteX306" fmla="*/ 2245574 w 3024845"/>
                <a:gd name="connsiteY306" fmla="*/ 261575 h 689379"/>
                <a:gd name="connsiteX307" fmla="*/ 2253681 w 3024845"/>
                <a:gd name="connsiteY307" fmla="*/ 261575 h 689379"/>
                <a:gd name="connsiteX308" fmla="*/ 2255708 w 3024845"/>
                <a:gd name="connsiteY308" fmla="*/ 255090 h 689379"/>
                <a:gd name="connsiteX309" fmla="*/ 2261788 w 3024845"/>
                <a:gd name="connsiteY309" fmla="*/ 255090 h 689379"/>
                <a:gd name="connsiteX310" fmla="*/ 2263815 w 3024845"/>
                <a:gd name="connsiteY310" fmla="*/ 263737 h 689379"/>
                <a:gd name="connsiteX311" fmla="*/ 2275975 w 3024845"/>
                <a:gd name="connsiteY311" fmla="*/ 263737 h 689379"/>
                <a:gd name="connsiteX312" fmla="*/ 2275975 w 3024845"/>
                <a:gd name="connsiteY312" fmla="*/ 257251 h 689379"/>
                <a:gd name="connsiteX313" fmla="*/ 2298268 w 3024845"/>
                <a:gd name="connsiteY313" fmla="*/ 257251 h 689379"/>
                <a:gd name="connsiteX314" fmla="*/ 2298268 w 3024845"/>
                <a:gd name="connsiteY314" fmla="*/ 263737 h 689379"/>
                <a:gd name="connsiteX315" fmla="*/ 2318535 w 3024845"/>
                <a:gd name="connsiteY315" fmla="*/ 263737 h 689379"/>
                <a:gd name="connsiteX316" fmla="*/ 2318535 w 3024845"/>
                <a:gd name="connsiteY316" fmla="*/ 309134 h 689379"/>
                <a:gd name="connsiteX317" fmla="*/ 2332722 w 3024845"/>
                <a:gd name="connsiteY317" fmla="*/ 309134 h 689379"/>
                <a:gd name="connsiteX318" fmla="*/ 2332722 w 3024845"/>
                <a:gd name="connsiteY318" fmla="*/ 296163 h 689379"/>
                <a:gd name="connsiteX319" fmla="*/ 2348936 w 3024845"/>
                <a:gd name="connsiteY319" fmla="*/ 296163 h 689379"/>
                <a:gd name="connsiteX320" fmla="*/ 2348936 w 3024845"/>
                <a:gd name="connsiteY320" fmla="*/ 116736 h 689379"/>
                <a:gd name="connsiteX321" fmla="*/ 2355016 w 3024845"/>
                <a:gd name="connsiteY321" fmla="*/ 110250 h 689379"/>
                <a:gd name="connsiteX322" fmla="*/ 2427977 w 3024845"/>
                <a:gd name="connsiteY322" fmla="*/ 110250 h 689379"/>
                <a:gd name="connsiteX323" fmla="*/ 2427977 w 3024845"/>
                <a:gd name="connsiteY323" fmla="*/ 118898 h 689379"/>
                <a:gd name="connsiteX324" fmla="*/ 2438110 w 3024845"/>
                <a:gd name="connsiteY324" fmla="*/ 118898 h 689379"/>
                <a:gd name="connsiteX325" fmla="*/ 2438110 w 3024845"/>
                <a:gd name="connsiteY325" fmla="*/ 233472 h 689379"/>
                <a:gd name="connsiteX326" fmla="*/ 2460404 w 3024845"/>
                <a:gd name="connsiteY326" fmla="*/ 233472 h 689379"/>
                <a:gd name="connsiteX327" fmla="*/ 2460404 w 3024845"/>
                <a:gd name="connsiteY327" fmla="*/ 166457 h 689379"/>
                <a:gd name="connsiteX328" fmla="*/ 2486751 w 3024845"/>
                <a:gd name="connsiteY328" fmla="*/ 166457 h 689379"/>
                <a:gd name="connsiteX329" fmla="*/ 2490804 w 3024845"/>
                <a:gd name="connsiteY329" fmla="*/ 162133 h 689379"/>
                <a:gd name="connsiteX330" fmla="*/ 2498911 w 3024845"/>
                <a:gd name="connsiteY330" fmla="*/ 162133 h 689379"/>
                <a:gd name="connsiteX331" fmla="*/ 2502964 w 3024845"/>
                <a:gd name="connsiteY331" fmla="*/ 166457 h 689379"/>
                <a:gd name="connsiteX332" fmla="*/ 2525258 w 3024845"/>
                <a:gd name="connsiteY332" fmla="*/ 166457 h 689379"/>
                <a:gd name="connsiteX333" fmla="*/ 2525258 w 3024845"/>
                <a:gd name="connsiteY333" fmla="*/ 49721 h 689379"/>
                <a:gd name="connsiteX334" fmla="*/ 2582005 w 3024845"/>
                <a:gd name="connsiteY334" fmla="*/ 38912 h 689379"/>
                <a:gd name="connsiteX335" fmla="*/ 2582005 w 3024845"/>
                <a:gd name="connsiteY335" fmla="*/ 39993 h 689379"/>
                <a:gd name="connsiteX336" fmla="*/ 2582005 w 3024845"/>
                <a:gd name="connsiteY336" fmla="*/ 47559 h 689379"/>
                <a:gd name="connsiteX337" fmla="*/ 2608352 w 3024845"/>
                <a:gd name="connsiteY337" fmla="*/ 47559 h 689379"/>
                <a:gd name="connsiteX338" fmla="*/ 2608352 w 3024845"/>
                <a:gd name="connsiteY338" fmla="*/ 302649 h 689379"/>
                <a:gd name="connsiteX339" fmla="*/ 2630646 w 3024845"/>
                <a:gd name="connsiteY339" fmla="*/ 302649 h 689379"/>
                <a:gd name="connsiteX340" fmla="*/ 2630646 w 3024845"/>
                <a:gd name="connsiteY340" fmla="*/ 298325 h 689379"/>
                <a:gd name="connsiteX341" fmla="*/ 2642806 w 3024845"/>
                <a:gd name="connsiteY341" fmla="*/ 298325 h 689379"/>
                <a:gd name="connsiteX342" fmla="*/ 2642806 w 3024845"/>
                <a:gd name="connsiteY342" fmla="*/ 302649 h 689379"/>
                <a:gd name="connsiteX343" fmla="*/ 2667126 w 3024845"/>
                <a:gd name="connsiteY343" fmla="*/ 302649 h 689379"/>
                <a:gd name="connsiteX344" fmla="*/ 2667126 w 3024845"/>
                <a:gd name="connsiteY344" fmla="*/ 289678 h 689379"/>
                <a:gd name="connsiteX345" fmla="*/ 2695500 w 3024845"/>
                <a:gd name="connsiteY345" fmla="*/ 289678 h 689379"/>
                <a:gd name="connsiteX346" fmla="*/ 2707660 w 3024845"/>
                <a:gd name="connsiteY346" fmla="*/ 285354 h 689379"/>
                <a:gd name="connsiteX347" fmla="*/ 2727927 w 3024845"/>
                <a:gd name="connsiteY347" fmla="*/ 289678 h 689379"/>
                <a:gd name="connsiteX348" fmla="*/ 2727927 w 3024845"/>
                <a:gd name="connsiteY348" fmla="*/ 272384 h 689379"/>
                <a:gd name="connsiteX349" fmla="*/ 2736034 w 3024845"/>
                <a:gd name="connsiteY349" fmla="*/ 272384 h 689379"/>
                <a:gd name="connsiteX350" fmla="*/ 2736034 w 3024845"/>
                <a:gd name="connsiteY350" fmla="*/ 259413 h 689379"/>
                <a:gd name="connsiteX351" fmla="*/ 2792781 w 3024845"/>
                <a:gd name="connsiteY351" fmla="*/ 259413 h 689379"/>
                <a:gd name="connsiteX352" fmla="*/ 2792781 w 3024845"/>
                <a:gd name="connsiteY352" fmla="*/ 229148 h 689379"/>
                <a:gd name="connsiteX353" fmla="*/ 2811021 w 3024845"/>
                <a:gd name="connsiteY353" fmla="*/ 229148 h 689379"/>
                <a:gd name="connsiteX354" fmla="*/ 2811021 w 3024845"/>
                <a:gd name="connsiteY354" fmla="*/ 222663 h 689379"/>
                <a:gd name="connsiteX355" fmla="*/ 2823181 w 3024845"/>
                <a:gd name="connsiteY355" fmla="*/ 222663 h 689379"/>
                <a:gd name="connsiteX356" fmla="*/ 2823181 w 3024845"/>
                <a:gd name="connsiteY356" fmla="*/ 229148 h 689379"/>
                <a:gd name="connsiteX357" fmla="*/ 2839395 w 3024845"/>
                <a:gd name="connsiteY357" fmla="*/ 229148 h 689379"/>
                <a:gd name="connsiteX358" fmla="*/ 2839395 w 3024845"/>
                <a:gd name="connsiteY358" fmla="*/ 278869 h 689379"/>
                <a:gd name="connsiteX359" fmla="*/ 2871822 w 3024845"/>
                <a:gd name="connsiteY359" fmla="*/ 278869 h 689379"/>
                <a:gd name="connsiteX360" fmla="*/ 2871822 w 3024845"/>
                <a:gd name="connsiteY360" fmla="*/ 252928 h 689379"/>
                <a:gd name="connsiteX361" fmla="*/ 2910329 w 3024845"/>
                <a:gd name="connsiteY361" fmla="*/ 252928 h 689379"/>
                <a:gd name="connsiteX362" fmla="*/ 2910329 w 3024845"/>
                <a:gd name="connsiteY362" fmla="*/ 222663 h 689379"/>
                <a:gd name="connsiteX363" fmla="*/ 2958970 w 3024845"/>
                <a:gd name="connsiteY363" fmla="*/ 222663 h 689379"/>
                <a:gd name="connsiteX364" fmla="*/ 2958970 w 3024845"/>
                <a:gd name="connsiteY364" fmla="*/ 333819 h 689379"/>
                <a:gd name="connsiteX365" fmla="*/ 2958970 w 3024845"/>
                <a:gd name="connsiteY365" fmla="*/ 347598 h 689379"/>
                <a:gd name="connsiteX366" fmla="*/ 3024845 w 3024845"/>
                <a:gd name="connsiteY366" fmla="*/ 689379 h 689379"/>
                <a:gd name="connsiteX367" fmla="*/ 2054 w 3024845"/>
                <a:gd name="connsiteY367" fmla="*/ 687046 h 689379"/>
                <a:gd name="connsiteX368" fmla="*/ 0 w 3024845"/>
                <a:gd name="connsiteY368" fmla="*/ 252928 h 689379"/>
                <a:gd name="connsiteX369" fmla="*/ 20267 w 3024845"/>
                <a:gd name="connsiteY369" fmla="*/ 252928 h 689379"/>
                <a:gd name="connsiteX370" fmla="*/ 20774 w 3024845"/>
                <a:gd name="connsiteY370" fmla="*/ 251847 h 689379"/>
                <a:gd name="connsiteX371" fmla="*/ 24320 w 3024845"/>
                <a:gd name="connsiteY371" fmla="*/ 244281 h 689379"/>
                <a:gd name="connsiteX372" fmla="*/ 26094 w 3024845"/>
                <a:gd name="connsiteY372" fmla="*/ 244551 h 689379"/>
                <a:gd name="connsiteX373" fmla="*/ 38507 w 3024845"/>
                <a:gd name="connsiteY373" fmla="*/ 246442 h 689379"/>
                <a:gd name="connsiteX374" fmla="*/ 39014 w 3024845"/>
                <a:gd name="connsiteY374" fmla="*/ 247794 h 689379"/>
                <a:gd name="connsiteX375" fmla="*/ 42560 w 3024845"/>
                <a:gd name="connsiteY375" fmla="*/ 257251 h 689379"/>
                <a:gd name="connsiteX376" fmla="*/ 68907 w 3024845"/>
                <a:gd name="connsiteY376" fmla="*/ 259413 h 689379"/>
                <a:gd name="connsiteX377" fmla="*/ 68907 w 3024845"/>
                <a:gd name="connsiteY377" fmla="*/ 136192 h 689379"/>
                <a:gd name="connsiteX378" fmla="*/ 70934 w 3024845"/>
                <a:gd name="connsiteY378" fmla="*/ 136192 h 689379"/>
                <a:gd name="connsiteX379" fmla="*/ 85121 w 3024845"/>
                <a:gd name="connsiteY379" fmla="*/ 136192 h 689379"/>
                <a:gd name="connsiteX380" fmla="*/ 85121 w 3024845"/>
                <a:gd name="connsiteY380" fmla="*/ 0 h 689379"/>
                <a:gd name="connsiteX381" fmla="*/ 86894 w 3024845"/>
                <a:gd name="connsiteY381" fmla="*/ 0 h 689379"/>
                <a:gd name="connsiteX382" fmla="*/ 99308 w 3024845"/>
                <a:gd name="connsiteY382" fmla="*/ 0 h 689379"/>
                <a:gd name="connsiteX0" fmla="*/ 99308 w 3024845"/>
                <a:gd name="connsiteY0" fmla="*/ 0 h 689379"/>
                <a:gd name="connsiteX1" fmla="*/ 220909 w 3024845"/>
                <a:gd name="connsiteY1" fmla="*/ 0 h 689379"/>
                <a:gd name="connsiteX2" fmla="*/ 223189 w 3024845"/>
                <a:gd name="connsiteY2" fmla="*/ 0 h 689379"/>
                <a:gd name="connsiteX3" fmla="*/ 239150 w 3024845"/>
                <a:gd name="connsiteY3" fmla="*/ 0 h 689379"/>
                <a:gd name="connsiteX4" fmla="*/ 239150 w 3024845"/>
                <a:gd name="connsiteY4" fmla="*/ 140515 h 689379"/>
                <a:gd name="connsiteX5" fmla="*/ 240670 w 3024845"/>
                <a:gd name="connsiteY5" fmla="*/ 140245 h 689379"/>
                <a:gd name="connsiteX6" fmla="*/ 251310 w 3024845"/>
                <a:gd name="connsiteY6" fmla="*/ 138354 h 689379"/>
                <a:gd name="connsiteX7" fmla="*/ 249283 w 3024845"/>
                <a:gd name="connsiteY7" fmla="*/ 226986 h 689379"/>
                <a:gd name="connsiteX8" fmla="*/ 250803 w 3024845"/>
                <a:gd name="connsiteY8" fmla="*/ 227257 h 689379"/>
                <a:gd name="connsiteX9" fmla="*/ 261443 w 3024845"/>
                <a:gd name="connsiteY9" fmla="*/ 229148 h 689379"/>
                <a:gd name="connsiteX10" fmla="*/ 261696 w 3024845"/>
                <a:gd name="connsiteY10" fmla="*/ 229959 h 689379"/>
                <a:gd name="connsiteX11" fmla="*/ 263470 w 3024845"/>
                <a:gd name="connsiteY11" fmla="*/ 235634 h 689379"/>
                <a:gd name="connsiteX12" fmla="*/ 264230 w 3024845"/>
                <a:gd name="connsiteY12" fmla="*/ 233202 h 689379"/>
                <a:gd name="connsiteX13" fmla="*/ 269550 w 3024845"/>
                <a:gd name="connsiteY13" fmla="*/ 216178 h 689379"/>
                <a:gd name="connsiteX14" fmla="*/ 271323 w 3024845"/>
                <a:gd name="connsiteY14" fmla="*/ 216178 h 689379"/>
                <a:gd name="connsiteX15" fmla="*/ 283737 w 3024845"/>
                <a:gd name="connsiteY15" fmla="*/ 216178 h 689379"/>
                <a:gd name="connsiteX16" fmla="*/ 283737 w 3024845"/>
                <a:gd name="connsiteY16" fmla="*/ 248604 h 689379"/>
                <a:gd name="connsiteX17" fmla="*/ 284750 w 3024845"/>
                <a:gd name="connsiteY17" fmla="*/ 249145 h 689379"/>
                <a:gd name="connsiteX18" fmla="*/ 291844 w 3024845"/>
                <a:gd name="connsiteY18" fmla="*/ 252928 h 689379"/>
                <a:gd name="connsiteX19" fmla="*/ 291844 w 3024845"/>
                <a:gd name="connsiteY19" fmla="*/ 254279 h 689379"/>
                <a:gd name="connsiteX20" fmla="*/ 291844 w 3024845"/>
                <a:gd name="connsiteY20" fmla="*/ 263737 h 689379"/>
                <a:gd name="connsiteX21" fmla="*/ 336431 w 3024845"/>
                <a:gd name="connsiteY21" fmla="*/ 263737 h 689379"/>
                <a:gd name="connsiteX22" fmla="*/ 336431 w 3024845"/>
                <a:gd name="connsiteY22" fmla="*/ 264818 h 689379"/>
                <a:gd name="connsiteX23" fmla="*/ 336431 w 3024845"/>
                <a:gd name="connsiteY23" fmla="*/ 272384 h 689379"/>
                <a:gd name="connsiteX24" fmla="*/ 338457 w 3024845"/>
                <a:gd name="connsiteY24" fmla="*/ 272384 h 689379"/>
                <a:gd name="connsiteX25" fmla="*/ 352644 w 3024845"/>
                <a:gd name="connsiteY25" fmla="*/ 272384 h 689379"/>
                <a:gd name="connsiteX26" fmla="*/ 352644 w 3024845"/>
                <a:gd name="connsiteY26" fmla="*/ 242119 h 689379"/>
                <a:gd name="connsiteX27" fmla="*/ 397231 w 3024845"/>
                <a:gd name="connsiteY27" fmla="*/ 242119 h 689379"/>
                <a:gd name="connsiteX28" fmla="*/ 397231 w 3024845"/>
                <a:gd name="connsiteY28" fmla="*/ 240768 h 689379"/>
                <a:gd name="connsiteX29" fmla="*/ 397231 w 3024845"/>
                <a:gd name="connsiteY29" fmla="*/ 231310 h 689379"/>
                <a:gd name="connsiteX30" fmla="*/ 398245 w 3024845"/>
                <a:gd name="connsiteY30" fmla="*/ 231310 h 689379"/>
                <a:gd name="connsiteX31" fmla="*/ 405338 w 3024845"/>
                <a:gd name="connsiteY31" fmla="*/ 231310 h 689379"/>
                <a:gd name="connsiteX32" fmla="*/ 405338 w 3024845"/>
                <a:gd name="connsiteY32" fmla="*/ 229419 h 689379"/>
                <a:gd name="connsiteX33" fmla="*/ 405338 w 3024845"/>
                <a:gd name="connsiteY33" fmla="*/ 216178 h 689379"/>
                <a:gd name="connsiteX34" fmla="*/ 406098 w 3024845"/>
                <a:gd name="connsiteY34" fmla="*/ 216178 h 689379"/>
                <a:gd name="connsiteX35" fmla="*/ 411418 w 3024845"/>
                <a:gd name="connsiteY35" fmla="*/ 216178 h 689379"/>
                <a:gd name="connsiteX36" fmla="*/ 411418 w 3024845"/>
                <a:gd name="connsiteY36" fmla="*/ 215097 h 689379"/>
                <a:gd name="connsiteX37" fmla="*/ 411418 w 3024845"/>
                <a:gd name="connsiteY37" fmla="*/ 207530 h 689379"/>
                <a:gd name="connsiteX38" fmla="*/ 413445 w 3024845"/>
                <a:gd name="connsiteY38" fmla="*/ 207530 h 689379"/>
                <a:gd name="connsiteX39" fmla="*/ 427632 w 3024845"/>
                <a:gd name="connsiteY39" fmla="*/ 207530 h 689379"/>
                <a:gd name="connsiteX40" fmla="*/ 427632 w 3024845"/>
                <a:gd name="connsiteY40" fmla="*/ 208611 h 689379"/>
                <a:gd name="connsiteX41" fmla="*/ 427632 w 3024845"/>
                <a:gd name="connsiteY41" fmla="*/ 216178 h 689379"/>
                <a:gd name="connsiteX42" fmla="*/ 449925 w 3024845"/>
                <a:gd name="connsiteY42" fmla="*/ 216178 h 689379"/>
                <a:gd name="connsiteX43" fmla="*/ 449925 w 3024845"/>
                <a:gd name="connsiteY43" fmla="*/ 214286 h 689379"/>
                <a:gd name="connsiteX44" fmla="*/ 449925 w 3024845"/>
                <a:gd name="connsiteY44" fmla="*/ 201045 h 689379"/>
                <a:gd name="connsiteX45" fmla="*/ 451699 w 3024845"/>
                <a:gd name="connsiteY45" fmla="*/ 201045 h 689379"/>
                <a:gd name="connsiteX46" fmla="*/ 464112 w 3024845"/>
                <a:gd name="connsiteY46" fmla="*/ 201045 h 689379"/>
                <a:gd name="connsiteX47" fmla="*/ 464112 w 3024845"/>
                <a:gd name="connsiteY47" fmla="*/ 224825 h 689379"/>
                <a:gd name="connsiteX48" fmla="*/ 465126 w 3024845"/>
                <a:gd name="connsiteY48" fmla="*/ 224825 h 689379"/>
                <a:gd name="connsiteX49" fmla="*/ 472219 w 3024845"/>
                <a:gd name="connsiteY49" fmla="*/ 224825 h 689379"/>
                <a:gd name="connsiteX50" fmla="*/ 472219 w 3024845"/>
                <a:gd name="connsiteY50" fmla="*/ 223744 h 689379"/>
                <a:gd name="connsiteX51" fmla="*/ 472219 w 3024845"/>
                <a:gd name="connsiteY51" fmla="*/ 216178 h 689379"/>
                <a:gd name="connsiteX52" fmla="*/ 473992 w 3024845"/>
                <a:gd name="connsiteY52" fmla="*/ 216178 h 689379"/>
                <a:gd name="connsiteX53" fmla="*/ 486406 w 3024845"/>
                <a:gd name="connsiteY53" fmla="*/ 216178 h 689379"/>
                <a:gd name="connsiteX54" fmla="*/ 486406 w 3024845"/>
                <a:gd name="connsiteY54" fmla="*/ 242119 h 689379"/>
                <a:gd name="connsiteX55" fmla="*/ 488433 w 3024845"/>
                <a:gd name="connsiteY55" fmla="*/ 242119 h 689379"/>
                <a:gd name="connsiteX56" fmla="*/ 502619 w 3024845"/>
                <a:gd name="connsiteY56" fmla="*/ 242119 h 689379"/>
                <a:gd name="connsiteX57" fmla="*/ 502619 w 3024845"/>
                <a:gd name="connsiteY57" fmla="*/ 243740 h 689379"/>
                <a:gd name="connsiteX58" fmla="*/ 502619 w 3024845"/>
                <a:gd name="connsiteY58" fmla="*/ 255090 h 689379"/>
                <a:gd name="connsiteX59" fmla="*/ 503379 w 3024845"/>
                <a:gd name="connsiteY59" fmla="*/ 255090 h 689379"/>
                <a:gd name="connsiteX60" fmla="*/ 508700 w 3024845"/>
                <a:gd name="connsiteY60" fmla="*/ 255090 h 689379"/>
                <a:gd name="connsiteX61" fmla="*/ 508700 w 3024845"/>
                <a:gd name="connsiteY61" fmla="*/ 254279 h 689379"/>
                <a:gd name="connsiteX62" fmla="*/ 508700 w 3024845"/>
                <a:gd name="connsiteY62" fmla="*/ 248604 h 689379"/>
                <a:gd name="connsiteX63" fmla="*/ 539100 w 3024845"/>
                <a:gd name="connsiteY63" fmla="*/ 248604 h 689379"/>
                <a:gd name="connsiteX64" fmla="*/ 539100 w 3024845"/>
                <a:gd name="connsiteY64" fmla="*/ 272384 h 689379"/>
                <a:gd name="connsiteX65" fmla="*/ 540113 w 3024845"/>
                <a:gd name="connsiteY65" fmla="*/ 272384 h 689379"/>
                <a:gd name="connsiteX66" fmla="*/ 547207 w 3024845"/>
                <a:gd name="connsiteY66" fmla="*/ 272384 h 689379"/>
                <a:gd name="connsiteX67" fmla="*/ 547207 w 3024845"/>
                <a:gd name="connsiteY67" fmla="*/ 273465 h 689379"/>
                <a:gd name="connsiteX68" fmla="*/ 547207 w 3024845"/>
                <a:gd name="connsiteY68" fmla="*/ 281031 h 689379"/>
                <a:gd name="connsiteX69" fmla="*/ 547967 w 3024845"/>
                <a:gd name="connsiteY69" fmla="*/ 281031 h 689379"/>
                <a:gd name="connsiteX70" fmla="*/ 553287 w 3024845"/>
                <a:gd name="connsiteY70" fmla="*/ 281031 h 689379"/>
                <a:gd name="connsiteX71" fmla="*/ 553287 w 3024845"/>
                <a:gd name="connsiteY71" fmla="*/ 278869 h 689379"/>
                <a:gd name="connsiteX72" fmla="*/ 553287 w 3024845"/>
                <a:gd name="connsiteY72" fmla="*/ 263737 h 689379"/>
                <a:gd name="connsiteX73" fmla="*/ 554300 w 3024845"/>
                <a:gd name="connsiteY73" fmla="*/ 263737 h 689379"/>
                <a:gd name="connsiteX74" fmla="*/ 561394 w 3024845"/>
                <a:gd name="connsiteY74" fmla="*/ 263737 h 689379"/>
                <a:gd name="connsiteX75" fmla="*/ 561394 w 3024845"/>
                <a:gd name="connsiteY75" fmla="*/ 264818 h 689379"/>
                <a:gd name="connsiteX76" fmla="*/ 561394 w 3024845"/>
                <a:gd name="connsiteY76" fmla="*/ 272384 h 689379"/>
                <a:gd name="connsiteX77" fmla="*/ 566714 w 3024845"/>
                <a:gd name="connsiteY77" fmla="*/ 270391 h 689379"/>
                <a:gd name="connsiteX78" fmla="*/ 567474 w 3024845"/>
                <a:gd name="connsiteY78" fmla="*/ 269411 h 689379"/>
                <a:gd name="connsiteX79" fmla="*/ 567474 w 3024845"/>
                <a:gd name="connsiteY79" fmla="*/ 263737 h 689379"/>
                <a:gd name="connsiteX80" fmla="*/ 605981 w 3024845"/>
                <a:gd name="connsiteY80" fmla="*/ 263737 h 689379"/>
                <a:gd name="connsiteX81" fmla="*/ 605981 w 3024845"/>
                <a:gd name="connsiteY81" fmla="*/ 287516 h 689379"/>
                <a:gd name="connsiteX82" fmla="*/ 608007 w 3024845"/>
                <a:gd name="connsiteY82" fmla="*/ 287516 h 689379"/>
                <a:gd name="connsiteX83" fmla="*/ 622194 w 3024845"/>
                <a:gd name="connsiteY83" fmla="*/ 287516 h 689379"/>
                <a:gd name="connsiteX84" fmla="*/ 622194 w 3024845"/>
                <a:gd name="connsiteY84" fmla="*/ 288597 h 689379"/>
                <a:gd name="connsiteX85" fmla="*/ 622194 w 3024845"/>
                <a:gd name="connsiteY85" fmla="*/ 296163 h 689379"/>
                <a:gd name="connsiteX86" fmla="*/ 623968 w 3024845"/>
                <a:gd name="connsiteY86" fmla="*/ 296163 h 689379"/>
                <a:gd name="connsiteX87" fmla="*/ 636381 w 3024845"/>
                <a:gd name="connsiteY87" fmla="*/ 296163 h 689379"/>
                <a:gd name="connsiteX88" fmla="*/ 636381 w 3024845"/>
                <a:gd name="connsiteY88" fmla="*/ 272384 h 689379"/>
                <a:gd name="connsiteX89" fmla="*/ 637394 w 3024845"/>
                <a:gd name="connsiteY89" fmla="*/ 272384 h 689379"/>
                <a:gd name="connsiteX90" fmla="*/ 644488 w 3024845"/>
                <a:gd name="connsiteY90" fmla="*/ 272384 h 689379"/>
                <a:gd name="connsiteX91" fmla="*/ 644488 w 3024845"/>
                <a:gd name="connsiteY91" fmla="*/ 239957 h 689379"/>
                <a:gd name="connsiteX92" fmla="*/ 645501 w 3024845"/>
                <a:gd name="connsiteY92" fmla="*/ 239957 h 689379"/>
                <a:gd name="connsiteX93" fmla="*/ 652595 w 3024845"/>
                <a:gd name="connsiteY93" fmla="*/ 239957 h 689379"/>
                <a:gd name="connsiteX94" fmla="*/ 652595 w 3024845"/>
                <a:gd name="connsiteY94" fmla="*/ 238066 h 689379"/>
                <a:gd name="connsiteX95" fmla="*/ 652595 w 3024845"/>
                <a:gd name="connsiteY95" fmla="*/ 224825 h 689379"/>
                <a:gd name="connsiteX96" fmla="*/ 651328 w 3024845"/>
                <a:gd name="connsiteY96" fmla="*/ 223203 h 689379"/>
                <a:gd name="connsiteX97" fmla="*/ 656648 w 3024845"/>
                <a:gd name="connsiteY97" fmla="*/ 211854 h 689379"/>
                <a:gd name="connsiteX98" fmla="*/ 664755 w 3024845"/>
                <a:gd name="connsiteY98" fmla="*/ 239957 h 689379"/>
                <a:gd name="connsiteX99" fmla="*/ 665515 w 3024845"/>
                <a:gd name="connsiteY99" fmla="*/ 239957 h 689379"/>
                <a:gd name="connsiteX100" fmla="*/ 670835 w 3024845"/>
                <a:gd name="connsiteY100" fmla="*/ 239957 h 689379"/>
                <a:gd name="connsiteX101" fmla="*/ 670835 w 3024845"/>
                <a:gd name="connsiteY101" fmla="*/ 134030 h 689379"/>
                <a:gd name="connsiteX102" fmla="*/ 672355 w 3024845"/>
                <a:gd name="connsiteY102" fmla="*/ 134030 h 689379"/>
                <a:gd name="connsiteX103" fmla="*/ 682995 w 3024845"/>
                <a:gd name="connsiteY103" fmla="*/ 134030 h 689379"/>
                <a:gd name="connsiteX104" fmla="*/ 682995 w 3024845"/>
                <a:gd name="connsiteY104" fmla="*/ 86471 h 689379"/>
                <a:gd name="connsiteX105" fmla="*/ 709342 w 3024845"/>
                <a:gd name="connsiteY105" fmla="*/ 86471 h 689379"/>
                <a:gd name="connsiteX106" fmla="*/ 709342 w 3024845"/>
                <a:gd name="connsiteY106" fmla="*/ 64853 h 689379"/>
                <a:gd name="connsiteX107" fmla="*/ 743796 w 3024845"/>
                <a:gd name="connsiteY107" fmla="*/ 64853 h 689379"/>
                <a:gd name="connsiteX108" fmla="*/ 743796 w 3024845"/>
                <a:gd name="connsiteY108" fmla="*/ 67285 h 689379"/>
                <a:gd name="connsiteX109" fmla="*/ 743796 w 3024845"/>
                <a:gd name="connsiteY109" fmla="*/ 84309 h 689379"/>
                <a:gd name="connsiteX110" fmla="*/ 746076 w 3024845"/>
                <a:gd name="connsiteY110" fmla="*/ 84309 h 689379"/>
                <a:gd name="connsiteX111" fmla="*/ 762036 w 3024845"/>
                <a:gd name="connsiteY111" fmla="*/ 84309 h 689379"/>
                <a:gd name="connsiteX112" fmla="*/ 762036 w 3024845"/>
                <a:gd name="connsiteY112" fmla="*/ 131868 h 689379"/>
                <a:gd name="connsiteX113" fmla="*/ 763049 w 3024845"/>
                <a:gd name="connsiteY113" fmla="*/ 131868 h 689379"/>
                <a:gd name="connsiteX114" fmla="*/ 770143 w 3024845"/>
                <a:gd name="connsiteY114" fmla="*/ 131868 h 689379"/>
                <a:gd name="connsiteX115" fmla="*/ 784330 w 3024845"/>
                <a:gd name="connsiteY115" fmla="*/ 136192 h 689379"/>
                <a:gd name="connsiteX116" fmla="*/ 784330 w 3024845"/>
                <a:gd name="connsiteY116" fmla="*/ 175104 h 689379"/>
                <a:gd name="connsiteX117" fmla="*/ 785343 w 3024845"/>
                <a:gd name="connsiteY117" fmla="*/ 175104 h 689379"/>
                <a:gd name="connsiteX118" fmla="*/ 792436 w 3024845"/>
                <a:gd name="connsiteY118" fmla="*/ 175104 h 689379"/>
                <a:gd name="connsiteX119" fmla="*/ 792436 w 3024845"/>
                <a:gd name="connsiteY119" fmla="*/ 176725 h 689379"/>
                <a:gd name="connsiteX120" fmla="*/ 792436 w 3024845"/>
                <a:gd name="connsiteY120" fmla="*/ 188074 h 689379"/>
                <a:gd name="connsiteX121" fmla="*/ 794463 w 3024845"/>
                <a:gd name="connsiteY121" fmla="*/ 188074 h 689379"/>
                <a:gd name="connsiteX122" fmla="*/ 808650 w 3024845"/>
                <a:gd name="connsiteY122" fmla="*/ 188074 h 689379"/>
                <a:gd name="connsiteX123" fmla="*/ 814730 w 3024845"/>
                <a:gd name="connsiteY123" fmla="*/ 194560 h 689379"/>
                <a:gd name="connsiteX124" fmla="*/ 814730 w 3024845"/>
                <a:gd name="connsiteY124" fmla="*/ 216178 h 689379"/>
                <a:gd name="connsiteX125" fmla="*/ 817010 w 3024845"/>
                <a:gd name="connsiteY125" fmla="*/ 216178 h 689379"/>
                <a:gd name="connsiteX126" fmla="*/ 832970 w 3024845"/>
                <a:gd name="connsiteY126" fmla="*/ 216178 h 689379"/>
                <a:gd name="connsiteX127" fmla="*/ 832970 w 3024845"/>
                <a:gd name="connsiteY127" fmla="*/ 217258 h 689379"/>
                <a:gd name="connsiteX128" fmla="*/ 832970 w 3024845"/>
                <a:gd name="connsiteY128" fmla="*/ 224825 h 689379"/>
                <a:gd name="connsiteX129" fmla="*/ 834237 w 3024845"/>
                <a:gd name="connsiteY129" fmla="*/ 224825 h 689379"/>
                <a:gd name="connsiteX130" fmla="*/ 843104 w 3024845"/>
                <a:gd name="connsiteY130" fmla="*/ 224825 h 689379"/>
                <a:gd name="connsiteX131" fmla="*/ 843104 w 3024845"/>
                <a:gd name="connsiteY131" fmla="*/ 226986 h 689379"/>
                <a:gd name="connsiteX132" fmla="*/ 843104 w 3024845"/>
                <a:gd name="connsiteY132" fmla="*/ 242119 h 689379"/>
                <a:gd name="connsiteX133" fmla="*/ 847157 w 3024845"/>
                <a:gd name="connsiteY133" fmla="*/ 240227 h 689379"/>
                <a:gd name="connsiteX134" fmla="*/ 847157 w 3024845"/>
                <a:gd name="connsiteY134" fmla="*/ 226986 h 689379"/>
                <a:gd name="connsiteX135" fmla="*/ 848170 w 3024845"/>
                <a:gd name="connsiteY135" fmla="*/ 226986 h 689379"/>
                <a:gd name="connsiteX136" fmla="*/ 855264 w 3024845"/>
                <a:gd name="connsiteY136" fmla="*/ 226986 h 689379"/>
                <a:gd name="connsiteX137" fmla="*/ 855264 w 3024845"/>
                <a:gd name="connsiteY137" fmla="*/ 228608 h 689379"/>
                <a:gd name="connsiteX138" fmla="*/ 855264 w 3024845"/>
                <a:gd name="connsiteY138" fmla="*/ 239957 h 689379"/>
                <a:gd name="connsiteX139" fmla="*/ 856024 w 3024845"/>
                <a:gd name="connsiteY139" fmla="*/ 239957 h 689379"/>
                <a:gd name="connsiteX140" fmla="*/ 861344 w 3024845"/>
                <a:gd name="connsiteY140" fmla="*/ 239957 h 689379"/>
                <a:gd name="connsiteX141" fmla="*/ 909984 w 3024845"/>
                <a:gd name="connsiteY141" fmla="*/ 235634 h 689379"/>
                <a:gd name="connsiteX142" fmla="*/ 909984 w 3024845"/>
                <a:gd name="connsiteY142" fmla="*/ 236985 h 689379"/>
                <a:gd name="connsiteX143" fmla="*/ 909984 w 3024845"/>
                <a:gd name="connsiteY143" fmla="*/ 246442 h 689379"/>
                <a:gd name="connsiteX144" fmla="*/ 910744 w 3024845"/>
                <a:gd name="connsiteY144" fmla="*/ 246442 h 689379"/>
                <a:gd name="connsiteX145" fmla="*/ 916065 w 3024845"/>
                <a:gd name="connsiteY145" fmla="*/ 246442 h 689379"/>
                <a:gd name="connsiteX146" fmla="*/ 916065 w 3024845"/>
                <a:gd name="connsiteY146" fmla="*/ 248604 h 689379"/>
                <a:gd name="connsiteX147" fmla="*/ 916065 w 3024845"/>
                <a:gd name="connsiteY147" fmla="*/ 263737 h 689379"/>
                <a:gd name="connsiteX148" fmla="*/ 918091 w 3024845"/>
                <a:gd name="connsiteY148" fmla="*/ 262386 h 689379"/>
                <a:gd name="connsiteX149" fmla="*/ 932278 w 3024845"/>
                <a:gd name="connsiteY149" fmla="*/ 252928 h 689379"/>
                <a:gd name="connsiteX150" fmla="*/ 938358 w 3024845"/>
                <a:gd name="connsiteY150" fmla="*/ 211854 h 689379"/>
                <a:gd name="connsiteX151" fmla="*/ 939118 w 3024845"/>
                <a:gd name="connsiteY151" fmla="*/ 211584 h 689379"/>
                <a:gd name="connsiteX152" fmla="*/ 944438 w 3024845"/>
                <a:gd name="connsiteY152" fmla="*/ 209692 h 689379"/>
                <a:gd name="connsiteX153" fmla="*/ 946465 w 3024845"/>
                <a:gd name="connsiteY153" fmla="*/ 140515 h 689379"/>
                <a:gd name="connsiteX154" fmla="*/ 948492 w 3024845"/>
                <a:gd name="connsiteY154" fmla="*/ 209692 h 689379"/>
                <a:gd name="connsiteX155" fmla="*/ 949252 w 3024845"/>
                <a:gd name="connsiteY155" fmla="*/ 209962 h 689379"/>
                <a:gd name="connsiteX156" fmla="*/ 954572 w 3024845"/>
                <a:gd name="connsiteY156" fmla="*/ 211854 h 689379"/>
                <a:gd name="connsiteX157" fmla="*/ 954572 w 3024845"/>
                <a:gd name="connsiteY157" fmla="*/ 125383 h 689379"/>
                <a:gd name="connsiteX158" fmla="*/ 958625 w 3024845"/>
                <a:gd name="connsiteY158" fmla="*/ 92956 h 689379"/>
                <a:gd name="connsiteX159" fmla="*/ 997132 w 3024845"/>
                <a:gd name="connsiteY159" fmla="*/ 92956 h 689379"/>
                <a:gd name="connsiteX160" fmla="*/ 997132 w 3024845"/>
                <a:gd name="connsiteY160" fmla="*/ 125383 h 689379"/>
                <a:gd name="connsiteX161" fmla="*/ 997892 w 3024845"/>
                <a:gd name="connsiteY161" fmla="*/ 125383 h 689379"/>
                <a:gd name="connsiteX162" fmla="*/ 1003212 w 3024845"/>
                <a:gd name="connsiteY162" fmla="*/ 125383 h 689379"/>
                <a:gd name="connsiteX163" fmla="*/ 1003212 w 3024845"/>
                <a:gd name="connsiteY163" fmla="*/ 43235 h 689379"/>
                <a:gd name="connsiteX164" fmla="*/ 1004986 w 3024845"/>
                <a:gd name="connsiteY164" fmla="*/ 43235 h 689379"/>
                <a:gd name="connsiteX165" fmla="*/ 1017399 w 3024845"/>
                <a:gd name="connsiteY165" fmla="*/ 43235 h 689379"/>
                <a:gd name="connsiteX166" fmla="*/ 1017399 w 3024845"/>
                <a:gd name="connsiteY166" fmla="*/ 41344 h 689379"/>
                <a:gd name="connsiteX167" fmla="*/ 1017399 w 3024845"/>
                <a:gd name="connsiteY167" fmla="*/ 28103 h 689379"/>
                <a:gd name="connsiteX168" fmla="*/ 1039693 w 3024845"/>
                <a:gd name="connsiteY168" fmla="*/ 28103 h 689379"/>
                <a:gd name="connsiteX169" fmla="*/ 1039693 w 3024845"/>
                <a:gd name="connsiteY169" fmla="*/ 27022 h 689379"/>
                <a:gd name="connsiteX170" fmla="*/ 1039693 w 3024845"/>
                <a:gd name="connsiteY170" fmla="*/ 19456 h 689379"/>
                <a:gd name="connsiteX171" fmla="*/ 1041466 w 3024845"/>
                <a:gd name="connsiteY171" fmla="*/ 19456 h 689379"/>
                <a:gd name="connsiteX172" fmla="*/ 1053880 w 3024845"/>
                <a:gd name="connsiteY172" fmla="*/ 19456 h 689379"/>
                <a:gd name="connsiteX173" fmla="*/ 1053880 w 3024845"/>
                <a:gd name="connsiteY173" fmla="*/ 20537 h 689379"/>
                <a:gd name="connsiteX174" fmla="*/ 1053880 w 3024845"/>
                <a:gd name="connsiteY174" fmla="*/ 28103 h 689379"/>
                <a:gd name="connsiteX175" fmla="*/ 1054640 w 3024845"/>
                <a:gd name="connsiteY175" fmla="*/ 28103 h 689379"/>
                <a:gd name="connsiteX176" fmla="*/ 1059960 w 3024845"/>
                <a:gd name="connsiteY176" fmla="*/ 28103 h 689379"/>
                <a:gd name="connsiteX177" fmla="*/ 1070093 w 3024845"/>
                <a:gd name="connsiteY177" fmla="*/ 23779 h 689379"/>
                <a:gd name="connsiteX178" fmla="*/ 1074146 w 3024845"/>
                <a:gd name="connsiteY178" fmla="*/ 27022 h 689379"/>
                <a:gd name="connsiteX179" fmla="*/ 1074146 w 3024845"/>
                <a:gd name="connsiteY179" fmla="*/ 19456 h 689379"/>
                <a:gd name="connsiteX180" fmla="*/ 1076426 w 3024845"/>
                <a:gd name="connsiteY180" fmla="*/ 19456 h 689379"/>
                <a:gd name="connsiteX181" fmla="*/ 1092387 w 3024845"/>
                <a:gd name="connsiteY181" fmla="*/ 19456 h 689379"/>
                <a:gd name="connsiteX182" fmla="*/ 1092387 w 3024845"/>
                <a:gd name="connsiteY182" fmla="*/ 20537 h 689379"/>
                <a:gd name="connsiteX183" fmla="*/ 1092387 w 3024845"/>
                <a:gd name="connsiteY183" fmla="*/ 28103 h 689379"/>
                <a:gd name="connsiteX184" fmla="*/ 1122787 w 3024845"/>
                <a:gd name="connsiteY184" fmla="*/ 28103 h 689379"/>
                <a:gd name="connsiteX185" fmla="*/ 1122787 w 3024845"/>
                <a:gd name="connsiteY185" fmla="*/ 29724 h 689379"/>
                <a:gd name="connsiteX186" fmla="*/ 1122787 w 3024845"/>
                <a:gd name="connsiteY186" fmla="*/ 41074 h 689379"/>
                <a:gd name="connsiteX187" fmla="*/ 1149134 w 3024845"/>
                <a:gd name="connsiteY187" fmla="*/ 41074 h 689379"/>
                <a:gd name="connsiteX188" fmla="*/ 1149134 w 3024845"/>
                <a:gd name="connsiteY188" fmla="*/ 71338 h 689379"/>
                <a:gd name="connsiteX189" fmla="*/ 1149894 w 3024845"/>
                <a:gd name="connsiteY189" fmla="*/ 71338 h 689379"/>
                <a:gd name="connsiteX190" fmla="*/ 1155214 w 3024845"/>
                <a:gd name="connsiteY190" fmla="*/ 71338 h 689379"/>
                <a:gd name="connsiteX191" fmla="*/ 1155214 w 3024845"/>
                <a:gd name="connsiteY191" fmla="*/ 72419 h 689379"/>
                <a:gd name="connsiteX192" fmla="*/ 1155214 w 3024845"/>
                <a:gd name="connsiteY192" fmla="*/ 79986 h 689379"/>
                <a:gd name="connsiteX193" fmla="*/ 1159268 w 3024845"/>
                <a:gd name="connsiteY193" fmla="*/ 110250 h 689379"/>
                <a:gd name="connsiteX194" fmla="*/ 1160028 w 3024845"/>
                <a:gd name="connsiteY194" fmla="*/ 110250 h 689379"/>
                <a:gd name="connsiteX195" fmla="*/ 1165348 w 3024845"/>
                <a:gd name="connsiteY195" fmla="*/ 110250 h 689379"/>
                <a:gd name="connsiteX196" fmla="*/ 1165348 w 3024845"/>
                <a:gd name="connsiteY196" fmla="*/ 111061 h 689379"/>
                <a:gd name="connsiteX197" fmla="*/ 1165348 w 3024845"/>
                <a:gd name="connsiteY197" fmla="*/ 116736 h 689379"/>
                <a:gd name="connsiteX198" fmla="*/ 1166361 w 3024845"/>
                <a:gd name="connsiteY198" fmla="*/ 116736 h 689379"/>
                <a:gd name="connsiteX199" fmla="*/ 1173454 w 3024845"/>
                <a:gd name="connsiteY199" fmla="*/ 116736 h 689379"/>
                <a:gd name="connsiteX200" fmla="*/ 1173454 w 3024845"/>
                <a:gd name="connsiteY200" fmla="*/ 147001 h 689379"/>
                <a:gd name="connsiteX201" fmla="*/ 1175481 w 3024845"/>
                <a:gd name="connsiteY201" fmla="*/ 147001 h 689379"/>
                <a:gd name="connsiteX202" fmla="*/ 1189668 w 3024845"/>
                <a:gd name="connsiteY202" fmla="*/ 147001 h 689379"/>
                <a:gd name="connsiteX203" fmla="*/ 1189668 w 3024845"/>
                <a:gd name="connsiteY203" fmla="*/ 170780 h 689379"/>
                <a:gd name="connsiteX204" fmla="*/ 1191695 w 3024845"/>
                <a:gd name="connsiteY204" fmla="*/ 172401 h 689379"/>
                <a:gd name="connsiteX205" fmla="*/ 1191695 w 3024845"/>
                <a:gd name="connsiteY205" fmla="*/ 183751 h 689379"/>
                <a:gd name="connsiteX206" fmla="*/ 1192455 w 3024845"/>
                <a:gd name="connsiteY206" fmla="*/ 183751 h 689379"/>
                <a:gd name="connsiteX207" fmla="*/ 1197775 w 3024845"/>
                <a:gd name="connsiteY207" fmla="*/ 183751 h 689379"/>
                <a:gd name="connsiteX208" fmla="*/ 1197775 w 3024845"/>
                <a:gd name="connsiteY208" fmla="*/ 207530 h 689379"/>
                <a:gd name="connsiteX209" fmla="*/ 1199041 w 3024845"/>
                <a:gd name="connsiteY209" fmla="*/ 207530 h 689379"/>
                <a:gd name="connsiteX210" fmla="*/ 1207908 w 3024845"/>
                <a:gd name="connsiteY210" fmla="*/ 207530 h 689379"/>
                <a:gd name="connsiteX211" fmla="*/ 1209935 w 3024845"/>
                <a:gd name="connsiteY211" fmla="*/ 211584 h 689379"/>
                <a:gd name="connsiteX212" fmla="*/ 1209935 w 3024845"/>
                <a:gd name="connsiteY212" fmla="*/ 224825 h 689379"/>
                <a:gd name="connsiteX213" fmla="*/ 1211455 w 3024845"/>
                <a:gd name="connsiteY213" fmla="*/ 222933 h 689379"/>
                <a:gd name="connsiteX214" fmla="*/ 1222095 w 3024845"/>
                <a:gd name="connsiteY214" fmla="*/ 209692 h 689379"/>
                <a:gd name="connsiteX215" fmla="*/ 1250469 w 3024845"/>
                <a:gd name="connsiteY215" fmla="*/ 209692 h 689379"/>
                <a:gd name="connsiteX216" fmla="*/ 1250469 w 3024845"/>
                <a:gd name="connsiteY216" fmla="*/ 296163 h 689379"/>
                <a:gd name="connsiteX217" fmla="*/ 1251229 w 3024845"/>
                <a:gd name="connsiteY217" fmla="*/ 296163 h 689379"/>
                <a:gd name="connsiteX218" fmla="*/ 1256549 w 3024845"/>
                <a:gd name="connsiteY218" fmla="*/ 296163 h 689379"/>
                <a:gd name="connsiteX219" fmla="*/ 1257309 w 3024845"/>
                <a:gd name="connsiteY219" fmla="*/ 294812 h 689379"/>
                <a:gd name="connsiteX220" fmla="*/ 1262629 w 3024845"/>
                <a:gd name="connsiteY220" fmla="*/ 285354 h 689379"/>
                <a:gd name="connsiteX221" fmla="*/ 1262629 w 3024845"/>
                <a:gd name="connsiteY221" fmla="*/ 287246 h 689379"/>
                <a:gd name="connsiteX222" fmla="*/ 1262629 w 3024845"/>
                <a:gd name="connsiteY222" fmla="*/ 300487 h 689379"/>
                <a:gd name="connsiteX223" fmla="*/ 1266682 w 3024845"/>
                <a:gd name="connsiteY223" fmla="*/ 255090 h 689379"/>
                <a:gd name="connsiteX224" fmla="*/ 1267442 w 3024845"/>
                <a:gd name="connsiteY224" fmla="*/ 255090 h 689379"/>
                <a:gd name="connsiteX225" fmla="*/ 1272762 w 3024845"/>
                <a:gd name="connsiteY225" fmla="*/ 255090 h 689379"/>
                <a:gd name="connsiteX226" fmla="*/ 1272762 w 3024845"/>
                <a:gd name="connsiteY226" fmla="*/ 190236 h 689379"/>
                <a:gd name="connsiteX227" fmla="*/ 1273776 w 3024845"/>
                <a:gd name="connsiteY227" fmla="*/ 190236 h 689379"/>
                <a:gd name="connsiteX228" fmla="*/ 1280869 w 3024845"/>
                <a:gd name="connsiteY228" fmla="*/ 190236 h 689379"/>
                <a:gd name="connsiteX229" fmla="*/ 1293029 w 3024845"/>
                <a:gd name="connsiteY229" fmla="*/ 147001 h 689379"/>
                <a:gd name="connsiteX230" fmla="*/ 1294296 w 3024845"/>
                <a:gd name="connsiteY230" fmla="*/ 147001 h 689379"/>
                <a:gd name="connsiteX231" fmla="*/ 1303163 w 3024845"/>
                <a:gd name="connsiteY231" fmla="*/ 147001 h 689379"/>
                <a:gd name="connsiteX232" fmla="*/ 1313296 w 3024845"/>
                <a:gd name="connsiteY232" fmla="*/ 190236 h 689379"/>
                <a:gd name="connsiteX233" fmla="*/ 1314309 w 3024845"/>
                <a:gd name="connsiteY233" fmla="*/ 190236 h 689379"/>
                <a:gd name="connsiteX234" fmla="*/ 1321403 w 3024845"/>
                <a:gd name="connsiteY234" fmla="*/ 190236 h 689379"/>
                <a:gd name="connsiteX235" fmla="*/ 1321403 w 3024845"/>
                <a:gd name="connsiteY235" fmla="*/ 229148 h 689379"/>
                <a:gd name="connsiteX236" fmla="*/ 1323176 w 3024845"/>
                <a:gd name="connsiteY236" fmla="*/ 229148 h 689379"/>
                <a:gd name="connsiteX237" fmla="*/ 1335590 w 3024845"/>
                <a:gd name="connsiteY237" fmla="*/ 229148 h 689379"/>
                <a:gd name="connsiteX238" fmla="*/ 1335590 w 3024845"/>
                <a:gd name="connsiteY238" fmla="*/ 231310 h 689379"/>
                <a:gd name="connsiteX239" fmla="*/ 1335590 w 3024845"/>
                <a:gd name="connsiteY239" fmla="*/ 246442 h 689379"/>
                <a:gd name="connsiteX240" fmla="*/ 1339643 w 3024845"/>
                <a:gd name="connsiteY240" fmla="*/ 244281 h 689379"/>
                <a:gd name="connsiteX241" fmla="*/ 1339643 w 3024845"/>
                <a:gd name="connsiteY241" fmla="*/ 229148 h 689379"/>
                <a:gd name="connsiteX242" fmla="*/ 1341163 w 3024845"/>
                <a:gd name="connsiteY242" fmla="*/ 229148 h 689379"/>
                <a:gd name="connsiteX243" fmla="*/ 1351803 w 3024845"/>
                <a:gd name="connsiteY243" fmla="*/ 229148 h 689379"/>
                <a:gd name="connsiteX244" fmla="*/ 1351803 w 3024845"/>
                <a:gd name="connsiteY244" fmla="*/ 230769 h 689379"/>
                <a:gd name="connsiteX245" fmla="*/ 1351803 w 3024845"/>
                <a:gd name="connsiteY245" fmla="*/ 242119 h 689379"/>
                <a:gd name="connsiteX246" fmla="*/ 1382204 w 3024845"/>
                <a:gd name="connsiteY246" fmla="*/ 242119 h 689379"/>
                <a:gd name="connsiteX247" fmla="*/ 1382204 w 3024845"/>
                <a:gd name="connsiteY247" fmla="*/ 205369 h 689379"/>
                <a:gd name="connsiteX248" fmla="*/ 1383470 w 3024845"/>
                <a:gd name="connsiteY248" fmla="*/ 205369 h 689379"/>
                <a:gd name="connsiteX249" fmla="*/ 1392337 w 3024845"/>
                <a:gd name="connsiteY249" fmla="*/ 205369 h 689379"/>
                <a:gd name="connsiteX250" fmla="*/ 1392337 w 3024845"/>
                <a:gd name="connsiteY250" fmla="*/ 226986 h 689379"/>
                <a:gd name="connsiteX251" fmla="*/ 1394364 w 3024845"/>
                <a:gd name="connsiteY251" fmla="*/ 194560 h 689379"/>
                <a:gd name="connsiteX252" fmla="*/ 1416657 w 3024845"/>
                <a:gd name="connsiteY252" fmla="*/ 194560 h 689379"/>
                <a:gd name="connsiteX253" fmla="*/ 1416657 w 3024845"/>
                <a:gd name="connsiteY253" fmla="*/ 192938 h 689379"/>
                <a:gd name="connsiteX254" fmla="*/ 1416657 w 3024845"/>
                <a:gd name="connsiteY254" fmla="*/ 181589 h 689379"/>
                <a:gd name="connsiteX255" fmla="*/ 1417417 w 3024845"/>
                <a:gd name="connsiteY255" fmla="*/ 181589 h 689379"/>
                <a:gd name="connsiteX256" fmla="*/ 1422737 w 3024845"/>
                <a:gd name="connsiteY256" fmla="*/ 181589 h 689379"/>
                <a:gd name="connsiteX257" fmla="*/ 1422737 w 3024845"/>
                <a:gd name="connsiteY257" fmla="*/ 179698 h 689379"/>
                <a:gd name="connsiteX258" fmla="*/ 1422737 w 3024845"/>
                <a:gd name="connsiteY258" fmla="*/ 166457 h 689379"/>
                <a:gd name="connsiteX259" fmla="*/ 1426791 w 3024845"/>
                <a:gd name="connsiteY259" fmla="*/ 172942 h 689379"/>
                <a:gd name="connsiteX260" fmla="*/ 1429071 w 3024845"/>
                <a:gd name="connsiteY260" fmla="*/ 172942 h 689379"/>
                <a:gd name="connsiteX261" fmla="*/ 1445031 w 3024845"/>
                <a:gd name="connsiteY261" fmla="*/ 172942 h 689379"/>
                <a:gd name="connsiteX262" fmla="*/ 1445031 w 3024845"/>
                <a:gd name="connsiteY262" fmla="*/ 172131 h 689379"/>
                <a:gd name="connsiteX263" fmla="*/ 1445031 w 3024845"/>
                <a:gd name="connsiteY263" fmla="*/ 166457 h 689379"/>
                <a:gd name="connsiteX264" fmla="*/ 1445791 w 3024845"/>
                <a:gd name="connsiteY264" fmla="*/ 166457 h 689379"/>
                <a:gd name="connsiteX265" fmla="*/ 1451111 w 3024845"/>
                <a:gd name="connsiteY265" fmla="*/ 166457 h 689379"/>
                <a:gd name="connsiteX266" fmla="*/ 1451111 w 3024845"/>
                <a:gd name="connsiteY266" fmla="*/ 167808 h 689379"/>
                <a:gd name="connsiteX267" fmla="*/ 1451111 w 3024845"/>
                <a:gd name="connsiteY267" fmla="*/ 177266 h 689379"/>
                <a:gd name="connsiteX268" fmla="*/ 1489618 w 3024845"/>
                <a:gd name="connsiteY268" fmla="*/ 177266 h 689379"/>
                <a:gd name="connsiteX269" fmla="*/ 1489618 w 3024845"/>
                <a:gd name="connsiteY269" fmla="*/ 315619 h 689379"/>
                <a:gd name="connsiteX270" fmla="*/ 1491138 w 3024845"/>
                <a:gd name="connsiteY270" fmla="*/ 315619 h 689379"/>
                <a:gd name="connsiteX271" fmla="*/ 1501778 w 3024845"/>
                <a:gd name="connsiteY271" fmla="*/ 315619 h 689379"/>
                <a:gd name="connsiteX272" fmla="*/ 1501778 w 3024845"/>
                <a:gd name="connsiteY272" fmla="*/ 302649 h 689379"/>
                <a:gd name="connsiteX273" fmla="*/ 1505832 w 3024845"/>
                <a:gd name="connsiteY273" fmla="*/ 302649 h 689379"/>
                <a:gd name="connsiteX274" fmla="*/ 1505832 w 3024845"/>
                <a:gd name="connsiteY274" fmla="*/ 315619 h 689379"/>
                <a:gd name="connsiteX275" fmla="*/ 1536232 w 3024845"/>
                <a:gd name="connsiteY275" fmla="*/ 315619 h 689379"/>
                <a:gd name="connsiteX276" fmla="*/ 1536232 w 3024845"/>
                <a:gd name="connsiteY276" fmla="*/ 285354 h 689379"/>
                <a:gd name="connsiteX277" fmla="*/ 1548392 w 3024845"/>
                <a:gd name="connsiteY277" fmla="*/ 285354 h 689379"/>
                <a:gd name="connsiteX278" fmla="*/ 1560552 w 3024845"/>
                <a:gd name="connsiteY278" fmla="*/ 283193 h 689379"/>
                <a:gd name="connsiteX279" fmla="*/ 1564606 w 3024845"/>
                <a:gd name="connsiteY279" fmla="*/ 285354 h 689379"/>
                <a:gd name="connsiteX280" fmla="*/ 1574739 w 3024845"/>
                <a:gd name="connsiteY280" fmla="*/ 285354 h 689379"/>
                <a:gd name="connsiteX281" fmla="*/ 1574739 w 3024845"/>
                <a:gd name="connsiteY281" fmla="*/ 315619 h 689379"/>
                <a:gd name="connsiteX282" fmla="*/ 1582846 w 3024845"/>
                <a:gd name="connsiteY282" fmla="*/ 315619 h 689379"/>
                <a:gd name="connsiteX283" fmla="*/ 1582846 w 3024845"/>
                <a:gd name="connsiteY283" fmla="*/ 332914 h 689379"/>
                <a:gd name="connsiteX284" fmla="*/ 1592182 w 3024845"/>
                <a:gd name="connsiteY284" fmla="*/ 333819 h 689379"/>
                <a:gd name="connsiteX285" fmla="*/ 1605140 w 3024845"/>
                <a:gd name="connsiteY285" fmla="*/ 333819 h 689379"/>
                <a:gd name="connsiteX286" fmla="*/ 1605140 w 3024845"/>
                <a:gd name="connsiteY286" fmla="*/ 317781 h 689379"/>
                <a:gd name="connsiteX287" fmla="*/ 1673096 w 3024845"/>
                <a:gd name="connsiteY287" fmla="*/ 317781 h 689379"/>
                <a:gd name="connsiteX288" fmla="*/ 1673096 w 3024845"/>
                <a:gd name="connsiteY288" fmla="*/ 232528 h 689379"/>
                <a:gd name="connsiteX289" fmla="*/ 1745104 w 3024845"/>
                <a:gd name="connsiteY289" fmla="*/ 232528 h 689379"/>
                <a:gd name="connsiteX290" fmla="*/ 1745104 w 3024845"/>
                <a:gd name="connsiteY290" fmla="*/ 311296 h 689379"/>
                <a:gd name="connsiteX291" fmla="*/ 1747008 w 3024845"/>
                <a:gd name="connsiteY291" fmla="*/ 311296 h 689379"/>
                <a:gd name="connsiteX292" fmla="*/ 1748250 w 3024845"/>
                <a:gd name="connsiteY292" fmla="*/ 333819 h 689379"/>
                <a:gd name="connsiteX293" fmla="*/ 1757926 w 3024845"/>
                <a:gd name="connsiteY293" fmla="*/ 333819 h 689379"/>
                <a:gd name="connsiteX294" fmla="*/ 1759168 w 3024845"/>
                <a:gd name="connsiteY294" fmla="*/ 311296 h 689379"/>
                <a:gd name="connsiteX295" fmla="*/ 1765248 w 3024845"/>
                <a:gd name="connsiteY295" fmla="*/ 311296 h 689379"/>
                <a:gd name="connsiteX296" fmla="*/ 1766490 w 3024845"/>
                <a:gd name="connsiteY296" fmla="*/ 333819 h 689379"/>
                <a:gd name="connsiteX297" fmla="*/ 1817112 w 3024845"/>
                <a:gd name="connsiteY297" fmla="*/ 333819 h 689379"/>
                <a:gd name="connsiteX298" fmla="*/ 1817112 w 3024845"/>
                <a:gd name="connsiteY298" fmla="*/ 170791 h 689379"/>
                <a:gd name="connsiteX299" fmla="*/ 2014439 w 3024845"/>
                <a:gd name="connsiteY299" fmla="*/ 170791 h 689379"/>
                <a:gd name="connsiteX300" fmla="*/ 2014439 w 3024845"/>
                <a:gd name="connsiteY300" fmla="*/ 333819 h 689379"/>
                <a:gd name="connsiteX301" fmla="*/ 2033136 w 3024845"/>
                <a:gd name="connsiteY301" fmla="*/ 333819 h 689379"/>
                <a:gd name="connsiteX302" fmla="*/ 2033136 w 3024845"/>
                <a:gd name="connsiteY302" fmla="*/ 251126 h 689379"/>
                <a:gd name="connsiteX303" fmla="*/ 2128256 w 3024845"/>
                <a:gd name="connsiteY303" fmla="*/ 251126 h 689379"/>
                <a:gd name="connsiteX304" fmla="*/ 2180720 w 3024845"/>
                <a:gd name="connsiteY304" fmla="*/ 185913 h 689379"/>
                <a:gd name="connsiteX305" fmla="*/ 2245574 w 3024845"/>
                <a:gd name="connsiteY305" fmla="*/ 185913 h 689379"/>
                <a:gd name="connsiteX306" fmla="*/ 2245574 w 3024845"/>
                <a:gd name="connsiteY306" fmla="*/ 261575 h 689379"/>
                <a:gd name="connsiteX307" fmla="*/ 2253681 w 3024845"/>
                <a:gd name="connsiteY307" fmla="*/ 261575 h 689379"/>
                <a:gd name="connsiteX308" fmla="*/ 2255708 w 3024845"/>
                <a:gd name="connsiteY308" fmla="*/ 255090 h 689379"/>
                <a:gd name="connsiteX309" fmla="*/ 2261788 w 3024845"/>
                <a:gd name="connsiteY309" fmla="*/ 255090 h 689379"/>
                <a:gd name="connsiteX310" fmla="*/ 2263815 w 3024845"/>
                <a:gd name="connsiteY310" fmla="*/ 263737 h 689379"/>
                <a:gd name="connsiteX311" fmla="*/ 2275975 w 3024845"/>
                <a:gd name="connsiteY311" fmla="*/ 263737 h 689379"/>
                <a:gd name="connsiteX312" fmla="*/ 2275975 w 3024845"/>
                <a:gd name="connsiteY312" fmla="*/ 257251 h 689379"/>
                <a:gd name="connsiteX313" fmla="*/ 2298268 w 3024845"/>
                <a:gd name="connsiteY313" fmla="*/ 257251 h 689379"/>
                <a:gd name="connsiteX314" fmla="*/ 2298268 w 3024845"/>
                <a:gd name="connsiteY314" fmla="*/ 263737 h 689379"/>
                <a:gd name="connsiteX315" fmla="*/ 2318535 w 3024845"/>
                <a:gd name="connsiteY315" fmla="*/ 263737 h 689379"/>
                <a:gd name="connsiteX316" fmla="*/ 2318535 w 3024845"/>
                <a:gd name="connsiteY316" fmla="*/ 309134 h 689379"/>
                <a:gd name="connsiteX317" fmla="*/ 2332722 w 3024845"/>
                <a:gd name="connsiteY317" fmla="*/ 309134 h 689379"/>
                <a:gd name="connsiteX318" fmla="*/ 2332722 w 3024845"/>
                <a:gd name="connsiteY318" fmla="*/ 296163 h 689379"/>
                <a:gd name="connsiteX319" fmla="*/ 2348936 w 3024845"/>
                <a:gd name="connsiteY319" fmla="*/ 296163 h 689379"/>
                <a:gd name="connsiteX320" fmla="*/ 2348936 w 3024845"/>
                <a:gd name="connsiteY320" fmla="*/ 116736 h 689379"/>
                <a:gd name="connsiteX321" fmla="*/ 2355016 w 3024845"/>
                <a:gd name="connsiteY321" fmla="*/ 110250 h 689379"/>
                <a:gd name="connsiteX322" fmla="*/ 2427977 w 3024845"/>
                <a:gd name="connsiteY322" fmla="*/ 110250 h 689379"/>
                <a:gd name="connsiteX323" fmla="*/ 2427977 w 3024845"/>
                <a:gd name="connsiteY323" fmla="*/ 118898 h 689379"/>
                <a:gd name="connsiteX324" fmla="*/ 2438110 w 3024845"/>
                <a:gd name="connsiteY324" fmla="*/ 118898 h 689379"/>
                <a:gd name="connsiteX325" fmla="*/ 2438110 w 3024845"/>
                <a:gd name="connsiteY325" fmla="*/ 233472 h 689379"/>
                <a:gd name="connsiteX326" fmla="*/ 2460404 w 3024845"/>
                <a:gd name="connsiteY326" fmla="*/ 233472 h 689379"/>
                <a:gd name="connsiteX327" fmla="*/ 2460404 w 3024845"/>
                <a:gd name="connsiteY327" fmla="*/ 166457 h 689379"/>
                <a:gd name="connsiteX328" fmla="*/ 2486751 w 3024845"/>
                <a:gd name="connsiteY328" fmla="*/ 166457 h 689379"/>
                <a:gd name="connsiteX329" fmla="*/ 2490804 w 3024845"/>
                <a:gd name="connsiteY329" fmla="*/ 162133 h 689379"/>
                <a:gd name="connsiteX330" fmla="*/ 2498911 w 3024845"/>
                <a:gd name="connsiteY330" fmla="*/ 162133 h 689379"/>
                <a:gd name="connsiteX331" fmla="*/ 2502964 w 3024845"/>
                <a:gd name="connsiteY331" fmla="*/ 166457 h 689379"/>
                <a:gd name="connsiteX332" fmla="*/ 2525258 w 3024845"/>
                <a:gd name="connsiteY332" fmla="*/ 166457 h 689379"/>
                <a:gd name="connsiteX333" fmla="*/ 2525258 w 3024845"/>
                <a:gd name="connsiteY333" fmla="*/ 49721 h 689379"/>
                <a:gd name="connsiteX334" fmla="*/ 2582005 w 3024845"/>
                <a:gd name="connsiteY334" fmla="*/ 38912 h 689379"/>
                <a:gd name="connsiteX335" fmla="*/ 2582005 w 3024845"/>
                <a:gd name="connsiteY335" fmla="*/ 39993 h 689379"/>
                <a:gd name="connsiteX336" fmla="*/ 2582005 w 3024845"/>
                <a:gd name="connsiteY336" fmla="*/ 47559 h 689379"/>
                <a:gd name="connsiteX337" fmla="*/ 2608352 w 3024845"/>
                <a:gd name="connsiteY337" fmla="*/ 47559 h 689379"/>
                <a:gd name="connsiteX338" fmla="*/ 2608352 w 3024845"/>
                <a:gd name="connsiteY338" fmla="*/ 302649 h 689379"/>
                <a:gd name="connsiteX339" fmla="*/ 2630646 w 3024845"/>
                <a:gd name="connsiteY339" fmla="*/ 302649 h 689379"/>
                <a:gd name="connsiteX340" fmla="*/ 2630646 w 3024845"/>
                <a:gd name="connsiteY340" fmla="*/ 298325 h 689379"/>
                <a:gd name="connsiteX341" fmla="*/ 2642806 w 3024845"/>
                <a:gd name="connsiteY341" fmla="*/ 298325 h 689379"/>
                <a:gd name="connsiteX342" fmla="*/ 2642806 w 3024845"/>
                <a:gd name="connsiteY342" fmla="*/ 302649 h 689379"/>
                <a:gd name="connsiteX343" fmla="*/ 2667126 w 3024845"/>
                <a:gd name="connsiteY343" fmla="*/ 302649 h 689379"/>
                <a:gd name="connsiteX344" fmla="*/ 2667126 w 3024845"/>
                <a:gd name="connsiteY344" fmla="*/ 289678 h 689379"/>
                <a:gd name="connsiteX345" fmla="*/ 2695500 w 3024845"/>
                <a:gd name="connsiteY345" fmla="*/ 289678 h 689379"/>
                <a:gd name="connsiteX346" fmla="*/ 2707660 w 3024845"/>
                <a:gd name="connsiteY346" fmla="*/ 285354 h 689379"/>
                <a:gd name="connsiteX347" fmla="*/ 2727927 w 3024845"/>
                <a:gd name="connsiteY347" fmla="*/ 289678 h 689379"/>
                <a:gd name="connsiteX348" fmla="*/ 2727927 w 3024845"/>
                <a:gd name="connsiteY348" fmla="*/ 272384 h 689379"/>
                <a:gd name="connsiteX349" fmla="*/ 2736034 w 3024845"/>
                <a:gd name="connsiteY349" fmla="*/ 272384 h 689379"/>
                <a:gd name="connsiteX350" fmla="*/ 2736034 w 3024845"/>
                <a:gd name="connsiteY350" fmla="*/ 259413 h 689379"/>
                <a:gd name="connsiteX351" fmla="*/ 2792781 w 3024845"/>
                <a:gd name="connsiteY351" fmla="*/ 259413 h 689379"/>
                <a:gd name="connsiteX352" fmla="*/ 2792781 w 3024845"/>
                <a:gd name="connsiteY352" fmla="*/ 229148 h 689379"/>
                <a:gd name="connsiteX353" fmla="*/ 2811021 w 3024845"/>
                <a:gd name="connsiteY353" fmla="*/ 229148 h 689379"/>
                <a:gd name="connsiteX354" fmla="*/ 2811021 w 3024845"/>
                <a:gd name="connsiteY354" fmla="*/ 222663 h 689379"/>
                <a:gd name="connsiteX355" fmla="*/ 2823181 w 3024845"/>
                <a:gd name="connsiteY355" fmla="*/ 222663 h 689379"/>
                <a:gd name="connsiteX356" fmla="*/ 2823181 w 3024845"/>
                <a:gd name="connsiteY356" fmla="*/ 229148 h 689379"/>
                <a:gd name="connsiteX357" fmla="*/ 2839395 w 3024845"/>
                <a:gd name="connsiteY357" fmla="*/ 229148 h 689379"/>
                <a:gd name="connsiteX358" fmla="*/ 2839395 w 3024845"/>
                <a:gd name="connsiteY358" fmla="*/ 278869 h 689379"/>
                <a:gd name="connsiteX359" fmla="*/ 2871822 w 3024845"/>
                <a:gd name="connsiteY359" fmla="*/ 278869 h 689379"/>
                <a:gd name="connsiteX360" fmla="*/ 2871822 w 3024845"/>
                <a:gd name="connsiteY360" fmla="*/ 252928 h 689379"/>
                <a:gd name="connsiteX361" fmla="*/ 2910329 w 3024845"/>
                <a:gd name="connsiteY361" fmla="*/ 252928 h 689379"/>
                <a:gd name="connsiteX362" fmla="*/ 2910329 w 3024845"/>
                <a:gd name="connsiteY362" fmla="*/ 222663 h 689379"/>
                <a:gd name="connsiteX363" fmla="*/ 2958970 w 3024845"/>
                <a:gd name="connsiteY363" fmla="*/ 222663 h 689379"/>
                <a:gd name="connsiteX364" fmla="*/ 2958970 w 3024845"/>
                <a:gd name="connsiteY364" fmla="*/ 333819 h 689379"/>
                <a:gd name="connsiteX365" fmla="*/ 3024845 w 3024845"/>
                <a:gd name="connsiteY365" fmla="*/ 689379 h 689379"/>
                <a:gd name="connsiteX366" fmla="*/ 2054 w 3024845"/>
                <a:gd name="connsiteY366" fmla="*/ 687046 h 689379"/>
                <a:gd name="connsiteX367" fmla="*/ 0 w 3024845"/>
                <a:gd name="connsiteY367" fmla="*/ 252928 h 689379"/>
                <a:gd name="connsiteX368" fmla="*/ 20267 w 3024845"/>
                <a:gd name="connsiteY368" fmla="*/ 252928 h 689379"/>
                <a:gd name="connsiteX369" fmla="*/ 20774 w 3024845"/>
                <a:gd name="connsiteY369" fmla="*/ 251847 h 689379"/>
                <a:gd name="connsiteX370" fmla="*/ 24320 w 3024845"/>
                <a:gd name="connsiteY370" fmla="*/ 244281 h 689379"/>
                <a:gd name="connsiteX371" fmla="*/ 26094 w 3024845"/>
                <a:gd name="connsiteY371" fmla="*/ 244551 h 689379"/>
                <a:gd name="connsiteX372" fmla="*/ 38507 w 3024845"/>
                <a:gd name="connsiteY372" fmla="*/ 246442 h 689379"/>
                <a:gd name="connsiteX373" fmla="*/ 39014 w 3024845"/>
                <a:gd name="connsiteY373" fmla="*/ 247794 h 689379"/>
                <a:gd name="connsiteX374" fmla="*/ 42560 w 3024845"/>
                <a:gd name="connsiteY374" fmla="*/ 257251 h 689379"/>
                <a:gd name="connsiteX375" fmla="*/ 68907 w 3024845"/>
                <a:gd name="connsiteY375" fmla="*/ 259413 h 689379"/>
                <a:gd name="connsiteX376" fmla="*/ 68907 w 3024845"/>
                <a:gd name="connsiteY376" fmla="*/ 136192 h 689379"/>
                <a:gd name="connsiteX377" fmla="*/ 70934 w 3024845"/>
                <a:gd name="connsiteY377" fmla="*/ 136192 h 689379"/>
                <a:gd name="connsiteX378" fmla="*/ 85121 w 3024845"/>
                <a:gd name="connsiteY378" fmla="*/ 136192 h 689379"/>
                <a:gd name="connsiteX379" fmla="*/ 85121 w 3024845"/>
                <a:gd name="connsiteY379" fmla="*/ 0 h 689379"/>
                <a:gd name="connsiteX380" fmla="*/ 86894 w 3024845"/>
                <a:gd name="connsiteY380" fmla="*/ 0 h 689379"/>
                <a:gd name="connsiteX381" fmla="*/ 99308 w 3024845"/>
                <a:gd name="connsiteY381" fmla="*/ 0 h 689379"/>
                <a:gd name="connsiteX0" fmla="*/ 99308 w 3024845"/>
                <a:gd name="connsiteY0" fmla="*/ 0 h 689379"/>
                <a:gd name="connsiteX1" fmla="*/ 220909 w 3024845"/>
                <a:gd name="connsiteY1" fmla="*/ 0 h 689379"/>
                <a:gd name="connsiteX2" fmla="*/ 223189 w 3024845"/>
                <a:gd name="connsiteY2" fmla="*/ 0 h 689379"/>
                <a:gd name="connsiteX3" fmla="*/ 239150 w 3024845"/>
                <a:gd name="connsiteY3" fmla="*/ 0 h 689379"/>
                <a:gd name="connsiteX4" fmla="*/ 239150 w 3024845"/>
                <a:gd name="connsiteY4" fmla="*/ 140515 h 689379"/>
                <a:gd name="connsiteX5" fmla="*/ 240670 w 3024845"/>
                <a:gd name="connsiteY5" fmla="*/ 140245 h 689379"/>
                <a:gd name="connsiteX6" fmla="*/ 251310 w 3024845"/>
                <a:gd name="connsiteY6" fmla="*/ 138354 h 689379"/>
                <a:gd name="connsiteX7" fmla="*/ 249283 w 3024845"/>
                <a:gd name="connsiteY7" fmla="*/ 226986 h 689379"/>
                <a:gd name="connsiteX8" fmla="*/ 250803 w 3024845"/>
                <a:gd name="connsiteY8" fmla="*/ 227257 h 689379"/>
                <a:gd name="connsiteX9" fmla="*/ 261443 w 3024845"/>
                <a:gd name="connsiteY9" fmla="*/ 229148 h 689379"/>
                <a:gd name="connsiteX10" fmla="*/ 261696 w 3024845"/>
                <a:gd name="connsiteY10" fmla="*/ 229959 h 689379"/>
                <a:gd name="connsiteX11" fmla="*/ 263470 w 3024845"/>
                <a:gd name="connsiteY11" fmla="*/ 235634 h 689379"/>
                <a:gd name="connsiteX12" fmla="*/ 264230 w 3024845"/>
                <a:gd name="connsiteY12" fmla="*/ 233202 h 689379"/>
                <a:gd name="connsiteX13" fmla="*/ 269550 w 3024845"/>
                <a:gd name="connsiteY13" fmla="*/ 216178 h 689379"/>
                <a:gd name="connsiteX14" fmla="*/ 271323 w 3024845"/>
                <a:gd name="connsiteY14" fmla="*/ 216178 h 689379"/>
                <a:gd name="connsiteX15" fmla="*/ 283737 w 3024845"/>
                <a:gd name="connsiteY15" fmla="*/ 216178 h 689379"/>
                <a:gd name="connsiteX16" fmla="*/ 283737 w 3024845"/>
                <a:gd name="connsiteY16" fmla="*/ 248604 h 689379"/>
                <a:gd name="connsiteX17" fmla="*/ 284750 w 3024845"/>
                <a:gd name="connsiteY17" fmla="*/ 249145 h 689379"/>
                <a:gd name="connsiteX18" fmla="*/ 291844 w 3024845"/>
                <a:gd name="connsiteY18" fmla="*/ 252928 h 689379"/>
                <a:gd name="connsiteX19" fmla="*/ 291844 w 3024845"/>
                <a:gd name="connsiteY19" fmla="*/ 254279 h 689379"/>
                <a:gd name="connsiteX20" fmla="*/ 291844 w 3024845"/>
                <a:gd name="connsiteY20" fmla="*/ 263737 h 689379"/>
                <a:gd name="connsiteX21" fmla="*/ 336431 w 3024845"/>
                <a:gd name="connsiteY21" fmla="*/ 263737 h 689379"/>
                <a:gd name="connsiteX22" fmla="*/ 336431 w 3024845"/>
                <a:gd name="connsiteY22" fmla="*/ 264818 h 689379"/>
                <a:gd name="connsiteX23" fmla="*/ 336431 w 3024845"/>
                <a:gd name="connsiteY23" fmla="*/ 272384 h 689379"/>
                <a:gd name="connsiteX24" fmla="*/ 338457 w 3024845"/>
                <a:gd name="connsiteY24" fmla="*/ 272384 h 689379"/>
                <a:gd name="connsiteX25" fmla="*/ 352644 w 3024845"/>
                <a:gd name="connsiteY25" fmla="*/ 272384 h 689379"/>
                <a:gd name="connsiteX26" fmla="*/ 352644 w 3024845"/>
                <a:gd name="connsiteY26" fmla="*/ 242119 h 689379"/>
                <a:gd name="connsiteX27" fmla="*/ 397231 w 3024845"/>
                <a:gd name="connsiteY27" fmla="*/ 242119 h 689379"/>
                <a:gd name="connsiteX28" fmla="*/ 397231 w 3024845"/>
                <a:gd name="connsiteY28" fmla="*/ 240768 h 689379"/>
                <a:gd name="connsiteX29" fmla="*/ 397231 w 3024845"/>
                <a:gd name="connsiteY29" fmla="*/ 231310 h 689379"/>
                <a:gd name="connsiteX30" fmla="*/ 398245 w 3024845"/>
                <a:gd name="connsiteY30" fmla="*/ 231310 h 689379"/>
                <a:gd name="connsiteX31" fmla="*/ 405338 w 3024845"/>
                <a:gd name="connsiteY31" fmla="*/ 231310 h 689379"/>
                <a:gd name="connsiteX32" fmla="*/ 405338 w 3024845"/>
                <a:gd name="connsiteY32" fmla="*/ 229419 h 689379"/>
                <a:gd name="connsiteX33" fmla="*/ 405338 w 3024845"/>
                <a:gd name="connsiteY33" fmla="*/ 216178 h 689379"/>
                <a:gd name="connsiteX34" fmla="*/ 406098 w 3024845"/>
                <a:gd name="connsiteY34" fmla="*/ 216178 h 689379"/>
                <a:gd name="connsiteX35" fmla="*/ 411418 w 3024845"/>
                <a:gd name="connsiteY35" fmla="*/ 216178 h 689379"/>
                <a:gd name="connsiteX36" fmla="*/ 411418 w 3024845"/>
                <a:gd name="connsiteY36" fmla="*/ 215097 h 689379"/>
                <a:gd name="connsiteX37" fmla="*/ 411418 w 3024845"/>
                <a:gd name="connsiteY37" fmla="*/ 207530 h 689379"/>
                <a:gd name="connsiteX38" fmla="*/ 413445 w 3024845"/>
                <a:gd name="connsiteY38" fmla="*/ 207530 h 689379"/>
                <a:gd name="connsiteX39" fmla="*/ 427632 w 3024845"/>
                <a:gd name="connsiteY39" fmla="*/ 207530 h 689379"/>
                <a:gd name="connsiteX40" fmla="*/ 427632 w 3024845"/>
                <a:gd name="connsiteY40" fmla="*/ 208611 h 689379"/>
                <a:gd name="connsiteX41" fmla="*/ 427632 w 3024845"/>
                <a:gd name="connsiteY41" fmla="*/ 216178 h 689379"/>
                <a:gd name="connsiteX42" fmla="*/ 449925 w 3024845"/>
                <a:gd name="connsiteY42" fmla="*/ 216178 h 689379"/>
                <a:gd name="connsiteX43" fmla="*/ 449925 w 3024845"/>
                <a:gd name="connsiteY43" fmla="*/ 214286 h 689379"/>
                <a:gd name="connsiteX44" fmla="*/ 449925 w 3024845"/>
                <a:gd name="connsiteY44" fmla="*/ 201045 h 689379"/>
                <a:gd name="connsiteX45" fmla="*/ 451699 w 3024845"/>
                <a:gd name="connsiteY45" fmla="*/ 201045 h 689379"/>
                <a:gd name="connsiteX46" fmla="*/ 464112 w 3024845"/>
                <a:gd name="connsiteY46" fmla="*/ 201045 h 689379"/>
                <a:gd name="connsiteX47" fmla="*/ 464112 w 3024845"/>
                <a:gd name="connsiteY47" fmla="*/ 224825 h 689379"/>
                <a:gd name="connsiteX48" fmla="*/ 465126 w 3024845"/>
                <a:gd name="connsiteY48" fmla="*/ 224825 h 689379"/>
                <a:gd name="connsiteX49" fmla="*/ 472219 w 3024845"/>
                <a:gd name="connsiteY49" fmla="*/ 224825 h 689379"/>
                <a:gd name="connsiteX50" fmla="*/ 472219 w 3024845"/>
                <a:gd name="connsiteY50" fmla="*/ 223744 h 689379"/>
                <a:gd name="connsiteX51" fmla="*/ 472219 w 3024845"/>
                <a:gd name="connsiteY51" fmla="*/ 216178 h 689379"/>
                <a:gd name="connsiteX52" fmla="*/ 473992 w 3024845"/>
                <a:gd name="connsiteY52" fmla="*/ 216178 h 689379"/>
                <a:gd name="connsiteX53" fmla="*/ 486406 w 3024845"/>
                <a:gd name="connsiteY53" fmla="*/ 216178 h 689379"/>
                <a:gd name="connsiteX54" fmla="*/ 486406 w 3024845"/>
                <a:gd name="connsiteY54" fmla="*/ 242119 h 689379"/>
                <a:gd name="connsiteX55" fmla="*/ 488433 w 3024845"/>
                <a:gd name="connsiteY55" fmla="*/ 242119 h 689379"/>
                <a:gd name="connsiteX56" fmla="*/ 502619 w 3024845"/>
                <a:gd name="connsiteY56" fmla="*/ 242119 h 689379"/>
                <a:gd name="connsiteX57" fmla="*/ 502619 w 3024845"/>
                <a:gd name="connsiteY57" fmla="*/ 243740 h 689379"/>
                <a:gd name="connsiteX58" fmla="*/ 502619 w 3024845"/>
                <a:gd name="connsiteY58" fmla="*/ 255090 h 689379"/>
                <a:gd name="connsiteX59" fmla="*/ 503379 w 3024845"/>
                <a:gd name="connsiteY59" fmla="*/ 255090 h 689379"/>
                <a:gd name="connsiteX60" fmla="*/ 508700 w 3024845"/>
                <a:gd name="connsiteY60" fmla="*/ 255090 h 689379"/>
                <a:gd name="connsiteX61" fmla="*/ 508700 w 3024845"/>
                <a:gd name="connsiteY61" fmla="*/ 254279 h 689379"/>
                <a:gd name="connsiteX62" fmla="*/ 508700 w 3024845"/>
                <a:gd name="connsiteY62" fmla="*/ 248604 h 689379"/>
                <a:gd name="connsiteX63" fmla="*/ 539100 w 3024845"/>
                <a:gd name="connsiteY63" fmla="*/ 248604 h 689379"/>
                <a:gd name="connsiteX64" fmla="*/ 539100 w 3024845"/>
                <a:gd name="connsiteY64" fmla="*/ 272384 h 689379"/>
                <a:gd name="connsiteX65" fmla="*/ 540113 w 3024845"/>
                <a:gd name="connsiteY65" fmla="*/ 272384 h 689379"/>
                <a:gd name="connsiteX66" fmla="*/ 547207 w 3024845"/>
                <a:gd name="connsiteY66" fmla="*/ 272384 h 689379"/>
                <a:gd name="connsiteX67" fmla="*/ 547207 w 3024845"/>
                <a:gd name="connsiteY67" fmla="*/ 273465 h 689379"/>
                <a:gd name="connsiteX68" fmla="*/ 547207 w 3024845"/>
                <a:gd name="connsiteY68" fmla="*/ 281031 h 689379"/>
                <a:gd name="connsiteX69" fmla="*/ 547967 w 3024845"/>
                <a:gd name="connsiteY69" fmla="*/ 281031 h 689379"/>
                <a:gd name="connsiteX70" fmla="*/ 553287 w 3024845"/>
                <a:gd name="connsiteY70" fmla="*/ 281031 h 689379"/>
                <a:gd name="connsiteX71" fmla="*/ 553287 w 3024845"/>
                <a:gd name="connsiteY71" fmla="*/ 278869 h 689379"/>
                <a:gd name="connsiteX72" fmla="*/ 553287 w 3024845"/>
                <a:gd name="connsiteY72" fmla="*/ 263737 h 689379"/>
                <a:gd name="connsiteX73" fmla="*/ 554300 w 3024845"/>
                <a:gd name="connsiteY73" fmla="*/ 263737 h 689379"/>
                <a:gd name="connsiteX74" fmla="*/ 561394 w 3024845"/>
                <a:gd name="connsiteY74" fmla="*/ 263737 h 689379"/>
                <a:gd name="connsiteX75" fmla="*/ 561394 w 3024845"/>
                <a:gd name="connsiteY75" fmla="*/ 264818 h 689379"/>
                <a:gd name="connsiteX76" fmla="*/ 561394 w 3024845"/>
                <a:gd name="connsiteY76" fmla="*/ 272384 h 689379"/>
                <a:gd name="connsiteX77" fmla="*/ 566714 w 3024845"/>
                <a:gd name="connsiteY77" fmla="*/ 270391 h 689379"/>
                <a:gd name="connsiteX78" fmla="*/ 567474 w 3024845"/>
                <a:gd name="connsiteY78" fmla="*/ 269411 h 689379"/>
                <a:gd name="connsiteX79" fmla="*/ 567474 w 3024845"/>
                <a:gd name="connsiteY79" fmla="*/ 263737 h 689379"/>
                <a:gd name="connsiteX80" fmla="*/ 605981 w 3024845"/>
                <a:gd name="connsiteY80" fmla="*/ 263737 h 689379"/>
                <a:gd name="connsiteX81" fmla="*/ 605981 w 3024845"/>
                <a:gd name="connsiteY81" fmla="*/ 287516 h 689379"/>
                <a:gd name="connsiteX82" fmla="*/ 608007 w 3024845"/>
                <a:gd name="connsiteY82" fmla="*/ 287516 h 689379"/>
                <a:gd name="connsiteX83" fmla="*/ 622194 w 3024845"/>
                <a:gd name="connsiteY83" fmla="*/ 287516 h 689379"/>
                <a:gd name="connsiteX84" fmla="*/ 622194 w 3024845"/>
                <a:gd name="connsiteY84" fmla="*/ 288597 h 689379"/>
                <a:gd name="connsiteX85" fmla="*/ 622194 w 3024845"/>
                <a:gd name="connsiteY85" fmla="*/ 296163 h 689379"/>
                <a:gd name="connsiteX86" fmla="*/ 623968 w 3024845"/>
                <a:gd name="connsiteY86" fmla="*/ 296163 h 689379"/>
                <a:gd name="connsiteX87" fmla="*/ 636381 w 3024845"/>
                <a:gd name="connsiteY87" fmla="*/ 296163 h 689379"/>
                <a:gd name="connsiteX88" fmla="*/ 636381 w 3024845"/>
                <a:gd name="connsiteY88" fmla="*/ 272384 h 689379"/>
                <a:gd name="connsiteX89" fmla="*/ 637394 w 3024845"/>
                <a:gd name="connsiteY89" fmla="*/ 272384 h 689379"/>
                <a:gd name="connsiteX90" fmla="*/ 644488 w 3024845"/>
                <a:gd name="connsiteY90" fmla="*/ 272384 h 689379"/>
                <a:gd name="connsiteX91" fmla="*/ 644488 w 3024845"/>
                <a:gd name="connsiteY91" fmla="*/ 239957 h 689379"/>
                <a:gd name="connsiteX92" fmla="*/ 645501 w 3024845"/>
                <a:gd name="connsiteY92" fmla="*/ 239957 h 689379"/>
                <a:gd name="connsiteX93" fmla="*/ 652595 w 3024845"/>
                <a:gd name="connsiteY93" fmla="*/ 239957 h 689379"/>
                <a:gd name="connsiteX94" fmla="*/ 652595 w 3024845"/>
                <a:gd name="connsiteY94" fmla="*/ 238066 h 689379"/>
                <a:gd name="connsiteX95" fmla="*/ 652595 w 3024845"/>
                <a:gd name="connsiteY95" fmla="*/ 224825 h 689379"/>
                <a:gd name="connsiteX96" fmla="*/ 651328 w 3024845"/>
                <a:gd name="connsiteY96" fmla="*/ 223203 h 689379"/>
                <a:gd name="connsiteX97" fmla="*/ 656648 w 3024845"/>
                <a:gd name="connsiteY97" fmla="*/ 211854 h 689379"/>
                <a:gd name="connsiteX98" fmla="*/ 664755 w 3024845"/>
                <a:gd name="connsiteY98" fmla="*/ 239957 h 689379"/>
                <a:gd name="connsiteX99" fmla="*/ 665515 w 3024845"/>
                <a:gd name="connsiteY99" fmla="*/ 239957 h 689379"/>
                <a:gd name="connsiteX100" fmla="*/ 670835 w 3024845"/>
                <a:gd name="connsiteY100" fmla="*/ 239957 h 689379"/>
                <a:gd name="connsiteX101" fmla="*/ 670835 w 3024845"/>
                <a:gd name="connsiteY101" fmla="*/ 134030 h 689379"/>
                <a:gd name="connsiteX102" fmla="*/ 672355 w 3024845"/>
                <a:gd name="connsiteY102" fmla="*/ 134030 h 689379"/>
                <a:gd name="connsiteX103" fmla="*/ 682995 w 3024845"/>
                <a:gd name="connsiteY103" fmla="*/ 134030 h 689379"/>
                <a:gd name="connsiteX104" fmla="*/ 682995 w 3024845"/>
                <a:gd name="connsiteY104" fmla="*/ 86471 h 689379"/>
                <a:gd name="connsiteX105" fmla="*/ 709342 w 3024845"/>
                <a:gd name="connsiteY105" fmla="*/ 86471 h 689379"/>
                <a:gd name="connsiteX106" fmla="*/ 709342 w 3024845"/>
                <a:gd name="connsiteY106" fmla="*/ 64853 h 689379"/>
                <a:gd name="connsiteX107" fmla="*/ 743796 w 3024845"/>
                <a:gd name="connsiteY107" fmla="*/ 64853 h 689379"/>
                <a:gd name="connsiteX108" fmla="*/ 743796 w 3024845"/>
                <a:gd name="connsiteY108" fmla="*/ 67285 h 689379"/>
                <a:gd name="connsiteX109" fmla="*/ 743796 w 3024845"/>
                <a:gd name="connsiteY109" fmla="*/ 84309 h 689379"/>
                <a:gd name="connsiteX110" fmla="*/ 746076 w 3024845"/>
                <a:gd name="connsiteY110" fmla="*/ 84309 h 689379"/>
                <a:gd name="connsiteX111" fmla="*/ 762036 w 3024845"/>
                <a:gd name="connsiteY111" fmla="*/ 84309 h 689379"/>
                <a:gd name="connsiteX112" fmla="*/ 762036 w 3024845"/>
                <a:gd name="connsiteY112" fmla="*/ 131868 h 689379"/>
                <a:gd name="connsiteX113" fmla="*/ 763049 w 3024845"/>
                <a:gd name="connsiteY113" fmla="*/ 131868 h 689379"/>
                <a:gd name="connsiteX114" fmla="*/ 770143 w 3024845"/>
                <a:gd name="connsiteY114" fmla="*/ 131868 h 689379"/>
                <a:gd name="connsiteX115" fmla="*/ 784330 w 3024845"/>
                <a:gd name="connsiteY115" fmla="*/ 136192 h 689379"/>
                <a:gd name="connsiteX116" fmla="*/ 784330 w 3024845"/>
                <a:gd name="connsiteY116" fmla="*/ 175104 h 689379"/>
                <a:gd name="connsiteX117" fmla="*/ 785343 w 3024845"/>
                <a:gd name="connsiteY117" fmla="*/ 175104 h 689379"/>
                <a:gd name="connsiteX118" fmla="*/ 792436 w 3024845"/>
                <a:gd name="connsiteY118" fmla="*/ 175104 h 689379"/>
                <a:gd name="connsiteX119" fmla="*/ 792436 w 3024845"/>
                <a:gd name="connsiteY119" fmla="*/ 176725 h 689379"/>
                <a:gd name="connsiteX120" fmla="*/ 792436 w 3024845"/>
                <a:gd name="connsiteY120" fmla="*/ 188074 h 689379"/>
                <a:gd name="connsiteX121" fmla="*/ 794463 w 3024845"/>
                <a:gd name="connsiteY121" fmla="*/ 188074 h 689379"/>
                <a:gd name="connsiteX122" fmla="*/ 808650 w 3024845"/>
                <a:gd name="connsiteY122" fmla="*/ 188074 h 689379"/>
                <a:gd name="connsiteX123" fmla="*/ 814730 w 3024845"/>
                <a:gd name="connsiteY123" fmla="*/ 194560 h 689379"/>
                <a:gd name="connsiteX124" fmla="*/ 814730 w 3024845"/>
                <a:gd name="connsiteY124" fmla="*/ 216178 h 689379"/>
                <a:gd name="connsiteX125" fmla="*/ 817010 w 3024845"/>
                <a:gd name="connsiteY125" fmla="*/ 216178 h 689379"/>
                <a:gd name="connsiteX126" fmla="*/ 832970 w 3024845"/>
                <a:gd name="connsiteY126" fmla="*/ 216178 h 689379"/>
                <a:gd name="connsiteX127" fmla="*/ 832970 w 3024845"/>
                <a:gd name="connsiteY127" fmla="*/ 217258 h 689379"/>
                <a:gd name="connsiteX128" fmla="*/ 832970 w 3024845"/>
                <a:gd name="connsiteY128" fmla="*/ 224825 h 689379"/>
                <a:gd name="connsiteX129" fmla="*/ 834237 w 3024845"/>
                <a:gd name="connsiteY129" fmla="*/ 224825 h 689379"/>
                <a:gd name="connsiteX130" fmla="*/ 843104 w 3024845"/>
                <a:gd name="connsiteY130" fmla="*/ 224825 h 689379"/>
                <a:gd name="connsiteX131" fmla="*/ 843104 w 3024845"/>
                <a:gd name="connsiteY131" fmla="*/ 226986 h 689379"/>
                <a:gd name="connsiteX132" fmla="*/ 843104 w 3024845"/>
                <a:gd name="connsiteY132" fmla="*/ 242119 h 689379"/>
                <a:gd name="connsiteX133" fmla="*/ 847157 w 3024845"/>
                <a:gd name="connsiteY133" fmla="*/ 240227 h 689379"/>
                <a:gd name="connsiteX134" fmla="*/ 847157 w 3024845"/>
                <a:gd name="connsiteY134" fmla="*/ 226986 h 689379"/>
                <a:gd name="connsiteX135" fmla="*/ 848170 w 3024845"/>
                <a:gd name="connsiteY135" fmla="*/ 226986 h 689379"/>
                <a:gd name="connsiteX136" fmla="*/ 855264 w 3024845"/>
                <a:gd name="connsiteY136" fmla="*/ 226986 h 689379"/>
                <a:gd name="connsiteX137" fmla="*/ 855264 w 3024845"/>
                <a:gd name="connsiteY137" fmla="*/ 228608 h 689379"/>
                <a:gd name="connsiteX138" fmla="*/ 855264 w 3024845"/>
                <a:gd name="connsiteY138" fmla="*/ 239957 h 689379"/>
                <a:gd name="connsiteX139" fmla="*/ 856024 w 3024845"/>
                <a:gd name="connsiteY139" fmla="*/ 239957 h 689379"/>
                <a:gd name="connsiteX140" fmla="*/ 861344 w 3024845"/>
                <a:gd name="connsiteY140" fmla="*/ 239957 h 689379"/>
                <a:gd name="connsiteX141" fmla="*/ 909984 w 3024845"/>
                <a:gd name="connsiteY141" fmla="*/ 235634 h 689379"/>
                <a:gd name="connsiteX142" fmla="*/ 909984 w 3024845"/>
                <a:gd name="connsiteY142" fmla="*/ 236985 h 689379"/>
                <a:gd name="connsiteX143" fmla="*/ 909984 w 3024845"/>
                <a:gd name="connsiteY143" fmla="*/ 246442 h 689379"/>
                <a:gd name="connsiteX144" fmla="*/ 910744 w 3024845"/>
                <a:gd name="connsiteY144" fmla="*/ 246442 h 689379"/>
                <a:gd name="connsiteX145" fmla="*/ 916065 w 3024845"/>
                <a:gd name="connsiteY145" fmla="*/ 246442 h 689379"/>
                <a:gd name="connsiteX146" fmla="*/ 916065 w 3024845"/>
                <a:gd name="connsiteY146" fmla="*/ 248604 h 689379"/>
                <a:gd name="connsiteX147" fmla="*/ 916065 w 3024845"/>
                <a:gd name="connsiteY147" fmla="*/ 263737 h 689379"/>
                <a:gd name="connsiteX148" fmla="*/ 918091 w 3024845"/>
                <a:gd name="connsiteY148" fmla="*/ 262386 h 689379"/>
                <a:gd name="connsiteX149" fmla="*/ 932278 w 3024845"/>
                <a:gd name="connsiteY149" fmla="*/ 252928 h 689379"/>
                <a:gd name="connsiteX150" fmla="*/ 938358 w 3024845"/>
                <a:gd name="connsiteY150" fmla="*/ 211854 h 689379"/>
                <a:gd name="connsiteX151" fmla="*/ 939118 w 3024845"/>
                <a:gd name="connsiteY151" fmla="*/ 211584 h 689379"/>
                <a:gd name="connsiteX152" fmla="*/ 944438 w 3024845"/>
                <a:gd name="connsiteY152" fmla="*/ 209692 h 689379"/>
                <a:gd name="connsiteX153" fmla="*/ 946465 w 3024845"/>
                <a:gd name="connsiteY153" fmla="*/ 140515 h 689379"/>
                <a:gd name="connsiteX154" fmla="*/ 948492 w 3024845"/>
                <a:gd name="connsiteY154" fmla="*/ 209692 h 689379"/>
                <a:gd name="connsiteX155" fmla="*/ 949252 w 3024845"/>
                <a:gd name="connsiteY155" fmla="*/ 209962 h 689379"/>
                <a:gd name="connsiteX156" fmla="*/ 954572 w 3024845"/>
                <a:gd name="connsiteY156" fmla="*/ 211854 h 689379"/>
                <a:gd name="connsiteX157" fmla="*/ 954572 w 3024845"/>
                <a:gd name="connsiteY157" fmla="*/ 125383 h 689379"/>
                <a:gd name="connsiteX158" fmla="*/ 958625 w 3024845"/>
                <a:gd name="connsiteY158" fmla="*/ 92956 h 689379"/>
                <a:gd name="connsiteX159" fmla="*/ 997132 w 3024845"/>
                <a:gd name="connsiteY159" fmla="*/ 92956 h 689379"/>
                <a:gd name="connsiteX160" fmla="*/ 997132 w 3024845"/>
                <a:gd name="connsiteY160" fmla="*/ 125383 h 689379"/>
                <a:gd name="connsiteX161" fmla="*/ 997892 w 3024845"/>
                <a:gd name="connsiteY161" fmla="*/ 125383 h 689379"/>
                <a:gd name="connsiteX162" fmla="*/ 1003212 w 3024845"/>
                <a:gd name="connsiteY162" fmla="*/ 125383 h 689379"/>
                <a:gd name="connsiteX163" fmla="*/ 1003212 w 3024845"/>
                <a:gd name="connsiteY163" fmla="*/ 43235 h 689379"/>
                <a:gd name="connsiteX164" fmla="*/ 1004986 w 3024845"/>
                <a:gd name="connsiteY164" fmla="*/ 43235 h 689379"/>
                <a:gd name="connsiteX165" fmla="*/ 1017399 w 3024845"/>
                <a:gd name="connsiteY165" fmla="*/ 43235 h 689379"/>
                <a:gd name="connsiteX166" fmla="*/ 1017399 w 3024845"/>
                <a:gd name="connsiteY166" fmla="*/ 41344 h 689379"/>
                <a:gd name="connsiteX167" fmla="*/ 1017399 w 3024845"/>
                <a:gd name="connsiteY167" fmla="*/ 28103 h 689379"/>
                <a:gd name="connsiteX168" fmla="*/ 1039693 w 3024845"/>
                <a:gd name="connsiteY168" fmla="*/ 28103 h 689379"/>
                <a:gd name="connsiteX169" fmla="*/ 1039693 w 3024845"/>
                <a:gd name="connsiteY169" fmla="*/ 27022 h 689379"/>
                <a:gd name="connsiteX170" fmla="*/ 1039693 w 3024845"/>
                <a:gd name="connsiteY170" fmla="*/ 19456 h 689379"/>
                <a:gd name="connsiteX171" fmla="*/ 1041466 w 3024845"/>
                <a:gd name="connsiteY171" fmla="*/ 19456 h 689379"/>
                <a:gd name="connsiteX172" fmla="*/ 1053880 w 3024845"/>
                <a:gd name="connsiteY172" fmla="*/ 19456 h 689379"/>
                <a:gd name="connsiteX173" fmla="*/ 1053880 w 3024845"/>
                <a:gd name="connsiteY173" fmla="*/ 20537 h 689379"/>
                <a:gd name="connsiteX174" fmla="*/ 1053880 w 3024845"/>
                <a:gd name="connsiteY174" fmla="*/ 28103 h 689379"/>
                <a:gd name="connsiteX175" fmla="*/ 1054640 w 3024845"/>
                <a:gd name="connsiteY175" fmla="*/ 28103 h 689379"/>
                <a:gd name="connsiteX176" fmla="*/ 1059960 w 3024845"/>
                <a:gd name="connsiteY176" fmla="*/ 28103 h 689379"/>
                <a:gd name="connsiteX177" fmla="*/ 1070093 w 3024845"/>
                <a:gd name="connsiteY177" fmla="*/ 23779 h 689379"/>
                <a:gd name="connsiteX178" fmla="*/ 1074146 w 3024845"/>
                <a:gd name="connsiteY178" fmla="*/ 27022 h 689379"/>
                <a:gd name="connsiteX179" fmla="*/ 1074146 w 3024845"/>
                <a:gd name="connsiteY179" fmla="*/ 19456 h 689379"/>
                <a:gd name="connsiteX180" fmla="*/ 1076426 w 3024845"/>
                <a:gd name="connsiteY180" fmla="*/ 19456 h 689379"/>
                <a:gd name="connsiteX181" fmla="*/ 1092387 w 3024845"/>
                <a:gd name="connsiteY181" fmla="*/ 19456 h 689379"/>
                <a:gd name="connsiteX182" fmla="*/ 1092387 w 3024845"/>
                <a:gd name="connsiteY182" fmla="*/ 20537 h 689379"/>
                <a:gd name="connsiteX183" fmla="*/ 1092387 w 3024845"/>
                <a:gd name="connsiteY183" fmla="*/ 28103 h 689379"/>
                <a:gd name="connsiteX184" fmla="*/ 1122787 w 3024845"/>
                <a:gd name="connsiteY184" fmla="*/ 28103 h 689379"/>
                <a:gd name="connsiteX185" fmla="*/ 1122787 w 3024845"/>
                <a:gd name="connsiteY185" fmla="*/ 29724 h 689379"/>
                <a:gd name="connsiteX186" fmla="*/ 1122787 w 3024845"/>
                <a:gd name="connsiteY186" fmla="*/ 41074 h 689379"/>
                <a:gd name="connsiteX187" fmla="*/ 1149134 w 3024845"/>
                <a:gd name="connsiteY187" fmla="*/ 41074 h 689379"/>
                <a:gd name="connsiteX188" fmla="*/ 1149134 w 3024845"/>
                <a:gd name="connsiteY188" fmla="*/ 71338 h 689379"/>
                <a:gd name="connsiteX189" fmla="*/ 1149894 w 3024845"/>
                <a:gd name="connsiteY189" fmla="*/ 71338 h 689379"/>
                <a:gd name="connsiteX190" fmla="*/ 1155214 w 3024845"/>
                <a:gd name="connsiteY190" fmla="*/ 71338 h 689379"/>
                <a:gd name="connsiteX191" fmla="*/ 1155214 w 3024845"/>
                <a:gd name="connsiteY191" fmla="*/ 72419 h 689379"/>
                <a:gd name="connsiteX192" fmla="*/ 1155214 w 3024845"/>
                <a:gd name="connsiteY192" fmla="*/ 79986 h 689379"/>
                <a:gd name="connsiteX193" fmla="*/ 1159268 w 3024845"/>
                <a:gd name="connsiteY193" fmla="*/ 110250 h 689379"/>
                <a:gd name="connsiteX194" fmla="*/ 1160028 w 3024845"/>
                <a:gd name="connsiteY194" fmla="*/ 110250 h 689379"/>
                <a:gd name="connsiteX195" fmla="*/ 1165348 w 3024845"/>
                <a:gd name="connsiteY195" fmla="*/ 110250 h 689379"/>
                <a:gd name="connsiteX196" fmla="*/ 1165348 w 3024845"/>
                <a:gd name="connsiteY196" fmla="*/ 111061 h 689379"/>
                <a:gd name="connsiteX197" fmla="*/ 1165348 w 3024845"/>
                <a:gd name="connsiteY197" fmla="*/ 116736 h 689379"/>
                <a:gd name="connsiteX198" fmla="*/ 1166361 w 3024845"/>
                <a:gd name="connsiteY198" fmla="*/ 116736 h 689379"/>
                <a:gd name="connsiteX199" fmla="*/ 1173454 w 3024845"/>
                <a:gd name="connsiteY199" fmla="*/ 116736 h 689379"/>
                <a:gd name="connsiteX200" fmla="*/ 1173454 w 3024845"/>
                <a:gd name="connsiteY200" fmla="*/ 147001 h 689379"/>
                <a:gd name="connsiteX201" fmla="*/ 1175481 w 3024845"/>
                <a:gd name="connsiteY201" fmla="*/ 147001 h 689379"/>
                <a:gd name="connsiteX202" fmla="*/ 1189668 w 3024845"/>
                <a:gd name="connsiteY202" fmla="*/ 147001 h 689379"/>
                <a:gd name="connsiteX203" fmla="*/ 1189668 w 3024845"/>
                <a:gd name="connsiteY203" fmla="*/ 170780 h 689379"/>
                <a:gd name="connsiteX204" fmla="*/ 1191695 w 3024845"/>
                <a:gd name="connsiteY204" fmla="*/ 172401 h 689379"/>
                <a:gd name="connsiteX205" fmla="*/ 1191695 w 3024845"/>
                <a:gd name="connsiteY205" fmla="*/ 183751 h 689379"/>
                <a:gd name="connsiteX206" fmla="*/ 1192455 w 3024845"/>
                <a:gd name="connsiteY206" fmla="*/ 183751 h 689379"/>
                <a:gd name="connsiteX207" fmla="*/ 1197775 w 3024845"/>
                <a:gd name="connsiteY207" fmla="*/ 183751 h 689379"/>
                <a:gd name="connsiteX208" fmla="*/ 1197775 w 3024845"/>
                <a:gd name="connsiteY208" fmla="*/ 207530 h 689379"/>
                <a:gd name="connsiteX209" fmla="*/ 1199041 w 3024845"/>
                <a:gd name="connsiteY209" fmla="*/ 207530 h 689379"/>
                <a:gd name="connsiteX210" fmla="*/ 1207908 w 3024845"/>
                <a:gd name="connsiteY210" fmla="*/ 207530 h 689379"/>
                <a:gd name="connsiteX211" fmla="*/ 1209935 w 3024845"/>
                <a:gd name="connsiteY211" fmla="*/ 211584 h 689379"/>
                <a:gd name="connsiteX212" fmla="*/ 1209935 w 3024845"/>
                <a:gd name="connsiteY212" fmla="*/ 224825 h 689379"/>
                <a:gd name="connsiteX213" fmla="*/ 1211455 w 3024845"/>
                <a:gd name="connsiteY213" fmla="*/ 222933 h 689379"/>
                <a:gd name="connsiteX214" fmla="*/ 1222095 w 3024845"/>
                <a:gd name="connsiteY214" fmla="*/ 209692 h 689379"/>
                <a:gd name="connsiteX215" fmla="*/ 1250469 w 3024845"/>
                <a:gd name="connsiteY215" fmla="*/ 209692 h 689379"/>
                <a:gd name="connsiteX216" fmla="*/ 1250469 w 3024845"/>
                <a:gd name="connsiteY216" fmla="*/ 296163 h 689379"/>
                <a:gd name="connsiteX217" fmla="*/ 1251229 w 3024845"/>
                <a:gd name="connsiteY217" fmla="*/ 296163 h 689379"/>
                <a:gd name="connsiteX218" fmla="*/ 1256549 w 3024845"/>
                <a:gd name="connsiteY218" fmla="*/ 296163 h 689379"/>
                <a:gd name="connsiteX219" fmla="*/ 1257309 w 3024845"/>
                <a:gd name="connsiteY219" fmla="*/ 294812 h 689379"/>
                <a:gd name="connsiteX220" fmla="*/ 1262629 w 3024845"/>
                <a:gd name="connsiteY220" fmla="*/ 285354 h 689379"/>
                <a:gd name="connsiteX221" fmla="*/ 1262629 w 3024845"/>
                <a:gd name="connsiteY221" fmla="*/ 287246 h 689379"/>
                <a:gd name="connsiteX222" fmla="*/ 1262629 w 3024845"/>
                <a:gd name="connsiteY222" fmla="*/ 300487 h 689379"/>
                <a:gd name="connsiteX223" fmla="*/ 1266682 w 3024845"/>
                <a:gd name="connsiteY223" fmla="*/ 255090 h 689379"/>
                <a:gd name="connsiteX224" fmla="*/ 1267442 w 3024845"/>
                <a:gd name="connsiteY224" fmla="*/ 255090 h 689379"/>
                <a:gd name="connsiteX225" fmla="*/ 1272762 w 3024845"/>
                <a:gd name="connsiteY225" fmla="*/ 255090 h 689379"/>
                <a:gd name="connsiteX226" fmla="*/ 1272762 w 3024845"/>
                <a:gd name="connsiteY226" fmla="*/ 190236 h 689379"/>
                <a:gd name="connsiteX227" fmla="*/ 1273776 w 3024845"/>
                <a:gd name="connsiteY227" fmla="*/ 190236 h 689379"/>
                <a:gd name="connsiteX228" fmla="*/ 1280869 w 3024845"/>
                <a:gd name="connsiteY228" fmla="*/ 190236 h 689379"/>
                <a:gd name="connsiteX229" fmla="*/ 1293029 w 3024845"/>
                <a:gd name="connsiteY229" fmla="*/ 147001 h 689379"/>
                <a:gd name="connsiteX230" fmla="*/ 1294296 w 3024845"/>
                <a:gd name="connsiteY230" fmla="*/ 147001 h 689379"/>
                <a:gd name="connsiteX231" fmla="*/ 1303163 w 3024845"/>
                <a:gd name="connsiteY231" fmla="*/ 147001 h 689379"/>
                <a:gd name="connsiteX232" fmla="*/ 1313296 w 3024845"/>
                <a:gd name="connsiteY232" fmla="*/ 190236 h 689379"/>
                <a:gd name="connsiteX233" fmla="*/ 1314309 w 3024845"/>
                <a:gd name="connsiteY233" fmla="*/ 190236 h 689379"/>
                <a:gd name="connsiteX234" fmla="*/ 1321403 w 3024845"/>
                <a:gd name="connsiteY234" fmla="*/ 190236 h 689379"/>
                <a:gd name="connsiteX235" fmla="*/ 1321403 w 3024845"/>
                <a:gd name="connsiteY235" fmla="*/ 229148 h 689379"/>
                <a:gd name="connsiteX236" fmla="*/ 1323176 w 3024845"/>
                <a:gd name="connsiteY236" fmla="*/ 229148 h 689379"/>
                <a:gd name="connsiteX237" fmla="*/ 1335590 w 3024845"/>
                <a:gd name="connsiteY237" fmla="*/ 229148 h 689379"/>
                <a:gd name="connsiteX238" fmla="*/ 1335590 w 3024845"/>
                <a:gd name="connsiteY238" fmla="*/ 231310 h 689379"/>
                <a:gd name="connsiteX239" fmla="*/ 1335590 w 3024845"/>
                <a:gd name="connsiteY239" fmla="*/ 246442 h 689379"/>
                <a:gd name="connsiteX240" fmla="*/ 1339643 w 3024845"/>
                <a:gd name="connsiteY240" fmla="*/ 244281 h 689379"/>
                <a:gd name="connsiteX241" fmla="*/ 1339643 w 3024845"/>
                <a:gd name="connsiteY241" fmla="*/ 229148 h 689379"/>
                <a:gd name="connsiteX242" fmla="*/ 1341163 w 3024845"/>
                <a:gd name="connsiteY242" fmla="*/ 229148 h 689379"/>
                <a:gd name="connsiteX243" fmla="*/ 1351803 w 3024845"/>
                <a:gd name="connsiteY243" fmla="*/ 229148 h 689379"/>
                <a:gd name="connsiteX244" fmla="*/ 1351803 w 3024845"/>
                <a:gd name="connsiteY244" fmla="*/ 230769 h 689379"/>
                <a:gd name="connsiteX245" fmla="*/ 1351803 w 3024845"/>
                <a:gd name="connsiteY245" fmla="*/ 242119 h 689379"/>
                <a:gd name="connsiteX246" fmla="*/ 1382204 w 3024845"/>
                <a:gd name="connsiteY246" fmla="*/ 242119 h 689379"/>
                <a:gd name="connsiteX247" fmla="*/ 1382204 w 3024845"/>
                <a:gd name="connsiteY247" fmla="*/ 205369 h 689379"/>
                <a:gd name="connsiteX248" fmla="*/ 1383470 w 3024845"/>
                <a:gd name="connsiteY248" fmla="*/ 205369 h 689379"/>
                <a:gd name="connsiteX249" fmla="*/ 1392337 w 3024845"/>
                <a:gd name="connsiteY249" fmla="*/ 205369 h 689379"/>
                <a:gd name="connsiteX250" fmla="*/ 1392337 w 3024845"/>
                <a:gd name="connsiteY250" fmla="*/ 226986 h 689379"/>
                <a:gd name="connsiteX251" fmla="*/ 1394364 w 3024845"/>
                <a:gd name="connsiteY251" fmla="*/ 194560 h 689379"/>
                <a:gd name="connsiteX252" fmla="*/ 1416657 w 3024845"/>
                <a:gd name="connsiteY252" fmla="*/ 194560 h 689379"/>
                <a:gd name="connsiteX253" fmla="*/ 1416657 w 3024845"/>
                <a:gd name="connsiteY253" fmla="*/ 192938 h 689379"/>
                <a:gd name="connsiteX254" fmla="*/ 1416657 w 3024845"/>
                <a:gd name="connsiteY254" fmla="*/ 181589 h 689379"/>
                <a:gd name="connsiteX255" fmla="*/ 1417417 w 3024845"/>
                <a:gd name="connsiteY255" fmla="*/ 181589 h 689379"/>
                <a:gd name="connsiteX256" fmla="*/ 1422737 w 3024845"/>
                <a:gd name="connsiteY256" fmla="*/ 181589 h 689379"/>
                <a:gd name="connsiteX257" fmla="*/ 1422737 w 3024845"/>
                <a:gd name="connsiteY257" fmla="*/ 179698 h 689379"/>
                <a:gd name="connsiteX258" fmla="*/ 1422737 w 3024845"/>
                <a:gd name="connsiteY258" fmla="*/ 166457 h 689379"/>
                <a:gd name="connsiteX259" fmla="*/ 1426791 w 3024845"/>
                <a:gd name="connsiteY259" fmla="*/ 172942 h 689379"/>
                <a:gd name="connsiteX260" fmla="*/ 1429071 w 3024845"/>
                <a:gd name="connsiteY260" fmla="*/ 172942 h 689379"/>
                <a:gd name="connsiteX261" fmla="*/ 1445031 w 3024845"/>
                <a:gd name="connsiteY261" fmla="*/ 172942 h 689379"/>
                <a:gd name="connsiteX262" fmla="*/ 1445031 w 3024845"/>
                <a:gd name="connsiteY262" fmla="*/ 172131 h 689379"/>
                <a:gd name="connsiteX263" fmla="*/ 1445031 w 3024845"/>
                <a:gd name="connsiteY263" fmla="*/ 166457 h 689379"/>
                <a:gd name="connsiteX264" fmla="*/ 1445791 w 3024845"/>
                <a:gd name="connsiteY264" fmla="*/ 166457 h 689379"/>
                <a:gd name="connsiteX265" fmla="*/ 1451111 w 3024845"/>
                <a:gd name="connsiteY265" fmla="*/ 166457 h 689379"/>
                <a:gd name="connsiteX266" fmla="*/ 1451111 w 3024845"/>
                <a:gd name="connsiteY266" fmla="*/ 167808 h 689379"/>
                <a:gd name="connsiteX267" fmla="*/ 1451111 w 3024845"/>
                <a:gd name="connsiteY267" fmla="*/ 177266 h 689379"/>
                <a:gd name="connsiteX268" fmla="*/ 1489618 w 3024845"/>
                <a:gd name="connsiteY268" fmla="*/ 177266 h 689379"/>
                <a:gd name="connsiteX269" fmla="*/ 1489618 w 3024845"/>
                <a:gd name="connsiteY269" fmla="*/ 315619 h 689379"/>
                <a:gd name="connsiteX270" fmla="*/ 1491138 w 3024845"/>
                <a:gd name="connsiteY270" fmla="*/ 315619 h 689379"/>
                <a:gd name="connsiteX271" fmla="*/ 1501778 w 3024845"/>
                <a:gd name="connsiteY271" fmla="*/ 315619 h 689379"/>
                <a:gd name="connsiteX272" fmla="*/ 1501778 w 3024845"/>
                <a:gd name="connsiteY272" fmla="*/ 302649 h 689379"/>
                <a:gd name="connsiteX273" fmla="*/ 1505832 w 3024845"/>
                <a:gd name="connsiteY273" fmla="*/ 302649 h 689379"/>
                <a:gd name="connsiteX274" fmla="*/ 1505832 w 3024845"/>
                <a:gd name="connsiteY274" fmla="*/ 315619 h 689379"/>
                <a:gd name="connsiteX275" fmla="*/ 1536232 w 3024845"/>
                <a:gd name="connsiteY275" fmla="*/ 315619 h 689379"/>
                <a:gd name="connsiteX276" fmla="*/ 1536232 w 3024845"/>
                <a:gd name="connsiteY276" fmla="*/ 285354 h 689379"/>
                <a:gd name="connsiteX277" fmla="*/ 1548392 w 3024845"/>
                <a:gd name="connsiteY277" fmla="*/ 285354 h 689379"/>
                <a:gd name="connsiteX278" fmla="*/ 1560552 w 3024845"/>
                <a:gd name="connsiteY278" fmla="*/ 283193 h 689379"/>
                <a:gd name="connsiteX279" fmla="*/ 1564606 w 3024845"/>
                <a:gd name="connsiteY279" fmla="*/ 285354 h 689379"/>
                <a:gd name="connsiteX280" fmla="*/ 1574739 w 3024845"/>
                <a:gd name="connsiteY280" fmla="*/ 285354 h 689379"/>
                <a:gd name="connsiteX281" fmla="*/ 1574739 w 3024845"/>
                <a:gd name="connsiteY281" fmla="*/ 315619 h 689379"/>
                <a:gd name="connsiteX282" fmla="*/ 1582846 w 3024845"/>
                <a:gd name="connsiteY282" fmla="*/ 315619 h 689379"/>
                <a:gd name="connsiteX283" fmla="*/ 1582846 w 3024845"/>
                <a:gd name="connsiteY283" fmla="*/ 332914 h 689379"/>
                <a:gd name="connsiteX284" fmla="*/ 1592182 w 3024845"/>
                <a:gd name="connsiteY284" fmla="*/ 333819 h 689379"/>
                <a:gd name="connsiteX285" fmla="*/ 1605140 w 3024845"/>
                <a:gd name="connsiteY285" fmla="*/ 333819 h 689379"/>
                <a:gd name="connsiteX286" fmla="*/ 1605140 w 3024845"/>
                <a:gd name="connsiteY286" fmla="*/ 317781 h 689379"/>
                <a:gd name="connsiteX287" fmla="*/ 1673096 w 3024845"/>
                <a:gd name="connsiteY287" fmla="*/ 317781 h 689379"/>
                <a:gd name="connsiteX288" fmla="*/ 1673096 w 3024845"/>
                <a:gd name="connsiteY288" fmla="*/ 232528 h 689379"/>
                <a:gd name="connsiteX289" fmla="*/ 1745104 w 3024845"/>
                <a:gd name="connsiteY289" fmla="*/ 232528 h 689379"/>
                <a:gd name="connsiteX290" fmla="*/ 1745104 w 3024845"/>
                <a:gd name="connsiteY290" fmla="*/ 311296 h 689379"/>
                <a:gd name="connsiteX291" fmla="*/ 1747008 w 3024845"/>
                <a:gd name="connsiteY291" fmla="*/ 311296 h 689379"/>
                <a:gd name="connsiteX292" fmla="*/ 1748250 w 3024845"/>
                <a:gd name="connsiteY292" fmla="*/ 333819 h 689379"/>
                <a:gd name="connsiteX293" fmla="*/ 1757926 w 3024845"/>
                <a:gd name="connsiteY293" fmla="*/ 333819 h 689379"/>
                <a:gd name="connsiteX294" fmla="*/ 1759168 w 3024845"/>
                <a:gd name="connsiteY294" fmla="*/ 311296 h 689379"/>
                <a:gd name="connsiteX295" fmla="*/ 1765248 w 3024845"/>
                <a:gd name="connsiteY295" fmla="*/ 311296 h 689379"/>
                <a:gd name="connsiteX296" fmla="*/ 1766490 w 3024845"/>
                <a:gd name="connsiteY296" fmla="*/ 333819 h 689379"/>
                <a:gd name="connsiteX297" fmla="*/ 1817112 w 3024845"/>
                <a:gd name="connsiteY297" fmla="*/ 333819 h 689379"/>
                <a:gd name="connsiteX298" fmla="*/ 1817112 w 3024845"/>
                <a:gd name="connsiteY298" fmla="*/ 170791 h 689379"/>
                <a:gd name="connsiteX299" fmla="*/ 2014439 w 3024845"/>
                <a:gd name="connsiteY299" fmla="*/ 170791 h 689379"/>
                <a:gd name="connsiteX300" fmla="*/ 2014439 w 3024845"/>
                <a:gd name="connsiteY300" fmla="*/ 333819 h 689379"/>
                <a:gd name="connsiteX301" fmla="*/ 2033136 w 3024845"/>
                <a:gd name="connsiteY301" fmla="*/ 333819 h 689379"/>
                <a:gd name="connsiteX302" fmla="*/ 2033136 w 3024845"/>
                <a:gd name="connsiteY302" fmla="*/ 251126 h 689379"/>
                <a:gd name="connsiteX303" fmla="*/ 2128256 w 3024845"/>
                <a:gd name="connsiteY303" fmla="*/ 251126 h 689379"/>
                <a:gd name="connsiteX304" fmla="*/ 2180720 w 3024845"/>
                <a:gd name="connsiteY304" fmla="*/ 185913 h 689379"/>
                <a:gd name="connsiteX305" fmla="*/ 2245574 w 3024845"/>
                <a:gd name="connsiteY305" fmla="*/ 185913 h 689379"/>
                <a:gd name="connsiteX306" fmla="*/ 2245574 w 3024845"/>
                <a:gd name="connsiteY306" fmla="*/ 261575 h 689379"/>
                <a:gd name="connsiteX307" fmla="*/ 2253681 w 3024845"/>
                <a:gd name="connsiteY307" fmla="*/ 261575 h 689379"/>
                <a:gd name="connsiteX308" fmla="*/ 2255708 w 3024845"/>
                <a:gd name="connsiteY308" fmla="*/ 255090 h 689379"/>
                <a:gd name="connsiteX309" fmla="*/ 2261788 w 3024845"/>
                <a:gd name="connsiteY309" fmla="*/ 255090 h 689379"/>
                <a:gd name="connsiteX310" fmla="*/ 2263815 w 3024845"/>
                <a:gd name="connsiteY310" fmla="*/ 263737 h 689379"/>
                <a:gd name="connsiteX311" fmla="*/ 2275975 w 3024845"/>
                <a:gd name="connsiteY311" fmla="*/ 263737 h 689379"/>
                <a:gd name="connsiteX312" fmla="*/ 2275975 w 3024845"/>
                <a:gd name="connsiteY312" fmla="*/ 257251 h 689379"/>
                <a:gd name="connsiteX313" fmla="*/ 2298268 w 3024845"/>
                <a:gd name="connsiteY313" fmla="*/ 257251 h 689379"/>
                <a:gd name="connsiteX314" fmla="*/ 2298268 w 3024845"/>
                <a:gd name="connsiteY314" fmla="*/ 263737 h 689379"/>
                <a:gd name="connsiteX315" fmla="*/ 2318535 w 3024845"/>
                <a:gd name="connsiteY315" fmla="*/ 263737 h 689379"/>
                <a:gd name="connsiteX316" fmla="*/ 2318535 w 3024845"/>
                <a:gd name="connsiteY316" fmla="*/ 309134 h 689379"/>
                <a:gd name="connsiteX317" fmla="*/ 2332722 w 3024845"/>
                <a:gd name="connsiteY317" fmla="*/ 309134 h 689379"/>
                <a:gd name="connsiteX318" fmla="*/ 2332722 w 3024845"/>
                <a:gd name="connsiteY318" fmla="*/ 296163 h 689379"/>
                <a:gd name="connsiteX319" fmla="*/ 2348936 w 3024845"/>
                <a:gd name="connsiteY319" fmla="*/ 296163 h 689379"/>
                <a:gd name="connsiteX320" fmla="*/ 2348936 w 3024845"/>
                <a:gd name="connsiteY320" fmla="*/ 116736 h 689379"/>
                <a:gd name="connsiteX321" fmla="*/ 2355016 w 3024845"/>
                <a:gd name="connsiteY321" fmla="*/ 110250 h 689379"/>
                <a:gd name="connsiteX322" fmla="*/ 2427977 w 3024845"/>
                <a:gd name="connsiteY322" fmla="*/ 110250 h 689379"/>
                <a:gd name="connsiteX323" fmla="*/ 2427977 w 3024845"/>
                <a:gd name="connsiteY323" fmla="*/ 118898 h 689379"/>
                <a:gd name="connsiteX324" fmla="*/ 2438110 w 3024845"/>
                <a:gd name="connsiteY324" fmla="*/ 118898 h 689379"/>
                <a:gd name="connsiteX325" fmla="*/ 2438110 w 3024845"/>
                <a:gd name="connsiteY325" fmla="*/ 233472 h 689379"/>
                <a:gd name="connsiteX326" fmla="*/ 2460404 w 3024845"/>
                <a:gd name="connsiteY326" fmla="*/ 233472 h 689379"/>
                <a:gd name="connsiteX327" fmla="*/ 2460404 w 3024845"/>
                <a:gd name="connsiteY327" fmla="*/ 166457 h 689379"/>
                <a:gd name="connsiteX328" fmla="*/ 2486751 w 3024845"/>
                <a:gd name="connsiteY328" fmla="*/ 166457 h 689379"/>
                <a:gd name="connsiteX329" fmla="*/ 2490804 w 3024845"/>
                <a:gd name="connsiteY329" fmla="*/ 162133 h 689379"/>
                <a:gd name="connsiteX330" fmla="*/ 2498911 w 3024845"/>
                <a:gd name="connsiteY330" fmla="*/ 162133 h 689379"/>
                <a:gd name="connsiteX331" fmla="*/ 2502964 w 3024845"/>
                <a:gd name="connsiteY331" fmla="*/ 166457 h 689379"/>
                <a:gd name="connsiteX332" fmla="*/ 2525258 w 3024845"/>
                <a:gd name="connsiteY332" fmla="*/ 166457 h 689379"/>
                <a:gd name="connsiteX333" fmla="*/ 2525258 w 3024845"/>
                <a:gd name="connsiteY333" fmla="*/ 49721 h 689379"/>
                <a:gd name="connsiteX334" fmla="*/ 2582005 w 3024845"/>
                <a:gd name="connsiteY334" fmla="*/ 38912 h 689379"/>
                <a:gd name="connsiteX335" fmla="*/ 2582005 w 3024845"/>
                <a:gd name="connsiteY335" fmla="*/ 39993 h 689379"/>
                <a:gd name="connsiteX336" fmla="*/ 2582005 w 3024845"/>
                <a:gd name="connsiteY336" fmla="*/ 47559 h 689379"/>
                <a:gd name="connsiteX337" fmla="*/ 2608352 w 3024845"/>
                <a:gd name="connsiteY337" fmla="*/ 47559 h 689379"/>
                <a:gd name="connsiteX338" fmla="*/ 2608352 w 3024845"/>
                <a:gd name="connsiteY338" fmla="*/ 302649 h 689379"/>
                <a:gd name="connsiteX339" fmla="*/ 2630646 w 3024845"/>
                <a:gd name="connsiteY339" fmla="*/ 302649 h 689379"/>
                <a:gd name="connsiteX340" fmla="*/ 2630646 w 3024845"/>
                <a:gd name="connsiteY340" fmla="*/ 298325 h 689379"/>
                <a:gd name="connsiteX341" fmla="*/ 2642806 w 3024845"/>
                <a:gd name="connsiteY341" fmla="*/ 298325 h 689379"/>
                <a:gd name="connsiteX342" fmla="*/ 2642806 w 3024845"/>
                <a:gd name="connsiteY342" fmla="*/ 302649 h 689379"/>
                <a:gd name="connsiteX343" fmla="*/ 2667126 w 3024845"/>
                <a:gd name="connsiteY343" fmla="*/ 302649 h 689379"/>
                <a:gd name="connsiteX344" fmla="*/ 2667126 w 3024845"/>
                <a:gd name="connsiteY344" fmla="*/ 289678 h 689379"/>
                <a:gd name="connsiteX345" fmla="*/ 2695500 w 3024845"/>
                <a:gd name="connsiteY345" fmla="*/ 289678 h 689379"/>
                <a:gd name="connsiteX346" fmla="*/ 2707660 w 3024845"/>
                <a:gd name="connsiteY346" fmla="*/ 285354 h 689379"/>
                <a:gd name="connsiteX347" fmla="*/ 2727927 w 3024845"/>
                <a:gd name="connsiteY347" fmla="*/ 289678 h 689379"/>
                <a:gd name="connsiteX348" fmla="*/ 2727927 w 3024845"/>
                <a:gd name="connsiteY348" fmla="*/ 272384 h 689379"/>
                <a:gd name="connsiteX349" fmla="*/ 2736034 w 3024845"/>
                <a:gd name="connsiteY349" fmla="*/ 272384 h 689379"/>
                <a:gd name="connsiteX350" fmla="*/ 2736034 w 3024845"/>
                <a:gd name="connsiteY350" fmla="*/ 259413 h 689379"/>
                <a:gd name="connsiteX351" fmla="*/ 2792781 w 3024845"/>
                <a:gd name="connsiteY351" fmla="*/ 259413 h 689379"/>
                <a:gd name="connsiteX352" fmla="*/ 2792781 w 3024845"/>
                <a:gd name="connsiteY352" fmla="*/ 229148 h 689379"/>
                <a:gd name="connsiteX353" fmla="*/ 2811021 w 3024845"/>
                <a:gd name="connsiteY353" fmla="*/ 229148 h 689379"/>
                <a:gd name="connsiteX354" fmla="*/ 2811021 w 3024845"/>
                <a:gd name="connsiteY354" fmla="*/ 222663 h 689379"/>
                <a:gd name="connsiteX355" fmla="*/ 2823181 w 3024845"/>
                <a:gd name="connsiteY355" fmla="*/ 222663 h 689379"/>
                <a:gd name="connsiteX356" fmla="*/ 2823181 w 3024845"/>
                <a:gd name="connsiteY356" fmla="*/ 229148 h 689379"/>
                <a:gd name="connsiteX357" fmla="*/ 2839395 w 3024845"/>
                <a:gd name="connsiteY357" fmla="*/ 229148 h 689379"/>
                <a:gd name="connsiteX358" fmla="*/ 2839395 w 3024845"/>
                <a:gd name="connsiteY358" fmla="*/ 278869 h 689379"/>
                <a:gd name="connsiteX359" fmla="*/ 2871822 w 3024845"/>
                <a:gd name="connsiteY359" fmla="*/ 278869 h 689379"/>
                <a:gd name="connsiteX360" fmla="*/ 2871822 w 3024845"/>
                <a:gd name="connsiteY360" fmla="*/ 252928 h 689379"/>
                <a:gd name="connsiteX361" fmla="*/ 2910329 w 3024845"/>
                <a:gd name="connsiteY361" fmla="*/ 252928 h 689379"/>
                <a:gd name="connsiteX362" fmla="*/ 2910329 w 3024845"/>
                <a:gd name="connsiteY362" fmla="*/ 222663 h 689379"/>
                <a:gd name="connsiteX363" fmla="*/ 2958970 w 3024845"/>
                <a:gd name="connsiteY363" fmla="*/ 222663 h 689379"/>
                <a:gd name="connsiteX364" fmla="*/ 3024845 w 3024845"/>
                <a:gd name="connsiteY364" fmla="*/ 689379 h 689379"/>
                <a:gd name="connsiteX365" fmla="*/ 2054 w 3024845"/>
                <a:gd name="connsiteY365" fmla="*/ 687046 h 689379"/>
                <a:gd name="connsiteX366" fmla="*/ 0 w 3024845"/>
                <a:gd name="connsiteY366" fmla="*/ 252928 h 689379"/>
                <a:gd name="connsiteX367" fmla="*/ 20267 w 3024845"/>
                <a:gd name="connsiteY367" fmla="*/ 252928 h 689379"/>
                <a:gd name="connsiteX368" fmla="*/ 20774 w 3024845"/>
                <a:gd name="connsiteY368" fmla="*/ 251847 h 689379"/>
                <a:gd name="connsiteX369" fmla="*/ 24320 w 3024845"/>
                <a:gd name="connsiteY369" fmla="*/ 244281 h 689379"/>
                <a:gd name="connsiteX370" fmla="*/ 26094 w 3024845"/>
                <a:gd name="connsiteY370" fmla="*/ 244551 h 689379"/>
                <a:gd name="connsiteX371" fmla="*/ 38507 w 3024845"/>
                <a:gd name="connsiteY371" fmla="*/ 246442 h 689379"/>
                <a:gd name="connsiteX372" fmla="*/ 39014 w 3024845"/>
                <a:gd name="connsiteY372" fmla="*/ 247794 h 689379"/>
                <a:gd name="connsiteX373" fmla="*/ 42560 w 3024845"/>
                <a:gd name="connsiteY373" fmla="*/ 257251 h 689379"/>
                <a:gd name="connsiteX374" fmla="*/ 68907 w 3024845"/>
                <a:gd name="connsiteY374" fmla="*/ 259413 h 689379"/>
                <a:gd name="connsiteX375" fmla="*/ 68907 w 3024845"/>
                <a:gd name="connsiteY375" fmla="*/ 136192 h 689379"/>
                <a:gd name="connsiteX376" fmla="*/ 70934 w 3024845"/>
                <a:gd name="connsiteY376" fmla="*/ 136192 h 689379"/>
                <a:gd name="connsiteX377" fmla="*/ 85121 w 3024845"/>
                <a:gd name="connsiteY377" fmla="*/ 136192 h 689379"/>
                <a:gd name="connsiteX378" fmla="*/ 85121 w 3024845"/>
                <a:gd name="connsiteY378" fmla="*/ 0 h 689379"/>
                <a:gd name="connsiteX379" fmla="*/ 86894 w 3024845"/>
                <a:gd name="connsiteY379" fmla="*/ 0 h 689379"/>
                <a:gd name="connsiteX380" fmla="*/ 99308 w 3024845"/>
                <a:gd name="connsiteY380" fmla="*/ 0 h 689379"/>
                <a:gd name="connsiteX0" fmla="*/ 99308 w 2961438"/>
                <a:gd name="connsiteY0" fmla="*/ 0 h 689379"/>
                <a:gd name="connsiteX1" fmla="*/ 220909 w 2961438"/>
                <a:gd name="connsiteY1" fmla="*/ 0 h 689379"/>
                <a:gd name="connsiteX2" fmla="*/ 223189 w 2961438"/>
                <a:gd name="connsiteY2" fmla="*/ 0 h 689379"/>
                <a:gd name="connsiteX3" fmla="*/ 239150 w 2961438"/>
                <a:gd name="connsiteY3" fmla="*/ 0 h 689379"/>
                <a:gd name="connsiteX4" fmla="*/ 239150 w 2961438"/>
                <a:gd name="connsiteY4" fmla="*/ 140515 h 689379"/>
                <a:gd name="connsiteX5" fmla="*/ 240670 w 2961438"/>
                <a:gd name="connsiteY5" fmla="*/ 140245 h 689379"/>
                <a:gd name="connsiteX6" fmla="*/ 251310 w 2961438"/>
                <a:gd name="connsiteY6" fmla="*/ 138354 h 689379"/>
                <a:gd name="connsiteX7" fmla="*/ 249283 w 2961438"/>
                <a:gd name="connsiteY7" fmla="*/ 226986 h 689379"/>
                <a:gd name="connsiteX8" fmla="*/ 250803 w 2961438"/>
                <a:gd name="connsiteY8" fmla="*/ 227257 h 689379"/>
                <a:gd name="connsiteX9" fmla="*/ 261443 w 2961438"/>
                <a:gd name="connsiteY9" fmla="*/ 229148 h 689379"/>
                <a:gd name="connsiteX10" fmla="*/ 261696 w 2961438"/>
                <a:gd name="connsiteY10" fmla="*/ 229959 h 689379"/>
                <a:gd name="connsiteX11" fmla="*/ 263470 w 2961438"/>
                <a:gd name="connsiteY11" fmla="*/ 235634 h 689379"/>
                <a:gd name="connsiteX12" fmla="*/ 264230 w 2961438"/>
                <a:gd name="connsiteY12" fmla="*/ 233202 h 689379"/>
                <a:gd name="connsiteX13" fmla="*/ 269550 w 2961438"/>
                <a:gd name="connsiteY13" fmla="*/ 216178 h 689379"/>
                <a:gd name="connsiteX14" fmla="*/ 271323 w 2961438"/>
                <a:gd name="connsiteY14" fmla="*/ 216178 h 689379"/>
                <a:gd name="connsiteX15" fmla="*/ 283737 w 2961438"/>
                <a:gd name="connsiteY15" fmla="*/ 216178 h 689379"/>
                <a:gd name="connsiteX16" fmla="*/ 283737 w 2961438"/>
                <a:gd name="connsiteY16" fmla="*/ 248604 h 689379"/>
                <a:gd name="connsiteX17" fmla="*/ 284750 w 2961438"/>
                <a:gd name="connsiteY17" fmla="*/ 249145 h 689379"/>
                <a:gd name="connsiteX18" fmla="*/ 291844 w 2961438"/>
                <a:gd name="connsiteY18" fmla="*/ 252928 h 689379"/>
                <a:gd name="connsiteX19" fmla="*/ 291844 w 2961438"/>
                <a:gd name="connsiteY19" fmla="*/ 254279 h 689379"/>
                <a:gd name="connsiteX20" fmla="*/ 291844 w 2961438"/>
                <a:gd name="connsiteY20" fmla="*/ 263737 h 689379"/>
                <a:gd name="connsiteX21" fmla="*/ 336431 w 2961438"/>
                <a:gd name="connsiteY21" fmla="*/ 263737 h 689379"/>
                <a:gd name="connsiteX22" fmla="*/ 336431 w 2961438"/>
                <a:gd name="connsiteY22" fmla="*/ 264818 h 689379"/>
                <a:gd name="connsiteX23" fmla="*/ 336431 w 2961438"/>
                <a:gd name="connsiteY23" fmla="*/ 272384 h 689379"/>
                <a:gd name="connsiteX24" fmla="*/ 338457 w 2961438"/>
                <a:gd name="connsiteY24" fmla="*/ 272384 h 689379"/>
                <a:gd name="connsiteX25" fmla="*/ 352644 w 2961438"/>
                <a:gd name="connsiteY25" fmla="*/ 272384 h 689379"/>
                <a:gd name="connsiteX26" fmla="*/ 352644 w 2961438"/>
                <a:gd name="connsiteY26" fmla="*/ 242119 h 689379"/>
                <a:gd name="connsiteX27" fmla="*/ 397231 w 2961438"/>
                <a:gd name="connsiteY27" fmla="*/ 242119 h 689379"/>
                <a:gd name="connsiteX28" fmla="*/ 397231 w 2961438"/>
                <a:gd name="connsiteY28" fmla="*/ 240768 h 689379"/>
                <a:gd name="connsiteX29" fmla="*/ 397231 w 2961438"/>
                <a:gd name="connsiteY29" fmla="*/ 231310 h 689379"/>
                <a:gd name="connsiteX30" fmla="*/ 398245 w 2961438"/>
                <a:gd name="connsiteY30" fmla="*/ 231310 h 689379"/>
                <a:gd name="connsiteX31" fmla="*/ 405338 w 2961438"/>
                <a:gd name="connsiteY31" fmla="*/ 231310 h 689379"/>
                <a:gd name="connsiteX32" fmla="*/ 405338 w 2961438"/>
                <a:gd name="connsiteY32" fmla="*/ 229419 h 689379"/>
                <a:gd name="connsiteX33" fmla="*/ 405338 w 2961438"/>
                <a:gd name="connsiteY33" fmla="*/ 216178 h 689379"/>
                <a:gd name="connsiteX34" fmla="*/ 406098 w 2961438"/>
                <a:gd name="connsiteY34" fmla="*/ 216178 h 689379"/>
                <a:gd name="connsiteX35" fmla="*/ 411418 w 2961438"/>
                <a:gd name="connsiteY35" fmla="*/ 216178 h 689379"/>
                <a:gd name="connsiteX36" fmla="*/ 411418 w 2961438"/>
                <a:gd name="connsiteY36" fmla="*/ 215097 h 689379"/>
                <a:gd name="connsiteX37" fmla="*/ 411418 w 2961438"/>
                <a:gd name="connsiteY37" fmla="*/ 207530 h 689379"/>
                <a:gd name="connsiteX38" fmla="*/ 413445 w 2961438"/>
                <a:gd name="connsiteY38" fmla="*/ 207530 h 689379"/>
                <a:gd name="connsiteX39" fmla="*/ 427632 w 2961438"/>
                <a:gd name="connsiteY39" fmla="*/ 207530 h 689379"/>
                <a:gd name="connsiteX40" fmla="*/ 427632 w 2961438"/>
                <a:gd name="connsiteY40" fmla="*/ 208611 h 689379"/>
                <a:gd name="connsiteX41" fmla="*/ 427632 w 2961438"/>
                <a:gd name="connsiteY41" fmla="*/ 216178 h 689379"/>
                <a:gd name="connsiteX42" fmla="*/ 449925 w 2961438"/>
                <a:gd name="connsiteY42" fmla="*/ 216178 h 689379"/>
                <a:gd name="connsiteX43" fmla="*/ 449925 w 2961438"/>
                <a:gd name="connsiteY43" fmla="*/ 214286 h 689379"/>
                <a:gd name="connsiteX44" fmla="*/ 449925 w 2961438"/>
                <a:gd name="connsiteY44" fmla="*/ 201045 h 689379"/>
                <a:gd name="connsiteX45" fmla="*/ 451699 w 2961438"/>
                <a:gd name="connsiteY45" fmla="*/ 201045 h 689379"/>
                <a:gd name="connsiteX46" fmla="*/ 464112 w 2961438"/>
                <a:gd name="connsiteY46" fmla="*/ 201045 h 689379"/>
                <a:gd name="connsiteX47" fmla="*/ 464112 w 2961438"/>
                <a:gd name="connsiteY47" fmla="*/ 224825 h 689379"/>
                <a:gd name="connsiteX48" fmla="*/ 465126 w 2961438"/>
                <a:gd name="connsiteY48" fmla="*/ 224825 h 689379"/>
                <a:gd name="connsiteX49" fmla="*/ 472219 w 2961438"/>
                <a:gd name="connsiteY49" fmla="*/ 224825 h 689379"/>
                <a:gd name="connsiteX50" fmla="*/ 472219 w 2961438"/>
                <a:gd name="connsiteY50" fmla="*/ 223744 h 689379"/>
                <a:gd name="connsiteX51" fmla="*/ 472219 w 2961438"/>
                <a:gd name="connsiteY51" fmla="*/ 216178 h 689379"/>
                <a:gd name="connsiteX52" fmla="*/ 473992 w 2961438"/>
                <a:gd name="connsiteY52" fmla="*/ 216178 h 689379"/>
                <a:gd name="connsiteX53" fmla="*/ 486406 w 2961438"/>
                <a:gd name="connsiteY53" fmla="*/ 216178 h 689379"/>
                <a:gd name="connsiteX54" fmla="*/ 486406 w 2961438"/>
                <a:gd name="connsiteY54" fmla="*/ 242119 h 689379"/>
                <a:gd name="connsiteX55" fmla="*/ 488433 w 2961438"/>
                <a:gd name="connsiteY55" fmla="*/ 242119 h 689379"/>
                <a:gd name="connsiteX56" fmla="*/ 502619 w 2961438"/>
                <a:gd name="connsiteY56" fmla="*/ 242119 h 689379"/>
                <a:gd name="connsiteX57" fmla="*/ 502619 w 2961438"/>
                <a:gd name="connsiteY57" fmla="*/ 243740 h 689379"/>
                <a:gd name="connsiteX58" fmla="*/ 502619 w 2961438"/>
                <a:gd name="connsiteY58" fmla="*/ 255090 h 689379"/>
                <a:gd name="connsiteX59" fmla="*/ 503379 w 2961438"/>
                <a:gd name="connsiteY59" fmla="*/ 255090 h 689379"/>
                <a:gd name="connsiteX60" fmla="*/ 508700 w 2961438"/>
                <a:gd name="connsiteY60" fmla="*/ 255090 h 689379"/>
                <a:gd name="connsiteX61" fmla="*/ 508700 w 2961438"/>
                <a:gd name="connsiteY61" fmla="*/ 254279 h 689379"/>
                <a:gd name="connsiteX62" fmla="*/ 508700 w 2961438"/>
                <a:gd name="connsiteY62" fmla="*/ 248604 h 689379"/>
                <a:gd name="connsiteX63" fmla="*/ 539100 w 2961438"/>
                <a:gd name="connsiteY63" fmla="*/ 248604 h 689379"/>
                <a:gd name="connsiteX64" fmla="*/ 539100 w 2961438"/>
                <a:gd name="connsiteY64" fmla="*/ 272384 h 689379"/>
                <a:gd name="connsiteX65" fmla="*/ 540113 w 2961438"/>
                <a:gd name="connsiteY65" fmla="*/ 272384 h 689379"/>
                <a:gd name="connsiteX66" fmla="*/ 547207 w 2961438"/>
                <a:gd name="connsiteY66" fmla="*/ 272384 h 689379"/>
                <a:gd name="connsiteX67" fmla="*/ 547207 w 2961438"/>
                <a:gd name="connsiteY67" fmla="*/ 273465 h 689379"/>
                <a:gd name="connsiteX68" fmla="*/ 547207 w 2961438"/>
                <a:gd name="connsiteY68" fmla="*/ 281031 h 689379"/>
                <a:gd name="connsiteX69" fmla="*/ 547967 w 2961438"/>
                <a:gd name="connsiteY69" fmla="*/ 281031 h 689379"/>
                <a:gd name="connsiteX70" fmla="*/ 553287 w 2961438"/>
                <a:gd name="connsiteY70" fmla="*/ 281031 h 689379"/>
                <a:gd name="connsiteX71" fmla="*/ 553287 w 2961438"/>
                <a:gd name="connsiteY71" fmla="*/ 278869 h 689379"/>
                <a:gd name="connsiteX72" fmla="*/ 553287 w 2961438"/>
                <a:gd name="connsiteY72" fmla="*/ 263737 h 689379"/>
                <a:gd name="connsiteX73" fmla="*/ 554300 w 2961438"/>
                <a:gd name="connsiteY73" fmla="*/ 263737 h 689379"/>
                <a:gd name="connsiteX74" fmla="*/ 561394 w 2961438"/>
                <a:gd name="connsiteY74" fmla="*/ 263737 h 689379"/>
                <a:gd name="connsiteX75" fmla="*/ 561394 w 2961438"/>
                <a:gd name="connsiteY75" fmla="*/ 264818 h 689379"/>
                <a:gd name="connsiteX76" fmla="*/ 561394 w 2961438"/>
                <a:gd name="connsiteY76" fmla="*/ 272384 h 689379"/>
                <a:gd name="connsiteX77" fmla="*/ 566714 w 2961438"/>
                <a:gd name="connsiteY77" fmla="*/ 270391 h 689379"/>
                <a:gd name="connsiteX78" fmla="*/ 567474 w 2961438"/>
                <a:gd name="connsiteY78" fmla="*/ 269411 h 689379"/>
                <a:gd name="connsiteX79" fmla="*/ 567474 w 2961438"/>
                <a:gd name="connsiteY79" fmla="*/ 263737 h 689379"/>
                <a:gd name="connsiteX80" fmla="*/ 605981 w 2961438"/>
                <a:gd name="connsiteY80" fmla="*/ 263737 h 689379"/>
                <a:gd name="connsiteX81" fmla="*/ 605981 w 2961438"/>
                <a:gd name="connsiteY81" fmla="*/ 287516 h 689379"/>
                <a:gd name="connsiteX82" fmla="*/ 608007 w 2961438"/>
                <a:gd name="connsiteY82" fmla="*/ 287516 h 689379"/>
                <a:gd name="connsiteX83" fmla="*/ 622194 w 2961438"/>
                <a:gd name="connsiteY83" fmla="*/ 287516 h 689379"/>
                <a:gd name="connsiteX84" fmla="*/ 622194 w 2961438"/>
                <a:gd name="connsiteY84" fmla="*/ 288597 h 689379"/>
                <a:gd name="connsiteX85" fmla="*/ 622194 w 2961438"/>
                <a:gd name="connsiteY85" fmla="*/ 296163 h 689379"/>
                <a:gd name="connsiteX86" fmla="*/ 623968 w 2961438"/>
                <a:gd name="connsiteY86" fmla="*/ 296163 h 689379"/>
                <a:gd name="connsiteX87" fmla="*/ 636381 w 2961438"/>
                <a:gd name="connsiteY87" fmla="*/ 296163 h 689379"/>
                <a:gd name="connsiteX88" fmla="*/ 636381 w 2961438"/>
                <a:gd name="connsiteY88" fmla="*/ 272384 h 689379"/>
                <a:gd name="connsiteX89" fmla="*/ 637394 w 2961438"/>
                <a:gd name="connsiteY89" fmla="*/ 272384 h 689379"/>
                <a:gd name="connsiteX90" fmla="*/ 644488 w 2961438"/>
                <a:gd name="connsiteY90" fmla="*/ 272384 h 689379"/>
                <a:gd name="connsiteX91" fmla="*/ 644488 w 2961438"/>
                <a:gd name="connsiteY91" fmla="*/ 239957 h 689379"/>
                <a:gd name="connsiteX92" fmla="*/ 645501 w 2961438"/>
                <a:gd name="connsiteY92" fmla="*/ 239957 h 689379"/>
                <a:gd name="connsiteX93" fmla="*/ 652595 w 2961438"/>
                <a:gd name="connsiteY93" fmla="*/ 239957 h 689379"/>
                <a:gd name="connsiteX94" fmla="*/ 652595 w 2961438"/>
                <a:gd name="connsiteY94" fmla="*/ 238066 h 689379"/>
                <a:gd name="connsiteX95" fmla="*/ 652595 w 2961438"/>
                <a:gd name="connsiteY95" fmla="*/ 224825 h 689379"/>
                <a:gd name="connsiteX96" fmla="*/ 651328 w 2961438"/>
                <a:gd name="connsiteY96" fmla="*/ 223203 h 689379"/>
                <a:gd name="connsiteX97" fmla="*/ 656648 w 2961438"/>
                <a:gd name="connsiteY97" fmla="*/ 211854 h 689379"/>
                <a:gd name="connsiteX98" fmla="*/ 664755 w 2961438"/>
                <a:gd name="connsiteY98" fmla="*/ 239957 h 689379"/>
                <a:gd name="connsiteX99" fmla="*/ 665515 w 2961438"/>
                <a:gd name="connsiteY99" fmla="*/ 239957 h 689379"/>
                <a:gd name="connsiteX100" fmla="*/ 670835 w 2961438"/>
                <a:gd name="connsiteY100" fmla="*/ 239957 h 689379"/>
                <a:gd name="connsiteX101" fmla="*/ 670835 w 2961438"/>
                <a:gd name="connsiteY101" fmla="*/ 134030 h 689379"/>
                <a:gd name="connsiteX102" fmla="*/ 672355 w 2961438"/>
                <a:gd name="connsiteY102" fmla="*/ 134030 h 689379"/>
                <a:gd name="connsiteX103" fmla="*/ 682995 w 2961438"/>
                <a:gd name="connsiteY103" fmla="*/ 134030 h 689379"/>
                <a:gd name="connsiteX104" fmla="*/ 682995 w 2961438"/>
                <a:gd name="connsiteY104" fmla="*/ 86471 h 689379"/>
                <a:gd name="connsiteX105" fmla="*/ 709342 w 2961438"/>
                <a:gd name="connsiteY105" fmla="*/ 86471 h 689379"/>
                <a:gd name="connsiteX106" fmla="*/ 709342 w 2961438"/>
                <a:gd name="connsiteY106" fmla="*/ 64853 h 689379"/>
                <a:gd name="connsiteX107" fmla="*/ 743796 w 2961438"/>
                <a:gd name="connsiteY107" fmla="*/ 64853 h 689379"/>
                <a:gd name="connsiteX108" fmla="*/ 743796 w 2961438"/>
                <a:gd name="connsiteY108" fmla="*/ 67285 h 689379"/>
                <a:gd name="connsiteX109" fmla="*/ 743796 w 2961438"/>
                <a:gd name="connsiteY109" fmla="*/ 84309 h 689379"/>
                <a:gd name="connsiteX110" fmla="*/ 746076 w 2961438"/>
                <a:gd name="connsiteY110" fmla="*/ 84309 h 689379"/>
                <a:gd name="connsiteX111" fmla="*/ 762036 w 2961438"/>
                <a:gd name="connsiteY111" fmla="*/ 84309 h 689379"/>
                <a:gd name="connsiteX112" fmla="*/ 762036 w 2961438"/>
                <a:gd name="connsiteY112" fmla="*/ 131868 h 689379"/>
                <a:gd name="connsiteX113" fmla="*/ 763049 w 2961438"/>
                <a:gd name="connsiteY113" fmla="*/ 131868 h 689379"/>
                <a:gd name="connsiteX114" fmla="*/ 770143 w 2961438"/>
                <a:gd name="connsiteY114" fmla="*/ 131868 h 689379"/>
                <a:gd name="connsiteX115" fmla="*/ 784330 w 2961438"/>
                <a:gd name="connsiteY115" fmla="*/ 136192 h 689379"/>
                <a:gd name="connsiteX116" fmla="*/ 784330 w 2961438"/>
                <a:gd name="connsiteY116" fmla="*/ 175104 h 689379"/>
                <a:gd name="connsiteX117" fmla="*/ 785343 w 2961438"/>
                <a:gd name="connsiteY117" fmla="*/ 175104 h 689379"/>
                <a:gd name="connsiteX118" fmla="*/ 792436 w 2961438"/>
                <a:gd name="connsiteY118" fmla="*/ 175104 h 689379"/>
                <a:gd name="connsiteX119" fmla="*/ 792436 w 2961438"/>
                <a:gd name="connsiteY119" fmla="*/ 176725 h 689379"/>
                <a:gd name="connsiteX120" fmla="*/ 792436 w 2961438"/>
                <a:gd name="connsiteY120" fmla="*/ 188074 h 689379"/>
                <a:gd name="connsiteX121" fmla="*/ 794463 w 2961438"/>
                <a:gd name="connsiteY121" fmla="*/ 188074 h 689379"/>
                <a:gd name="connsiteX122" fmla="*/ 808650 w 2961438"/>
                <a:gd name="connsiteY122" fmla="*/ 188074 h 689379"/>
                <a:gd name="connsiteX123" fmla="*/ 814730 w 2961438"/>
                <a:gd name="connsiteY123" fmla="*/ 194560 h 689379"/>
                <a:gd name="connsiteX124" fmla="*/ 814730 w 2961438"/>
                <a:gd name="connsiteY124" fmla="*/ 216178 h 689379"/>
                <a:gd name="connsiteX125" fmla="*/ 817010 w 2961438"/>
                <a:gd name="connsiteY125" fmla="*/ 216178 h 689379"/>
                <a:gd name="connsiteX126" fmla="*/ 832970 w 2961438"/>
                <a:gd name="connsiteY126" fmla="*/ 216178 h 689379"/>
                <a:gd name="connsiteX127" fmla="*/ 832970 w 2961438"/>
                <a:gd name="connsiteY127" fmla="*/ 217258 h 689379"/>
                <a:gd name="connsiteX128" fmla="*/ 832970 w 2961438"/>
                <a:gd name="connsiteY128" fmla="*/ 224825 h 689379"/>
                <a:gd name="connsiteX129" fmla="*/ 834237 w 2961438"/>
                <a:gd name="connsiteY129" fmla="*/ 224825 h 689379"/>
                <a:gd name="connsiteX130" fmla="*/ 843104 w 2961438"/>
                <a:gd name="connsiteY130" fmla="*/ 224825 h 689379"/>
                <a:gd name="connsiteX131" fmla="*/ 843104 w 2961438"/>
                <a:gd name="connsiteY131" fmla="*/ 226986 h 689379"/>
                <a:gd name="connsiteX132" fmla="*/ 843104 w 2961438"/>
                <a:gd name="connsiteY132" fmla="*/ 242119 h 689379"/>
                <a:gd name="connsiteX133" fmla="*/ 847157 w 2961438"/>
                <a:gd name="connsiteY133" fmla="*/ 240227 h 689379"/>
                <a:gd name="connsiteX134" fmla="*/ 847157 w 2961438"/>
                <a:gd name="connsiteY134" fmla="*/ 226986 h 689379"/>
                <a:gd name="connsiteX135" fmla="*/ 848170 w 2961438"/>
                <a:gd name="connsiteY135" fmla="*/ 226986 h 689379"/>
                <a:gd name="connsiteX136" fmla="*/ 855264 w 2961438"/>
                <a:gd name="connsiteY136" fmla="*/ 226986 h 689379"/>
                <a:gd name="connsiteX137" fmla="*/ 855264 w 2961438"/>
                <a:gd name="connsiteY137" fmla="*/ 228608 h 689379"/>
                <a:gd name="connsiteX138" fmla="*/ 855264 w 2961438"/>
                <a:gd name="connsiteY138" fmla="*/ 239957 h 689379"/>
                <a:gd name="connsiteX139" fmla="*/ 856024 w 2961438"/>
                <a:gd name="connsiteY139" fmla="*/ 239957 h 689379"/>
                <a:gd name="connsiteX140" fmla="*/ 861344 w 2961438"/>
                <a:gd name="connsiteY140" fmla="*/ 239957 h 689379"/>
                <a:gd name="connsiteX141" fmla="*/ 909984 w 2961438"/>
                <a:gd name="connsiteY141" fmla="*/ 235634 h 689379"/>
                <a:gd name="connsiteX142" fmla="*/ 909984 w 2961438"/>
                <a:gd name="connsiteY142" fmla="*/ 236985 h 689379"/>
                <a:gd name="connsiteX143" fmla="*/ 909984 w 2961438"/>
                <a:gd name="connsiteY143" fmla="*/ 246442 h 689379"/>
                <a:gd name="connsiteX144" fmla="*/ 910744 w 2961438"/>
                <a:gd name="connsiteY144" fmla="*/ 246442 h 689379"/>
                <a:gd name="connsiteX145" fmla="*/ 916065 w 2961438"/>
                <a:gd name="connsiteY145" fmla="*/ 246442 h 689379"/>
                <a:gd name="connsiteX146" fmla="*/ 916065 w 2961438"/>
                <a:gd name="connsiteY146" fmla="*/ 248604 h 689379"/>
                <a:gd name="connsiteX147" fmla="*/ 916065 w 2961438"/>
                <a:gd name="connsiteY147" fmla="*/ 263737 h 689379"/>
                <a:gd name="connsiteX148" fmla="*/ 918091 w 2961438"/>
                <a:gd name="connsiteY148" fmla="*/ 262386 h 689379"/>
                <a:gd name="connsiteX149" fmla="*/ 932278 w 2961438"/>
                <a:gd name="connsiteY149" fmla="*/ 252928 h 689379"/>
                <a:gd name="connsiteX150" fmla="*/ 938358 w 2961438"/>
                <a:gd name="connsiteY150" fmla="*/ 211854 h 689379"/>
                <a:gd name="connsiteX151" fmla="*/ 939118 w 2961438"/>
                <a:gd name="connsiteY151" fmla="*/ 211584 h 689379"/>
                <a:gd name="connsiteX152" fmla="*/ 944438 w 2961438"/>
                <a:gd name="connsiteY152" fmla="*/ 209692 h 689379"/>
                <a:gd name="connsiteX153" fmla="*/ 946465 w 2961438"/>
                <a:gd name="connsiteY153" fmla="*/ 140515 h 689379"/>
                <a:gd name="connsiteX154" fmla="*/ 948492 w 2961438"/>
                <a:gd name="connsiteY154" fmla="*/ 209692 h 689379"/>
                <a:gd name="connsiteX155" fmla="*/ 949252 w 2961438"/>
                <a:gd name="connsiteY155" fmla="*/ 209962 h 689379"/>
                <a:gd name="connsiteX156" fmla="*/ 954572 w 2961438"/>
                <a:gd name="connsiteY156" fmla="*/ 211854 h 689379"/>
                <a:gd name="connsiteX157" fmla="*/ 954572 w 2961438"/>
                <a:gd name="connsiteY157" fmla="*/ 125383 h 689379"/>
                <a:gd name="connsiteX158" fmla="*/ 958625 w 2961438"/>
                <a:gd name="connsiteY158" fmla="*/ 92956 h 689379"/>
                <a:gd name="connsiteX159" fmla="*/ 997132 w 2961438"/>
                <a:gd name="connsiteY159" fmla="*/ 92956 h 689379"/>
                <a:gd name="connsiteX160" fmla="*/ 997132 w 2961438"/>
                <a:gd name="connsiteY160" fmla="*/ 125383 h 689379"/>
                <a:gd name="connsiteX161" fmla="*/ 997892 w 2961438"/>
                <a:gd name="connsiteY161" fmla="*/ 125383 h 689379"/>
                <a:gd name="connsiteX162" fmla="*/ 1003212 w 2961438"/>
                <a:gd name="connsiteY162" fmla="*/ 125383 h 689379"/>
                <a:gd name="connsiteX163" fmla="*/ 1003212 w 2961438"/>
                <a:gd name="connsiteY163" fmla="*/ 43235 h 689379"/>
                <a:gd name="connsiteX164" fmla="*/ 1004986 w 2961438"/>
                <a:gd name="connsiteY164" fmla="*/ 43235 h 689379"/>
                <a:gd name="connsiteX165" fmla="*/ 1017399 w 2961438"/>
                <a:gd name="connsiteY165" fmla="*/ 43235 h 689379"/>
                <a:gd name="connsiteX166" fmla="*/ 1017399 w 2961438"/>
                <a:gd name="connsiteY166" fmla="*/ 41344 h 689379"/>
                <a:gd name="connsiteX167" fmla="*/ 1017399 w 2961438"/>
                <a:gd name="connsiteY167" fmla="*/ 28103 h 689379"/>
                <a:gd name="connsiteX168" fmla="*/ 1039693 w 2961438"/>
                <a:gd name="connsiteY168" fmla="*/ 28103 h 689379"/>
                <a:gd name="connsiteX169" fmla="*/ 1039693 w 2961438"/>
                <a:gd name="connsiteY169" fmla="*/ 27022 h 689379"/>
                <a:gd name="connsiteX170" fmla="*/ 1039693 w 2961438"/>
                <a:gd name="connsiteY170" fmla="*/ 19456 h 689379"/>
                <a:gd name="connsiteX171" fmla="*/ 1041466 w 2961438"/>
                <a:gd name="connsiteY171" fmla="*/ 19456 h 689379"/>
                <a:gd name="connsiteX172" fmla="*/ 1053880 w 2961438"/>
                <a:gd name="connsiteY172" fmla="*/ 19456 h 689379"/>
                <a:gd name="connsiteX173" fmla="*/ 1053880 w 2961438"/>
                <a:gd name="connsiteY173" fmla="*/ 20537 h 689379"/>
                <a:gd name="connsiteX174" fmla="*/ 1053880 w 2961438"/>
                <a:gd name="connsiteY174" fmla="*/ 28103 h 689379"/>
                <a:gd name="connsiteX175" fmla="*/ 1054640 w 2961438"/>
                <a:gd name="connsiteY175" fmla="*/ 28103 h 689379"/>
                <a:gd name="connsiteX176" fmla="*/ 1059960 w 2961438"/>
                <a:gd name="connsiteY176" fmla="*/ 28103 h 689379"/>
                <a:gd name="connsiteX177" fmla="*/ 1070093 w 2961438"/>
                <a:gd name="connsiteY177" fmla="*/ 23779 h 689379"/>
                <a:gd name="connsiteX178" fmla="*/ 1074146 w 2961438"/>
                <a:gd name="connsiteY178" fmla="*/ 27022 h 689379"/>
                <a:gd name="connsiteX179" fmla="*/ 1074146 w 2961438"/>
                <a:gd name="connsiteY179" fmla="*/ 19456 h 689379"/>
                <a:gd name="connsiteX180" fmla="*/ 1076426 w 2961438"/>
                <a:gd name="connsiteY180" fmla="*/ 19456 h 689379"/>
                <a:gd name="connsiteX181" fmla="*/ 1092387 w 2961438"/>
                <a:gd name="connsiteY181" fmla="*/ 19456 h 689379"/>
                <a:gd name="connsiteX182" fmla="*/ 1092387 w 2961438"/>
                <a:gd name="connsiteY182" fmla="*/ 20537 h 689379"/>
                <a:gd name="connsiteX183" fmla="*/ 1092387 w 2961438"/>
                <a:gd name="connsiteY183" fmla="*/ 28103 h 689379"/>
                <a:gd name="connsiteX184" fmla="*/ 1122787 w 2961438"/>
                <a:gd name="connsiteY184" fmla="*/ 28103 h 689379"/>
                <a:gd name="connsiteX185" fmla="*/ 1122787 w 2961438"/>
                <a:gd name="connsiteY185" fmla="*/ 29724 h 689379"/>
                <a:gd name="connsiteX186" fmla="*/ 1122787 w 2961438"/>
                <a:gd name="connsiteY186" fmla="*/ 41074 h 689379"/>
                <a:gd name="connsiteX187" fmla="*/ 1149134 w 2961438"/>
                <a:gd name="connsiteY187" fmla="*/ 41074 h 689379"/>
                <a:gd name="connsiteX188" fmla="*/ 1149134 w 2961438"/>
                <a:gd name="connsiteY188" fmla="*/ 71338 h 689379"/>
                <a:gd name="connsiteX189" fmla="*/ 1149894 w 2961438"/>
                <a:gd name="connsiteY189" fmla="*/ 71338 h 689379"/>
                <a:gd name="connsiteX190" fmla="*/ 1155214 w 2961438"/>
                <a:gd name="connsiteY190" fmla="*/ 71338 h 689379"/>
                <a:gd name="connsiteX191" fmla="*/ 1155214 w 2961438"/>
                <a:gd name="connsiteY191" fmla="*/ 72419 h 689379"/>
                <a:gd name="connsiteX192" fmla="*/ 1155214 w 2961438"/>
                <a:gd name="connsiteY192" fmla="*/ 79986 h 689379"/>
                <a:gd name="connsiteX193" fmla="*/ 1159268 w 2961438"/>
                <a:gd name="connsiteY193" fmla="*/ 110250 h 689379"/>
                <a:gd name="connsiteX194" fmla="*/ 1160028 w 2961438"/>
                <a:gd name="connsiteY194" fmla="*/ 110250 h 689379"/>
                <a:gd name="connsiteX195" fmla="*/ 1165348 w 2961438"/>
                <a:gd name="connsiteY195" fmla="*/ 110250 h 689379"/>
                <a:gd name="connsiteX196" fmla="*/ 1165348 w 2961438"/>
                <a:gd name="connsiteY196" fmla="*/ 111061 h 689379"/>
                <a:gd name="connsiteX197" fmla="*/ 1165348 w 2961438"/>
                <a:gd name="connsiteY197" fmla="*/ 116736 h 689379"/>
                <a:gd name="connsiteX198" fmla="*/ 1166361 w 2961438"/>
                <a:gd name="connsiteY198" fmla="*/ 116736 h 689379"/>
                <a:gd name="connsiteX199" fmla="*/ 1173454 w 2961438"/>
                <a:gd name="connsiteY199" fmla="*/ 116736 h 689379"/>
                <a:gd name="connsiteX200" fmla="*/ 1173454 w 2961438"/>
                <a:gd name="connsiteY200" fmla="*/ 147001 h 689379"/>
                <a:gd name="connsiteX201" fmla="*/ 1175481 w 2961438"/>
                <a:gd name="connsiteY201" fmla="*/ 147001 h 689379"/>
                <a:gd name="connsiteX202" fmla="*/ 1189668 w 2961438"/>
                <a:gd name="connsiteY202" fmla="*/ 147001 h 689379"/>
                <a:gd name="connsiteX203" fmla="*/ 1189668 w 2961438"/>
                <a:gd name="connsiteY203" fmla="*/ 170780 h 689379"/>
                <a:gd name="connsiteX204" fmla="*/ 1191695 w 2961438"/>
                <a:gd name="connsiteY204" fmla="*/ 172401 h 689379"/>
                <a:gd name="connsiteX205" fmla="*/ 1191695 w 2961438"/>
                <a:gd name="connsiteY205" fmla="*/ 183751 h 689379"/>
                <a:gd name="connsiteX206" fmla="*/ 1192455 w 2961438"/>
                <a:gd name="connsiteY206" fmla="*/ 183751 h 689379"/>
                <a:gd name="connsiteX207" fmla="*/ 1197775 w 2961438"/>
                <a:gd name="connsiteY207" fmla="*/ 183751 h 689379"/>
                <a:gd name="connsiteX208" fmla="*/ 1197775 w 2961438"/>
                <a:gd name="connsiteY208" fmla="*/ 207530 h 689379"/>
                <a:gd name="connsiteX209" fmla="*/ 1199041 w 2961438"/>
                <a:gd name="connsiteY209" fmla="*/ 207530 h 689379"/>
                <a:gd name="connsiteX210" fmla="*/ 1207908 w 2961438"/>
                <a:gd name="connsiteY210" fmla="*/ 207530 h 689379"/>
                <a:gd name="connsiteX211" fmla="*/ 1209935 w 2961438"/>
                <a:gd name="connsiteY211" fmla="*/ 211584 h 689379"/>
                <a:gd name="connsiteX212" fmla="*/ 1209935 w 2961438"/>
                <a:gd name="connsiteY212" fmla="*/ 224825 h 689379"/>
                <a:gd name="connsiteX213" fmla="*/ 1211455 w 2961438"/>
                <a:gd name="connsiteY213" fmla="*/ 222933 h 689379"/>
                <a:gd name="connsiteX214" fmla="*/ 1222095 w 2961438"/>
                <a:gd name="connsiteY214" fmla="*/ 209692 h 689379"/>
                <a:gd name="connsiteX215" fmla="*/ 1250469 w 2961438"/>
                <a:gd name="connsiteY215" fmla="*/ 209692 h 689379"/>
                <a:gd name="connsiteX216" fmla="*/ 1250469 w 2961438"/>
                <a:gd name="connsiteY216" fmla="*/ 296163 h 689379"/>
                <a:gd name="connsiteX217" fmla="*/ 1251229 w 2961438"/>
                <a:gd name="connsiteY217" fmla="*/ 296163 h 689379"/>
                <a:gd name="connsiteX218" fmla="*/ 1256549 w 2961438"/>
                <a:gd name="connsiteY218" fmla="*/ 296163 h 689379"/>
                <a:gd name="connsiteX219" fmla="*/ 1257309 w 2961438"/>
                <a:gd name="connsiteY219" fmla="*/ 294812 h 689379"/>
                <a:gd name="connsiteX220" fmla="*/ 1262629 w 2961438"/>
                <a:gd name="connsiteY220" fmla="*/ 285354 h 689379"/>
                <a:gd name="connsiteX221" fmla="*/ 1262629 w 2961438"/>
                <a:gd name="connsiteY221" fmla="*/ 287246 h 689379"/>
                <a:gd name="connsiteX222" fmla="*/ 1262629 w 2961438"/>
                <a:gd name="connsiteY222" fmla="*/ 300487 h 689379"/>
                <a:gd name="connsiteX223" fmla="*/ 1266682 w 2961438"/>
                <a:gd name="connsiteY223" fmla="*/ 255090 h 689379"/>
                <a:gd name="connsiteX224" fmla="*/ 1267442 w 2961438"/>
                <a:gd name="connsiteY224" fmla="*/ 255090 h 689379"/>
                <a:gd name="connsiteX225" fmla="*/ 1272762 w 2961438"/>
                <a:gd name="connsiteY225" fmla="*/ 255090 h 689379"/>
                <a:gd name="connsiteX226" fmla="*/ 1272762 w 2961438"/>
                <a:gd name="connsiteY226" fmla="*/ 190236 h 689379"/>
                <a:gd name="connsiteX227" fmla="*/ 1273776 w 2961438"/>
                <a:gd name="connsiteY227" fmla="*/ 190236 h 689379"/>
                <a:gd name="connsiteX228" fmla="*/ 1280869 w 2961438"/>
                <a:gd name="connsiteY228" fmla="*/ 190236 h 689379"/>
                <a:gd name="connsiteX229" fmla="*/ 1293029 w 2961438"/>
                <a:gd name="connsiteY229" fmla="*/ 147001 h 689379"/>
                <a:gd name="connsiteX230" fmla="*/ 1294296 w 2961438"/>
                <a:gd name="connsiteY230" fmla="*/ 147001 h 689379"/>
                <a:gd name="connsiteX231" fmla="*/ 1303163 w 2961438"/>
                <a:gd name="connsiteY231" fmla="*/ 147001 h 689379"/>
                <a:gd name="connsiteX232" fmla="*/ 1313296 w 2961438"/>
                <a:gd name="connsiteY232" fmla="*/ 190236 h 689379"/>
                <a:gd name="connsiteX233" fmla="*/ 1314309 w 2961438"/>
                <a:gd name="connsiteY233" fmla="*/ 190236 h 689379"/>
                <a:gd name="connsiteX234" fmla="*/ 1321403 w 2961438"/>
                <a:gd name="connsiteY234" fmla="*/ 190236 h 689379"/>
                <a:gd name="connsiteX235" fmla="*/ 1321403 w 2961438"/>
                <a:gd name="connsiteY235" fmla="*/ 229148 h 689379"/>
                <a:gd name="connsiteX236" fmla="*/ 1323176 w 2961438"/>
                <a:gd name="connsiteY236" fmla="*/ 229148 h 689379"/>
                <a:gd name="connsiteX237" fmla="*/ 1335590 w 2961438"/>
                <a:gd name="connsiteY237" fmla="*/ 229148 h 689379"/>
                <a:gd name="connsiteX238" fmla="*/ 1335590 w 2961438"/>
                <a:gd name="connsiteY238" fmla="*/ 231310 h 689379"/>
                <a:gd name="connsiteX239" fmla="*/ 1335590 w 2961438"/>
                <a:gd name="connsiteY239" fmla="*/ 246442 h 689379"/>
                <a:gd name="connsiteX240" fmla="*/ 1339643 w 2961438"/>
                <a:gd name="connsiteY240" fmla="*/ 244281 h 689379"/>
                <a:gd name="connsiteX241" fmla="*/ 1339643 w 2961438"/>
                <a:gd name="connsiteY241" fmla="*/ 229148 h 689379"/>
                <a:gd name="connsiteX242" fmla="*/ 1341163 w 2961438"/>
                <a:gd name="connsiteY242" fmla="*/ 229148 h 689379"/>
                <a:gd name="connsiteX243" fmla="*/ 1351803 w 2961438"/>
                <a:gd name="connsiteY243" fmla="*/ 229148 h 689379"/>
                <a:gd name="connsiteX244" fmla="*/ 1351803 w 2961438"/>
                <a:gd name="connsiteY244" fmla="*/ 230769 h 689379"/>
                <a:gd name="connsiteX245" fmla="*/ 1351803 w 2961438"/>
                <a:gd name="connsiteY245" fmla="*/ 242119 h 689379"/>
                <a:gd name="connsiteX246" fmla="*/ 1382204 w 2961438"/>
                <a:gd name="connsiteY246" fmla="*/ 242119 h 689379"/>
                <a:gd name="connsiteX247" fmla="*/ 1382204 w 2961438"/>
                <a:gd name="connsiteY247" fmla="*/ 205369 h 689379"/>
                <a:gd name="connsiteX248" fmla="*/ 1383470 w 2961438"/>
                <a:gd name="connsiteY248" fmla="*/ 205369 h 689379"/>
                <a:gd name="connsiteX249" fmla="*/ 1392337 w 2961438"/>
                <a:gd name="connsiteY249" fmla="*/ 205369 h 689379"/>
                <a:gd name="connsiteX250" fmla="*/ 1392337 w 2961438"/>
                <a:gd name="connsiteY250" fmla="*/ 226986 h 689379"/>
                <a:gd name="connsiteX251" fmla="*/ 1394364 w 2961438"/>
                <a:gd name="connsiteY251" fmla="*/ 194560 h 689379"/>
                <a:gd name="connsiteX252" fmla="*/ 1416657 w 2961438"/>
                <a:gd name="connsiteY252" fmla="*/ 194560 h 689379"/>
                <a:gd name="connsiteX253" fmla="*/ 1416657 w 2961438"/>
                <a:gd name="connsiteY253" fmla="*/ 192938 h 689379"/>
                <a:gd name="connsiteX254" fmla="*/ 1416657 w 2961438"/>
                <a:gd name="connsiteY254" fmla="*/ 181589 h 689379"/>
                <a:gd name="connsiteX255" fmla="*/ 1417417 w 2961438"/>
                <a:gd name="connsiteY255" fmla="*/ 181589 h 689379"/>
                <a:gd name="connsiteX256" fmla="*/ 1422737 w 2961438"/>
                <a:gd name="connsiteY256" fmla="*/ 181589 h 689379"/>
                <a:gd name="connsiteX257" fmla="*/ 1422737 w 2961438"/>
                <a:gd name="connsiteY257" fmla="*/ 179698 h 689379"/>
                <a:gd name="connsiteX258" fmla="*/ 1422737 w 2961438"/>
                <a:gd name="connsiteY258" fmla="*/ 166457 h 689379"/>
                <a:gd name="connsiteX259" fmla="*/ 1426791 w 2961438"/>
                <a:gd name="connsiteY259" fmla="*/ 172942 h 689379"/>
                <a:gd name="connsiteX260" fmla="*/ 1429071 w 2961438"/>
                <a:gd name="connsiteY260" fmla="*/ 172942 h 689379"/>
                <a:gd name="connsiteX261" fmla="*/ 1445031 w 2961438"/>
                <a:gd name="connsiteY261" fmla="*/ 172942 h 689379"/>
                <a:gd name="connsiteX262" fmla="*/ 1445031 w 2961438"/>
                <a:gd name="connsiteY262" fmla="*/ 172131 h 689379"/>
                <a:gd name="connsiteX263" fmla="*/ 1445031 w 2961438"/>
                <a:gd name="connsiteY263" fmla="*/ 166457 h 689379"/>
                <a:gd name="connsiteX264" fmla="*/ 1445791 w 2961438"/>
                <a:gd name="connsiteY264" fmla="*/ 166457 h 689379"/>
                <a:gd name="connsiteX265" fmla="*/ 1451111 w 2961438"/>
                <a:gd name="connsiteY265" fmla="*/ 166457 h 689379"/>
                <a:gd name="connsiteX266" fmla="*/ 1451111 w 2961438"/>
                <a:gd name="connsiteY266" fmla="*/ 167808 h 689379"/>
                <a:gd name="connsiteX267" fmla="*/ 1451111 w 2961438"/>
                <a:gd name="connsiteY267" fmla="*/ 177266 h 689379"/>
                <a:gd name="connsiteX268" fmla="*/ 1489618 w 2961438"/>
                <a:gd name="connsiteY268" fmla="*/ 177266 h 689379"/>
                <a:gd name="connsiteX269" fmla="*/ 1489618 w 2961438"/>
                <a:gd name="connsiteY269" fmla="*/ 315619 h 689379"/>
                <a:gd name="connsiteX270" fmla="*/ 1491138 w 2961438"/>
                <a:gd name="connsiteY270" fmla="*/ 315619 h 689379"/>
                <a:gd name="connsiteX271" fmla="*/ 1501778 w 2961438"/>
                <a:gd name="connsiteY271" fmla="*/ 315619 h 689379"/>
                <a:gd name="connsiteX272" fmla="*/ 1501778 w 2961438"/>
                <a:gd name="connsiteY272" fmla="*/ 302649 h 689379"/>
                <a:gd name="connsiteX273" fmla="*/ 1505832 w 2961438"/>
                <a:gd name="connsiteY273" fmla="*/ 302649 h 689379"/>
                <a:gd name="connsiteX274" fmla="*/ 1505832 w 2961438"/>
                <a:gd name="connsiteY274" fmla="*/ 315619 h 689379"/>
                <a:gd name="connsiteX275" fmla="*/ 1536232 w 2961438"/>
                <a:gd name="connsiteY275" fmla="*/ 315619 h 689379"/>
                <a:gd name="connsiteX276" fmla="*/ 1536232 w 2961438"/>
                <a:gd name="connsiteY276" fmla="*/ 285354 h 689379"/>
                <a:gd name="connsiteX277" fmla="*/ 1548392 w 2961438"/>
                <a:gd name="connsiteY277" fmla="*/ 285354 h 689379"/>
                <a:gd name="connsiteX278" fmla="*/ 1560552 w 2961438"/>
                <a:gd name="connsiteY278" fmla="*/ 283193 h 689379"/>
                <a:gd name="connsiteX279" fmla="*/ 1564606 w 2961438"/>
                <a:gd name="connsiteY279" fmla="*/ 285354 h 689379"/>
                <a:gd name="connsiteX280" fmla="*/ 1574739 w 2961438"/>
                <a:gd name="connsiteY280" fmla="*/ 285354 h 689379"/>
                <a:gd name="connsiteX281" fmla="*/ 1574739 w 2961438"/>
                <a:gd name="connsiteY281" fmla="*/ 315619 h 689379"/>
                <a:gd name="connsiteX282" fmla="*/ 1582846 w 2961438"/>
                <a:gd name="connsiteY282" fmla="*/ 315619 h 689379"/>
                <a:gd name="connsiteX283" fmla="*/ 1582846 w 2961438"/>
                <a:gd name="connsiteY283" fmla="*/ 332914 h 689379"/>
                <a:gd name="connsiteX284" fmla="*/ 1592182 w 2961438"/>
                <a:gd name="connsiteY284" fmla="*/ 333819 h 689379"/>
                <a:gd name="connsiteX285" fmla="*/ 1605140 w 2961438"/>
                <a:gd name="connsiteY285" fmla="*/ 333819 h 689379"/>
                <a:gd name="connsiteX286" fmla="*/ 1605140 w 2961438"/>
                <a:gd name="connsiteY286" fmla="*/ 317781 h 689379"/>
                <a:gd name="connsiteX287" fmla="*/ 1673096 w 2961438"/>
                <a:gd name="connsiteY287" fmla="*/ 317781 h 689379"/>
                <a:gd name="connsiteX288" fmla="*/ 1673096 w 2961438"/>
                <a:gd name="connsiteY288" fmla="*/ 232528 h 689379"/>
                <a:gd name="connsiteX289" fmla="*/ 1745104 w 2961438"/>
                <a:gd name="connsiteY289" fmla="*/ 232528 h 689379"/>
                <a:gd name="connsiteX290" fmla="*/ 1745104 w 2961438"/>
                <a:gd name="connsiteY290" fmla="*/ 311296 h 689379"/>
                <a:gd name="connsiteX291" fmla="*/ 1747008 w 2961438"/>
                <a:gd name="connsiteY291" fmla="*/ 311296 h 689379"/>
                <a:gd name="connsiteX292" fmla="*/ 1748250 w 2961438"/>
                <a:gd name="connsiteY292" fmla="*/ 333819 h 689379"/>
                <a:gd name="connsiteX293" fmla="*/ 1757926 w 2961438"/>
                <a:gd name="connsiteY293" fmla="*/ 333819 h 689379"/>
                <a:gd name="connsiteX294" fmla="*/ 1759168 w 2961438"/>
                <a:gd name="connsiteY294" fmla="*/ 311296 h 689379"/>
                <a:gd name="connsiteX295" fmla="*/ 1765248 w 2961438"/>
                <a:gd name="connsiteY295" fmla="*/ 311296 h 689379"/>
                <a:gd name="connsiteX296" fmla="*/ 1766490 w 2961438"/>
                <a:gd name="connsiteY296" fmla="*/ 333819 h 689379"/>
                <a:gd name="connsiteX297" fmla="*/ 1817112 w 2961438"/>
                <a:gd name="connsiteY297" fmla="*/ 333819 h 689379"/>
                <a:gd name="connsiteX298" fmla="*/ 1817112 w 2961438"/>
                <a:gd name="connsiteY298" fmla="*/ 170791 h 689379"/>
                <a:gd name="connsiteX299" fmla="*/ 2014439 w 2961438"/>
                <a:gd name="connsiteY299" fmla="*/ 170791 h 689379"/>
                <a:gd name="connsiteX300" fmla="*/ 2014439 w 2961438"/>
                <a:gd name="connsiteY300" fmla="*/ 333819 h 689379"/>
                <a:gd name="connsiteX301" fmla="*/ 2033136 w 2961438"/>
                <a:gd name="connsiteY301" fmla="*/ 333819 h 689379"/>
                <a:gd name="connsiteX302" fmla="*/ 2033136 w 2961438"/>
                <a:gd name="connsiteY302" fmla="*/ 251126 h 689379"/>
                <a:gd name="connsiteX303" fmla="*/ 2128256 w 2961438"/>
                <a:gd name="connsiteY303" fmla="*/ 251126 h 689379"/>
                <a:gd name="connsiteX304" fmla="*/ 2180720 w 2961438"/>
                <a:gd name="connsiteY304" fmla="*/ 185913 h 689379"/>
                <a:gd name="connsiteX305" fmla="*/ 2245574 w 2961438"/>
                <a:gd name="connsiteY305" fmla="*/ 185913 h 689379"/>
                <a:gd name="connsiteX306" fmla="*/ 2245574 w 2961438"/>
                <a:gd name="connsiteY306" fmla="*/ 261575 h 689379"/>
                <a:gd name="connsiteX307" fmla="*/ 2253681 w 2961438"/>
                <a:gd name="connsiteY307" fmla="*/ 261575 h 689379"/>
                <a:gd name="connsiteX308" fmla="*/ 2255708 w 2961438"/>
                <a:gd name="connsiteY308" fmla="*/ 255090 h 689379"/>
                <a:gd name="connsiteX309" fmla="*/ 2261788 w 2961438"/>
                <a:gd name="connsiteY309" fmla="*/ 255090 h 689379"/>
                <a:gd name="connsiteX310" fmla="*/ 2263815 w 2961438"/>
                <a:gd name="connsiteY310" fmla="*/ 263737 h 689379"/>
                <a:gd name="connsiteX311" fmla="*/ 2275975 w 2961438"/>
                <a:gd name="connsiteY311" fmla="*/ 263737 h 689379"/>
                <a:gd name="connsiteX312" fmla="*/ 2275975 w 2961438"/>
                <a:gd name="connsiteY312" fmla="*/ 257251 h 689379"/>
                <a:gd name="connsiteX313" fmla="*/ 2298268 w 2961438"/>
                <a:gd name="connsiteY313" fmla="*/ 257251 h 689379"/>
                <a:gd name="connsiteX314" fmla="*/ 2298268 w 2961438"/>
                <a:gd name="connsiteY314" fmla="*/ 263737 h 689379"/>
                <a:gd name="connsiteX315" fmla="*/ 2318535 w 2961438"/>
                <a:gd name="connsiteY315" fmla="*/ 263737 h 689379"/>
                <a:gd name="connsiteX316" fmla="*/ 2318535 w 2961438"/>
                <a:gd name="connsiteY316" fmla="*/ 309134 h 689379"/>
                <a:gd name="connsiteX317" fmla="*/ 2332722 w 2961438"/>
                <a:gd name="connsiteY317" fmla="*/ 309134 h 689379"/>
                <a:gd name="connsiteX318" fmla="*/ 2332722 w 2961438"/>
                <a:gd name="connsiteY318" fmla="*/ 296163 h 689379"/>
                <a:gd name="connsiteX319" fmla="*/ 2348936 w 2961438"/>
                <a:gd name="connsiteY319" fmla="*/ 296163 h 689379"/>
                <a:gd name="connsiteX320" fmla="*/ 2348936 w 2961438"/>
                <a:gd name="connsiteY320" fmla="*/ 116736 h 689379"/>
                <a:gd name="connsiteX321" fmla="*/ 2355016 w 2961438"/>
                <a:gd name="connsiteY321" fmla="*/ 110250 h 689379"/>
                <a:gd name="connsiteX322" fmla="*/ 2427977 w 2961438"/>
                <a:gd name="connsiteY322" fmla="*/ 110250 h 689379"/>
                <a:gd name="connsiteX323" fmla="*/ 2427977 w 2961438"/>
                <a:gd name="connsiteY323" fmla="*/ 118898 h 689379"/>
                <a:gd name="connsiteX324" fmla="*/ 2438110 w 2961438"/>
                <a:gd name="connsiteY324" fmla="*/ 118898 h 689379"/>
                <a:gd name="connsiteX325" fmla="*/ 2438110 w 2961438"/>
                <a:gd name="connsiteY325" fmla="*/ 233472 h 689379"/>
                <a:gd name="connsiteX326" fmla="*/ 2460404 w 2961438"/>
                <a:gd name="connsiteY326" fmla="*/ 233472 h 689379"/>
                <a:gd name="connsiteX327" fmla="*/ 2460404 w 2961438"/>
                <a:gd name="connsiteY327" fmla="*/ 166457 h 689379"/>
                <a:gd name="connsiteX328" fmla="*/ 2486751 w 2961438"/>
                <a:gd name="connsiteY328" fmla="*/ 166457 h 689379"/>
                <a:gd name="connsiteX329" fmla="*/ 2490804 w 2961438"/>
                <a:gd name="connsiteY329" fmla="*/ 162133 h 689379"/>
                <a:gd name="connsiteX330" fmla="*/ 2498911 w 2961438"/>
                <a:gd name="connsiteY330" fmla="*/ 162133 h 689379"/>
                <a:gd name="connsiteX331" fmla="*/ 2502964 w 2961438"/>
                <a:gd name="connsiteY331" fmla="*/ 166457 h 689379"/>
                <a:gd name="connsiteX332" fmla="*/ 2525258 w 2961438"/>
                <a:gd name="connsiteY332" fmla="*/ 166457 h 689379"/>
                <a:gd name="connsiteX333" fmla="*/ 2525258 w 2961438"/>
                <a:gd name="connsiteY333" fmla="*/ 49721 h 689379"/>
                <a:gd name="connsiteX334" fmla="*/ 2582005 w 2961438"/>
                <a:gd name="connsiteY334" fmla="*/ 38912 h 689379"/>
                <a:gd name="connsiteX335" fmla="*/ 2582005 w 2961438"/>
                <a:gd name="connsiteY335" fmla="*/ 39993 h 689379"/>
                <a:gd name="connsiteX336" fmla="*/ 2582005 w 2961438"/>
                <a:gd name="connsiteY336" fmla="*/ 47559 h 689379"/>
                <a:gd name="connsiteX337" fmla="*/ 2608352 w 2961438"/>
                <a:gd name="connsiteY337" fmla="*/ 47559 h 689379"/>
                <a:gd name="connsiteX338" fmla="*/ 2608352 w 2961438"/>
                <a:gd name="connsiteY338" fmla="*/ 302649 h 689379"/>
                <a:gd name="connsiteX339" fmla="*/ 2630646 w 2961438"/>
                <a:gd name="connsiteY339" fmla="*/ 302649 h 689379"/>
                <a:gd name="connsiteX340" fmla="*/ 2630646 w 2961438"/>
                <a:gd name="connsiteY340" fmla="*/ 298325 h 689379"/>
                <a:gd name="connsiteX341" fmla="*/ 2642806 w 2961438"/>
                <a:gd name="connsiteY341" fmla="*/ 298325 h 689379"/>
                <a:gd name="connsiteX342" fmla="*/ 2642806 w 2961438"/>
                <a:gd name="connsiteY342" fmla="*/ 302649 h 689379"/>
                <a:gd name="connsiteX343" fmla="*/ 2667126 w 2961438"/>
                <a:gd name="connsiteY343" fmla="*/ 302649 h 689379"/>
                <a:gd name="connsiteX344" fmla="*/ 2667126 w 2961438"/>
                <a:gd name="connsiteY344" fmla="*/ 289678 h 689379"/>
                <a:gd name="connsiteX345" fmla="*/ 2695500 w 2961438"/>
                <a:gd name="connsiteY345" fmla="*/ 289678 h 689379"/>
                <a:gd name="connsiteX346" fmla="*/ 2707660 w 2961438"/>
                <a:gd name="connsiteY346" fmla="*/ 285354 h 689379"/>
                <a:gd name="connsiteX347" fmla="*/ 2727927 w 2961438"/>
                <a:gd name="connsiteY347" fmla="*/ 289678 h 689379"/>
                <a:gd name="connsiteX348" fmla="*/ 2727927 w 2961438"/>
                <a:gd name="connsiteY348" fmla="*/ 272384 h 689379"/>
                <a:gd name="connsiteX349" fmla="*/ 2736034 w 2961438"/>
                <a:gd name="connsiteY349" fmla="*/ 272384 h 689379"/>
                <a:gd name="connsiteX350" fmla="*/ 2736034 w 2961438"/>
                <a:gd name="connsiteY350" fmla="*/ 259413 h 689379"/>
                <a:gd name="connsiteX351" fmla="*/ 2792781 w 2961438"/>
                <a:gd name="connsiteY351" fmla="*/ 259413 h 689379"/>
                <a:gd name="connsiteX352" fmla="*/ 2792781 w 2961438"/>
                <a:gd name="connsiteY352" fmla="*/ 229148 h 689379"/>
                <a:gd name="connsiteX353" fmla="*/ 2811021 w 2961438"/>
                <a:gd name="connsiteY353" fmla="*/ 229148 h 689379"/>
                <a:gd name="connsiteX354" fmla="*/ 2811021 w 2961438"/>
                <a:gd name="connsiteY354" fmla="*/ 222663 h 689379"/>
                <a:gd name="connsiteX355" fmla="*/ 2823181 w 2961438"/>
                <a:gd name="connsiteY355" fmla="*/ 222663 h 689379"/>
                <a:gd name="connsiteX356" fmla="*/ 2823181 w 2961438"/>
                <a:gd name="connsiteY356" fmla="*/ 229148 h 689379"/>
                <a:gd name="connsiteX357" fmla="*/ 2839395 w 2961438"/>
                <a:gd name="connsiteY357" fmla="*/ 229148 h 689379"/>
                <a:gd name="connsiteX358" fmla="*/ 2839395 w 2961438"/>
                <a:gd name="connsiteY358" fmla="*/ 278869 h 689379"/>
                <a:gd name="connsiteX359" fmla="*/ 2871822 w 2961438"/>
                <a:gd name="connsiteY359" fmla="*/ 278869 h 689379"/>
                <a:gd name="connsiteX360" fmla="*/ 2871822 w 2961438"/>
                <a:gd name="connsiteY360" fmla="*/ 252928 h 689379"/>
                <a:gd name="connsiteX361" fmla="*/ 2910329 w 2961438"/>
                <a:gd name="connsiteY361" fmla="*/ 252928 h 689379"/>
                <a:gd name="connsiteX362" fmla="*/ 2910329 w 2961438"/>
                <a:gd name="connsiteY362" fmla="*/ 222663 h 689379"/>
                <a:gd name="connsiteX363" fmla="*/ 2958970 w 2961438"/>
                <a:gd name="connsiteY363" fmla="*/ 222663 h 689379"/>
                <a:gd name="connsiteX364" fmla="*/ 2961438 w 2961438"/>
                <a:gd name="connsiteY364" fmla="*/ 689379 h 689379"/>
                <a:gd name="connsiteX365" fmla="*/ 2054 w 2961438"/>
                <a:gd name="connsiteY365" fmla="*/ 687046 h 689379"/>
                <a:gd name="connsiteX366" fmla="*/ 0 w 2961438"/>
                <a:gd name="connsiteY366" fmla="*/ 252928 h 689379"/>
                <a:gd name="connsiteX367" fmla="*/ 20267 w 2961438"/>
                <a:gd name="connsiteY367" fmla="*/ 252928 h 689379"/>
                <a:gd name="connsiteX368" fmla="*/ 20774 w 2961438"/>
                <a:gd name="connsiteY368" fmla="*/ 251847 h 689379"/>
                <a:gd name="connsiteX369" fmla="*/ 24320 w 2961438"/>
                <a:gd name="connsiteY369" fmla="*/ 244281 h 689379"/>
                <a:gd name="connsiteX370" fmla="*/ 26094 w 2961438"/>
                <a:gd name="connsiteY370" fmla="*/ 244551 h 689379"/>
                <a:gd name="connsiteX371" fmla="*/ 38507 w 2961438"/>
                <a:gd name="connsiteY371" fmla="*/ 246442 h 689379"/>
                <a:gd name="connsiteX372" fmla="*/ 39014 w 2961438"/>
                <a:gd name="connsiteY372" fmla="*/ 247794 h 689379"/>
                <a:gd name="connsiteX373" fmla="*/ 42560 w 2961438"/>
                <a:gd name="connsiteY373" fmla="*/ 257251 h 689379"/>
                <a:gd name="connsiteX374" fmla="*/ 68907 w 2961438"/>
                <a:gd name="connsiteY374" fmla="*/ 259413 h 689379"/>
                <a:gd name="connsiteX375" fmla="*/ 68907 w 2961438"/>
                <a:gd name="connsiteY375" fmla="*/ 136192 h 689379"/>
                <a:gd name="connsiteX376" fmla="*/ 70934 w 2961438"/>
                <a:gd name="connsiteY376" fmla="*/ 136192 h 689379"/>
                <a:gd name="connsiteX377" fmla="*/ 85121 w 2961438"/>
                <a:gd name="connsiteY377" fmla="*/ 136192 h 689379"/>
                <a:gd name="connsiteX378" fmla="*/ 85121 w 2961438"/>
                <a:gd name="connsiteY378" fmla="*/ 0 h 689379"/>
                <a:gd name="connsiteX379" fmla="*/ 86894 w 2961438"/>
                <a:gd name="connsiteY379" fmla="*/ 0 h 689379"/>
                <a:gd name="connsiteX380" fmla="*/ 99308 w 2961438"/>
                <a:gd name="connsiteY380" fmla="*/ 0 h 68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</a:cxnLst>
              <a:rect l="l" t="t" r="r" b="b"/>
              <a:pathLst>
                <a:path w="2961438" h="689379">
                  <a:moveTo>
                    <a:pt x="99308" y="0"/>
                  </a:moveTo>
                  <a:lnTo>
                    <a:pt x="220909" y="0"/>
                  </a:lnTo>
                  <a:lnTo>
                    <a:pt x="223189" y="0"/>
                  </a:lnTo>
                  <a:lnTo>
                    <a:pt x="239150" y="0"/>
                  </a:lnTo>
                  <a:lnTo>
                    <a:pt x="239150" y="140515"/>
                  </a:lnTo>
                  <a:cubicBezTo>
                    <a:pt x="239160" y="140514"/>
                    <a:pt x="239272" y="140493"/>
                    <a:pt x="240670" y="140245"/>
                  </a:cubicBezTo>
                  <a:lnTo>
                    <a:pt x="251310" y="138354"/>
                  </a:lnTo>
                  <a:cubicBezTo>
                    <a:pt x="251310" y="138376"/>
                    <a:pt x="251280" y="139710"/>
                    <a:pt x="249283" y="226986"/>
                  </a:cubicBezTo>
                  <a:cubicBezTo>
                    <a:pt x="249293" y="226988"/>
                    <a:pt x="249404" y="227008"/>
                    <a:pt x="250803" y="227257"/>
                  </a:cubicBezTo>
                  <a:lnTo>
                    <a:pt x="261443" y="229148"/>
                  </a:lnTo>
                  <a:cubicBezTo>
                    <a:pt x="261445" y="229155"/>
                    <a:pt x="261465" y="229219"/>
                    <a:pt x="261696" y="229959"/>
                  </a:cubicBezTo>
                  <a:lnTo>
                    <a:pt x="263470" y="235634"/>
                  </a:lnTo>
                  <a:cubicBezTo>
                    <a:pt x="263472" y="235625"/>
                    <a:pt x="263517" y="235482"/>
                    <a:pt x="264230" y="233202"/>
                  </a:cubicBezTo>
                  <a:lnTo>
                    <a:pt x="269550" y="216178"/>
                  </a:lnTo>
                  <a:lnTo>
                    <a:pt x="271323" y="216178"/>
                  </a:lnTo>
                  <a:lnTo>
                    <a:pt x="283737" y="216178"/>
                  </a:lnTo>
                  <a:lnTo>
                    <a:pt x="283737" y="248604"/>
                  </a:lnTo>
                  <a:cubicBezTo>
                    <a:pt x="283743" y="248609"/>
                    <a:pt x="283820" y="248649"/>
                    <a:pt x="284750" y="249145"/>
                  </a:cubicBezTo>
                  <a:lnTo>
                    <a:pt x="291844" y="252928"/>
                  </a:lnTo>
                  <a:lnTo>
                    <a:pt x="291844" y="254279"/>
                  </a:lnTo>
                  <a:lnTo>
                    <a:pt x="291844" y="263737"/>
                  </a:lnTo>
                  <a:lnTo>
                    <a:pt x="336431" y="263737"/>
                  </a:lnTo>
                  <a:lnTo>
                    <a:pt x="336431" y="264818"/>
                  </a:lnTo>
                  <a:lnTo>
                    <a:pt x="336431" y="272384"/>
                  </a:lnTo>
                  <a:lnTo>
                    <a:pt x="338457" y="272384"/>
                  </a:lnTo>
                  <a:lnTo>
                    <a:pt x="352644" y="272384"/>
                  </a:lnTo>
                  <a:lnTo>
                    <a:pt x="352644" y="242119"/>
                  </a:lnTo>
                  <a:lnTo>
                    <a:pt x="397231" y="242119"/>
                  </a:lnTo>
                  <a:lnTo>
                    <a:pt x="397231" y="240768"/>
                  </a:lnTo>
                  <a:lnTo>
                    <a:pt x="397231" y="231310"/>
                  </a:lnTo>
                  <a:lnTo>
                    <a:pt x="398245" y="231310"/>
                  </a:lnTo>
                  <a:lnTo>
                    <a:pt x="405338" y="231310"/>
                  </a:lnTo>
                  <a:lnTo>
                    <a:pt x="405338" y="229419"/>
                  </a:lnTo>
                  <a:lnTo>
                    <a:pt x="405338" y="216178"/>
                  </a:lnTo>
                  <a:lnTo>
                    <a:pt x="406098" y="216178"/>
                  </a:lnTo>
                  <a:lnTo>
                    <a:pt x="411418" y="216178"/>
                  </a:lnTo>
                  <a:lnTo>
                    <a:pt x="411418" y="215097"/>
                  </a:lnTo>
                  <a:lnTo>
                    <a:pt x="411418" y="207530"/>
                  </a:lnTo>
                  <a:lnTo>
                    <a:pt x="413445" y="207530"/>
                  </a:lnTo>
                  <a:lnTo>
                    <a:pt x="427632" y="207530"/>
                  </a:lnTo>
                  <a:lnTo>
                    <a:pt x="427632" y="208611"/>
                  </a:lnTo>
                  <a:lnTo>
                    <a:pt x="427632" y="216178"/>
                  </a:lnTo>
                  <a:lnTo>
                    <a:pt x="449925" y="216178"/>
                  </a:lnTo>
                  <a:lnTo>
                    <a:pt x="449925" y="214286"/>
                  </a:lnTo>
                  <a:lnTo>
                    <a:pt x="449925" y="201045"/>
                  </a:lnTo>
                  <a:lnTo>
                    <a:pt x="451699" y="201045"/>
                  </a:lnTo>
                  <a:lnTo>
                    <a:pt x="464112" y="201045"/>
                  </a:lnTo>
                  <a:lnTo>
                    <a:pt x="464112" y="224825"/>
                  </a:lnTo>
                  <a:lnTo>
                    <a:pt x="465126" y="224825"/>
                  </a:lnTo>
                  <a:lnTo>
                    <a:pt x="472219" y="224825"/>
                  </a:lnTo>
                  <a:lnTo>
                    <a:pt x="472219" y="223744"/>
                  </a:lnTo>
                  <a:lnTo>
                    <a:pt x="472219" y="216178"/>
                  </a:lnTo>
                  <a:lnTo>
                    <a:pt x="473992" y="216178"/>
                  </a:lnTo>
                  <a:lnTo>
                    <a:pt x="486406" y="216178"/>
                  </a:lnTo>
                  <a:lnTo>
                    <a:pt x="486406" y="242119"/>
                  </a:lnTo>
                  <a:lnTo>
                    <a:pt x="488433" y="242119"/>
                  </a:lnTo>
                  <a:lnTo>
                    <a:pt x="502619" y="242119"/>
                  </a:lnTo>
                  <a:lnTo>
                    <a:pt x="502619" y="243740"/>
                  </a:lnTo>
                  <a:lnTo>
                    <a:pt x="502619" y="255090"/>
                  </a:lnTo>
                  <a:lnTo>
                    <a:pt x="503379" y="255090"/>
                  </a:lnTo>
                  <a:lnTo>
                    <a:pt x="508700" y="255090"/>
                  </a:lnTo>
                  <a:lnTo>
                    <a:pt x="508700" y="254279"/>
                  </a:lnTo>
                  <a:lnTo>
                    <a:pt x="508700" y="248604"/>
                  </a:lnTo>
                  <a:lnTo>
                    <a:pt x="539100" y="248604"/>
                  </a:lnTo>
                  <a:lnTo>
                    <a:pt x="539100" y="272384"/>
                  </a:lnTo>
                  <a:lnTo>
                    <a:pt x="540113" y="272384"/>
                  </a:lnTo>
                  <a:lnTo>
                    <a:pt x="547207" y="272384"/>
                  </a:lnTo>
                  <a:lnTo>
                    <a:pt x="547207" y="273465"/>
                  </a:lnTo>
                  <a:lnTo>
                    <a:pt x="547207" y="281031"/>
                  </a:lnTo>
                  <a:lnTo>
                    <a:pt x="547967" y="281031"/>
                  </a:lnTo>
                  <a:lnTo>
                    <a:pt x="553287" y="281031"/>
                  </a:lnTo>
                  <a:lnTo>
                    <a:pt x="553287" y="278869"/>
                  </a:lnTo>
                  <a:lnTo>
                    <a:pt x="553287" y="263737"/>
                  </a:lnTo>
                  <a:lnTo>
                    <a:pt x="554300" y="263737"/>
                  </a:lnTo>
                  <a:lnTo>
                    <a:pt x="561394" y="263737"/>
                  </a:lnTo>
                  <a:lnTo>
                    <a:pt x="561394" y="264818"/>
                  </a:lnTo>
                  <a:lnTo>
                    <a:pt x="561394" y="272384"/>
                  </a:lnTo>
                  <a:lnTo>
                    <a:pt x="566714" y="270391"/>
                  </a:lnTo>
                  <a:cubicBezTo>
                    <a:pt x="567474" y="270019"/>
                    <a:pt x="567474" y="269817"/>
                    <a:pt x="567474" y="269411"/>
                  </a:cubicBezTo>
                  <a:lnTo>
                    <a:pt x="567474" y="263737"/>
                  </a:lnTo>
                  <a:lnTo>
                    <a:pt x="605981" y="263737"/>
                  </a:lnTo>
                  <a:lnTo>
                    <a:pt x="605981" y="287516"/>
                  </a:lnTo>
                  <a:lnTo>
                    <a:pt x="608007" y="287516"/>
                  </a:lnTo>
                  <a:lnTo>
                    <a:pt x="622194" y="287516"/>
                  </a:lnTo>
                  <a:lnTo>
                    <a:pt x="622194" y="288597"/>
                  </a:lnTo>
                  <a:lnTo>
                    <a:pt x="622194" y="296163"/>
                  </a:lnTo>
                  <a:lnTo>
                    <a:pt x="623968" y="296163"/>
                  </a:lnTo>
                  <a:lnTo>
                    <a:pt x="636381" y="296163"/>
                  </a:lnTo>
                  <a:lnTo>
                    <a:pt x="636381" y="272384"/>
                  </a:lnTo>
                  <a:lnTo>
                    <a:pt x="637394" y="272384"/>
                  </a:lnTo>
                  <a:lnTo>
                    <a:pt x="644488" y="272384"/>
                  </a:lnTo>
                  <a:lnTo>
                    <a:pt x="644488" y="239957"/>
                  </a:lnTo>
                  <a:lnTo>
                    <a:pt x="645501" y="239957"/>
                  </a:lnTo>
                  <a:lnTo>
                    <a:pt x="652595" y="239957"/>
                  </a:lnTo>
                  <a:lnTo>
                    <a:pt x="652595" y="238066"/>
                  </a:lnTo>
                  <a:lnTo>
                    <a:pt x="652595" y="224825"/>
                  </a:lnTo>
                  <a:cubicBezTo>
                    <a:pt x="650568" y="224825"/>
                    <a:pt x="650568" y="224825"/>
                    <a:pt x="651328" y="223203"/>
                  </a:cubicBezTo>
                  <a:lnTo>
                    <a:pt x="656648" y="211854"/>
                  </a:lnTo>
                  <a:cubicBezTo>
                    <a:pt x="656653" y="211871"/>
                    <a:pt x="656848" y="212545"/>
                    <a:pt x="664755" y="239957"/>
                  </a:cubicBezTo>
                  <a:lnTo>
                    <a:pt x="665515" y="239957"/>
                  </a:lnTo>
                  <a:lnTo>
                    <a:pt x="670835" y="239957"/>
                  </a:lnTo>
                  <a:lnTo>
                    <a:pt x="670835" y="134030"/>
                  </a:lnTo>
                  <a:lnTo>
                    <a:pt x="672355" y="134030"/>
                  </a:lnTo>
                  <a:lnTo>
                    <a:pt x="682995" y="134030"/>
                  </a:lnTo>
                  <a:lnTo>
                    <a:pt x="682995" y="86471"/>
                  </a:lnTo>
                  <a:lnTo>
                    <a:pt x="709342" y="86471"/>
                  </a:lnTo>
                  <a:lnTo>
                    <a:pt x="709342" y="64853"/>
                  </a:lnTo>
                  <a:lnTo>
                    <a:pt x="743796" y="64853"/>
                  </a:lnTo>
                  <a:lnTo>
                    <a:pt x="743796" y="67285"/>
                  </a:lnTo>
                  <a:lnTo>
                    <a:pt x="743796" y="84309"/>
                  </a:lnTo>
                  <a:lnTo>
                    <a:pt x="746076" y="84309"/>
                  </a:lnTo>
                  <a:lnTo>
                    <a:pt x="762036" y="84309"/>
                  </a:lnTo>
                  <a:lnTo>
                    <a:pt x="762036" y="131868"/>
                  </a:lnTo>
                  <a:lnTo>
                    <a:pt x="763049" y="131868"/>
                  </a:lnTo>
                  <a:lnTo>
                    <a:pt x="770143" y="131868"/>
                  </a:lnTo>
                  <a:lnTo>
                    <a:pt x="784330" y="136192"/>
                  </a:lnTo>
                  <a:lnTo>
                    <a:pt x="784330" y="175104"/>
                  </a:lnTo>
                  <a:lnTo>
                    <a:pt x="785343" y="175104"/>
                  </a:lnTo>
                  <a:lnTo>
                    <a:pt x="792436" y="175104"/>
                  </a:lnTo>
                  <a:lnTo>
                    <a:pt x="792436" y="176725"/>
                  </a:lnTo>
                  <a:lnTo>
                    <a:pt x="792436" y="188074"/>
                  </a:lnTo>
                  <a:lnTo>
                    <a:pt x="794463" y="188074"/>
                  </a:lnTo>
                  <a:lnTo>
                    <a:pt x="808650" y="188074"/>
                  </a:lnTo>
                  <a:lnTo>
                    <a:pt x="814730" y="194560"/>
                  </a:lnTo>
                  <a:lnTo>
                    <a:pt x="814730" y="216178"/>
                  </a:lnTo>
                  <a:lnTo>
                    <a:pt x="817010" y="216178"/>
                  </a:lnTo>
                  <a:lnTo>
                    <a:pt x="832970" y="216178"/>
                  </a:lnTo>
                  <a:lnTo>
                    <a:pt x="832970" y="217258"/>
                  </a:lnTo>
                  <a:lnTo>
                    <a:pt x="832970" y="224825"/>
                  </a:lnTo>
                  <a:lnTo>
                    <a:pt x="834237" y="224825"/>
                  </a:lnTo>
                  <a:lnTo>
                    <a:pt x="843104" y="224825"/>
                  </a:lnTo>
                  <a:lnTo>
                    <a:pt x="843104" y="226986"/>
                  </a:lnTo>
                  <a:lnTo>
                    <a:pt x="843104" y="242119"/>
                  </a:lnTo>
                  <a:cubicBezTo>
                    <a:pt x="847157" y="242119"/>
                    <a:pt x="847157" y="242119"/>
                    <a:pt x="847157" y="240227"/>
                  </a:cubicBezTo>
                  <a:lnTo>
                    <a:pt x="847157" y="226986"/>
                  </a:lnTo>
                  <a:lnTo>
                    <a:pt x="848170" y="226986"/>
                  </a:lnTo>
                  <a:lnTo>
                    <a:pt x="855264" y="226986"/>
                  </a:lnTo>
                  <a:lnTo>
                    <a:pt x="855264" y="228608"/>
                  </a:lnTo>
                  <a:lnTo>
                    <a:pt x="855264" y="239957"/>
                  </a:lnTo>
                  <a:lnTo>
                    <a:pt x="856024" y="239957"/>
                  </a:lnTo>
                  <a:lnTo>
                    <a:pt x="861344" y="239957"/>
                  </a:lnTo>
                  <a:cubicBezTo>
                    <a:pt x="861344" y="235634"/>
                    <a:pt x="861344" y="235634"/>
                    <a:pt x="909984" y="235634"/>
                  </a:cubicBezTo>
                  <a:lnTo>
                    <a:pt x="909984" y="236985"/>
                  </a:lnTo>
                  <a:lnTo>
                    <a:pt x="909984" y="246442"/>
                  </a:lnTo>
                  <a:lnTo>
                    <a:pt x="910744" y="246442"/>
                  </a:lnTo>
                  <a:lnTo>
                    <a:pt x="916065" y="246442"/>
                  </a:lnTo>
                  <a:lnTo>
                    <a:pt x="916065" y="248604"/>
                  </a:lnTo>
                  <a:lnTo>
                    <a:pt x="916065" y="263737"/>
                  </a:lnTo>
                  <a:cubicBezTo>
                    <a:pt x="916073" y="263733"/>
                    <a:pt x="916189" y="263655"/>
                    <a:pt x="918091" y="262386"/>
                  </a:cubicBezTo>
                  <a:lnTo>
                    <a:pt x="932278" y="252928"/>
                  </a:lnTo>
                  <a:cubicBezTo>
                    <a:pt x="932280" y="252909"/>
                    <a:pt x="932411" y="252034"/>
                    <a:pt x="938358" y="211854"/>
                  </a:cubicBezTo>
                  <a:cubicBezTo>
                    <a:pt x="938367" y="211852"/>
                    <a:pt x="938436" y="211826"/>
                    <a:pt x="939118" y="211584"/>
                  </a:cubicBezTo>
                  <a:lnTo>
                    <a:pt x="944438" y="209692"/>
                  </a:lnTo>
                  <a:cubicBezTo>
                    <a:pt x="944438" y="209676"/>
                    <a:pt x="944471" y="208615"/>
                    <a:pt x="946465" y="140515"/>
                  </a:cubicBezTo>
                  <a:cubicBezTo>
                    <a:pt x="946465" y="140533"/>
                    <a:pt x="946498" y="141624"/>
                    <a:pt x="948492" y="209692"/>
                  </a:cubicBezTo>
                  <a:cubicBezTo>
                    <a:pt x="948501" y="209695"/>
                    <a:pt x="948572" y="209720"/>
                    <a:pt x="949252" y="209962"/>
                  </a:cubicBezTo>
                  <a:lnTo>
                    <a:pt x="954572" y="211854"/>
                  </a:lnTo>
                  <a:lnTo>
                    <a:pt x="954572" y="125383"/>
                  </a:lnTo>
                  <a:cubicBezTo>
                    <a:pt x="958625" y="125383"/>
                    <a:pt x="958625" y="125383"/>
                    <a:pt x="958625" y="92956"/>
                  </a:cubicBezTo>
                  <a:lnTo>
                    <a:pt x="997132" y="92956"/>
                  </a:lnTo>
                  <a:lnTo>
                    <a:pt x="997132" y="125383"/>
                  </a:lnTo>
                  <a:lnTo>
                    <a:pt x="997892" y="125383"/>
                  </a:lnTo>
                  <a:lnTo>
                    <a:pt x="1003212" y="125383"/>
                  </a:lnTo>
                  <a:lnTo>
                    <a:pt x="1003212" y="43235"/>
                  </a:lnTo>
                  <a:lnTo>
                    <a:pt x="1004986" y="43235"/>
                  </a:lnTo>
                  <a:lnTo>
                    <a:pt x="1017399" y="43235"/>
                  </a:lnTo>
                  <a:lnTo>
                    <a:pt x="1017399" y="41344"/>
                  </a:lnTo>
                  <a:lnTo>
                    <a:pt x="1017399" y="28103"/>
                  </a:lnTo>
                  <a:lnTo>
                    <a:pt x="1039693" y="28103"/>
                  </a:lnTo>
                  <a:lnTo>
                    <a:pt x="1039693" y="27022"/>
                  </a:lnTo>
                  <a:lnTo>
                    <a:pt x="1039693" y="19456"/>
                  </a:lnTo>
                  <a:lnTo>
                    <a:pt x="1041466" y="19456"/>
                  </a:lnTo>
                  <a:lnTo>
                    <a:pt x="1053880" y="19456"/>
                  </a:lnTo>
                  <a:lnTo>
                    <a:pt x="1053880" y="20537"/>
                  </a:lnTo>
                  <a:lnTo>
                    <a:pt x="1053880" y="28103"/>
                  </a:lnTo>
                  <a:lnTo>
                    <a:pt x="1054640" y="28103"/>
                  </a:lnTo>
                  <a:lnTo>
                    <a:pt x="1059960" y="28103"/>
                  </a:lnTo>
                  <a:lnTo>
                    <a:pt x="1070093" y="23779"/>
                  </a:lnTo>
                  <a:lnTo>
                    <a:pt x="1074146" y="27022"/>
                  </a:lnTo>
                  <a:lnTo>
                    <a:pt x="1074146" y="19456"/>
                  </a:lnTo>
                  <a:lnTo>
                    <a:pt x="1076426" y="19456"/>
                  </a:lnTo>
                  <a:lnTo>
                    <a:pt x="1092387" y="19456"/>
                  </a:lnTo>
                  <a:lnTo>
                    <a:pt x="1092387" y="20537"/>
                  </a:lnTo>
                  <a:lnTo>
                    <a:pt x="1092387" y="28103"/>
                  </a:lnTo>
                  <a:lnTo>
                    <a:pt x="1122787" y="28103"/>
                  </a:lnTo>
                  <a:lnTo>
                    <a:pt x="1122787" y="29724"/>
                  </a:lnTo>
                  <a:lnTo>
                    <a:pt x="1122787" y="41074"/>
                  </a:lnTo>
                  <a:lnTo>
                    <a:pt x="1149134" y="41074"/>
                  </a:lnTo>
                  <a:lnTo>
                    <a:pt x="1149134" y="71338"/>
                  </a:lnTo>
                  <a:lnTo>
                    <a:pt x="1149894" y="71338"/>
                  </a:lnTo>
                  <a:lnTo>
                    <a:pt x="1155214" y="71338"/>
                  </a:lnTo>
                  <a:lnTo>
                    <a:pt x="1155214" y="72419"/>
                  </a:lnTo>
                  <a:lnTo>
                    <a:pt x="1155214" y="79986"/>
                  </a:lnTo>
                  <a:cubicBezTo>
                    <a:pt x="1159268" y="79986"/>
                    <a:pt x="1159268" y="79986"/>
                    <a:pt x="1159268" y="110250"/>
                  </a:cubicBezTo>
                  <a:lnTo>
                    <a:pt x="1160028" y="110250"/>
                  </a:lnTo>
                  <a:lnTo>
                    <a:pt x="1165348" y="110250"/>
                  </a:lnTo>
                  <a:lnTo>
                    <a:pt x="1165348" y="111061"/>
                  </a:lnTo>
                  <a:lnTo>
                    <a:pt x="1165348" y="116736"/>
                  </a:lnTo>
                  <a:lnTo>
                    <a:pt x="1166361" y="116736"/>
                  </a:lnTo>
                  <a:lnTo>
                    <a:pt x="1173454" y="116736"/>
                  </a:lnTo>
                  <a:lnTo>
                    <a:pt x="1173454" y="147001"/>
                  </a:lnTo>
                  <a:lnTo>
                    <a:pt x="1175481" y="147001"/>
                  </a:lnTo>
                  <a:lnTo>
                    <a:pt x="1189668" y="147001"/>
                  </a:lnTo>
                  <a:lnTo>
                    <a:pt x="1189668" y="170780"/>
                  </a:lnTo>
                  <a:cubicBezTo>
                    <a:pt x="1191695" y="170780"/>
                    <a:pt x="1191695" y="170780"/>
                    <a:pt x="1191695" y="172401"/>
                  </a:cubicBezTo>
                  <a:lnTo>
                    <a:pt x="1191695" y="183751"/>
                  </a:lnTo>
                  <a:lnTo>
                    <a:pt x="1192455" y="183751"/>
                  </a:lnTo>
                  <a:lnTo>
                    <a:pt x="1197775" y="183751"/>
                  </a:lnTo>
                  <a:lnTo>
                    <a:pt x="1197775" y="207530"/>
                  </a:lnTo>
                  <a:lnTo>
                    <a:pt x="1199041" y="207530"/>
                  </a:lnTo>
                  <a:lnTo>
                    <a:pt x="1207908" y="207530"/>
                  </a:lnTo>
                  <a:cubicBezTo>
                    <a:pt x="1209935" y="209692"/>
                    <a:pt x="1209935" y="209692"/>
                    <a:pt x="1209935" y="211584"/>
                  </a:cubicBezTo>
                  <a:lnTo>
                    <a:pt x="1209935" y="224825"/>
                  </a:lnTo>
                  <a:cubicBezTo>
                    <a:pt x="1209940" y="224818"/>
                    <a:pt x="1210027" y="224711"/>
                    <a:pt x="1211455" y="222933"/>
                  </a:cubicBezTo>
                  <a:lnTo>
                    <a:pt x="1222095" y="209692"/>
                  </a:lnTo>
                  <a:lnTo>
                    <a:pt x="1250469" y="209692"/>
                  </a:lnTo>
                  <a:lnTo>
                    <a:pt x="1250469" y="296163"/>
                  </a:lnTo>
                  <a:lnTo>
                    <a:pt x="1251229" y="296163"/>
                  </a:lnTo>
                  <a:lnTo>
                    <a:pt x="1256549" y="296163"/>
                  </a:lnTo>
                  <a:cubicBezTo>
                    <a:pt x="1256553" y="296155"/>
                    <a:pt x="1256612" y="296055"/>
                    <a:pt x="1257309" y="294812"/>
                  </a:cubicBezTo>
                  <a:lnTo>
                    <a:pt x="1262629" y="285354"/>
                  </a:lnTo>
                  <a:lnTo>
                    <a:pt x="1262629" y="287246"/>
                  </a:lnTo>
                  <a:lnTo>
                    <a:pt x="1262629" y="300487"/>
                  </a:lnTo>
                  <a:cubicBezTo>
                    <a:pt x="1266682" y="300487"/>
                    <a:pt x="1266682" y="300487"/>
                    <a:pt x="1266682" y="255090"/>
                  </a:cubicBezTo>
                  <a:lnTo>
                    <a:pt x="1267442" y="255090"/>
                  </a:lnTo>
                  <a:lnTo>
                    <a:pt x="1272762" y="255090"/>
                  </a:lnTo>
                  <a:lnTo>
                    <a:pt x="1272762" y="190236"/>
                  </a:lnTo>
                  <a:lnTo>
                    <a:pt x="1273776" y="190236"/>
                  </a:lnTo>
                  <a:lnTo>
                    <a:pt x="1280869" y="190236"/>
                  </a:lnTo>
                  <a:cubicBezTo>
                    <a:pt x="1280875" y="190215"/>
                    <a:pt x="1281139" y="189275"/>
                    <a:pt x="1293029" y="147001"/>
                  </a:cubicBezTo>
                  <a:lnTo>
                    <a:pt x="1294296" y="147001"/>
                  </a:lnTo>
                  <a:lnTo>
                    <a:pt x="1303163" y="147001"/>
                  </a:lnTo>
                  <a:cubicBezTo>
                    <a:pt x="1303168" y="147024"/>
                    <a:pt x="1303394" y="147990"/>
                    <a:pt x="1313296" y="190236"/>
                  </a:cubicBezTo>
                  <a:lnTo>
                    <a:pt x="1314309" y="190236"/>
                  </a:lnTo>
                  <a:lnTo>
                    <a:pt x="1321403" y="190236"/>
                  </a:lnTo>
                  <a:lnTo>
                    <a:pt x="1321403" y="229148"/>
                  </a:lnTo>
                  <a:lnTo>
                    <a:pt x="1323176" y="229148"/>
                  </a:lnTo>
                  <a:lnTo>
                    <a:pt x="1335590" y="229148"/>
                  </a:lnTo>
                  <a:lnTo>
                    <a:pt x="1335590" y="231310"/>
                  </a:lnTo>
                  <a:lnTo>
                    <a:pt x="1335590" y="246442"/>
                  </a:lnTo>
                  <a:cubicBezTo>
                    <a:pt x="1339643" y="246442"/>
                    <a:pt x="1339643" y="246442"/>
                    <a:pt x="1339643" y="244281"/>
                  </a:cubicBezTo>
                  <a:lnTo>
                    <a:pt x="1339643" y="229148"/>
                  </a:lnTo>
                  <a:lnTo>
                    <a:pt x="1341163" y="229148"/>
                  </a:lnTo>
                  <a:lnTo>
                    <a:pt x="1351803" y="229148"/>
                  </a:lnTo>
                  <a:lnTo>
                    <a:pt x="1351803" y="230769"/>
                  </a:lnTo>
                  <a:lnTo>
                    <a:pt x="1351803" y="242119"/>
                  </a:lnTo>
                  <a:lnTo>
                    <a:pt x="1382204" y="242119"/>
                  </a:lnTo>
                  <a:lnTo>
                    <a:pt x="1382204" y="205369"/>
                  </a:lnTo>
                  <a:lnTo>
                    <a:pt x="1383470" y="205369"/>
                  </a:lnTo>
                  <a:lnTo>
                    <a:pt x="1392337" y="205369"/>
                  </a:lnTo>
                  <a:lnTo>
                    <a:pt x="1392337" y="226986"/>
                  </a:lnTo>
                  <a:cubicBezTo>
                    <a:pt x="1394364" y="226986"/>
                    <a:pt x="1394364" y="226986"/>
                    <a:pt x="1394364" y="194560"/>
                  </a:cubicBezTo>
                  <a:lnTo>
                    <a:pt x="1416657" y="194560"/>
                  </a:lnTo>
                  <a:lnTo>
                    <a:pt x="1416657" y="192938"/>
                  </a:lnTo>
                  <a:lnTo>
                    <a:pt x="1416657" y="181589"/>
                  </a:lnTo>
                  <a:lnTo>
                    <a:pt x="1417417" y="181589"/>
                  </a:lnTo>
                  <a:lnTo>
                    <a:pt x="1422737" y="181589"/>
                  </a:lnTo>
                  <a:lnTo>
                    <a:pt x="1422737" y="179698"/>
                  </a:lnTo>
                  <a:lnTo>
                    <a:pt x="1422737" y="166457"/>
                  </a:lnTo>
                  <a:lnTo>
                    <a:pt x="1426791" y="172942"/>
                  </a:lnTo>
                  <a:lnTo>
                    <a:pt x="1429071" y="172942"/>
                  </a:lnTo>
                  <a:lnTo>
                    <a:pt x="1445031" y="172942"/>
                  </a:lnTo>
                  <a:lnTo>
                    <a:pt x="1445031" y="172131"/>
                  </a:lnTo>
                  <a:lnTo>
                    <a:pt x="1445031" y="166457"/>
                  </a:lnTo>
                  <a:lnTo>
                    <a:pt x="1445791" y="166457"/>
                  </a:lnTo>
                  <a:lnTo>
                    <a:pt x="1451111" y="166457"/>
                  </a:lnTo>
                  <a:lnTo>
                    <a:pt x="1451111" y="167808"/>
                  </a:lnTo>
                  <a:lnTo>
                    <a:pt x="1451111" y="177266"/>
                  </a:lnTo>
                  <a:lnTo>
                    <a:pt x="1489618" y="177266"/>
                  </a:lnTo>
                  <a:lnTo>
                    <a:pt x="1489618" y="315619"/>
                  </a:lnTo>
                  <a:lnTo>
                    <a:pt x="1491138" y="315619"/>
                  </a:lnTo>
                  <a:lnTo>
                    <a:pt x="1501778" y="315619"/>
                  </a:lnTo>
                  <a:lnTo>
                    <a:pt x="1501778" y="302649"/>
                  </a:lnTo>
                  <a:lnTo>
                    <a:pt x="1505832" y="302649"/>
                  </a:lnTo>
                  <a:lnTo>
                    <a:pt x="1505832" y="315619"/>
                  </a:lnTo>
                  <a:lnTo>
                    <a:pt x="1536232" y="315619"/>
                  </a:lnTo>
                  <a:lnTo>
                    <a:pt x="1536232" y="285354"/>
                  </a:lnTo>
                  <a:lnTo>
                    <a:pt x="1548392" y="285354"/>
                  </a:lnTo>
                  <a:lnTo>
                    <a:pt x="1560552" y="283193"/>
                  </a:lnTo>
                  <a:cubicBezTo>
                    <a:pt x="1562579" y="283193"/>
                    <a:pt x="1562579" y="285354"/>
                    <a:pt x="1564606" y="285354"/>
                  </a:cubicBezTo>
                  <a:lnTo>
                    <a:pt x="1574739" y="285354"/>
                  </a:lnTo>
                  <a:lnTo>
                    <a:pt x="1574739" y="315619"/>
                  </a:lnTo>
                  <a:lnTo>
                    <a:pt x="1582846" y="315619"/>
                  </a:lnTo>
                  <a:lnTo>
                    <a:pt x="1582846" y="332914"/>
                  </a:lnTo>
                  <a:lnTo>
                    <a:pt x="1592182" y="333819"/>
                  </a:lnTo>
                  <a:lnTo>
                    <a:pt x="1605140" y="333819"/>
                  </a:lnTo>
                  <a:lnTo>
                    <a:pt x="1605140" y="317781"/>
                  </a:lnTo>
                  <a:lnTo>
                    <a:pt x="1673096" y="317781"/>
                  </a:lnTo>
                  <a:lnTo>
                    <a:pt x="1673096" y="232528"/>
                  </a:lnTo>
                  <a:lnTo>
                    <a:pt x="1745104" y="232528"/>
                  </a:lnTo>
                  <a:lnTo>
                    <a:pt x="1745104" y="311296"/>
                  </a:lnTo>
                  <a:lnTo>
                    <a:pt x="1747008" y="311296"/>
                  </a:lnTo>
                  <a:lnTo>
                    <a:pt x="1748250" y="333819"/>
                  </a:lnTo>
                  <a:lnTo>
                    <a:pt x="1757926" y="333819"/>
                  </a:lnTo>
                  <a:cubicBezTo>
                    <a:pt x="1758462" y="326605"/>
                    <a:pt x="1759168" y="318951"/>
                    <a:pt x="1759168" y="311296"/>
                  </a:cubicBezTo>
                  <a:lnTo>
                    <a:pt x="1765248" y="311296"/>
                  </a:lnTo>
                  <a:lnTo>
                    <a:pt x="1766490" y="333819"/>
                  </a:lnTo>
                  <a:lnTo>
                    <a:pt x="1817112" y="333819"/>
                  </a:lnTo>
                  <a:lnTo>
                    <a:pt x="1817112" y="170791"/>
                  </a:lnTo>
                  <a:lnTo>
                    <a:pt x="2014439" y="170791"/>
                  </a:lnTo>
                  <a:lnTo>
                    <a:pt x="2014439" y="333819"/>
                  </a:lnTo>
                  <a:lnTo>
                    <a:pt x="2033136" y="333819"/>
                  </a:lnTo>
                  <a:lnTo>
                    <a:pt x="2033136" y="251126"/>
                  </a:lnTo>
                  <a:lnTo>
                    <a:pt x="2128256" y="251126"/>
                  </a:lnTo>
                  <a:cubicBezTo>
                    <a:pt x="2152853" y="240257"/>
                    <a:pt x="2161167" y="196782"/>
                    <a:pt x="2180720" y="185913"/>
                  </a:cubicBezTo>
                  <a:lnTo>
                    <a:pt x="2245574" y="185913"/>
                  </a:lnTo>
                  <a:lnTo>
                    <a:pt x="2245574" y="261575"/>
                  </a:lnTo>
                  <a:lnTo>
                    <a:pt x="2253681" y="261575"/>
                  </a:lnTo>
                  <a:cubicBezTo>
                    <a:pt x="2253681" y="259413"/>
                    <a:pt x="2255708" y="257251"/>
                    <a:pt x="2255708" y="255090"/>
                  </a:cubicBezTo>
                  <a:lnTo>
                    <a:pt x="2261788" y="255090"/>
                  </a:lnTo>
                  <a:cubicBezTo>
                    <a:pt x="2261788" y="257251"/>
                    <a:pt x="2261788" y="259413"/>
                    <a:pt x="2263815" y="263737"/>
                  </a:cubicBezTo>
                  <a:lnTo>
                    <a:pt x="2275975" y="263737"/>
                  </a:lnTo>
                  <a:lnTo>
                    <a:pt x="2275975" y="257251"/>
                  </a:lnTo>
                  <a:lnTo>
                    <a:pt x="2298268" y="257251"/>
                  </a:lnTo>
                  <a:lnTo>
                    <a:pt x="2298268" y="263737"/>
                  </a:lnTo>
                  <a:lnTo>
                    <a:pt x="2318535" y="263737"/>
                  </a:lnTo>
                  <a:lnTo>
                    <a:pt x="2318535" y="309134"/>
                  </a:lnTo>
                  <a:lnTo>
                    <a:pt x="2332722" y="309134"/>
                  </a:lnTo>
                  <a:lnTo>
                    <a:pt x="2332722" y="296163"/>
                  </a:lnTo>
                  <a:lnTo>
                    <a:pt x="2348936" y="296163"/>
                  </a:lnTo>
                  <a:lnTo>
                    <a:pt x="2348936" y="116736"/>
                  </a:lnTo>
                  <a:lnTo>
                    <a:pt x="2355016" y="110250"/>
                  </a:lnTo>
                  <a:lnTo>
                    <a:pt x="2427977" y="110250"/>
                  </a:lnTo>
                  <a:lnTo>
                    <a:pt x="2427977" y="118898"/>
                  </a:lnTo>
                  <a:lnTo>
                    <a:pt x="2438110" y="118898"/>
                  </a:lnTo>
                  <a:lnTo>
                    <a:pt x="2438110" y="233472"/>
                  </a:lnTo>
                  <a:lnTo>
                    <a:pt x="2460404" y="233472"/>
                  </a:lnTo>
                  <a:lnTo>
                    <a:pt x="2460404" y="166457"/>
                  </a:lnTo>
                  <a:lnTo>
                    <a:pt x="2486751" y="166457"/>
                  </a:lnTo>
                  <a:cubicBezTo>
                    <a:pt x="2488777" y="166457"/>
                    <a:pt x="2488777" y="164295"/>
                    <a:pt x="2490804" y="162133"/>
                  </a:cubicBezTo>
                  <a:lnTo>
                    <a:pt x="2498911" y="162133"/>
                  </a:lnTo>
                  <a:cubicBezTo>
                    <a:pt x="2500937" y="164295"/>
                    <a:pt x="2500937" y="166457"/>
                    <a:pt x="2502964" y="166457"/>
                  </a:cubicBezTo>
                  <a:lnTo>
                    <a:pt x="2525258" y="166457"/>
                  </a:lnTo>
                  <a:lnTo>
                    <a:pt x="2525258" y="49721"/>
                  </a:lnTo>
                  <a:cubicBezTo>
                    <a:pt x="2525272" y="49718"/>
                    <a:pt x="2526139" y="49554"/>
                    <a:pt x="2582005" y="38912"/>
                  </a:cubicBezTo>
                  <a:lnTo>
                    <a:pt x="2582005" y="39993"/>
                  </a:lnTo>
                  <a:lnTo>
                    <a:pt x="2582005" y="47559"/>
                  </a:lnTo>
                  <a:lnTo>
                    <a:pt x="2608352" y="47559"/>
                  </a:lnTo>
                  <a:lnTo>
                    <a:pt x="2608352" y="302649"/>
                  </a:lnTo>
                  <a:lnTo>
                    <a:pt x="2630646" y="302649"/>
                  </a:lnTo>
                  <a:lnTo>
                    <a:pt x="2630646" y="298325"/>
                  </a:lnTo>
                  <a:lnTo>
                    <a:pt x="2642806" y="298325"/>
                  </a:lnTo>
                  <a:lnTo>
                    <a:pt x="2642806" y="302649"/>
                  </a:lnTo>
                  <a:lnTo>
                    <a:pt x="2667126" y="302649"/>
                  </a:lnTo>
                  <a:lnTo>
                    <a:pt x="2667126" y="289678"/>
                  </a:lnTo>
                  <a:lnTo>
                    <a:pt x="2695500" y="289678"/>
                  </a:lnTo>
                  <a:cubicBezTo>
                    <a:pt x="2699553" y="285354"/>
                    <a:pt x="2703607" y="285354"/>
                    <a:pt x="2707660" y="285354"/>
                  </a:cubicBezTo>
                  <a:cubicBezTo>
                    <a:pt x="2713740" y="289678"/>
                    <a:pt x="2721847" y="289678"/>
                    <a:pt x="2727927" y="289678"/>
                  </a:cubicBezTo>
                  <a:lnTo>
                    <a:pt x="2727927" y="272384"/>
                  </a:lnTo>
                  <a:lnTo>
                    <a:pt x="2736034" y="272384"/>
                  </a:lnTo>
                  <a:lnTo>
                    <a:pt x="2736034" y="259413"/>
                  </a:lnTo>
                  <a:lnTo>
                    <a:pt x="2792781" y="259413"/>
                  </a:lnTo>
                  <a:lnTo>
                    <a:pt x="2792781" y="229148"/>
                  </a:lnTo>
                  <a:lnTo>
                    <a:pt x="2811021" y="229148"/>
                  </a:lnTo>
                  <a:lnTo>
                    <a:pt x="2811021" y="222663"/>
                  </a:lnTo>
                  <a:lnTo>
                    <a:pt x="2823181" y="222663"/>
                  </a:lnTo>
                  <a:lnTo>
                    <a:pt x="2823181" y="229148"/>
                  </a:lnTo>
                  <a:lnTo>
                    <a:pt x="2839395" y="229148"/>
                  </a:lnTo>
                  <a:lnTo>
                    <a:pt x="2839395" y="278869"/>
                  </a:lnTo>
                  <a:lnTo>
                    <a:pt x="2871822" y="278869"/>
                  </a:lnTo>
                  <a:lnTo>
                    <a:pt x="2871822" y="252928"/>
                  </a:lnTo>
                  <a:lnTo>
                    <a:pt x="2910329" y="252928"/>
                  </a:lnTo>
                  <a:lnTo>
                    <a:pt x="2910329" y="222663"/>
                  </a:lnTo>
                  <a:lnTo>
                    <a:pt x="2958970" y="222663"/>
                  </a:lnTo>
                  <a:cubicBezTo>
                    <a:pt x="2959793" y="378235"/>
                    <a:pt x="2960615" y="533807"/>
                    <a:pt x="2961438" y="689379"/>
                  </a:cubicBezTo>
                  <a:lnTo>
                    <a:pt x="2054" y="687046"/>
                  </a:lnTo>
                  <a:cubicBezTo>
                    <a:pt x="1369" y="539482"/>
                    <a:pt x="685" y="400492"/>
                    <a:pt x="0" y="252928"/>
                  </a:cubicBezTo>
                  <a:lnTo>
                    <a:pt x="20267" y="252928"/>
                  </a:lnTo>
                  <a:cubicBezTo>
                    <a:pt x="20271" y="252922"/>
                    <a:pt x="20308" y="252840"/>
                    <a:pt x="20774" y="251847"/>
                  </a:cubicBezTo>
                  <a:lnTo>
                    <a:pt x="24320" y="244281"/>
                  </a:lnTo>
                  <a:cubicBezTo>
                    <a:pt x="24329" y="244282"/>
                    <a:pt x="24442" y="244300"/>
                    <a:pt x="26094" y="244551"/>
                  </a:cubicBezTo>
                  <a:lnTo>
                    <a:pt x="38507" y="246442"/>
                  </a:lnTo>
                  <a:cubicBezTo>
                    <a:pt x="38510" y="246452"/>
                    <a:pt x="38548" y="246553"/>
                    <a:pt x="39014" y="247794"/>
                  </a:cubicBezTo>
                  <a:lnTo>
                    <a:pt x="42560" y="257251"/>
                  </a:lnTo>
                  <a:cubicBezTo>
                    <a:pt x="42574" y="257252"/>
                    <a:pt x="43170" y="257302"/>
                    <a:pt x="68907" y="259413"/>
                  </a:cubicBezTo>
                  <a:lnTo>
                    <a:pt x="68907" y="136192"/>
                  </a:lnTo>
                  <a:lnTo>
                    <a:pt x="70934" y="136192"/>
                  </a:lnTo>
                  <a:lnTo>
                    <a:pt x="85121" y="136192"/>
                  </a:lnTo>
                  <a:lnTo>
                    <a:pt x="85121" y="0"/>
                  </a:lnTo>
                  <a:lnTo>
                    <a:pt x="86894" y="0"/>
                  </a:lnTo>
                  <a:lnTo>
                    <a:pt x="993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sz="2701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7" name="자유형: 도형 52">
              <a:extLst>
                <a:ext uri="{FF2B5EF4-FFF2-40B4-BE49-F238E27FC236}">
                  <a16:creationId xmlns:a16="http://schemas.microsoft.com/office/drawing/2014/main" xmlns="" id="{75454566-405F-4BE8-B99C-4A4074AA5065}"/>
                </a:ext>
              </a:extLst>
            </p:cNvPr>
            <p:cNvSpPr/>
            <p:nvPr/>
          </p:nvSpPr>
          <p:spPr>
            <a:xfrm>
              <a:off x="8996212" y="1412530"/>
              <a:ext cx="3195788" cy="1160647"/>
            </a:xfrm>
            <a:custGeom>
              <a:avLst/>
              <a:gdLst>
                <a:gd name="connsiteX0" fmla="*/ 160109 w 3195788"/>
                <a:gd name="connsiteY0" fmla="*/ 0 h 1160647"/>
                <a:gd name="connsiteX1" fmla="*/ 162135 w 3195788"/>
                <a:gd name="connsiteY1" fmla="*/ 246443 h 1160647"/>
                <a:gd name="connsiteX2" fmla="*/ 200642 w 3195788"/>
                <a:gd name="connsiteY2" fmla="*/ 326429 h 1160647"/>
                <a:gd name="connsiteX3" fmla="*/ 202669 w 3195788"/>
                <a:gd name="connsiteY3" fmla="*/ 326429 h 1160647"/>
                <a:gd name="connsiteX4" fmla="*/ 216856 w 3195788"/>
                <a:gd name="connsiteY4" fmla="*/ 326429 h 1160647"/>
                <a:gd name="connsiteX5" fmla="*/ 216856 w 3195788"/>
                <a:gd name="connsiteY5" fmla="*/ 350208 h 1160647"/>
                <a:gd name="connsiteX6" fmla="*/ 217363 w 3195788"/>
                <a:gd name="connsiteY6" fmla="*/ 351019 h 1160647"/>
                <a:gd name="connsiteX7" fmla="*/ 220909 w 3195788"/>
                <a:gd name="connsiteY7" fmla="*/ 356694 h 1160647"/>
                <a:gd name="connsiteX8" fmla="*/ 220909 w 3195788"/>
                <a:gd name="connsiteY8" fmla="*/ 471268 h 1160647"/>
                <a:gd name="connsiteX9" fmla="*/ 223189 w 3195788"/>
                <a:gd name="connsiteY9" fmla="*/ 471268 h 1160647"/>
                <a:gd name="connsiteX10" fmla="*/ 239150 w 3195788"/>
                <a:gd name="connsiteY10" fmla="*/ 471268 h 1160647"/>
                <a:gd name="connsiteX11" fmla="*/ 239150 w 3195788"/>
                <a:gd name="connsiteY11" fmla="*/ 611783 h 1160647"/>
                <a:gd name="connsiteX12" fmla="*/ 240670 w 3195788"/>
                <a:gd name="connsiteY12" fmla="*/ 611513 h 1160647"/>
                <a:gd name="connsiteX13" fmla="*/ 251310 w 3195788"/>
                <a:gd name="connsiteY13" fmla="*/ 609622 h 1160647"/>
                <a:gd name="connsiteX14" fmla="*/ 249283 w 3195788"/>
                <a:gd name="connsiteY14" fmla="*/ 698254 h 1160647"/>
                <a:gd name="connsiteX15" fmla="*/ 250803 w 3195788"/>
                <a:gd name="connsiteY15" fmla="*/ 698525 h 1160647"/>
                <a:gd name="connsiteX16" fmla="*/ 261443 w 3195788"/>
                <a:gd name="connsiteY16" fmla="*/ 700416 h 1160647"/>
                <a:gd name="connsiteX17" fmla="*/ 261696 w 3195788"/>
                <a:gd name="connsiteY17" fmla="*/ 701227 h 1160647"/>
                <a:gd name="connsiteX18" fmla="*/ 263470 w 3195788"/>
                <a:gd name="connsiteY18" fmla="*/ 706902 h 1160647"/>
                <a:gd name="connsiteX19" fmla="*/ 264230 w 3195788"/>
                <a:gd name="connsiteY19" fmla="*/ 704470 h 1160647"/>
                <a:gd name="connsiteX20" fmla="*/ 269550 w 3195788"/>
                <a:gd name="connsiteY20" fmla="*/ 687446 h 1160647"/>
                <a:gd name="connsiteX21" fmla="*/ 271323 w 3195788"/>
                <a:gd name="connsiteY21" fmla="*/ 687446 h 1160647"/>
                <a:gd name="connsiteX22" fmla="*/ 283737 w 3195788"/>
                <a:gd name="connsiteY22" fmla="*/ 687446 h 1160647"/>
                <a:gd name="connsiteX23" fmla="*/ 283737 w 3195788"/>
                <a:gd name="connsiteY23" fmla="*/ 719872 h 1160647"/>
                <a:gd name="connsiteX24" fmla="*/ 284750 w 3195788"/>
                <a:gd name="connsiteY24" fmla="*/ 720413 h 1160647"/>
                <a:gd name="connsiteX25" fmla="*/ 291844 w 3195788"/>
                <a:gd name="connsiteY25" fmla="*/ 724196 h 1160647"/>
                <a:gd name="connsiteX26" fmla="*/ 291844 w 3195788"/>
                <a:gd name="connsiteY26" fmla="*/ 725547 h 1160647"/>
                <a:gd name="connsiteX27" fmla="*/ 291844 w 3195788"/>
                <a:gd name="connsiteY27" fmla="*/ 735005 h 1160647"/>
                <a:gd name="connsiteX28" fmla="*/ 336431 w 3195788"/>
                <a:gd name="connsiteY28" fmla="*/ 735005 h 1160647"/>
                <a:gd name="connsiteX29" fmla="*/ 336431 w 3195788"/>
                <a:gd name="connsiteY29" fmla="*/ 736086 h 1160647"/>
                <a:gd name="connsiteX30" fmla="*/ 336431 w 3195788"/>
                <a:gd name="connsiteY30" fmla="*/ 743652 h 1160647"/>
                <a:gd name="connsiteX31" fmla="*/ 338457 w 3195788"/>
                <a:gd name="connsiteY31" fmla="*/ 743652 h 1160647"/>
                <a:gd name="connsiteX32" fmla="*/ 352644 w 3195788"/>
                <a:gd name="connsiteY32" fmla="*/ 743652 h 1160647"/>
                <a:gd name="connsiteX33" fmla="*/ 352644 w 3195788"/>
                <a:gd name="connsiteY33" fmla="*/ 713387 h 1160647"/>
                <a:gd name="connsiteX34" fmla="*/ 397231 w 3195788"/>
                <a:gd name="connsiteY34" fmla="*/ 713387 h 1160647"/>
                <a:gd name="connsiteX35" fmla="*/ 397231 w 3195788"/>
                <a:gd name="connsiteY35" fmla="*/ 712036 h 1160647"/>
                <a:gd name="connsiteX36" fmla="*/ 397231 w 3195788"/>
                <a:gd name="connsiteY36" fmla="*/ 702578 h 1160647"/>
                <a:gd name="connsiteX37" fmla="*/ 398245 w 3195788"/>
                <a:gd name="connsiteY37" fmla="*/ 702578 h 1160647"/>
                <a:gd name="connsiteX38" fmla="*/ 405338 w 3195788"/>
                <a:gd name="connsiteY38" fmla="*/ 702578 h 1160647"/>
                <a:gd name="connsiteX39" fmla="*/ 405338 w 3195788"/>
                <a:gd name="connsiteY39" fmla="*/ 700687 h 1160647"/>
                <a:gd name="connsiteX40" fmla="*/ 405338 w 3195788"/>
                <a:gd name="connsiteY40" fmla="*/ 687446 h 1160647"/>
                <a:gd name="connsiteX41" fmla="*/ 406098 w 3195788"/>
                <a:gd name="connsiteY41" fmla="*/ 687446 h 1160647"/>
                <a:gd name="connsiteX42" fmla="*/ 411418 w 3195788"/>
                <a:gd name="connsiteY42" fmla="*/ 687446 h 1160647"/>
                <a:gd name="connsiteX43" fmla="*/ 411418 w 3195788"/>
                <a:gd name="connsiteY43" fmla="*/ 686365 h 1160647"/>
                <a:gd name="connsiteX44" fmla="*/ 411418 w 3195788"/>
                <a:gd name="connsiteY44" fmla="*/ 678798 h 1160647"/>
                <a:gd name="connsiteX45" fmla="*/ 413445 w 3195788"/>
                <a:gd name="connsiteY45" fmla="*/ 678798 h 1160647"/>
                <a:gd name="connsiteX46" fmla="*/ 427632 w 3195788"/>
                <a:gd name="connsiteY46" fmla="*/ 678798 h 1160647"/>
                <a:gd name="connsiteX47" fmla="*/ 427632 w 3195788"/>
                <a:gd name="connsiteY47" fmla="*/ 679879 h 1160647"/>
                <a:gd name="connsiteX48" fmla="*/ 427632 w 3195788"/>
                <a:gd name="connsiteY48" fmla="*/ 687446 h 1160647"/>
                <a:gd name="connsiteX49" fmla="*/ 449925 w 3195788"/>
                <a:gd name="connsiteY49" fmla="*/ 687446 h 1160647"/>
                <a:gd name="connsiteX50" fmla="*/ 449925 w 3195788"/>
                <a:gd name="connsiteY50" fmla="*/ 685554 h 1160647"/>
                <a:gd name="connsiteX51" fmla="*/ 449925 w 3195788"/>
                <a:gd name="connsiteY51" fmla="*/ 672313 h 1160647"/>
                <a:gd name="connsiteX52" fmla="*/ 451699 w 3195788"/>
                <a:gd name="connsiteY52" fmla="*/ 672313 h 1160647"/>
                <a:gd name="connsiteX53" fmla="*/ 464112 w 3195788"/>
                <a:gd name="connsiteY53" fmla="*/ 672313 h 1160647"/>
                <a:gd name="connsiteX54" fmla="*/ 464112 w 3195788"/>
                <a:gd name="connsiteY54" fmla="*/ 696093 h 1160647"/>
                <a:gd name="connsiteX55" fmla="*/ 465126 w 3195788"/>
                <a:gd name="connsiteY55" fmla="*/ 696093 h 1160647"/>
                <a:gd name="connsiteX56" fmla="*/ 472219 w 3195788"/>
                <a:gd name="connsiteY56" fmla="*/ 696093 h 1160647"/>
                <a:gd name="connsiteX57" fmla="*/ 472219 w 3195788"/>
                <a:gd name="connsiteY57" fmla="*/ 695012 h 1160647"/>
                <a:gd name="connsiteX58" fmla="*/ 472219 w 3195788"/>
                <a:gd name="connsiteY58" fmla="*/ 687446 h 1160647"/>
                <a:gd name="connsiteX59" fmla="*/ 473992 w 3195788"/>
                <a:gd name="connsiteY59" fmla="*/ 687446 h 1160647"/>
                <a:gd name="connsiteX60" fmla="*/ 486406 w 3195788"/>
                <a:gd name="connsiteY60" fmla="*/ 687446 h 1160647"/>
                <a:gd name="connsiteX61" fmla="*/ 486406 w 3195788"/>
                <a:gd name="connsiteY61" fmla="*/ 713387 h 1160647"/>
                <a:gd name="connsiteX62" fmla="*/ 488433 w 3195788"/>
                <a:gd name="connsiteY62" fmla="*/ 713387 h 1160647"/>
                <a:gd name="connsiteX63" fmla="*/ 502619 w 3195788"/>
                <a:gd name="connsiteY63" fmla="*/ 713387 h 1160647"/>
                <a:gd name="connsiteX64" fmla="*/ 502619 w 3195788"/>
                <a:gd name="connsiteY64" fmla="*/ 715008 h 1160647"/>
                <a:gd name="connsiteX65" fmla="*/ 502619 w 3195788"/>
                <a:gd name="connsiteY65" fmla="*/ 726358 h 1160647"/>
                <a:gd name="connsiteX66" fmla="*/ 503379 w 3195788"/>
                <a:gd name="connsiteY66" fmla="*/ 726358 h 1160647"/>
                <a:gd name="connsiteX67" fmla="*/ 508700 w 3195788"/>
                <a:gd name="connsiteY67" fmla="*/ 726358 h 1160647"/>
                <a:gd name="connsiteX68" fmla="*/ 508700 w 3195788"/>
                <a:gd name="connsiteY68" fmla="*/ 725547 h 1160647"/>
                <a:gd name="connsiteX69" fmla="*/ 508700 w 3195788"/>
                <a:gd name="connsiteY69" fmla="*/ 719872 h 1160647"/>
                <a:gd name="connsiteX70" fmla="*/ 539100 w 3195788"/>
                <a:gd name="connsiteY70" fmla="*/ 719872 h 1160647"/>
                <a:gd name="connsiteX71" fmla="*/ 539100 w 3195788"/>
                <a:gd name="connsiteY71" fmla="*/ 743652 h 1160647"/>
                <a:gd name="connsiteX72" fmla="*/ 540113 w 3195788"/>
                <a:gd name="connsiteY72" fmla="*/ 743652 h 1160647"/>
                <a:gd name="connsiteX73" fmla="*/ 547207 w 3195788"/>
                <a:gd name="connsiteY73" fmla="*/ 743652 h 1160647"/>
                <a:gd name="connsiteX74" fmla="*/ 547207 w 3195788"/>
                <a:gd name="connsiteY74" fmla="*/ 744733 h 1160647"/>
                <a:gd name="connsiteX75" fmla="*/ 547207 w 3195788"/>
                <a:gd name="connsiteY75" fmla="*/ 752299 h 1160647"/>
                <a:gd name="connsiteX76" fmla="*/ 547967 w 3195788"/>
                <a:gd name="connsiteY76" fmla="*/ 752299 h 1160647"/>
                <a:gd name="connsiteX77" fmla="*/ 553287 w 3195788"/>
                <a:gd name="connsiteY77" fmla="*/ 752299 h 1160647"/>
                <a:gd name="connsiteX78" fmla="*/ 553287 w 3195788"/>
                <a:gd name="connsiteY78" fmla="*/ 750137 h 1160647"/>
                <a:gd name="connsiteX79" fmla="*/ 553287 w 3195788"/>
                <a:gd name="connsiteY79" fmla="*/ 735005 h 1160647"/>
                <a:gd name="connsiteX80" fmla="*/ 554300 w 3195788"/>
                <a:gd name="connsiteY80" fmla="*/ 735005 h 1160647"/>
                <a:gd name="connsiteX81" fmla="*/ 561394 w 3195788"/>
                <a:gd name="connsiteY81" fmla="*/ 735005 h 1160647"/>
                <a:gd name="connsiteX82" fmla="*/ 561394 w 3195788"/>
                <a:gd name="connsiteY82" fmla="*/ 736086 h 1160647"/>
                <a:gd name="connsiteX83" fmla="*/ 561394 w 3195788"/>
                <a:gd name="connsiteY83" fmla="*/ 743652 h 1160647"/>
                <a:gd name="connsiteX84" fmla="*/ 566714 w 3195788"/>
                <a:gd name="connsiteY84" fmla="*/ 741659 h 1160647"/>
                <a:gd name="connsiteX85" fmla="*/ 567474 w 3195788"/>
                <a:gd name="connsiteY85" fmla="*/ 740679 h 1160647"/>
                <a:gd name="connsiteX86" fmla="*/ 567474 w 3195788"/>
                <a:gd name="connsiteY86" fmla="*/ 735005 h 1160647"/>
                <a:gd name="connsiteX87" fmla="*/ 605981 w 3195788"/>
                <a:gd name="connsiteY87" fmla="*/ 735005 h 1160647"/>
                <a:gd name="connsiteX88" fmla="*/ 605981 w 3195788"/>
                <a:gd name="connsiteY88" fmla="*/ 758784 h 1160647"/>
                <a:gd name="connsiteX89" fmla="*/ 608007 w 3195788"/>
                <a:gd name="connsiteY89" fmla="*/ 758784 h 1160647"/>
                <a:gd name="connsiteX90" fmla="*/ 622194 w 3195788"/>
                <a:gd name="connsiteY90" fmla="*/ 758784 h 1160647"/>
                <a:gd name="connsiteX91" fmla="*/ 622194 w 3195788"/>
                <a:gd name="connsiteY91" fmla="*/ 759865 h 1160647"/>
                <a:gd name="connsiteX92" fmla="*/ 622194 w 3195788"/>
                <a:gd name="connsiteY92" fmla="*/ 767431 h 1160647"/>
                <a:gd name="connsiteX93" fmla="*/ 623968 w 3195788"/>
                <a:gd name="connsiteY93" fmla="*/ 767431 h 1160647"/>
                <a:gd name="connsiteX94" fmla="*/ 636381 w 3195788"/>
                <a:gd name="connsiteY94" fmla="*/ 767431 h 1160647"/>
                <a:gd name="connsiteX95" fmla="*/ 636381 w 3195788"/>
                <a:gd name="connsiteY95" fmla="*/ 743652 h 1160647"/>
                <a:gd name="connsiteX96" fmla="*/ 637394 w 3195788"/>
                <a:gd name="connsiteY96" fmla="*/ 743652 h 1160647"/>
                <a:gd name="connsiteX97" fmla="*/ 644488 w 3195788"/>
                <a:gd name="connsiteY97" fmla="*/ 743652 h 1160647"/>
                <a:gd name="connsiteX98" fmla="*/ 644488 w 3195788"/>
                <a:gd name="connsiteY98" fmla="*/ 711225 h 1160647"/>
                <a:gd name="connsiteX99" fmla="*/ 645501 w 3195788"/>
                <a:gd name="connsiteY99" fmla="*/ 711225 h 1160647"/>
                <a:gd name="connsiteX100" fmla="*/ 652595 w 3195788"/>
                <a:gd name="connsiteY100" fmla="*/ 711225 h 1160647"/>
                <a:gd name="connsiteX101" fmla="*/ 652595 w 3195788"/>
                <a:gd name="connsiteY101" fmla="*/ 709334 h 1160647"/>
                <a:gd name="connsiteX102" fmla="*/ 652595 w 3195788"/>
                <a:gd name="connsiteY102" fmla="*/ 696093 h 1160647"/>
                <a:gd name="connsiteX103" fmla="*/ 651328 w 3195788"/>
                <a:gd name="connsiteY103" fmla="*/ 694471 h 1160647"/>
                <a:gd name="connsiteX104" fmla="*/ 656648 w 3195788"/>
                <a:gd name="connsiteY104" fmla="*/ 683122 h 1160647"/>
                <a:gd name="connsiteX105" fmla="*/ 664755 w 3195788"/>
                <a:gd name="connsiteY105" fmla="*/ 711225 h 1160647"/>
                <a:gd name="connsiteX106" fmla="*/ 665515 w 3195788"/>
                <a:gd name="connsiteY106" fmla="*/ 711225 h 1160647"/>
                <a:gd name="connsiteX107" fmla="*/ 670835 w 3195788"/>
                <a:gd name="connsiteY107" fmla="*/ 711225 h 1160647"/>
                <a:gd name="connsiteX108" fmla="*/ 670835 w 3195788"/>
                <a:gd name="connsiteY108" fmla="*/ 605298 h 1160647"/>
                <a:gd name="connsiteX109" fmla="*/ 672355 w 3195788"/>
                <a:gd name="connsiteY109" fmla="*/ 605298 h 1160647"/>
                <a:gd name="connsiteX110" fmla="*/ 682995 w 3195788"/>
                <a:gd name="connsiteY110" fmla="*/ 605298 h 1160647"/>
                <a:gd name="connsiteX111" fmla="*/ 682995 w 3195788"/>
                <a:gd name="connsiteY111" fmla="*/ 557739 h 1160647"/>
                <a:gd name="connsiteX112" fmla="*/ 709342 w 3195788"/>
                <a:gd name="connsiteY112" fmla="*/ 557739 h 1160647"/>
                <a:gd name="connsiteX113" fmla="*/ 709342 w 3195788"/>
                <a:gd name="connsiteY113" fmla="*/ 536121 h 1160647"/>
                <a:gd name="connsiteX114" fmla="*/ 743796 w 3195788"/>
                <a:gd name="connsiteY114" fmla="*/ 536121 h 1160647"/>
                <a:gd name="connsiteX115" fmla="*/ 743796 w 3195788"/>
                <a:gd name="connsiteY115" fmla="*/ 538553 h 1160647"/>
                <a:gd name="connsiteX116" fmla="*/ 743796 w 3195788"/>
                <a:gd name="connsiteY116" fmla="*/ 555577 h 1160647"/>
                <a:gd name="connsiteX117" fmla="*/ 746076 w 3195788"/>
                <a:gd name="connsiteY117" fmla="*/ 555577 h 1160647"/>
                <a:gd name="connsiteX118" fmla="*/ 762036 w 3195788"/>
                <a:gd name="connsiteY118" fmla="*/ 555577 h 1160647"/>
                <a:gd name="connsiteX119" fmla="*/ 762036 w 3195788"/>
                <a:gd name="connsiteY119" fmla="*/ 603136 h 1160647"/>
                <a:gd name="connsiteX120" fmla="*/ 763049 w 3195788"/>
                <a:gd name="connsiteY120" fmla="*/ 603136 h 1160647"/>
                <a:gd name="connsiteX121" fmla="*/ 770143 w 3195788"/>
                <a:gd name="connsiteY121" fmla="*/ 603136 h 1160647"/>
                <a:gd name="connsiteX122" fmla="*/ 784330 w 3195788"/>
                <a:gd name="connsiteY122" fmla="*/ 607460 h 1160647"/>
                <a:gd name="connsiteX123" fmla="*/ 784330 w 3195788"/>
                <a:gd name="connsiteY123" fmla="*/ 646372 h 1160647"/>
                <a:gd name="connsiteX124" fmla="*/ 785343 w 3195788"/>
                <a:gd name="connsiteY124" fmla="*/ 646372 h 1160647"/>
                <a:gd name="connsiteX125" fmla="*/ 792436 w 3195788"/>
                <a:gd name="connsiteY125" fmla="*/ 646372 h 1160647"/>
                <a:gd name="connsiteX126" fmla="*/ 792436 w 3195788"/>
                <a:gd name="connsiteY126" fmla="*/ 647993 h 1160647"/>
                <a:gd name="connsiteX127" fmla="*/ 792436 w 3195788"/>
                <a:gd name="connsiteY127" fmla="*/ 659342 h 1160647"/>
                <a:gd name="connsiteX128" fmla="*/ 794463 w 3195788"/>
                <a:gd name="connsiteY128" fmla="*/ 659342 h 1160647"/>
                <a:gd name="connsiteX129" fmla="*/ 808650 w 3195788"/>
                <a:gd name="connsiteY129" fmla="*/ 659342 h 1160647"/>
                <a:gd name="connsiteX130" fmla="*/ 814730 w 3195788"/>
                <a:gd name="connsiteY130" fmla="*/ 665828 h 1160647"/>
                <a:gd name="connsiteX131" fmla="*/ 814730 w 3195788"/>
                <a:gd name="connsiteY131" fmla="*/ 687446 h 1160647"/>
                <a:gd name="connsiteX132" fmla="*/ 817010 w 3195788"/>
                <a:gd name="connsiteY132" fmla="*/ 687446 h 1160647"/>
                <a:gd name="connsiteX133" fmla="*/ 832970 w 3195788"/>
                <a:gd name="connsiteY133" fmla="*/ 687446 h 1160647"/>
                <a:gd name="connsiteX134" fmla="*/ 832970 w 3195788"/>
                <a:gd name="connsiteY134" fmla="*/ 688526 h 1160647"/>
                <a:gd name="connsiteX135" fmla="*/ 832970 w 3195788"/>
                <a:gd name="connsiteY135" fmla="*/ 696093 h 1160647"/>
                <a:gd name="connsiteX136" fmla="*/ 834237 w 3195788"/>
                <a:gd name="connsiteY136" fmla="*/ 696093 h 1160647"/>
                <a:gd name="connsiteX137" fmla="*/ 843104 w 3195788"/>
                <a:gd name="connsiteY137" fmla="*/ 696093 h 1160647"/>
                <a:gd name="connsiteX138" fmla="*/ 843104 w 3195788"/>
                <a:gd name="connsiteY138" fmla="*/ 698254 h 1160647"/>
                <a:gd name="connsiteX139" fmla="*/ 843104 w 3195788"/>
                <a:gd name="connsiteY139" fmla="*/ 713387 h 1160647"/>
                <a:gd name="connsiteX140" fmla="*/ 847157 w 3195788"/>
                <a:gd name="connsiteY140" fmla="*/ 711495 h 1160647"/>
                <a:gd name="connsiteX141" fmla="*/ 847157 w 3195788"/>
                <a:gd name="connsiteY141" fmla="*/ 698254 h 1160647"/>
                <a:gd name="connsiteX142" fmla="*/ 848170 w 3195788"/>
                <a:gd name="connsiteY142" fmla="*/ 698254 h 1160647"/>
                <a:gd name="connsiteX143" fmla="*/ 855264 w 3195788"/>
                <a:gd name="connsiteY143" fmla="*/ 698254 h 1160647"/>
                <a:gd name="connsiteX144" fmla="*/ 855264 w 3195788"/>
                <a:gd name="connsiteY144" fmla="*/ 699876 h 1160647"/>
                <a:gd name="connsiteX145" fmla="*/ 855264 w 3195788"/>
                <a:gd name="connsiteY145" fmla="*/ 711225 h 1160647"/>
                <a:gd name="connsiteX146" fmla="*/ 856024 w 3195788"/>
                <a:gd name="connsiteY146" fmla="*/ 711225 h 1160647"/>
                <a:gd name="connsiteX147" fmla="*/ 861344 w 3195788"/>
                <a:gd name="connsiteY147" fmla="*/ 711225 h 1160647"/>
                <a:gd name="connsiteX148" fmla="*/ 909984 w 3195788"/>
                <a:gd name="connsiteY148" fmla="*/ 706902 h 1160647"/>
                <a:gd name="connsiteX149" fmla="*/ 909984 w 3195788"/>
                <a:gd name="connsiteY149" fmla="*/ 708253 h 1160647"/>
                <a:gd name="connsiteX150" fmla="*/ 909984 w 3195788"/>
                <a:gd name="connsiteY150" fmla="*/ 717710 h 1160647"/>
                <a:gd name="connsiteX151" fmla="*/ 910744 w 3195788"/>
                <a:gd name="connsiteY151" fmla="*/ 717710 h 1160647"/>
                <a:gd name="connsiteX152" fmla="*/ 916065 w 3195788"/>
                <a:gd name="connsiteY152" fmla="*/ 717710 h 1160647"/>
                <a:gd name="connsiteX153" fmla="*/ 916065 w 3195788"/>
                <a:gd name="connsiteY153" fmla="*/ 719872 h 1160647"/>
                <a:gd name="connsiteX154" fmla="*/ 916065 w 3195788"/>
                <a:gd name="connsiteY154" fmla="*/ 735005 h 1160647"/>
                <a:gd name="connsiteX155" fmla="*/ 918091 w 3195788"/>
                <a:gd name="connsiteY155" fmla="*/ 733654 h 1160647"/>
                <a:gd name="connsiteX156" fmla="*/ 932278 w 3195788"/>
                <a:gd name="connsiteY156" fmla="*/ 724196 h 1160647"/>
                <a:gd name="connsiteX157" fmla="*/ 938358 w 3195788"/>
                <a:gd name="connsiteY157" fmla="*/ 683122 h 1160647"/>
                <a:gd name="connsiteX158" fmla="*/ 939118 w 3195788"/>
                <a:gd name="connsiteY158" fmla="*/ 682852 h 1160647"/>
                <a:gd name="connsiteX159" fmla="*/ 944438 w 3195788"/>
                <a:gd name="connsiteY159" fmla="*/ 680960 h 1160647"/>
                <a:gd name="connsiteX160" fmla="*/ 946465 w 3195788"/>
                <a:gd name="connsiteY160" fmla="*/ 611783 h 1160647"/>
                <a:gd name="connsiteX161" fmla="*/ 948492 w 3195788"/>
                <a:gd name="connsiteY161" fmla="*/ 680960 h 1160647"/>
                <a:gd name="connsiteX162" fmla="*/ 949252 w 3195788"/>
                <a:gd name="connsiteY162" fmla="*/ 681230 h 1160647"/>
                <a:gd name="connsiteX163" fmla="*/ 954572 w 3195788"/>
                <a:gd name="connsiteY163" fmla="*/ 683122 h 1160647"/>
                <a:gd name="connsiteX164" fmla="*/ 954572 w 3195788"/>
                <a:gd name="connsiteY164" fmla="*/ 596651 h 1160647"/>
                <a:gd name="connsiteX165" fmla="*/ 958625 w 3195788"/>
                <a:gd name="connsiteY165" fmla="*/ 564224 h 1160647"/>
                <a:gd name="connsiteX166" fmla="*/ 997132 w 3195788"/>
                <a:gd name="connsiteY166" fmla="*/ 564224 h 1160647"/>
                <a:gd name="connsiteX167" fmla="*/ 997132 w 3195788"/>
                <a:gd name="connsiteY167" fmla="*/ 596651 h 1160647"/>
                <a:gd name="connsiteX168" fmla="*/ 997892 w 3195788"/>
                <a:gd name="connsiteY168" fmla="*/ 596651 h 1160647"/>
                <a:gd name="connsiteX169" fmla="*/ 1003212 w 3195788"/>
                <a:gd name="connsiteY169" fmla="*/ 596651 h 1160647"/>
                <a:gd name="connsiteX170" fmla="*/ 1003212 w 3195788"/>
                <a:gd name="connsiteY170" fmla="*/ 514503 h 1160647"/>
                <a:gd name="connsiteX171" fmla="*/ 1004986 w 3195788"/>
                <a:gd name="connsiteY171" fmla="*/ 514503 h 1160647"/>
                <a:gd name="connsiteX172" fmla="*/ 1017399 w 3195788"/>
                <a:gd name="connsiteY172" fmla="*/ 514503 h 1160647"/>
                <a:gd name="connsiteX173" fmla="*/ 1017399 w 3195788"/>
                <a:gd name="connsiteY173" fmla="*/ 512612 h 1160647"/>
                <a:gd name="connsiteX174" fmla="*/ 1017399 w 3195788"/>
                <a:gd name="connsiteY174" fmla="*/ 499371 h 1160647"/>
                <a:gd name="connsiteX175" fmla="*/ 1039693 w 3195788"/>
                <a:gd name="connsiteY175" fmla="*/ 499371 h 1160647"/>
                <a:gd name="connsiteX176" fmla="*/ 1039693 w 3195788"/>
                <a:gd name="connsiteY176" fmla="*/ 498290 h 1160647"/>
                <a:gd name="connsiteX177" fmla="*/ 1039693 w 3195788"/>
                <a:gd name="connsiteY177" fmla="*/ 490724 h 1160647"/>
                <a:gd name="connsiteX178" fmla="*/ 1041466 w 3195788"/>
                <a:gd name="connsiteY178" fmla="*/ 490724 h 1160647"/>
                <a:gd name="connsiteX179" fmla="*/ 1053880 w 3195788"/>
                <a:gd name="connsiteY179" fmla="*/ 490724 h 1160647"/>
                <a:gd name="connsiteX180" fmla="*/ 1053880 w 3195788"/>
                <a:gd name="connsiteY180" fmla="*/ 491805 h 1160647"/>
                <a:gd name="connsiteX181" fmla="*/ 1053880 w 3195788"/>
                <a:gd name="connsiteY181" fmla="*/ 499371 h 1160647"/>
                <a:gd name="connsiteX182" fmla="*/ 1054640 w 3195788"/>
                <a:gd name="connsiteY182" fmla="*/ 499371 h 1160647"/>
                <a:gd name="connsiteX183" fmla="*/ 1059960 w 3195788"/>
                <a:gd name="connsiteY183" fmla="*/ 499371 h 1160647"/>
                <a:gd name="connsiteX184" fmla="*/ 1070093 w 3195788"/>
                <a:gd name="connsiteY184" fmla="*/ 495047 h 1160647"/>
                <a:gd name="connsiteX185" fmla="*/ 1074146 w 3195788"/>
                <a:gd name="connsiteY185" fmla="*/ 498290 h 1160647"/>
                <a:gd name="connsiteX186" fmla="*/ 1074146 w 3195788"/>
                <a:gd name="connsiteY186" fmla="*/ 490724 h 1160647"/>
                <a:gd name="connsiteX187" fmla="*/ 1076426 w 3195788"/>
                <a:gd name="connsiteY187" fmla="*/ 490724 h 1160647"/>
                <a:gd name="connsiteX188" fmla="*/ 1092387 w 3195788"/>
                <a:gd name="connsiteY188" fmla="*/ 490724 h 1160647"/>
                <a:gd name="connsiteX189" fmla="*/ 1092387 w 3195788"/>
                <a:gd name="connsiteY189" fmla="*/ 491805 h 1160647"/>
                <a:gd name="connsiteX190" fmla="*/ 1092387 w 3195788"/>
                <a:gd name="connsiteY190" fmla="*/ 499371 h 1160647"/>
                <a:gd name="connsiteX191" fmla="*/ 1122787 w 3195788"/>
                <a:gd name="connsiteY191" fmla="*/ 499371 h 1160647"/>
                <a:gd name="connsiteX192" fmla="*/ 1122787 w 3195788"/>
                <a:gd name="connsiteY192" fmla="*/ 500992 h 1160647"/>
                <a:gd name="connsiteX193" fmla="*/ 1122787 w 3195788"/>
                <a:gd name="connsiteY193" fmla="*/ 512342 h 1160647"/>
                <a:gd name="connsiteX194" fmla="*/ 1149134 w 3195788"/>
                <a:gd name="connsiteY194" fmla="*/ 512342 h 1160647"/>
                <a:gd name="connsiteX195" fmla="*/ 1149134 w 3195788"/>
                <a:gd name="connsiteY195" fmla="*/ 542606 h 1160647"/>
                <a:gd name="connsiteX196" fmla="*/ 1149894 w 3195788"/>
                <a:gd name="connsiteY196" fmla="*/ 542606 h 1160647"/>
                <a:gd name="connsiteX197" fmla="*/ 1155214 w 3195788"/>
                <a:gd name="connsiteY197" fmla="*/ 542606 h 1160647"/>
                <a:gd name="connsiteX198" fmla="*/ 1155214 w 3195788"/>
                <a:gd name="connsiteY198" fmla="*/ 543687 h 1160647"/>
                <a:gd name="connsiteX199" fmla="*/ 1155214 w 3195788"/>
                <a:gd name="connsiteY199" fmla="*/ 551254 h 1160647"/>
                <a:gd name="connsiteX200" fmla="*/ 1159268 w 3195788"/>
                <a:gd name="connsiteY200" fmla="*/ 581518 h 1160647"/>
                <a:gd name="connsiteX201" fmla="*/ 1160028 w 3195788"/>
                <a:gd name="connsiteY201" fmla="*/ 581518 h 1160647"/>
                <a:gd name="connsiteX202" fmla="*/ 1165348 w 3195788"/>
                <a:gd name="connsiteY202" fmla="*/ 581518 h 1160647"/>
                <a:gd name="connsiteX203" fmla="*/ 1165348 w 3195788"/>
                <a:gd name="connsiteY203" fmla="*/ 582329 h 1160647"/>
                <a:gd name="connsiteX204" fmla="*/ 1165348 w 3195788"/>
                <a:gd name="connsiteY204" fmla="*/ 588004 h 1160647"/>
                <a:gd name="connsiteX205" fmla="*/ 1166361 w 3195788"/>
                <a:gd name="connsiteY205" fmla="*/ 588004 h 1160647"/>
                <a:gd name="connsiteX206" fmla="*/ 1173454 w 3195788"/>
                <a:gd name="connsiteY206" fmla="*/ 588004 h 1160647"/>
                <a:gd name="connsiteX207" fmla="*/ 1173454 w 3195788"/>
                <a:gd name="connsiteY207" fmla="*/ 618269 h 1160647"/>
                <a:gd name="connsiteX208" fmla="*/ 1175481 w 3195788"/>
                <a:gd name="connsiteY208" fmla="*/ 618269 h 1160647"/>
                <a:gd name="connsiteX209" fmla="*/ 1189668 w 3195788"/>
                <a:gd name="connsiteY209" fmla="*/ 618269 h 1160647"/>
                <a:gd name="connsiteX210" fmla="*/ 1189668 w 3195788"/>
                <a:gd name="connsiteY210" fmla="*/ 642048 h 1160647"/>
                <a:gd name="connsiteX211" fmla="*/ 1191695 w 3195788"/>
                <a:gd name="connsiteY211" fmla="*/ 643669 h 1160647"/>
                <a:gd name="connsiteX212" fmla="*/ 1191695 w 3195788"/>
                <a:gd name="connsiteY212" fmla="*/ 655019 h 1160647"/>
                <a:gd name="connsiteX213" fmla="*/ 1192455 w 3195788"/>
                <a:gd name="connsiteY213" fmla="*/ 655019 h 1160647"/>
                <a:gd name="connsiteX214" fmla="*/ 1197775 w 3195788"/>
                <a:gd name="connsiteY214" fmla="*/ 655019 h 1160647"/>
                <a:gd name="connsiteX215" fmla="*/ 1197775 w 3195788"/>
                <a:gd name="connsiteY215" fmla="*/ 678798 h 1160647"/>
                <a:gd name="connsiteX216" fmla="*/ 1199041 w 3195788"/>
                <a:gd name="connsiteY216" fmla="*/ 678798 h 1160647"/>
                <a:gd name="connsiteX217" fmla="*/ 1207908 w 3195788"/>
                <a:gd name="connsiteY217" fmla="*/ 678798 h 1160647"/>
                <a:gd name="connsiteX218" fmla="*/ 1209935 w 3195788"/>
                <a:gd name="connsiteY218" fmla="*/ 682852 h 1160647"/>
                <a:gd name="connsiteX219" fmla="*/ 1209935 w 3195788"/>
                <a:gd name="connsiteY219" fmla="*/ 696093 h 1160647"/>
                <a:gd name="connsiteX220" fmla="*/ 1211455 w 3195788"/>
                <a:gd name="connsiteY220" fmla="*/ 694201 h 1160647"/>
                <a:gd name="connsiteX221" fmla="*/ 1222095 w 3195788"/>
                <a:gd name="connsiteY221" fmla="*/ 680960 h 1160647"/>
                <a:gd name="connsiteX222" fmla="*/ 1250469 w 3195788"/>
                <a:gd name="connsiteY222" fmla="*/ 680960 h 1160647"/>
                <a:gd name="connsiteX223" fmla="*/ 1250469 w 3195788"/>
                <a:gd name="connsiteY223" fmla="*/ 767431 h 1160647"/>
                <a:gd name="connsiteX224" fmla="*/ 1251229 w 3195788"/>
                <a:gd name="connsiteY224" fmla="*/ 767431 h 1160647"/>
                <a:gd name="connsiteX225" fmla="*/ 1256549 w 3195788"/>
                <a:gd name="connsiteY225" fmla="*/ 767431 h 1160647"/>
                <a:gd name="connsiteX226" fmla="*/ 1257309 w 3195788"/>
                <a:gd name="connsiteY226" fmla="*/ 766080 h 1160647"/>
                <a:gd name="connsiteX227" fmla="*/ 1262629 w 3195788"/>
                <a:gd name="connsiteY227" fmla="*/ 756622 h 1160647"/>
                <a:gd name="connsiteX228" fmla="*/ 1262629 w 3195788"/>
                <a:gd name="connsiteY228" fmla="*/ 758514 h 1160647"/>
                <a:gd name="connsiteX229" fmla="*/ 1262629 w 3195788"/>
                <a:gd name="connsiteY229" fmla="*/ 771755 h 1160647"/>
                <a:gd name="connsiteX230" fmla="*/ 1266682 w 3195788"/>
                <a:gd name="connsiteY230" fmla="*/ 726358 h 1160647"/>
                <a:gd name="connsiteX231" fmla="*/ 1267442 w 3195788"/>
                <a:gd name="connsiteY231" fmla="*/ 726358 h 1160647"/>
                <a:gd name="connsiteX232" fmla="*/ 1272762 w 3195788"/>
                <a:gd name="connsiteY232" fmla="*/ 726358 h 1160647"/>
                <a:gd name="connsiteX233" fmla="*/ 1272762 w 3195788"/>
                <a:gd name="connsiteY233" fmla="*/ 661504 h 1160647"/>
                <a:gd name="connsiteX234" fmla="*/ 1273776 w 3195788"/>
                <a:gd name="connsiteY234" fmla="*/ 661504 h 1160647"/>
                <a:gd name="connsiteX235" fmla="*/ 1280869 w 3195788"/>
                <a:gd name="connsiteY235" fmla="*/ 661504 h 1160647"/>
                <a:gd name="connsiteX236" fmla="*/ 1293029 w 3195788"/>
                <a:gd name="connsiteY236" fmla="*/ 618269 h 1160647"/>
                <a:gd name="connsiteX237" fmla="*/ 1294296 w 3195788"/>
                <a:gd name="connsiteY237" fmla="*/ 618269 h 1160647"/>
                <a:gd name="connsiteX238" fmla="*/ 1303163 w 3195788"/>
                <a:gd name="connsiteY238" fmla="*/ 618269 h 1160647"/>
                <a:gd name="connsiteX239" fmla="*/ 1313296 w 3195788"/>
                <a:gd name="connsiteY239" fmla="*/ 661504 h 1160647"/>
                <a:gd name="connsiteX240" fmla="*/ 1314309 w 3195788"/>
                <a:gd name="connsiteY240" fmla="*/ 661504 h 1160647"/>
                <a:gd name="connsiteX241" fmla="*/ 1321403 w 3195788"/>
                <a:gd name="connsiteY241" fmla="*/ 661504 h 1160647"/>
                <a:gd name="connsiteX242" fmla="*/ 1321403 w 3195788"/>
                <a:gd name="connsiteY242" fmla="*/ 700416 h 1160647"/>
                <a:gd name="connsiteX243" fmla="*/ 1323176 w 3195788"/>
                <a:gd name="connsiteY243" fmla="*/ 700416 h 1160647"/>
                <a:gd name="connsiteX244" fmla="*/ 1335590 w 3195788"/>
                <a:gd name="connsiteY244" fmla="*/ 700416 h 1160647"/>
                <a:gd name="connsiteX245" fmla="*/ 1335590 w 3195788"/>
                <a:gd name="connsiteY245" fmla="*/ 702578 h 1160647"/>
                <a:gd name="connsiteX246" fmla="*/ 1335590 w 3195788"/>
                <a:gd name="connsiteY246" fmla="*/ 717710 h 1160647"/>
                <a:gd name="connsiteX247" fmla="*/ 1339643 w 3195788"/>
                <a:gd name="connsiteY247" fmla="*/ 715549 h 1160647"/>
                <a:gd name="connsiteX248" fmla="*/ 1339643 w 3195788"/>
                <a:gd name="connsiteY248" fmla="*/ 700416 h 1160647"/>
                <a:gd name="connsiteX249" fmla="*/ 1341163 w 3195788"/>
                <a:gd name="connsiteY249" fmla="*/ 700416 h 1160647"/>
                <a:gd name="connsiteX250" fmla="*/ 1351803 w 3195788"/>
                <a:gd name="connsiteY250" fmla="*/ 700416 h 1160647"/>
                <a:gd name="connsiteX251" fmla="*/ 1351803 w 3195788"/>
                <a:gd name="connsiteY251" fmla="*/ 702037 h 1160647"/>
                <a:gd name="connsiteX252" fmla="*/ 1351803 w 3195788"/>
                <a:gd name="connsiteY252" fmla="*/ 713387 h 1160647"/>
                <a:gd name="connsiteX253" fmla="*/ 1382204 w 3195788"/>
                <a:gd name="connsiteY253" fmla="*/ 713387 h 1160647"/>
                <a:gd name="connsiteX254" fmla="*/ 1382204 w 3195788"/>
                <a:gd name="connsiteY254" fmla="*/ 676637 h 1160647"/>
                <a:gd name="connsiteX255" fmla="*/ 1383470 w 3195788"/>
                <a:gd name="connsiteY255" fmla="*/ 676637 h 1160647"/>
                <a:gd name="connsiteX256" fmla="*/ 1392337 w 3195788"/>
                <a:gd name="connsiteY256" fmla="*/ 676637 h 1160647"/>
                <a:gd name="connsiteX257" fmla="*/ 1392337 w 3195788"/>
                <a:gd name="connsiteY257" fmla="*/ 698254 h 1160647"/>
                <a:gd name="connsiteX258" fmla="*/ 1394364 w 3195788"/>
                <a:gd name="connsiteY258" fmla="*/ 665828 h 1160647"/>
                <a:gd name="connsiteX259" fmla="*/ 1416657 w 3195788"/>
                <a:gd name="connsiteY259" fmla="*/ 665828 h 1160647"/>
                <a:gd name="connsiteX260" fmla="*/ 1416657 w 3195788"/>
                <a:gd name="connsiteY260" fmla="*/ 664206 h 1160647"/>
                <a:gd name="connsiteX261" fmla="*/ 1416657 w 3195788"/>
                <a:gd name="connsiteY261" fmla="*/ 652857 h 1160647"/>
                <a:gd name="connsiteX262" fmla="*/ 1417417 w 3195788"/>
                <a:gd name="connsiteY262" fmla="*/ 652857 h 1160647"/>
                <a:gd name="connsiteX263" fmla="*/ 1422737 w 3195788"/>
                <a:gd name="connsiteY263" fmla="*/ 652857 h 1160647"/>
                <a:gd name="connsiteX264" fmla="*/ 1422737 w 3195788"/>
                <a:gd name="connsiteY264" fmla="*/ 650966 h 1160647"/>
                <a:gd name="connsiteX265" fmla="*/ 1422737 w 3195788"/>
                <a:gd name="connsiteY265" fmla="*/ 637725 h 1160647"/>
                <a:gd name="connsiteX266" fmla="*/ 1426791 w 3195788"/>
                <a:gd name="connsiteY266" fmla="*/ 644210 h 1160647"/>
                <a:gd name="connsiteX267" fmla="*/ 1429071 w 3195788"/>
                <a:gd name="connsiteY267" fmla="*/ 644210 h 1160647"/>
                <a:gd name="connsiteX268" fmla="*/ 1445031 w 3195788"/>
                <a:gd name="connsiteY268" fmla="*/ 644210 h 1160647"/>
                <a:gd name="connsiteX269" fmla="*/ 1445031 w 3195788"/>
                <a:gd name="connsiteY269" fmla="*/ 643399 h 1160647"/>
                <a:gd name="connsiteX270" fmla="*/ 1445031 w 3195788"/>
                <a:gd name="connsiteY270" fmla="*/ 637725 h 1160647"/>
                <a:gd name="connsiteX271" fmla="*/ 1445791 w 3195788"/>
                <a:gd name="connsiteY271" fmla="*/ 637725 h 1160647"/>
                <a:gd name="connsiteX272" fmla="*/ 1451111 w 3195788"/>
                <a:gd name="connsiteY272" fmla="*/ 637725 h 1160647"/>
                <a:gd name="connsiteX273" fmla="*/ 1451111 w 3195788"/>
                <a:gd name="connsiteY273" fmla="*/ 639076 h 1160647"/>
                <a:gd name="connsiteX274" fmla="*/ 1451111 w 3195788"/>
                <a:gd name="connsiteY274" fmla="*/ 648534 h 1160647"/>
                <a:gd name="connsiteX275" fmla="*/ 1489618 w 3195788"/>
                <a:gd name="connsiteY275" fmla="*/ 648534 h 1160647"/>
                <a:gd name="connsiteX276" fmla="*/ 1489618 w 3195788"/>
                <a:gd name="connsiteY276" fmla="*/ 786887 h 1160647"/>
                <a:gd name="connsiteX277" fmla="*/ 1491138 w 3195788"/>
                <a:gd name="connsiteY277" fmla="*/ 786887 h 1160647"/>
                <a:gd name="connsiteX278" fmla="*/ 1501778 w 3195788"/>
                <a:gd name="connsiteY278" fmla="*/ 786887 h 1160647"/>
                <a:gd name="connsiteX279" fmla="*/ 1501778 w 3195788"/>
                <a:gd name="connsiteY279" fmla="*/ 773917 h 1160647"/>
                <a:gd name="connsiteX280" fmla="*/ 1505832 w 3195788"/>
                <a:gd name="connsiteY280" fmla="*/ 773917 h 1160647"/>
                <a:gd name="connsiteX281" fmla="*/ 1505832 w 3195788"/>
                <a:gd name="connsiteY281" fmla="*/ 786887 h 1160647"/>
                <a:gd name="connsiteX282" fmla="*/ 1536232 w 3195788"/>
                <a:gd name="connsiteY282" fmla="*/ 786887 h 1160647"/>
                <a:gd name="connsiteX283" fmla="*/ 1536232 w 3195788"/>
                <a:gd name="connsiteY283" fmla="*/ 756622 h 1160647"/>
                <a:gd name="connsiteX284" fmla="*/ 1548392 w 3195788"/>
                <a:gd name="connsiteY284" fmla="*/ 756622 h 1160647"/>
                <a:gd name="connsiteX285" fmla="*/ 1560552 w 3195788"/>
                <a:gd name="connsiteY285" fmla="*/ 754461 h 1160647"/>
                <a:gd name="connsiteX286" fmla="*/ 1564606 w 3195788"/>
                <a:gd name="connsiteY286" fmla="*/ 756622 h 1160647"/>
                <a:gd name="connsiteX287" fmla="*/ 1574739 w 3195788"/>
                <a:gd name="connsiteY287" fmla="*/ 756622 h 1160647"/>
                <a:gd name="connsiteX288" fmla="*/ 1574739 w 3195788"/>
                <a:gd name="connsiteY288" fmla="*/ 786887 h 1160647"/>
                <a:gd name="connsiteX289" fmla="*/ 1582846 w 3195788"/>
                <a:gd name="connsiteY289" fmla="*/ 786887 h 1160647"/>
                <a:gd name="connsiteX290" fmla="*/ 1582846 w 3195788"/>
                <a:gd name="connsiteY290" fmla="*/ 804182 h 1160647"/>
                <a:gd name="connsiteX291" fmla="*/ 1592182 w 3195788"/>
                <a:gd name="connsiteY291" fmla="*/ 805087 h 1160647"/>
                <a:gd name="connsiteX292" fmla="*/ 1605140 w 3195788"/>
                <a:gd name="connsiteY292" fmla="*/ 805087 h 1160647"/>
                <a:gd name="connsiteX293" fmla="*/ 1605140 w 3195788"/>
                <a:gd name="connsiteY293" fmla="*/ 789049 h 1160647"/>
                <a:gd name="connsiteX294" fmla="*/ 1673096 w 3195788"/>
                <a:gd name="connsiteY294" fmla="*/ 789049 h 1160647"/>
                <a:gd name="connsiteX295" fmla="*/ 1673096 w 3195788"/>
                <a:gd name="connsiteY295" fmla="*/ 703796 h 1160647"/>
                <a:gd name="connsiteX296" fmla="*/ 1745104 w 3195788"/>
                <a:gd name="connsiteY296" fmla="*/ 703796 h 1160647"/>
                <a:gd name="connsiteX297" fmla="*/ 1745104 w 3195788"/>
                <a:gd name="connsiteY297" fmla="*/ 782564 h 1160647"/>
                <a:gd name="connsiteX298" fmla="*/ 1747008 w 3195788"/>
                <a:gd name="connsiteY298" fmla="*/ 782564 h 1160647"/>
                <a:gd name="connsiteX299" fmla="*/ 1748250 w 3195788"/>
                <a:gd name="connsiteY299" fmla="*/ 805087 h 1160647"/>
                <a:gd name="connsiteX300" fmla="*/ 1757926 w 3195788"/>
                <a:gd name="connsiteY300" fmla="*/ 805087 h 1160647"/>
                <a:gd name="connsiteX301" fmla="*/ 1759168 w 3195788"/>
                <a:gd name="connsiteY301" fmla="*/ 782564 h 1160647"/>
                <a:gd name="connsiteX302" fmla="*/ 1765248 w 3195788"/>
                <a:gd name="connsiteY302" fmla="*/ 782564 h 1160647"/>
                <a:gd name="connsiteX303" fmla="*/ 1766490 w 3195788"/>
                <a:gd name="connsiteY303" fmla="*/ 805087 h 1160647"/>
                <a:gd name="connsiteX304" fmla="*/ 1817112 w 3195788"/>
                <a:gd name="connsiteY304" fmla="*/ 805087 h 1160647"/>
                <a:gd name="connsiteX305" fmla="*/ 1817112 w 3195788"/>
                <a:gd name="connsiteY305" fmla="*/ 642059 h 1160647"/>
                <a:gd name="connsiteX306" fmla="*/ 2014439 w 3195788"/>
                <a:gd name="connsiteY306" fmla="*/ 642059 h 1160647"/>
                <a:gd name="connsiteX307" fmla="*/ 2014439 w 3195788"/>
                <a:gd name="connsiteY307" fmla="*/ 805087 h 1160647"/>
                <a:gd name="connsiteX308" fmla="*/ 2033136 w 3195788"/>
                <a:gd name="connsiteY308" fmla="*/ 805087 h 1160647"/>
                <a:gd name="connsiteX309" fmla="*/ 2033136 w 3195788"/>
                <a:gd name="connsiteY309" fmla="*/ 722394 h 1160647"/>
                <a:gd name="connsiteX310" fmla="*/ 2128256 w 3195788"/>
                <a:gd name="connsiteY310" fmla="*/ 722394 h 1160647"/>
                <a:gd name="connsiteX311" fmla="*/ 2140186 w 3195788"/>
                <a:gd name="connsiteY311" fmla="*/ 404253 h 1160647"/>
                <a:gd name="connsiteX312" fmla="*/ 2128026 w 3195788"/>
                <a:gd name="connsiteY312" fmla="*/ 382635 h 1160647"/>
                <a:gd name="connsiteX313" fmla="*/ 2121946 w 3195788"/>
                <a:gd name="connsiteY313" fmla="*/ 378311 h 1160647"/>
                <a:gd name="connsiteX314" fmla="*/ 2130053 w 3195788"/>
                <a:gd name="connsiteY314" fmla="*/ 354532 h 1160647"/>
                <a:gd name="connsiteX315" fmla="*/ 2130053 w 3195788"/>
                <a:gd name="connsiteY315" fmla="*/ 337238 h 1160647"/>
                <a:gd name="connsiteX316" fmla="*/ 2144240 w 3195788"/>
                <a:gd name="connsiteY316" fmla="*/ 337238 h 1160647"/>
                <a:gd name="connsiteX317" fmla="*/ 2144240 w 3195788"/>
                <a:gd name="connsiteY317" fmla="*/ 315620 h 1160647"/>
                <a:gd name="connsiteX318" fmla="*/ 2146266 w 3195788"/>
                <a:gd name="connsiteY318" fmla="*/ 311296 h 1160647"/>
                <a:gd name="connsiteX319" fmla="*/ 2146266 w 3195788"/>
                <a:gd name="connsiteY319" fmla="*/ 233472 h 1160647"/>
                <a:gd name="connsiteX320" fmla="*/ 2144240 w 3195788"/>
                <a:gd name="connsiteY320" fmla="*/ 226987 h 1160647"/>
                <a:gd name="connsiteX321" fmla="*/ 2150320 w 3195788"/>
                <a:gd name="connsiteY321" fmla="*/ 220501 h 1160647"/>
                <a:gd name="connsiteX322" fmla="*/ 2150320 w 3195788"/>
                <a:gd name="connsiteY322" fmla="*/ 162133 h 1160647"/>
                <a:gd name="connsiteX323" fmla="*/ 2152346 w 3195788"/>
                <a:gd name="connsiteY323" fmla="*/ 157810 h 1160647"/>
                <a:gd name="connsiteX324" fmla="*/ 2152346 w 3195788"/>
                <a:gd name="connsiteY324" fmla="*/ 101604 h 1160647"/>
                <a:gd name="connsiteX325" fmla="*/ 2154373 w 3195788"/>
                <a:gd name="connsiteY325" fmla="*/ 82148 h 1160647"/>
                <a:gd name="connsiteX326" fmla="*/ 2158427 w 3195788"/>
                <a:gd name="connsiteY326" fmla="*/ 99442 h 1160647"/>
                <a:gd name="connsiteX327" fmla="*/ 2160453 w 3195788"/>
                <a:gd name="connsiteY327" fmla="*/ 157810 h 1160647"/>
                <a:gd name="connsiteX328" fmla="*/ 2162480 w 3195788"/>
                <a:gd name="connsiteY328" fmla="*/ 220501 h 1160647"/>
                <a:gd name="connsiteX329" fmla="*/ 2168560 w 3195788"/>
                <a:gd name="connsiteY329" fmla="*/ 226987 h 1160647"/>
                <a:gd name="connsiteX330" fmla="*/ 2166533 w 3195788"/>
                <a:gd name="connsiteY330" fmla="*/ 233472 h 1160647"/>
                <a:gd name="connsiteX331" fmla="*/ 2166533 w 3195788"/>
                <a:gd name="connsiteY331" fmla="*/ 311296 h 1160647"/>
                <a:gd name="connsiteX332" fmla="*/ 2168560 w 3195788"/>
                <a:gd name="connsiteY332" fmla="*/ 315620 h 1160647"/>
                <a:gd name="connsiteX333" fmla="*/ 2168560 w 3195788"/>
                <a:gd name="connsiteY333" fmla="*/ 337238 h 1160647"/>
                <a:gd name="connsiteX334" fmla="*/ 2182747 w 3195788"/>
                <a:gd name="connsiteY334" fmla="*/ 337238 h 1160647"/>
                <a:gd name="connsiteX335" fmla="*/ 2182747 w 3195788"/>
                <a:gd name="connsiteY335" fmla="*/ 354532 h 1160647"/>
                <a:gd name="connsiteX336" fmla="*/ 2190854 w 3195788"/>
                <a:gd name="connsiteY336" fmla="*/ 378311 h 1160647"/>
                <a:gd name="connsiteX337" fmla="*/ 2184774 w 3195788"/>
                <a:gd name="connsiteY337" fmla="*/ 382635 h 1160647"/>
                <a:gd name="connsiteX338" fmla="*/ 2172613 w 3195788"/>
                <a:gd name="connsiteY338" fmla="*/ 404253 h 1160647"/>
                <a:gd name="connsiteX339" fmla="*/ 2180720 w 3195788"/>
                <a:gd name="connsiteY339" fmla="*/ 657181 h 1160647"/>
                <a:gd name="connsiteX340" fmla="*/ 2245574 w 3195788"/>
                <a:gd name="connsiteY340" fmla="*/ 657181 h 1160647"/>
                <a:gd name="connsiteX341" fmla="*/ 2245574 w 3195788"/>
                <a:gd name="connsiteY341" fmla="*/ 732843 h 1160647"/>
                <a:gd name="connsiteX342" fmla="*/ 2253681 w 3195788"/>
                <a:gd name="connsiteY342" fmla="*/ 732843 h 1160647"/>
                <a:gd name="connsiteX343" fmla="*/ 2255708 w 3195788"/>
                <a:gd name="connsiteY343" fmla="*/ 726358 h 1160647"/>
                <a:gd name="connsiteX344" fmla="*/ 2261788 w 3195788"/>
                <a:gd name="connsiteY344" fmla="*/ 726358 h 1160647"/>
                <a:gd name="connsiteX345" fmla="*/ 2263815 w 3195788"/>
                <a:gd name="connsiteY345" fmla="*/ 735005 h 1160647"/>
                <a:gd name="connsiteX346" fmla="*/ 2275975 w 3195788"/>
                <a:gd name="connsiteY346" fmla="*/ 735005 h 1160647"/>
                <a:gd name="connsiteX347" fmla="*/ 2275975 w 3195788"/>
                <a:gd name="connsiteY347" fmla="*/ 728519 h 1160647"/>
                <a:gd name="connsiteX348" fmla="*/ 2298268 w 3195788"/>
                <a:gd name="connsiteY348" fmla="*/ 728519 h 1160647"/>
                <a:gd name="connsiteX349" fmla="*/ 2298268 w 3195788"/>
                <a:gd name="connsiteY349" fmla="*/ 735005 h 1160647"/>
                <a:gd name="connsiteX350" fmla="*/ 2318535 w 3195788"/>
                <a:gd name="connsiteY350" fmla="*/ 735005 h 1160647"/>
                <a:gd name="connsiteX351" fmla="*/ 2318535 w 3195788"/>
                <a:gd name="connsiteY351" fmla="*/ 780402 h 1160647"/>
                <a:gd name="connsiteX352" fmla="*/ 2332722 w 3195788"/>
                <a:gd name="connsiteY352" fmla="*/ 780402 h 1160647"/>
                <a:gd name="connsiteX353" fmla="*/ 2332722 w 3195788"/>
                <a:gd name="connsiteY353" fmla="*/ 767431 h 1160647"/>
                <a:gd name="connsiteX354" fmla="*/ 2348936 w 3195788"/>
                <a:gd name="connsiteY354" fmla="*/ 767431 h 1160647"/>
                <a:gd name="connsiteX355" fmla="*/ 2348936 w 3195788"/>
                <a:gd name="connsiteY355" fmla="*/ 588004 h 1160647"/>
                <a:gd name="connsiteX356" fmla="*/ 2355016 w 3195788"/>
                <a:gd name="connsiteY356" fmla="*/ 581518 h 1160647"/>
                <a:gd name="connsiteX357" fmla="*/ 2427977 w 3195788"/>
                <a:gd name="connsiteY357" fmla="*/ 581518 h 1160647"/>
                <a:gd name="connsiteX358" fmla="*/ 2427977 w 3195788"/>
                <a:gd name="connsiteY358" fmla="*/ 590166 h 1160647"/>
                <a:gd name="connsiteX359" fmla="*/ 2438110 w 3195788"/>
                <a:gd name="connsiteY359" fmla="*/ 590166 h 1160647"/>
                <a:gd name="connsiteX360" fmla="*/ 2438110 w 3195788"/>
                <a:gd name="connsiteY360" fmla="*/ 704740 h 1160647"/>
                <a:gd name="connsiteX361" fmla="*/ 2460404 w 3195788"/>
                <a:gd name="connsiteY361" fmla="*/ 704740 h 1160647"/>
                <a:gd name="connsiteX362" fmla="*/ 2460404 w 3195788"/>
                <a:gd name="connsiteY362" fmla="*/ 637725 h 1160647"/>
                <a:gd name="connsiteX363" fmla="*/ 2486751 w 3195788"/>
                <a:gd name="connsiteY363" fmla="*/ 637725 h 1160647"/>
                <a:gd name="connsiteX364" fmla="*/ 2490804 w 3195788"/>
                <a:gd name="connsiteY364" fmla="*/ 633401 h 1160647"/>
                <a:gd name="connsiteX365" fmla="*/ 2498911 w 3195788"/>
                <a:gd name="connsiteY365" fmla="*/ 633401 h 1160647"/>
                <a:gd name="connsiteX366" fmla="*/ 2502964 w 3195788"/>
                <a:gd name="connsiteY366" fmla="*/ 637725 h 1160647"/>
                <a:gd name="connsiteX367" fmla="*/ 2525258 w 3195788"/>
                <a:gd name="connsiteY367" fmla="*/ 637725 h 1160647"/>
                <a:gd name="connsiteX368" fmla="*/ 2525258 w 3195788"/>
                <a:gd name="connsiteY368" fmla="*/ 520989 h 1160647"/>
                <a:gd name="connsiteX369" fmla="*/ 2582005 w 3195788"/>
                <a:gd name="connsiteY369" fmla="*/ 510180 h 1160647"/>
                <a:gd name="connsiteX370" fmla="*/ 2582005 w 3195788"/>
                <a:gd name="connsiteY370" fmla="*/ 511261 h 1160647"/>
                <a:gd name="connsiteX371" fmla="*/ 2582005 w 3195788"/>
                <a:gd name="connsiteY371" fmla="*/ 518827 h 1160647"/>
                <a:gd name="connsiteX372" fmla="*/ 2608352 w 3195788"/>
                <a:gd name="connsiteY372" fmla="*/ 518827 h 1160647"/>
                <a:gd name="connsiteX373" fmla="*/ 2608352 w 3195788"/>
                <a:gd name="connsiteY373" fmla="*/ 773917 h 1160647"/>
                <a:gd name="connsiteX374" fmla="*/ 2630646 w 3195788"/>
                <a:gd name="connsiteY374" fmla="*/ 773917 h 1160647"/>
                <a:gd name="connsiteX375" fmla="*/ 2630646 w 3195788"/>
                <a:gd name="connsiteY375" fmla="*/ 769593 h 1160647"/>
                <a:gd name="connsiteX376" fmla="*/ 2642806 w 3195788"/>
                <a:gd name="connsiteY376" fmla="*/ 769593 h 1160647"/>
                <a:gd name="connsiteX377" fmla="*/ 2642806 w 3195788"/>
                <a:gd name="connsiteY377" fmla="*/ 773917 h 1160647"/>
                <a:gd name="connsiteX378" fmla="*/ 2667126 w 3195788"/>
                <a:gd name="connsiteY378" fmla="*/ 773917 h 1160647"/>
                <a:gd name="connsiteX379" fmla="*/ 2667126 w 3195788"/>
                <a:gd name="connsiteY379" fmla="*/ 760946 h 1160647"/>
                <a:gd name="connsiteX380" fmla="*/ 2695500 w 3195788"/>
                <a:gd name="connsiteY380" fmla="*/ 760946 h 1160647"/>
                <a:gd name="connsiteX381" fmla="*/ 2707660 w 3195788"/>
                <a:gd name="connsiteY381" fmla="*/ 756622 h 1160647"/>
                <a:gd name="connsiteX382" fmla="*/ 2727927 w 3195788"/>
                <a:gd name="connsiteY382" fmla="*/ 760946 h 1160647"/>
                <a:gd name="connsiteX383" fmla="*/ 2727927 w 3195788"/>
                <a:gd name="connsiteY383" fmla="*/ 743652 h 1160647"/>
                <a:gd name="connsiteX384" fmla="*/ 2736034 w 3195788"/>
                <a:gd name="connsiteY384" fmla="*/ 743652 h 1160647"/>
                <a:gd name="connsiteX385" fmla="*/ 2736034 w 3195788"/>
                <a:gd name="connsiteY385" fmla="*/ 730681 h 1160647"/>
                <a:gd name="connsiteX386" fmla="*/ 2792781 w 3195788"/>
                <a:gd name="connsiteY386" fmla="*/ 730681 h 1160647"/>
                <a:gd name="connsiteX387" fmla="*/ 2792781 w 3195788"/>
                <a:gd name="connsiteY387" fmla="*/ 700416 h 1160647"/>
                <a:gd name="connsiteX388" fmla="*/ 2811021 w 3195788"/>
                <a:gd name="connsiteY388" fmla="*/ 700416 h 1160647"/>
                <a:gd name="connsiteX389" fmla="*/ 2811021 w 3195788"/>
                <a:gd name="connsiteY389" fmla="*/ 693931 h 1160647"/>
                <a:gd name="connsiteX390" fmla="*/ 2823181 w 3195788"/>
                <a:gd name="connsiteY390" fmla="*/ 693931 h 1160647"/>
                <a:gd name="connsiteX391" fmla="*/ 2823181 w 3195788"/>
                <a:gd name="connsiteY391" fmla="*/ 700416 h 1160647"/>
                <a:gd name="connsiteX392" fmla="*/ 2839395 w 3195788"/>
                <a:gd name="connsiteY392" fmla="*/ 700416 h 1160647"/>
                <a:gd name="connsiteX393" fmla="*/ 2839395 w 3195788"/>
                <a:gd name="connsiteY393" fmla="*/ 750137 h 1160647"/>
                <a:gd name="connsiteX394" fmla="*/ 2871822 w 3195788"/>
                <a:gd name="connsiteY394" fmla="*/ 750137 h 1160647"/>
                <a:gd name="connsiteX395" fmla="*/ 2871822 w 3195788"/>
                <a:gd name="connsiteY395" fmla="*/ 724196 h 1160647"/>
                <a:gd name="connsiteX396" fmla="*/ 2910329 w 3195788"/>
                <a:gd name="connsiteY396" fmla="*/ 724196 h 1160647"/>
                <a:gd name="connsiteX397" fmla="*/ 2910329 w 3195788"/>
                <a:gd name="connsiteY397" fmla="*/ 693931 h 1160647"/>
                <a:gd name="connsiteX398" fmla="*/ 2958970 w 3195788"/>
                <a:gd name="connsiteY398" fmla="*/ 693931 h 1160647"/>
                <a:gd name="connsiteX399" fmla="*/ 2958970 w 3195788"/>
                <a:gd name="connsiteY399" fmla="*/ 805087 h 1160647"/>
                <a:gd name="connsiteX400" fmla="*/ 2958970 w 3195788"/>
                <a:gd name="connsiteY400" fmla="*/ 818866 h 1160647"/>
                <a:gd name="connsiteX401" fmla="*/ 2968113 w 3195788"/>
                <a:gd name="connsiteY401" fmla="*/ 818866 h 1160647"/>
                <a:gd name="connsiteX402" fmla="*/ 2968113 w 3195788"/>
                <a:gd name="connsiteY402" fmla="*/ 762555 h 1160647"/>
                <a:gd name="connsiteX403" fmla="*/ 2971450 w 3195788"/>
                <a:gd name="connsiteY403" fmla="*/ 756622 h 1160647"/>
                <a:gd name="connsiteX404" fmla="*/ 2971450 w 3195788"/>
                <a:gd name="connsiteY404" fmla="*/ 758514 h 1160647"/>
                <a:gd name="connsiteX405" fmla="*/ 2971450 w 3195788"/>
                <a:gd name="connsiteY405" fmla="*/ 771755 h 1160647"/>
                <a:gd name="connsiteX406" fmla="*/ 2975503 w 3195788"/>
                <a:gd name="connsiteY406" fmla="*/ 726358 h 1160647"/>
                <a:gd name="connsiteX407" fmla="*/ 2976263 w 3195788"/>
                <a:gd name="connsiteY407" fmla="*/ 726358 h 1160647"/>
                <a:gd name="connsiteX408" fmla="*/ 2981583 w 3195788"/>
                <a:gd name="connsiteY408" fmla="*/ 726358 h 1160647"/>
                <a:gd name="connsiteX409" fmla="*/ 2981583 w 3195788"/>
                <a:gd name="connsiteY409" fmla="*/ 661504 h 1160647"/>
                <a:gd name="connsiteX410" fmla="*/ 2982597 w 3195788"/>
                <a:gd name="connsiteY410" fmla="*/ 661504 h 1160647"/>
                <a:gd name="connsiteX411" fmla="*/ 2989690 w 3195788"/>
                <a:gd name="connsiteY411" fmla="*/ 661504 h 1160647"/>
                <a:gd name="connsiteX412" fmla="*/ 3001850 w 3195788"/>
                <a:gd name="connsiteY412" fmla="*/ 618269 h 1160647"/>
                <a:gd name="connsiteX413" fmla="*/ 3003117 w 3195788"/>
                <a:gd name="connsiteY413" fmla="*/ 618269 h 1160647"/>
                <a:gd name="connsiteX414" fmla="*/ 3011984 w 3195788"/>
                <a:gd name="connsiteY414" fmla="*/ 618269 h 1160647"/>
                <a:gd name="connsiteX415" fmla="*/ 3022117 w 3195788"/>
                <a:gd name="connsiteY415" fmla="*/ 661504 h 1160647"/>
                <a:gd name="connsiteX416" fmla="*/ 3023130 w 3195788"/>
                <a:gd name="connsiteY416" fmla="*/ 661504 h 1160647"/>
                <a:gd name="connsiteX417" fmla="*/ 3030224 w 3195788"/>
                <a:gd name="connsiteY417" fmla="*/ 661504 h 1160647"/>
                <a:gd name="connsiteX418" fmla="*/ 3030224 w 3195788"/>
                <a:gd name="connsiteY418" fmla="*/ 700416 h 1160647"/>
                <a:gd name="connsiteX419" fmla="*/ 3031997 w 3195788"/>
                <a:gd name="connsiteY419" fmla="*/ 700416 h 1160647"/>
                <a:gd name="connsiteX420" fmla="*/ 3044411 w 3195788"/>
                <a:gd name="connsiteY420" fmla="*/ 700416 h 1160647"/>
                <a:gd name="connsiteX421" fmla="*/ 3044411 w 3195788"/>
                <a:gd name="connsiteY421" fmla="*/ 702578 h 1160647"/>
                <a:gd name="connsiteX422" fmla="*/ 3044411 w 3195788"/>
                <a:gd name="connsiteY422" fmla="*/ 717710 h 1160647"/>
                <a:gd name="connsiteX423" fmla="*/ 3048464 w 3195788"/>
                <a:gd name="connsiteY423" fmla="*/ 715549 h 1160647"/>
                <a:gd name="connsiteX424" fmla="*/ 3048464 w 3195788"/>
                <a:gd name="connsiteY424" fmla="*/ 700416 h 1160647"/>
                <a:gd name="connsiteX425" fmla="*/ 3049984 w 3195788"/>
                <a:gd name="connsiteY425" fmla="*/ 700416 h 1160647"/>
                <a:gd name="connsiteX426" fmla="*/ 3060624 w 3195788"/>
                <a:gd name="connsiteY426" fmla="*/ 700416 h 1160647"/>
                <a:gd name="connsiteX427" fmla="*/ 3060624 w 3195788"/>
                <a:gd name="connsiteY427" fmla="*/ 702037 h 1160647"/>
                <a:gd name="connsiteX428" fmla="*/ 3060624 w 3195788"/>
                <a:gd name="connsiteY428" fmla="*/ 713387 h 1160647"/>
                <a:gd name="connsiteX429" fmla="*/ 3091025 w 3195788"/>
                <a:gd name="connsiteY429" fmla="*/ 713387 h 1160647"/>
                <a:gd name="connsiteX430" fmla="*/ 3091025 w 3195788"/>
                <a:gd name="connsiteY430" fmla="*/ 676637 h 1160647"/>
                <a:gd name="connsiteX431" fmla="*/ 3092291 w 3195788"/>
                <a:gd name="connsiteY431" fmla="*/ 676637 h 1160647"/>
                <a:gd name="connsiteX432" fmla="*/ 3101158 w 3195788"/>
                <a:gd name="connsiteY432" fmla="*/ 676637 h 1160647"/>
                <a:gd name="connsiteX433" fmla="*/ 3101158 w 3195788"/>
                <a:gd name="connsiteY433" fmla="*/ 698254 h 1160647"/>
                <a:gd name="connsiteX434" fmla="*/ 3103185 w 3195788"/>
                <a:gd name="connsiteY434" fmla="*/ 665828 h 1160647"/>
                <a:gd name="connsiteX435" fmla="*/ 3125478 w 3195788"/>
                <a:gd name="connsiteY435" fmla="*/ 665828 h 1160647"/>
                <a:gd name="connsiteX436" fmla="*/ 3125478 w 3195788"/>
                <a:gd name="connsiteY436" fmla="*/ 664206 h 1160647"/>
                <a:gd name="connsiteX437" fmla="*/ 3125478 w 3195788"/>
                <a:gd name="connsiteY437" fmla="*/ 652857 h 1160647"/>
                <a:gd name="connsiteX438" fmla="*/ 3126238 w 3195788"/>
                <a:gd name="connsiteY438" fmla="*/ 652857 h 1160647"/>
                <a:gd name="connsiteX439" fmla="*/ 3131558 w 3195788"/>
                <a:gd name="connsiteY439" fmla="*/ 652857 h 1160647"/>
                <a:gd name="connsiteX440" fmla="*/ 3131558 w 3195788"/>
                <a:gd name="connsiteY440" fmla="*/ 650966 h 1160647"/>
                <a:gd name="connsiteX441" fmla="*/ 3131558 w 3195788"/>
                <a:gd name="connsiteY441" fmla="*/ 637725 h 1160647"/>
                <a:gd name="connsiteX442" fmla="*/ 3135612 w 3195788"/>
                <a:gd name="connsiteY442" fmla="*/ 644210 h 1160647"/>
                <a:gd name="connsiteX443" fmla="*/ 3137892 w 3195788"/>
                <a:gd name="connsiteY443" fmla="*/ 644210 h 1160647"/>
                <a:gd name="connsiteX444" fmla="*/ 3153852 w 3195788"/>
                <a:gd name="connsiteY444" fmla="*/ 644210 h 1160647"/>
                <a:gd name="connsiteX445" fmla="*/ 3153852 w 3195788"/>
                <a:gd name="connsiteY445" fmla="*/ 643399 h 1160647"/>
                <a:gd name="connsiteX446" fmla="*/ 3153852 w 3195788"/>
                <a:gd name="connsiteY446" fmla="*/ 637725 h 1160647"/>
                <a:gd name="connsiteX447" fmla="*/ 3154612 w 3195788"/>
                <a:gd name="connsiteY447" fmla="*/ 637725 h 1160647"/>
                <a:gd name="connsiteX448" fmla="*/ 3159932 w 3195788"/>
                <a:gd name="connsiteY448" fmla="*/ 637725 h 1160647"/>
                <a:gd name="connsiteX449" fmla="*/ 3159932 w 3195788"/>
                <a:gd name="connsiteY449" fmla="*/ 639076 h 1160647"/>
                <a:gd name="connsiteX450" fmla="*/ 3159932 w 3195788"/>
                <a:gd name="connsiteY450" fmla="*/ 648534 h 1160647"/>
                <a:gd name="connsiteX451" fmla="*/ 3195788 w 3195788"/>
                <a:gd name="connsiteY451" fmla="*/ 648534 h 1160647"/>
                <a:gd name="connsiteX452" fmla="*/ 3195788 w 3195788"/>
                <a:gd name="connsiteY452" fmla="*/ 1159457 h 1160647"/>
                <a:gd name="connsiteX453" fmla="*/ 3031533 w 3195788"/>
                <a:gd name="connsiteY453" fmla="*/ 1159331 h 1160647"/>
                <a:gd name="connsiteX454" fmla="*/ 3031520 w 3195788"/>
                <a:gd name="connsiteY454" fmla="*/ 1160647 h 1160647"/>
                <a:gd name="connsiteX455" fmla="*/ 2054 w 3195788"/>
                <a:gd name="connsiteY455" fmla="*/ 1158314 h 1160647"/>
                <a:gd name="connsiteX456" fmla="*/ 0 w 3195788"/>
                <a:gd name="connsiteY456" fmla="*/ 724196 h 1160647"/>
                <a:gd name="connsiteX457" fmla="*/ 20267 w 3195788"/>
                <a:gd name="connsiteY457" fmla="*/ 724196 h 1160647"/>
                <a:gd name="connsiteX458" fmla="*/ 20774 w 3195788"/>
                <a:gd name="connsiteY458" fmla="*/ 723115 h 1160647"/>
                <a:gd name="connsiteX459" fmla="*/ 24320 w 3195788"/>
                <a:gd name="connsiteY459" fmla="*/ 715549 h 1160647"/>
                <a:gd name="connsiteX460" fmla="*/ 26094 w 3195788"/>
                <a:gd name="connsiteY460" fmla="*/ 715819 h 1160647"/>
                <a:gd name="connsiteX461" fmla="*/ 38507 w 3195788"/>
                <a:gd name="connsiteY461" fmla="*/ 717710 h 1160647"/>
                <a:gd name="connsiteX462" fmla="*/ 39014 w 3195788"/>
                <a:gd name="connsiteY462" fmla="*/ 719062 h 1160647"/>
                <a:gd name="connsiteX463" fmla="*/ 42560 w 3195788"/>
                <a:gd name="connsiteY463" fmla="*/ 728519 h 1160647"/>
                <a:gd name="connsiteX464" fmla="*/ 68907 w 3195788"/>
                <a:gd name="connsiteY464" fmla="*/ 730681 h 1160647"/>
                <a:gd name="connsiteX465" fmla="*/ 68907 w 3195788"/>
                <a:gd name="connsiteY465" fmla="*/ 607460 h 1160647"/>
                <a:gd name="connsiteX466" fmla="*/ 70934 w 3195788"/>
                <a:gd name="connsiteY466" fmla="*/ 607460 h 1160647"/>
                <a:gd name="connsiteX467" fmla="*/ 85121 w 3195788"/>
                <a:gd name="connsiteY467" fmla="*/ 607460 h 1160647"/>
                <a:gd name="connsiteX468" fmla="*/ 85121 w 3195788"/>
                <a:gd name="connsiteY468" fmla="*/ 471268 h 1160647"/>
                <a:gd name="connsiteX469" fmla="*/ 86894 w 3195788"/>
                <a:gd name="connsiteY469" fmla="*/ 471268 h 1160647"/>
                <a:gd name="connsiteX470" fmla="*/ 99308 w 3195788"/>
                <a:gd name="connsiteY470" fmla="*/ 471268 h 1160647"/>
                <a:gd name="connsiteX471" fmla="*/ 99308 w 3195788"/>
                <a:gd name="connsiteY471" fmla="*/ 356694 h 1160647"/>
                <a:gd name="connsiteX472" fmla="*/ 103361 w 3195788"/>
                <a:gd name="connsiteY472" fmla="*/ 328590 h 1160647"/>
                <a:gd name="connsiteX473" fmla="*/ 105388 w 3195788"/>
                <a:gd name="connsiteY473" fmla="*/ 328590 h 1160647"/>
                <a:gd name="connsiteX474" fmla="*/ 119575 w 3195788"/>
                <a:gd name="connsiteY474" fmla="*/ 328590 h 1160647"/>
                <a:gd name="connsiteX475" fmla="*/ 156055 w 3195788"/>
                <a:gd name="connsiteY475" fmla="*/ 246443 h 1160647"/>
                <a:gd name="connsiteX476" fmla="*/ 160109 w 3195788"/>
                <a:gd name="connsiteY476" fmla="*/ 0 h 116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</a:cxnLst>
              <a:rect l="l" t="t" r="r" b="b"/>
              <a:pathLst>
                <a:path w="3195788" h="1160647">
                  <a:moveTo>
                    <a:pt x="160109" y="0"/>
                  </a:moveTo>
                  <a:cubicBezTo>
                    <a:pt x="160109" y="18"/>
                    <a:pt x="160125" y="2040"/>
                    <a:pt x="162135" y="246443"/>
                  </a:cubicBezTo>
                  <a:cubicBezTo>
                    <a:pt x="162147" y="246467"/>
                    <a:pt x="162792" y="247808"/>
                    <a:pt x="200642" y="326429"/>
                  </a:cubicBezTo>
                  <a:lnTo>
                    <a:pt x="202669" y="326429"/>
                  </a:lnTo>
                  <a:lnTo>
                    <a:pt x="216856" y="326429"/>
                  </a:lnTo>
                  <a:lnTo>
                    <a:pt x="216856" y="350208"/>
                  </a:lnTo>
                  <a:cubicBezTo>
                    <a:pt x="216858" y="350214"/>
                    <a:pt x="216896" y="350272"/>
                    <a:pt x="217363" y="351019"/>
                  </a:cubicBezTo>
                  <a:lnTo>
                    <a:pt x="220909" y="356694"/>
                  </a:lnTo>
                  <a:lnTo>
                    <a:pt x="220909" y="471268"/>
                  </a:lnTo>
                  <a:lnTo>
                    <a:pt x="223189" y="471268"/>
                  </a:lnTo>
                  <a:lnTo>
                    <a:pt x="239150" y="471268"/>
                  </a:lnTo>
                  <a:lnTo>
                    <a:pt x="239150" y="611783"/>
                  </a:lnTo>
                  <a:cubicBezTo>
                    <a:pt x="239160" y="611782"/>
                    <a:pt x="239272" y="611761"/>
                    <a:pt x="240670" y="611513"/>
                  </a:cubicBezTo>
                  <a:lnTo>
                    <a:pt x="251310" y="609622"/>
                  </a:lnTo>
                  <a:cubicBezTo>
                    <a:pt x="251310" y="609644"/>
                    <a:pt x="251280" y="610978"/>
                    <a:pt x="249283" y="698254"/>
                  </a:cubicBezTo>
                  <a:cubicBezTo>
                    <a:pt x="249293" y="698256"/>
                    <a:pt x="249404" y="698276"/>
                    <a:pt x="250803" y="698525"/>
                  </a:cubicBezTo>
                  <a:lnTo>
                    <a:pt x="261443" y="700416"/>
                  </a:lnTo>
                  <a:cubicBezTo>
                    <a:pt x="261445" y="700423"/>
                    <a:pt x="261465" y="700487"/>
                    <a:pt x="261696" y="701227"/>
                  </a:cubicBezTo>
                  <a:lnTo>
                    <a:pt x="263470" y="706902"/>
                  </a:lnTo>
                  <a:cubicBezTo>
                    <a:pt x="263472" y="706893"/>
                    <a:pt x="263517" y="706750"/>
                    <a:pt x="264230" y="704470"/>
                  </a:cubicBezTo>
                  <a:lnTo>
                    <a:pt x="269550" y="687446"/>
                  </a:lnTo>
                  <a:lnTo>
                    <a:pt x="271323" y="687446"/>
                  </a:lnTo>
                  <a:lnTo>
                    <a:pt x="283737" y="687446"/>
                  </a:lnTo>
                  <a:lnTo>
                    <a:pt x="283737" y="719872"/>
                  </a:lnTo>
                  <a:cubicBezTo>
                    <a:pt x="283743" y="719877"/>
                    <a:pt x="283820" y="719917"/>
                    <a:pt x="284750" y="720413"/>
                  </a:cubicBezTo>
                  <a:lnTo>
                    <a:pt x="291844" y="724196"/>
                  </a:lnTo>
                  <a:lnTo>
                    <a:pt x="291844" y="725547"/>
                  </a:lnTo>
                  <a:lnTo>
                    <a:pt x="291844" y="735005"/>
                  </a:lnTo>
                  <a:lnTo>
                    <a:pt x="336431" y="735005"/>
                  </a:lnTo>
                  <a:lnTo>
                    <a:pt x="336431" y="736086"/>
                  </a:lnTo>
                  <a:lnTo>
                    <a:pt x="336431" y="743652"/>
                  </a:lnTo>
                  <a:lnTo>
                    <a:pt x="338457" y="743652"/>
                  </a:lnTo>
                  <a:lnTo>
                    <a:pt x="352644" y="743652"/>
                  </a:lnTo>
                  <a:lnTo>
                    <a:pt x="352644" y="713387"/>
                  </a:lnTo>
                  <a:lnTo>
                    <a:pt x="397231" y="713387"/>
                  </a:lnTo>
                  <a:lnTo>
                    <a:pt x="397231" y="712036"/>
                  </a:lnTo>
                  <a:lnTo>
                    <a:pt x="397231" y="702578"/>
                  </a:lnTo>
                  <a:lnTo>
                    <a:pt x="398245" y="702578"/>
                  </a:lnTo>
                  <a:lnTo>
                    <a:pt x="405338" y="702578"/>
                  </a:lnTo>
                  <a:lnTo>
                    <a:pt x="405338" y="700687"/>
                  </a:lnTo>
                  <a:lnTo>
                    <a:pt x="405338" y="687446"/>
                  </a:lnTo>
                  <a:lnTo>
                    <a:pt x="406098" y="687446"/>
                  </a:lnTo>
                  <a:lnTo>
                    <a:pt x="411418" y="687446"/>
                  </a:lnTo>
                  <a:lnTo>
                    <a:pt x="411418" y="686365"/>
                  </a:lnTo>
                  <a:lnTo>
                    <a:pt x="411418" y="678798"/>
                  </a:lnTo>
                  <a:lnTo>
                    <a:pt x="413445" y="678798"/>
                  </a:lnTo>
                  <a:lnTo>
                    <a:pt x="427632" y="678798"/>
                  </a:lnTo>
                  <a:lnTo>
                    <a:pt x="427632" y="679879"/>
                  </a:lnTo>
                  <a:lnTo>
                    <a:pt x="427632" y="687446"/>
                  </a:lnTo>
                  <a:lnTo>
                    <a:pt x="449925" y="687446"/>
                  </a:lnTo>
                  <a:lnTo>
                    <a:pt x="449925" y="685554"/>
                  </a:lnTo>
                  <a:lnTo>
                    <a:pt x="449925" y="672313"/>
                  </a:lnTo>
                  <a:lnTo>
                    <a:pt x="451699" y="672313"/>
                  </a:lnTo>
                  <a:lnTo>
                    <a:pt x="464112" y="672313"/>
                  </a:lnTo>
                  <a:lnTo>
                    <a:pt x="464112" y="696093"/>
                  </a:lnTo>
                  <a:lnTo>
                    <a:pt x="465126" y="696093"/>
                  </a:lnTo>
                  <a:lnTo>
                    <a:pt x="472219" y="696093"/>
                  </a:lnTo>
                  <a:lnTo>
                    <a:pt x="472219" y="695012"/>
                  </a:lnTo>
                  <a:lnTo>
                    <a:pt x="472219" y="687446"/>
                  </a:lnTo>
                  <a:lnTo>
                    <a:pt x="473992" y="687446"/>
                  </a:lnTo>
                  <a:lnTo>
                    <a:pt x="486406" y="687446"/>
                  </a:lnTo>
                  <a:lnTo>
                    <a:pt x="486406" y="713387"/>
                  </a:lnTo>
                  <a:lnTo>
                    <a:pt x="488433" y="713387"/>
                  </a:lnTo>
                  <a:lnTo>
                    <a:pt x="502619" y="713387"/>
                  </a:lnTo>
                  <a:lnTo>
                    <a:pt x="502619" y="715008"/>
                  </a:lnTo>
                  <a:lnTo>
                    <a:pt x="502619" y="726358"/>
                  </a:lnTo>
                  <a:lnTo>
                    <a:pt x="503379" y="726358"/>
                  </a:lnTo>
                  <a:lnTo>
                    <a:pt x="508700" y="726358"/>
                  </a:lnTo>
                  <a:lnTo>
                    <a:pt x="508700" y="725547"/>
                  </a:lnTo>
                  <a:lnTo>
                    <a:pt x="508700" y="719872"/>
                  </a:lnTo>
                  <a:lnTo>
                    <a:pt x="539100" y="719872"/>
                  </a:lnTo>
                  <a:lnTo>
                    <a:pt x="539100" y="743652"/>
                  </a:lnTo>
                  <a:lnTo>
                    <a:pt x="540113" y="743652"/>
                  </a:lnTo>
                  <a:lnTo>
                    <a:pt x="547207" y="743652"/>
                  </a:lnTo>
                  <a:lnTo>
                    <a:pt x="547207" y="744733"/>
                  </a:lnTo>
                  <a:lnTo>
                    <a:pt x="547207" y="752299"/>
                  </a:lnTo>
                  <a:lnTo>
                    <a:pt x="547967" y="752299"/>
                  </a:lnTo>
                  <a:lnTo>
                    <a:pt x="553287" y="752299"/>
                  </a:lnTo>
                  <a:lnTo>
                    <a:pt x="553287" y="750137"/>
                  </a:lnTo>
                  <a:lnTo>
                    <a:pt x="553287" y="735005"/>
                  </a:lnTo>
                  <a:lnTo>
                    <a:pt x="554300" y="735005"/>
                  </a:lnTo>
                  <a:lnTo>
                    <a:pt x="561394" y="735005"/>
                  </a:lnTo>
                  <a:lnTo>
                    <a:pt x="561394" y="736086"/>
                  </a:lnTo>
                  <a:lnTo>
                    <a:pt x="561394" y="743652"/>
                  </a:lnTo>
                  <a:lnTo>
                    <a:pt x="566714" y="741659"/>
                  </a:lnTo>
                  <a:cubicBezTo>
                    <a:pt x="567474" y="741287"/>
                    <a:pt x="567474" y="741085"/>
                    <a:pt x="567474" y="740679"/>
                  </a:cubicBezTo>
                  <a:lnTo>
                    <a:pt x="567474" y="735005"/>
                  </a:lnTo>
                  <a:lnTo>
                    <a:pt x="605981" y="735005"/>
                  </a:lnTo>
                  <a:lnTo>
                    <a:pt x="605981" y="758784"/>
                  </a:lnTo>
                  <a:lnTo>
                    <a:pt x="608007" y="758784"/>
                  </a:lnTo>
                  <a:lnTo>
                    <a:pt x="622194" y="758784"/>
                  </a:lnTo>
                  <a:lnTo>
                    <a:pt x="622194" y="759865"/>
                  </a:lnTo>
                  <a:lnTo>
                    <a:pt x="622194" y="767431"/>
                  </a:lnTo>
                  <a:lnTo>
                    <a:pt x="623968" y="767431"/>
                  </a:lnTo>
                  <a:lnTo>
                    <a:pt x="636381" y="767431"/>
                  </a:lnTo>
                  <a:lnTo>
                    <a:pt x="636381" y="743652"/>
                  </a:lnTo>
                  <a:lnTo>
                    <a:pt x="637394" y="743652"/>
                  </a:lnTo>
                  <a:lnTo>
                    <a:pt x="644488" y="743652"/>
                  </a:lnTo>
                  <a:lnTo>
                    <a:pt x="644488" y="711225"/>
                  </a:lnTo>
                  <a:lnTo>
                    <a:pt x="645501" y="711225"/>
                  </a:lnTo>
                  <a:lnTo>
                    <a:pt x="652595" y="711225"/>
                  </a:lnTo>
                  <a:lnTo>
                    <a:pt x="652595" y="709334"/>
                  </a:lnTo>
                  <a:lnTo>
                    <a:pt x="652595" y="696093"/>
                  </a:lnTo>
                  <a:cubicBezTo>
                    <a:pt x="650568" y="696093"/>
                    <a:pt x="650568" y="696093"/>
                    <a:pt x="651328" y="694471"/>
                  </a:cubicBezTo>
                  <a:lnTo>
                    <a:pt x="656648" y="683122"/>
                  </a:lnTo>
                  <a:cubicBezTo>
                    <a:pt x="656653" y="683139"/>
                    <a:pt x="656848" y="683813"/>
                    <a:pt x="664755" y="711225"/>
                  </a:cubicBezTo>
                  <a:lnTo>
                    <a:pt x="665515" y="711225"/>
                  </a:lnTo>
                  <a:lnTo>
                    <a:pt x="670835" y="711225"/>
                  </a:lnTo>
                  <a:lnTo>
                    <a:pt x="670835" y="605298"/>
                  </a:lnTo>
                  <a:lnTo>
                    <a:pt x="672355" y="605298"/>
                  </a:lnTo>
                  <a:lnTo>
                    <a:pt x="682995" y="605298"/>
                  </a:lnTo>
                  <a:lnTo>
                    <a:pt x="682995" y="557739"/>
                  </a:lnTo>
                  <a:lnTo>
                    <a:pt x="709342" y="557739"/>
                  </a:lnTo>
                  <a:lnTo>
                    <a:pt x="709342" y="536121"/>
                  </a:lnTo>
                  <a:lnTo>
                    <a:pt x="743796" y="536121"/>
                  </a:lnTo>
                  <a:lnTo>
                    <a:pt x="743796" y="538553"/>
                  </a:lnTo>
                  <a:lnTo>
                    <a:pt x="743796" y="555577"/>
                  </a:lnTo>
                  <a:lnTo>
                    <a:pt x="746076" y="555577"/>
                  </a:lnTo>
                  <a:lnTo>
                    <a:pt x="762036" y="555577"/>
                  </a:lnTo>
                  <a:lnTo>
                    <a:pt x="762036" y="603136"/>
                  </a:lnTo>
                  <a:lnTo>
                    <a:pt x="763049" y="603136"/>
                  </a:lnTo>
                  <a:lnTo>
                    <a:pt x="770143" y="603136"/>
                  </a:lnTo>
                  <a:lnTo>
                    <a:pt x="784330" y="607460"/>
                  </a:lnTo>
                  <a:lnTo>
                    <a:pt x="784330" y="646372"/>
                  </a:lnTo>
                  <a:lnTo>
                    <a:pt x="785343" y="646372"/>
                  </a:lnTo>
                  <a:lnTo>
                    <a:pt x="792436" y="646372"/>
                  </a:lnTo>
                  <a:lnTo>
                    <a:pt x="792436" y="647993"/>
                  </a:lnTo>
                  <a:lnTo>
                    <a:pt x="792436" y="659342"/>
                  </a:lnTo>
                  <a:lnTo>
                    <a:pt x="794463" y="659342"/>
                  </a:lnTo>
                  <a:lnTo>
                    <a:pt x="808650" y="659342"/>
                  </a:lnTo>
                  <a:lnTo>
                    <a:pt x="814730" y="665828"/>
                  </a:lnTo>
                  <a:lnTo>
                    <a:pt x="814730" y="687446"/>
                  </a:lnTo>
                  <a:lnTo>
                    <a:pt x="817010" y="687446"/>
                  </a:lnTo>
                  <a:lnTo>
                    <a:pt x="832970" y="687446"/>
                  </a:lnTo>
                  <a:lnTo>
                    <a:pt x="832970" y="688526"/>
                  </a:lnTo>
                  <a:lnTo>
                    <a:pt x="832970" y="696093"/>
                  </a:lnTo>
                  <a:lnTo>
                    <a:pt x="834237" y="696093"/>
                  </a:lnTo>
                  <a:lnTo>
                    <a:pt x="843104" y="696093"/>
                  </a:lnTo>
                  <a:lnTo>
                    <a:pt x="843104" y="698254"/>
                  </a:lnTo>
                  <a:lnTo>
                    <a:pt x="843104" y="713387"/>
                  </a:lnTo>
                  <a:cubicBezTo>
                    <a:pt x="847157" y="713387"/>
                    <a:pt x="847157" y="713387"/>
                    <a:pt x="847157" y="711495"/>
                  </a:cubicBezTo>
                  <a:lnTo>
                    <a:pt x="847157" y="698254"/>
                  </a:lnTo>
                  <a:lnTo>
                    <a:pt x="848170" y="698254"/>
                  </a:lnTo>
                  <a:lnTo>
                    <a:pt x="855264" y="698254"/>
                  </a:lnTo>
                  <a:lnTo>
                    <a:pt x="855264" y="699876"/>
                  </a:lnTo>
                  <a:lnTo>
                    <a:pt x="855264" y="711225"/>
                  </a:lnTo>
                  <a:lnTo>
                    <a:pt x="856024" y="711225"/>
                  </a:lnTo>
                  <a:lnTo>
                    <a:pt x="861344" y="711225"/>
                  </a:lnTo>
                  <a:cubicBezTo>
                    <a:pt x="861344" y="706902"/>
                    <a:pt x="861344" y="706902"/>
                    <a:pt x="909984" y="706902"/>
                  </a:cubicBezTo>
                  <a:lnTo>
                    <a:pt x="909984" y="708253"/>
                  </a:lnTo>
                  <a:lnTo>
                    <a:pt x="909984" y="717710"/>
                  </a:lnTo>
                  <a:lnTo>
                    <a:pt x="910744" y="717710"/>
                  </a:lnTo>
                  <a:lnTo>
                    <a:pt x="916065" y="717710"/>
                  </a:lnTo>
                  <a:lnTo>
                    <a:pt x="916065" y="719872"/>
                  </a:lnTo>
                  <a:lnTo>
                    <a:pt x="916065" y="735005"/>
                  </a:lnTo>
                  <a:cubicBezTo>
                    <a:pt x="916073" y="735001"/>
                    <a:pt x="916189" y="734923"/>
                    <a:pt x="918091" y="733654"/>
                  </a:cubicBezTo>
                  <a:lnTo>
                    <a:pt x="932278" y="724196"/>
                  </a:lnTo>
                  <a:cubicBezTo>
                    <a:pt x="932280" y="724177"/>
                    <a:pt x="932411" y="723302"/>
                    <a:pt x="938358" y="683122"/>
                  </a:cubicBezTo>
                  <a:cubicBezTo>
                    <a:pt x="938367" y="683120"/>
                    <a:pt x="938436" y="683094"/>
                    <a:pt x="939118" y="682852"/>
                  </a:cubicBezTo>
                  <a:lnTo>
                    <a:pt x="944438" y="680960"/>
                  </a:lnTo>
                  <a:cubicBezTo>
                    <a:pt x="944438" y="680944"/>
                    <a:pt x="944471" y="679883"/>
                    <a:pt x="946465" y="611783"/>
                  </a:cubicBezTo>
                  <a:cubicBezTo>
                    <a:pt x="946465" y="611801"/>
                    <a:pt x="946498" y="612892"/>
                    <a:pt x="948492" y="680960"/>
                  </a:cubicBezTo>
                  <a:cubicBezTo>
                    <a:pt x="948501" y="680963"/>
                    <a:pt x="948572" y="680988"/>
                    <a:pt x="949252" y="681230"/>
                  </a:cubicBezTo>
                  <a:lnTo>
                    <a:pt x="954572" y="683122"/>
                  </a:lnTo>
                  <a:lnTo>
                    <a:pt x="954572" y="596651"/>
                  </a:lnTo>
                  <a:cubicBezTo>
                    <a:pt x="958625" y="596651"/>
                    <a:pt x="958625" y="596651"/>
                    <a:pt x="958625" y="564224"/>
                  </a:cubicBezTo>
                  <a:lnTo>
                    <a:pt x="997132" y="564224"/>
                  </a:lnTo>
                  <a:lnTo>
                    <a:pt x="997132" y="596651"/>
                  </a:lnTo>
                  <a:lnTo>
                    <a:pt x="997892" y="596651"/>
                  </a:lnTo>
                  <a:lnTo>
                    <a:pt x="1003212" y="596651"/>
                  </a:lnTo>
                  <a:lnTo>
                    <a:pt x="1003212" y="514503"/>
                  </a:lnTo>
                  <a:lnTo>
                    <a:pt x="1004986" y="514503"/>
                  </a:lnTo>
                  <a:lnTo>
                    <a:pt x="1017399" y="514503"/>
                  </a:lnTo>
                  <a:lnTo>
                    <a:pt x="1017399" y="512612"/>
                  </a:lnTo>
                  <a:lnTo>
                    <a:pt x="1017399" y="499371"/>
                  </a:lnTo>
                  <a:lnTo>
                    <a:pt x="1039693" y="499371"/>
                  </a:lnTo>
                  <a:lnTo>
                    <a:pt x="1039693" y="498290"/>
                  </a:lnTo>
                  <a:lnTo>
                    <a:pt x="1039693" y="490724"/>
                  </a:lnTo>
                  <a:lnTo>
                    <a:pt x="1041466" y="490724"/>
                  </a:lnTo>
                  <a:lnTo>
                    <a:pt x="1053880" y="490724"/>
                  </a:lnTo>
                  <a:lnTo>
                    <a:pt x="1053880" y="491805"/>
                  </a:lnTo>
                  <a:lnTo>
                    <a:pt x="1053880" y="499371"/>
                  </a:lnTo>
                  <a:lnTo>
                    <a:pt x="1054640" y="499371"/>
                  </a:lnTo>
                  <a:lnTo>
                    <a:pt x="1059960" y="499371"/>
                  </a:lnTo>
                  <a:lnTo>
                    <a:pt x="1070093" y="495047"/>
                  </a:lnTo>
                  <a:lnTo>
                    <a:pt x="1074146" y="498290"/>
                  </a:lnTo>
                  <a:lnTo>
                    <a:pt x="1074146" y="490724"/>
                  </a:lnTo>
                  <a:lnTo>
                    <a:pt x="1076426" y="490724"/>
                  </a:lnTo>
                  <a:lnTo>
                    <a:pt x="1092387" y="490724"/>
                  </a:lnTo>
                  <a:lnTo>
                    <a:pt x="1092387" y="491805"/>
                  </a:lnTo>
                  <a:lnTo>
                    <a:pt x="1092387" y="499371"/>
                  </a:lnTo>
                  <a:lnTo>
                    <a:pt x="1122787" y="499371"/>
                  </a:lnTo>
                  <a:lnTo>
                    <a:pt x="1122787" y="500992"/>
                  </a:lnTo>
                  <a:lnTo>
                    <a:pt x="1122787" y="512342"/>
                  </a:lnTo>
                  <a:lnTo>
                    <a:pt x="1149134" y="512342"/>
                  </a:lnTo>
                  <a:lnTo>
                    <a:pt x="1149134" y="542606"/>
                  </a:lnTo>
                  <a:lnTo>
                    <a:pt x="1149894" y="542606"/>
                  </a:lnTo>
                  <a:lnTo>
                    <a:pt x="1155214" y="542606"/>
                  </a:lnTo>
                  <a:lnTo>
                    <a:pt x="1155214" y="543687"/>
                  </a:lnTo>
                  <a:lnTo>
                    <a:pt x="1155214" y="551254"/>
                  </a:lnTo>
                  <a:cubicBezTo>
                    <a:pt x="1159268" y="551254"/>
                    <a:pt x="1159268" y="551254"/>
                    <a:pt x="1159268" y="581518"/>
                  </a:cubicBezTo>
                  <a:lnTo>
                    <a:pt x="1160028" y="581518"/>
                  </a:lnTo>
                  <a:lnTo>
                    <a:pt x="1165348" y="581518"/>
                  </a:lnTo>
                  <a:lnTo>
                    <a:pt x="1165348" y="582329"/>
                  </a:lnTo>
                  <a:lnTo>
                    <a:pt x="1165348" y="588004"/>
                  </a:lnTo>
                  <a:lnTo>
                    <a:pt x="1166361" y="588004"/>
                  </a:lnTo>
                  <a:lnTo>
                    <a:pt x="1173454" y="588004"/>
                  </a:lnTo>
                  <a:lnTo>
                    <a:pt x="1173454" y="618269"/>
                  </a:lnTo>
                  <a:lnTo>
                    <a:pt x="1175481" y="618269"/>
                  </a:lnTo>
                  <a:lnTo>
                    <a:pt x="1189668" y="618269"/>
                  </a:lnTo>
                  <a:lnTo>
                    <a:pt x="1189668" y="642048"/>
                  </a:lnTo>
                  <a:cubicBezTo>
                    <a:pt x="1191695" y="642048"/>
                    <a:pt x="1191695" y="642048"/>
                    <a:pt x="1191695" y="643669"/>
                  </a:cubicBezTo>
                  <a:lnTo>
                    <a:pt x="1191695" y="655019"/>
                  </a:lnTo>
                  <a:lnTo>
                    <a:pt x="1192455" y="655019"/>
                  </a:lnTo>
                  <a:lnTo>
                    <a:pt x="1197775" y="655019"/>
                  </a:lnTo>
                  <a:lnTo>
                    <a:pt x="1197775" y="678798"/>
                  </a:lnTo>
                  <a:lnTo>
                    <a:pt x="1199041" y="678798"/>
                  </a:lnTo>
                  <a:lnTo>
                    <a:pt x="1207908" y="678798"/>
                  </a:lnTo>
                  <a:cubicBezTo>
                    <a:pt x="1209935" y="680960"/>
                    <a:pt x="1209935" y="680960"/>
                    <a:pt x="1209935" y="682852"/>
                  </a:cubicBezTo>
                  <a:lnTo>
                    <a:pt x="1209935" y="696093"/>
                  </a:lnTo>
                  <a:cubicBezTo>
                    <a:pt x="1209940" y="696086"/>
                    <a:pt x="1210027" y="695979"/>
                    <a:pt x="1211455" y="694201"/>
                  </a:cubicBezTo>
                  <a:lnTo>
                    <a:pt x="1222095" y="680960"/>
                  </a:lnTo>
                  <a:lnTo>
                    <a:pt x="1250469" y="680960"/>
                  </a:lnTo>
                  <a:lnTo>
                    <a:pt x="1250469" y="767431"/>
                  </a:lnTo>
                  <a:lnTo>
                    <a:pt x="1251229" y="767431"/>
                  </a:lnTo>
                  <a:lnTo>
                    <a:pt x="1256549" y="767431"/>
                  </a:lnTo>
                  <a:cubicBezTo>
                    <a:pt x="1256553" y="767423"/>
                    <a:pt x="1256612" y="767323"/>
                    <a:pt x="1257309" y="766080"/>
                  </a:cubicBezTo>
                  <a:lnTo>
                    <a:pt x="1262629" y="756622"/>
                  </a:lnTo>
                  <a:lnTo>
                    <a:pt x="1262629" y="758514"/>
                  </a:lnTo>
                  <a:lnTo>
                    <a:pt x="1262629" y="771755"/>
                  </a:lnTo>
                  <a:cubicBezTo>
                    <a:pt x="1266682" y="771755"/>
                    <a:pt x="1266682" y="771755"/>
                    <a:pt x="1266682" y="726358"/>
                  </a:cubicBezTo>
                  <a:lnTo>
                    <a:pt x="1267442" y="726358"/>
                  </a:lnTo>
                  <a:lnTo>
                    <a:pt x="1272762" y="726358"/>
                  </a:lnTo>
                  <a:lnTo>
                    <a:pt x="1272762" y="661504"/>
                  </a:lnTo>
                  <a:lnTo>
                    <a:pt x="1273776" y="661504"/>
                  </a:lnTo>
                  <a:lnTo>
                    <a:pt x="1280869" y="661504"/>
                  </a:lnTo>
                  <a:cubicBezTo>
                    <a:pt x="1280875" y="661483"/>
                    <a:pt x="1281139" y="660543"/>
                    <a:pt x="1293029" y="618269"/>
                  </a:cubicBezTo>
                  <a:lnTo>
                    <a:pt x="1294296" y="618269"/>
                  </a:lnTo>
                  <a:lnTo>
                    <a:pt x="1303163" y="618269"/>
                  </a:lnTo>
                  <a:cubicBezTo>
                    <a:pt x="1303168" y="618292"/>
                    <a:pt x="1303394" y="619258"/>
                    <a:pt x="1313296" y="661504"/>
                  </a:cubicBezTo>
                  <a:lnTo>
                    <a:pt x="1314309" y="661504"/>
                  </a:lnTo>
                  <a:lnTo>
                    <a:pt x="1321403" y="661504"/>
                  </a:lnTo>
                  <a:lnTo>
                    <a:pt x="1321403" y="700416"/>
                  </a:lnTo>
                  <a:lnTo>
                    <a:pt x="1323176" y="700416"/>
                  </a:lnTo>
                  <a:lnTo>
                    <a:pt x="1335590" y="700416"/>
                  </a:lnTo>
                  <a:lnTo>
                    <a:pt x="1335590" y="702578"/>
                  </a:lnTo>
                  <a:lnTo>
                    <a:pt x="1335590" y="717710"/>
                  </a:lnTo>
                  <a:cubicBezTo>
                    <a:pt x="1339643" y="717710"/>
                    <a:pt x="1339643" y="717710"/>
                    <a:pt x="1339643" y="715549"/>
                  </a:cubicBezTo>
                  <a:lnTo>
                    <a:pt x="1339643" y="700416"/>
                  </a:lnTo>
                  <a:lnTo>
                    <a:pt x="1341163" y="700416"/>
                  </a:lnTo>
                  <a:lnTo>
                    <a:pt x="1351803" y="700416"/>
                  </a:lnTo>
                  <a:lnTo>
                    <a:pt x="1351803" y="702037"/>
                  </a:lnTo>
                  <a:lnTo>
                    <a:pt x="1351803" y="713387"/>
                  </a:lnTo>
                  <a:lnTo>
                    <a:pt x="1382204" y="713387"/>
                  </a:lnTo>
                  <a:lnTo>
                    <a:pt x="1382204" y="676637"/>
                  </a:lnTo>
                  <a:lnTo>
                    <a:pt x="1383470" y="676637"/>
                  </a:lnTo>
                  <a:lnTo>
                    <a:pt x="1392337" y="676637"/>
                  </a:lnTo>
                  <a:lnTo>
                    <a:pt x="1392337" y="698254"/>
                  </a:lnTo>
                  <a:cubicBezTo>
                    <a:pt x="1394364" y="698254"/>
                    <a:pt x="1394364" y="698254"/>
                    <a:pt x="1394364" y="665828"/>
                  </a:cubicBezTo>
                  <a:lnTo>
                    <a:pt x="1416657" y="665828"/>
                  </a:lnTo>
                  <a:lnTo>
                    <a:pt x="1416657" y="664206"/>
                  </a:lnTo>
                  <a:lnTo>
                    <a:pt x="1416657" y="652857"/>
                  </a:lnTo>
                  <a:lnTo>
                    <a:pt x="1417417" y="652857"/>
                  </a:lnTo>
                  <a:lnTo>
                    <a:pt x="1422737" y="652857"/>
                  </a:lnTo>
                  <a:lnTo>
                    <a:pt x="1422737" y="650966"/>
                  </a:lnTo>
                  <a:lnTo>
                    <a:pt x="1422737" y="637725"/>
                  </a:lnTo>
                  <a:lnTo>
                    <a:pt x="1426791" y="644210"/>
                  </a:lnTo>
                  <a:lnTo>
                    <a:pt x="1429071" y="644210"/>
                  </a:lnTo>
                  <a:lnTo>
                    <a:pt x="1445031" y="644210"/>
                  </a:lnTo>
                  <a:lnTo>
                    <a:pt x="1445031" y="643399"/>
                  </a:lnTo>
                  <a:lnTo>
                    <a:pt x="1445031" y="637725"/>
                  </a:lnTo>
                  <a:lnTo>
                    <a:pt x="1445791" y="637725"/>
                  </a:lnTo>
                  <a:lnTo>
                    <a:pt x="1451111" y="637725"/>
                  </a:lnTo>
                  <a:lnTo>
                    <a:pt x="1451111" y="639076"/>
                  </a:lnTo>
                  <a:lnTo>
                    <a:pt x="1451111" y="648534"/>
                  </a:lnTo>
                  <a:lnTo>
                    <a:pt x="1489618" y="648534"/>
                  </a:lnTo>
                  <a:lnTo>
                    <a:pt x="1489618" y="786887"/>
                  </a:lnTo>
                  <a:lnTo>
                    <a:pt x="1491138" y="786887"/>
                  </a:lnTo>
                  <a:lnTo>
                    <a:pt x="1501778" y="786887"/>
                  </a:lnTo>
                  <a:lnTo>
                    <a:pt x="1501778" y="773917"/>
                  </a:lnTo>
                  <a:lnTo>
                    <a:pt x="1505832" y="773917"/>
                  </a:lnTo>
                  <a:lnTo>
                    <a:pt x="1505832" y="786887"/>
                  </a:lnTo>
                  <a:lnTo>
                    <a:pt x="1536232" y="786887"/>
                  </a:lnTo>
                  <a:lnTo>
                    <a:pt x="1536232" y="756622"/>
                  </a:lnTo>
                  <a:lnTo>
                    <a:pt x="1548392" y="756622"/>
                  </a:lnTo>
                  <a:lnTo>
                    <a:pt x="1560552" y="754461"/>
                  </a:lnTo>
                  <a:cubicBezTo>
                    <a:pt x="1562579" y="754461"/>
                    <a:pt x="1562579" y="756622"/>
                    <a:pt x="1564606" y="756622"/>
                  </a:cubicBezTo>
                  <a:lnTo>
                    <a:pt x="1574739" y="756622"/>
                  </a:lnTo>
                  <a:lnTo>
                    <a:pt x="1574739" y="786887"/>
                  </a:lnTo>
                  <a:lnTo>
                    <a:pt x="1582846" y="786887"/>
                  </a:lnTo>
                  <a:lnTo>
                    <a:pt x="1582846" y="804182"/>
                  </a:lnTo>
                  <a:lnTo>
                    <a:pt x="1592182" y="805087"/>
                  </a:lnTo>
                  <a:lnTo>
                    <a:pt x="1605140" y="805087"/>
                  </a:lnTo>
                  <a:lnTo>
                    <a:pt x="1605140" y="789049"/>
                  </a:lnTo>
                  <a:lnTo>
                    <a:pt x="1673096" y="789049"/>
                  </a:lnTo>
                  <a:lnTo>
                    <a:pt x="1673096" y="703796"/>
                  </a:lnTo>
                  <a:lnTo>
                    <a:pt x="1745104" y="703796"/>
                  </a:lnTo>
                  <a:lnTo>
                    <a:pt x="1745104" y="782564"/>
                  </a:lnTo>
                  <a:lnTo>
                    <a:pt x="1747008" y="782564"/>
                  </a:lnTo>
                  <a:lnTo>
                    <a:pt x="1748250" y="805087"/>
                  </a:lnTo>
                  <a:lnTo>
                    <a:pt x="1757926" y="805087"/>
                  </a:lnTo>
                  <a:cubicBezTo>
                    <a:pt x="1758462" y="797873"/>
                    <a:pt x="1759168" y="790219"/>
                    <a:pt x="1759168" y="782564"/>
                  </a:cubicBezTo>
                  <a:lnTo>
                    <a:pt x="1765248" y="782564"/>
                  </a:lnTo>
                  <a:lnTo>
                    <a:pt x="1766490" y="805087"/>
                  </a:lnTo>
                  <a:lnTo>
                    <a:pt x="1817112" y="805087"/>
                  </a:lnTo>
                  <a:lnTo>
                    <a:pt x="1817112" y="642059"/>
                  </a:lnTo>
                  <a:lnTo>
                    <a:pt x="2014439" y="642059"/>
                  </a:lnTo>
                  <a:lnTo>
                    <a:pt x="2014439" y="805087"/>
                  </a:lnTo>
                  <a:lnTo>
                    <a:pt x="2033136" y="805087"/>
                  </a:lnTo>
                  <a:lnTo>
                    <a:pt x="2033136" y="722394"/>
                  </a:lnTo>
                  <a:lnTo>
                    <a:pt x="2128256" y="722394"/>
                  </a:lnTo>
                  <a:cubicBezTo>
                    <a:pt x="2132331" y="616373"/>
                    <a:pt x="2135709" y="510899"/>
                    <a:pt x="2140186" y="404253"/>
                  </a:cubicBezTo>
                  <a:cubicBezTo>
                    <a:pt x="2130053" y="404253"/>
                    <a:pt x="2105733" y="391282"/>
                    <a:pt x="2128026" y="382635"/>
                  </a:cubicBezTo>
                  <a:cubicBezTo>
                    <a:pt x="2125999" y="380473"/>
                    <a:pt x="2123973" y="378311"/>
                    <a:pt x="2121946" y="378311"/>
                  </a:cubicBezTo>
                  <a:cubicBezTo>
                    <a:pt x="2121946" y="365341"/>
                    <a:pt x="2119919" y="363179"/>
                    <a:pt x="2130053" y="354532"/>
                  </a:cubicBezTo>
                  <a:lnTo>
                    <a:pt x="2130053" y="337238"/>
                  </a:lnTo>
                  <a:lnTo>
                    <a:pt x="2144240" y="337238"/>
                  </a:lnTo>
                  <a:lnTo>
                    <a:pt x="2144240" y="315620"/>
                  </a:lnTo>
                  <a:cubicBezTo>
                    <a:pt x="2144240" y="313458"/>
                    <a:pt x="2146266" y="313458"/>
                    <a:pt x="2146266" y="311296"/>
                  </a:cubicBezTo>
                  <a:lnTo>
                    <a:pt x="2146266" y="233472"/>
                  </a:lnTo>
                  <a:cubicBezTo>
                    <a:pt x="2146266" y="231310"/>
                    <a:pt x="2144240" y="229149"/>
                    <a:pt x="2144240" y="226987"/>
                  </a:cubicBezTo>
                  <a:lnTo>
                    <a:pt x="2150320" y="220501"/>
                  </a:lnTo>
                  <a:lnTo>
                    <a:pt x="2150320" y="162133"/>
                  </a:lnTo>
                  <a:cubicBezTo>
                    <a:pt x="2150320" y="159972"/>
                    <a:pt x="2150320" y="159972"/>
                    <a:pt x="2152346" y="157810"/>
                  </a:cubicBezTo>
                  <a:lnTo>
                    <a:pt x="2152346" y="101604"/>
                  </a:lnTo>
                  <a:cubicBezTo>
                    <a:pt x="2154373" y="92957"/>
                    <a:pt x="2154373" y="88633"/>
                    <a:pt x="2154373" y="82148"/>
                  </a:cubicBezTo>
                  <a:cubicBezTo>
                    <a:pt x="2158427" y="88633"/>
                    <a:pt x="2158427" y="92957"/>
                    <a:pt x="2158427" y="99442"/>
                  </a:cubicBezTo>
                  <a:cubicBezTo>
                    <a:pt x="2160453" y="121060"/>
                    <a:pt x="2160453" y="140516"/>
                    <a:pt x="2160453" y="157810"/>
                  </a:cubicBezTo>
                  <a:cubicBezTo>
                    <a:pt x="2162480" y="181589"/>
                    <a:pt x="2162480" y="201045"/>
                    <a:pt x="2162480" y="220501"/>
                  </a:cubicBezTo>
                  <a:lnTo>
                    <a:pt x="2168560" y="226987"/>
                  </a:lnTo>
                  <a:cubicBezTo>
                    <a:pt x="2168560" y="229149"/>
                    <a:pt x="2166533" y="231310"/>
                    <a:pt x="2166533" y="233472"/>
                  </a:cubicBezTo>
                  <a:lnTo>
                    <a:pt x="2166533" y="311296"/>
                  </a:lnTo>
                  <a:cubicBezTo>
                    <a:pt x="2166533" y="313458"/>
                    <a:pt x="2168560" y="313458"/>
                    <a:pt x="2168560" y="315620"/>
                  </a:cubicBezTo>
                  <a:lnTo>
                    <a:pt x="2168560" y="337238"/>
                  </a:lnTo>
                  <a:lnTo>
                    <a:pt x="2182747" y="337238"/>
                  </a:lnTo>
                  <a:lnTo>
                    <a:pt x="2182747" y="354532"/>
                  </a:lnTo>
                  <a:cubicBezTo>
                    <a:pt x="2190854" y="363179"/>
                    <a:pt x="2190854" y="363179"/>
                    <a:pt x="2190854" y="378311"/>
                  </a:cubicBezTo>
                  <a:cubicBezTo>
                    <a:pt x="2188827" y="378311"/>
                    <a:pt x="2186800" y="380473"/>
                    <a:pt x="2184774" y="382635"/>
                  </a:cubicBezTo>
                  <a:cubicBezTo>
                    <a:pt x="2205040" y="393444"/>
                    <a:pt x="2180720" y="402091"/>
                    <a:pt x="2172613" y="404253"/>
                  </a:cubicBezTo>
                  <a:cubicBezTo>
                    <a:pt x="2174640" y="488562"/>
                    <a:pt x="2178693" y="572871"/>
                    <a:pt x="2180720" y="657181"/>
                  </a:cubicBezTo>
                  <a:lnTo>
                    <a:pt x="2245574" y="657181"/>
                  </a:lnTo>
                  <a:lnTo>
                    <a:pt x="2245574" y="732843"/>
                  </a:lnTo>
                  <a:lnTo>
                    <a:pt x="2253681" y="732843"/>
                  </a:lnTo>
                  <a:cubicBezTo>
                    <a:pt x="2253681" y="730681"/>
                    <a:pt x="2255708" y="728519"/>
                    <a:pt x="2255708" y="726358"/>
                  </a:cubicBezTo>
                  <a:lnTo>
                    <a:pt x="2261788" y="726358"/>
                  </a:lnTo>
                  <a:cubicBezTo>
                    <a:pt x="2261788" y="728519"/>
                    <a:pt x="2261788" y="730681"/>
                    <a:pt x="2263815" y="735005"/>
                  </a:cubicBezTo>
                  <a:lnTo>
                    <a:pt x="2275975" y="735005"/>
                  </a:lnTo>
                  <a:lnTo>
                    <a:pt x="2275975" y="728519"/>
                  </a:lnTo>
                  <a:lnTo>
                    <a:pt x="2298268" y="728519"/>
                  </a:lnTo>
                  <a:lnTo>
                    <a:pt x="2298268" y="735005"/>
                  </a:lnTo>
                  <a:lnTo>
                    <a:pt x="2318535" y="735005"/>
                  </a:lnTo>
                  <a:lnTo>
                    <a:pt x="2318535" y="780402"/>
                  </a:lnTo>
                  <a:lnTo>
                    <a:pt x="2332722" y="780402"/>
                  </a:lnTo>
                  <a:lnTo>
                    <a:pt x="2332722" y="767431"/>
                  </a:lnTo>
                  <a:lnTo>
                    <a:pt x="2348936" y="767431"/>
                  </a:lnTo>
                  <a:lnTo>
                    <a:pt x="2348936" y="588004"/>
                  </a:lnTo>
                  <a:lnTo>
                    <a:pt x="2355016" y="581518"/>
                  </a:lnTo>
                  <a:lnTo>
                    <a:pt x="2427977" y="581518"/>
                  </a:lnTo>
                  <a:lnTo>
                    <a:pt x="2427977" y="590166"/>
                  </a:lnTo>
                  <a:lnTo>
                    <a:pt x="2438110" y="590166"/>
                  </a:lnTo>
                  <a:lnTo>
                    <a:pt x="2438110" y="704740"/>
                  </a:lnTo>
                  <a:lnTo>
                    <a:pt x="2460404" y="704740"/>
                  </a:lnTo>
                  <a:lnTo>
                    <a:pt x="2460404" y="637725"/>
                  </a:lnTo>
                  <a:lnTo>
                    <a:pt x="2486751" y="637725"/>
                  </a:lnTo>
                  <a:cubicBezTo>
                    <a:pt x="2488777" y="637725"/>
                    <a:pt x="2488777" y="635563"/>
                    <a:pt x="2490804" y="633401"/>
                  </a:cubicBezTo>
                  <a:lnTo>
                    <a:pt x="2498911" y="633401"/>
                  </a:lnTo>
                  <a:cubicBezTo>
                    <a:pt x="2500937" y="635563"/>
                    <a:pt x="2500937" y="637725"/>
                    <a:pt x="2502964" y="637725"/>
                  </a:cubicBezTo>
                  <a:lnTo>
                    <a:pt x="2525258" y="637725"/>
                  </a:lnTo>
                  <a:lnTo>
                    <a:pt x="2525258" y="520989"/>
                  </a:lnTo>
                  <a:cubicBezTo>
                    <a:pt x="2525272" y="520986"/>
                    <a:pt x="2526139" y="520822"/>
                    <a:pt x="2582005" y="510180"/>
                  </a:cubicBezTo>
                  <a:lnTo>
                    <a:pt x="2582005" y="511261"/>
                  </a:lnTo>
                  <a:lnTo>
                    <a:pt x="2582005" y="518827"/>
                  </a:lnTo>
                  <a:lnTo>
                    <a:pt x="2608352" y="518827"/>
                  </a:lnTo>
                  <a:lnTo>
                    <a:pt x="2608352" y="773917"/>
                  </a:lnTo>
                  <a:lnTo>
                    <a:pt x="2630646" y="773917"/>
                  </a:lnTo>
                  <a:lnTo>
                    <a:pt x="2630646" y="769593"/>
                  </a:lnTo>
                  <a:lnTo>
                    <a:pt x="2642806" y="769593"/>
                  </a:lnTo>
                  <a:lnTo>
                    <a:pt x="2642806" y="773917"/>
                  </a:lnTo>
                  <a:lnTo>
                    <a:pt x="2667126" y="773917"/>
                  </a:lnTo>
                  <a:lnTo>
                    <a:pt x="2667126" y="760946"/>
                  </a:lnTo>
                  <a:lnTo>
                    <a:pt x="2695500" y="760946"/>
                  </a:lnTo>
                  <a:cubicBezTo>
                    <a:pt x="2699553" y="756622"/>
                    <a:pt x="2703607" y="756622"/>
                    <a:pt x="2707660" y="756622"/>
                  </a:cubicBezTo>
                  <a:cubicBezTo>
                    <a:pt x="2713740" y="760946"/>
                    <a:pt x="2721847" y="760946"/>
                    <a:pt x="2727927" y="760946"/>
                  </a:cubicBezTo>
                  <a:lnTo>
                    <a:pt x="2727927" y="743652"/>
                  </a:lnTo>
                  <a:lnTo>
                    <a:pt x="2736034" y="743652"/>
                  </a:lnTo>
                  <a:lnTo>
                    <a:pt x="2736034" y="730681"/>
                  </a:lnTo>
                  <a:lnTo>
                    <a:pt x="2792781" y="730681"/>
                  </a:lnTo>
                  <a:lnTo>
                    <a:pt x="2792781" y="700416"/>
                  </a:lnTo>
                  <a:lnTo>
                    <a:pt x="2811021" y="700416"/>
                  </a:lnTo>
                  <a:lnTo>
                    <a:pt x="2811021" y="693931"/>
                  </a:lnTo>
                  <a:lnTo>
                    <a:pt x="2823181" y="693931"/>
                  </a:lnTo>
                  <a:lnTo>
                    <a:pt x="2823181" y="700416"/>
                  </a:lnTo>
                  <a:lnTo>
                    <a:pt x="2839395" y="700416"/>
                  </a:lnTo>
                  <a:lnTo>
                    <a:pt x="2839395" y="750137"/>
                  </a:lnTo>
                  <a:lnTo>
                    <a:pt x="2871822" y="750137"/>
                  </a:lnTo>
                  <a:lnTo>
                    <a:pt x="2871822" y="724196"/>
                  </a:lnTo>
                  <a:lnTo>
                    <a:pt x="2910329" y="724196"/>
                  </a:lnTo>
                  <a:lnTo>
                    <a:pt x="2910329" y="693931"/>
                  </a:lnTo>
                  <a:lnTo>
                    <a:pt x="2958970" y="693931"/>
                  </a:lnTo>
                  <a:lnTo>
                    <a:pt x="2958970" y="805087"/>
                  </a:lnTo>
                  <a:lnTo>
                    <a:pt x="2958970" y="818866"/>
                  </a:lnTo>
                  <a:lnTo>
                    <a:pt x="2968113" y="818866"/>
                  </a:lnTo>
                  <a:lnTo>
                    <a:pt x="2968113" y="762555"/>
                  </a:lnTo>
                  <a:lnTo>
                    <a:pt x="2971450" y="756622"/>
                  </a:lnTo>
                  <a:lnTo>
                    <a:pt x="2971450" y="758514"/>
                  </a:lnTo>
                  <a:lnTo>
                    <a:pt x="2971450" y="771755"/>
                  </a:lnTo>
                  <a:cubicBezTo>
                    <a:pt x="2975503" y="771755"/>
                    <a:pt x="2975503" y="771755"/>
                    <a:pt x="2975503" y="726358"/>
                  </a:cubicBezTo>
                  <a:lnTo>
                    <a:pt x="2976263" y="726358"/>
                  </a:lnTo>
                  <a:lnTo>
                    <a:pt x="2981583" y="726358"/>
                  </a:lnTo>
                  <a:lnTo>
                    <a:pt x="2981583" y="661504"/>
                  </a:lnTo>
                  <a:lnTo>
                    <a:pt x="2982597" y="661504"/>
                  </a:lnTo>
                  <a:lnTo>
                    <a:pt x="2989690" y="661504"/>
                  </a:lnTo>
                  <a:cubicBezTo>
                    <a:pt x="2989696" y="661483"/>
                    <a:pt x="2989960" y="660543"/>
                    <a:pt x="3001850" y="618269"/>
                  </a:cubicBezTo>
                  <a:lnTo>
                    <a:pt x="3003117" y="618269"/>
                  </a:lnTo>
                  <a:lnTo>
                    <a:pt x="3011984" y="618269"/>
                  </a:lnTo>
                  <a:cubicBezTo>
                    <a:pt x="3011989" y="618292"/>
                    <a:pt x="3012215" y="619258"/>
                    <a:pt x="3022117" y="661504"/>
                  </a:cubicBezTo>
                  <a:lnTo>
                    <a:pt x="3023130" y="661504"/>
                  </a:lnTo>
                  <a:lnTo>
                    <a:pt x="3030224" y="661504"/>
                  </a:lnTo>
                  <a:lnTo>
                    <a:pt x="3030224" y="700416"/>
                  </a:lnTo>
                  <a:lnTo>
                    <a:pt x="3031997" y="700416"/>
                  </a:lnTo>
                  <a:lnTo>
                    <a:pt x="3044411" y="700416"/>
                  </a:lnTo>
                  <a:lnTo>
                    <a:pt x="3044411" y="702578"/>
                  </a:lnTo>
                  <a:lnTo>
                    <a:pt x="3044411" y="717710"/>
                  </a:lnTo>
                  <a:cubicBezTo>
                    <a:pt x="3048464" y="717710"/>
                    <a:pt x="3048464" y="717710"/>
                    <a:pt x="3048464" y="715549"/>
                  </a:cubicBezTo>
                  <a:lnTo>
                    <a:pt x="3048464" y="700416"/>
                  </a:lnTo>
                  <a:lnTo>
                    <a:pt x="3049984" y="700416"/>
                  </a:lnTo>
                  <a:lnTo>
                    <a:pt x="3060624" y="700416"/>
                  </a:lnTo>
                  <a:lnTo>
                    <a:pt x="3060624" y="702037"/>
                  </a:lnTo>
                  <a:lnTo>
                    <a:pt x="3060624" y="713387"/>
                  </a:lnTo>
                  <a:lnTo>
                    <a:pt x="3091025" y="713387"/>
                  </a:lnTo>
                  <a:lnTo>
                    <a:pt x="3091025" y="676637"/>
                  </a:lnTo>
                  <a:lnTo>
                    <a:pt x="3092291" y="676637"/>
                  </a:lnTo>
                  <a:lnTo>
                    <a:pt x="3101158" y="676637"/>
                  </a:lnTo>
                  <a:lnTo>
                    <a:pt x="3101158" y="698254"/>
                  </a:lnTo>
                  <a:cubicBezTo>
                    <a:pt x="3103185" y="698254"/>
                    <a:pt x="3103185" y="698254"/>
                    <a:pt x="3103185" y="665828"/>
                  </a:cubicBezTo>
                  <a:lnTo>
                    <a:pt x="3125478" y="665828"/>
                  </a:lnTo>
                  <a:lnTo>
                    <a:pt x="3125478" y="664206"/>
                  </a:lnTo>
                  <a:lnTo>
                    <a:pt x="3125478" y="652857"/>
                  </a:lnTo>
                  <a:lnTo>
                    <a:pt x="3126238" y="652857"/>
                  </a:lnTo>
                  <a:lnTo>
                    <a:pt x="3131558" y="652857"/>
                  </a:lnTo>
                  <a:lnTo>
                    <a:pt x="3131558" y="650966"/>
                  </a:lnTo>
                  <a:lnTo>
                    <a:pt x="3131558" y="637725"/>
                  </a:lnTo>
                  <a:lnTo>
                    <a:pt x="3135612" y="644210"/>
                  </a:lnTo>
                  <a:lnTo>
                    <a:pt x="3137892" y="644210"/>
                  </a:lnTo>
                  <a:lnTo>
                    <a:pt x="3153852" y="644210"/>
                  </a:lnTo>
                  <a:lnTo>
                    <a:pt x="3153852" y="643399"/>
                  </a:lnTo>
                  <a:lnTo>
                    <a:pt x="3153852" y="637725"/>
                  </a:lnTo>
                  <a:lnTo>
                    <a:pt x="3154612" y="637725"/>
                  </a:lnTo>
                  <a:lnTo>
                    <a:pt x="3159932" y="637725"/>
                  </a:lnTo>
                  <a:lnTo>
                    <a:pt x="3159932" y="639076"/>
                  </a:lnTo>
                  <a:lnTo>
                    <a:pt x="3159932" y="648534"/>
                  </a:lnTo>
                  <a:lnTo>
                    <a:pt x="3195788" y="648534"/>
                  </a:lnTo>
                  <a:lnTo>
                    <a:pt x="3195788" y="1159457"/>
                  </a:lnTo>
                  <a:lnTo>
                    <a:pt x="3031533" y="1159331"/>
                  </a:lnTo>
                  <a:lnTo>
                    <a:pt x="3031520" y="1160647"/>
                  </a:lnTo>
                  <a:lnTo>
                    <a:pt x="2054" y="1158314"/>
                  </a:lnTo>
                  <a:cubicBezTo>
                    <a:pt x="1369" y="1010750"/>
                    <a:pt x="685" y="871760"/>
                    <a:pt x="0" y="724196"/>
                  </a:cubicBezTo>
                  <a:lnTo>
                    <a:pt x="20267" y="724196"/>
                  </a:lnTo>
                  <a:cubicBezTo>
                    <a:pt x="20271" y="724190"/>
                    <a:pt x="20308" y="724108"/>
                    <a:pt x="20774" y="723115"/>
                  </a:cubicBezTo>
                  <a:lnTo>
                    <a:pt x="24320" y="715549"/>
                  </a:lnTo>
                  <a:cubicBezTo>
                    <a:pt x="24329" y="715550"/>
                    <a:pt x="24442" y="715568"/>
                    <a:pt x="26094" y="715819"/>
                  </a:cubicBezTo>
                  <a:lnTo>
                    <a:pt x="38507" y="717710"/>
                  </a:lnTo>
                  <a:cubicBezTo>
                    <a:pt x="38510" y="717720"/>
                    <a:pt x="38548" y="717821"/>
                    <a:pt x="39014" y="719062"/>
                  </a:cubicBezTo>
                  <a:lnTo>
                    <a:pt x="42560" y="728519"/>
                  </a:lnTo>
                  <a:cubicBezTo>
                    <a:pt x="42574" y="728520"/>
                    <a:pt x="43170" y="728570"/>
                    <a:pt x="68907" y="730681"/>
                  </a:cubicBezTo>
                  <a:lnTo>
                    <a:pt x="68907" y="607460"/>
                  </a:lnTo>
                  <a:lnTo>
                    <a:pt x="70934" y="607460"/>
                  </a:lnTo>
                  <a:lnTo>
                    <a:pt x="85121" y="607460"/>
                  </a:lnTo>
                  <a:lnTo>
                    <a:pt x="85121" y="471268"/>
                  </a:lnTo>
                  <a:lnTo>
                    <a:pt x="86894" y="471268"/>
                  </a:lnTo>
                  <a:lnTo>
                    <a:pt x="99308" y="471268"/>
                  </a:lnTo>
                  <a:lnTo>
                    <a:pt x="99308" y="356694"/>
                  </a:lnTo>
                  <a:cubicBezTo>
                    <a:pt x="103361" y="354532"/>
                    <a:pt x="103361" y="354532"/>
                    <a:pt x="103361" y="328590"/>
                  </a:cubicBezTo>
                  <a:lnTo>
                    <a:pt x="105388" y="328590"/>
                  </a:lnTo>
                  <a:lnTo>
                    <a:pt x="119575" y="328590"/>
                  </a:lnTo>
                  <a:cubicBezTo>
                    <a:pt x="119586" y="328567"/>
                    <a:pt x="120192" y="327200"/>
                    <a:pt x="156055" y="246443"/>
                  </a:cubicBezTo>
                  <a:cubicBezTo>
                    <a:pt x="156055" y="246429"/>
                    <a:pt x="156089" y="244478"/>
                    <a:pt x="16010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sz="2701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F5362881-0BC9-4BC1-85B6-BE862D64D8B3}"/>
              </a:ext>
            </a:extLst>
          </p:cNvPr>
          <p:cNvGrpSpPr/>
          <p:nvPr/>
        </p:nvGrpSpPr>
        <p:grpSpPr>
          <a:xfrm>
            <a:off x="4336188" y="2039632"/>
            <a:ext cx="3486149" cy="2833560"/>
            <a:chOff x="2676526" y="2041913"/>
            <a:chExt cx="3486148" cy="283356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72AA4103-ECAC-4AD7-91AC-F22DCF312355}"/>
                </a:ext>
              </a:extLst>
            </p:cNvPr>
            <p:cNvGrpSpPr/>
            <p:nvPr/>
          </p:nvGrpSpPr>
          <p:grpSpPr>
            <a:xfrm>
              <a:off x="2745022" y="2041913"/>
              <a:ext cx="3417652" cy="2755290"/>
              <a:chOff x="2745022" y="2041913"/>
              <a:chExt cx="3417652" cy="2755290"/>
            </a:xfrm>
            <a:solidFill>
              <a:srgbClr val="FAB117"/>
            </a:solidFill>
          </p:grpSpPr>
          <p:sp>
            <p:nvSpPr>
              <p:cNvPr id="11" name="Freeform 3">
                <a:extLst>
                  <a:ext uri="{FF2B5EF4-FFF2-40B4-BE49-F238E27FC236}">
                    <a16:creationId xmlns:a16="http://schemas.microsoft.com/office/drawing/2014/main" xmlns="" id="{34818DA9-9873-41D9-9C11-C25F99B09F33}"/>
                  </a:ext>
                </a:extLst>
              </p:cNvPr>
              <p:cNvSpPr/>
              <p:nvPr/>
            </p:nvSpPr>
            <p:spPr>
              <a:xfrm>
                <a:off x="2901403" y="2041913"/>
                <a:ext cx="3261271" cy="1993269"/>
              </a:xfrm>
              <a:custGeom>
                <a:avLst/>
                <a:gdLst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5725 w 3228975"/>
                  <a:gd name="connsiteY2" fmla="*/ 742950 h 1866900"/>
                  <a:gd name="connsiteX3" fmla="*/ 866775 w 3228975"/>
                  <a:gd name="connsiteY3" fmla="*/ 0 h 1866900"/>
                  <a:gd name="connsiteX4" fmla="*/ 962025 w 3228975"/>
                  <a:gd name="connsiteY4" fmla="*/ 19050 h 1866900"/>
                  <a:gd name="connsiteX5" fmla="*/ 2105025 w 3228975"/>
                  <a:gd name="connsiteY5" fmla="*/ 9525 h 1866900"/>
                  <a:gd name="connsiteX6" fmla="*/ 3228975 w 3228975"/>
                  <a:gd name="connsiteY6" fmla="*/ 476250 h 1866900"/>
                  <a:gd name="connsiteX7" fmla="*/ 3219450 w 3228975"/>
                  <a:gd name="connsiteY7" fmla="*/ 1866900 h 1866900"/>
                  <a:gd name="connsiteX8" fmla="*/ 3086100 w 3228975"/>
                  <a:gd name="connsiteY8" fmla="*/ 1847850 h 1866900"/>
                  <a:gd name="connsiteX9" fmla="*/ 2095500 w 3228975"/>
                  <a:gd name="connsiteY9" fmla="*/ 771525 h 1866900"/>
                  <a:gd name="connsiteX10" fmla="*/ 1095375 w 3228975"/>
                  <a:gd name="connsiteY10" fmla="*/ 571500 h 1866900"/>
                  <a:gd name="connsiteX11" fmla="*/ 0 w 3228975"/>
                  <a:gd name="connsiteY11" fmla="*/ 790575 h 1866900"/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5725 w 3228975"/>
                  <a:gd name="connsiteY2" fmla="*/ 742950 h 1866900"/>
                  <a:gd name="connsiteX3" fmla="*/ 866775 w 3228975"/>
                  <a:gd name="connsiteY3" fmla="*/ 0 h 1866900"/>
                  <a:gd name="connsiteX4" fmla="*/ 2105025 w 3228975"/>
                  <a:gd name="connsiteY4" fmla="*/ 9525 h 1866900"/>
                  <a:gd name="connsiteX5" fmla="*/ 3228975 w 3228975"/>
                  <a:gd name="connsiteY5" fmla="*/ 476250 h 1866900"/>
                  <a:gd name="connsiteX6" fmla="*/ 3219450 w 3228975"/>
                  <a:gd name="connsiteY6" fmla="*/ 1866900 h 1866900"/>
                  <a:gd name="connsiteX7" fmla="*/ 3086100 w 3228975"/>
                  <a:gd name="connsiteY7" fmla="*/ 1847850 h 1866900"/>
                  <a:gd name="connsiteX8" fmla="*/ 2095500 w 3228975"/>
                  <a:gd name="connsiteY8" fmla="*/ 771525 h 1866900"/>
                  <a:gd name="connsiteX9" fmla="*/ 1095375 w 3228975"/>
                  <a:gd name="connsiteY9" fmla="*/ 571500 h 1866900"/>
                  <a:gd name="connsiteX10" fmla="*/ 0 w 3228975"/>
                  <a:gd name="connsiteY10" fmla="*/ 790575 h 1866900"/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5725 w 3228975"/>
                  <a:gd name="connsiteY2" fmla="*/ 742950 h 1866900"/>
                  <a:gd name="connsiteX3" fmla="*/ 866775 w 3228975"/>
                  <a:gd name="connsiteY3" fmla="*/ 0 h 1866900"/>
                  <a:gd name="connsiteX4" fmla="*/ 2105025 w 3228975"/>
                  <a:gd name="connsiteY4" fmla="*/ 9525 h 1866900"/>
                  <a:gd name="connsiteX5" fmla="*/ 3228975 w 3228975"/>
                  <a:gd name="connsiteY5" fmla="*/ 476250 h 1866900"/>
                  <a:gd name="connsiteX6" fmla="*/ 3219450 w 3228975"/>
                  <a:gd name="connsiteY6" fmla="*/ 1866900 h 1866900"/>
                  <a:gd name="connsiteX7" fmla="*/ 3086100 w 3228975"/>
                  <a:gd name="connsiteY7" fmla="*/ 1847850 h 1866900"/>
                  <a:gd name="connsiteX8" fmla="*/ 2095500 w 3228975"/>
                  <a:gd name="connsiteY8" fmla="*/ 771525 h 1866900"/>
                  <a:gd name="connsiteX9" fmla="*/ 1095375 w 3228975"/>
                  <a:gd name="connsiteY9" fmla="*/ 571500 h 1866900"/>
                  <a:gd name="connsiteX10" fmla="*/ 0 w 3228975"/>
                  <a:gd name="connsiteY10" fmla="*/ 790575 h 1866900"/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5725 w 3228975"/>
                  <a:gd name="connsiteY2" fmla="*/ 742950 h 1866900"/>
                  <a:gd name="connsiteX3" fmla="*/ 866775 w 3228975"/>
                  <a:gd name="connsiteY3" fmla="*/ 0 h 1866900"/>
                  <a:gd name="connsiteX4" fmla="*/ 2105025 w 3228975"/>
                  <a:gd name="connsiteY4" fmla="*/ 9525 h 1866900"/>
                  <a:gd name="connsiteX5" fmla="*/ 3228975 w 3228975"/>
                  <a:gd name="connsiteY5" fmla="*/ 476250 h 1866900"/>
                  <a:gd name="connsiteX6" fmla="*/ 3219450 w 3228975"/>
                  <a:gd name="connsiteY6" fmla="*/ 1866900 h 1866900"/>
                  <a:gd name="connsiteX7" fmla="*/ 3086100 w 3228975"/>
                  <a:gd name="connsiteY7" fmla="*/ 1847850 h 1866900"/>
                  <a:gd name="connsiteX8" fmla="*/ 2095500 w 3228975"/>
                  <a:gd name="connsiteY8" fmla="*/ 771525 h 1866900"/>
                  <a:gd name="connsiteX9" fmla="*/ 1095375 w 3228975"/>
                  <a:gd name="connsiteY9" fmla="*/ 571500 h 1866900"/>
                  <a:gd name="connsiteX10" fmla="*/ 0 w 3228975"/>
                  <a:gd name="connsiteY10" fmla="*/ 790575 h 1866900"/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66775 w 3228975"/>
                  <a:gd name="connsiteY2" fmla="*/ 0 h 1866900"/>
                  <a:gd name="connsiteX3" fmla="*/ 2105025 w 3228975"/>
                  <a:gd name="connsiteY3" fmla="*/ 9525 h 1866900"/>
                  <a:gd name="connsiteX4" fmla="*/ 3228975 w 3228975"/>
                  <a:gd name="connsiteY4" fmla="*/ 476250 h 1866900"/>
                  <a:gd name="connsiteX5" fmla="*/ 3219450 w 3228975"/>
                  <a:gd name="connsiteY5" fmla="*/ 1866900 h 1866900"/>
                  <a:gd name="connsiteX6" fmla="*/ 3086100 w 3228975"/>
                  <a:gd name="connsiteY6" fmla="*/ 1847850 h 1866900"/>
                  <a:gd name="connsiteX7" fmla="*/ 2095500 w 3228975"/>
                  <a:gd name="connsiteY7" fmla="*/ 771525 h 1866900"/>
                  <a:gd name="connsiteX8" fmla="*/ 1095375 w 3228975"/>
                  <a:gd name="connsiteY8" fmla="*/ 571500 h 1866900"/>
                  <a:gd name="connsiteX9" fmla="*/ 0 w 3228975"/>
                  <a:gd name="connsiteY9" fmla="*/ 790575 h 1866900"/>
                  <a:gd name="connsiteX0" fmla="*/ 0 w 3228975"/>
                  <a:gd name="connsiteY0" fmla="*/ 790575 h 1866900"/>
                  <a:gd name="connsiteX1" fmla="*/ 0 w 3228975"/>
                  <a:gd name="connsiteY1" fmla="*/ 790575 h 1866900"/>
                  <a:gd name="connsiteX2" fmla="*/ 866775 w 3228975"/>
                  <a:gd name="connsiteY2" fmla="*/ 0 h 1866900"/>
                  <a:gd name="connsiteX3" fmla="*/ 2105025 w 3228975"/>
                  <a:gd name="connsiteY3" fmla="*/ 9525 h 1866900"/>
                  <a:gd name="connsiteX4" fmla="*/ 3228975 w 3228975"/>
                  <a:gd name="connsiteY4" fmla="*/ 476250 h 1866900"/>
                  <a:gd name="connsiteX5" fmla="*/ 3219450 w 3228975"/>
                  <a:gd name="connsiteY5" fmla="*/ 1866900 h 1866900"/>
                  <a:gd name="connsiteX6" fmla="*/ 3086100 w 3228975"/>
                  <a:gd name="connsiteY6" fmla="*/ 1847850 h 1866900"/>
                  <a:gd name="connsiteX7" fmla="*/ 2095500 w 3228975"/>
                  <a:gd name="connsiteY7" fmla="*/ 771525 h 1866900"/>
                  <a:gd name="connsiteX8" fmla="*/ 1095375 w 3228975"/>
                  <a:gd name="connsiteY8" fmla="*/ 571500 h 1866900"/>
                  <a:gd name="connsiteX9" fmla="*/ 0 w 3228975"/>
                  <a:gd name="connsiteY9" fmla="*/ 790575 h 1866900"/>
                  <a:gd name="connsiteX0" fmla="*/ 253889 w 3254264"/>
                  <a:gd name="connsiteY0" fmla="*/ 1143000 h 1866900"/>
                  <a:gd name="connsiteX1" fmla="*/ 25289 w 3254264"/>
                  <a:gd name="connsiteY1" fmla="*/ 790575 h 1866900"/>
                  <a:gd name="connsiteX2" fmla="*/ 892064 w 3254264"/>
                  <a:gd name="connsiteY2" fmla="*/ 0 h 1866900"/>
                  <a:gd name="connsiteX3" fmla="*/ 2130314 w 3254264"/>
                  <a:gd name="connsiteY3" fmla="*/ 9525 h 1866900"/>
                  <a:gd name="connsiteX4" fmla="*/ 3254264 w 3254264"/>
                  <a:gd name="connsiteY4" fmla="*/ 476250 h 1866900"/>
                  <a:gd name="connsiteX5" fmla="*/ 3244739 w 3254264"/>
                  <a:gd name="connsiteY5" fmla="*/ 1866900 h 1866900"/>
                  <a:gd name="connsiteX6" fmla="*/ 3111389 w 3254264"/>
                  <a:gd name="connsiteY6" fmla="*/ 1847850 h 1866900"/>
                  <a:gd name="connsiteX7" fmla="*/ 2120789 w 3254264"/>
                  <a:gd name="connsiteY7" fmla="*/ 771525 h 1866900"/>
                  <a:gd name="connsiteX8" fmla="*/ 1120664 w 3254264"/>
                  <a:gd name="connsiteY8" fmla="*/ 571500 h 1866900"/>
                  <a:gd name="connsiteX9" fmla="*/ 253889 w 3254264"/>
                  <a:gd name="connsiteY9" fmla="*/ 1143000 h 1866900"/>
                  <a:gd name="connsiteX0" fmla="*/ 1097065 w 3230665"/>
                  <a:gd name="connsiteY0" fmla="*/ 571500 h 1866900"/>
                  <a:gd name="connsiteX1" fmla="*/ 1690 w 3230665"/>
                  <a:gd name="connsiteY1" fmla="*/ 790575 h 1866900"/>
                  <a:gd name="connsiteX2" fmla="*/ 868465 w 3230665"/>
                  <a:gd name="connsiteY2" fmla="*/ 0 h 1866900"/>
                  <a:gd name="connsiteX3" fmla="*/ 2106715 w 3230665"/>
                  <a:gd name="connsiteY3" fmla="*/ 9525 h 1866900"/>
                  <a:gd name="connsiteX4" fmla="*/ 3230665 w 3230665"/>
                  <a:gd name="connsiteY4" fmla="*/ 476250 h 1866900"/>
                  <a:gd name="connsiteX5" fmla="*/ 3221140 w 3230665"/>
                  <a:gd name="connsiteY5" fmla="*/ 1866900 h 1866900"/>
                  <a:gd name="connsiteX6" fmla="*/ 3087790 w 3230665"/>
                  <a:gd name="connsiteY6" fmla="*/ 1847850 h 1866900"/>
                  <a:gd name="connsiteX7" fmla="*/ 2097190 w 3230665"/>
                  <a:gd name="connsiteY7" fmla="*/ 771525 h 1866900"/>
                  <a:gd name="connsiteX8" fmla="*/ 1097065 w 3230665"/>
                  <a:gd name="connsiteY8" fmla="*/ 571500 h 1866900"/>
                  <a:gd name="connsiteX0" fmla="*/ 1099783 w 3233383"/>
                  <a:gd name="connsiteY0" fmla="*/ 571500 h 1866900"/>
                  <a:gd name="connsiteX1" fmla="*/ 4408 w 3233383"/>
                  <a:gd name="connsiteY1" fmla="*/ 790575 h 1866900"/>
                  <a:gd name="connsiteX2" fmla="*/ 871183 w 3233383"/>
                  <a:gd name="connsiteY2" fmla="*/ 0 h 1866900"/>
                  <a:gd name="connsiteX3" fmla="*/ 2109433 w 3233383"/>
                  <a:gd name="connsiteY3" fmla="*/ 9525 h 1866900"/>
                  <a:gd name="connsiteX4" fmla="*/ 3233383 w 3233383"/>
                  <a:gd name="connsiteY4" fmla="*/ 476250 h 1866900"/>
                  <a:gd name="connsiteX5" fmla="*/ 3223858 w 3233383"/>
                  <a:gd name="connsiteY5" fmla="*/ 1866900 h 1866900"/>
                  <a:gd name="connsiteX6" fmla="*/ 3090508 w 3233383"/>
                  <a:gd name="connsiteY6" fmla="*/ 1847850 h 1866900"/>
                  <a:gd name="connsiteX7" fmla="*/ 2099908 w 3233383"/>
                  <a:gd name="connsiteY7" fmla="*/ 771525 h 1866900"/>
                  <a:gd name="connsiteX8" fmla="*/ 1099783 w 3233383"/>
                  <a:gd name="connsiteY8" fmla="*/ 571500 h 1866900"/>
                  <a:gd name="connsiteX0" fmla="*/ 1099783 w 3233383"/>
                  <a:gd name="connsiteY0" fmla="*/ 571500 h 1866900"/>
                  <a:gd name="connsiteX1" fmla="*/ 4408 w 3233383"/>
                  <a:gd name="connsiteY1" fmla="*/ 790575 h 1866900"/>
                  <a:gd name="connsiteX2" fmla="*/ 871183 w 3233383"/>
                  <a:gd name="connsiteY2" fmla="*/ 0 h 1866900"/>
                  <a:gd name="connsiteX3" fmla="*/ 2109433 w 3233383"/>
                  <a:gd name="connsiteY3" fmla="*/ 9525 h 1866900"/>
                  <a:gd name="connsiteX4" fmla="*/ 3233383 w 3233383"/>
                  <a:gd name="connsiteY4" fmla="*/ 476250 h 1866900"/>
                  <a:gd name="connsiteX5" fmla="*/ 3223858 w 3233383"/>
                  <a:gd name="connsiteY5" fmla="*/ 1866900 h 1866900"/>
                  <a:gd name="connsiteX6" fmla="*/ 3090508 w 3233383"/>
                  <a:gd name="connsiteY6" fmla="*/ 1847850 h 1866900"/>
                  <a:gd name="connsiteX7" fmla="*/ 2099908 w 3233383"/>
                  <a:gd name="connsiteY7" fmla="*/ 771525 h 1866900"/>
                  <a:gd name="connsiteX8" fmla="*/ 1099783 w 3233383"/>
                  <a:gd name="connsiteY8" fmla="*/ 571500 h 1866900"/>
                  <a:gd name="connsiteX0" fmla="*/ 1099427 w 3233027"/>
                  <a:gd name="connsiteY0" fmla="*/ 571500 h 1866900"/>
                  <a:gd name="connsiteX1" fmla="*/ 4052 w 3233027"/>
                  <a:gd name="connsiteY1" fmla="*/ 790575 h 1866900"/>
                  <a:gd name="connsiteX2" fmla="*/ 870827 w 3233027"/>
                  <a:gd name="connsiteY2" fmla="*/ 0 h 1866900"/>
                  <a:gd name="connsiteX3" fmla="*/ 2109077 w 3233027"/>
                  <a:gd name="connsiteY3" fmla="*/ 9525 h 1866900"/>
                  <a:gd name="connsiteX4" fmla="*/ 3233027 w 3233027"/>
                  <a:gd name="connsiteY4" fmla="*/ 476250 h 1866900"/>
                  <a:gd name="connsiteX5" fmla="*/ 3223502 w 3233027"/>
                  <a:gd name="connsiteY5" fmla="*/ 1866900 h 1866900"/>
                  <a:gd name="connsiteX6" fmla="*/ 3090152 w 3233027"/>
                  <a:gd name="connsiteY6" fmla="*/ 1847850 h 1866900"/>
                  <a:gd name="connsiteX7" fmla="*/ 2099552 w 3233027"/>
                  <a:gd name="connsiteY7" fmla="*/ 771525 h 1866900"/>
                  <a:gd name="connsiteX8" fmla="*/ 1099427 w 3233027"/>
                  <a:gd name="connsiteY8" fmla="*/ 571500 h 1866900"/>
                  <a:gd name="connsiteX0" fmla="*/ 1118366 w 3251966"/>
                  <a:gd name="connsiteY0" fmla="*/ 571500 h 1866900"/>
                  <a:gd name="connsiteX1" fmla="*/ 3941 w 3251966"/>
                  <a:gd name="connsiteY1" fmla="*/ 809625 h 1866900"/>
                  <a:gd name="connsiteX2" fmla="*/ 889766 w 3251966"/>
                  <a:gd name="connsiteY2" fmla="*/ 0 h 1866900"/>
                  <a:gd name="connsiteX3" fmla="*/ 2128016 w 3251966"/>
                  <a:gd name="connsiteY3" fmla="*/ 9525 h 1866900"/>
                  <a:gd name="connsiteX4" fmla="*/ 3251966 w 3251966"/>
                  <a:gd name="connsiteY4" fmla="*/ 476250 h 1866900"/>
                  <a:gd name="connsiteX5" fmla="*/ 3242441 w 3251966"/>
                  <a:gd name="connsiteY5" fmla="*/ 1866900 h 1866900"/>
                  <a:gd name="connsiteX6" fmla="*/ 3109091 w 3251966"/>
                  <a:gd name="connsiteY6" fmla="*/ 1847850 h 1866900"/>
                  <a:gd name="connsiteX7" fmla="*/ 2118491 w 3251966"/>
                  <a:gd name="connsiteY7" fmla="*/ 771525 h 1866900"/>
                  <a:gd name="connsiteX8" fmla="*/ 1118366 w 3251966"/>
                  <a:gd name="connsiteY8" fmla="*/ 571500 h 1866900"/>
                  <a:gd name="connsiteX0" fmla="*/ 1119025 w 3252625"/>
                  <a:gd name="connsiteY0" fmla="*/ 571500 h 1866900"/>
                  <a:gd name="connsiteX1" fmla="*/ 4600 w 3252625"/>
                  <a:gd name="connsiteY1" fmla="*/ 809625 h 1866900"/>
                  <a:gd name="connsiteX2" fmla="*/ 890425 w 3252625"/>
                  <a:gd name="connsiteY2" fmla="*/ 0 h 1866900"/>
                  <a:gd name="connsiteX3" fmla="*/ 2128675 w 3252625"/>
                  <a:gd name="connsiteY3" fmla="*/ 9525 h 1866900"/>
                  <a:gd name="connsiteX4" fmla="*/ 3252625 w 3252625"/>
                  <a:gd name="connsiteY4" fmla="*/ 476250 h 1866900"/>
                  <a:gd name="connsiteX5" fmla="*/ 3243100 w 3252625"/>
                  <a:gd name="connsiteY5" fmla="*/ 1866900 h 1866900"/>
                  <a:gd name="connsiteX6" fmla="*/ 3109750 w 3252625"/>
                  <a:gd name="connsiteY6" fmla="*/ 1847850 h 1866900"/>
                  <a:gd name="connsiteX7" fmla="*/ 2119150 w 3252625"/>
                  <a:gd name="connsiteY7" fmla="*/ 771525 h 1866900"/>
                  <a:gd name="connsiteX8" fmla="*/ 1119025 w 3252625"/>
                  <a:gd name="connsiteY8" fmla="*/ 571500 h 1866900"/>
                  <a:gd name="connsiteX0" fmla="*/ 1118146 w 3251746"/>
                  <a:gd name="connsiteY0" fmla="*/ 571500 h 1866900"/>
                  <a:gd name="connsiteX1" fmla="*/ 3721 w 3251746"/>
                  <a:gd name="connsiteY1" fmla="*/ 809625 h 1866900"/>
                  <a:gd name="connsiteX2" fmla="*/ 889546 w 3251746"/>
                  <a:gd name="connsiteY2" fmla="*/ 0 h 1866900"/>
                  <a:gd name="connsiteX3" fmla="*/ 2127796 w 3251746"/>
                  <a:gd name="connsiteY3" fmla="*/ 9525 h 1866900"/>
                  <a:gd name="connsiteX4" fmla="*/ 3251746 w 3251746"/>
                  <a:gd name="connsiteY4" fmla="*/ 476250 h 1866900"/>
                  <a:gd name="connsiteX5" fmla="*/ 3242221 w 3251746"/>
                  <a:gd name="connsiteY5" fmla="*/ 1866900 h 1866900"/>
                  <a:gd name="connsiteX6" fmla="*/ 3108871 w 3251746"/>
                  <a:gd name="connsiteY6" fmla="*/ 1847850 h 1866900"/>
                  <a:gd name="connsiteX7" fmla="*/ 2118271 w 3251746"/>
                  <a:gd name="connsiteY7" fmla="*/ 771525 h 1866900"/>
                  <a:gd name="connsiteX8" fmla="*/ 1118146 w 3251746"/>
                  <a:gd name="connsiteY8" fmla="*/ 571500 h 1866900"/>
                  <a:gd name="connsiteX0" fmla="*/ 1118146 w 3251746"/>
                  <a:gd name="connsiteY0" fmla="*/ 589645 h 1885045"/>
                  <a:gd name="connsiteX1" fmla="*/ 3721 w 3251746"/>
                  <a:gd name="connsiteY1" fmla="*/ 827770 h 1885045"/>
                  <a:gd name="connsiteX2" fmla="*/ 889546 w 3251746"/>
                  <a:gd name="connsiteY2" fmla="*/ 18145 h 1885045"/>
                  <a:gd name="connsiteX3" fmla="*/ 2127796 w 3251746"/>
                  <a:gd name="connsiteY3" fmla="*/ 27670 h 1885045"/>
                  <a:gd name="connsiteX4" fmla="*/ 3251746 w 3251746"/>
                  <a:gd name="connsiteY4" fmla="*/ 494395 h 1885045"/>
                  <a:gd name="connsiteX5" fmla="*/ 3242221 w 3251746"/>
                  <a:gd name="connsiteY5" fmla="*/ 1885045 h 1885045"/>
                  <a:gd name="connsiteX6" fmla="*/ 3108871 w 3251746"/>
                  <a:gd name="connsiteY6" fmla="*/ 1865995 h 1885045"/>
                  <a:gd name="connsiteX7" fmla="*/ 2118271 w 3251746"/>
                  <a:gd name="connsiteY7" fmla="*/ 789670 h 1885045"/>
                  <a:gd name="connsiteX8" fmla="*/ 1118146 w 3251746"/>
                  <a:gd name="connsiteY8" fmla="*/ 589645 h 1885045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108871 w 3251746"/>
                  <a:gd name="connsiteY6" fmla="*/ 188238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108871 w 3251746"/>
                  <a:gd name="connsiteY6" fmla="*/ 188238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108871 w 3251746"/>
                  <a:gd name="connsiteY6" fmla="*/ 188238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080296 w 3251746"/>
                  <a:gd name="connsiteY6" fmla="*/ 186333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080296 w 3251746"/>
                  <a:gd name="connsiteY6" fmla="*/ 186333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080296 w 3251746"/>
                  <a:gd name="connsiteY6" fmla="*/ 186333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080296 w 3251746"/>
                  <a:gd name="connsiteY6" fmla="*/ 186333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3080296 w 3251746"/>
                  <a:gd name="connsiteY6" fmla="*/ 1863337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2994571 w 3251746"/>
                  <a:gd name="connsiteY6" fmla="*/ 1777612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01437"/>
                  <a:gd name="connsiteX1" fmla="*/ 3721 w 3251746"/>
                  <a:gd name="connsiteY1" fmla="*/ 844162 h 1901437"/>
                  <a:gd name="connsiteX2" fmla="*/ 889546 w 3251746"/>
                  <a:gd name="connsiteY2" fmla="*/ 34537 h 1901437"/>
                  <a:gd name="connsiteX3" fmla="*/ 2127796 w 3251746"/>
                  <a:gd name="connsiteY3" fmla="*/ 44062 h 1901437"/>
                  <a:gd name="connsiteX4" fmla="*/ 3251746 w 3251746"/>
                  <a:gd name="connsiteY4" fmla="*/ 510787 h 1901437"/>
                  <a:gd name="connsiteX5" fmla="*/ 3242221 w 3251746"/>
                  <a:gd name="connsiteY5" fmla="*/ 1901437 h 1901437"/>
                  <a:gd name="connsiteX6" fmla="*/ 2994571 w 3251746"/>
                  <a:gd name="connsiteY6" fmla="*/ 1777612 h 1901437"/>
                  <a:gd name="connsiteX7" fmla="*/ 2118271 w 3251746"/>
                  <a:gd name="connsiteY7" fmla="*/ 806062 h 1901437"/>
                  <a:gd name="connsiteX8" fmla="*/ 1118146 w 3251746"/>
                  <a:gd name="connsiteY8" fmla="*/ 606037 h 1901437"/>
                  <a:gd name="connsiteX0" fmla="*/ 1118146 w 3251746"/>
                  <a:gd name="connsiteY0" fmla="*/ 606037 h 1921976"/>
                  <a:gd name="connsiteX1" fmla="*/ 3721 w 3251746"/>
                  <a:gd name="connsiteY1" fmla="*/ 844162 h 1921976"/>
                  <a:gd name="connsiteX2" fmla="*/ 889546 w 3251746"/>
                  <a:gd name="connsiteY2" fmla="*/ 34537 h 1921976"/>
                  <a:gd name="connsiteX3" fmla="*/ 2127796 w 3251746"/>
                  <a:gd name="connsiteY3" fmla="*/ 44062 h 1921976"/>
                  <a:gd name="connsiteX4" fmla="*/ 3251746 w 3251746"/>
                  <a:gd name="connsiteY4" fmla="*/ 510787 h 1921976"/>
                  <a:gd name="connsiteX5" fmla="*/ 3242221 w 3251746"/>
                  <a:gd name="connsiteY5" fmla="*/ 1901437 h 1921976"/>
                  <a:gd name="connsiteX6" fmla="*/ 2994571 w 3251746"/>
                  <a:gd name="connsiteY6" fmla="*/ 1777612 h 1921976"/>
                  <a:gd name="connsiteX7" fmla="*/ 2118271 w 3251746"/>
                  <a:gd name="connsiteY7" fmla="*/ 806062 h 1921976"/>
                  <a:gd name="connsiteX8" fmla="*/ 1118146 w 3251746"/>
                  <a:gd name="connsiteY8" fmla="*/ 606037 h 1921976"/>
                  <a:gd name="connsiteX0" fmla="*/ 1118146 w 3242221"/>
                  <a:gd name="connsiteY0" fmla="*/ 606037 h 1921976"/>
                  <a:gd name="connsiteX1" fmla="*/ 3721 w 3242221"/>
                  <a:gd name="connsiteY1" fmla="*/ 844162 h 1921976"/>
                  <a:gd name="connsiteX2" fmla="*/ 889546 w 3242221"/>
                  <a:gd name="connsiteY2" fmla="*/ 34537 h 1921976"/>
                  <a:gd name="connsiteX3" fmla="*/ 2127796 w 3242221"/>
                  <a:gd name="connsiteY3" fmla="*/ 44062 h 1921976"/>
                  <a:gd name="connsiteX4" fmla="*/ 3242221 w 3242221"/>
                  <a:gd name="connsiteY4" fmla="*/ 615562 h 1921976"/>
                  <a:gd name="connsiteX5" fmla="*/ 3242221 w 3242221"/>
                  <a:gd name="connsiteY5" fmla="*/ 1901437 h 1921976"/>
                  <a:gd name="connsiteX6" fmla="*/ 2994571 w 3242221"/>
                  <a:gd name="connsiteY6" fmla="*/ 1777612 h 1921976"/>
                  <a:gd name="connsiteX7" fmla="*/ 2118271 w 3242221"/>
                  <a:gd name="connsiteY7" fmla="*/ 806062 h 1921976"/>
                  <a:gd name="connsiteX8" fmla="*/ 1118146 w 3242221"/>
                  <a:gd name="connsiteY8" fmla="*/ 606037 h 1921976"/>
                  <a:gd name="connsiteX0" fmla="*/ 1118146 w 3242221"/>
                  <a:gd name="connsiteY0" fmla="*/ 606037 h 1921976"/>
                  <a:gd name="connsiteX1" fmla="*/ 3721 w 3242221"/>
                  <a:gd name="connsiteY1" fmla="*/ 844162 h 1921976"/>
                  <a:gd name="connsiteX2" fmla="*/ 889546 w 3242221"/>
                  <a:gd name="connsiteY2" fmla="*/ 34537 h 1921976"/>
                  <a:gd name="connsiteX3" fmla="*/ 2127796 w 3242221"/>
                  <a:gd name="connsiteY3" fmla="*/ 44062 h 1921976"/>
                  <a:gd name="connsiteX4" fmla="*/ 3242221 w 3242221"/>
                  <a:gd name="connsiteY4" fmla="*/ 615562 h 1921976"/>
                  <a:gd name="connsiteX5" fmla="*/ 3242221 w 3242221"/>
                  <a:gd name="connsiteY5" fmla="*/ 1901437 h 1921976"/>
                  <a:gd name="connsiteX6" fmla="*/ 2994571 w 3242221"/>
                  <a:gd name="connsiteY6" fmla="*/ 1777612 h 1921976"/>
                  <a:gd name="connsiteX7" fmla="*/ 2118271 w 3242221"/>
                  <a:gd name="connsiteY7" fmla="*/ 806062 h 1921976"/>
                  <a:gd name="connsiteX8" fmla="*/ 1118146 w 3242221"/>
                  <a:gd name="connsiteY8" fmla="*/ 606037 h 1921976"/>
                  <a:gd name="connsiteX0" fmla="*/ 1118146 w 3261271"/>
                  <a:gd name="connsiteY0" fmla="*/ 606037 h 1993269"/>
                  <a:gd name="connsiteX1" fmla="*/ 3721 w 3261271"/>
                  <a:gd name="connsiteY1" fmla="*/ 844162 h 1993269"/>
                  <a:gd name="connsiteX2" fmla="*/ 889546 w 3261271"/>
                  <a:gd name="connsiteY2" fmla="*/ 34537 h 1993269"/>
                  <a:gd name="connsiteX3" fmla="*/ 2127796 w 3261271"/>
                  <a:gd name="connsiteY3" fmla="*/ 44062 h 1993269"/>
                  <a:gd name="connsiteX4" fmla="*/ 3242221 w 3261271"/>
                  <a:gd name="connsiteY4" fmla="*/ 615562 h 1993269"/>
                  <a:gd name="connsiteX5" fmla="*/ 3261271 w 3261271"/>
                  <a:gd name="connsiteY5" fmla="*/ 1987162 h 1993269"/>
                  <a:gd name="connsiteX6" fmla="*/ 2994571 w 3261271"/>
                  <a:gd name="connsiteY6" fmla="*/ 1777612 h 1993269"/>
                  <a:gd name="connsiteX7" fmla="*/ 2118271 w 3261271"/>
                  <a:gd name="connsiteY7" fmla="*/ 806062 h 1993269"/>
                  <a:gd name="connsiteX8" fmla="*/ 1118146 w 3261271"/>
                  <a:gd name="connsiteY8" fmla="*/ 606037 h 199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61271" h="1993269">
                    <a:moveTo>
                      <a:pt x="1118146" y="606037"/>
                    </a:moveTo>
                    <a:cubicBezTo>
                      <a:pt x="816521" y="761612"/>
                      <a:pt x="308521" y="1206112"/>
                      <a:pt x="3721" y="844162"/>
                    </a:cubicBezTo>
                    <a:cubicBezTo>
                      <a:pt x="-62359" y="765692"/>
                      <a:pt x="772071" y="98037"/>
                      <a:pt x="889546" y="34537"/>
                    </a:cubicBezTo>
                    <a:cubicBezTo>
                      <a:pt x="1007021" y="-9913"/>
                      <a:pt x="2000796" y="-16263"/>
                      <a:pt x="2127796" y="44062"/>
                    </a:cubicBezTo>
                    <a:cubicBezTo>
                      <a:pt x="2616746" y="180587"/>
                      <a:pt x="2915196" y="345687"/>
                      <a:pt x="3242221" y="615562"/>
                    </a:cubicBezTo>
                    <a:lnTo>
                      <a:pt x="3261271" y="1987162"/>
                    </a:lnTo>
                    <a:cubicBezTo>
                      <a:pt x="3159671" y="2012562"/>
                      <a:pt x="3134271" y="1961762"/>
                      <a:pt x="2994571" y="1777612"/>
                    </a:cubicBezTo>
                    <a:cubicBezTo>
                      <a:pt x="2616746" y="1444237"/>
                      <a:pt x="2343696" y="1148962"/>
                      <a:pt x="2118271" y="806062"/>
                    </a:cubicBezTo>
                    <a:cubicBezTo>
                      <a:pt x="1756321" y="777487"/>
                      <a:pt x="1432471" y="720337"/>
                      <a:pt x="1118146" y="60603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sz="2701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2" name="Rounded Rectangle 4">
                <a:extLst>
                  <a:ext uri="{FF2B5EF4-FFF2-40B4-BE49-F238E27FC236}">
                    <a16:creationId xmlns:a16="http://schemas.microsoft.com/office/drawing/2014/main" xmlns="" id="{D948F58D-7A3F-496C-B748-4F21F850B5B6}"/>
                  </a:ext>
                </a:extLst>
              </p:cNvPr>
              <p:cNvSpPr/>
              <p:nvPr/>
            </p:nvSpPr>
            <p:spPr>
              <a:xfrm rot="2002203">
                <a:off x="2745022" y="3807001"/>
                <a:ext cx="339508" cy="61214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sz="2701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3" name="Rounded Rectangle 11">
                <a:extLst>
                  <a:ext uri="{FF2B5EF4-FFF2-40B4-BE49-F238E27FC236}">
                    <a16:creationId xmlns:a16="http://schemas.microsoft.com/office/drawing/2014/main" xmlns="" id="{99FF3699-F820-432F-917A-1FB584191E92}"/>
                  </a:ext>
                </a:extLst>
              </p:cNvPr>
              <p:cNvSpPr/>
              <p:nvPr/>
            </p:nvSpPr>
            <p:spPr>
              <a:xfrm rot="2002203">
                <a:off x="3276558" y="3627997"/>
                <a:ext cx="339508" cy="934693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sz="2701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4" name="Rounded Rectangle 12">
                <a:extLst>
                  <a:ext uri="{FF2B5EF4-FFF2-40B4-BE49-F238E27FC236}">
                    <a16:creationId xmlns:a16="http://schemas.microsoft.com/office/drawing/2014/main" xmlns="" id="{61CD1EDF-C78B-4746-9F73-70B45DC8102D}"/>
                  </a:ext>
                </a:extLst>
              </p:cNvPr>
              <p:cNvSpPr/>
              <p:nvPr/>
            </p:nvSpPr>
            <p:spPr>
              <a:xfrm rot="2002203">
                <a:off x="3656813" y="3935485"/>
                <a:ext cx="339508" cy="724313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sz="2701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15" name="Rounded Rectangle 13">
                <a:extLst>
                  <a:ext uri="{FF2B5EF4-FFF2-40B4-BE49-F238E27FC236}">
                    <a16:creationId xmlns:a16="http://schemas.microsoft.com/office/drawing/2014/main" xmlns="" id="{1796C64D-2B56-48C0-89A8-BEC4F854726E}"/>
                  </a:ext>
                </a:extLst>
              </p:cNvPr>
              <p:cNvSpPr/>
              <p:nvPr/>
            </p:nvSpPr>
            <p:spPr>
              <a:xfrm rot="2002203">
                <a:off x="4082895" y="4229792"/>
                <a:ext cx="339508" cy="567411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sz="2701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xmlns="" id="{028E4DB3-430A-4F48-8587-1A1314F50DE8}"/>
                </a:ext>
              </a:extLst>
            </p:cNvPr>
            <p:cNvSpPr/>
            <p:nvPr/>
          </p:nvSpPr>
          <p:spPr>
            <a:xfrm>
              <a:off x="2676526" y="2590800"/>
              <a:ext cx="3152217" cy="2284673"/>
            </a:xfrm>
            <a:custGeom>
              <a:avLst/>
              <a:gdLst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66688 w 3152217"/>
                <a:gd name="connsiteY20" fmla="*/ 1796050 h 2217998"/>
                <a:gd name="connsiteX21" fmla="*/ 1987859 w 3152217"/>
                <a:gd name="connsiteY21" fmla="*/ 1774879 h 2217998"/>
                <a:gd name="connsiteX22" fmla="*/ 2218760 w 3152217"/>
                <a:gd name="connsiteY22" fmla="*/ 2005781 h 2217998"/>
                <a:gd name="connsiteX23" fmla="*/ 2218760 w 3152217"/>
                <a:gd name="connsiteY23" fmla="*/ 2217998 h 2217998"/>
                <a:gd name="connsiteX24" fmla="*/ 2006543 w 3152217"/>
                <a:gd name="connsiteY24" fmla="*/ 2217998 h 2217998"/>
                <a:gd name="connsiteX25" fmla="*/ 1803401 w 3152217"/>
                <a:gd name="connsiteY25" fmla="*/ 2014854 h 2217998"/>
                <a:gd name="connsiteX26" fmla="*/ 1771650 w 3152217"/>
                <a:gd name="connsiteY26" fmla="*/ 2057400 h 2217998"/>
                <a:gd name="connsiteX27" fmla="*/ 1798691 w 3152217"/>
                <a:gd name="connsiteY27" fmla="*/ 2010144 h 2217998"/>
                <a:gd name="connsiteX28" fmla="*/ 1775643 w 3152217"/>
                <a:gd name="connsiteY28" fmla="*/ 1987096 h 2217998"/>
                <a:gd name="connsiteX29" fmla="*/ 1848068 w 3152217"/>
                <a:gd name="connsiteY29" fmla="*/ 1914670 h 2217998"/>
                <a:gd name="connsiteX30" fmla="*/ 1533525 w 3152217"/>
                <a:gd name="connsiteY30" fmla="*/ 1485900 h 2217998"/>
                <a:gd name="connsiteX31" fmla="*/ 1219200 w 3152217"/>
                <a:gd name="connsiteY31" fmla="*/ 1181100 h 2217998"/>
                <a:gd name="connsiteX32" fmla="*/ 571500 w 3152217"/>
                <a:gd name="connsiteY32" fmla="*/ 1295400 h 2217998"/>
                <a:gd name="connsiteX33" fmla="*/ 0 w 3152217"/>
                <a:gd name="connsiteY33" fmla="*/ 1266825 h 2217998"/>
                <a:gd name="connsiteX34" fmla="*/ 9525 w 3152217"/>
                <a:gd name="connsiteY34" fmla="*/ 28575 h 2217998"/>
                <a:gd name="connsiteX35" fmla="*/ 323850 w 3152217"/>
                <a:gd name="connsiteY35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66688 w 3152217"/>
                <a:gd name="connsiteY20" fmla="*/ 1796050 h 2217998"/>
                <a:gd name="connsiteX21" fmla="*/ 1987859 w 3152217"/>
                <a:gd name="connsiteY21" fmla="*/ 1774879 h 2217998"/>
                <a:gd name="connsiteX22" fmla="*/ 2218760 w 3152217"/>
                <a:gd name="connsiteY22" fmla="*/ 2005781 h 2217998"/>
                <a:gd name="connsiteX23" fmla="*/ 2218760 w 3152217"/>
                <a:gd name="connsiteY23" fmla="*/ 2217998 h 2217998"/>
                <a:gd name="connsiteX24" fmla="*/ 2006543 w 3152217"/>
                <a:gd name="connsiteY24" fmla="*/ 2217998 h 2217998"/>
                <a:gd name="connsiteX25" fmla="*/ 1803401 w 3152217"/>
                <a:gd name="connsiteY25" fmla="*/ 2014854 h 2217998"/>
                <a:gd name="connsiteX26" fmla="*/ 1771650 w 3152217"/>
                <a:gd name="connsiteY26" fmla="*/ 2057400 h 2217998"/>
                <a:gd name="connsiteX27" fmla="*/ 1798691 w 3152217"/>
                <a:gd name="connsiteY27" fmla="*/ 2010144 h 2217998"/>
                <a:gd name="connsiteX28" fmla="*/ 1775643 w 3152217"/>
                <a:gd name="connsiteY28" fmla="*/ 1987096 h 2217998"/>
                <a:gd name="connsiteX29" fmla="*/ 1848068 w 3152217"/>
                <a:gd name="connsiteY29" fmla="*/ 1914670 h 2217998"/>
                <a:gd name="connsiteX30" fmla="*/ 1533525 w 3152217"/>
                <a:gd name="connsiteY30" fmla="*/ 1485900 h 2217998"/>
                <a:gd name="connsiteX31" fmla="*/ 1219200 w 3152217"/>
                <a:gd name="connsiteY31" fmla="*/ 1181100 h 2217998"/>
                <a:gd name="connsiteX32" fmla="*/ 571500 w 3152217"/>
                <a:gd name="connsiteY32" fmla="*/ 1295400 h 2217998"/>
                <a:gd name="connsiteX33" fmla="*/ 0 w 3152217"/>
                <a:gd name="connsiteY33" fmla="*/ 1266825 h 2217998"/>
                <a:gd name="connsiteX34" fmla="*/ 9525 w 3152217"/>
                <a:gd name="connsiteY34" fmla="*/ 28575 h 2217998"/>
                <a:gd name="connsiteX35" fmla="*/ 323850 w 3152217"/>
                <a:gd name="connsiteY35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66688 w 3152217"/>
                <a:gd name="connsiteY20" fmla="*/ 1796050 h 2217998"/>
                <a:gd name="connsiteX21" fmla="*/ 1987859 w 3152217"/>
                <a:gd name="connsiteY21" fmla="*/ 1774879 h 2217998"/>
                <a:gd name="connsiteX22" fmla="*/ 2218760 w 3152217"/>
                <a:gd name="connsiteY22" fmla="*/ 2005781 h 2217998"/>
                <a:gd name="connsiteX23" fmla="*/ 2218760 w 3152217"/>
                <a:gd name="connsiteY23" fmla="*/ 2217998 h 2217998"/>
                <a:gd name="connsiteX24" fmla="*/ 2006543 w 3152217"/>
                <a:gd name="connsiteY24" fmla="*/ 2217998 h 2217998"/>
                <a:gd name="connsiteX25" fmla="*/ 1803401 w 3152217"/>
                <a:gd name="connsiteY25" fmla="*/ 2014854 h 2217998"/>
                <a:gd name="connsiteX26" fmla="*/ 1798691 w 3152217"/>
                <a:gd name="connsiteY26" fmla="*/ 2010144 h 2217998"/>
                <a:gd name="connsiteX27" fmla="*/ 1775643 w 3152217"/>
                <a:gd name="connsiteY27" fmla="*/ 1987096 h 2217998"/>
                <a:gd name="connsiteX28" fmla="*/ 1848068 w 3152217"/>
                <a:gd name="connsiteY28" fmla="*/ 1914670 h 2217998"/>
                <a:gd name="connsiteX29" fmla="*/ 1533525 w 3152217"/>
                <a:gd name="connsiteY29" fmla="*/ 1485900 h 2217998"/>
                <a:gd name="connsiteX30" fmla="*/ 1219200 w 3152217"/>
                <a:gd name="connsiteY30" fmla="*/ 1181100 h 2217998"/>
                <a:gd name="connsiteX31" fmla="*/ 571500 w 3152217"/>
                <a:gd name="connsiteY31" fmla="*/ 1295400 h 2217998"/>
                <a:gd name="connsiteX32" fmla="*/ 0 w 3152217"/>
                <a:gd name="connsiteY32" fmla="*/ 1266825 h 2217998"/>
                <a:gd name="connsiteX33" fmla="*/ 9525 w 3152217"/>
                <a:gd name="connsiteY33" fmla="*/ 28575 h 2217998"/>
                <a:gd name="connsiteX34" fmla="*/ 323850 w 3152217"/>
                <a:gd name="connsiteY34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66688 w 3152217"/>
                <a:gd name="connsiteY20" fmla="*/ 1796050 h 2217998"/>
                <a:gd name="connsiteX21" fmla="*/ 1987859 w 3152217"/>
                <a:gd name="connsiteY21" fmla="*/ 1774879 h 2217998"/>
                <a:gd name="connsiteX22" fmla="*/ 2218760 w 3152217"/>
                <a:gd name="connsiteY22" fmla="*/ 2005781 h 2217998"/>
                <a:gd name="connsiteX23" fmla="*/ 2218760 w 3152217"/>
                <a:gd name="connsiteY23" fmla="*/ 2217998 h 2217998"/>
                <a:gd name="connsiteX24" fmla="*/ 2006543 w 3152217"/>
                <a:gd name="connsiteY24" fmla="*/ 2217998 h 2217998"/>
                <a:gd name="connsiteX25" fmla="*/ 1798691 w 3152217"/>
                <a:gd name="connsiteY25" fmla="*/ 2010144 h 2217998"/>
                <a:gd name="connsiteX26" fmla="*/ 1775643 w 3152217"/>
                <a:gd name="connsiteY26" fmla="*/ 1987096 h 2217998"/>
                <a:gd name="connsiteX27" fmla="*/ 1848068 w 3152217"/>
                <a:gd name="connsiteY27" fmla="*/ 1914670 h 2217998"/>
                <a:gd name="connsiteX28" fmla="*/ 1533525 w 3152217"/>
                <a:gd name="connsiteY28" fmla="*/ 1485900 h 2217998"/>
                <a:gd name="connsiteX29" fmla="*/ 1219200 w 3152217"/>
                <a:gd name="connsiteY29" fmla="*/ 1181100 h 2217998"/>
                <a:gd name="connsiteX30" fmla="*/ 571500 w 3152217"/>
                <a:gd name="connsiteY30" fmla="*/ 1295400 h 2217998"/>
                <a:gd name="connsiteX31" fmla="*/ 0 w 3152217"/>
                <a:gd name="connsiteY31" fmla="*/ 1266825 h 2217998"/>
                <a:gd name="connsiteX32" fmla="*/ 9525 w 3152217"/>
                <a:gd name="connsiteY32" fmla="*/ 28575 h 2217998"/>
                <a:gd name="connsiteX33" fmla="*/ 323850 w 3152217"/>
                <a:gd name="connsiteY33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66688 w 3152217"/>
                <a:gd name="connsiteY20" fmla="*/ 1796050 h 2217998"/>
                <a:gd name="connsiteX21" fmla="*/ 1987859 w 3152217"/>
                <a:gd name="connsiteY21" fmla="*/ 1774879 h 2217998"/>
                <a:gd name="connsiteX22" fmla="*/ 2218760 w 3152217"/>
                <a:gd name="connsiteY22" fmla="*/ 2005781 h 2217998"/>
                <a:gd name="connsiteX23" fmla="*/ 2218760 w 3152217"/>
                <a:gd name="connsiteY23" fmla="*/ 2217998 h 2217998"/>
                <a:gd name="connsiteX24" fmla="*/ 2006543 w 3152217"/>
                <a:gd name="connsiteY24" fmla="*/ 2217998 h 2217998"/>
                <a:gd name="connsiteX25" fmla="*/ 1798691 w 3152217"/>
                <a:gd name="connsiteY25" fmla="*/ 2010144 h 2217998"/>
                <a:gd name="connsiteX26" fmla="*/ 1775643 w 3152217"/>
                <a:gd name="connsiteY26" fmla="*/ 1987096 h 2217998"/>
                <a:gd name="connsiteX27" fmla="*/ 1848068 w 3152217"/>
                <a:gd name="connsiteY27" fmla="*/ 1914670 h 2217998"/>
                <a:gd name="connsiteX28" fmla="*/ 1533525 w 3152217"/>
                <a:gd name="connsiteY28" fmla="*/ 1485900 h 2217998"/>
                <a:gd name="connsiteX29" fmla="*/ 1219200 w 3152217"/>
                <a:gd name="connsiteY29" fmla="*/ 1181100 h 2217998"/>
                <a:gd name="connsiteX30" fmla="*/ 571500 w 3152217"/>
                <a:gd name="connsiteY30" fmla="*/ 1295400 h 2217998"/>
                <a:gd name="connsiteX31" fmla="*/ 0 w 3152217"/>
                <a:gd name="connsiteY31" fmla="*/ 1266825 h 2217998"/>
                <a:gd name="connsiteX32" fmla="*/ 9525 w 3152217"/>
                <a:gd name="connsiteY32" fmla="*/ 28575 h 2217998"/>
                <a:gd name="connsiteX33" fmla="*/ 323850 w 3152217"/>
                <a:gd name="connsiteY33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8068 w 3152217"/>
                <a:gd name="connsiteY26" fmla="*/ 1914670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8068 w 3152217"/>
                <a:gd name="connsiteY26" fmla="*/ 1911865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8068 w 3152217"/>
                <a:gd name="connsiteY26" fmla="*/ 1911865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2458 w 3152217"/>
                <a:gd name="connsiteY26" fmla="*/ 1897840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2458 w 3152217"/>
                <a:gd name="connsiteY26" fmla="*/ 1897840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2458 w 3152217"/>
                <a:gd name="connsiteY26" fmla="*/ 1897840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2720489 w 3152217"/>
                <a:gd name="connsiteY5" fmla="*/ 785957 h 2217998"/>
                <a:gd name="connsiteX6" fmla="*/ 3152217 w 3152217"/>
                <a:gd name="connsiteY6" fmla="*/ 1217685 h 2217998"/>
                <a:gd name="connsiteX7" fmla="*/ 3152217 w 3152217"/>
                <a:gd name="connsiteY7" fmla="*/ 1429902 h 2217998"/>
                <a:gd name="connsiteX8" fmla="*/ 2940000 w 3152217"/>
                <a:gd name="connsiteY8" fmla="*/ 1429902 h 2217998"/>
                <a:gd name="connsiteX9" fmla="*/ 2539107 w 3152217"/>
                <a:gd name="connsiteY9" fmla="*/ 1029008 h 2217998"/>
                <a:gd name="connsiteX10" fmla="*/ 2474399 w 3152217"/>
                <a:gd name="connsiteY10" fmla="*/ 1115717 h 2217998"/>
                <a:gd name="connsiteX11" fmla="*/ 2907621 w 3152217"/>
                <a:gd name="connsiteY11" fmla="*/ 1548940 h 2217998"/>
                <a:gd name="connsiteX12" fmla="*/ 2907621 w 3152217"/>
                <a:gd name="connsiteY12" fmla="*/ 1761157 h 2217998"/>
                <a:gd name="connsiteX13" fmla="*/ 2695404 w 3152217"/>
                <a:gd name="connsiteY13" fmla="*/ 1761157 h 2217998"/>
                <a:gd name="connsiteX14" fmla="*/ 2293017 w 3152217"/>
                <a:gd name="connsiteY14" fmla="*/ 1358769 h 2217998"/>
                <a:gd name="connsiteX15" fmla="*/ 2228234 w 3152217"/>
                <a:gd name="connsiteY15" fmla="*/ 1445578 h 2217998"/>
                <a:gd name="connsiteX16" fmla="*/ 2648161 w 3152217"/>
                <a:gd name="connsiteY16" fmla="*/ 1865505 h 2217998"/>
                <a:gd name="connsiteX17" fmla="*/ 2648161 w 3152217"/>
                <a:gd name="connsiteY17" fmla="*/ 2077722 h 2217998"/>
                <a:gd name="connsiteX18" fmla="*/ 2435944 w 3152217"/>
                <a:gd name="connsiteY18" fmla="*/ 2077722 h 2217998"/>
                <a:gd name="connsiteX19" fmla="*/ 2046853 w 3152217"/>
                <a:gd name="connsiteY19" fmla="*/ 1688629 h 2217998"/>
                <a:gd name="connsiteX20" fmla="*/ 1987859 w 3152217"/>
                <a:gd name="connsiteY20" fmla="*/ 1774879 h 2217998"/>
                <a:gd name="connsiteX21" fmla="*/ 2218760 w 3152217"/>
                <a:gd name="connsiteY21" fmla="*/ 2005781 h 2217998"/>
                <a:gd name="connsiteX22" fmla="*/ 2218760 w 3152217"/>
                <a:gd name="connsiteY22" fmla="*/ 2217998 h 2217998"/>
                <a:gd name="connsiteX23" fmla="*/ 2006543 w 3152217"/>
                <a:gd name="connsiteY23" fmla="*/ 2217998 h 2217998"/>
                <a:gd name="connsiteX24" fmla="*/ 1798691 w 3152217"/>
                <a:gd name="connsiteY24" fmla="*/ 2010144 h 2217998"/>
                <a:gd name="connsiteX25" fmla="*/ 1775643 w 3152217"/>
                <a:gd name="connsiteY25" fmla="*/ 1987096 h 2217998"/>
                <a:gd name="connsiteX26" fmla="*/ 1842458 w 3152217"/>
                <a:gd name="connsiteY26" fmla="*/ 1897840 h 2217998"/>
                <a:gd name="connsiteX27" fmla="*/ 1533525 w 3152217"/>
                <a:gd name="connsiteY27" fmla="*/ 1485900 h 2217998"/>
                <a:gd name="connsiteX28" fmla="*/ 1219200 w 3152217"/>
                <a:gd name="connsiteY28" fmla="*/ 1181100 h 2217998"/>
                <a:gd name="connsiteX29" fmla="*/ 571500 w 3152217"/>
                <a:gd name="connsiteY29" fmla="*/ 1295400 h 2217998"/>
                <a:gd name="connsiteX30" fmla="*/ 0 w 3152217"/>
                <a:gd name="connsiteY30" fmla="*/ 1266825 h 2217998"/>
                <a:gd name="connsiteX31" fmla="*/ 9525 w 3152217"/>
                <a:gd name="connsiteY31" fmla="*/ 28575 h 2217998"/>
                <a:gd name="connsiteX32" fmla="*/ 323850 w 3152217"/>
                <a:gd name="connsiteY32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219325 w 3152217"/>
                <a:gd name="connsiteY3" fmla="*/ 295275 h 2217998"/>
                <a:gd name="connsiteX4" fmla="*/ 2724150 w 3152217"/>
                <a:gd name="connsiteY4" fmla="*/ 781050 h 2217998"/>
                <a:gd name="connsiteX5" fmla="*/ 3152217 w 3152217"/>
                <a:gd name="connsiteY5" fmla="*/ 1217685 h 2217998"/>
                <a:gd name="connsiteX6" fmla="*/ 3152217 w 3152217"/>
                <a:gd name="connsiteY6" fmla="*/ 1429902 h 2217998"/>
                <a:gd name="connsiteX7" fmla="*/ 2940000 w 3152217"/>
                <a:gd name="connsiteY7" fmla="*/ 1429902 h 2217998"/>
                <a:gd name="connsiteX8" fmla="*/ 2539107 w 3152217"/>
                <a:gd name="connsiteY8" fmla="*/ 1029008 h 2217998"/>
                <a:gd name="connsiteX9" fmla="*/ 2474399 w 3152217"/>
                <a:gd name="connsiteY9" fmla="*/ 1115717 h 2217998"/>
                <a:gd name="connsiteX10" fmla="*/ 2907621 w 3152217"/>
                <a:gd name="connsiteY10" fmla="*/ 1548940 h 2217998"/>
                <a:gd name="connsiteX11" fmla="*/ 2907621 w 3152217"/>
                <a:gd name="connsiteY11" fmla="*/ 1761157 h 2217998"/>
                <a:gd name="connsiteX12" fmla="*/ 2695404 w 3152217"/>
                <a:gd name="connsiteY12" fmla="*/ 1761157 h 2217998"/>
                <a:gd name="connsiteX13" fmla="*/ 2293017 w 3152217"/>
                <a:gd name="connsiteY13" fmla="*/ 1358769 h 2217998"/>
                <a:gd name="connsiteX14" fmla="*/ 2228234 w 3152217"/>
                <a:gd name="connsiteY14" fmla="*/ 1445578 h 2217998"/>
                <a:gd name="connsiteX15" fmla="*/ 2648161 w 3152217"/>
                <a:gd name="connsiteY15" fmla="*/ 1865505 h 2217998"/>
                <a:gd name="connsiteX16" fmla="*/ 2648161 w 3152217"/>
                <a:gd name="connsiteY16" fmla="*/ 2077722 h 2217998"/>
                <a:gd name="connsiteX17" fmla="*/ 2435944 w 3152217"/>
                <a:gd name="connsiteY17" fmla="*/ 2077722 h 2217998"/>
                <a:gd name="connsiteX18" fmla="*/ 2046853 w 3152217"/>
                <a:gd name="connsiteY18" fmla="*/ 1688629 h 2217998"/>
                <a:gd name="connsiteX19" fmla="*/ 1987859 w 3152217"/>
                <a:gd name="connsiteY19" fmla="*/ 1774879 h 2217998"/>
                <a:gd name="connsiteX20" fmla="*/ 2218760 w 3152217"/>
                <a:gd name="connsiteY20" fmla="*/ 2005781 h 2217998"/>
                <a:gd name="connsiteX21" fmla="*/ 2218760 w 3152217"/>
                <a:gd name="connsiteY21" fmla="*/ 2217998 h 2217998"/>
                <a:gd name="connsiteX22" fmla="*/ 2006543 w 3152217"/>
                <a:gd name="connsiteY22" fmla="*/ 2217998 h 2217998"/>
                <a:gd name="connsiteX23" fmla="*/ 1798691 w 3152217"/>
                <a:gd name="connsiteY23" fmla="*/ 2010144 h 2217998"/>
                <a:gd name="connsiteX24" fmla="*/ 1775643 w 3152217"/>
                <a:gd name="connsiteY24" fmla="*/ 1987096 h 2217998"/>
                <a:gd name="connsiteX25" fmla="*/ 1842458 w 3152217"/>
                <a:gd name="connsiteY25" fmla="*/ 1897840 h 2217998"/>
                <a:gd name="connsiteX26" fmla="*/ 1533525 w 3152217"/>
                <a:gd name="connsiteY26" fmla="*/ 1485900 h 2217998"/>
                <a:gd name="connsiteX27" fmla="*/ 1219200 w 3152217"/>
                <a:gd name="connsiteY27" fmla="*/ 1181100 h 2217998"/>
                <a:gd name="connsiteX28" fmla="*/ 571500 w 3152217"/>
                <a:gd name="connsiteY28" fmla="*/ 1295400 h 2217998"/>
                <a:gd name="connsiteX29" fmla="*/ 0 w 3152217"/>
                <a:gd name="connsiteY29" fmla="*/ 1266825 h 2217998"/>
                <a:gd name="connsiteX30" fmla="*/ 9525 w 3152217"/>
                <a:gd name="connsiteY30" fmla="*/ 28575 h 2217998"/>
                <a:gd name="connsiteX31" fmla="*/ 323850 w 3152217"/>
                <a:gd name="connsiteY31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314575 w 3152217"/>
                <a:gd name="connsiteY3" fmla="*/ 285750 h 2217998"/>
                <a:gd name="connsiteX4" fmla="*/ 2724150 w 3152217"/>
                <a:gd name="connsiteY4" fmla="*/ 781050 h 2217998"/>
                <a:gd name="connsiteX5" fmla="*/ 3152217 w 3152217"/>
                <a:gd name="connsiteY5" fmla="*/ 1217685 h 2217998"/>
                <a:gd name="connsiteX6" fmla="*/ 3152217 w 3152217"/>
                <a:gd name="connsiteY6" fmla="*/ 1429902 h 2217998"/>
                <a:gd name="connsiteX7" fmla="*/ 2940000 w 3152217"/>
                <a:gd name="connsiteY7" fmla="*/ 1429902 h 2217998"/>
                <a:gd name="connsiteX8" fmla="*/ 2539107 w 3152217"/>
                <a:gd name="connsiteY8" fmla="*/ 1029008 h 2217998"/>
                <a:gd name="connsiteX9" fmla="*/ 2474399 w 3152217"/>
                <a:gd name="connsiteY9" fmla="*/ 1115717 h 2217998"/>
                <a:gd name="connsiteX10" fmla="*/ 2907621 w 3152217"/>
                <a:gd name="connsiteY10" fmla="*/ 1548940 h 2217998"/>
                <a:gd name="connsiteX11" fmla="*/ 2907621 w 3152217"/>
                <a:gd name="connsiteY11" fmla="*/ 1761157 h 2217998"/>
                <a:gd name="connsiteX12" fmla="*/ 2695404 w 3152217"/>
                <a:gd name="connsiteY12" fmla="*/ 1761157 h 2217998"/>
                <a:gd name="connsiteX13" fmla="*/ 2293017 w 3152217"/>
                <a:gd name="connsiteY13" fmla="*/ 1358769 h 2217998"/>
                <a:gd name="connsiteX14" fmla="*/ 2228234 w 3152217"/>
                <a:gd name="connsiteY14" fmla="*/ 1445578 h 2217998"/>
                <a:gd name="connsiteX15" fmla="*/ 2648161 w 3152217"/>
                <a:gd name="connsiteY15" fmla="*/ 1865505 h 2217998"/>
                <a:gd name="connsiteX16" fmla="*/ 2648161 w 3152217"/>
                <a:gd name="connsiteY16" fmla="*/ 2077722 h 2217998"/>
                <a:gd name="connsiteX17" fmla="*/ 2435944 w 3152217"/>
                <a:gd name="connsiteY17" fmla="*/ 2077722 h 2217998"/>
                <a:gd name="connsiteX18" fmla="*/ 2046853 w 3152217"/>
                <a:gd name="connsiteY18" fmla="*/ 1688629 h 2217998"/>
                <a:gd name="connsiteX19" fmla="*/ 1987859 w 3152217"/>
                <a:gd name="connsiteY19" fmla="*/ 1774879 h 2217998"/>
                <a:gd name="connsiteX20" fmla="*/ 2218760 w 3152217"/>
                <a:gd name="connsiteY20" fmla="*/ 2005781 h 2217998"/>
                <a:gd name="connsiteX21" fmla="*/ 2218760 w 3152217"/>
                <a:gd name="connsiteY21" fmla="*/ 2217998 h 2217998"/>
                <a:gd name="connsiteX22" fmla="*/ 2006543 w 3152217"/>
                <a:gd name="connsiteY22" fmla="*/ 2217998 h 2217998"/>
                <a:gd name="connsiteX23" fmla="*/ 1798691 w 3152217"/>
                <a:gd name="connsiteY23" fmla="*/ 2010144 h 2217998"/>
                <a:gd name="connsiteX24" fmla="*/ 1775643 w 3152217"/>
                <a:gd name="connsiteY24" fmla="*/ 1987096 h 2217998"/>
                <a:gd name="connsiteX25" fmla="*/ 1842458 w 3152217"/>
                <a:gd name="connsiteY25" fmla="*/ 1897840 h 2217998"/>
                <a:gd name="connsiteX26" fmla="*/ 1533525 w 3152217"/>
                <a:gd name="connsiteY26" fmla="*/ 1485900 h 2217998"/>
                <a:gd name="connsiteX27" fmla="*/ 1219200 w 3152217"/>
                <a:gd name="connsiteY27" fmla="*/ 1181100 h 2217998"/>
                <a:gd name="connsiteX28" fmla="*/ 571500 w 3152217"/>
                <a:gd name="connsiteY28" fmla="*/ 1295400 h 2217998"/>
                <a:gd name="connsiteX29" fmla="*/ 0 w 3152217"/>
                <a:gd name="connsiteY29" fmla="*/ 1266825 h 2217998"/>
                <a:gd name="connsiteX30" fmla="*/ 9525 w 3152217"/>
                <a:gd name="connsiteY30" fmla="*/ 28575 h 2217998"/>
                <a:gd name="connsiteX31" fmla="*/ 323850 w 3152217"/>
                <a:gd name="connsiteY31" fmla="*/ 0 h 2217998"/>
                <a:gd name="connsiteX0" fmla="*/ 323850 w 3152217"/>
                <a:gd name="connsiteY0" fmla="*/ 0 h 2217998"/>
                <a:gd name="connsiteX1" fmla="*/ 95250 w 3152217"/>
                <a:gd name="connsiteY1" fmla="*/ 209550 h 2217998"/>
                <a:gd name="connsiteX2" fmla="*/ 1352550 w 3152217"/>
                <a:gd name="connsiteY2" fmla="*/ 85725 h 2217998"/>
                <a:gd name="connsiteX3" fmla="*/ 2314575 w 3152217"/>
                <a:gd name="connsiteY3" fmla="*/ 285750 h 2217998"/>
                <a:gd name="connsiteX4" fmla="*/ 2724150 w 3152217"/>
                <a:gd name="connsiteY4" fmla="*/ 781050 h 2217998"/>
                <a:gd name="connsiteX5" fmla="*/ 3152217 w 3152217"/>
                <a:gd name="connsiteY5" fmla="*/ 1217685 h 2217998"/>
                <a:gd name="connsiteX6" fmla="*/ 3152217 w 3152217"/>
                <a:gd name="connsiteY6" fmla="*/ 1429902 h 2217998"/>
                <a:gd name="connsiteX7" fmla="*/ 2940000 w 3152217"/>
                <a:gd name="connsiteY7" fmla="*/ 1429902 h 2217998"/>
                <a:gd name="connsiteX8" fmla="*/ 2539107 w 3152217"/>
                <a:gd name="connsiteY8" fmla="*/ 1029008 h 2217998"/>
                <a:gd name="connsiteX9" fmla="*/ 2474399 w 3152217"/>
                <a:gd name="connsiteY9" fmla="*/ 1115717 h 2217998"/>
                <a:gd name="connsiteX10" fmla="*/ 2907621 w 3152217"/>
                <a:gd name="connsiteY10" fmla="*/ 1548940 h 2217998"/>
                <a:gd name="connsiteX11" fmla="*/ 2907621 w 3152217"/>
                <a:gd name="connsiteY11" fmla="*/ 1761157 h 2217998"/>
                <a:gd name="connsiteX12" fmla="*/ 2695404 w 3152217"/>
                <a:gd name="connsiteY12" fmla="*/ 1761157 h 2217998"/>
                <a:gd name="connsiteX13" fmla="*/ 2293017 w 3152217"/>
                <a:gd name="connsiteY13" fmla="*/ 1358769 h 2217998"/>
                <a:gd name="connsiteX14" fmla="*/ 2228234 w 3152217"/>
                <a:gd name="connsiteY14" fmla="*/ 1445578 h 2217998"/>
                <a:gd name="connsiteX15" fmla="*/ 2648161 w 3152217"/>
                <a:gd name="connsiteY15" fmla="*/ 1865505 h 2217998"/>
                <a:gd name="connsiteX16" fmla="*/ 2648161 w 3152217"/>
                <a:gd name="connsiteY16" fmla="*/ 2077722 h 2217998"/>
                <a:gd name="connsiteX17" fmla="*/ 2435944 w 3152217"/>
                <a:gd name="connsiteY17" fmla="*/ 2077722 h 2217998"/>
                <a:gd name="connsiteX18" fmla="*/ 2046853 w 3152217"/>
                <a:gd name="connsiteY18" fmla="*/ 1688629 h 2217998"/>
                <a:gd name="connsiteX19" fmla="*/ 1987859 w 3152217"/>
                <a:gd name="connsiteY19" fmla="*/ 1774879 h 2217998"/>
                <a:gd name="connsiteX20" fmla="*/ 2218760 w 3152217"/>
                <a:gd name="connsiteY20" fmla="*/ 2005781 h 2217998"/>
                <a:gd name="connsiteX21" fmla="*/ 2218760 w 3152217"/>
                <a:gd name="connsiteY21" fmla="*/ 2217998 h 2217998"/>
                <a:gd name="connsiteX22" fmla="*/ 2006543 w 3152217"/>
                <a:gd name="connsiteY22" fmla="*/ 2217998 h 2217998"/>
                <a:gd name="connsiteX23" fmla="*/ 1798691 w 3152217"/>
                <a:gd name="connsiteY23" fmla="*/ 2010144 h 2217998"/>
                <a:gd name="connsiteX24" fmla="*/ 1775643 w 3152217"/>
                <a:gd name="connsiteY24" fmla="*/ 1987096 h 2217998"/>
                <a:gd name="connsiteX25" fmla="*/ 1842458 w 3152217"/>
                <a:gd name="connsiteY25" fmla="*/ 1897840 h 2217998"/>
                <a:gd name="connsiteX26" fmla="*/ 1533525 w 3152217"/>
                <a:gd name="connsiteY26" fmla="*/ 1485900 h 2217998"/>
                <a:gd name="connsiteX27" fmla="*/ 1219200 w 3152217"/>
                <a:gd name="connsiteY27" fmla="*/ 1181100 h 2217998"/>
                <a:gd name="connsiteX28" fmla="*/ 571500 w 3152217"/>
                <a:gd name="connsiteY28" fmla="*/ 1295400 h 2217998"/>
                <a:gd name="connsiteX29" fmla="*/ 0 w 3152217"/>
                <a:gd name="connsiteY29" fmla="*/ 1266825 h 2217998"/>
                <a:gd name="connsiteX30" fmla="*/ 9525 w 3152217"/>
                <a:gd name="connsiteY30" fmla="*/ 28575 h 2217998"/>
                <a:gd name="connsiteX31" fmla="*/ 323850 w 3152217"/>
                <a:gd name="connsiteY31" fmla="*/ 0 h 2217998"/>
                <a:gd name="connsiteX0" fmla="*/ 361950 w 3152217"/>
                <a:gd name="connsiteY0" fmla="*/ 0 h 2256098"/>
                <a:gd name="connsiteX1" fmla="*/ 95250 w 3152217"/>
                <a:gd name="connsiteY1" fmla="*/ 247650 h 2256098"/>
                <a:gd name="connsiteX2" fmla="*/ 1352550 w 3152217"/>
                <a:gd name="connsiteY2" fmla="*/ 123825 h 2256098"/>
                <a:gd name="connsiteX3" fmla="*/ 2314575 w 3152217"/>
                <a:gd name="connsiteY3" fmla="*/ 323850 h 2256098"/>
                <a:gd name="connsiteX4" fmla="*/ 2724150 w 3152217"/>
                <a:gd name="connsiteY4" fmla="*/ 819150 h 2256098"/>
                <a:gd name="connsiteX5" fmla="*/ 3152217 w 3152217"/>
                <a:gd name="connsiteY5" fmla="*/ 1255785 h 2256098"/>
                <a:gd name="connsiteX6" fmla="*/ 3152217 w 3152217"/>
                <a:gd name="connsiteY6" fmla="*/ 1468002 h 2256098"/>
                <a:gd name="connsiteX7" fmla="*/ 2940000 w 3152217"/>
                <a:gd name="connsiteY7" fmla="*/ 1468002 h 2256098"/>
                <a:gd name="connsiteX8" fmla="*/ 2539107 w 3152217"/>
                <a:gd name="connsiteY8" fmla="*/ 1067108 h 2256098"/>
                <a:gd name="connsiteX9" fmla="*/ 2474399 w 3152217"/>
                <a:gd name="connsiteY9" fmla="*/ 1153817 h 2256098"/>
                <a:gd name="connsiteX10" fmla="*/ 2907621 w 3152217"/>
                <a:gd name="connsiteY10" fmla="*/ 1587040 h 2256098"/>
                <a:gd name="connsiteX11" fmla="*/ 2907621 w 3152217"/>
                <a:gd name="connsiteY11" fmla="*/ 1799257 h 2256098"/>
                <a:gd name="connsiteX12" fmla="*/ 2695404 w 3152217"/>
                <a:gd name="connsiteY12" fmla="*/ 1799257 h 2256098"/>
                <a:gd name="connsiteX13" fmla="*/ 2293017 w 3152217"/>
                <a:gd name="connsiteY13" fmla="*/ 1396869 h 2256098"/>
                <a:gd name="connsiteX14" fmla="*/ 2228234 w 3152217"/>
                <a:gd name="connsiteY14" fmla="*/ 1483678 h 2256098"/>
                <a:gd name="connsiteX15" fmla="*/ 2648161 w 3152217"/>
                <a:gd name="connsiteY15" fmla="*/ 1903605 h 2256098"/>
                <a:gd name="connsiteX16" fmla="*/ 2648161 w 3152217"/>
                <a:gd name="connsiteY16" fmla="*/ 2115822 h 2256098"/>
                <a:gd name="connsiteX17" fmla="*/ 2435944 w 3152217"/>
                <a:gd name="connsiteY17" fmla="*/ 2115822 h 2256098"/>
                <a:gd name="connsiteX18" fmla="*/ 2046853 w 3152217"/>
                <a:gd name="connsiteY18" fmla="*/ 1726729 h 2256098"/>
                <a:gd name="connsiteX19" fmla="*/ 1987859 w 3152217"/>
                <a:gd name="connsiteY19" fmla="*/ 1812979 h 2256098"/>
                <a:gd name="connsiteX20" fmla="*/ 2218760 w 3152217"/>
                <a:gd name="connsiteY20" fmla="*/ 2043881 h 2256098"/>
                <a:gd name="connsiteX21" fmla="*/ 2218760 w 3152217"/>
                <a:gd name="connsiteY21" fmla="*/ 2256098 h 2256098"/>
                <a:gd name="connsiteX22" fmla="*/ 2006543 w 3152217"/>
                <a:gd name="connsiteY22" fmla="*/ 2256098 h 2256098"/>
                <a:gd name="connsiteX23" fmla="*/ 1798691 w 3152217"/>
                <a:gd name="connsiteY23" fmla="*/ 2048244 h 2256098"/>
                <a:gd name="connsiteX24" fmla="*/ 1775643 w 3152217"/>
                <a:gd name="connsiteY24" fmla="*/ 2025196 h 2256098"/>
                <a:gd name="connsiteX25" fmla="*/ 1842458 w 3152217"/>
                <a:gd name="connsiteY25" fmla="*/ 1935940 h 2256098"/>
                <a:gd name="connsiteX26" fmla="*/ 1533525 w 3152217"/>
                <a:gd name="connsiteY26" fmla="*/ 1524000 h 2256098"/>
                <a:gd name="connsiteX27" fmla="*/ 1219200 w 3152217"/>
                <a:gd name="connsiteY27" fmla="*/ 1219200 h 2256098"/>
                <a:gd name="connsiteX28" fmla="*/ 571500 w 3152217"/>
                <a:gd name="connsiteY28" fmla="*/ 1333500 h 2256098"/>
                <a:gd name="connsiteX29" fmla="*/ 0 w 3152217"/>
                <a:gd name="connsiteY29" fmla="*/ 1304925 h 2256098"/>
                <a:gd name="connsiteX30" fmla="*/ 9525 w 3152217"/>
                <a:gd name="connsiteY30" fmla="*/ 66675 h 2256098"/>
                <a:gd name="connsiteX31" fmla="*/ 361950 w 3152217"/>
                <a:gd name="connsiteY31" fmla="*/ 0 h 2256098"/>
                <a:gd name="connsiteX0" fmla="*/ 361950 w 3152217"/>
                <a:gd name="connsiteY0" fmla="*/ 9525 h 2265623"/>
                <a:gd name="connsiteX1" fmla="*/ 95250 w 3152217"/>
                <a:gd name="connsiteY1" fmla="*/ 257175 h 2265623"/>
                <a:gd name="connsiteX2" fmla="*/ 1352550 w 3152217"/>
                <a:gd name="connsiteY2" fmla="*/ 133350 h 2265623"/>
                <a:gd name="connsiteX3" fmla="*/ 2314575 w 3152217"/>
                <a:gd name="connsiteY3" fmla="*/ 333375 h 2265623"/>
                <a:gd name="connsiteX4" fmla="*/ 2724150 w 3152217"/>
                <a:gd name="connsiteY4" fmla="*/ 828675 h 2265623"/>
                <a:gd name="connsiteX5" fmla="*/ 3152217 w 3152217"/>
                <a:gd name="connsiteY5" fmla="*/ 1265310 h 2265623"/>
                <a:gd name="connsiteX6" fmla="*/ 3152217 w 3152217"/>
                <a:gd name="connsiteY6" fmla="*/ 1477527 h 2265623"/>
                <a:gd name="connsiteX7" fmla="*/ 2940000 w 3152217"/>
                <a:gd name="connsiteY7" fmla="*/ 1477527 h 2265623"/>
                <a:gd name="connsiteX8" fmla="*/ 2539107 w 3152217"/>
                <a:gd name="connsiteY8" fmla="*/ 1076633 h 2265623"/>
                <a:gd name="connsiteX9" fmla="*/ 2474399 w 3152217"/>
                <a:gd name="connsiteY9" fmla="*/ 1163342 h 2265623"/>
                <a:gd name="connsiteX10" fmla="*/ 2907621 w 3152217"/>
                <a:gd name="connsiteY10" fmla="*/ 1596565 h 2265623"/>
                <a:gd name="connsiteX11" fmla="*/ 2907621 w 3152217"/>
                <a:gd name="connsiteY11" fmla="*/ 1808782 h 2265623"/>
                <a:gd name="connsiteX12" fmla="*/ 2695404 w 3152217"/>
                <a:gd name="connsiteY12" fmla="*/ 1808782 h 2265623"/>
                <a:gd name="connsiteX13" fmla="*/ 2293017 w 3152217"/>
                <a:gd name="connsiteY13" fmla="*/ 1406394 h 2265623"/>
                <a:gd name="connsiteX14" fmla="*/ 2228234 w 3152217"/>
                <a:gd name="connsiteY14" fmla="*/ 1493203 h 2265623"/>
                <a:gd name="connsiteX15" fmla="*/ 2648161 w 3152217"/>
                <a:gd name="connsiteY15" fmla="*/ 1913130 h 2265623"/>
                <a:gd name="connsiteX16" fmla="*/ 2648161 w 3152217"/>
                <a:gd name="connsiteY16" fmla="*/ 2125347 h 2265623"/>
                <a:gd name="connsiteX17" fmla="*/ 2435944 w 3152217"/>
                <a:gd name="connsiteY17" fmla="*/ 2125347 h 2265623"/>
                <a:gd name="connsiteX18" fmla="*/ 2046853 w 3152217"/>
                <a:gd name="connsiteY18" fmla="*/ 1736254 h 2265623"/>
                <a:gd name="connsiteX19" fmla="*/ 1987859 w 3152217"/>
                <a:gd name="connsiteY19" fmla="*/ 1822504 h 2265623"/>
                <a:gd name="connsiteX20" fmla="*/ 2218760 w 3152217"/>
                <a:gd name="connsiteY20" fmla="*/ 2053406 h 2265623"/>
                <a:gd name="connsiteX21" fmla="*/ 2218760 w 3152217"/>
                <a:gd name="connsiteY21" fmla="*/ 2265623 h 2265623"/>
                <a:gd name="connsiteX22" fmla="*/ 2006543 w 3152217"/>
                <a:gd name="connsiteY22" fmla="*/ 2265623 h 2265623"/>
                <a:gd name="connsiteX23" fmla="*/ 1798691 w 3152217"/>
                <a:gd name="connsiteY23" fmla="*/ 2057769 h 2265623"/>
                <a:gd name="connsiteX24" fmla="*/ 1775643 w 3152217"/>
                <a:gd name="connsiteY24" fmla="*/ 2034721 h 2265623"/>
                <a:gd name="connsiteX25" fmla="*/ 1842458 w 3152217"/>
                <a:gd name="connsiteY25" fmla="*/ 1945465 h 2265623"/>
                <a:gd name="connsiteX26" fmla="*/ 1533525 w 3152217"/>
                <a:gd name="connsiteY26" fmla="*/ 1533525 h 2265623"/>
                <a:gd name="connsiteX27" fmla="*/ 1219200 w 3152217"/>
                <a:gd name="connsiteY27" fmla="*/ 1228725 h 2265623"/>
                <a:gd name="connsiteX28" fmla="*/ 571500 w 3152217"/>
                <a:gd name="connsiteY28" fmla="*/ 1343025 h 2265623"/>
                <a:gd name="connsiteX29" fmla="*/ 0 w 3152217"/>
                <a:gd name="connsiteY29" fmla="*/ 1314450 h 2265623"/>
                <a:gd name="connsiteX30" fmla="*/ 0 w 3152217"/>
                <a:gd name="connsiteY30" fmla="*/ 0 h 2265623"/>
                <a:gd name="connsiteX31" fmla="*/ 361950 w 3152217"/>
                <a:gd name="connsiteY31" fmla="*/ 9525 h 2265623"/>
                <a:gd name="connsiteX0" fmla="*/ 409575 w 3152217"/>
                <a:gd name="connsiteY0" fmla="*/ 9525 h 2265623"/>
                <a:gd name="connsiteX1" fmla="*/ 95250 w 3152217"/>
                <a:gd name="connsiteY1" fmla="*/ 257175 h 2265623"/>
                <a:gd name="connsiteX2" fmla="*/ 1352550 w 3152217"/>
                <a:gd name="connsiteY2" fmla="*/ 133350 h 2265623"/>
                <a:gd name="connsiteX3" fmla="*/ 2314575 w 3152217"/>
                <a:gd name="connsiteY3" fmla="*/ 333375 h 2265623"/>
                <a:gd name="connsiteX4" fmla="*/ 2724150 w 3152217"/>
                <a:gd name="connsiteY4" fmla="*/ 828675 h 2265623"/>
                <a:gd name="connsiteX5" fmla="*/ 3152217 w 3152217"/>
                <a:gd name="connsiteY5" fmla="*/ 1265310 h 2265623"/>
                <a:gd name="connsiteX6" fmla="*/ 3152217 w 3152217"/>
                <a:gd name="connsiteY6" fmla="*/ 1477527 h 2265623"/>
                <a:gd name="connsiteX7" fmla="*/ 2940000 w 3152217"/>
                <a:gd name="connsiteY7" fmla="*/ 1477527 h 2265623"/>
                <a:gd name="connsiteX8" fmla="*/ 2539107 w 3152217"/>
                <a:gd name="connsiteY8" fmla="*/ 1076633 h 2265623"/>
                <a:gd name="connsiteX9" fmla="*/ 2474399 w 3152217"/>
                <a:gd name="connsiteY9" fmla="*/ 1163342 h 2265623"/>
                <a:gd name="connsiteX10" fmla="*/ 2907621 w 3152217"/>
                <a:gd name="connsiteY10" fmla="*/ 1596565 h 2265623"/>
                <a:gd name="connsiteX11" fmla="*/ 2907621 w 3152217"/>
                <a:gd name="connsiteY11" fmla="*/ 1808782 h 2265623"/>
                <a:gd name="connsiteX12" fmla="*/ 2695404 w 3152217"/>
                <a:gd name="connsiteY12" fmla="*/ 1808782 h 2265623"/>
                <a:gd name="connsiteX13" fmla="*/ 2293017 w 3152217"/>
                <a:gd name="connsiteY13" fmla="*/ 1406394 h 2265623"/>
                <a:gd name="connsiteX14" fmla="*/ 2228234 w 3152217"/>
                <a:gd name="connsiteY14" fmla="*/ 1493203 h 2265623"/>
                <a:gd name="connsiteX15" fmla="*/ 2648161 w 3152217"/>
                <a:gd name="connsiteY15" fmla="*/ 1913130 h 2265623"/>
                <a:gd name="connsiteX16" fmla="*/ 2648161 w 3152217"/>
                <a:gd name="connsiteY16" fmla="*/ 2125347 h 2265623"/>
                <a:gd name="connsiteX17" fmla="*/ 2435944 w 3152217"/>
                <a:gd name="connsiteY17" fmla="*/ 2125347 h 2265623"/>
                <a:gd name="connsiteX18" fmla="*/ 2046853 w 3152217"/>
                <a:gd name="connsiteY18" fmla="*/ 1736254 h 2265623"/>
                <a:gd name="connsiteX19" fmla="*/ 1987859 w 3152217"/>
                <a:gd name="connsiteY19" fmla="*/ 1822504 h 2265623"/>
                <a:gd name="connsiteX20" fmla="*/ 2218760 w 3152217"/>
                <a:gd name="connsiteY20" fmla="*/ 2053406 h 2265623"/>
                <a:gd name="connsiteX21" fmla="*/ 2218760 w 3152217"/>
                <a:gd name="connsiteY21" fmla="*/ 2265623 h 2265623"/>
                <a:gd name="connsiteX22" fmla="*/ 2006543 w 3152217"/>
                <a:gd name="connsiteY22" fmla="*/ 2265623 h 2265623"/>
                <a:gd name="connsiteX23" fmla="*/ 1798691 w 3152217"/>
                <a:gd name="connsiteY23" fmla="*/ 2057769 h 2265623"/>
                <a:gd name="connsiteX24" fmla="*/ 1775643 w 3152217"/>
                <a:gd name="connsiteY24" fmla="*/ 2034721 h 2265623"/>
                <a:gd name="connsiteX25" fmla="*/ 1842458 w 3152217"/>
                <a:gd name="connsiteY25" fmla="*/ 1945465 h 2265623"/>
                <a:gd name="connsiteX26" fmla="*/ 1533525 w 3152217"/>
                <a:gd name="connsiteY26" fmla="*/ 1533525 h 2265623"/>
                <a:gd name="connsiteX27" fmla="*/ 1219200 w 3152217"/>
                <a:gd name="connsiteY27" fmla="*/ 1228725 h 2265623"/>
                <a:gd name="connsiteX28" fmla="*/ 571500 w 3152217"/>
                <a:gd name="connsiteY28" fmla="*/ 1343025 h 2265623"/>
                <a:gd name="connsiteX29" fmla="*/ 0 w 3152217"/>
                <a:gd name="connsiteY29" fmla="*/ 1314450 h 2265623"/>
                <a:gd name="connsiteX30" fmla="*/ 0 w 3152217"/>
                <a:gd name="connsiteY30" fmla="*/ 0 h 2265623"/>
                <a:gd name="connsiteX31" fmla="*/ 409575 w 3152217"/>
                <a:gd name="connsiteY31" fmla="*/ 9525 h 2265623"/>
                <a:gd name="connsiteX0" fmla="*/ 390525 w 3152217"/>
                <a:gd name="connsiteY0" fmla="*/ 9525 h 2265623"/>
                <a:gd name="connsiteX1" fmla="*/ 95250 w 3152217"/>
                <a:gd name="connsiteY1" fmla="*/ 257175 h 2265623"/>
                <a:gd name="connsiteX2" fmla="*/ 1352550 w 3152217"/>
                <a:gd name="connsiteY2" fmla="*/ 133350 h 2265623"/>
                <a:gd name="connsiteX3" fmla="*/ 2314575 w 3152217"/>
                <a:gd name="connsiteY3" fmla="*/ 333375 h 2265623"/>
                <a:gd name="connsiteX4" fmla="*/ 2724150 w 3152217"/>
                <a:gd name="connsiteY4" fmla="*/ 828675 h 2265623"/>
                <a:gd name="connsiteX5" fmla="*/ 3152217 w 3152217"/>
                <a:gd name="connsiteY5" fmla="*/ 1265310 h 2265623"/>
                <a:gd name="connsiteX6" fmla="*/ 3152217 w 3152217"/>
                <a:gd name="connsiteY6" fmla="*/ 1477527 h 2265623"/>
                <a:gd name="connsiteX7" fmla="*/ 2940000 w 3152217"/>
                <a:gd name="connsiteY7" fmla="*/ 1477527 h 2265623"/>
                <a:gd name="connsiteX8" fmla="*/ 2539107 w 3152217"/>
                <a:gd name="connsiteY8" fmla="*/ 1076633 h 2265623"/>
                <a:gd name="connsiteX9" fmla="*/ 2474399 w 3152217"/>
                <a:gd name="connsiteY9" fmla="*/ 1163342 h 2265623"/>
                <a:gd name="connsiteX10" fmla="*/ 2907621 w 3152217"/>
                <a:gd name="connsiteY10" fmla="*/ 1596565 h 2265623"/>
                <a:gd name="connsiteX11" fmla="*/ 2907621 w 3152217"/>
                <a:gd name="connsiteY11" fmla="*/ 1808782 h 2265623"/>
                <a:gd name="connsiteX12" fmla="*/ 2695404 w 3152217"/>
                <a:gd name="connsiteY12" fmla="*/ 1808782 h 2265623"/>
                <a:gd name="connsiteX13" fmla="*/ 2293017 w 3152217"/>
                <a:gd name="connsiteY13" fmla="*/ 1406394 h 2265623"/>
                <a:gd name="connsiteX14" fmla="*/ 2228234 w 3152217"/>
                <a:gd name="connsiteY14" fmla="*/ 1493203 h 2265623"/>
                <a:gd name="connsiteX15" fmla="*/ 2648161 w 3152217"/>
                <a:gd name="connsiteY15" fmla="*/ 1913130 h 2265623"/>
                <a:gd name="connsiteX16" fmla="*/ 2648161 w 3152217"/>
                <a:gd name="connsiteY16" fmla="*/ 2125347 h 2265623"/>
                <a:gd name="connsiteX17" fmla="*/ 2435944 w 3152217"/>
                <a:gd name="connsiteY17" fmla="*/ 2125347 h 2265623"/>
                <a:gd name="connsiteX18" fmla="*/ 2046853 w 3152217"/>
                <a:gd name="connsiteY18" fmla="*/ 1736254 h 2265623"/>
                <a:gd name="connsiteX19" fmla="*/ 1987859 w 3152217"/>
                <a:gd name="connsiteY19" fmla="*/ 1822504 h 2265623"/>
                <a:gd name="connsiteX20" fmla="*/ 2218760 w 3152217"/>
                <a:gd name="connsiteY20" fmla="*/ 2053406 h 2265623"/>
                <a:gd name="connsiteX21" fmla="*/ 2218760 w 3152217"/>
                <a:gd name="connsiteY21" fmla="*/ 2265623 h 2265623"/>
                <a:gd name="connsiteX22" fmla="*/ 2006543 w 3152217"/>
                <a:gd name="connsiteY22" fmla="*/ 2265623 h 2265623"/>
                <a:gd name="connsiteX23" fmla="*/ 1798691 w 3152217"/>
                <a:gd name="connsiteY23" fmla="*/ 2057769 h 2265623"/>
                <a:gd name="connsiteX24" fmla="*/ 1775643 w 3152217"/>
                <a:gd name="connsiteY24" fmla="*/ 2034721 h 2265623"/>
                <a:gd name="connsiteX25" fmla="*/ 1842458 w 3152217"/>
                <a:gd name="connsiteY25" fmla="*/ 1945465 h 2265623"/>
                <a:gd name="connsiteX26" fmla="*/ 1533525 w 3152217"/>
                <a:gd name="connsiteY26" fmla="*/ 1533525 h 2265623"/>
                <a:gd name="connsiteX27" fmla="*/ 1219200 w 3152217"/>
                <a:gd name="connsiteY27" fmla="*/ 1228725 h 2265623"/>
                <a:gd name="connsiteX28" fmla="*/ 571500 w 3152217"/>
                <a:gd name="connsiteY28" fmla="*/ 1343025 h 2265623"/>
                <a:gd name="connsiteX29" fmla="*/ 0 w 3152217"/>
                <a:gd name="connsiteY29" fmla="*/ 1314450 h 2265623"/>
                <a:gd name="connsiteX30" fmla="*/ 0 w 3152217"/>
                <a:gd name="connsiteY30" fmla="*/ 0 h 2265623"/>
                <a:gd name="connsiteX31" fmla="*/ 390525 w 3152217"/>
                <a:gd name="connsiteY31" fmla="*/ 9525 h 2265623"/>
                <a:gd name="connsiteX0" fmla="*/ 390525 w 3152217"/>
                <a:gd name="connsiteY0" fmla="*/ 24506 h 2280604"/>
                <a:gd name="connsiteX1" fmla="*/ 95250 w 3152217"/>
                <a:gd name="connsiteY1" fmla="*/ 272156 h 2280604"/>
                <a:gd name="connsiteX2" fmla="*/ 1352550 w 3152217"/>
                <a:gd name="connsiteY2" fmla="*/ 148331 h 2280604"/>
                <a:gd name="connsiteX3" fmla="*/ 2314575 w 3152217"/>
                <a:gd name="connsiteY3" fmla="*/ 348356 h 2280604"/>
                <a:gd name="connsiteX4" fmla="*/ 2724150 w 3152217"/>
                <a:gd name="connsiteY4" fmla="*/ 843656 h 2280604"/>
                <a:gd name="connsiteX5" fmla="*/ 3152217 w 3152217"/>
                <a:gd name="connsiteY5" fmla="*/ 1280291 h 2280604"/>
                <a:gd name="connsiteX6" fmla="*/ 3152217 w 3152217"/>
                <a:gd name="connsiteY6" fmla="*/ 1492508 h 2280604"/>
                <a:gd name="connsiteX7" fmla="*/ 2940000 w 3152217"/>
                <a:gd name="connsiteY7" fmla="*/ 1492508 h 2280604"/>
                <a:gd name="connsiteX8" fmla="*/ 2539107 w 3152217"/>
                <a:gd name="connsiteY8" fmla="*/ 1091614 h 2280604"/>
                <a:gd name="connsiteX9" fmla="*/ 2474399 w 3152217"/>
                <a:gd name="connsiteY9" fmla="*/ 1178323 h 2280604"/>
                <a:gd name="connsiteX10" fmla="*/ 2907621 w 3152217"/>
                <a:gd name="connsiteY10" fmla="*/ 1611546 h 2280604"/>
                <a:gd name="connsiteX11" fmla="*/ 2907621 w 3152217"/>
                <a:gd name="connsiteY11" fmla="*/ 1823763 h 2280604"/>
                <a:gd name="connsiteX12" fmla="*/ 2695404 w 3152217"/>
                <a:gd name="connsiteY12" fmla="*/ 1823763 h 2280604"/>
                <a:gd name="connsiteX13" fmla="*/ 2293017 w 3152217"/>
                <a:gd name="connsiteY13" fmla="*/ 1421375 h 2280604"/>
                <a:gd name="connsiteX14" fmla="*/ 2228234 w 3152217"/>
                <a:gd name="connsiteY14" fmla="*/ 1508184 h 2280604"/>
                <a:gd name="connsiteX15" fmla="*/ 2648161 w 3152217"/>
                <a:gd name="connsiteY15" fmla="*/ 1928111 h 2280604"/>
                <a:gd name="connsiteX16" fmla="*/ 2648161 w 3152217"/>
                <a:gd name="connsiteY16" fmla="*/ 2140328 h 2280604"/>
                <a:gd name="connsiteX17" fmla="*/ 2435944 w 3152217"/>
                <a:gd name="connsiteY17" fmla="*/ 2140328 h 2280604"/>
                <a:gd name="connsiteX18" fmla="*/ 2046853 w 3152217"/>
                <a:gd name="connsiteY18" fmla="*/ 1751235 h 2280604"/>
                <a:gd name="connsiteX19" fmla="*/ 1987859 w 3152217"/>
                <a:gd name="connsiteY19" fmla="*/ 1837485 h 2280604"/>
                <a:gd name="connsiteX20" fmla="*/ 2218760 w 3152217"/>
                <a:gd name="connsiteY20" fmla="*/ 2068387 h 2280604"/>
                <a:gd name="connsiteX21" fmla="*/ 2218760 w 3152217"/>
                <a:gd name="connsiteY21" fmla="*/ 2280604 h 2280604"/>
                <a:gd name="connsiteX22" fmla="*/ 2006543 w 3152217"/>
                <a:gd name="connsiteY22" fmla="*/ 2280604 h 2280604"/>
                <a:gd name="connsiteX23" fmla="*/ 1798691 w 3152217"/>
                <a:gd name="connsiteY23" fmla="*/ 2072750 h 2280604"/>
                <a:gd name="connsiteX24" fmla="*/ 1775643 w 3152217"/>
                <a:gd name="connsiteY24" fmla="*/ 2049702 h 2280604"/>
                <a:gd name="connsiteX25" fmla="*/ 1842458 w 3152217"/>
                <a:gd name="connsiteY25" fmla="*/ 1960446 h 2280604"/>
                <a:gd name="connsiteX26" fmla="*/ 1533525 w 3152217"/>
                <a:gd name="connsiteY26" fmla="*/ 1548506 h 2280604"/>
                <a:gd name="connsiteX27" fmla="*/ 1219200 w 3152217"/>
                <a:gd name="connsiteY27" fmla="*/ 1243706 h 2280604"/>
                <a:gd name="connsiteX28" fmla="*/ 571500 w 3152217"/>
                <a:gd name="connsiteY28" fmla="*/ 1358006 h 2280604"/>
                <a:gd name="connsiteX29" fmla="*/ 0 w 3152217"/>
                <a:gd name="connsiteY29" fmla="*/ 1329431 h 2280604"/>
                <a:gd name="connsiteX30" fmla="*/ 0 w 3152217"/>
                <a:gd name="connsiteY30" fmla="*/ 14981 h 2280604"/>
                <a:gd name="connsiteX31" fmla="*/ 390525 w 3152217"/>
                <a:gd name="connsiteY31" fmla="*/ 24506 h 2280604"/>
                <a:gd name="connsiteX0" fmla="*/ 390525 w 3152217"/>
                <a:gd name="connsiteY0" fmla="*/ 33386 h 2289484"/>
                <a:gd name="connsiteX1" fmla="*/ 95250 w 3152217"/>
                <a:gd name="connsiteY1" fmla="*/ 281036 h 2289484"/>
                <a:gd name="connsiteX2" fmla="*/ 1352550 w 3152217"/>
                <a:gd name="connsiteY2" fmla="*/ 157211 h 2289484"/>
                <a:gd name="connsiteX3" fmla="*/ 2314575 w 3152217"/>
                <a:gd name="connsiteY3" fmla="*/ 357236 h 2289484"/>
                <a:gd name="connsiteX4" fmla="*/ 2724150 w 3152217"/>
                <a:gd name="connsiteY4" fmla="*/ 852536 h 2289484"/>
                <a:gd name="connsiteX5" fmla="*/ 3152217 w 3152217"/>
                <a:gd name="connsiteY5" fmla="*/ 1289171 h 2289484"/>
                <a:gd name="connsiteX6" fmla="*/ 3152217 w 3152217"/>
                <a:gd name="connsiteY6" fmla="*/ 1501388 h 2289484"/>
                <a:gd name="connsiteX7" fmla="*/ 2940000 w 3152217"/>
                <a:gd name="connsiteY7" fmla="*/ 1501388 h 2289484"/>
                <a:gd name="connsiteX8" fmla="*/ 2539107 w 3152217"/>
                <a:gd name="connsiteY8" fmla="*/ 1100494 h 2289484"/>
                <a:gd name="connsiteX9" fmla="*/ 2474399 w 3152217"/>
                <a:gd name="connsiteY9" fmla="*/ 1187203 h 2289484"/>
                <a:gd name="connsiteX10" fmla="*/ 2907621 w 3152217"/>
                <a:gd name="connsiteY10" fmla="*/ 1620426 h 2289484"/>
                <a:gd name="connsiteX11" fmla="*/ 2907621 w 3152217"/>
                <a:gd name="connsiteY11" fmla="*/ 1832643 h 2289484"/>
                <a:gd name="connsiteX12" fmla="*/ 2695404 w 3152217"/>
                <a:gd name="connsiteY12" fmla="*/ 1832643 h 2289484"/>
                <a:gd name="connsiteX13" fmla="*/ 2293017 w 3152217"/>
                <a:gd name="connsiteY13" fmla="*/ 1430255 h 2289484"/>
                <a:gd name="connsiteX14" fmla="*/ 2228234 w 3152217"/>
                <a:gd name="connsiteY14" fmla="*/ 1517064 h 2289484"/>
                <a:gd name="connsiteX15" fmla="*/ 2648161 w 3152217"/>
                <a:gd name="connsiteY15" fmla="*/ 1936991 h 2289484"/>
                <a:gd name="connsiteX16" fmla="*/ 2648161 w 3152217"/>
                <a:gd name="connsiteY16" fmla="*/ 2149208 h 2289484"/>
                <a:gd name="connsiteX17" fmla="*/ 2435944 w 3152217"/>
                <a:gd name="connsiteY17" fmla="*/ 2149208 h 2289484"/>
                <a:gd name="connsiteX18" fmla="*/ 2046853 w 3152217"/>
                <a:gd name="connsiteY18" fmla="*/ 1760115 h 2289484"/>
                <a:gd name="connsiteX19" fmla="*/ 1987859 w 3152217"/>
                <a:gd name="connsiteY19" fmla="*/ 1846365 h 2289484"/>
                <a:gd name="connsiteX20" fmla="*/ 2218760 w 3152217"/>
                <a:gd name="connsiteY20" fmla="*/ 2077267 h 2289484"/>
                <a:gd name="connsiteX21" fmla="*/ 2218760 w 3152217"/>
                <a:gd name="connsiteY21" fmla="*/ 2289484 h 2289484"/>
                <a:gd name="connsiteX22" fmla="*/ 2006543 w 3152217"/>
                <a:gd name="connsiteY22" fmla="*/ 2289484 h 2289484"/>
                <a:gd name="connsiteX23" fmla="*/ 1798691 w 3152217"/>
                <a:gd name="connsiteY23" fmla="*/ 2081630 h 2289484"/>
                <a:gd name="connsiteX24" fmla="*/ 1775643 w 3152217"/>
                <a:gd name="connsiteY24" fmla="*/ 2058582 h 2289484"/>
                <a:gd name="connsiteX25" fmla="*/ 1842458 w 3152217"/>
                <a:gd name="connsiteY25" fmla="*/ 1969326 h 2289484"/>
                <a:gd name="connsiteX26" fmla="*/ 1533525 w 3152217"/>
                <a:gd name="connsiteY26" fmla="*/ 1557386 h 2289484"/>
                <a:gd name="connsiteX27" fmla="*/ 1219200 w 3152217"/>
                <a:gd name="connsiteY27" fmla="*/ 1252586 h 2289484"/>
                <a:gd name="connsiteX28" fmla="*/ 571500 w 3152217"/>
                <a:gd name="connsiteY28" fmla="*/ 1366886 h 2289484"/>
                <a:gd name="connsiteX29" fmla="*/ 0 w 3152217"/>
                <a:gd name="connsiteY29" fmla="*/ 1338311 h 2289484"/>
                <a:gd name="connsiteX30" fmla="*/ 0 w 3152217"/>
                <a:gd name="connsiteY30" fmla="*/ 23861 h 2289484"/>
                <a:gd name="connsiteX31" fmla="*/ 390525 w 3152217"/>
                <a:gd name="connsiteY31" fmla="*/ 33386 h 2289484"/>
                <a:gd name="connsiteX0" fmla="*/ 390525 w 3152217"/>
                <a:gd name="connsiteY0" fmla="*/ 24507 h 2280605"/>
                <a:gd name="connsiteX1" fmla="*/ 95250 w 3152217"/>
                <a:gd name="connsiteY1" fmla="*/ 272157 h 2280605"/>
                <a:gd name="connsiteX2" fmla="*/ 1352550 w 3152217"/>
                <a:gd name="connsiteY2" fmla="*/ 148332 h 2280605"/>
                <a:gd name="connsiteX3" fmla="*/ 2314575 w 3152217"/>
                <a:gd name="connsiteY3" fmla="*/ 348357 h 2280605"/>
                <a:gd name="connsiteX4" fmla="*/ 2724150 w 3152217"/>
                <a:gd name="connsiteY4" fmla="*/ 843657 h 2280605"/>
                <a:gd name="connsiteX5" fmla="*/ 3152217 w 3152217"/>
                <a:gd name="connsiteY5" fmla="*/ 1280292 h 2280605"/>
                <a:gd name="connsiteX6" fmla="*/ 3152217 w 3152217"/>
                <a:gd name="connsiteY6" fmla="*/ 1492509 h 2280605"/>
                <a:gd name="connsiteX7" fmla="*/ 2940000 w 3152217"/>
                <a:gd name="connsiteY7" fmla="*/ 1492509 h 2280605"/>
                <a:gd name="connsiteX8" fmla="*/ 2539107 w 3152217"/>
                <a:gd name="connsiteY8" fmla="*/ 1091615 h 2280605"/>
                <a:gd name="connsiteX9" fmla="*/ 2474399 w 3152217"/>
                <a:gd name="connsiteY9" fmla="*/ 1178324 h 2280605"/>
                <a:gd name="connsiteX10" fmla="*/ 2907621 w 3152217"/>
                <a:gd name="connsiteY10" fmla="*/ 1611547 h 2280605"/>
                <a:gd name="connsiteX11" fmla="*/ 2907621 w 3152217"/>
                <a:gd name="connsiteY11" fmla="*/ 1823764 h 2280605"/>
                <a:gd name="connsiteX12" fmla="*/ 2695404 w 3152217"/>
                <a:gd name="connsiteY12" fmla="*/ 1823764 h 2280605"/>
                <a:gd name="connsiteX13" fmla="*/ 2293017 w 3152217"/>
                <a:gd name="connsiteY13" fmla="*/ 1421376 h 2280605"/>
                <a:gd name="connsiteX14" fmla="*/ 2228234 w 3152217"/>
                <a:gd name="connsiteY14" fmla="*/ 1508185 h 2280605"/>
                <a:gd name="connsiteX15" fmla="*/ 2648161 w 3152217"/>
                <a:gd name="connsiteY15" fmla="*/ 1928112 h 2280605"/>
                <a:gd name="connsiteX16" fmla="*/ 2648161 w 3152217"/>
                <a:gd name="connsiteY16" fmla="*/ 2140329 h 2280605"/>
                <a:gd name="connsiteX17" fmla="*/ 2435944 w 3152217"/>
                <a:gd name="connsiteY17" fmla="*/ 2140329 h 2280605"/>
                <a:gd name="connsiteX18" fmla="*/ 2046853 w 3152217"/>
                <a:gd name="connsiteY18" fmla="*/ 1751236 h 2280605"/>
                <a:gd name="connsiteX19" fmla="*/ 1987859 w 3152217"/>
                <a:gd name="connsiteY19" fmla="*/ 1837486 h 2280605"/>
                <a:gd name="connsiteX20" fmla="*/ 2218760 w 3152217"/>
                <a:gd name="connsiteY20" fmla="*/ 2068388 h 2280605"/>
                <a:gd name="connsiteX21" fmla="*/ 2218760 w 3152217"/>
                <a:gd name="connsiteY21" fmla="*/ 2280605 h 2280605"/>
                <a:gd name="connsiteX22" fmla="*/ 2006543 w 3152217"/>
                <a:gd name="connsiteY22" fmla="*/ 2280605 h 2280605"/>
                <a:gd name="connsiteX23" fmla="*/ 1798691 w 3152217"/>
                <a:gd name="connsiteY23" fmla="*/ 2072751 h 2280605"/>
                <a:gd name="connsiteX24" fmla="*/ 1775643 w 3152217"/>
                <a:gd name="connsiteY24" fmla="*/ 2049703 h 2280605"/>
                <a:gd name="connsiteX25" fmla="*/ 1842458 w 3152217"/>
                <a:gd name="connsiteY25" fmla="*/ 1960447 h 2280605"/>
                <a:gd name="connsiteX26" fmla="*/ 1533525 w 3152217"/>
                <a:gd name="connsiteY26" fmla="*/ 1548507 h 2280605"/>
                <a:gd name="connsiteX27" fmla="*/ 1219200 w 3152217"/>
                <a:gd name="connsiteY27" fmla="*/ 1243707 h 2280605"/>
                <a:gd name="connsiteX28" fmla="*/ 571500 w 3152217"/>
                <a:gd name="connsiteY28" fmla="*/ 1358007 h 2280605"/>
                <a:gd name="connsiteX29" fmla="*/ 0 w 3152217"/>
                <a:gd name="connsiteY29" fmla="*/ 1329432 h 2280605"/>
                <a:gd name="connsiteX30" fmla="*/ 0 w 3152217"/>
                <a:gd name="connsiteY30" fmla="*/ 14982 h 2280605"/>
                <a:gd name="connsiteX31" fmla="*/ 390525 w 3152217"/>
                <a:gd name="connsiteY31" fmla="*/ 24507 h 2280605"/>
                <a:gd name="connsiteX0" fmla="*/ 390525 w 3152217"/>
                <a:gd name="connsiteY0" fmla="*/ 9525 h 2265623"/>
                <a:gd name="connsiteX1" fmla="*/ 95250 w 3152217"/>
                <a:gd name="connsiteY1" fmla="*/ 257175 h 2265623"/>
                <a:gd name="connsiteX2" fmla="*/ 1352550 w 3152217"/>
                <a:gd name="connsiteY2" fmla="*/ 133350 h 2265623"/>
                <a:gd name="connsiteX3" fmla="*/ 2314575 w 3152217"/>
                <a:gd name="connsiteY3" fmla="*/ 333375 h 2265623"/>
                <a:gd name="connsiteX4" fmla="*/ 2724150 w 3152217"/>
                <a:gd name="connsiteY4" fmla="*/ 828675 h 2265623"/>
                <a:gd name="connsiteX5" fmla="*/ 3152217 w 3152217"/>
                <a:gd name="connsiteY5" fmla="*/ 1265310 h 2265623"/>
                <a:gd name="connsiteX6" fmla="*/ 3152217 w 3152217"/>
                <a:gd name="connsiteY6" fmla="*/ 1477527 h 2265623"/>
                <a:gd name="connsiteX7" fmla="*/ 2940000 w 3152217"/>
                <a:gd name="connsiteY7" fmla="*/ 1477527 h 2265623"/>
                <a:gd name="connsiteX8" fmla="*/ 2539107 w 3152217"/>
                <a:gd name="connsiteY8" fmla="*/ 1076633 h 2265623"/>
                <a:gd name="connsiteX9" fmla="*/ 2474399 w 3152217"/>
                <a:gd name="connsiteY9" fmla="*/ 1163342 h 2265623"/>
                <a:gd name="connsiteX10" fmla="*/ 2907621 w 3152217"/>
                <a:gd name="connsiteY10" fmla="*/ 1596565 h 2265623"/>
                <a:gd name="connsiteX11" fmla="*/ 2907621 w 3152217"/>
                <a:gd name="connsiteY11" fmla="*/ 1808782 h 2265623"/>
                <a:gd name="connsiteX12" fmla="*/ 2695404 w 3152217"/>
                <a:gd name="connsiteY12" fmla="*/ 1808782 h 2265623"/>
                <a:gd name="connsiteX13" fmla="*/ 2293017 w 3152217"/>
                <a:gd name="connsiteY13" fmla="*/ 1406394 h 2265623"/>
                <a:gd name="connsiteX14" fmla="*/ 2228234 w 3152217"/>
                <a:gd name="connsiteY14" fmla="*/ 1493203 h 2265623"/>
                <a:gd name="connsiteX15" fmla="*/ 2648161 w 3152217"/>
                <a:gd name="connsiteY15" fmla="*/ 1913130 h 2265623"/>
                <a:gd name="connsiteX16" fmla="*/ 2648161 w 3152217"/>
                <a:gd name="connsiteY16" fmla="*/ 2125347 h 2265623"/>
                <a:gd name="connsiteX17" fmla="*/ 2435944 w 3152217"/>
                <a:gd name="connsiteY17" fmla="*/ 2125347 h 2265623"/>
                <a:gd name="connsiteX18" fmla="*/ 2046853 w 3152217"/>
                <a:gd name="connsiteY18" fmla="*/ 1736254 h 2265623"/>
                <a:gd name="connsiteX19" fmla="*/ 1987859 w 3152217"/>
                <a:gd name="connsiteY19" fmla="*/ 1822504 h 2265623"/>
                <a:gd name="connsiteX20" fmla="*/ 2218760 w 3152217"/>
                <a:gd name="connsiteY20" fmla="*/ 2053406 h 2265623"/>
                <a:gd name="connsiteX21" fmla="*/ 2218760 w 3152217"/>
                <a:gd name="connsiteY21" fmla="*/ 2265623 h 2265623"/>
                <a:gd name="connsiteX22" fmla="*/ 2006543 w 3152217"/>
                <a:gd name="connsiteY22" fmla="*/ 2265623 h 2265623"/>
                <a:gd name="connsiteX23" fmla="*/ 1798691 w 3152217"/>
                <a:gd name="connsiteY23" fmla="*/ 2057769 h 2265623"/>
                <a:gd name="connsiteX24" fmla="*/ 1775643 w 3152217"/>
                <a:gd name="connsiteY24" fmla="*/ 2034721 h 2265623"/>
                <a:gd name="connsiteX25" fmla="*/ 1842458 w 3152217"/>
                <a:gd name="connsiteY25" fmla="*/ 1945465 h 2265623"/>
                <a:gd name="connsiteX26" fmla="*/ 1533525 w 3152217"/>
                <a:gd name="connsiteY26" fmla="*/ 1533525 h 2265623"/>
                <a:gd name="connsiteX27" fmla="*/ 1219200 w 3152217"/>
                <a:gd name="connsiteY27" fmla="*/ 1228725 h 2265623"/>
                <a:gd name="connsiteX28" fmla="*/ 571500 w 3152217"/>
                <a:gd name="connsiteY28" fmla="*/ 1343025 h 2265623"/>
                <a:gd name="connsiteX29" fmla="*/ 0 w 3152217"/>
                <a:gd name="connsiteY29" fmla="*/ 1314450 h 2265623"/>
                <a:gd name="connsiteX30" fmla="*/ 0 w 3152217"/>
                <a:gd name="connsiteY30" fmla="*/ 0 h 2265623"/>
                <a:gd name="connsiteX31" fmla="*/ 390525 w 3152217"/>
                <a:gd name="connsiteY31" fmla="*/ 9525 h 2265623"/>
                <a:gd name="connsiteX0" fmla="*/ 390525 w 3152217"/>
                <a:gd name="connsiteY0" fmla="*/ 9525 h 2265623"/>
                <a:gd name="connsiteX1" fmla="*/ 95250 w 3152217"/>
                <a:gd name="connsiteY1" fmla="*/ 257175 h 2265623"/>
                <a:gd name="connsiteX2" fmla="*/ 1352550 w 3152217"/>
                <a:gd name="connsiteY2" fmla="*/ 133350 h 2265623"/>
                <a:gd name="connsiteX3" fmla="*/ 2314575 w 3152217"/>
                <a:gd name="connsiteY3" fmla="*/ 333375 h 2265623"/>
                <a:gd name="connsiteX4" fmla="*/ 2724150 w 3152217"/>
                <a:gd name="connsiteY4" fmla="*/ 828675 h 2265623"/>
                <a:gd name="connsiteX5" fmla="*/ 3152217 w 3152217"/>
                <a:gd name="connsiteY5" fmla="*/ 1265310 h 2265623"/>
                <a:gd name="connsiteX6" fmla="*/ 3152217 w 3152217"/>
                <a:gd name="connsiteY6" fmla="*/ 1477527 h 2265623"/>
                <a:gd name="connsiteX7" fmla="*/ 2940000 w 3152217"/>
                <a:gd name="connsiteY7" fmla="*/ 1477527 h 2265623"/>
                <a:gd name="connsiteX8" fmla="*/ 2539107 w 3152217"/>
                <a:gd name="connsiteY8" fmla="*/ 1076633 h 2265623"/>
                <a:gd name="connsiteX9" fmla="*/ 2474399 w 3152217"/>
                <a:gd name="connsiteY9" fmla="*/ 1163342 h 2265623"/>
                <a:gd name="connsiteX10" fmla="*/ 2907621 w 3152217"/>
                <a:gd name="connsiteY10" fmla="*/ 1596565 h 2265623"/>
                <a:gd name="connsiteX11" fmla="*/ 2907621 w 3152217"/>
                <a:gd name="connsiteY11" fmla="*/ 1808782 h 2265623"/>
                <a:gd name="connsiteX12" fmla="*/ 2695404 w 3152217"/>
                <a:gd name="connsiteY12" fmla="*/ 1808782 h 2265623"/>
                <a:gd name="connsiteX13" fmla="*/ 2293017 w 3152217"/>
                <a:gd name="connsiteY13" fmla="*/ 1406394 h 2265623"/>
                <a:gd name="connsiteX14" fmla="*/ 2228234 w 3152217"/>
                <a:gd name="connsiteY14" fmla="*/ 1493203 h 2265623"/>
                <a:gd name="connsiteX15" fmla="*/ 2648161 w 3152217"/>
                <a:gd name="connsiteY15" fmla="*/ 1913130 h 2265623"/>
                <a:gd name="connsiteX16" fmla="*/ 2648161 w 3152217"/>
                <a:gd name="connsiteY16" fmla="*/ 2125347 h 2265623"/>
                <a:gd name="connsiteX17" fmla="*/ 2435944 w 3152217"/>
                <a:gd name="connsiteY17" fmla="*/ 2125347 h 2265623"/>
                <a:gd name="connsiteX18" fmla="*/ 2046853 w 3152217"/>
                <a:gd name="connsiteY18" fmla="*/ 1736254 h 2265623"/>
                <a:gd name="connsiteX19" fmla="*/ 1987859 w 3152217"/>
                <a:gd name="connsiteY19" fmla="*/ 1822504 h 2265623"/>
                <a:gd name="connsiteX20" fmla="*/ 2218760 w 3152217"/>
                <a:gd name="connsiteY20" fmla="*/ 2053406 h 2265623"/>
                <a:gd name="connsiteX21" fmla="*/ 2218760 w 3152217"/>
                <a:gd name="connsiteY21" fmla="*/ 2265623 h 2265623"/>
                <a:gd name="connsiteX22" fmla="*/ 2006543 w 3152217"/>
                <a:gd name="connsiteY22" fmla="*/ 2265623 h 2265623"/>
                <a:gd name="connsiteX23" fmla="*/ 1798691 w 3152217"/>
                <a:gd name="connsiteY23" fmla="*/ 2057769 h 2265623"/>
                <a:gd name="connsiteX24" fmla="*/ 1775643 w 3152217"/>
                <a:gd name="connsiteY24" fmla="*/ 2034721 h 2265623"/>
                <a:gd name="connsiteX25" fmla="*/ 1842458 w 3152217"/>
                <a:gd name="connsiteY25" fmla="*/ 1945465 h 2265623"/>
                <a:gd name="connsiteX26" fmla="*/ 1533525 w 3152217"/>
                <a:gd name="connsiteY26" fmla="*/ 1533525 h 2265623"/>
                <a:gd name="connsiteX27" fmla="*/ 1219200 w 3152217"/>
                <a:gd name="connsiteY27" fmla="*/ 1228725 h 2265623"/>
                <a:gd name="connsiteX28" fmla="*/ 571500 w 3152217"/>
                <a:gd name="connsiteY28" fmla="*/ 1343025 h 2265623"/>
                <a:gd name="connsiteX29" fmla="*/ 0 w 3152217"/>
                <a:gd name="connsiteY29" fmla="*/ 1314450 h 2265623"/>
                <a:gd name="connsiteX30" fmla="*/ 0 w 3152217"/>
                <a:gd name="connsiteY30" fmla="*/ 0 h 2265623"/>
                <a:gd name="connsiteX31" fmla="*/ 390525 w 3152217"/>
                <a:gd name="connsiteY31" fmla="*/ 9525 h 2265623"/>
                <a:gd name="connsiteX0" fmla="*/ 400050 w 3152217"/>
                <a:gd name="connsiteY0" fmla="*/ 0 h 2284673"/>
                <a:gd name="connsiteX1" fmla="*/ 95250 w 3152217"/>
                <a:gd name="connsiteY1" fmla="*/ 276225 h 2284673"/>
                <a:gd name="connsiteX2" fmla="*/ 1352550 w 3152217"/>
                <a:gd name="connsiteY2" fmla="*/ 152400 h 2284673"/>
                <a:gd name="connsiteX3" fmla="*/ 2314575 w 3152217"/>
                <a:gd name="connsiteY3" fmla="*/ 352425 h 2284673"/>
                <a:gd name="connsiteX4" fmla="*/ 2724150 w 3152217"/>
                <a:gd name="connsiteY4" fmla="*/ 847725 h 2284673"/>
                <a:gd name="connsiteX5" fmla="*/ 3152217 w 3152217"/>
                <a:gd name="connsiteY5" fmla="*/ 1284360 h 2284673"/>
                <a:gd name="connsiteX6" fmla="*/ 3152217 w 3152217"/>
                <a:gd name="connsiteY6" fmla="*/ 1496577 h 2284673"/>
                <a:gd name="connsiteX7" fmla="*/ 2940000 w 3152217"/>
                <a:gd name="connsiteY7" fmla="*/ 1496577 h 2284673"/>
                <a:gd name="connsiteX8" fmla="*/ 2539107 w 3152217"/>
                <a:gd name="connsiteY8" fmla="*/ 1095683 h 2284673"/>
                <a:gd name="connsiteX9" fmla="*/ 2474399 w 3152217"/>
                <a:gd name="connsiteY9" fmla="*/ 1182392 h 2284673"/>
                <a:gd name="connsiteX10" fmla="*/ 2907621 w 3152217"/>
                <a:gd name="connsiteY10" fmla="*/ 1615615 h 2284673"/>
                <a:gd name="connsiteX11" fmla="*/ 2907621 w 3152217"/>
                <a:gd name="connsiteY11" fmla="*/ 1827832 h 2284673"/>
                <a:gd name="connsiteX12" fmla="*/ 2695404 w 3152217"/>
                <a:gd name="connsiteY12" fmla="*/ 1827832 h 2284673"/>
                <a:gd name="connsiteX13" fmla="*/ 2293017 w 3152217"/>
                <a:gd name="connsiteY13" fmla="*/ 1425444 h 2284673"/>
                <a:gd name="connsiteX14" fmla="*/ 2228234 w 3152217"/>
                <a:gd name="connsiteY14" fmla="*/ 1512253 h 2284673"/>
                <a:gd name="connsiteX15" fmla="*/ 2648161 w 3152217"/>
                <a:gd name="connsiteY15" fmla="*/ 1932180 h 2284673"/>
                <a:gd name="connsiteX16" fmla="*/ 2648161 w 3152217"/>
                <a:gd name="connsiteY16" fmla="*/ 2144397 h 2284673"/>
                <a:gd name="connsiteX17" fmla="*/ 2435944 w 3152217"/>
                <a:gd name="connsiteY17" fmla="*/ 2144397 h 2284673"/>
                <a:gd name="connsiteX18" fmla="*/ 2046853 w 3152217"/>
                <a:gd name="connsiteY18" fmla="*/ 1755304 h 2284673"/>
                <a:gd name="connsiteX19" fmla="*/ 1987859 w 3152217"/>
                <a:gd name="connsiteY19" fmla="*/ 1841554 h 2284673"/>
                <a:gd name="connsiteX20" fmla="*/ 2218760 w 3152217"/>
                <a:gd name="connsiteY20" fmla="*/ 2072456 h 2284673"/>
                <a:gd name="connsiteX21" fmla="*/ 2218760 w 3152217"/>
                <a:gd name="connsiteY21" fmla="*/ 2284673 h 2284673"/>
                <a:gd name="connsiteX22" fmla="*/ 2006543 w 3152217"/>
                <a:gd name="connsiteY22" fmla="*/ 2284673 h 2284673"/>
                <a:gd name="connsiteX23" fmla="*/ 1798691 w 3152217"/>
                <a:gd name="connsiteY23" fmla="*/ 2076819 h 2284673"/>
                <a:gd name="connsiteX24" fmla="*/ 1775643 w 3152217"/>
                <a:gd name="connsiteY24" fmla="*/ 2053771 h 2284673"/>
                <a:gd name="connsiteX25" fmla="*/ 1842458 w 3152217"/>
                <a:gd name="connsiteY25" fmla="*/ 1964515 h 2284673"/>
                <a:gd name="connsiteX26" fmla="*/ 1533525 w 3152217"/>
                <a:gd name="connsiteY26" fmla="*/ 1552575 h 2284673"/>
                <a:gd name="connsiteX27" fmla="*/ 1219200 w 3152217"/>
                <a:gd name="connsiteY27" fmla="*/ 1247775 h 2284673"/>
                <a:gd name="connsiteX28" fmla="*/ 571500 w 3152217"/>
                <a:gd name="connsiteY28" fmla="*/ 1362075 h 2284673"/>
                <a:gd name="connsiteX29" fmla="*/ 0 w 3152217"/>
                <a:gd name="connsiteY29" fmla="*/ 1333500 h 2284673"/>
                <a:gd name="connsiteX30" fmla="*/ 0 w 3152217"/>
                <a:gd name="connsiteY30" fmla="*/ 19050 h 2284673"/>
                <a:gd name="connsiteX31" fmla="*/ 400050 w 3152217"/>
                <a:gd name="connsiteY31" fmla="*/ 0 h 228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52217" h="2284673">
                  <a:moveTo>
                    <a:pt x="400050" y="0"/>
                  </a:moveTo>
                  <a:lnTo>
                    <a:pt x="95250" y="276225"/>
                  </a:lnTo>
                  <a:cubicBezTo>
                    <a:pt x="349250" y="777875"/>
                    <a:pt x="831850" y="460375"/>
                    <a:pt x="1352550" y="152400"/>
                  </a:cubicBezTo>
                  <a:cubicBezTo>
                    <a:pt x="1641475" y="288925"/>
                    <a:pt x="1968500" y="301625"/>
                    <a:pt x="2314575" y="352425"/>
                  </a:cubicBezTo>
                  <a:cubicBezTo>
                    <a:pt x="2451100" y="603250"/>
                    <a:pt x="2587625" y="682625"/>
                    <a:pt x="2724150" y="847725"/>
                  </a:cubicBezTo>
                  <a:lnTo>
                    <a:pt x="3152217" y="1284360"/>
                  </a:lnTo>
                  <a:cubicBezTo>
                    <a:pt x="3210819" y="1342962"/>
                    <a:pt x="3210819" y="1437975"/>
                    <a:pt x="3152217" y="1496577"/>
                  </a:cubicBezTo>
                  <a:cubicBezTo>
                    <a:pt x="3093615" y="1555179"/>
                    <a:pt x="2998602" y="1555179"/>
                    <a:pt x="2940000" y="1496577"/>
                  </a:cubicBezTo>
                  <a:lnTo>
                    <a:pt x="2539107" y="1095683"/>
                  </a:lnTo>
                  <a:lnTo>
                    <a:pt x="2474399" y="1182392"/>
                  </a:lnTo>
                  <a:lnTo>
                    <a:pt x="2907621" y="1615615"/>
                  </a:lnTo>
                  <a:cubicBezTo>
                    <a:pt x="2966223" y="1674217"/>
                    <a:pt x="2966223" y="1769230"/>
                    <a:pt x="2907621" y="1827832"/>
                  </a:cubicBezTo>
                  <a:cubicBezTo>
                    <a:pt x="2849019" y="1886434"/>
                    <a:pt x="2754006" y="1886434"/>
                    <a:pt x="2695404" y="1827832"/>
                  </a:cubicBezTo>
                  <a:lnTo>
                    <a:pt x="2293017" y="1425444"/>
                  </a:lnTo>
                  <a:lnTo>
                    <a:pt x="2228234" y="1512253"/>
                  </a:lnTo>
                  <a:lnTo>
                    <a:pt x="2648161" y="1932180"/>
                  </a:lnTo>
                  <a:cubicBezTo>
                    <a:pt x="2706763" y="1990782"/>
                    <a:pt x="2706763" y="2085795"/>
                    <a:pt x="2648161" y="2144397"/>
                  </a:cubicBezTo>
                  <a:cubicBezTo>
                    <a:pt x="2589559" y="2202999"/>
                    <a:pt x="2494546" y="2202999"/>
                    <a:pt x="2435944" y="2144397"/>
                  </a:cubicBezTo>
                  <a:lnTo>
                    <a:pt x="2046853" y="1755304"/>
                  </a:lnTo>
                  <a:lnTo>
                    <a:pt x="1987859" y="1841554"/>
                  </a:lnTo>
                  <a:lnTo>
                    <a:pt x="2218760" y="2072456"/>
                  </a:lnTo>
                  <a:cubicBezTo>
                    <a:pt x="2277362" y="2131058"/>
                    <a:pt x="2277362" y="2226071"/>
                    <a:pt x="2218760" y="2284673"/>
                  </a:cubicBezTo>
                  <a:cubicBezTo>
                    <a:pt x="2160158" y="2343275"/>
                    <a:pt x="2065146" y="2343275"/>
                    <a:pt x="2006543" y="2284673"/>
                  </a:cubicBezTo>
                  <a:lnTo>
                    <a:pt x="1798691" y="2076819"/>
                  </a:lnTo>
                  <a:lnTo>
                    <a:pt x="1775643" y="2053771"/>
                  </a:lnTo>
                  <a:lnTo>
                    <a:pt x="1842458" y="1964515"/>
                  </a:lnTo>
                  <a:cubicBezTo>
                    <a:pt x="2026677" y="1607442"/>
                    <a:pt x="1697608" y="1472750"/>
                    <a:pt x="1533525" y="1552575"/>
                  </a:cubicBezTo>
                  <a:cubicBezTo>
                    <a:pt x="1555750" y="1323975"/>
                    <a:pt x="1380229" y="1237081"/>
                    <a:pt x="1219200" y="1247775"/>
                  </a:cubicBezTo>
                  <a:cubicBezTo>
                    <a:pt x="1190625" y="958850"/>
                    <a:pt x="838200" y="793750"/>
                    <a:pt x="571500" y="1362075"/>
                  </a:cubicBezTo>
                  <a:cubicBezTo>
                    <a:pt x="504825" y="1114425"/>
                    <a:pt x="276225" y="1066800"/>
                    <a:pt x="0" y="1333500"/>
                  </a:cubicBezTo>
                  <a:lnTo>
                    <a:pt x="0" y="19050"/>
                  </a:lnTo>
                  <a:lnTo>
                    <a:pt x="40005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sz="2701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8E277DE-E7C7-4E85-808D-4D24DF307A23}"/>
              </a:ext>
            </a:extLst>
          </p:cNvPr>
          <p:cNvSpPr/>
          <p:nvPr/>
        </p:nvSpPr>
        <p:spPr>
          <a:xfrm>
            <a:off x="-12238" y="2395371"/>
            <a:ext cx="4224000" cy="165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 </a:t>
            </a:r>
            <a:r>
              <a:rPr lang="ko-KR" altLang="en-US" sz="2400" b="1" dirty="0">
                <a:solidFill>
                  <a:prstClr val="white"/>
                </a:solidFill>
                <a:ea typeface="08서울남산체 B" panose="02020603020101020101" pitchFamily="18" charset="-127"/>
              </a:rPr>
              <a:t>할인점</a:t>
            </a:r>
            <a:endParaRPr lang="en-US" altLang="ko-KR" sz="2400" b="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  <a:p>
            <a:pPr algn="ctr" defTabSz="914286" latinLnBrk="0"/>
            <a:r>
              <a:rPr lang="en-US" altLang="ko-KR" dirty="0">
                <a:solidFill>
                  <a:prstClr val="white"/>
                </a:solidFill>
                <a:ea typeface="08서울남산체 B" panose="02020603020101020101" pitchFamily="18" charset="-127"/>
              </a:rPr>
              <a:t>2019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년</a:t>
            </a:r>
            <a:r>
              <a:rPr lang="en-US" altLang="ko-KR" dirty="0">
                <a:solidFill>
                  <a:prstClr val="white"/>
                </a:solidFill>
                <a:ea typeface="08서울남산체 B" panose="02020603020101020101" pitchFamily="18" charset="-127"/>
              </a:rPr>
              <a:t>/2020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년 품목별 이용자수를 분석해 보았을 때 전년 대비 감소율이 가장 큰 </a:t>
            </a:r>
            <a:r>
              <a:rPr lang="ko-KR" altLang="en-US" dirty="0" smtClean="0">
                <a:solidFill>
                  <a:prstClr val="white"/>
                </a:solidFill>
                <a:ea typeface="08서울남산체 B" panose="02020603020101020101" pitchFamily="18" charset="-127"/>
              </a:rPr>
              <a:t>업종으로</a:t>
            </a:r>
            <a:r>
              <a:rPr lang="en-US" altLang="ko-KR" dirty="0" smtClean="0">
                <a:solidFill>
                  <a:prstClr val="white"/>
                </a:solidFill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코로나의 영향을 직접적으로 </a:t>
            </a:r>
            <a:r>
              <a:rPr lang="ko-KR" altLang="en-US" dirty="0" smtClean="0">
                <a:solidFill>
                  <a:prstClr val="white"/>
                </a:solidFill>
                <a:ea typeface="08서울남산체 B" panose="02020603020101020101" pitchFamily="18" charset="-127"/>
              </a:rPr>
              <a:t>받음</a:t>
            </a:r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781E7EF-B292-4EBC-947B-B05F0A1E82DD}"/>
              </a:ext>
            </a:extLst>
          </p:cNvPr>
          <p:cNvSpPr/>
          <p:nvPr/>
        </p:nvSpPr>
        <p:spPr>
          <a:xfrm>
            <a:off x="7946763" y="2432580"/>
            <a:ext cx="4223999" cy="165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sz="2701" dirty="0">
                <a:solidFill>
                  <a:prstClr val="white"/>
                </a:solidFill>
                <a:ea typeface="08서울남산체 B" panose="02020603020101020101" pitchFamily="18" charset="-127"/>
              </a:rPr>
              <a:t> </a:t>
            </a:r>
          </a:p>
          <a:p>
            <a:pPr algn="ctr" defTabSz="914286" latinLnBrk="0"/>
            <a:r>
              <a:rPr lang="ko-KR" altLang="en-US" sz="2400" b="1" dirty="0" err="1">
                <a:solidFill>
                  <a:prstClr val="white"/>
                </a:solidFill>
                <a:ea typeface="08서울남산체 B" panose="02020603020101020101" pitchFamily="18" charset="-127"/>
              </a:rPr>
              <a:t>종합몰</a:t>
            </a:r>
            <a:endParaRPr lang="en-US" altLang="ko-KR" sz="2400" b="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  <a:p>
            <a:pPr algn="ctr" defTabSz="914286" latinLnBrk="0"/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정의</a:t>
            </a:r>
            <a:r>
              <a:rPr lang="en-US" altLang="ko-KR" dirty="0">
                <a:solidFill>
                  <a:prstClr val="white"/>
                </a:solidFill>
                <a:ea typeface="08서울남산체 B" panose="02020603020101020101" pitchFamily="18" charset="-127"/>
              </a:rPr>
              <a:t>: 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상품과 서비스 전반적인 카테고리를 취급하는 쇼핑몰</a:t>
            </a:r>
            <a:endParaRPr lang="en-US" altLang="ko-KR" dirty="0">
              <a:solidFill>
                <a:prstClr val="white"/>
              </a:solidFill>
              <a:ea typeface="08서울남산체 B" panose="02020603020101020101" pitchFamily="18" charset="-127"/>
            </a:endParaRPr>
          </a:p>
          <a:p>
            <a:pPr algn="ctr" defTabSz="914286" latinLnBrk="0"/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주로 오프라인 매장의 </a:t>
            </a:r>
            <a:r>
              <a:rPr lang="ko-KR" altLang="en-US" dirty="0" err="1">
                <a:solidFill>
                  <a:prstClr val="white"/>
                </a:solidFill>
                <a:ea typeface="08서울남산체 B" panose="02020603020101020101" pitchFamily="18" charset="-127"/>
              </a:rPr>
              <a:t>온라인몰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 형태로 이루어져 있어 </a:t>
            </a:r>
            <a:r>
              <a:rPr lang="ko-KR" altLang="en-US" dirty="0" smtClean="0">
                <a:solidFill>
                  <a:prstClr val="white"/>
                </a:solidFill>
                <a:ea typeface="08서울남산체 B" panose="02020603020101020101" pitchFamily="18" charset="-127"/>
              </a:rPr>
              <a:t>할인점과 비교가 </a:t>
            </a:r>
            <a:r>
              <a: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rPr>
              <a:t>용이 </a:t>
            </a:r>
            <a:endParaRPr lang="en-US" altLang="ko-KR" dirty="0">
              <a:solidFill>
                <a:prstClr val="white"/>
              </a:solidFill>
              <a:ea typeface="08서울남산체 B" panose="02020603020101020101" pitchFamily="18" charset="-127"/>
            </a:endParaRPr>
          </a:p>
          <a:p>
            <a:pPr algn="ctr" defTabSz="914286" latinLnBrk="0"/>
            <a:endParaRPr lang="ko-KR" altLang="en-US" sz="270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xmlns="" id="{A7E14769-8899-4C6F-A0BE-DC9266736373}"/>
              </a:ext>
            </a:extLst>
          </p:cNvPr>
          <p:cNvSpPr/>
          <p:nvPr/>
        </p:nvSpPr>
        <p:spPr>
          <a:xfrm rot="20700000">
            <a:off x="2437744" y="4163891"/>
            <a:ext cx="555477" cy="486837"/>
          </a:xfrm>
          <a:custGeom>
            <a:avLst/>
            <a:gdLst/>
            <a:ahLst/>
            <a:cxnLst/>
            <a:rect l="l" t="t" r="r" b="b"/>
            <a:pathLst>
              <a:path w="4088377" h="3321003">
                <a:moveTo>
                  <a:pt x="1365628" y="1622218"/>
                </a:moveTo>
                <a:cubicBezTo>
                  <a:pt x="1121373" y="1556771"/>
                  <a:pt x="870309" y="1701722"/>
                  <a:pt x="804861" y="1945977"/>
                </a:cubicBezTo>
                <a:cubicBezTo>
                  <a:pt x="739413" y="2190232"/>
                  <a:pt x="884365" y="2441296"/>
                  <a:pt x="1128620" y="2506744"/>
                </a:cubicBezTo>
                <a:cubicBezTo>
                  <a:pt x="1372875" y="2572191"/>
                  <a:pt x="1623939" y="2427240"/>
                  <a:pt x="1689387" y="2182985"/>
                </a:cubicBezTo>
                <a:cubicBezTo>
                  <a:pt x="1754835" y="1938730"/>
                  <a:pt x="1609883" y="1687666"/>
                  <a:pt x="1365628" y="1622218"/>
                </a:cubicBezTo>
                <a:close/>
                <a:moveTo>
                  <a:pt x="1447099" y="1318163"/>
                </a:moveTo>
                <a:cubicBezTo>
                  <a:pt x="1859279" y="1428606"/>
                  <a:pt x="2103885" y="1852277"/>
                  <a:pt x="1993442" y="2264456"/>
                </a:cubicBezTo>
                <a:cubicBezTo>
                  <a:pt x="1882999" y="2676636"/>
                  <a:pt x="1459328" y="2921242"/>
                  <a:pt x="1047149" y="2810799"/>
                </a:cubicBezTo>
                <a:cubicBezTo>
                  <a:pt x="634969" y="2700356"/>
                  <a:pt x="390363" y="2276685"/>
                  <a:pt x="500806" y="1864505"/>
                </a:cubicBezTo>
                <a:cubicBezTo>
                  <a:pt x="611249" y="1452326"/>
                  <a:pt x="1034920" y="1207720"/>
                  <a:pt x="1447099" y="1318163"/>
                </a:cubicBezTo>
                <a:close/>
                <a:moveTo>
                  <a:pt x="1476725" y="1207597"/>
                </a:moveTo>
                <a:cubicBezTo>
                  <a:pt x="1003481" y="1080792"/>
                  <a:pt x="517045" y="1361635"/>
                  <a:pt x="390240" y="1834879"/>
                </a:cubicBezTo>
                <a:cubicBezTo>
                  <a:pt x="263435" y="2308124"/>
                  <a:pt x="544279" y="2794559"/>
                  <a:pt x="1017523" y="2921365"/>
                </a:cubicBezTo>
                <a:cubicBezTo>
                  <a:pt x="1490767" y="3048170"/>
                  <a:pt x="1977202" y="2767326"/>
                  <a:pt x="2104008" y="2294082"/>
                </a:cubicBezTo>
                <a:cubicBezTo>
                  <a:pt x="2230813" y="1820838"/>
                  <a:pt x="1949969" y="1334403"/>
                  <a:pt x="1476725" y="1207597"/>
                </a:cubicBezTo>
                <a:close/>
                <a:moveTo>
                  <a:pt x="3290290" y="1590224"/>
                </a:moveTo>
                <a:cubicBezTo>
                  <a:pt x="3269727" y="1586016"/>
                  <a:pt x="3248437" y="1583806"/>
                  <a:pt x="3226630" y="1583806"/>
                </a:cubicBezTo>
                <a:cubicBezTo>
                  <a:pt x="3052179" y="1583806"/>
                  <a:pt x="2910758" y="1725227"/>
                  <a:pt x="2910758" y="1899678"/>
                </a:cubicBezTo>
                <a:cubicBezTo>
                  <a:pt x="2910758" y="2074130"/>
                  <a:pt x="3052179" y="2215551"/>
                  <a:pt x="3226630" y="2215550"/>
                </a:cubicBezTo>
                <a:cubicBezTo>
                  <a:pt x="3401082" y="2215551"/>
                  <a:pt x="3542503" y="2074130"/>
                  <a:pt x="3542502" y="1899678"/>
                </a:cubicBezTo>
                <a:cubicBezTo>
                  <a:pt x="3542503" y="1747033"/>
                  <a:pt x="3434228" y="1619677"/>
                  <a:pt x="3290290" y="1590224"/>
                </a:cubicBezTo>
                <a:close/>
                <a:moveTo>
                  <a:pt x="3334055" y="1377473"/>
                </a:moveTo>
                <a:cubicBezTo>
                  <a:pt x="3576950" y="1427177"/>
                  <a:pt x="3759665" y="1642090"/>
                  <a:pt x="3759665" y="1899678"/>
                </a:cubicBezTo>
                <a:cubicBezTo>
                  <a:pt x="3759665" y="2194064"/>
                  <a:pt x="3521017" y="2432713"/>
                  <a:pt x="3226630" y="2432713"/>
                </a:cubicBezTo>
                <a:cubicBezTo>
                  <a:pt x="2932244" y="2432712"/>
                  <a:pt x="2693596" y="2194065"/>
                  <a:pt x="2693596" y="1899678"/>
                </a:cubicBezTo>
                <a:cubicBezTo>
                  <a:pt x="2693596" y="1605292"/>
                  <a:pt x="2932244" y="1366644"/>
                  <a:pt x="3226630" y="1366644"/>
                </a:cubicBezTo>
                <a:cubicBezTo>
                  <a:pt x="3263429" y="1366644"/>
                  <a:pt x="3299356" y="1370373"/>
                  <a:pt x="3334055" y="1377473"/>
                </a:cubicBezTo>
                <a:close/>
                <a:moveTo>
                  <a:pt x="1391137" y="789478"/>
                </a:moveTo>
                <a:lnTo>
                  <a:pt x="1759910" y="888290"/>
                </a:lnTo>
                <a:lnTo>
                  <a:pt x="1754625" y="1202375"/>
                </a:lnTo>
                <a:lnTo>
                  <a:pt x="1744979" y="1199790"/>
                </a:lnTo>
                <a:cubicBezTo>
                  <a:pt x="1823578" y="1244024"/>
                  <a:pt x="1894617" y="1298265"/>
                  <a:pt x="1954704" y="1362586"/>
                </a:cubicBezTo>
                <a:lnTo>
                  <a:pt x="2234317" y="1293059"/>
                </a:lnTo>
                <a:lnTo>
                  <a:pt x="2413554" y="1630152"/>
                </a:lnTo>
                <a:lnTo>
                  <a:pt x="2214321" y="1809770"/>
                </a:lnTo>
                <a:cubicBezTo>
                  <a:pt x="2239296" y="1900740"/>
                  <a:pt x="2251067" y="1995997"/>
                  <a:pt x="2246841" y="2092825"/>
                </a:cubicBezTo>
                <a:lnTo>
                  <a:pt x="2495698" y="2230974"/>
                </a:lnTo>
                <a:lnTo>
                  <a:pt x="2396885" y="2599747"/>
                </a:lnTo>
                <a:lnTo>
                  <a:pt x="2094912" y="2594668"/>
                </a:lnTo>
                <a:cubicBezTo>
                  <a:pt x="2056732" y="2658461"/>
                  <a:pt x="2010475" y="2715996"/>
                  <a:pt x="1958644" y="2767359"/>
                </a:cubicBezTo>
                <a:lnTo>
                  <a:pt x="2057814" y="3026193"/>
                </a:lnTo>
                <a:lnTo>
                  <a:pt x="1745078" y="3245174"/>
                </a:lnTo>
                <a:lnTo>
                  <a:pt x="1507869" y="3039237"/>
                </a:lnTo>
                <a:lnTo>
                  <a:pt x="1536736" y="3019025"/>
                </a:lnTo>
                <a:cubicBezTo>
                  <a:pt x="1445878" y="3048429"/>
                  <a:pt x="1349798" y="3062567"/>
                  <a:pt x="1251837" y="3062021"/>
                </a:cubicBezTo>
                <a:lnTo>
                  <a:pt x="1108065" y="3321003"/>
                </a:lnTo>
                <a:lnTo>
                  <a:pt x="739291" y="3222191"/>
                </a:lnTo>
                <a:lnTo>
                  <a:pt x="744274" y="2926021"/>
                </a:lnTo>
                <a:cubicBezTo>
                  <a:pt x="666128" y="2881484"/>
                  <a:pt x="595548" y="2827017"/>
                  <a:pt x="535891" y="2762576"/>
                </a:cubicBezTo>
                <a:lnTo>
                  <a:pt x="540671" y="2772825"/>
                </a:lnTo>
                <a:lnTo>
                  <a:pt x="232276" y="2832568"/>
                </a:lnTo>
                <a:lnTo>
                  <a:pt x="70927" y="2486556"/>
                </a:lnTo>
                <a:lnTo>
                  <a:pt x="279495" y="2317444"/>
                </a:lnTo>
                <a:cubicBezTo>
                  <a:pt x="257233" y="2235849"/>
                  <a:pt x="245603" y="2150814"/>
                  <a:pt x="245586" y="2064274"/>
                </a:cubicBezTo>
                <a:lnTo>
                  <a:pt x="0" y="1927940"/>
                </a:lnTo>
                <a:lnTo>
                  <a:pt x="98812" y="1559167"/>
                </a:lnTo>
                <a:lnTo>
                  <a:pt x="380240" y="1563901"/>
                </a:lnTo>
                <a:cubicBezTo>
                  <a:pt x="418421" y="1496524"/>
                  <a:pt x="464524" y="1435092"/>
                  <a:pt x="516679" y="1380105"/>
                </a:cubicBezTo>
                <a:lnTo>
                  <a:pt x="422419" y="1089378"/>
                </a:lnTo>
                <a:lnTo>
                  <a:pt x="746189" y="887063"/>
                </a:lnTo>
                <a:lnTo>
                  <a:pt x="972292" y="1105134"/>
                </a:lnTo>
                <a:lnTo>
                  <a:pt x="970019" y="1106554"/>
                </a:lnTo>
                <a:cubicBezTo>
                  <a:pt x="1058903" y="1078586"/>
                  <a:pt x="1152743" y="1065659"/>
                  <a:pt x="1248316" y="1066709"/>
                </a:cubicBezTo>
                <a:lnTo>
                  <a:pt x="1238669" y="1064125"/>
                </a:lnTo>
                <a:close/>
                <a:moveTo>
                  <a:pt x="3349970" y="1300109"/>
                </a:moveTo>
                <a:cubicBezTo>
                  <a:pt x="3310130" y="1291957"/>
                  <a:pt x="3268880" y="1287676"/>
                  <a:pt x="3226630" y="1287676"/>
                </a:cubicBezTo>
                <a:cubicBezTo>
                  <a:pt x="2888631" y="1287676"/>
                  <a:pt x="2614628" y="1561679"/>
                  <a:pt x="2614628" y="1899678"/>
                </a:cubicBezTo>
                <a:cubicBezTo>
                  <a:pt x="2614628" y="2237678"/>
                  <a:pt x="2888630" y="2511680"/>
                  <a:pt x="3226630" y="2511681"/>
                </a:cubicBezTo>
                <a:cubicBezTo>
                  <a:pt x="3564630" y="2511681"/>
                  <a:pt x="3838633" y="2237678"/>
                  <a:pt x="3838633" y="1899678"/>
                </a:cubicBezTo>
                <a:cubicBezTo>
                  <a:pt x="3838632" y="1603928"/>
                  <a:pt x="3628849" y="1357176"/>
                  <a:pt x="3349970" y="1300109"/>
                </a:cubicBezTo>
                <a:close/>
                <a:moveTo>
                  <a:pt x="3358324" y="1024334"/>
                </a:moveTo>
                <a:lnTo>
                  <a:pt x="3410883" y="1234575"/>
                </a:lnTo>
                <a:lnTo>
                  <a:pt x="3403994" y="1234575"/>
                </a:lnTo>
                <a:cubicBezTo>
                  <a:pt x="3464268" y="1250018"/>
                  <a:pt x="3521292" y="1273478"/>
                  <a:pt x="3572818" y="1305612"/>
                </a:cubicBezTo>
                <a:lnTo>
                  <a:pt x="3746730" y="1209354"/>
                </a:lnTo>
                <a:lnTo>
                  <a:pt x="3926358" y="1401981"/>
                </a:lnTo>
                <a:lnTo>
                  <a:pt x="3825667" y="1557247"/>
                </a:lnTo>
                <a:cubicBezTo>
                  <a:pt x="3858552" y="1613408"/>
                  <a:pt x="3883404" y="1674784"/>
                  <a:pt x="3897877" y="1740062"/>
                </a:cubicBezTo>
                <a:lnTo>
                  <a:pt x="4088377" y="1787686"/>
                </a:lnTo>
                <a:lnTo>
                  <a:pt x="4088377" y="2051071"/>
                </a:lnTo>
                <a:lnTo>
                  <a:pt x="3886243" y="2101605"/>
                </a:lnTo>
                <a:cubicBezTo>
                  <a:pt x="3872191" y="2150933"/>
                  <a:pt x="3851639" y="2197531"/>
                  <a:pt x="3826272" y="2241013"/>
                </a:cubicBezTo>
                <a:lnTo>
                  <a:pt x="3938572" y="2395786"/>
                </a:lnTo>
                <a:lnTo>
                  <a:pt x="3769272" y="2597551"/>
                </a:lnTo>
                <a:lnTo>
                  <a:pt x="3574432" y="2502674"/>
                </a:lnTo>
                <a:lnTo>
                  <a:pt x="3590059" y="2484050"/>
                </a:lnTo>
                <a:cubicBezTo>
                  <a:pt x="3534764" y="2519868"/>
                  <a:pt x="3473263" y="2546445"/>
                  <a:pt x="3407886" y="2563572"/>
                </a:cubicBezTo>
                <a:lnTo>
                  <a:pt x="3358323" y="2761823"/>
                </a:lnTo>
                <a:lnTo>
                  <a:pt x="3094938" y="2761823"/>
                </a:lnTo>
                <a:lnTo>
                  <a:pt x="3045375" y="2563574"/>
                </a:lnTo>
                <a:cubicBezTo>
                  <a:pt x="2985349" y="2547848"/>
                  <a:pt x="2928591" y="2524155"/>
                  <a:pt x="2877330" y="2491865"/>
                </a:cubicBezTo>
                <a:lnTo>
                  <a:pt x="2882346" y="2497841"/>
                </a:lnTo>
                <a:lnTo>
                  <a:pt x="2687507" y="2592718"/>
                </a:lnTo>
                <a:lnTo>
                  <a:pt x="2518206" y="2390954"/>
                </a:lnTo>
                <a:lnTo>
                  <a:pt x="2626994" y="2241021"/>
                </a:lnTo>
                <a:cubicBezTo>
                  <a:pt x="2597591" y="2190623"/>
                  <a:pt x="2574657" y="2136035"/>
                  <a:pt x="2559194" y="2078370"/>
                </a:cubicBezTo>
                <a:lnTo>
                  <a:pt x="2371198" y="2031371"/>
                </a:lnTo>
                <a:lnTo>
                  <a:pt x="2371198" y="1767986"/>
                </a:lnTo>
                <a:lnTo>
                  <a:pt x="2559579" y="1720890"/>
                </a:lnTo>
                <a:cubicBezTo>
                  <a:pt x="2572992" y="1669175"/>
                  <a:pt x="2592745" y="1620006"/>
                  <a:pt x="2617681" y="1574051"/>
                </a:cubicBezTo>
                <a:lnTo>
                  <a:pt x="2502958" y="1397149"/>
                </a:lnTo>
                <a:lnTo>
                  <a:pt x="2682587" y="1204520"/>
                </a:lnTo>
                <a:lnTo>
                  <a:pt x="2872193" y="1309466"/>
                </a:lnTo>
                <a:lnTo>
                  <a:pt x="2870932" y="1310818"/>
                </a:lnTo>
                <a:cubicBezTo>
                  <a:pt x="2925169" y="1276310"/>
                  <a:pt x="2985393" y="1250941"/>
                  <a:pt x="3049268" y="1234575"/>
                </a:cubicBezTo>
                <a:lnTo>
                  <a:pt x="3042378" y="1234576"/>
                </a:lnTo>
                <a:lnTo>
                  <a:pt x="3094939" y="1024334"/>
                </a:lnTo>
                <a:close/>
                <a:moveTo>
                  <a:pt x="2786480" y="402820"/>
                </a:moveTo>
                <a:cubicBezTo>
                  <a:pt x="2745900" y="389943"/>
                  <a:pt x="2701172" y="388627"/>
                  <a:pt x="2657264" y="401580"/>
                </a:cubicBezTo>
                <a:cubicBezTo>
                  <a:pt x="2540176" y="436121"/>
                  <a:pt x="2473258" y="559041"/>
                  <a:pt x="2507800" y="676128"/>
                </a:cubicBezTo>
                <a:cubicBezTo>
                  <a:pt x="2542340" y="793216"/>
                  <a:pt x="2665260" y="860133"/>
                  <a:pt x="2782348" y="825592"/>
                </a:cubicBezTo>
                <a:cubicBezTo>
                  <a:pt x="2899435" y="791051"/>
                  <a:pt x="2966353" y="668132"/>
                  <a:pt x="2931812" y="551045"/>
                </a:cubicBezTo>
                <a:cubicBezTo>
                  <a:pt x="2910223" y="477864"/>
                  <a:pt x="2854113" y="424282"/>
                  <a:pt x="2786480" y="402820"/>
                </a:cubicBezTo>
                <a:close/>
                <a:moveTo>
                  <a:pt x="2932202" y="47278"/>
                </a:moveTo>
                <a:lnTo>
                  <a:pt x="3090904" y="140999"/>
                </a:lnTo>
                <a:lnTo>
                  <a:pt x="3054065" y="265147"/>
                </a:lnTo>
                <a:cubicBezTo>
                  <a:pt x="3087256" y="296329"/>
                  <a:pt x="3116089" y="332603"/>
                  <a:pt x="3138727" y="373550"/>
                </a:cubicBezTo>
                <a:lnTo>
                  <a:pt x="3276016" y="367796"/>
                </a:lnTo>
                <a:lnTo>
                  <a:pt x="3328165" y="544574"/>
                </a:lnTo>
                <a:lnTo>
                  <a:pt x="3202503" y="618514"/>
                </a:lnTo>
                <a:cubicBezTo>
                  <a:pt x="3202838" y="654403"/>
                  <a:pt x="3198271" y="689748"/>
                  <a:pt x="3189855" y="723955"/>
                </a:cubicBezTo>
                <a:lnTo>
                  <a:pt x="3295873" y="805599"/>
                </a:lnTo>
                <a:lnTo>
                  <a:pt x="3222192" y="974540"/>
                </a:lnTo>
                <a:lnTo>
                  <a:pt x="3072634" y="949439"/>
                </a:lnTo>
                <a:lnTo>
                  <a:pt x="3079435" y="933845"/>
                </a:lnTo>
                <a:cubicBezTo>
                  <a:pt x="3049413" y="968833"/>
                  <a:pt x="3013398" y="998848"/>
                  <a:pt x="2972910" y="1023288"/>
                </a:cubicBezTo>
                <a:lnTo>
                  <a:pt x="2978897" y="1166163"/>
                </a:lnTo>
                <a:lnTo>
                  <a:pt x="2802119" y="1218312"/>
                </a:lnTo>
                <a:lnTo>
                  <a:pt x="2729602" y="1095065"/>
                </a:lnTo>
                <a:cubicBezTo>
                  <a:pt x="2686199" y="1096396"/>
                  <a:pt x="2643414" y="1091732"/>
                  <a:pt x="2602615" y="1080209"/>
                </a:cubicBezTo>
                <a:lnTo>
                  <a:pt x="2607165" y="1083226"/>
                </a:lnTo>
                <a:lnTo>
                  <a:pt x="2495179" y="1185484"/>
                </a:lnTo>
                <a:lnTo>
                  <a:pt x="2341599" y="1083585"/>
                </a:lnTo>
                <a:lnTo>
                  <a:pt x="2384929" y="961414"/>
                </a:lnTo>
                <a:cubicBezTo>
                  <a:pt x="2355215" y="933409"/>
                  <a:pt x="2329015" y="901312"/>
                  <a:pt x="2307218" y="865670"/>
                </a:cubicBezTo>
                <a:lnTo>
                  <a:pt x="2171734" y="871348"/>
                </a:lnTo>
                <a:lnTo>
                  <a:pt x="2119584" y="694571"/>
                </a:lnTo>
                <a:lnTo>
                  <a:pt x="2236697" y="625662"/>
                </a:lnTo>
                <a:cubicBezTo>
                  <a:pt x="2235459" y="588297"/>
                  <a:pt x="2238982" y="551385"/>
                  <a:pt x="2246620" y="515603"/>
                </a:cubicBezTo>
                <a:lnTo>
                  <a:pt x="2134594" y="419585"/>
                </a:lnTo>
                <a:lnTo>
                  <a:pt x="2217016" y="254732"/>
                </a:lnTo>
                <a:lnTo>
                  <a:pt x="2365055" y="287627"/>
                </a:lnTo>
                <a:lnTo>
                  <a:pt x="2364476" y="288784"/>
                </a:lnTo>
                <a:cubicBezTo>
                  <a:pt x="2394046" y="254885"/>
                  <a:pt x="2429444" y="225933"/>
                  <a:pt x="2469075" y="202302"/>
                </a:cubicBezTo>
                <a:lnTo>
                  <a:pt x="2464452" y="203666"/>
                </a:lnTo>
                <a:lnTo>
                  <a:pt x="2458102" y="52150"/>
                </a:lnTo>
                <a:lnTo>
                  <a:pt x="2634880" y="0"/>
                </a:lnTo>
                <a:lnTo>
                  <a:pt x="2711784" y="130703"/>
                </a:lnTo>
                <a:lnTo>
                  <a:pt x="2707159" y="132067"/>
                </a:lnTo>
                <a:cubicBezTo>
                  <a:pt x="2750672" y="130497"/>
                  <a:pt x="2793590" y="134953"/>
                  <a:pt x="2834535" y="1463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sz="270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7" name="Oval 10">
            <a:extLst>
              <a:ext uri="{FF2B5EF4-FFF2-40B4-BE49-F238E27FC236}">
                <a16:creationId xmlns:a16="http://schemas.microsoft.com/office/drawing/2014/main" xmlns="" id="{8BB5E533-8633-4AB6-A211-C4A03BE9A144}"/>
              </a:ext>
            </a:extLst>
          </p:cNvPr>
          <p:cNvSpPr>
            <a:spLocks noChangeAspect="1"/>
          </p:cNvSpPr>
          <p:nvPr/>
        </p:nvSpPr>
        <p:spPr>
          <a:xfrm>
            <a:off x="9264342" y="4243276"/>
            <a:ext cx="504056" cy="597327"/>
          </a:xfrm>
          <a:custGeom>
            <a:avLst/>
            <a:gdLst/>
            <a:ahLst/>
            <a:cxnLst/>
            <a:rect l="l" t="t" r="r" b="b"/>
            <a:pathLst>
              <a:path w="3310915" h="3923570">
                <a:moveTo>
                  <a:pt x="2634572" y="2782060"/>
                </a:moveTo>
                <a:cubicBezTo>
                  <a:pt x="2877724" y="2784696"/>
                  <a:pt x="3073074" y="2923910"/>
                  <a:pt x="3310915" y="3050983"/>
                </a:cubicBezTo>
                <a:lnTo>
                  <a:pt x="3113550" y="3840011"/>
                </a:lnTo>
                <a:lnTo>
                  <a:pt x="2637706" y="3668957"/>
                </a:lnTo>
                <a:cubicBezTo>
                  <a:pt x="2327360" y="3767940"/>
                  <a:pt x="1829375" y="3988492"/>
                  <a:pt x="1579811" y="3905123"/>
                </a:cubicBezTo>
                <a:cubicBezTo>
                  <a:pt x="1320906" y="3775288"/>
                  <a:pt x="642145" y="3366355"/>
                  <a:pt x="472751" y="3203771"/>
                </a:cubicBezTo>
                <a:cubicBezTo>
                  <a:pt x="303357" y="3041187"/>
                  <a:pt x="403652" y="2893777"/>
                  <a:pt x="563448" y="2929619"/>
                </a:cubicBezTo>
                <a:cubicBezTo>
                  <a:pt x="702634" y="2937547"/>
                  <a:pt x="1160012" y="3199482"/>
                  <a:pt x="1284082" y="3253983"/>
                </a:cubicBezTo>
                <a:cubicBezTo>
                  <a:pt x="1127104" y="3587742"/>
                  <a:pt x="1741057" y="3563487"/>
                  <a:pt x="1955231" y="3541261"/>
                </a:cubicBezTo>
                <a:cubicBezTo>
                  <a:pt x="2131253" y="3488686"/>
                  <a:pt x="2214010" y="3505589"/>
                  <a:pt x="2306401" y="3383364"/>
                </a:cubicBezTo>
                <a:cubicBezTo>
                  <a:pt x="2155860" y="3427865"/>
                  <a:pt x="2163213" y="3429679"/>
                  <a:pt x="1912247" y="3471537"/>
                </a:cubicBezTo>
                <a:cubicBezTo>
                  <a:pt x="1482134" y="3531123"/>
                  <a:pt x="1135709" y="3364234"/>
                  <a:pt x="1413085" y="3236383"/>
                </a:cubicBezTo>
                <a:cubicBezTo>
                  <a:pt x="1557848" y="3164554"/>
                  <a:pt x="1721108" y="3222221"/>
                  <a:pt x="1929297" y="3121321"/>
                </a:cubicBezTo>
                <a:cubicBezTo>
                  <a:pt x="2128589" y="3010789"/>
                  <a:pt x="2187815" y="2818332"/>
                  <a:pt x="2527174" y="2789726"/>
                </a:cubicBezTo>
                <a:cubicBezTo>
                  <a:pt x="2564125" y="2784095"/>
                  <a:pt x="2599836" y="2781684"/>
                  <a:pt x="2634572" y="2782060"/>
                </a:cubicBezTo>
                <a:close/>
                <a:moveTo>
                  <a:pt x="2169165" y="2259549"/>
                </a:moveTo>
                <a:cubicBezTo>
                  <a:pt x="2305163" y="2320579"/>
                  <a:pt x="2430502" y="2400997"/>
                  <a:pt x="2542352" y="2496872"/>
                </a:cubicBezTo>
                <a:cubicBezTo>
                  <a:pt x="2303978" y="2744099"/>
                  <a:pt x="1979593" y="2907447"/>
                  <a:pt x="1617206" y="2939204"/>
                </a:cubicBezTo>
                <a:lnTo>
                  <a:pt x="1588575" y="2925411"/>
                </a:lnTo>
                <a:cubicBezTo>
                  <a:pt x="1835671" y="2758142"/>
                  <a:pt x="2037335" y="2529257"/>
                  <a:pt x="2169165" y="2259549"/>
                </a:cubicBezTo>
                <a:close/>
                <a:moveTo>
                  <a:pt x="797309" y="2254509"/>
                </a:moveTo>
                <a:cubicBezTo>
                  <a:pt x="928512" y="2525684"/>
                  <a:pt x="1129977" y="2756161"/>
                  <a:pt x="1376879" y="2925229"/>
                </a:cubicBezTo>
                <a:cubicBezTo>
                  <a:pt x="1367940" y="2931748"/>
                  <a:pt x="1358086" y="2936536"/>
                  <a:pt x="1348086" y="2941055"/>
                </a:cubicBezTo>
                <a:cubicBezTo>
                  <a:pt x="981929" y="2910776"/>
                  <a:pt x="654006" y="2746454"/>
                  <a:pt x="413461" y="2497054"/>
                </a:cubicBezTo>
                <a:cubicBezTo>
                  <a:pt x="528278" y="2398621"/>
                  <a:pt x="657289" y="2316447"/>
                  <a:pt x="797309" y="2254509"/>
                </a:cubicBezTo>
                <a:close/>
                <a:moveTo>
                  <a:pt x="1426305" y="2108791"/>
                </a:moveTo>
                <a:lnTo>
                  <a:pt x="1426305" y="2824067"/>
                </a:lnTo>
                <a:cubicBezTo>
                  <a:pt x="1203050" y="2668305"/>
                  <a:pt x="1020431" y="2458508"/>
                  <a:pt x="899682" y="2212532"/>
                </a:cubicBezTo>
                <a:cubicBezTo>
                  <a:pt x="1063835" y="2148883"/>
                  <a:pt x="1241204" y="2112683"/>
                  <a:pt x="1426305" y="2108791"/>
                </a:cubicBezTo>
                <a:close/>
                <a:moveTo>
                  <a:pt x="1527809" y="2108695"/>
                </a:moveTo>
                <a:cubicBezTo>
                  <a:pt x="1717707" y="2112557"/>
                  <a:pt x="1899494" y="2150291"/>
                  <a:pt x="2067336" y="2216559"/>
                </a:cubicBezTo>
                <a:cubicBezTo>
                  <a:pt x="1943936" y="2466549"/>
                  <a:pt x="1756622" y="2679032"/>
                  <a:pt x="1527809" y="2835300"/>
                </a:cubicBezTo>
                <a:close/>
                <a:moveTo>
                  <a:pt x="2354776" y="1530125"/>
                </a:moveTo>
                <a:lnTo>
                  <a:pt x="2955077" y="1530125"/>
                </a:lnTo>
                <a:cubicBezTo>
                  <a:pt x="2942393" y="1866074"/>
                  <a:pt x="2817414" y="2173186"/>
                  <a:pt x="2615767" y="2414127"/>
                </a:cubicBezTo>
                <a:cubicBezTo>
                  <a:pt x="2496453" y="2311434"/>
                  <a:pt x="2362630" y="2225327"/>
                  <a:pt x="2217376" y="2159975"/>
                </a:cubicBezTo>
                <a:cubicBezTo>
                  <a:pt x="2300477" y="1965771"/>
                  <a:pt x="2348521" y="1753185"/>
                  <a:pt x="2354776" y="1530125"/>
                </a:cubicBezTo>
                <a:close/>
                <a:moveTo>
                  <a:pt x="1527809" y="1530125"/>
                </a:moveTo>
                <a:lnTo>
                  <a:pt x="2244039" y="1530125"/>
                </a:lnTo>
                <a:cubicBezTo>
                  <a:pt x="2237819" y="1737690"/>
                  <a:pt x="2192963" y="1935525"/>
                  <a:pt x="2115825" y="2116496"/>
                </a:cubicBezTo>
                <a:cubicBezTo>
                  <a:pt x="1933189" y="2043464"/>
                  <a:pt x="1735000" y="2001899"/>
                  <a:pt x="1527809" y="1997958"/>
                </a:cubicBezTo>
                <a:close/>
                <a:moveTo>
                  <a:pt x="725097" y="1530125"/>
                </a:moveTo>
                <a:lnTo>
                  <a:pt x="1426305" y="1530125"/>
                </a:lnTo>
                <a:lnTo>
                  <a:pt x="1426305" y="1998054"/>
                </a:lnTo>
                <a:cubicBezTo>
                  <a:pt x="1224105" y="2002029"/>
                  <a:pt x="1030504" y="2041966"/>
                  <a:pt x="851699" y="2112283"/>
                </a:cubicBezTo>
                <a:cubicBezTo>
                  <a:pt x="775482" y="1932518"/>
                  <a:pt x="731260" y="1736112"/>
                  <a:pt x="725097" y="1530125"/>
                </a:cubicBezTo>
                <a:close/>
                <a:moveTo>
                  <a:pt x="934" y="1530125"/>
                </a:moveTo>
                <a:lnTo>
                  <a:pt x="614360" y="1530125"/>
                </a:lnTo>
                <a:cubicBezTo>
                  <a:pt x="620543" y="1751166"/>
                  <a:pt x="667772" y="1961919"/>
                  <a:pt x="749235" y="2154869"/>
                </a:cubicBezTo>
                <a:cubicBezTo>
                  <a:pt x="599936" y="2221117"/>
                  <a:pt x="462426" y="2308980"/>
                  <a:pt x="340129" y="2414234"/>
                </a:cubicBezTo>
                <a:cubicBezTo>
                  <a:pt x="138582" y="2173144"/>
                  <a:pt x="13619" y="1866051"/>
                  <a:pt x="934" y="1530125"/>
                </a:cubicBezTo>
                <a:close/>
                <a:moveTo>
                  <a:pt x="883886" y="768586"/>
                </a:moveTo>
                <a:cubicBezTo>
                  <a:pt x="1053566" y="831753"/>
                  <a:pt x="1236128" y="867407"/>
                  <a:pt x="1426305" y="871035"/>
                </a:cubicBezTo>
                <a:lnTo>
                  <a:pt x="1426305" y="1428622"/>
                </a:lnTo>
                <a:lnTo>
                  <a:pt x="724559" y="1428622"/>
                </a:lnTo>
                <a:cubicBezTo>
                  <a:pt x="730221" y="1192426"/>
                  <a:pt x="785872" y="968634"/>
                  <a:pt x="883886" y="768586"/>
                </a:cubicBezTo>
                <a:close/>
                <a:moveTo>
                  <a:pt x="2083288" y="764501"/>
                </a:moveTo>
                <a:cubicBezTo>
                  <a:pt x="2182501" y="965616"/>
                  <a:pt x="2238869" y="1190833"/>
                  <a:pt x="2244577" y="1428622"/>
                </a:cubicBezTo>
                <a:lnTo>
                  <a:pt x="1527809" y="1428622"/>
                </a:lnTo>
                <a:lnTo>
                  <a:pt x="1527809" y="871130"/>
                </a:lnTo>
                <a:cubicBezTo>
                  <a:pt x="1722835" y="867528"/>
                  <a:pt x="1909881" y="830382"/>
                  <a:pt x="2083288" y="764501"/>
                </a:cubicBezTo>
                <a:close/>
                <a:moveTo>
                  <a:pt x="375750" y="484510"/>
                </a:moveTo>
                <a:cubicBezTo>
                  <a:pt x="497688" y="583858"/>
                  <a:pt x="633678" y="666438"/>
                  <a:pt x="780212" y="729142"/>
                </a:cubicBezTo>
                <a:cubicBezTo>
                  <a:pt x="677519" y="941475"/>
                  <a:pt x="619429" y="1178562"/>
                  <a:pt x="613822" y="1428622"/>
                </a:cubicBezTo>
                <a:lnTo>
                  <a:pt x="0" y="1428622"/>
                </a:lnTo>
                <a:cubicBezTo>
                  <a:pt x="9263" y="1065848"/>
                  <a:pt x="149371" y="735691"/>
                  <a:pt x="375750" y="484510"/>
                </a:cubicBezTo>
                <a:close/>
                <a:moveTo>
                  <a:pt x="2580304" y="484479"/>
                </a:moveTo>
                <a:cubicBezTo>
                  <a:pt x="2806628" y="735651"/>
                  <a:pt x="2946750" y="1065827"/>
                  <a:pt x="2956013" y="1428622"/>
                </a:cubicBezTo>
                <a:lnTo>
                  <a:pt x="2355314" y="1428622"/>
                </a:lnTo>
                <a:cubicBezTo>
                  <a:pt x="2349636" y="1176504"/>
                  <a:pt x="2290630" y="937573"/>
                  <a:pt x="2186241" y="724113"/>
                </a:cubicBezTo>
                <a:cubicBezTo>
                  <a:pt x="2328935" y="662418"/>
                  <a:pt x="2461323" y="581449"/>
                  <a:pt x="2580304" y="484479"/>
                </a:cubicBezTo>
                <a:close/>
                <a:moveTo>
                  <a:pt x="1426305" y="124032"/>
                </a:moveTo>
                <a:lnTo>
                  <a:pt x="1426305" y="760298"/>
                </a:lnTo>
                <a:cubicBezTo>
                  <a:pt x="1253727" y="756791"/>
                  <a:pt x="1087879" y="724966"/>
                  <a:pt x="933247" y="668842"/>
                </a:cubicBezTo>
                <a:cubicBezTo>
                  <a:pt x="1054039" y="451822"/>
                  <a:pt x="1223389" y="265609"/>
                  <a:pt x="1426305" y="124032"/>
                </a:cubicBezTo>
                <a:close/>
                <a:moveTo>
                  <a:pt x="1527809" y="112799"/>
                </a:moveTo>
                <a:cubicBezTo>
                  <a:pt x="1736145" y="255085"/>
                  <a:pt x="1910079" y="443973"/>
                  <a:pt x="2033951" y="664748"/>
                </a:cubicBezTo>
                <a:cubicBezTo>
                  <a:pt x="1875578" y="723616"/>
                  <a:pt x="1705238" y="756901"/>
                  <a:pt x="1527809" y="760394"/>
                </a:cubicBezTo>
                <a:close/>
                <a:moveTo>
                  <a:pt x="1632157" y="1693"/>
                </a:moveTo>
                <a:cubicBezTo>
                  <a:pt x="1969090" y="34839"/>
                  <a:pt x="2272411" y="181752"/>
                  <a:pt x="2502559" y="404493"/>
                </a:cubicBezTo>
                <a:cubicBezTo>
                  <a:pt x="2392455" y="493535"/>
                  <a:pt x="2270018" y="567692"/>
                  <a:pt x="2138287" y="624414"/>
                </a:cubicBezTo>
                <a:cubicBezTo>
                  <a:pt x="2004803" y="382989"/>
                  <a:pt x="1815448" y="176841"/>
                  <a:pt x="1587368" y="23269"/>
                </a:cubicBezTo>
                <a:close/>
                <a:moveTo>
                  <a:pt x="1333466" y="0"/>
                </a:moveTo>
                <a:lnTo>
                  <a:pt x="1376468" y="23177"/>
                </a:lnTo>
                <a:cubicBezTo>
                  <a:pt x="1149236" y="178863"/>
                  <a:pt x="960516" y="386575"/>
                  <a:pt x="827965" y="629347"/>
                </a:cubicBezTo>
                <a:cubicBezTo>
                  <a:pt x="692459" y="571593"/>
                  <a:pt x="566467" y="495851"/>
                  <a:pt x="453430" y="404475"/>
                </a:cubicBezTo>
                <a:cubicBezTo>
                  <a:pt x="685742" y="179438"/>
                  <a:pt x="992667" y="31629"/>
                  <a:pt x="1333466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 latinLnBrk="0"/>
            <a:endParaRPr lang="ko-KR" altLang="en-US" sz="2701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CFDDF809-8D23-41B1-A437-91F8B9D665D4}"/>
              </a:ext>
            </a:extLst>
          </p:cNvPr>
          <p:cNvGrpSpPr/>
          <p:nvPr/>
        </p:nvGrpSpPr>
        <p:grpSpPr>
          <a:xfrm>
            <a:off x="96858" y="4858047"/>
            <a:ext cx="4649681" cy="1634728"/>
            <a:chOff x="3017859" y="4283314"/>
            <a:chExt cx="1886852" cy="1522331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82385162-A62F-4914-9A20-A0CF56F059CB}"/>
                </a:ext>
              </a:extLst>
            </p:cNvPr>
            <p:cNvSpPr txBox="1"/>
            <p:nvPr/>
          </p:nvSpPr>
          <p:spPr>
            <a:xfrm>
              <a:off x="3017859" y="4687845"/>
              <a:ext cx="1886852" cy="1117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dirty="0" err="1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신한카드</a:t>
              </a:r>
              <a:r>
                <a:rPr lang="ko-KR" altLang="en-US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 매출액 데이터에서도 가장 많은 비중을 차지하는 것이 유통업</a:t>
              </a:r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(</a:t>
              </a:r>
              <a:r>
                <a:rPr lang="ko-KR" altLang="en-US" dirty="0" err="1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대형마트</a:t>
              </a:r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편의점</a:t>
              </a:r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백화점</a:t>
              </a:r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)</a:t>
              </a:r>
            </a:p>
            <a:p>
              <a:pPr defTabSz="914286" latinLnBrk="0"/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2019</a:t>
              </a:r>
              <a:r>
                <a:rPr lang="ko-KR" altLang="en-US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년 대비 </a:t>
              </a:r>
              <a:r>
                <a:rPr lang="en-US" altLang="ko-KR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2020</a:t>
              </a:r>
              <a:r>
                <a:rPr lang="ko-KR" altLang="en-US" dirty="0">
                  <a:solidFill>
                    <a:prstClr val="black"/>
                  </a:solidFill>
                  <a:ea typeface="08서울남산체 B" panose="02020603020101020101" pitchFamily="18" charset="-127"/>
                  <a:cs typeface="Arial" pitchFamily="34" charset="0"/>
                </a:rPr>
                <a:t>년에 매출액 감소 비율로 보아 코로나로 인해 타격이 가장 큰 업종이기도 함</a:t>
              </a:r>
              <a:endPara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01CC4C31-C22C-4364-A6C2-6B0916B43335}"/>
                </a:ext>
              </a:extLst>
            </p:cNvPr>
            <p:cNvSpPr txBox="1"/>
            <p:nvPr/>
          </p:nvSpPr>
          <p:spPr>
            <a:xfrm>
              <a:off x="3017859" y="4283314"/>
              <a:ext cx="1870812" cy="31527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en-US" altLang="ko-KR" sz="16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Ex) </a:t>
              </a:r>
              <a:r>
                <a:rPr lang="ko-KR" altLang="en-US" sz="16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이마트</a:t>
              </a:r>
              <a:r>
                <a:rPr lang="en-US" altLang="ko-KR" sz="16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홈플러스</a:t>
              </a:r>
              <a:r>
                <a:rPr lang="en-US" altLang="ko-KR" sz="16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롯데백화점</a:t>
              </a:r>
              <a:r>
                <a:rPr lang="en-US" altLang="ko-KR" sz="16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신세계 백화점</a:t>
              </a:r>
              <a:endParaRPr lang="en-US" altLang="ko-KR" sz="16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427E5958-B5A9-4C36-B6C7-CCCA592C4707}"/>
              </a:ext>
            </a:extLst>
          </p:cNvPr>
          <p:cNvGrpSpPr/>
          <p:nvPr/>
        </p:nvGrpSpPr>
        <p:grpSpPr>
          <a:xfrm>
            <a:off x="7368109" y="4918734"/>
            <a:ext cx="4538209" cy="747421"/>
            <a:chOff x="3017859" y="4283314"/>
            <a:chExt cx="1890849" cy="59610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6BF7E384-559E-44C6-9696-39FC528FCE93}"/>
                </a:ext>
              </a:extLst>
            </p:cNvPr>
            <p:cNvSpPr txBox="1"/>
            <p:nvPr/>
          </p:nvSpPr>
          <p:spPr>
            <a:xfrm>
              <a:off x="3021856" y="4560313"/>
              <a:ext cx="1886852" cy="319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286" latinLnBrk="0"/>
              <a:endParaRPr lang="en-US" altLang="ko-KR" sz="2000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3C2E936B-37E4-4035-AF75-8998D6217C77}"/>
                </a:ext>
              </a:extLst>
            </p:cNvPr>
            <p:cNvSpPr txBox="1"/>
            <p:nvPr/>
          </p:nvSpPr>
          <p:spPr>
            <a:xfrm>
              <a:off x="3017859" y="4283314"/>
              <a:ext cx="1870812" cy="270015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>
              <a:spAutoFit/>
            </a:bodyPr>
            <a:lstStyle/>
            <a:p>
              <a:pPr algn="r" defTabSz="914286" latinLnBrk="0"/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ex)</a:t>
              </a:r>
              <a:r>
                <a:rPr lang="ko-KR" altLang="en-US" sz="1600" b="1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롯데닷컴</a:t>
              </a:r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신세계몰</a:t>
              </a:r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현대 </a:t>
              </a:r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H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몰 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82385162-A62F-4914-9A20-A0CF56F059CB}"/>
              </a:ext>
            </a:extLst>
          </p:cNvPr>
          <p:cNvSpPr txBox="1"/>
          <p:nvPr/>
        </p:nvSpPr>
        <p:spPr>
          <a:xfrm>
            <a:off x="7368109" y="5266044"/>
            <a:ext cx="47904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 latinLnBrk="0"/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백화점</a:t>
            </a:r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/</a:t>
            </a:r>
            <a:r>
              <a:rPr lang="ko-KR" altLang="en-US" dirty="0" err="1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대형마트는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dirty="0" err="1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온라인몰을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 함께 운영하고 있고</a:t>
            </a:r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할인점의 대체재로 사람들이 활용하는 게 </a:t>
            </a:r>
            <a:r>
              <a:rPr lang="ko-KR" altLang="en-US" dirty="0" err="1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종합몰</a:t>
            </a:r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따라서 할인점과 비교를 하고자 선정</a:t>
            </a:r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defTabSz="914286" latinLnBrk="0"/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요식업과 식료품의 </a:t>
            </a:r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trade-off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관계를 보여주기에 할인점과 </a:t>
            </a:r>
            <a:r>
              <a:rPr lang="ko-KR" altLang="en-US" dirty="0" err="1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종합몰</a:t>
            </a:r>
            <a:r>
              <a:rPr lang="ko-KR" altLang="en-US" dirty="0">
                <a:solidFill>
                  <a:prstClr val="black"/>
                </a:solidFill>
                <a:ea typeface="08서울남산체 B" panose="02020603020101020101" pitchFamily="18" charset="-127"/>
                <a:cs typeface="Arial" pitchFamily="34" charset="0"/>
              </a:rPr>
              <a:t> 비교가 적절하다고 판단</a:t>
            </a:r>
            <a:endParaRPr lang="en-US" altLang="ko-KR" dirty="0">
              <a:solidFill>
                <a:prstClr val="black"/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defTabSz="914286" latinLnBrk="0"/>
            <a:endParaRPr lang="en-US" altLang="ko-KR" dirty="0">
              <a:solidFill>
                <a:prstClr val="black"/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46746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"/>
          <a:srcRect l="10252" t="11010" r="26170" b="21346"/>
          <a:stretch/>
        </p:blipFill>
        <p:spPr>
          <a:xfrm>
            <a:off x="6176669" y="1448675"/>
            <a:ext cx="5903071" cy="3532900"/>
          </a:xfrm>
          <a:prstGeom prst="rect">
            <a:avLst/>
          </a:prstGeom>
        </p:spPr>
      </p:pic>
      <p:sp>
        <p:nvSpPr>
          <p:cNvPr id="5" name="Text Placeholder 1"/>
          <p:cNvSpPr txBox="1">
            <a:spLocks/>
          </p:cNvSpPr>
          <p:nvPr/>
        </p:nvSpPr>
        <p:spPr>
          <a:xfrm>
            <a:off x="323529" y="264008"/>
            <a:ext cx="11573197" cy="724247"/>
          </a:xfrm>
          <a:prstGeom prst="rect">
            <a:avLst/>
          </a:prstGeom>
        </p:spPr>
        <p:txBody>
          <a:bodyPr>
            <a:normAutofit/>
          </a:bodyPr>
          <a:lstStyle>
            <a:lvl1pPr marL="228605" indent="-228605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ko-KR" altLang="en-US" sz="32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한카드</a:t>
            </a:r>
            <a:r>
              <a:rPr lang="ko-KR" altLang="en-US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9/2020</a:t>
            </a:r>
            <a:r>
              <a:rPr lang="ko-KR" altLang="en-US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 오프라인 매출 데이터</a:t>
            </a:r>
            <a:endParaRPr lang="en-US" sz="32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3086100" y="5543550"/>
            <a:ext cx="6010275" cy="6667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한카드</a:t>
            </a:r>
            <a:r>
              <a:rPr lang="en-US" altLang="ko-KR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_</a:t>
            </a:r>
            <a:r>
              <a: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</a:t>
            </a:r>
            <a:r>
              <a:rPr lang="en-US" altLang="ko-KR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_</a:t>
            </a:r>
            <a:r>
              <a: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이용건수</a:t>
            </a:r>
            <a:r>
              <a:rPr lang="en-US" altLang="ko-KR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csv</a:t>
            </a:r>
            <a:r>
              <a:rPr lang="ko-KR" altLang="en-US" sz="2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endParaRPr lang="en-US" altLang="ko-KR" sz="2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2019" t="1" r="1208" b="1183"/>
          <a:stretch/>
        </p:blipFill>
        <p:spPr>
          <a:xfrm>
            <a:off x="70600" y="1448675"/>
            <a:ext cx="6031000" cy="353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4722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323529" y="264008"/>
            <a:ext cx="11573197" cy="724247"/>
          </a:xfrm>
          <a:prstGeom prst="rect">
            <a:avLst/>
          </a:prstGeom>
        </p:spPr>
        <p:txBody>
          <a:bodyPr>
            <a:normAutofit/>
          </a:bodyPr>
          <a:lstStyle>
            <a:lvl1pPr marL="228605" indent="-228605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2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40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5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8" indent="-228605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ko-KR" altLang="en-US" sz="32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한카드</a:t>
            </a:r>
            <a:r>
              <a:rPr lang="ko-KR" altLang="en-US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9/2020</a:t>
            </a:r>
            <a:r>
              <a:rPr lang="ko-KR" altLang="en-US" sz="32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 오프라인 매출 데이터 분석</a:t>
            </a:r>
            <a:endParaRPr lang="en-US" sz="32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374" y="1199072"/>
            <a:ext cx="6428098" cy="3588586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3"/>
          <a:srcRect l="7655" t="1411"/>
          <a:stretch/>
        </p:blipFill>
        <p:spPr>
          <a:xfrm>
            <a:off x="129396" y="1324685"/>
            <a:ext cx="5244688" cy="3212810"/>
          </a:xfrm>
          <a:prstGeom prst="rect">
            <a:avLst/>
          </a:prstGeom>
        </p:spPr>
      </p:pic>
      <p:sp>
        <p:nvSpPr>
          <p:cNvPr id="8" name="Rounded Rectangle 13">
            <a:extLst>
              <a:ext uri="{FF2B5EF4-FFF2-40B4-BE49-F238E27FC236}">
                <a16:creationId xmlns:a16="http://schemas.microsoft.com/office/drawing/2014/main" xmlns="" id="{6DF5C207-4E9F-4443-A6C8-630E86FF12AB}"/>
              </a:ext>
            </a:extLst>
          </p:cNvPr>
          <p:cNvSpPr/>
          <p:nvPr/>
        </p:nvSpPr>
        <p:spPr>
          <a:xfrm>
            <a:off x="2031910" y="5300611"/>
            <a:ext cx="8207645" cy="1333102"/>
          </a:xfrm>
          <a:prstGeom prst="roundRect">
            <a:avLst>
              <a:gd name="adj" fmla="val 12448"/>
            </a:avLst>
          </a:prstGeom>
          <a:solidFill>
            <a:schemeClr val="accent2">
              <a:lumMod val="40000"/>
              <a:lumOff val="6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>
              <a:lnSpc>
                <a:spcPct val="150000"/>
              </a:lnSpc>
            </a:pPr>
            <a:r>
              <a:rPr lang="en-US" altLang="ko-KR" b="1" dirty="0">
                <a:solidFill>
                  <a:srgbClr val="FF0000"/>
                </a:solidFill>
                <a:ea typeface="08서울남산체 B" panose="02020603020101020101" pitchFamily="18" charset="-127"/>
              </a:rPr>
              <a:t>Key points</a:t>
            </a: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토요일에 가장 소비가 많고 일요일에 소비가 가장 적은 </a:t>
            </a:r>
            <a:r>
              <a:rPr lang="ko-KR" altLang="en-US" b="1" dirty="0" err="1">
                <a:solidFill>
                  <a:schemeClr val="tx1"/>
                </a:solidFill>
                <a:ea typeface="08서울남산체 B" panose="02020603020101020101" pitchFamily="18" charset="-127"/>
              </a:rPr>
              <a:t>개형</a:t>
            </a:r>
            <a:endParaRPr lang="en-US" altLang="ko-KR" b="1" dirty="0">
              <a:solidFill>
                <a:schemeClr val="tx1"/>
              </a:solidFill>
              <a:ea typeface="08서울남산체 B" panose="02020603020101020101" pitchFamily="18" charset="-127"/>
            </a:endParaRPr>
          </a:p>
          <a:p>
            <a:pPr marL="285750" indent="-285750" algn="ctr" defTabSz="914286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2019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년과 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2020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년에 동일한 추이 </a:t>
            </a:r>
            <a:r>
              <a:rPr lang="en-US" altLang="ko-KR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but 2020</a:t>
            </a:r>
            <a:r>
              <a:rPr lang="ko-KR" altLang="en-US" b="1" dirty="0">
                <a:solidFill>
                  <a:schemeClr val="tx1"/>
                </a:solidFill>
                <a:ea typeface="08서울남산체 B" panose="02020603020101020101" pitchFamily="18" charset="-127"/>
              </a:rPr>
              <a:t>년에는 월요일 소비가 두드러짐</a:t>
            </a:r>
            <a:endParaRPr lang="en-US" altLang="ko-KR" b="1" dirty="0">
              <a:solidFill>
                <a:schemeClr val="tx1"/>
              </a:solidFill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7446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DB15C489-99E5-47FA-9AF0-9C6AC05FF0F8}"/>
              </a:ext>
            </a:extLst>
          </p:cNvPr>
          <p:cNvGrpSpPr/>
          <p:nvPr/>
        </p:nvGrpSpPr>
        <p:grpSpPr>
          <a:xfrm>
            <a:off x="0" y="1"/>
            <a:ext cx="12192000" cy="1695449"/>
            <a:chOff x="0" y="0"/>
            <a:chExt cx="12192000" cy="306245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ECAFB7-E805-45F5-ABC8-45B4333712D0}"/>
                </a:ext>
              </a:extLst>
            </p:cNvPr>
            <p:cNvSpPr/>
            <p:nvPr/>
          </p:nvSpPr>
          <p:spPr>
            <a:xfrm>
              <a:off x="0" y="0"/>
              <a:ext cx="12192000" cy="26765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xmlns="" id="{A51A2F51-96CB-4067-93D9-8D845255779D}"/>
                </a:ext>
              </a:extLst>
            </p:cNvPr>
            <p:cNvSpPr/>
            <p:nvPr/>
          </p:nvSpPr>
          <p:spPr>
            <a:xfrm rot="10800000">
              <a:off x="10420349" y="2676524"/>
              <a:ext cx="542925" cy="38592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5" name="Text Placeholder 10">
            <a:extLst>
              <a:ext uri="{FF2B5EF4-FFF2-40B4-BE49-F238E27FC236}">
                <a16:creationId xmlns:a16="http://schemas.microsoft.com/office/drawing/2014/main" xmlns="" id="{C9B13389-5111-4D19-AF80-BA39276FDC2A}"/>
              </a:ext>
            </a:extLst>
          </p:cNvPr>
          <p:cNvSpPr txBox="1">
            <a:spLocks/>
          </p:cNvSpPr>
          <p:nvPr/>
        </p:nvSpPr>
        <p:spPr>
          <a:xfrm>
            <a:off x="784203" y="616960"/>
            <a:ext cx="7397771" cy="983044"/>
          </a:xfrm>
          <a:prstGeom prst="rect">
            <a:avLst/>
          </a:prstGeom>
          <a:noFill/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ko-KR" altLang="en-US" sz="2000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워드클라우드를</a:t>
            </a:r>
            <a:r>
              <a:rPr lang="ko-KR" altLang="en-US" sz="20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위한 자료수집</a:t>
            </a:r>
            <a:endParaRPr lang="en-US" altLang="ko-KR" sz="2000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AB41950-DE18-4BC4-83B2-C28B867C3220}"/>
              </a:ext>
            </a:extLst>
          </p:cNvPr>
          <p:cNvSpPr txBox="1"/>
          <p:nvPr/>
        </p:nvSpPr>
        <p:spPr>
          <a:xfrm>
            <a:off x="664328" y="245787"/>
            <a:ext cx="57118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키워드 </a:t>
            </a:r>
            <a:r>
              <a:rPr lang="ko-KR" altLang="en-US" sz="4000" b="1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크롤링</a:t>
            </a:r>
            <a:r>
              <a:rPr lang="ko-KR" altLang="en-US" sz="40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코드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0BA6DF7-0337-41A0-9821-FD1EDB36B1BB}"/>
              </a:ext>
            </a:extLst>
          </p:cNvPr>
          <p:cNvSpPr txBox="1"/>
          <p:nvPr/>
        </p:nvSpPr>
        <p:spPr>
          <a:xfrm>
            <a:off x="1438273" y="1591270"/>
            <a:ext cx="39052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 err="1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팬데믹</a:t>
            </a:r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시대에 </a:t>
            </a:r>
            <a:r>
              <a:rPr lang="ko-KR" altLang="en-US" sz="1600" dirty="0" err="1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뉴노멀</a:t>
            </a:r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소비 트렌드를 알아보기 위해</a:t>
            </a:r>
            <a:r>
              <a:rPr lang="en-US" altLang="ko-KR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 err="1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워드클라우드를</a:t>
            </a:r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제작하고자 한다</a:t>
            </a:r>
            <a:r>
              <a:rPr lang="en-US" altLang="ko-KR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가장 먼저 원하는 키워드와 검색하고 싶은 기간을 설정한다</a:t>
            </a:r>
            <a:r>
              <a:rPr lang="en-US" altLang="ko-KR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67DFE45-40E1-42E3-A0E8-1F34059B2B0A}"/>
              </a:ext>
            </a:extLst>
          </p:cNvPr>
          <p:cNvSpPr txBox="1"/>
          <p:nvPr/>
        </p:nvSpPr>
        <p:spPr>
          <a:xfrm>
            <a:off x="664328" y="1591270"/>
            <a:ext cx="773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Calibri" pitchFamily="34" charset="0"/>
              </a:rPr>
              <a:t>01</a:t>
            </a:r>
            <a:endParaRPr lang="ko-KR" alt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Calibr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02AF383-917B-4947-AC28-A4A645D1044F}"/>
              </a:ext>
            </a:extLst>
          </p:cNvPr>
          <p:cNvSpPr txBox="1"/>
          <p:nvPr/>
        </p:nvSpPr>
        <p:spPr>
          <a:xfrm>
            <a:off x="6957820" y="1594778"/>
            <a:ext cx="43388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Beautiful Soup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와 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Selenium, </a:t>
            </a:r>
            <a:r>
              <a:rPr lang="en-US" altLang="ko-KR" sz="1600" dirty="0" err="1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Chromedriver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를 이용하여 조건에 맞는 네이버 블로그 포스트를 불러온다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검색창을 통해 먼저 </a:t>
            </a:r>
            <a:r>
              <a:rPr lang="en-US" altLang="ko-KR" sz="1600" dirty="0" err="1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url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들을 모두 수집한 후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글에 직접 들어간다</a:t>
            </a:r>
            <a:endParaRPr lang="en-US" altLang="ko-KR" sz="1600" dirty="0">
              <a:solidFill>
                <a:schemeClr val="accent4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22A2A823-6F99-4B37-80E4-AF04A577E453}"/>
              </a:ext>
            </a:extLst>
          </p:cNvPr>
          <p:cNvSpPr txBox="1"/>
          <p:nvPr/>
        </p:nvSpPr>
        <p:spPr>
          <a:xfrm>
            <a:off x="6241984" y="1638300"/>
            <a:ext cx="773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Calibri" pitchFamily="34" charset="0"/>
              </a:rPr>
              <a:t>02</a:t>
            </a:r>
            <a:endParaRPr lang="ko-KR" alt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Calibri" pitchFamily="34" charset="0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xmlns="" id="{F5ABE455-BE55-437D-9391-F849FF86E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300" y="2786700"/>
            <a:ext cx="4124772" cy="3784585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xmlns="" id="{777F3006-5C76-4CC4-94B1-27A78BB71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929" y="2748600"/>
            <a:ext cx="3791397" cy="38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764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0BA6DF7-0337-41A0-9821-FD1EDB36B1BB}"/>
              </a:ext>
            </a:extLst>
          </p:cNvPr>
          <p:cNvSpPr txBox="1"/>
          <p:nvPr/>
        </p:nvSpPr>
        <p:spPr>
          <a:xfrm>
            <a:off x="1438273" y="1591270"/>
            <a:ext cx="41247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적절한 태그를 통해 우리가 원하는 요소들을 리스트로 저장을 한다</a:t>
            </a:r>
            <a:r>
              <a:rPr lang="en-US" altLang="ko-KR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모든 과정이 끝나면 이를 엑셀 파일로 저장을 한다</a:t>
            </a:r>
            <a:r>
              <a:rPr lang="en-US" altLang="ko-KR" sz="1600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en-US" altLang="ko-KR" sz="1600" dirty="0">
              <a:solidFill>
                <a:schemeClr val="accent3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67DFE45-40E1-42E3-A0E8-1F34059B2B0A}"/>
              </a:ext>
            </a:extLst>
          </p:cNvPr>
          <p:cNvSpPr txBox="1"/>
          <p:nvPr/>
        </p:nvSpPr>
        <p:spPr>
          <a:xfrm>
            <a:off x="664328" y="1591270"/>
            <a:ext cx="773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Calibri" pitchFamily="34" charset="0"/>
              </a:rPr>
              <a:t>03</a:t>
            </a:r>
            <a:endParaRPr lang="ko-KR" alt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Calibr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02AF383-917B-4947-AC28-A4A645D1044F}"/>
              </a:ext>
            </a:extLst>
          </p:cNvPr>
          <p:cNvSpPr txBox="1"/>
          <p:nvPr/>
        </p:nvSpPr>
        <p:spPr>
          <a:xfrm>
            <a:off x="6957821" y="1594778"/>
            <a:ext cx="41247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완성된 엑셀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파일을 확인해보면 다음과 </a:t>
            </a:r>
            <a:endParaRPr lang="en-US" altLang="ko-KR" sz="1600" dirty="0">
              <a:solidFill>
                <a:schemeClr val="accent4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같이 해당 키워드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게시 날짜와 본문 내용이 모두 포함이 되어있는 것을 확인할 수 있다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를 통해 </a:t>
            </a:r>
            <a:r>
              <a:rPr lang="ko-KR" altLang="en-US" sz="1600" dirty="0" err="1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워드클라우드를</a:t>
            </a:r>
            <a:r>
              <a:rPr lang="ko-KR" altLang="en-US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구현할 수 있다</a:t>
            </a:r>
            <a:r>
              <a:rPr lang="en-US" altLang="ko-KR" sz="1600" dirty="0">
                <a:solidFill>
                  <a:schemeClr val="accent4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22A2A823-6F99-4B37-80E4-AF04A577E453}"/>
              </a:ext>
            </a:extLst>
          </p:cNvPr>
          <p:cNvSpPr txBox="1"/>
          <p:nvPr/>
        </p:nvSpPr>
        <p:spPr>
          <a:xfrm>
            <a:off x="6241984" y="1638300"/>
            <a:ext cx="773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Calibri" pitchFamily="34" charset="0"/>
              </a:rPr>
              <a:t>04</a:t>
            </a:r>
            <a:endParaRPr lang="ko-KR" alt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Calibri" pitchFamily="34" charset="0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xmlns="" id="{4B962B4E-FDAC-4CF4-9B6D-745386CBD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3697" y="2427504"/>
            <a:ext cx="3851871" cy="4279188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xmlns="" id="{6441CF59-ECAC-43D1-B3CE-C103094D5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1275" y="2977070"/>
            <a:ext cx="5400229" cy="3505590"/>
          </a:xfrm>
          <a:prstGeom prst="rect">
            <a:avLst/>
          </a:prstGeom>
        </p:spPr>
      </p:pic>
      <p:grpSp>
        <p:nvGrpSpPr>
          <p:cNvPr id="20" name="그룹 19">
            <a:extLst>
              <a:ext uri="{FF2B5EF4-FFF2-40B4-BE49-F238E27FC236}">
                <a16:creationId xmlns:a16="http://schemas.microsoft.com/office/drawing/2014/main" xmlns="" id="{BB01051E-ADAA-453F-A725-4B596D93AD42}"/>
              </a:ext>
            </a:extLst>
          </p:cNvPr>
          <p:cNvGrpSpPr/>
          <p:nvPr/>
        </p:nvGrpSpPr>
        <p:grpSpPr>
          <a:xfrm>
            <a:off x="0" y="1"/>
            <a:ext cx="12192000" cy="1695449"/>
            <a:chOff x="0" y="0"/>
            <a:chExt cx="12192000" cy="3062451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xmlns="" id="{A781E967-D50C-40A0-9361-5F5560AF56F4}"/>
                </a:ext>
              </a:extLst>
            </p:cNvPr>
            <p:cNvSpPr/>
            <p:nvPr/>
          </p:nvSpPr>
          <p:spPr>
            <a:xfrm>
              <a:off x="0" y="0"/>
              <a:ext cx="12192000" cy="26765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  <p:sp>
          <p:nvSpPr>
            <p:cNvPr id="22" name="Isosceles Triangle 3">
              <a:extLst>
                <a:ext uri="{FF2B5EF4-FFF2-40B4-BE49-F238E27FC236}">
                  <a16:creationId xmlns:a16="http://schemas.microsoft.com/office/drawing/2014/main" xmlns="" id="{85DD9023-51F1-45B7-9396-C35BEA484475}"/>
                </a:ext>
              </a:extLst>
            </p:cNvPr>
            <p:cNvSpPr/>
            <p:nvPr/>
          </p:nvSpPr>
          <p:spPr>
            <a:xfrm rot="10800000">
              <a:off x="10420349" y="2676524"/>
              <a:ext cx="542925" cy="38592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08서울남산체 B" panose="02020603020101020101" pitchFamily="18" charset="-127"/>
                <a:ea typeface="08서울남산체 B" panose="02020603020101020101" pitchFamily="18" charset="-127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651BB8D9-0388-400B-B56E-D2CFB781310E}"/>
              </a:ext>
            </a:extLst>
          </p:cNvPr>
          <p:cNvSpPr txBox="1"/>
          <p:nvPr/>
        </p:nvSpPr>
        <p:spPr>
          <a:xfrm>
            <a:off x="664328" y="245787"/>
            <a:ext cx="57118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키워드 </a:t>
            </a:r>
            <a:r>
              <a:rPr lang="ko-KR" altLang="en-US" sz="4000" b="1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크롤링</a:t>
            </a:r>
            <a:r>
              <a:rPr lang="ko-KR" altLang="en-US" sz="40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코드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xmlns="" id="{279AB519-0486-4C77-AE3A-4B8AC8E8CDF1}"/>
              </a:ext>
            </a:extLst>
          </p:cNvPr>
          <p:cNvSpPr txBox="1">
            <a:spLocks/>
          </p:cNvSpPr>
          <p:nvPr/>
        </p:nvSpPr>
        <p:spPr>
          <a:xfrm>
            <a:off x="784203" y="616960"/>
            <a:ext cx="7397771" cy="983044"/>
          </a:xfrm>
          <a:prstGeom prst="rect">
            <a:avLst/>
          </a:prstGeom>
          <a:noFill/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ko-KR" altLang="en-US" sz="2000" dirty="0" err="1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워드클라우드를</a:t>
            </a:r>
            <a:r>
              <a:rPr lang="ko-KR" altLang="en-US" sz="2000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위한 자료수집</a:t>
            </a:r>
            <a:endParaRPr lang="en-US" altLang="ko-KR" sz="2000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0983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>
            <a:extLst>
              <a:ext uri="{FF2B5EF4-FFF2-40B4-BE49-F238E27FC236}">
                <a16:creationId xmlns:a16="http://schemas.microsoft.com/office/drawing/2014/main" xmlns="" id="{33F8584F-2E99-4ACE-9800-AB5DCD70E3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954"/>
          <a:stretch/>
        </p:blipFill>
        <p:spPr>
          <a:xfrm>
            <a:off x="626040" y="0"/>
            <a:ext cx="11554385" cy="6858000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41D4E2A3-2FC2-4D97-89C6-46E9B63910BF}"/>
              </a:ext>
            </a:extLst>
          </p:cNvPr>
          <p:cNvSpPr/>
          <p:nvPr/>
        </p:nvSpPr>
        <p:spPr>
          <a:xfrm>
            <a:off x="7213085" y="809998"/>
            <a:ext cx="4396803" cy="720638"/>
          </a:xfrm>
          <a:prstGeom prst="rect">
            <a:avLst/>
          </a:prstGeom>
          <a:noFill/>
        </p:spPr>
        <p:txBody>
          <a:bodyPr lIns="0" anchor="ctr"/>
          <a:lstStyle/>
          <a:p>
            <a:r>
              <a:rPr lang="en-US" altLang="ko-KR" sz="4000" b="1" dirty="0">
                <a:solidFill>
                  <a:schemeClr val="accent2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KEYWORD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FC6AA8D9-558E-4907-8262-B34875DE4C9C}"/>
              </a:ext>
            </a:extLst>
          </p:cNvPr>
          <p:cNvSpPr/>
          <p:nvPr/>
        </p:nvSpPr>
        <p:spPr>
          <a:xfrm>
            <a:off x="7255441" y="1783313"/>
            <a:ext cx="4396804" cy="720638"/>
          </a:xfrm>
          <a:prstGeom prst="rect">
            <a:avLst/>
          </a:prstGeom>
          <a:noFill/>
        </p:spPr>
        <p:txBody>
          <a:bodyPr lIns="0" anchor="ctr"/>
          <a:lstStyle/>
          <a:p>
            <a:r>
              <a:rPr lang="en-US" altLang="ko-KR" sz="4000" b="1" dirty="0">
                <a:solidFill>
                  <a:schemeClr val="accent2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WORD CLOU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C82EAF9-A181-4F91-8552-1A566BBF224C}"/>
              </a:ext>
            </a:extLst>
          </p:cNvPr>
          <p:cNvSpPr txBox="1"/>
          <p:nvPr/>
        </p:nvSpPr>
        <p:spPr>
          <a:xfrm>
            <a:off x="2043955" y="5580232"/>
            <a:ext cx="26355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Modern Portfolio Design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115FD6E0-550C-41F3-AC44-3EEA9EE7C261}"/>
              </a:ext>
            </a:extLst>
          </p:cNvPr>
          <p:cNvSpPr txBox="1"/>
          <p:nvPr/>
        </p:nvSpPr>
        <p:spPr>
          <a:xfrm>
            <a:off x="6969466" y="2442378"/>
            <a:ext cx="5316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워드클라우드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?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3D355A9C-4AB3-4FBE-AF5E-CE030FC14141}"/>
              </a:ext>
            </a:extLst>
          </p:cNvPr>
          <p:cNvSpPr txBox="1"/>
          <p:nvPr/>
        </p:nvSpPr>
        <p:spPr>
          <a:xfrm>
            <a:off x="8679885" y="3833567"/>
            <a:ext cx="1371600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WORD</a:t>
            </a:r>
            <a:endParaRPr lang="ko-KR" altLang="en-US" sz="1400" b="1" dirty="0">
              <a:solidFill>
                <a:schemeClr val="bg1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574A42B1-3309-489F-82FA-37A19EB3B139}"/>
              </a:ext>
            </a:extLst>
          </p:cNvPr>
          <p:cNvSpPr txBox="1"/>
          <p:nvPr/>
        </p:nvSpPr>
        <p:spPr>
          <a:xfrm>
            <a:off x="6969466" y="2853819"/>
            <a:ext cx="52095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문서의 </a:t>
            </a:r>
            <a:r>
              <a:rPr lang="ko-KR" altLang="en-US" sz="1600" b="1" dirty="0">
                <a:solidFill>
                  <a:srgbClr val="FFC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핵심 단어 및 주요 개념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을 직관적으로 파악할 수 있도록 각 단어의 </a:t>
            </a:r>
            <a:r>
              <a:rPr lang="ko-KR" altLang="en-US" sz="1600" dirty="0">
                <a:solidFill>
                  <a:srgbClr val="FFC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빈도 수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를 계산하여 빈도수가 많은 단어들을 크기 순으로 시각적으로 표현하는 기법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144B38F8-F32B-4EBA-8F81-E627515EA4DE}"/>
              </a:ext>
            </a:extLst>
          </p:cNvPr>
          <p:cNvSpPr txBox="1"/>
          <p:nvPr/>
        </p:nvSpPr>
        <p:spPr>
          <a:xfrm>
            <a:off x="6750616" y="3835223"/>
            <a:ext cx="1371600" cy="307777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KEYWOR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B551A24F-6E51-4C4A-8E07-428F2B3CAF26}"/>
              </a:ext>
            </a:extLst>
          </p:cNvPr>
          <p:cNvSpPr txBox="1"/>
          <p:nvPr/>
        </p:nvSpPr>
        <p:spPr>
          <a:xfrm>
            <a:off x="10591800" y="3824041"/>
            <a:ext cx="1371600" cy="307777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CLOU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629F83E3-7875-4E43-89FE-B7BF9C6571A1}"/>
              </a:ext>
            </a:extLst>
          </p:cNvPr>
          <p:cNvSpPr txBox="1"/>
          <p:nvPr/>
        </p:nvSpPr>
        <p:spPr>
          <a:xfrm>
            <a:off x="7528243" y="4353590"/>
            <a:ext cx="39269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문서에 포함되어 있는 키워드를 직관적으로 볼 수 있으므로 특정 검색어에 대한 사람들의 전반적 인식을 간략하게 확인할 수 있음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6DF76762-24DE-487C-9F41-463E38726869}"/>
              </a:ext>
            </a:extLst>
          </p:cNvPr>
          <p:cNvSpPr/>
          <p:nvPr/>
        </p:nvSpPr>
        <p:spPr>
          <a:xfrm>
            <a:off x="6671170" y="5503850"/>
            <a:ext cx="576064" cy="576064"/>
          </a:xfrm>
          <a:prstGeom prst="ellipse">
            <a:avLst/>
          </a:prstGeom>
          <a:solidFill>
            <a:schemeClr val="accent2"/>
          </a:solidFill>
          <a:ln w="12700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C21FC26-B31A-4396-B75B-ECC0F10C6CA5}"/>
              </a:ext>
            </a:extLst>
          </p:cNvPr>
          <p:cNvSpPr txBox="1"/>
          <p:nvPr/>
        </p:nvSpPr>
        <p:spPr>
          <a:xfrm>
            <a:off x="7568849" y="5373469"/>
            <a:ext cx="45183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앞서 활용한 수치적인 데이터와 더불어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특정 상품이나 개념에 대한 </a:t>
            </a:r>
            <a:r>
              <a:rPr lang="ko-KR" altLang="en-US" sz="1600" dirty="0">
                <a:solidFill>
                  <a:srgbClr val="FFC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소비자의 전반적 인식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을 파악하면 만족도를 높이는 적절한 마케팅 전략을 세우는 데 참고할 수 있음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네이버 블로그 </a:t>
            </a:r>
            <a:r>
              <a:rPr lang="ko-KR" alt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롤링을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통하여 </a:t>
            </a:r>
            <a:r>
              <a:rPr lang="ko-KR" alt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워드클라우드를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만들고 전략을 수립함</a:t>
            </a:r>
          </a:p>
        </p:txBody>
      </p:sp>
      <p:sp>
        <p:nvSpPr>
          <p:cNvPr id="57" name="Rounded Rectangle 10">
            <a:extLst>
              <a:ext uri="{FF2B5EF4-FFF2-40B4-BE49-F238E27FC236}">
                <a16:creationId xmlns:a16="http://schemas.microsoft.com/office/drawing/2014/main" xmlns="" id="{6447BFCC-C5B1-4547-9BA0-6FF74764DE77}"/>
              </a:ext>
            </a:extLst>
          </p:cNvPr>
          <p:cNvSpPr/>
          <p:nvPr/>
        </p:nvSpPr>
        <p:spPr>
          <a:xfrm>
            <a:off x="6850830" y="5640752"/>
            <a:ext cx="228398" cy="302259"/>
          </a:xfrm>
          <a:custGeom>
            <a:avLst/>
            <a:gdLst/>
            <a:ahLst/>
            <a:cxnLst/>
            <a:rect l="l" t="t" r="r" b="b"/>
            <a:pathLst>
              <a:path w="2448272" h="3240000">
                <a:moveTo>
                  <a:pt x="1358676" y="2676152"/>
                </a:moveTo>
                <a:cubicBezTo>
                  <a:pt x="1327753" y="2676152"/>
                  <a:pt x="1302685" y="2701220"/>
                  <a:pt x="1302685" y="2732143"/>
                </a:cubicBezTo>
                <a:lnTo>
                  <a:pt x="1302685" y="2956101"/>
                </a:lnTo>
                <a:cubicBezTo>
                  <a:pt x="1302685" y="2987024"/>
                  <a:pt x="1327753" y="3012092"/>
                  <a:pt x="1358676" y="3012092"/>
                </a:cubicBezTo>
                <a:lnTo>
                  <a:pt x="1582634" y="3012092"/>
                </a:lnTo>
                <a:cubicBezTo>
                  <a:pt x="1613557" y="3012092"/>
                  <a:pt x="1638625" y="2987024"/>
                  <a:pt x="1638625" y="2956101"/>
                </a:cubicBezTo>
                <a:lnTo>
                  <a:pt x="1638625" y="2732143"/>
                </a:lnTo>
                <a:cubicBezTo>
                  <a:pt x="1638625" y="2701220"/>
                  <a:pt x="1613557" y="2676152"/>
                  <a:pt x="1582634" y="2676152"/>
                </a:cubicBezTo>
                <a:close/>
                <a:moveTo>
                  <a:pt x="837062" y="2676152"/>
                </a:moveTo>
                <a:cubicBezTo>
                  <a:pt x="806139" y="2676152"/>
                  <a:pt x="781071" y="2701220"/>
                  <a:pt x="781071" y="2732143"/>
                </a:cubicBezTo>
                <a:lnTo>
                  <a:pt x="781071" y="2956101"/>
                </a:lnTo>
                <a:cubicBezTo>
                  <a:pt x="781071" y="2987024"/>
                  <a:pt x="806139" y="3012092"/>
                  <a:pt x="837062" y="3012092"/>
                </a:cubicBezTo>
                <a:lnTo>
                  <a:pt x="1061020" y="3012092"/>
                </a:lnTo>
                <a:cubicBezTo>
                  <a:pt x="1091943" y="3012092"/>
                  <a:pt x="1117011" y="2987024"/>
                  <a:pt x="1117011" y="2956101"/>
                </a:cubicBezTo>
                <a:lnTo>
                  <a:pt x="1117011" y="2732143"/>
                </a:lnTo>
                <a:cubicBezTo>
                  <a:pt x="1117011" y="2701220"/>
                  <a:pt x="1091943" y="2676152"/>
                  <a:pt x="1061020" y="2676152"/>
                </a:cubicBezTo>
                <a:close/>
                <a:moveTo>
                  <a:pt x="315448" y="2676152"/>
                </a:moveTo>
                <a:cubicBezTo>
                  <a:pt x="284525" y="2676152"/>
                  <a:pt x="259457" y="2701220"/>
                  <a:pt x="259457" y="2732143"/>
                </a:cubicBezTo>
                <a:lnTo>
                  <a:pt x="259457" y="2956101"/>
                </a:lnTo>
                <a:cubicBezTo>
                  <a:pt x="259457" y="2987024"/>
                  <a:pt x="284525" y="3012092"/>
                  <a:pt x="315448" y="3012092"/>
                </a:cubicBezTo>
                <a:lnTo>
                  <a:pt x="539406" y="3012092"/>
                </a:lnTo>
                <a:cubicBezTo>
                  <a:pt x="570329" y="3012092"/>
                  <a:pt x="595397" y="2987024"/>
                  <a:pt x="595397" y="2956101"/>
                </a:cubicBezTo>
                <a:lnTo>
                  <a:pt x="595397" y="2732143"/>
                </a:lnTo>
                <a:cubicBezTo>
                  <a:pt x="595397" y="2701220"/>
                  <a:pt x="570329" y="2676152"/>
                  <a:pt x="539406" y="2676152"/>
                </a:cubicBezTo>
                <a:close/>
                <a:moveTo>
                  <a:pt x="1880291" y="2179832"/>
                </a:moveTo>
                <a:cubicBezTo>
                  <a:pt x="1849368" y="2179832"/>
                  <a:pt x="1824300" y="2204900"/>
                  <a:pt x="1824300" y="2235823"/>
                </a:cubicBezTo>
                <a:lnTo>
                  <a:pt x="1824300" y="2956101"/>
                </a:lnTo>
                <a:cubicBezTo>
                  <a:pt x="1824300" y="2987024"/>
                  <a:pt x="1849368" y="3012092"/>
                  <a:pt x="1880291" y="3012092"/>
                </a:cubicBezTo>
                <a:lnTo>
                  <a:pt x="2104249" y="3012092"/>
                </a:lnTo>
                <a:cubicBezTo>
                  <a:pt x="2135172" y="3012092"/>
                  <a:pt x="2160240" y="2987024"/>
                  <a:pt x="2160240" y="2956101"/>
                </a:cubicBezTo>
                <a:lnTo>
                  <a:pt x="2160240" y="2235823"/>
                </a:lnTo>
                <a:cubicBezTo>
                  <a:pt x="2160240" y="2204900"/>
                  <a:pt x="2135172" y="2179832"/>
                  <a:pt x="2104249" y="2179832"/>
                </a:cubicBezTo>
                <a:close/>
                <a:moveTo>
                  <a:pt x="1358676" y="2179832"/>
                </a:moveTo>
                <a:cubicBezTo>
                  <a:pt x="1327753" y="2179832"/>
                  <a:pt x="1302685" y="2204900"/>
                  <a:pt x="1302685" y="2235823"/>
                </a:cubicBezTo>
                <a:lnTo>
                  <a:pt x="1302685" y="2459781"/>
                </a:lnTo>
                <a:cubicBezTo>
                  <a:pt x="1302685" y="2490704"/>
                  <a:pt x="1327753" y="2515772"/>
                  <a:pt x="1358676" y="2515772"/>
                </a:cubicBezTo>
                <a:lnTo>
                  <a:pt x="1582634" y="2515772"/>
                </a:lnTo>
                <a:cubicBezTo>
                  <a:pt x="1613557" y="2515772"/>
                  <a:pt x="1638625" y="2490704"/>
                  <a:pt x="1638625" y="2459781"/>
                </a:cubicBezTo>
                <a:lnTo>
                  <a:pt x="1638625" y="2235823"/>
                </a:lnTo>
                <a:cubicBezTo>
                  <a:pt x="1638625" y="2204900"/>
                  <a:pt x="1613557" y="2179832"/>
                  <a:pt x="1582634" y="2179832"/>
                </a:cubicBezTo>
                <a:close/>
                <a:moveTo>
                  <a:pt x="837062" y="2179832"/>
                </a:moveTo>
                <a:cubicBezTo>
                  <a:pt x="806139" y="2179832"/>
                  <a:pt x="781071" y="2204900"/>
                  <a:pt x="781071" y="2235823"/>
                </a:cubicBezTo>
                <a:lnTo>
                  <a:pt x="781071" y="2459781"/>
                </a:lnTo>
                <a:cubicBezTo>
                  <a:pt x="781071" y="2490704"/>
                  <a:pt x="806139" y="2515772"/>
                  <a:pt x="837062" y="2515772"/>
                </a:cubicBezTo>
                <a:lnTo>
                  <a:pt x="1061020" y="2515772"/>
                </a:lnTo>
                <a:cubicBezTo>
                  <a:pt x="1091943" y="2515772"/>
                  <a:pt x="1117011" y="2490704"/>
                  <a:pt x="1117011" y="2459781"/>
                </a:cubicBezTo>
                <a:lnTo>
                  <a:pt x="1117011" y="2235823"/>
                </a:lnTo>
                <a:cubicBezTo>
                  <a:pt x="1117011" y="2204900"/>
                  <a:pt x="1091943" y="2179832"/>
                  <a:pt x="1061020" y="2179832"/>
                </a:cubicBezTo>
                <a:close/>
                <a:moveTo>
                  <a:pt x="315448" y="2179832"/>
                </a:moveTo>
                <a:cubicBezTo>
                  <a:pt x="284525" y="2179832"/>
                  <a:pt x="259457" y="2204900"/>
                  <a:pt x="259457" y="2235823"/>
                </a:cubicBezTo>
                <a:lnTo>
                  <a:pt x="259457" y="2459781"/>
                </a:lnTo>
                <a:cubicBezTo>
                  <a:pt x="259457" y="2490704"/>
                  <a:pt x="284525" y="2515772"/>
                  <a:pt x="315448" y="2515772"/>
                </a:cubicBezTo>
                <a:lnTo>
                  <a:pt x="539406" y="2515772"/>
                </a:lnTo>
                <a:cubicBezTo>
                  <a:pt x="570329" y="2515772"/>
                  <a:pt x="595397" y="2490704"/>
                  <a:pt x="595397" y="2459781"/>
                </a:cubicBezTo>
                <a:lnTo>
                  <a:pt x="595397" y="2235823"/>
                </a:lnTo>
                <a:cubicBezTo>
                  <a:pt x="595397" y="2204900"/>
                  <a:pt x="570329" y="2179832"/>
                  <a:pt x="539406" y="2179832"/>
                </a:cubicBezTo>
                <a:close/>
                <a:moveTo>
                  <a:pt x="1880291" y="1683512"/>
                </a:moveTo>
                <a:cubicBezTo>
                  <a:pt x="1849368" y="1683512"/>
                  <a:pt x="1824300" y="1708580"/>
                  <a:pt x="1824300" y="1739503"/>
                </a:cubicBezTo>
                <a:lnTo>
                  <a:pt x="1824300" y="1963461"/>
                </a:lnTo>
                <a:cubicBezTo>
                  <a:pt x="1824300" y="1994384"/>
                  <a:pt x="1849368" y="2019452"/>
                  <a:pt x="1880291" y="2019452"/>
                </a:cubicBezTo>
                <a:lnTo>
                  <a:pt x="2104249" y="2019452"/>
                </a:lnTo>
                <a:cubicBezTo>
                  <a:pt x="2135172" y="2019452"/>
                  <a:pt x="2160240" y="1994384"/>
                  <a:pt x="2160240" y="1963461"/>
                </a:cubicBezTo>
                <a:lnTo>
                  <a:pt x="2160240" y="1739503"/>
                </a:lnTo>
                <a:cubicBezTo>
                  <a:pt x="2160240" y="1708580"/>
                  <a:pt x="2135172" y="1683512"/>
                  <a:pt x="2104249" y="1683512"/>
                </a:cubicBezTo>
                <a:close/>
                <a:moveTo>
                  <a:pt x="1358676" y="1683512"/>
                </a:moveTo>
                <a:cubicBezTo>
                  <a:pt x="1327753" y="1683512"/>
                  <a:pt x="1302685" y="1708580"/>
                  <a:pt x="1302685" y="1739503"/>
                </a:cubicBezTo>
                <a:lnTo>
                  <a:pt x="1302685" y="1963461"/>
                </a:lnTo>
                <a:cubicBezTo>
                  <a:pt x="1302685" y="1994384"/>
                  <a:pt x="1327753" y="2019452"/>
                  <a:pt x="1358676" y="2019452"/>
                </a:cubicBezTo>
                <a:lnTo>
                  <a:pt x="1582634" y="2019452"/>
                </a:lnTo>
                <a:cubicBezTo>
                  <a:pt x="1613557" y="2019452"/>
                  <a:pt x="1638625" y="1994384"/>
                  <a:pt x="1638625" y="1963461"/>
                </a:cubicBezTo>
                <a:lnTo>
                  <a:pt x="1638625" y="1739503"/>
                </a:lnTo>
                <a:cubicBezTo>
                  <a:pt x="1638625" y="1708580"/>
                  <a:pt x="1613557" y="1683512"/>
                  <a:pt x="1582634" y="1683512"/>
                </a:cubicBezTo>
                <a:close/>
                <a:moveTo>
                  <a:pt x="837062" y="1683512"/>
                </a:moveTo>
                <a:cubicBezTo>
                  <a:pt x="806139" y="1683512"/>
                  <a:pt x="781071" y="1708580"/>
                  <a:pt x="781071" y="1739503"/>
                </a:cubicBezTo>
                <a:lnTo>
                  <a:pt x="781071" y="1963461"/>
                </a:lnTo>
                <a:cubicBezTo>
                  <a:pt x="781071" y="1994384"/>
                  <a:pt x="806139" y="2019452"/>
                  <a:pt x="837062" y="2019452"/>
                </a:cubicBezTo>
                <a:lnTo>
                  <a:pt x="1061020" y="2019452"/>
                </a:lnTo>
                <a:cubicBezTo>
                  <a:pt x="1091943" y="2019452"/>
                  <a:pt x="1117011" y="1994384"/>
                  <a:pt x="1117011" y="1963461"/>
                </a:cubicBezTo>
                <a:lnTo>
                  <a:pt x="1117011" y="1739503"/>
                </a:lnTo>
                <a:cubicBezTo>
                  <a:pt x="1117011" y="1708580"/>
                  <a:pt x="1091943" y="1683512"/>
                  <a:pt x="1061020" y="1683512"/>
                </a:cubicBezTo>
                <a:close/>
                <a:moveTo>
                  <a:pt x="315448" y="1683512"/>
                </a:moveTo>
                <a:cubicBezTo>
                  <a:pt x="284525" y="1683512"/>
                  <a:pt x="259457" y="1708580"/>
                  <a:pt x="259457" y="1739503"/>
                </a:cubicBezTo>
                <a:lnTo>
                  <a:pt x="259457" y="1963461"/>
                </a:lnTo>
                <a:cubicBezTo>
                  <a:pt x="259457" y="1994384"/>
                  <a:pt x="284525" y="2019452"/>
                  <a:pt x="315448" y="2019452"/>
                </a:cubicBezTo>
                <a:lnTo>
                  <a:pt x="539406" y="2019452"/>
                </a:lnTo>
                <a:cubicBezTo>
                  <a:pt x="570329" y="2019452"/>
                  <a:pt x="595397" y="1994384"/>
                  <a:pt x="595397" y="1963461"/>
                </a:cubicBezTo>
                <a:lnTo>
                  <a:pt x="595397" y="1739503"/>
                </a:lnTo>
                <a:cubicBezTo>
                  <a:pt x="595397" y="1708580"/>
                  <a:pt x="570329" y="1683512"/>
                  <a:pt x="539406" y="1683512"/>
                </a:cubicBezTo>
                <a:close/>
                <a:moveTo>
                  <a:pt x="1880291" y="1187192"/>
                </a:moveTo>
                <a:cubicBezTo>
                  <a:pt x="1849368" y="1187192"/>
                  <a:pt x="1824300" y="1212260"/>
                  <a:pt x="1824300" y="1243183"/>
                </a:cubicBezTo>
                <a:lnTo>
                  <a:pt x="1824300" y="1467141"/>
                </a:lnTo>
                <a:cubicBezTo>
                  <a:pt x="1824300" y="1498064"/>
                  <a:pt x="1849368" y="1523132"/>
                  <a:pt x="1880291" y="1523132"/>
                </a:cubicBezTo>
                <a:lnTo>
                  <a:pt x="2104249" y="1523132"/>
                </a:lnTo>
                <a:cubicBezTo>
                  <a:pt x="2135172" y="1523132"/>
                  <a:pt x="2160240" y="1498064"/>
                  <a:pt x="2160240" y="1467141"/>
                </a:cubicBezTo>
                <a:lnTo>
                  <a:pt x="2160240" y="1243183"/>
                </a:lnTo>
                <a:cubicBezTo>
                  <a:pt x="2160240" y="1212260"/>
                  <a:pt x="2135172" y="1187192"/>
                  <a:pt x="2104249" y="1187192"/>
                </a:cubicBezTo>
                <a:close/>
                <a:moveTo>
                  <a:pt x="1358676" y="1187192"/>
                </a:moveTo>
                <a:cubicBezTo>
                  <a:pt x="1327753" y="1187192"/>
                  <a:pt x="1302685" y="1212260"/>
                  <a:pt x="1302685" y="1243183"/>
                </a:cubicBezTo>
                <a:lnTo>
                  <a:pt x="1302685" y="1467141"/>
                </a:lnTo>
                <a:cubicBezTo>
                  <a:pt x="1302685" y="1498064"/>
                  <a:pt x="1327753" y="1523132"/>
                  <a:pt x="1358676" y="1523132"/>
                </a:cubicBezTo>
                <a:lnTo>
                  <a:pt x="1582634" y="1523132"/>
                </a:lnTo>
                <a:cubicBezTo>
                  <a:pt x="1613557" y="1523132"/>
                  <a:pt x="1638625" y="1498064"/>
                  <a:pt x="1638625" y="1467141"/>
                </a:cubicBezTo>
                <a:lnTo>
                  <a:pt x="1638625" y="1243183"/>
                </a:lnTo>
                <a:cubicBezTo>
                  <a:pt x="1638625" y="1212260"/>
                  <a:pt x="1613557" y="1187192"/>
                  <a:pt x="1582634" y="1187192"/>
                </a:cubicBezTo>
                <a:close/>
                <a:moveTo>
                  <a:pt x="837062" y="1187192"/>
                </a:moveTo>
                <a:cubicBezTo>
                  <a:pt x="806139" y="1187192"/>
                  <a:pt x="781071" y="1212260"/>
                  <a:pt x="781071" y="1243183"/>
                </a:cubicBezTo>
                <a:lnTo>
                  <a:pt x="781071" y="1467141"/>
                </a:lnTo>
                <a:cubicBezTo>
                  <a:pt x="781071" y="1498064"/>
                  <a:pt x="806139" y="1523132"/>
                  <a:pt x="837062" y="1523132"/>
                </a:cubicBezTo>
                <a:lnTo>
                  <a:pt x="1061020" y="1523132"/>
                </a:lnTo>
                <a:cubicBezTo>
                  <a:pt x="1091943" y="1523132"/>
                  <a:pt x="1117011" y="1498064"/>
                  <a:pt x="1117011" y="1467141"/>
                </a:cubicBezTo>
                <a:lnTo>
                  <a:pt x="1117011" y="1243183"/>
                </a:lnTo>
                <a:cubicBezTo>
                  <a:pt x="1117011" y="1212260"/>
                  <a:pt x="1091943" y="1187192"/>
                  <a:pt x="1061020" y="1187192"/>
                </a:cubicBezTo>
                <a:close/>
                <a:moveTo>
                  <a:pt x="315448" y="1187192"/>
                </a:moveTo>
                <a:cubicBezTo>
                  <a:pt x="284525" y="1187192"/>
                  <a:pt x="259457" y="1212260"/>
                  <a:pt x="259457" y="1243183"/>
                </a:cubicBezTo>
                <a:lnTo>
                  <a:pt x="259457" y="1467141"/>
                </a:lnTo>
                <a:cubicBezTo>
                  <a:pt x="259457" y="1498064"/>
                  <a:pt x="284525" y="1523132"/>
                  <a:pt x="315448" y="1523132"/>
                </a:cubicBezTo>
                <a:lnTo>
                  <a:pt x="539406" y="1523132"/>
                </a:lnTo>
                <a:cubicBezTo>
                  <a:pt x="570329" y="1523132"/>
                  <a:pt x="595397" y="1498064"/>
                  <a:pt x="595397" y="1467141"/>
                </a:cubicBezTo>
                <a:lnTo>
                  <a:pt x="595397" y="1243183"/>
                </a:lnTo>
                <a:cubicBezTo>
                  <a:pt x="595397" y="1212260"/>
                  <a:pt x="570329" y="1187192"/>
                  <a:pt x="539406" y="1187192"/>
                </a:cubicBezTo>
                <a:close/>
                <a:moveTo>
                  <a:pt x="348041" y="163575"/>
                </a:moveTo>
                <a:cubicBezTo>
                  <a:pt x="275130" y="163575"/>
                  <a:pt x="216024" y="222681"/>
                  <a:pt x="216024" y="295592"/>
                </a:cubicBezTo>
                <a:lnTo>
                  <a:pt x="216024" y="823646"/>
                </a:lnTo>
                <a:cubicBezTo>
                  <a:pt x="216024" y="896557"/>
                  <a:pt x="275130" y="955663"/>
                  <a:pt x="348041" y="955663"/>
                </a:cubicBezTo>
                <a:lnTo>
                  <a:pt x="2100231" y="955663"/>
                </a:lnTo>
                <a:cubicBezTo>
                  <a:pt x="2173142" y="955663"/>
                  <a:pt x="2232248" y="896557"/>
                  <a:pt x="2232248" y="823646"/>
                </a:cubicBezTo>
                <a:lnTo>
                  <a:pt x="2232248" y="295592"/>
                </a:lnTo>
                <a:cubicBezTo>
                  <a:pt x="2232248" y="222681"/>
                  <a:pt x="2173142" y="163575"/>
                  <a:pt x="2100231" y="163575"/>
                </a:cubicBezTo>
                <a:close/>
                <a:moveTo>
                  <a:pt x="265172" y="0"/>
                </a:moveTo>
                <a:lnTo>
                  <a:pt x="2183100" y="0"/>
                </a:lnTo>
                <a:cubicBezTo>
                  <a:pt x="2329550" y="0"/>
                  <a:pt x="2448272" y="118722"/>
                  <a:pt x="2448272" y="265172"/>
                </a:cubicBezTo>
                <a:lnTo>
                  <a:pt x="2448272" y="2974828"/>
                </a:lnTo>
                <a:cubicBezTo>
                  <a:pt x="2448272" y="3121278"/>
                  <a:pt x="2329550" y="3240000"/>
                  <a:pt x="2183100" y="3240000"/>
                </a:cubicBezTo>
                <a:lnTo>
                  <a:pt x="265172" y="3240000"/>
                </a:lnTo>
                <a:cubicBezTo>
                  <a:pt x="118722" y="3240000"/>
                  <a:pt x="0" y="3121278"/>
                  <a:pt x="0" y="2974828"/>
                </a:cubicBezTo>
                <a:lnTo>
                  <a:pt x="0" y="265172"/>
                </a:lnTo>
                <a:cubicBezTo>
                  <a:pt x="0" y="118722"/>
                  <a:pt x="118722" y="0"/>
                  <a:pt x="2651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8" name="Block Arc 10">
            <a:extLst>
              <a:ext uri="{FF2B5EF4-FFF2-40B4-BE49-F238E27FC236}">
                <a16:creationId xmlns:a16="http://schemas.microsoft.com/office/drawing/2014/main" xmlns="" id="{7FF8B9D7-075B-416E-B39A-FC9A782A41F6}"/>
              </a:ext>
            </a:extLst>
          </p:cNvPr>
          <p:cNvSpPr/>
          <p:nvPr/>
        </p:nvSpPr>
        <p:spPr>
          <a:xfrm>
            <a:off x="6734787" y="4609989"/>
            <a:ext cx="387771" cy="262655"/>
          </a:xfrm>
          <a:custGeom>
            <a:avLst/>
            <a:gdLst/>
            <a:ahLst/>
            <a:cxnLst/>
            <a:rect l="l" t="t" r="r" b="b"/>
            <a:pathLst>
              <a:path w="3219104" h="2180445">
                <a:moveTo>
                  <a:pt x="631935" y="660566"/>
                </a:moveTo>
                <a:cubicBezTo>
                  <a:pt x="582229" y="660566"/>
                  <a:pt x="541935" y="700860"/>
                  <a:pt x="541935" y="750566"/>
                </a:cubicBezTo>
                <a:cubicBezTo>
                  <a:pt x="541935" y="800272"/>
                  <a:pt x="582229" y="840566"/>
                  <a:pt x="631935" y="840566"/>
                </a:cubicBezTo>
                <a:cubicBezTo>
                  <a:pt x="681641" y="840566"/>
                  <a:pt x="721935" y="800272"/>
                  <a:pt x="721935" y="750566"/>
                </a:cubicBezTo>
                <a:cubicBezTo>
                  <a:pt x="721935" y="700860"/>
                  <a:pt x="681641" y="660566"/>
                  <a:pt x="631935" y="660566"/>
                </a:cubicBezTo>
                <a:close/>
                <a:moveTo>
                  <a:pt x="2920524" y="132986"/>
                </a:moveTo>
                <a:cubicBezTo>
                  <a:pt x="2884582" y="132986"/>
                  <a:pt x="2855445" y="171564"/>
                  <a:pt x="2855445" y="219152"/>
                </a:cubicBezTo>
                <a:cubicBezTo>
                  <a:pt x="2855445" y="266740"/>
                  <a:pt x="2884582" y="305318"/>
                  <a:pt x="2920524" y="305318"/>
                </a:cubicBezTo>
                <a:cubicBezTo>
                  <a:pt x="2956466" y="305318"/>
                  <a:pt x="2985603" y="266740"/>
                  <a:pt x="2985603" y="219152"/>
                </a:cubicBezTo>
                <a:cubicBezTo>
                  <a:pt x="2985603" y="171564"/>
                  <a:pt x="2956466" y="132986"/>
                  <a:pt x="2920524" y="132986"/>
                </a:cubicBezTo>
                <a:close/>
                <a:moveTo>
                  <a:pt x="1840097" y="123357"/>
                </a:moveTo>
                <a:cubicBezTo>
                  <a:pt x="1690593" y="125267"/>
                  <a:pt x="1541569" y="163386"/>
                  <a:pt x="1407089" y="237534"/>
                </a:cubicBezTo>
                <a:lnTo>
                  <a:pt x="1442443" y="299445"/>
                </a:lnTo>
                <a:cubicBezTo>
                  <a:pt x="1690026" y="162934"/>
                  <a:pt x="1991162" y="159087"/>
                  <a:pt x="2242273" y="289227"/>
                </a:cubicBezTo>
                <a:lnTo>
                  <a:pt x="2275978" y="226435"/>
                </a:lnTo>
                <a:cubicBezTo>
                  <a:pt x="2139582" y="155746"/>
                  <a:pt x="1989600" y="121447"/>
                  <a:pt x="1840097" y="123357"/>
                </a:cubicBezTo>
                <a:close/>
                <a:moveTo>
                  <a:pt x="1808744" y="1233"/>
                </a:moveTo>
                <a:cubicBezTo>
                  <a:pt x="2156106" y="-14520"/>
                  <a:pt x="2554236" y="122009"/>
                  <a:pt x="2727916" y="332053"/>
                </a:cubicBezTo>
                <a:lnTo>
                  <a:pt x="2797407" y="426906"/>
                </a:lnTo>
                <a:cubicBezTo>
                  <a:pt x="2816730" y="407744"/>
                  <a:pt x="2822914" y="396798"/>
                  <a:pt x="2848347" y="374270"/>
                </a:cubicBezTo>
                <a:cubicBezTo>
                  <a:pt x="2789714" y="335227"/>
                  <a:pt x="2770554" y="301522"/>
                  <a:pt x="2770554" y="211287"/>
                </a:cubicBezTo>
                <a:cubicBezTo>
                  <a:pt x="2770554" y="109060"/>
                  <a:pt x="2826850" y="34523"/>
                  <a:pt x="2918697" y="33333"/>
                </a:cubicBezTo>
                <a:cubicBezTo>
                  <a:pt x="3010544" y="32143"/>
                  <a:pt x="3068737" y="122977"/>
                  <a:pt x="3064459" y="218431"/>
                </a:cubicBezTo>
                <a:cubicBezTo>
                  <a:pt x="3062319" y="266188"/>
                  <a:pt x="3063213" y="242475"/>
                  <a:pt x="3054577" y="285936"/>
                </a:cubicBezTo>
                <a:cubicBezTo>
                  <a:pt x="3088600" y="260795"/>
                  <a:pt x="3146396" y="297212"/>
                  <a:pt x="3198377" y="27802"/>
                </a:cubicBezTo>
                <a:cubicBezTo>
                  <a:pt x="3270974" y="270322"/>
                  <a:pt x="3142267" y="378871"/>
                  <a:pt x="2977023" y="405424"/>
                </a:cubicBezTo>
                <a:cubicBezTo>
                  <a:pt x="2937650" y="455263"/>
                  <a:pt x="2906651" y="507366"/>
                  <a:pt x="2854455" y="531728"/>
                </a:cubicBezTo>
                <a:cubicBezTo>
                  <a:pt x="2854593" y="531917"/>
                  <a:pt x="2854687" y="532126"/>
                  <a:pt x="2854781" y="532336"/>
                </a:cubicBezTo>
                <a:lnTo>
                  <a:pt x="2914835" y="719911"/>
                </a:lnTo>
                <a:cubicBezTo>
                  <a:pt x="2982387" y="1030651"/>
                  <a:pt x="2875068" y="1334999"/>
                  <a:pt x="2751965" y="1458417"/>
                </a:cubicBezTo>
                <a:cubicBezTo>
                  <a:pt x="2718119" y="1752479"/>
                  <a:pt x="2636178" y="1904762"/>
                  <a:pt x="2564924" y="2133185"/>
                </a:cubicBezTo>
                <a:cubicBezTo>
                  <a:pt x="2548001" y="2174319"/>
                  <a:pt x="2290597" y="2162941"/>
                  <a:pt x="2284362" y="2130560"/>
                </a:cubicBezTo>
                <a:cubicBezTo>
                  <a:pt x="2253189" y="1989654"/>
                  <a:pt x="2205984" y="1832997"/>
                  <a:pt x="2190842" y="1681589"/>
                </a:cubicBezTo>
                <a:cubicBezTo>
                  <a:pt x="1937891" y="1727975"/>
                  <a:pt x="1628829" y="1727099"/>
                  <a:pt x="1429318" y="1710471"/>
                </a:cubicBezTo>
                <a:cubicBezTo>
                  <a:pt x="1387456" y="1891634"/>
                  <a:pt x="1268107" y="2057044"/>
                  <a:pt x="1143413" y="2180445"/>
                </a:cubicBezTo>
                <a:lnTo>
                  <a:pt x="943012" y="2180445"/>
                </a:lnTo>
                <a:cubicBezTo>
                  <a:pt x="894916" y="2170818"/>
                  <a:pt x="902932" y="1825120"/>
                  <a:pt x="910948" y="1650083"/>
                </a:cubicBezTo>
                <a:cubicBezTo>
                  <a:pt x="600994" y="1508303"/>
                  <a:pt x="-80369" y="1319263"/>
                  <a:pt x="7807" y="838786"/>
                </a:cubicBezTo>
                <a:cubicBezTo>
                  <a:pt x="13151" y="796777"/>
                  <a:pt x="184160" y="802028"/>
                  <a:pt x="275009" y="799402"/>
                </a:cubicBezTo>
                <a:cubicBezTo>
                  <a:pt x="369419" y="659373"/>
                  <a:pt x="418407" y="582356"/>
                  <a:pt x="555570" y="465957"/>
                </a:cubicBezTo>
                <a:cubicBezTo>
                  <a:pt x="547554" y="374062"/>
                  <a:pt x="496786" y="206026"/>
                  <a:pt x="531522" y="190273"/>
                </a:cubicBezTo>
                <a:cubicBezTo>
                  <a:pt x="764877" y="64246"/>
                  <a:pt x="803177" y="250661"/>
                  <a:pt x="924308" y="355683"/>
                </a:cubicBezTo>
                <a:cubicBezTo>
                  <a:pt x="1130053" y="143013"/>
                  <a:pt x="1554903" y="11735"/>
                  <a:pt x="1808744" y="12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xmlns="" id="{2F1BF958-2F37-497D-9DAD-FC0D5F7D2D4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8" r="24961"/>
          <a:stretch/>
        </p:blipFill>
        <p:spPr>
          <a:xfrm>
            <a:off x="11575" y="0"/>
            <a:ext cx="4916579" cy="6858000"/>
          </a:xfrm>
          <a:prstGeom prst="rect">
            <a:avLst/>
          </a:prstGeom>
        </p:spPr>
      </p:pic>
      <p:pic>
        <p:nvPicPr>
          <p:cNvPr id="43" name="그림 개체 틀 42">
            <a:extLst>
              <a:ext uri="{FF2B5EF4-FFF2-40B4-BE49-F238E27FC236}">
                <a16:creationId xmlns:a16="http://schemas.microsoft.com/office/drawing/2014/main" xmlns="" id="{17461680-C2E4-4977-B1E4-468D6DD9C10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7" t="202" r="15944" b="-202"/>
          <a:stretch/>
        </p:blipFill>
        <p:spPr>
          <a:xfrm>
            <a:off x="435315" y="0"/>
            <a:ext cx="6543676" cy="6867525"/>
          </a:xfrm>
        </p:spPr>
      </p:pic>
      <p:sp>
        <p:nvSpPr>
          <p:cNvPr id="19" name="Oval 54">
            <a:extLst>
              <a:ext uri="{FF2B5EF4-FFF2-40B4-BE49-F238E27FC236}">
                <a16:creationId xmlns:a16="http://schemas.microsoft.com/office/drawing/2014/main" xmlns="" id="{6DF76762-24DE-487C-9F41-463E38726869}"/>
              </a:ext>
            </a:extLst>
          </p:cNvPr>
          <p:cNvSpPr/>
          <p:nvPr/>
        </p:nvSpPr>
        <p:spPr>
          <a:xfrm>
            <a:off x="6671170" y="4437732"/>
            <a:ext cx="576064" cy="576064"/>
          </a:xfrm>
          <a:prstGeom prst="ellipse">
            <a:avLst/>
          </a:prstGeom>
          <a:solidFill>
            <a:srgbClr val="5EBEE4"/>
          </a:solidFill>
          <a:ln w="12700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xmlns="" id="{84693C49-05C6-4CD0-A900-4B843CF3016D}"/>
              </a:ext>
            </a:extLst>
          </p:cNvPr>
          <p:cNvSpPr/>
          <p:nvPr/>
        </p:nvSpPr>
        <p:spPr>
          <a:xfrm rot="18900000">
            <a:off x="6912809" y="4571621"/>
            <a:ext cx="167058" cy="343246"/>
          </a:xfrm>
          <a:custGeom>
            <a:avLst/>
            <a:gdLst/>
            <a:ahLst/>
            <a:cxnLst/>
            <a:rect l="l" t="t" r="r" b="b"/>
            <a:pathLst>
              <a:path w="154109" h="343323">
                <a:moveTo>
                  <a:pt x="102909" y="313772"/>
                </a:moveTo>
                <a:lnTo>
                  <a:pt x="102909" y="328547"/>
                </a:lnTo>
                <a:cubicBezTo>
                  <a:pt x="102909" y="336708"/>
                  <a:pt x="96294" y="343322"/>
                  <a:pt x="88133" y="343323"/>
                </a:cubicBezTo>
                <a:lnTo>
                  <a:pt x="65975" y="343322"/>
                </a:lnTo>
                <a:cubicBezTo>
                  <a:pt x="57814" y="343322"/>
                  <a:pt x="51199" y="336708"/>
                  <a:pt x="51199" y="328547"/>
                </a:cubicBezTo>
                <a:cubicBezTo>
                  <a:pt x="51199" y="323622"/>
                  <a:pt x="51200" y="318696"/>
                  <a:pt x="51200" y="313771"/>
                </a:cubicBezTo>
                <a:close/>
                <a:moveTo>
                  <a:pt x="123327" y="15459"/>
                </a:moveTo>
                <a:cubicBezTo>
                  <a:pt x="141678" y="29245"/>
                  <a:pt x="152926" y="50497"/>
                  <a:pt x="154008" y="73425"/>
                </a:cubicBezTo>
                <a:cubicBezTo>
                  <a:pt x="155089" y="96353"/>
                  <a:pt x="145890" y="118568"/>
                  <a:pt x="128916" y="134021"/>
                </a:cubicBezTo>
                <a:lnTo>
                  <a:pt x="119294" y="123450"/>
                </a:lnTo>
                <a:cubicBezTo>
                  <a:pt x="133118" y="110865"/>
                  <a:pt x="140611" y="92772"/>
                  <a:pt x="139730" y="74098"/>
                </a:cubicBezTo>
                <a:cubicBezTo>
                  <a:pt x="138850" y="55424"/>
                  <a:pt x="129689" y="38115"/>
                  <a:pt x="114743" y="26887"/>
                </a:cubicBezTo>
                <a:close/>
                <a:moveTo>
                  <a:pt x="136698" y="17411"/>
                </a:moveTo>
                <a:cubicBezTo>
                  <a:pt x="103758" y="-15529"/>
                  <a:pt x="50351" y="-15529"/>
                  <a:pt x="17412" y="17411"/>
                </a:cubicBezTo>
                <a:cubicBezTo>
                  <a:pt x="-15528" y="50351"/>
                  <a:pt x="-15528" y="103757"/>
                  <a:pt x="17412" y="136697"/>
                </a:cubicBezTo>
                <a:cubicBezTo>
                  <a:pt x="50351" y="169637"/>
                  <a:pt x="103758" y="169637"/>
                  <a:pt x="136698" y="136697"/>
                </a:cubicBezTo>
                <a:cubicBezTo>
                  <a:pt x="169637" y="103757"/>
                  <a:pt x="169637" y="50351"/>
                  <a:pt x="136698" y="17411"/>
                </a:cubicBezTo>
                <a:close/>
                <a:moveTo>
                  <a:pt x="154109" y="0"/>
                </a:moveTo>
                <a:cubicBezTo>
                  <a:pt x="196665" y="42556"/>
                  <a:pt x="196665" y="111552"/>
                  <a:pt x="154109" y="154108"/>
                </a:cubicBezTo>
                <a:cubicBezTo>
                  <a:pt x="139576" y="168641"/>
                  <a:pt x="121959" y="178211"/>
                  <a:pt x="102912" y="180994"/>
                </a:cubicBezTo>
                <a:lnTo>
                  <a:pt x="102912" y="308310"/>
                </a:lnTo>
                <a:lnTo>
                  <a:pt x="51197" y="308310"/>
                </a:lnTo>
                <a:lnTo>
                  <a:pt x="51197" y="180994"/>
                </a:lnTo>
                <a:cubicBezTo>
                  <a:pt x="32150" y="178211"/>
                  <a:pt x="14534" y="168641"/>
                  <a:pt x="0" y="154108"/>
                </a:cubicBezTo>
                <a:cubicBezTo>
                  <a:pt x="-42555" y="111552"/>
                  <a:pt x="-42555" y="42556"/>
                  <a:pt x="0" y="0"/>
                </a:cubicBezTo>
                <a:cubicBezTo>
                  <a:pt x="42556" y="-42556"/>
                  <a:pt x="111553" y="-42556"/>
                  <a:pt x="1541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37600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89">
            <a:extLst>
              <a:ext uri="{FF2B5EF4-FFF2-40B4-BE49-F238E27FC236}">
                <a16:creationId xmlns:a16="http://schemas.microsoft.com/office/drawing/2014/main" xmlns="" id="{4FEC8B0B-2515-48C2-A24F-43A0F970EE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1992"/>
            <a:ext cx="12192000" cy="685678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F2387D3-4DE7-40C7-84D2-0F1AF6F125A9}"/>
              </a:ext>
            </a:extLst>
          </p:cNvPr>
          <p:cNvSpPr/>
          <p:nvPr/>
        </p:nvSpPr>
        <p:spPr>
          <a:xfrm>
            <a:off x="7267075" y="0"/>
            <a:ext cx="4924926" cy="6858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2063817-860E-4682-B91E-815215B9C8E1}"/>
              </a:ext>
            </a:extLst>
          </p:cNvPr>
          <p:cNvSpPr/>
          <p:nvPr/>
        </p:nvSpPr>
        <p:spPr>
          <a:xfrm>
            <a:off x="0" y="0"/>
            <a:ext cx="4924926" cy="685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2F62A57A-D2E2-4712-ABD5-7B719B0113D8}"/>
              </a:ext>
            </a:extLst>
          </p:cNvPr>
          <p:cNvSpPr txBox="1">
            <a:spLocks/>
          </p:cNvSpPr>
          <p:nvPr/>
        </p:nvSpPr>
        <p:spPr>
          <a:xfrm>
            <a:off x="4631603" y="60973"/>
            <a:ext cx="2795443" cy="1230572"/>
          </a:xfrm>
          <a:prstGeom prst="rect">
            <a:avLst/>
          </a:prstGeom>
        </p:spPr>
        <p:txBody>
          <a:bodyPr anchor="ctr"/>
          <a:lstStyle>
            <a:lvl1pPr algn="l" defTabSz="9144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2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의</a:t>
            </a:r>
            <a:endParaRPr kumimoji="0" lang="en-US" altLang="ko-KR" sz="3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ctr" defTabSz="91442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경제적 여파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xmlns="" id="{D19892B1-2D7D-42DD-A5C3-6C2B63B8C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307" y="1004865"/>
            <a:ext cx="4294088" cy="1230572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xmlns="" id="{78BC23C5-39D2-471D-9F24-78105728FD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219" y="2432626"/>
            <a:ext cx="4294088" cy="3384136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xmlns="" id="{F9F621F8-A429-49E1-B4F9-A6BB1A8A8226}"/>
              </a:ext>
            </a:extLst>
          </p:cNvPr>
          <p:cNvSpPr/>
          <p:nvPr/>
        </p:nvSpPr>
        <p:spPr>
          <a:xfrm>
            <a:off x="286219" y="2794425"/>
            <a:ext cx="4197550" cy="2011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xmlns="" id="{FE6B6707-BB1D-4C38-BA76-D9D88FE93CCC}"/>
              </a:ext>
            </a:extLst>
          </p:cNvPr>
          <p:cNvSpPr/>
          <p:nvPr/>
        </p:nvSpPr>
        <p:spPr>
          <a:xfrm>
            <a:off x="304342" y="3256803"/>
            <a:ext cx="4197550" cy="2011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3215968C-4A49-454B-A85E-5A8F29B79FB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46456" t="-1533" r="46456" b="1533"/>
          <a:stretch/>
        </p:blipFill>
        <p:spPr>
          <a:xfrm>
            <a:off x="4456102" y="1202054"/>
            <a:ext cx="7042092" cy="418097"/>
          </a:xfrm>
          <a:prstGeom prst="rect">
            <a:avLst/>
          </a:prstGeom>
        </p:spPr>
      </p:pic>
      <p:pic>
        <p:nvPicPr>
          <p:cNvPr id="42" name="그림 41">
            <a:extLst>
              <a:ext uri="{FF2B5EF4-FFF2-40B4-BE49-F238E27FC236}">
                <a16:creationId xmlns:a16="http://schemas.microsoft.com/office/drawing/2014/main" xmlns="" id="{1D1C1138-6734-43C0-A52F-DB86FE56F1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0929" y="2455673"/>
            <a:ext cx="4314852" cy="3139980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xmlns="" id="{B6A74F9B-BE3B-4648-A138-D85BA9B6E3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2882"/>
          <a:stretch/>
        </p:blipFill>
        <p:spPr>
          <a:xfrm>
            <a:off x="8527788" y="1620151"/>
            <a:ext cx="3318108" cy="418097"/>
          </a:xfrm>
          <a:prstGeom prst="rect">
            <a:avLst/>
          </a:prstGeom>
        </p:spPr>
      </p:pic>
      <p:sp>
        <p:nvSpPr>
          <p:cNvPr id="46" name="직사각형 45">
            <a:extLst>
              <a:ext uri="{FF2B5EF4-FFF2-40B4-BE49-F238E27FC236}">
                <a16:creationId xmlns:a16="http://schemas.microsoft.com/office/drawing/2014/main" xmlns="" id="{69369141-43CC-4BB9-BF38-20FF4561C9CA}"/>
              </a:ext>
            </a:extLst>
          </p:cNvPr>
          <p:cNvSpPr/>
          <p:nvPr/>
        </p:nvSpPr>
        <p:spPr>
          <a:xfrm>
            <a:off x="7608053" y="2983367"/>
            <a:ext cx="4297728" cy="2011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xmlns="" id="{9BA37F27-761A-4538-8C0B-5B33382ADF99}"/>
              </a:ext>
            </a:extLst>
          </p:cNvPr>
          <p:cNvSpPr/>
          <p:nvPr/>
        </p:nvSpPr>
        <p:spPr>
          <a:xfrm>
            <a:off x="7608053" y="3184526"/>
            <a:ext cx="3102508" cy="2011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xmlns="" id="{4F8C90FB-BB10-467C-9326-1352AFB6D4DA}"/>
              </a:ext>
            </a:extLst>
          </p:cNvPr>
          <p:cNvSpPr/>
          <p:nvPr/>
        </p:nvSpPr>
        <p:spPr>
          <a:xfrm>
            <a:off x="7590929" y="4742821"/>
            <a:ext cx="4297728" cy="20115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xmlns="" id="{94BD0770-C448-444B-9A4E-AF701D8182EF}"/>
              </a:ext>
            </a:extLst>
          </p:cNvPr>
          <p:cNvSpPr/>
          <p:nvPr/>
        </p:nvSpPr>
        <p:spPr>
          <a:xfrm>
            <a:off x="7590929" y="4943980"/>
            <a:ext cx="2076896" cy="20116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64" name="Picture 5">
            <a:extLst>
              <a:ext uri="{FF2B5EF4-FFF2-40B4-BE49-F238E27FC236}">
                <a16:creationId xmlns:a16="http://schemas.microsoft.com/office/drawing/2014/main" xmlns="" id="{586D0595-F0E6-4460-8D1A-8F7866C149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6732" y="4393072"/>
            <a:ext cx="457116" cy="722500"/>
          </a:xfrm>
          <a:prstGeom prst="rect">
            <a:avLst/>
          </a:prstGeom>
        </p:spPr>
      </p:pic>
      <p:sp>
        <p:nvSpPr>
          <p:cNvPr id="65" name="Rectangle 9">
            <a:extLst>
              <a:ext uri="{FF2B5EF4-FFF2-40B4-BE49-F238E27FC236}">
                <a16:creationId xmlns:a16="http://schemas.microsoft.com/office/drawing/2014/main" xmlns="" id="{7DECA3D8-317C-4E75-A042-46497BC8E34D}"/>
              </a:ext>
            </a:extLst>
          </p:cNvPr>
          <p:cNvSpPr/>
          <p:nvPr/>
        </p:nvSpPr>
        <p:spPr>
          <a:xfrm>
            <a:off x="5284462" y="3457962"/>
            <a:ext cx="906967" cy="881395"/>
          </a:xfrm>
          <a:custGeom>
            <a:avLst/>
            <a:gdLst/>
            <a:ahLst/>
            <a:cxnLst/>
            <a:rect l="l" t="t" r="r" b="b"/>
            <a:pathLst>
              <a:path w="3228210" h="3222968">
                <a:moveTo>
                  <a:pt x="1619999" y="642446"/>
                </a:moveTo>
                <a:lnTo>
                  <a:pt x="2664115" y="1686562"/>
                </a:lnTo>
                <a:lnTo>
                  <a:pt x="2664116" y="1686562"/>
                </a:lnTo>
                <a:lnTo>
                  <a:pt x="2664116" y="3222968"/>
                </a:lnTo>
                <a:lnTo>
                  <a:pt x="2015013" y="3222968"/>
                </a:lnTo>
                <a:lnTo>
                  <a:pt x="2015013" y="2511495"/>
                </a:lnTo>
                <a:cubicBezTo>
                  <a:pt x="2015013" y="2399422"/>
                  <a:pt x="1924159" y="2308568"/>
                  <a:pt x="1812086" y="2308568"/>
                </a:cubicBezTo>
                <a:lnTo>
                  <a:pt x="1427912" y="2308568"/>
                </a:lnTo>
                <a:cubicBezTo>
                  <a:pt x="1315839" y="2308568"/>
                  <a:pt x="1224985" y="2399422"/>
                  <a:pt x="1224985" y="2511495"/>
                </a:cubicBezTo>
                <a:lnTo>
                  <a:pt x="1224985" y="3222968"/>
                </a:lnTo>
                <a:lnTo>
                  <a:pt x="575882" y="3222968"/>
                </a:lnTo>
                <a:lnTo>
                  <a:pt x="575882" y="1686562"/>
                </a:lnTo>
                <a:lnTo>
                  <a:pt x="575884" y="1686562"/>
                </a:lnTo>
                <a:close/>
                <a:moveTo>
                  <a:pt x="509997" y="122689"/>
                </a:moveTo>
                <a:lnTo>
                  <a:pt x="942045" y="122689"/>
                </a:lnTo>
                <a:lnTo>
                  <a:pt x="942045" y="542556"/>
                </a:lnTo>
                <a:lnTo>
                  <a:pt x="509997" y="974604"/>
                </a:lnTo>
                <a:close/>
                <a:moveTo>
                  <a:pt x="1620001" y="7099"/>
                </a:moveTo>
                <a:lnTo>
                  <a:pt x="3228210" y="1686560"/>
                </a:lnTo>
                <a:lnTo>
                  <a:pt x="2900441" y="1686560"/>
                </a:lnTo>
                <a:lnTo>
                  <a:pt x="1620001" y="349390"/>
                </a:lnTo>
                <a:close/>
                <a:moveTo>
                  <a:pt x="1619999" y="0"/>
                </a:moveTo>
                <a:lnTo>
                  <a:pt x="1619999" y="342291"/>
                </a:lnTo>
                <a:lnTo>
                  <a:pt x="330172" y="1679462"/>
                </a:lnTo>
                <a:lnTo>
                  <a:pt x="0" y="16794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grpSp>
        <p:nvGrpSpPr>
          <p:cNvPr id="66" name="Group 6">
            <a:extLst>
              <a:ext uri="{FF2B5EF4-FFF2-40B4-BE49-F238E27FC236}">
                <a16:creationId xmlns:a16="http://schemas.microsoft.com/office/drawing/2014/main" xmlns="" id="{DFE56B4B-7F94-44C2-87D5-688506398AF0}"/>
              </a:ext>
            </a:extLst>
          </p:cNvPr>
          <p:cNvGrpSpPr/>
          <p:nvPr/>
        </p:nvGrpSpPr>
        <p:grpSpPr>
          <a:xfrm>
            <a:off x="6167655" y="2707157"/>
            <a:ext cx="1158955" cy="980066"/>
            <a:chOff x="4070449" y="2766517"/>
            <a:chExt cx="2346599" cy="2038644"/>
          </a:xfrm>
        </p:grpSpPr>
        <p:sp>
          <p:nvSpPr>
            <p:cNvPr id="67" name="Diagonal Stripe 18">
              <a:extLst>
                <a:ext uri="{FF2B5EF4-FFF2-40B4-BE49-F238E27FC236}">
                  <a16:creationId xmlns:a16="http://schemas.microsoft.com/office/drawing/2014/main" xmlns="" id="{424C52A4-CBD7-4D7E-9388-047EA664BAA8}"/>
                </a:ext>
              </a:extLst>
            </p:cNvPr>
            <p:cNvSpPr>
              <a:spLocks noChangeAspect="1"/>
            </p:cNvSpPr>
            <p:nvPr/>
          </p:nvSpPr>
          <p:spPr>
            <a:xfrm rot="2848566">
              <a:off x="4228697" y="3717695"/>
              <a:ext cx="1076813" cy="1098119"/>
            </a:xfrm>
            <a:custGeom>
              <a:avLst/>
              <a:gdLst>
                <a:gd name="connsiteX0" fmla="*/ 348904 w 675990"/>
                <a:gd name="connsiteY0" fmla="*/ 312950 h 675086"/>
                <a:gd name="connsiteX1" fmla="*/ 361744 w 675990"/>
                <a:gd name="connsiteY1" fmla="*/ 304427 h 675086"/>
                <a:gd name="connsiteX2" fmla="*/ 387609 w 675990"/>
                <a:gd name="connsiteY2" fmla="*/ 311914 h 675086"/>
                <a:gd name="connsiteX3" fmla="*/ 399673 w 675990"/>
                <a:gd name="connsiteY3" fmla="*/ 352981 h 675086"/>
                <a:gd name="connsiteX4" fmla="*/ 398092 w 675990"/>
                <a:gd name="connsiteY4" fmla="*/ 358061 h 675086"/>
                <a:gd name="connsiteX5" fmla="*/ 348904 w 675990"/>
                <a:gd name="connsiteY5" fmla="*/ 312950 h 675086"/>
                <a:gd name="connsiteX6" fmla="*/ 230585 w 675990"/>
                <a:gd name="connsiteY6" fmla="*/ 257376 h 675086"/>
                <a:gd name="connsiteX7" fmla="*/ 274797 w 675990"/>
                <a:gd name="connsiteY7" fmla="*/ 297922 h 675086"/>
                <a:gd name="connsiteX8" fmla="*/ 274337 w 675990"/>
                <a:gd name="connsiteY8" fmla="*/ 298038 h 675086"/>
                <a:gd name="connsiteX9" fmla="*/ 239961 w 675990"/>
                <a:gd name="connsiteY9" fmla="*/ 288170 h 675086"/>
                <a:gd name="connsiteX10" fmla="*/ 239716 w 675990"/>
                <a:gd name="connsiteY10" fmla="*/ 288461 h 675086"/>
                <a:gd name="connsiteX11" fmla="*/ 230585 w 675990"/>
                <a:gd name="connsiteY11" fmla="*/ 257376 h 675086"/>
                <a:gd name="connsiteX12" fmla="*/ 175280 w 675990"/>
                <a:gd name="connsiteY12" fmla="*/ 206655 h 675086"/>
                <a:gd name="connsiteX13" fmla="*/ 188018 w 675990"/>
                <a:gd name="connsiteY13" fmla="*/ 218337 h 675086"/>
                <a:gd name="connsiteX14" fmla="*/ 176767 w 675990"/>
                <a:gd name="connsiteY14" fmla="*/ 241787 h 675086"/>
                <a:gd name="connsiteX15" fmla="*/ 204569 w 675990"/>
                <a:gd name="connsiteY15" fmla="*/ 330107 h 675086"/>
                <a:gd name="connsiteX16" fmla="*/ 280866 w 675990"/>
                <a:gd name="connsiteY16" fmla="*/ 352529 h 675086"/>
                <a:gd name="connsiteX17" fmla="*/ 318697 w 675990"/>
                <a:gd name="connsiteY17" fmla="*/ 338182 h 675086"/>
                <a:gd name="connsiteX18" fmla="*/ 369250 w 675990"/>
                <a:gd name="connsiteY18" fmla="*/ 384545 h 675086"/>
                <a:gd name="connsiteX19" fmla="*/ 327006 w 675990"/>
                <a:gd name="connsiteY19" fmla="*/ 373364 h 675086"/>
                <a:gd name="connsiteX20" fmla="*/ 284812 w 675990"/>
                <a:gd name="connsiteY20" fmla="*/ 415213 h 675086"/>
                <a:gd name="connsiteX21" fmla="*/ 385381 w 675990"/>
                <a:gd name="connsiteY21" fmla="*/ 441752 h 675086"/>
                <a:gd name="connsiteX22" fmla="*/ 415805 w 675990"/>
                <a:gd name="connsiteY22" fmla="*/ 427239 h 675086"/>
                <a:gd name="connsiteX23" fmla="*/ 428627 w 675990"/>
                <a:gd name="connsiteY23" fmla="*/ 438999 h 675086"/>
                <a:gd name="connsiteX24" fmla="*/ 454996 w 675990"/>
                <a:gd name="connsiteY24" fmla="*/ 410247 h 675086"/>
                <a:gd name="connsiteX25" fmla="*/ 443131 w 675990"/>
                <a:gd name="connsiteY25" fmla="*/ 399365 h 675086"/>
                <a:gd name="connsiteX26" fmla="*/ 457476 w 675990"/>
                <a:gd name="connsiteY26" fmla="*/ 366780 h 675086"/>
                <a:gd name="connsiteX27" fmla="*/ 428374 w 675990"/>
                <a:gd name="connsiteY27" fmla="*/ 268744 h 675086"/>
                <a:gd name="connsiteX28" fmla="*/ 428534 w 675990"/>
                <a:gd name="connsiteY28" fmla="*/ 268557 h 675086"/>
                <a:gd name="connsiteX29" fmla="*/ 427407 w 675990"/>
                <a:gd name="connsiteY29" fmla="*/ 267729 h 675086"/>
                <a:gd name="connsiteX30" fmla="*/ 427024 w 675990"/>
                <a:gd name="connsiteY30" fmla="*/ 267327 h 675086"/>
                <a:gd name="connsiteX31" fmla="*/ 426958 w 675990"/>
                <a:gd name="connsiteY31" fmla="*/ 267399 h 675086"/>
                <a:gd name="connsiteX32" fmla="*/ 352832 w 675990"/>
                <a:gd name="connsiteY32" fmla="*/ 248366 h 675086"/>
                <a:gd name="connsiteX33" fmla="*/ 307533 w 675990"/>
                <a:gd name="connsiteY33" fmla="*/ 275010 h 675086"/>
                <a:gd name="connsiteX34" fmla="*/ 255217 w 675990"/>
                <a:gd name="connsiteY34" fmla="*/ 227031 h 675086"/>
                <a:gd name="connsiteX35" fmla="*/ 258272 w 675990"/>
                <a:gd name="connsiteY35" fmla="*/ 225712 h 675086"/>
                <a:gd name="connsiteX36" fmla="*/ 296374 w 675990"/>
                <a:gd name="connsiteY36" fmla="*/ 235767 h 675086"/>
                <a:gd name="connsiteX37" fmla="*/ 334358 w 675990"/>
                <a:gd name="connsiteY37" fmla="*/ 198094 h 675086"/>
                <a:gd name="connsiteX38" fmla="*/ 243823 w 675990"/>
                <a:gd name="connsiteY38" fmla="*/ 174203 h 675086"/>
                <a:gd name="connsiteX39" fmla="*/ 213832 w 675990"/>
                <a:gd name="connsiteY39" fmla="*/ 189078 h 675086"/>
                <a:gd name="connsiteX40" fmla="*/ 201648 w 675990"/>
                <a:gd name="connsiteY40" fmla="*/ 177904 h 675086"/>
                <a:gd name="connsiteX41" fmla="*/ 175280 w 675990"/>
                <a:gd name="connsiteY41" fmla="*/ 206655 h 675086"/>
                <a:gd name="connsiteX42" fmla="*/ 12 w 675990"/>
                <a:gd name="connsiteY42" fmla="*/ 293155 h 675086"/>
                <a:gd name="connsiteX43" fmla="*/ 249809 w 675990"/>
                <a:gd name="connsiteY43" fmla="*/ 1624 h 675086"/>
                <a:gd name="connsiteX44" fmla="*/ 594173 w 675990"/>
                <a:gd name="connsiteY44" fmla="*/ 64966 h 675086"/>
                <a:gd name="connsiteX45" fmla="*/ 510663 w 675990"/>
                <a:gd name="connsiteY45" fmla="*/ 486821 h 675086"/>
                <a:gd name="connsiteX46" fmla="*/ 71150 w 675990"/>
                <a:gd name="connsiteY46" fmla="*/ 602445 h 675086"/>
                <a:gd name="connsiteX47" fmla="*/ 70567 w 675990"/>
                <a:gd name="connsiteY47" fmla="*/ 601568 h 675086"/>
                <a:gd name="connsiteX48" fmla="*/ 12 w 675990"/>
                <a:gd name="connsiteY48" fmla="*/ 293155 h 675086"/>
                <a:gd name="connsiteX0" fmla="*/ 348904 w 650157"/>
                <a:gd name="connsiteY0" fmla="*/ 335888 h 698024"/>
                <a:gd name="connsiteX1" fmla="*/ 361744 w 650157"/>
                <a:gd name="connsiteY1" fmla="*/ 327365 h 698024"/>
                <a:gd name="connsiteX2" fmla="*/ 387609 w 650157"/>
                <a:gd name="connsiteY2" fmla="*/ 334852 h 698024"/>
                <a:gd name="connsiteX3" fmla="*/ 399673 w 650157"/>
                <a:gd name="connsiteY3" fmla="*/ 375919 h 698024"/>
                <a:gd name="connsiteX4" fmla="*/ 398092 w 650157"/>
                <a:gd name="connsiteY4" fmla="*/ 380999 h 698024"/>
                <a:gd name="connsiteX5" fmla="*/ 348904 w 650157"/>
                <a:gd name="connsiteY5" fmla="*/ 335888 h 698024"/>
                <a:gd name="connsiteX6" fmla="*/ 230585 w 650157"/>
                <a:gd name="connsiteY6" fmla="*/ 280314 h 698024"/>
                <a:gd name="connsiteX7" fmla="*/ 274797 w 650157"/>
                <a:gd name="connsiteY7" fmla="*/ 320860 h 698024"/>
                <a:gd name="connsiteX8" fmla="*/ 274337 w 650157"/>
                <a:gd name="connsiteY8" fmla="*/ 320976 h 698024"/>
                <a:gd name="connsiteX9" fmla="*/ 239961 w 650157"/>
                <a:gd name="connsiteY9" fmla="*/ 311108 h 698024"/>
                <a:gd name="connsiteX10" fmla="*/ 239716 w 650157"/>
                <a:gd name="connsiteY10" fmla="*/ 311399 h 698024"/>
                <a:gd name="connsiteX11" fmla="*/ 230585 w 650157"/>
                <a:gd name="connsiteY11" fmla="*/ 280314 h 698024"/>
                <a:gd name="connsiteX12" fmla="*/ 175280 w 650157"/>
                <a:gd name="connsiteY12" fmla="*/ 229593 h 698024"/>
                <a:gd name="connsiteX13" fmla="*/ 188018 w 650157"/>
                <a:gd name="connsiteY13" fmla="*/ 241275 h 698024"/>
                <a:gd name="connsiteX14" fmla="*/ 176767 w 650157"/>
                <a:gd name="connsiteY14" fmla="*/ 264725 h 698024"/>
                <a:gd name="connsiteX15" fmla="*/ 204569 w 650157"/>
                <a:gd name="connsiteY15" fmla="*/ 353045 h 698024"/>
                <a:gd name="connsiteX16" fmla="*/ 280866 w 650157"/>
                <a:gd name="connsiteY16" fmla="*/ 375467 h 698024"/>
                <a:gd name="connsiteX17" fmla="*/ 318697 w 650157"/>
                <a:gd name="connsiteY17" fmla="*/ 361120 h 698024"/>
                <a:gd name="connsiteX18" fmla="*/ 369250 w 650157"/>
                <a:gd name="connsiteY18" fmla="*/ 407483 h 698024"/>
                <a:gd name="connsiteX19" fmla="*/ 327006 w 650157"/>
                <a:gd name="connsiteY19" fmla="*/ 396302 h 698024"/>
                <a:gd name="connsiteX20" fmla="*/ 284812 w 650157"/>
                <a:gd name="connsiteY20" fmla="*/ 438151 h 698024"/>
                <a:gd name="connsiteX21" fmla="*/ 385381 w 650157"/>
                <a:gd name="connsiteY21" fmla="*/ 464690 h 698024"/>
                <a:gd name="connsiteX22" fmla="*/ 415805 w 650157"/>
                <a:gd name="connsiteY22" fmla="*/ 450177 h 698024"/>
                <a:gd name="connsiteX23" fmla="*/ 428627 w 650157"/>
                <a:gd name="connsiteY23" fmla="*/ 461937 h 698024"/>
                <a:gd name="connsiteX24" fmla="*/ 454996 w 650157"/>
                <a:gd name="connsiteY24" fmla="*/ 433185 h 698024"/>
                <a:gd name="connsiteX25" fmla="*/ 443131 w 650157"/>
                <a:gd name="connsiteY25" fmla="*/ 422303 h 698024"/>
                <a:gd name="connsiteX26" fmla="*/ 457476 w 650157"/>
                <a:gd name="connsiteY26" fmla="*/ 389718 h 698024"/>
                <a:gd name="connsiteX27" fmla="*/ 428374 w 650157"/>
                <a:gd name="connsiteY27" fmla="*/ 291682 h 698024"/>
                <a:gd name="connsiteX28" fmla="*/ 428534 w 650157"/>
                <a:gd name="connsiteY28" fmla="*/ 291495 h 698024"/>
                <a:gd name="connsiteX29" fmla="*/ 427407 w 650157"/>
                <a:gd name="connsiteY29" fmla="*/ 290667 h 698024"/>
                <a:gd name="connsiteX30" fmla="*/ 427024 w 650157"/>
                <a:gd name="connsiteY30" fmla="*/ 290265 h 698024"/>
                <a:gd name="connsiteX31" fmla="*/ 426958 w 650157"/>
                <a:gd name="connsiteY31" fmla="*/ 290337 h 698024"/>
                <a:gd name="connsiteX32" fmla="*/ 352832 w 650157"/>
                <a:gd name="connsiteY32" fmla="*/ 271304 h 698024"/>
                <a:gd name="connsiteX33" fmla="*/ 307533 w 650157"/>
                <a:gd name="connsiteY33" fmla="*/ 297948 h 698024"/>
                <a:gd name="connsiteX34" fmla="*/ 255217 w 650157"/>
                <a:gd name="connsiteY34" fmla="*/ 249969 h 698024"/>
                <a:gd name="connsiteX35" fmla="*/ 258272 w 650157"/>
                <a:gd name="connsiteY35" fmla="*/ 248650 h 698024"/>
                <a:gd name="connsiteX36" fmla="*/ 296374 w 650157"/>
                <a:gd name="connsiteY36" fmla="*/ 258705 h 698024"/>
                <a:gd name="connsiteX37" fmla="*/ 334358 w 650157"/>
                <a:gd name="connsiteY37" fmla="*/ 221032 h 698024"/>
                <a:gd name="connsiteX38" fmla="*/ 243823 w 650157"/>
                <a:gd name="connsiteY38" fmla="*/ 197141 h 698024"/>
                <a:gd name="connsiteX39" fmla="*/ 213832 w 650157"/>
                <a:gd name="connsiteY39" fmla="*/ 212016 h 698024"/>
                <a:gd name="connsiteX40" fmla="*/ 201648 w 650157"/>
                <a:gd name="connsiteY40" fmla="*/ 200842 h 698024"/>
                <a:gd name="connsiteX41" fmla="*/ 175280 w 650157"/>
                <a:gd name="connsiteY41" fmla="*/ 229593 h 698024"/>
                <a:gd name="connsiteX42" fmla="*/ 12 w 650157"/>
                <a:gd name="connsiteY42" fmla="*/ 316093 h 698024"/>
                <a:gd name="connsiteX43" fmla="*/ 225239 w 650157"/>
                <a:gd name="connsiteY43" fmla="*/ 2029 h 698024"/>
                <a:gd name="connsiteX44" fmla="*/ 594173 w 650157"/>
                <a:gd name="connsiteY44" fmla="*/ 87904 h 698024"/>
                <a:gd name="connsiteX45" fmla="*/ 510663 w 650157"/>
                <a:gd name="connsiteY45" fmla="*/ 509759 h 698024"/>
                <a:gd name="connsiteX46" fmla="*/ 71150 w 650157"/>
                <a:gd name="connsiteY46" fmla="*/ 625383 h 698024"/>
                <a:gd name="connsiteX47" fmla="*/ 70567 w 650157"/>
                <a:gd name="connsiteY47" fmla="*/ 624506 h 698024"/>
                <a:gd name="connsiteX48" fmla="*/ 12 w 650157"/>
                <a:gd name="connsiteY48" fmla="*/ 316093 h 698024"/>
                <a:gd name="connsiteX0" fmla="*/ 348904 w 650157"/>
                <a:gd name="connsiteY0" fmla="*/ 335888 h 698024"/>
                <a:gd name="connsiteX1" fmla="*/ 361744 w 650157"/>
                <a:gd name="connsiteY1" fmla="*/ 327365 h 698024"/>
                <a:gd name="connsiteX2" fmla="*/ 387609 w 650157"/>
                <a:gd name="connsiteY2" fmla="*/ 334852 h 698024"/>
                <a:gd name="connsiteX3" fmla="*/ 399673 w 650157"/>
                <a:gd name="connsiteY3" fmla="*/ 375919 h 698024"/>
                <a:gd name="connsiteX4" fmla="*/ 398092 w 650157"/>
                <a:gd name="connsiteY4" fmla="*/ 380999 h 698024"/>
                <a:gd name="connsiteX5" fmla="*/ 348904 w 650157"/>
                <a:gd name="connsiteY5" fmla="*/ 335888 h 698024"/>
                <a:gd name="connsiteX6" fmla="*/ 230585 w 650157"/>
                <a:gd name="connsiteY6" fmla="*/ 280314 h 698024"/>
                <a:gd name="connsiteX7" fmla="*/ 274797 w 650157"/>
                <a:gd name="connsiteY7" fmla="*/ 320860 h 698024"/>
                <a:gd name="connsiteX8" fmla="*/ 274337 w 650157"/>
                <a:gd name="connsiteY8" fmla="*/ 320976 h 698024"/>
                <a:gd name="connsiteX9" fmla="*/ 239961 w 650157"/>
                <a:gd name="connsiteY9" fmla="*/ 311108 h 698024"/>
                <a:gd name="connsiteX10" fmla="*/ 239716 w 650157"/>
                <a:gd name="connsiteY10" fmla="*/ 311399 h 698024"/>
                <a:gd name="connsiteX11" fmla="*/ 230585 w 650157"/>
                <a:gd name="connsiteY11" fmla="*/ 280314 h 698024"/>
                <a:gd name="connsiteX12" fmla="*/ 175280 w 650157"/>
                <a:gd name="connsiteY12" fmla="*/ 229593 h 698024"/>
                <a:gd name="connsiteX13" fmla="*/ 188018 w 650157"/>
                <a:gd name="connsiteY13" fmla="*/ 241275 h 698024"/>
                <a:gd name="connsiteX14" fmla="*/ 176767 w 650157"/>
                <a:gd name="connsiteY14" fmla="*/ 264725 h 698024"/>
                <a:gd name="connsiteX15" fmla="*/ 204569 w 650157"/>
                <a:gd name="connsiteY15" fmla="*/ 353045 h 698024"/>
                <a:gd name="connsiteX16" fmla="*/ 280866 w 650157"/>
                <a:gd name="connsiteY16" fmla="*/ 375467 h 698024"/>
                <a:gd name="connsiteX17" fmla="*/ 318697 w 650157"/>
                <a:gd name="connsiteY17" fmla="*/ 361120 h 698024"/>
                <a:gd name="connsiteX18" fmla="*/ 369250 w 650157"/>
                <a:gd name="connsiteY18" fmla="*/ 407483 h 698024"/>
                <a:gd name="connsiteX19" fmla="*/ 327006 w 650157"/>
                <a:gd name="connsiteY19" fmla="*/ 396302 h 698024"/>
                <a:gd name="connsiteX20" fmla="*/ 284812 w 650157"/>
                <a:gd name="connsiteY20" fmla="*/ 438151 h 698024"/>
                <a:gd name="connsiteX21" fmla="*/ 385381 w 650157"/>
                <a:gd name="connsiteY21" fmla="*/ 464690 h 698024"/>
                <a:gd name="connsiteX22" fmla="*/ 415805 w 650157"/>
                <a:gd name="connsiteY22" fmla="*/ 450177 h 698024"/>
                <a:gd name="connsiteX23" fmla="*/ 428627 w 650157"/>
                <a:gd name="connsiteY23" fmla="*/ 461937 h 698024"/>
                <a:gd name="connsiteX24" fmla="*/ 454996 w 650157"/>
                <a:gd name="connsiteY24" fmla="*/ 433185 h 698024"/>
                <a:gd name="connsiteX25" fmla="*/ 443131 w 650157"/>
                <a:gd name="connsiteY25" fmla="*/ 422303 h 698024"/>
                <a:gd name="connsiteX26" fmla="*/ 457476 w 650157"/>
                <a:gd name="connsiteY26" fmla="*/ 389718 h 698024"/>
                <a:gd name="connsiteX27" fmla="*/ 428374 w 650157"/>
                <a:gd name="connsiteY27" fmla="*/ 291682 h 698024"/>
                <a:gd name="connsiteX28" fmla="*/ 428534 w 650157"/>
                <a:gd name="connsiteY28" fmla="*/ 291495 h 698024"/>
                <a:gd name="connsiteX29" fmla="*/ 427407 w 650157"/>
                <a:gd name="connsiteY29" fmla="*/ 290667 h 698024"/>
                <a:gd name="connsiteX30" fmla="*/ 427024 w 650157"/>
                <a:gd name="connsiteY30" fmla="*/ 290265 h 698024"/>
                <a:gd name="connsiteX31" fmla="*/ 426958 w 650157"/>
                <a:gd name="connsiteY31" fmla="*/ 290337 h 698024"/>
                <a:gd name="connsiteX32" fmla="*/ 352832 w 650157"/>
                <a:gd name="connsiteY32" fmla="*/ 271304 h 698024"/>
                <a:gd name="connsiteX33" fmla="*/ 307533 w 650157"/>
                <a:gd name="connsiteY33" fmla="*/ 297948 h 698024"/>
                <a:gd name="connsiteX34" fmla="*/ 255217 w 650157"/>
                <a:gd name="connsiteY34" fmla="*/ 249969 h 698024"/>
                <a:gd name="connsiteX35" fmla="*/ 258272 w 650157"/>
                <a:gd name="connsiteY35" fmla="*/ 248650 h 698024"/>
                <a:gd name="connsiteX36" fmla="*/ 296374 w 650157"/>
                <a:gd name="connsiteY36" fmla="*/ 258705 h 698024"/>
                <a:gd name="connsiteX37" fmla="*/ 334358 w 650157"/>
                <a:gd name="connsiteY37" fmla="*/ 221032 h 698024"/>
                <a:gd name="connsiteX38" fmla="*/ 243823 w 650157"/>
                <a:gd name="connsiteY38" fmla="*/ 197141 h 698024"/>
                <a:gd name="connsiteX39" fmla="*/ 213832 w 650157"/>
                <a:gd name="connsiteY39" fmla="*/ 212016 h 698024"/>
                <a:gd name="connsiteX40" fmla="*/ 201648 w 650157"/>
                <a:gd name="connsiteY40" fmla="*/ 200842 h 698024"/>
                <a:gd name="connsiteX41" fmla="*/ 175280 w 650157"/>
                <a:gd name="connsiteY41" fmla="*/ 229593 h 698024"/>
                <a:gd name="connsiteX42" fmla="*/ 12 w 650157"/>
                <a:gd name="connsiteY42" fmla="*/ 316093 h 698024"/>
                <a:gd name="connsiteX43" fmla="*/ 225239 w 650157"/>
                <a:gd name="connsiteY43" fmla="*/ 2029 h 698024"/>
                <a:gd name="connsiteX44" fmla="*/ 594173 w 650157"/>
                <a:gd name="connsiteY44" fmla="*/ 87904 h 698024"/>
                <a:gd name="connsiteX45" fmla="*/ 510663 w 650157"/>
                <a:gd name="connsiteY45" fmla="*/ 509759 h 698024"/>
                <a:gd name="connsiteX46" fmla="*/ 71150 w 650157"/>
                <a:gd name="connsiteY46" fmla="*/ 625383 h 698024"/>
                <a:gd name="connsiteX47" fmla="*/ 70567 w 650157"/>
                <a:gd name="connsiteY47" fmla="*/ 624506 h 698024"/>
                <a:gd name="connsiteX48" fmla="*/ 12 w 650157"/>
                <a:gd name="connsiteY48" fmla="*/ 316093 h 698024"/>
                <a:gd name="connsiteX0" fmla="*/ 348904 w 681821"/>
                <a:gd name="connsiteY0" fmla="*/ 335464 h 697600"/>
                <a:gd name="connsiteX1" fmla="*/ 361744 w 681821"/>
                <a:gd name="connsiteY1" fmla="*/ 326941 h 697600"/>
                <a:gd name="connsiteX2" fmla="*/ 387609 w 681821"/>
                <a:gd name="connsiteY2" fmla="*/ 334428 h 697600"/>
                <a:gd name="connsiteX3" fmla="*/ 399673 w 681821"/>
                <a:gd name="connsiteY3" fmla="*/ 375495 h 697600"/>
                <a:gd name="connsiteX4" fmla="*/ 398092 w 681821"/>
                <a:gd name="connsiteY4" fmla="*/ 380575 h 697600"/>
                <a:gd name="connsiteX5" fmla="*/ 348904 w 681821"/>
                <a:gd name="connsiteY5" fmla="*/ 335464 h 697600"/>
                <a:gd name="connsiteX6" fmla="*/ 230585 w 681821"/>
                <a:gd name="connsiteY6" fmla="*/ 279890 h 697600"/>
                <a:gd name="connsiteX7" fmla="*/ 274797 w 681821"/>
                <a:gd name="connsiteY7" fmla="*/ 320436 h 697600"/>
                <a:gd name="connsiteX8" fmla="*/ 274337 w 681821"/>
                <a:gd name="connsiteY8" fmla="*/ 320552 h 697600"/>
                <a:gd name="connsiteX9" fmla="*/ 239961 w 681821"/>
                <a:gd name="connsiteY9" fmla="*/ 310684 h 697600"/>
                <a:gd name="connsiteX10" fmla="*/ 239716 w 681821"/>
                <a:gd name="connsiteY10" fmla="*/ 310975 h 697600"/>
                <a:gd name="connsiteX11" fmla="*/ 230585 w 681821"/>
                <a:gd name="connsiteY11" fmla="*/ 279890 h 697600"/>
                <a:gd name="connsiteX12" fmla="*/ 175280 w 681821"/>
                <a:gd name="connsiteY12" fmla="*/ 229169 h 697600"/>
                <a:gd name="connsiteX13" fmla="*/ 188018 w 681821"/>
                <a:gd name="connsiteY13" fmla="*/ 240851 h 697600"/>
                <a:gd name="connsiteX14" fmla="*/ 176767 w 681821"/>
                <a:gd name="connsiteY14" fmla="*/ 264301 h 697600"/>
                <a:gd name="connsiteX15" fmla="*/ 204569 w 681821"/>
                <a:gd name="connsiteY15" fmla="*/ 352621 h 697600"/>
                <a:gd name="connsiteX16" fmla="*/ 280866 w 681821"/>
                <a:gd name="connsiteY16" fmla="*/ 375043 h 697600"/>
                <a:gd name="connsiteX17" fmla="*/ 318697 w 681821"/>
                <a:gd name="connsiteY17" fmla="*/ 360696 h 697600"/>
                <a:gd name="connsiteX18" fmla="*/ 369250 w 681821"/>
                <a:gd name="connsiteY18" fmla="*/ 407059 h 697600"/>
                <a:gd name="connsiteX19" fmla="*/ 327006 w 681821"/>
                <a:gd name="connsiteY19" fmla="*/ 395878 h 697600"/>
                <a:gd name="connsiteX20" fmla="*/ 284812 w 681821"/>
                <a:gd name="connsiteY20" fmla="*/ 437727 h 697600"/>
                <a:gd name="connsiteX21" fmla="*/ 385381 w 681821"/>
                <a:gd name="connsiteY21" fmla="*/ 464266 h 697600"/>
                <a:gd name="connsiteX22" fmla="*/ 415805 w 681821"/>
                <a:gd name="connsiteY22" fmla="*/ 449753 h 697600"/>
                <a:gd name="connsiteX23" fmla="*/ 428627 w 681821"/>
                <a:gd name="connsiteY23" fmla="*/ 461513 h 697600"/>
                <a:gd name="connsiteX24" fmla="*/ 454996 w 681821"/>
                <a:gd name="connsiteY24" fmla="*/ 432761 h 697600"/>
                <a:gd name="connsiteX25" fmla="*/ 443131 w 681821"/>
                <a:gd name="connsiteY25" fmla="*/ 421879 h 697600"/>
                <a:gd name="connsiteX26" fmla="*/ 457476 w 681821"/>
                <a:gd name="connsiteY26" fmla="*/ 389294 h 697600"/>
                <a:gd name="connsiteX27" fmla="*/ 428374 w 681821"/>
                <a:gd name="connsiteY27" fmla="*/ 291258 h 697600"/>
                <a:gd name="connsiteX28" fmla="*/ 428534 w 681821"/>
                <a:gd name="connsiteY28" fmla="*/ 291071 h 697600"/>
                <a:gd name="connsiteX29" fmla="*/ 427407 w 681821"/>
                <a:gd name="connsiteY29" fmla="*/ 290243 h 697600"/>
                <a:gd name="connsiteX30" fmla="*/ 427024 w 681821"/>
                <a:gd name="connsiteY30" fmla="*/ 289841 h 697600"/>
                <a:gd name="connsiteX31" fmla="*/ 426958 w 681821"/>
                <a:gd name="connsiteY31" fmla="*/ 289913 h 697600"/>
                <a:gd name="connsiteX32" fmla="*/ 352832 w 681821"/>
                <a:gd name="connsiteY32" fmla="*/ 270880 h 697600"/>
                <a:gd name="connsiteX33" fmla="*/ 307533 w 681821"/>
                <a:gd name="connsiteY33" fmla="*/ 297524 h 697600"/>
                <a:gd name="connsiteX34" fmla="*/ 255217 w 681821"/>
                <a:gd name="connsiteY34" fmla="*/ 249545 h 697600"/>
                <a:gd name="connsiteX35" fmla="*/ 258272 w 681821"/>
                <a:gd name="connsiteY35" fmla="*/ 248226 h 697600"/>
                <a:gd name="connsiteX36" fmla="*/ 296374 w 681821"/>
                <a:gd name="connsiteY36" fmla="*/ 258281 h 697600"/>
                <a:gd name="connsiteX37" fmla="*/ 334358 w 681821"/>
                <a:gd name="connsiteY37" fmla="*/ 220608 h 697600"/>
                <a:gd name="connsiteX38" fmla="*/ 243823 w 681821"/>
                <a:gd name="connsiteY38" fmla="*/ 196717 h 697600"/>
                <a:gd name="connsiteX39" fmla="*/ 213832 w 681821"/>
                <a:gd name="connsiteY39" fmla="*/ 211592 h 697600"/>
                <a:gd name="connsiteX40" fmla="*/ 201648 w 681821"/>
                <a:gd name="connsiteY40" fmla="*/ 200418 h 697600"/>
                <a:gd name="connsiteX41" fmla="*/ 175280 w 681821"/>
                <a:gd name="connsiteY41" fmla="*/ 229169 h 697600"/>
                <a:gd name="connsiteX42" fmla="*/ 12 w 681821"/>
                <a:gd name="connsiteY42" fmla="*/ 315669 h 697600"/>
                <a:gd name="connsiteX43" fmla="*/ 225239 w 681821"/>
                <a:gd name="connsiteY43" fmla="*/ 1605 h 697600"/>
                <a:gd name="connsiteX44" fmla="*/ 594173 w 681821"/>
                <a:gd name="connsiteY44" fmla="*/ 87480 h 697600"/>
                <a:gd name="connsiteX45" fmla="*/ 510663 w 681821"/>
                <a:gd name="connsiteY45" fmla="*/ 509335 h 697600"/>
                <a:gd name="connsiteX46" fmla="*/ 71150 w 681821"/>
                <a:gd name="connsiteY46" fmla="*/ 624959 h 697600"/>
                <a:gd name="connsiteX47" fmla="*/ 70567 w 681821"/>
                <a:gd name="connsiteY47" fmla="*/ 624082 h 697600"/>
                <a:gd name="connsiteX48" fmla="*/ 12 w 681821"/>
                <a:gd name="connsiteY48" fmla="*/ 315669 h 697600"/>
                <a:gd name="connsiteX0" fmla="*/ 348904 w 700110"/>
                <a:gd name="connsiteY0" fmla="*/ 336630 h 721497"/>
                <a:gd name="connsiteX1" fmla="*/ 361744 w 700110"/>
                <a:gd name="connsiteY1" fmla="*/ 328107 h 721497"/>
                <a:gd name="connsiteX2" fmla="*/ 387609 w 700110"/>
                <a:gd name="connsiteY2" fmla="*/ 335594 h 721497"/>
                <a:gd name="connsiteX3" fmla="*/ 399673 w 700110"/>
                <a:gd name="connsiteY3" fmla="*/ 376661 h 721497"/>
                <a:gd name="connsiteX4" fmla="*/ 398092 w 700110"/>
                <a:gd name="connsiteY4" fmla="*/ 381741 h 721497"/>
                <a:gd name="connsiteX5" fmla="*/ 348904 w 700110"/>
                <a:gd name="connsiteY5" fmla="*/ 336630 h 721497"/>
                <a:gd name="connsiteX6" fmla="*/ 230585 w 700110"/>
                <a:gd name="connsiteY6" fmla="*/ 281056 h 721497"/>
                <a:gd name="connsiteX7" fmla="*/ 274797 w 700110"/>
                <a:gd name="connsiteY7" fmla="*/ 321602 h 721497"/>
                <a:gd name="connsiteX8" fmla="*/ 274337 w 700110"/>
                <a:gd name="connsiteY8" fmla="*/ 321718 h 721497"/>
                <a:gd name="connsiteX9" fmla="*/ 239961 w 700110"/>
                <a:gd name="connsiteY9" fmla="*/ 311850 h 721497"/>
                <a:gd name="connsiteX10" fmla="*/ 239716 w 700110"/>
                <a:gd name="connsiteY10" fmla="*/ 312141 h 721497"/>
                <a:gd name="connsiteX11" fmla="*/ 230585 w 700110"/>
                <a:gd name="connsiteY11" fmla="*/ 281056 h 721497"/>
                <a:gd name="connsiteX12" fmla="*/ 175280 w 700110"/>
                <a:gd name="connsiteY12" fmla="*/ 230335 h 721497"/>
                <a:gd name="connsiteX13" fmla="*/ 188018 w 700110"/>
                <a:gd name="connsiteY13" fmla="*/ 242017 h 721497"/>
                <a:gd name="connsiteX14" fmla="*/ 176767 w 700110"/>
                <a:gd name="connsiteY14" fmla="*/ 265467 h 721497"/>
                <a:gd name="connsiteX15" fmla="*/ 204569 w 700110"/>
                <a:gd name="connsiteY15" fmla="*/ 353787 h 721497"/>
                <a:gd name="connsiteX16" fmla="*/ 280866 w 700110"/>
                <a:gd name="connsiteY16" fmla="*/ 376209 h 721497"/>
                <a:gd name="connsiteX17" fmla="*/ 318697 w 700110"/>
                <a:gd name="connsiteY17" fmla="*/ 361862 h 721497"/>
                <a:gd name="connsiteX18" fmla="*/ 369250 w 700110"/>
                <a:gd name="connsiteY18" fmla="*/ 408225 h 721497"/>
                <a:gd name="connsiteX19" fmla="*/ 327006 w 700110"/>
                <a:gd name="connsiteY19" fmla="*/ 397044 h 721497"/>
                <a:gd name="connsiteX20" fmla="*/ 284812 w 700110"/>
                <a:gd name="connsiteY20" fmla="*/ 438893 h 721497"/>
                <a:gd name="connsiteX21" fmla="*/ 385381 w 700110"/>
                <a:gd name="connsiteY21" fmla="*/ 465432 h 721497"/>
                <a:gd name="connsiteX22" fmla="*/ 415805 w 700110"/>
                <a:gd name="connsiteY22" fmla="*/ 450919 h 721497"/>
                <a:gd name="connsiteX23" fmla="*/ 428627 w 700110"/>
                <a:gd name="connsiteY23" fmla="*/ 462679 h 721497"/>
                <a:gd name="connsiteX24" fmla="*/ 454996 w 700110"/>
                <a:gd name="connsiteY24" fmla="*/ 433927 h 721497"/>
                <a:gd name="connsiteX25" fmla="*/ 443131 w 700110"/>
                <a:gd name="connsiteY25" fmla="*/ 423045 h 721497"/>
                <a:gd name="connsiteX26" fmla="*/ 457476 w 700110"/>
                <a:gd name="connsiteY26" fmla="*/ 390460 h 721497"/>
                <a:gd name="connsiteX27" fmla="*/ 428374 w 700110"/>
                <a:gd name="connsiteY27" fmla="*/ 292424 h 721497"/>
                <a:gd name="connsiteX28" fmla="*/ 428534 w 700110"/>
                <a:gd name="connsiteY28" fmla="*/ 292237 h 721497"/>
                <a:gd name="connsiteX29" fmla="*/ 427407 w 700110"/>
                <a:gd name="connsiteY29" fmla="*/ 291409 h 721497"/>
                <a:gd name="connsiteX30" fmla="*/ 427024 w 700110"/>
                <a:gd name="connsiteY30" fmla="*/ 291007 h 721497"/>
                <a:gd name="connsiteX31" fmla="*/ 426958 w 700110"/>
                <a:gd name="connsiteY31" fmla="*/ 291079 h 721497"/>
                <a:gd name="connsiteX32" fmla="*/ 352832 w 700110"/>
                <a:gd name="connsiteY32" fmla="*/ 272046 h 721497"/>
                <a:gd name="connsiteX33" fmla="*/ 307533 w 700110"/>
                <a:gd name="connsiteY33" fmla="*/ 298690 h 721497"/>
                <a:gd name="connsiteX34" fmla="*/ 255217 w 700110"/>
                <a:gd name="connsiteY34" fmla="*/ 250711 h 721497"/>
                <a:gd name="connsiteX35" fmla="*/ 258272 w 700110"/>
                <a:gd name="connsiteY35" fmla="*/ 249392 h 721497"/>
                <a:gd name="connsiteX36" fmla="*/ 296374 w 700110"/>
                <a:gd name="connsiteY36" fmla="*/ 259447 h 721497"/>
                <a:gd name="connsiteX37" fmla="*/ 334358 w 700110"/>
                <a:gd name="connsiteY37" fmla="*/ 221774 h 721497"/>
                <a:gd name="connsiteX38" fmla="*/ 243823 w 700110"/>
                <a:gd name="connsiteY38" fmla="*/ 197883 h 721497"/>
                <a:gd name="connsiteX39" fmla="*/ 213832 w 700110"/>
                <a:gd name="connsiteY39" fmla="*/ 212758 h 721497"/>
                <a:gd name="connsiteX40" fmla="*/ 201648 w 700110"/>
                <a:gd name="connsiteY40" fmla="*/ 201584 h 721497"/>
                <a:gd name="connsiteX41" fmla="*/ 175280 w 700110"/>
                <a:gd name="connsiteY41" fmla="*/ 230335 h 721497"/>
                <a:gd name="connsiteX42" fmla="*/ 12 w 700110"/>
                <a:gd name="connsiteY42" fmla="*/ 316835 h 721497"/>
                <a:gd name="connsiteX43" fmla="*/ 225239 w 700110"/>
                <a:gd name="connsiteY43" fmla="*/ 2771 h 721497"/>
                <a:gd name="connsiteX44" fmla="*/ 594173 w 700110"/>
                <a:gd name="connsiteY44" fmla="*/ 88646 h 721497"/>
                <a:gd name="connsiteX45" fmla="*/ 588618 w 700110"/>
                <a:gd name="connsiteY45" fmla="*/ 559376 h 721497"/>
                <a:gd name="connsiteX46" fmla="*/ 71150 w 700110"/>
                <a:gd name="connsiteY46" fmla="*/ 626125 h 721497"/>
                <a:gd name="connsiteX47" fmla="*/ 70567 w 700110"/>
                <a:gd name="connsiteY47" fmla="*/ 625248 h 721497"/>
                <a:gd name="connsiteX48" fmla="*/ 12 w 700110"/>
                <a:gd name="connsiteY48" fmla="*/ 316835 h 721497"/>
                <a:gd name="connsiteX0" fmla="*/ 348904 w 717019"/>
                <a:gd name="connsiteY0" fmla="*/ 335844 h 720711"/>
                <a:gd name="connsiteX1" fmla="*/ 361744 w 717019"/>
                <a:gd name="connsiteY1" fmla="*/ 327321 h 720711"/>
                <a:gd name="connsiteX2" fmla="*/ 387609 w 717019"/>
                <a:gd name="connsiteY2" fmla="*/ 334808 h 720711"/>
                <a:gd name="connsiteX3" fmla="*/ 399673 w 717019"/>
                <a:gd name="connsiteY3" fmla="*/ 375875 h 720711"/>
                <a:gd name="connsiteX4" fmla="*/ 398092 w 717019"/>
                <a:gd name="connsiteY4" fmla="*/ 380955 h 720711"/>
                <a:gd name="connsiteX5" fmla="*/ 348904 w 717019"/>
                <a:gd name="connsiteY5" fmla="*/ 335844 h 720711"/>
                <a:gd name="connsiteX6" fmla="*/ 230585 w 717019"/>
                <a:gd name="connsiteY6" fmla="*/ 280270 h 720711"/>
                <a:gd name="connsiteX7" fmla="*/ 274797 w 717019"/>
                <a:gd name="connsiteY7" fmla="*/ 320816 h 720711"/>
                <a:gd name="connsiteX8" fmla="*/ 274337 w 717019"/>
                <a:gd name="connsiteY8" fmla="*/ 320932 h 720711"/>
                <a:gd name="connsiteX9" fmla="*/ 239961 w 717019"/>
                <a:gd name="connsiteY9" fmla="*/ 311064 h 720711"/>
                <a:gd name="connsiteX10" fmla="*/ 239716 w 717019"/>
                <a:gd name="connsiteY10" fmla="*/ 311355 h 720711"/>
                <a:gd name="connsiteX11" fmla="*/ 230585 w 717019"/>
                <a:gd name="connsiteY11" fmla="*/ 280270 h 720711"/>
                <a:gd name="connsiteX12" fmla="*/ 175280 w 717019"/>
                <a:gd name="connsiteY12" fmla="*/ 229549 h 720711"/>
                <a:gd name="connsiteX13" fmla="*/ 188018 w 717019"/>
                <a:gd name="connsiteY13" fmla="*/ 241231 h 720711"/>
                <a:gd name="connsiteX14" fmla="*/ 176767 w 717019"/>
                <a:gd name="connsiteY14" fmla="*/ 264681 h 720711"/>
                <a:gd name="connsiteX15" fmla="*/ 204569 w 717019"/>
                <a:gd name="connsiteY15" fmla="*/ 353001 h 720711"/>
                <a:gd name="connsiteX16" fmla="*/ 280866 w 717019"/>
                <a:gd name="connsiteY16" fmla="*/ 375423 h 720711"/>
                <a:gd name="connsiteX17" fmla="*/ 318697 w 717019"/>
                <a:gd name="connsiteY17" fmla="*/ 361076 h 720711"/>
                <a:gd name="connsiteX18" fmla="*/ 369250 w 717019"/>
                <a:gd name="connsiteY18" fmla="*/ 407439 h 720711"/>
                <a:gd name="connsiteX19" fmla="*/ 327006 w 717019"/>
                <a:gd name="connsiteY19" fmla="*/ 396258 h 720711"/>
                <a:gd name="connsiteX20" fmla="*/ 284812 w 717019"/>
                <a:gd name="connsiteY20" fmla="*/ 438107 h 720711"/>
                <a:gd name="connsiteX21" fmla="*/ 385381 w 717019"/>
                <a:gd name="connsiteY21" fmla="*/ 464646 h 720711"/>
                <a:gd name="connsiteX22" fmla="*/ 415805 w 717019"/>
                <a:gd name="connsiteY22" fmla="*/ 450133 h 720711"/>
                <a:gd name="connsiteX23" fmla="*/ 428627 w 717019"/>
                <a:gd name="connsiteY23" fmla="*/ 461893 h 720711"/>
                <a:gd name="connsiteX24" fmla="*/ 454996 w 717019"/>
                <a:gd name="connsiteY24" fmla="*/ 433141 h 720711"/>
                <a:gd name="connsiteX25" fmla="*/ 443131 w 717019"/>
                <a:gd name="connsiteY25" fmla="*/ 422259 h 720711"/>
                <a:gd name="connsiteX26" fmla="*/ 457476 w 717019"/>
                <a:gd name="connsiteY26" fmla="*/ 389674 h 720711"/>
                <a:gd name="connsiteX27" fmla="*/ 428374 w 717019"/>
                <a:gd name="connsiteY27" fmla="*/ 291638 h 720711"/>
                <a:gd name="connsiteX28" fmla="*/ 428534 w 717019"/>
                <a:gd name="connsiteY28" fmla="*/ 291451 h 720711"/>
                <a:gd name="connsiteX29" fmla="*/ 427407 w 717019"/>
                <a:gd name="connsiteY29" fmla="*/ 290623 h 720711"/>
                <a:gd name="connsiteX30" fmla="*/ 427024 w 717019"/>
                <a:gd name="connsiteY30" fmla="*/ 290221 h 720711"/>
                <a:gd name="connsiteX31" fmla="*/ 426958 w 717019"/>
                <a:gd name="connsiteY31" fmla="*/ 290293 h 720711"/>
                <a:gd name="connsiteX32" fmla="*/ 352832 w 717019"/>
                <a:gd name="connsiteY32" fmla="*/ 271260 h 720711"/>
                <a:gd name="connsiteX33" fmla="*/ 307533 w 717019"/>
                <a:gd name="connsiteY33" fmla="*/ 297904 h 720711"/>
                <a:gd name="connsiteX34" fmla="*/ 255217 w 717019"/>
                <a:gd name="connsiteY34" fmla="*/ 249925 h 720711"/>
                <a:gd name="connsiteX35" fmla="*/ 258272 w 717019"/>
                <a:gd name="connsiteY35" fmla="*/ 248606 h 720711"/>
                <a:gd name="connsiteX36" fmla="*/ 296374 w 717019"/>
                <a:gd name="connsiteY36" fmla="*/ 258661 h 720711"/>
                <a:gd name="connsiteX37" fmla="*/ 334358 w 717019"/>
                <a:gd name="connsiteY37" fmla="*/ 220988 h 720711"/>
                <a:gd name="connsiteX38" fmla="*/ 243823 w 717019"/>
                <a:gd name="connsiteY38" fmla="*/ 197097 h 720711"/>
                <a:gd name="connsiteX39" fmla="*/ 213832 w 717019"/>
                <a:gd name="connsiteY39" fmla="*/ 211972 h 720711"/>
                <a:gd name="connsiteX40" fmla="*/ 201648 w 717019"/>
                <a:gd name="connsiteY40" fmla="*/ 200798 h 720711"/>
                <a:gd name="connsiteX41" fmla="*/ 175280 w 717019"/>
                <a:gd name="connsiteY41" fmla="*/ 229549 h 720711"/>
                <a:gd name="connsiteX42" fmla="*/ 12 w 717019"/>
                <a:gd name="connsiteY42" fmla="*/ 316049 h 720711"/>
                <a:gd name="connsiteX43" fmla="*/ 225239 w 717019"/>
                <a:gd name="connsiteY43" fmla="*/ 1985 h 720711"/>
                <a:gd name="connsiteX44" fmla="*/ 638347 w 717019"/>
                <a:gd name="connsiteY44" fmla="*/ 96063 h 720711"/>
                <a:gd name="connsiteX45" fmla="*/ 588618 w 717019"/>
                <a:gd name="connsiteY45" fmla="*/ 558590 h 720711"/>
                <a:gd name="connsiteX46" fmla="*/ 71150 w 717019"/>
                <a:gd name="connsiteY46" fmla="*/ 625339 h 720711"/>
                <a:gd name="connsiteX47" fmla="*/ 70567 w 717019"/>
                <a:gd name="connsiteY47" fmla="*/ 624462 h 720711"/>
                <a:gd name="connsiteX48" fmla="*/ 12 w 717019"/>
                <a:gd name="connsiteY48" fmla="*/ 316049 h 720711"/>
                <a:gd name="connsiteX0" fmla="*/ 348904 w 720751"/>
                <a:gd name="connsiteY0" fmla="*/ 335142 h 720009"/>
                <a:gd name="connsiteX1" fmla="*/ 361744 w 720751"/>
                <a:gd name="connsiteY1" fmla="*/ 326619 h 720009"/>
                <a:gd name="connsiteX2" fmla="*/ 387609 w 720751"/>
                <a:gd name="connsiteY2" fmla="*/ 334106 h 720009"/>
                <a:gd name="connsiteX3" fmla="*/ 399673 w 720751"/>
                <a:gd name="connsiteY3" fmla="*/ 375173 h 720009"/>
                <a:gd name="connsiteX4" fmla="*/ 398092 w 720751"/>
                <a:gd name="connsiteY4" fmla="*/ 380253 h 720009"/>
                <a:gd name="connsiteX5" fmla="*/ 348904 w 720751"/>
                <a:gd name="connsiteY5" fmla="*/ 335142 h 720009"/>
                <a:gd name="connsiteX6" fmla="*/ 230585 w 720751"/>
                <a:gd name="connsiteY6" fmla="*/ 279568 h 720009"/>
                <a:gd name="connsiteX7" fmla="*/ 274797 w 720751"/>
                <a:gd name="connsiteY7" fmla="*/ 320114 h 720009"/>
                <a:gd name="connsiteX8" fmla="*/ 274337 w 720751"/>
                <a:gd name="connsiteY8" fmla="*/ 320230 h 720009"/>
                <a:gd name="connsiteX9" fmla="*/ 239961 w 720751"/>
                <a:gd name="connsiteY9" fmla="*/ 310362 h 720009"/>
                <a:gd name="connsiteX10" fmla="*/ 239716 w 720751"/>
                <a:gd name="connsiteY10" fmla="*/ 310653 h 720009"/>
                <a:gd name="connsiteX11" fmla="*/ 230585 w 720751"/>
                <a:gd name="connsiteY11" fmla="*/ 279568 h 720009"/>
                <a:gd name="connsiteX12" fmla="*/ 175280 w 720751"/>
                <a:gd name="connsiteY12" fmla="*/ 228847 h 720009"/>
                <a:gd name="connsiteX13" fmla="*/ 188018 w 720751"/>
                <a:gd name="connsiteY13" fmla="*/ 240529 h 720009"/>
                <a:gd name="connsiteX14" fmla="*/ 176767 w 720751"/>
                <a:gd name="connsiteY14" fmla="*/ 263979 h 720009"/>
                <a:gd name="connsiteX15" fmla="*/ 204569 w 720751"/>
                <a:gd name="connsiteY15" fmla="*/ 352299 h 720009"/>
                <a:gd name="connsiteX16" fmla="*/ 280866 w 720751"/>
                <a:gd name="connsiteY16" fmla="*/ 374721 h 720009"/>
                <a:gd name="connsiteX17" fmla="*/ 318697 w 720751"/>
                <a:gd name="connsiteY17" fmla="*/ 360374 h 720009"/>
                <a:gd name="connsiteX18" fmla="*/ 369250 w 720751"/>
                <a:gd name="connsiteY18" fmla="*/ 406737 h 720009"/>
                <a:gd name="connsiteX19" fmla="*/ 327006 w 720751"/>
                <a:gd name="connsiteY19" fmla="*/ 395556 h 720009"/>
                <a:gd name="connsiteX20" fmla="*/ 284812 w 720751"/>
                <a:gd name="connsiteY20" fmla="*/ 437405 h 720009"/>
                <a:gd name="connsiteX21" fmla="*/ 385381 w 720751"/>
                <a:gd name="connsiteY21" fmla="*/ 463944 h 720009"/>
                <a:gd name="connsiteX22" fmla="*/ 415805 w 720751"/>
                <a:gd name="connsiteY22" fmla="*/ 449431 h 720009"/>
                <a:gd name="connsiteX23" fmla="*/ 428627 w 720751"/>
                <a:gd name="connsiteY23" fmla="*/ 461191 h 720009"/>
                <a:gd name="connsiteX24" fmla="*/ 454996 w 720751"/>
                <a:gd name="connsiteY24" fmla="*/ 432439 h 720009"/>
                <a:gd name="connsiteX25" fmla="*/ 443131 w 720751"/>
                <a:gd name="connsiteY25" fmla="*/ 421557 h 720009"/>
                <a:gd name="connsiteX26" fmla="*/ 457476 w 720751"/>
                <a:gd name="connsiteY26" fmla="*/ 388972 h 720009"/>
                <a:gd name="connsiteX27" fmla="*/ 428374 w 720751"/>
                <a:gd name="connsiteY27" fmla="*/ 290936 h 720009"/>
                <a:gd name="connsiteX28" fmla="*/ 428534 w 720751"/>
                <a:gd name="connsiteY28" fmla="*/ 290749 h 720009"/>
                <a:gd name="connsiteX29" fmla="*/ 427407 w 720751"/>
                <a:gd name="connsiteY29" fmla="*/ 289921 h 720009"/>
                <a:gd name="connsiteX30" fmla="*/ 427024 w 720751"/>
                <a:gd name="connsiteY30" fmla="*/ 289519 h 720009"/>
                <a:gd name="connsiteX31" fmla="*/ 426958 w 720751"/>
                <a:gd name="connsiteY31" fmla="*/ 289591 h 720009"/>
                <a:gd name="connsiteX32" fmla="*/ 352832 w 720751"/>
                <a:gd name="connsiteY32" fmla="*/ 270558 h 720009"/>
                <a:gd name="connsiteX33" fmla="*/ 307533 w 720751"/>
                <a:gd name="connsiteY33" fmla="*/ 297202 h 720009"/>
                <a:gd name="connsiteX34" fmla="*/ 255217 w 720751"/>
                <a:gd name="connsiteY34" fmla="*/ 249223 h 720009"/>
                <a:gd name="connsiteX35" fmla="*/ 258272 w 720751"/>
                <a:gd name="connsiteY35" fmla="*/ 247904 h 720009"/>
                <a:gd name="connsiteX36" fmla="*/ 296374 w 720751"/>
                <a:gd name="connsiteY36" fmla="*/ 257959 h 720009"/>
                <a:gd name="connsiteX37" fmla="*/ 334358 w 720751"/>
                <a:gd name="connsiteY37" fmla="*/ 220286 h 720009"/>
                <a:gd name="connsiteX38" fmla="*/ 243823 w 720751"/>
                <a:gd name="connsiteY38" fmla="*/ 196395 h 720009"/>
                <a:gd name="connsiteX39" fmla="*/ 213832 w 720751"/>
                <a:gd name="connsiteY39" fmla="*/ 211270 h 720009"/>
                <a:gd name="connsiteX40" fmla="*/ 201648 w 720751"/>
                <a:gd name="connsiteY40" fmla="*/ 200096 h 720009"/>
                <a:gd name="connsiteX41" fmla="*/ 175280 w 720751"/>
                <a:gd name="connsiteY41" fmla="*/ 228847 h 720009"/>
                <a:gd name="connsiteX42" fmla="*/ 12 w 720751"/>
                <a:gd name="connsiteY42" fmla="*/ 315347 h 720009"/>
                <a:gd name="connsiteX43" fmla="*/ 225239 w 720751"/>
                <a:gd name="connsiteY43" fmla="*/ 1283 h 720009"/>
                <a:gd name="connsiteX44" fmla="*/ 638347 w 720751"/>
                <a:gd name="connsiteY44" fmla="*/ 95361 h 720009"/>
                <a:gd name="connsiteX45" fmla="*/ 588618 w 720751"/>
                <a:gd name="connsiteY45" fmla="*/ 557888 h 720009"/>
                <a:gd name="connsiteX46" fmla="*/ 71150 w 720751"/>
                <a:gd name="connsiteY46" fmla="*/ 624637 h 720009"/>
                <a:gd name="connsiteX47" fmla="*/ 70567 w 720751"/>
                <a:gd name="connsiteY47" fmla="*/ 623760 h 720009"/>
                <a:gd name="connsiteX48" fmla="*/ 12 w 720751"/>
                <a:gd name="connsiteY48" fmla="*/ 315347 h 720009"/>
                <a:gd name="connsiteX0" fmla="*/ 362658 w 734505"/>
                <a:gd name="connsiteY0" fmla="*/ 335142 h 720009"/>
                <a:gd name="connsiteX1" fmla="*/ 375498 w 734505"/>
                <a:gd name="connsiteY1" fmla="*/ 326619 h 720009"/>
                <a:gd name="connsiteX2" fmla="*/ 401363 w 734505"/>
                <a:gd name="connsiteY2" fmla="*/ 334106 h 720009"/>
                <a:gd name="connsiteX3" fmla="*/ 413427 w 734505"/>
                <a:gd name="connsiteY3" fmla="*/ 375173 h 720009"/>
                <a:gd name="connsiteX4" fmla="*/ 411846 w 734505"/>
                <a:gd name="connsiteY4" fmla="*/ 380253 h 720009"/>
                <a:gd name="connsiteX5" fmla="*/ 362658 w 734505"/>
                <a:gd name="connsiteY5" fmla="*/ 335142 h 720009"/>
                <a:gd name="connsiteX6" fmla="*/ 244339 w 734505"/>
                <a:gd name="connsiteY6" fmla="*/ 279568 h 720009"/>
                <a:gd name="connsiteX7" fmla="*/ 288551 w 734505"/>
                <a:gd name="connsiteY7" fmla="*/ 320114 h 720009"/>
                <a:gd name="connsiteX8" fmla="*/ 288091 w 734505"/>
                <a:gd name="connsiteY8" fmla="*/ 320230 h 720009"/>
                <a:gd name="connsiteX9" fmla="*/ 253715 w 734505"/>
                <a:gd name="connsiteY9" fmla="*/ 310362 h 720009"/>
                <a:gd name="connsiteX10" fmla="*/ 253470 w 734505"/>
                <a:gd name="connsiteY10" fmla="*/ 310653 h 720009"/>
                <a:gd name="connsiteX11" fmla="*/ 244339 w 734505"/>
                <a:gd name="connsiteY11" fmla="*/ 279568 h 720009"/>
                <a:gd name="connsiteX12" fmla="*/ 189034 w 734505"/>
                <a:gd name="connsiteY12" fmla="*/ 228847 h 720009"/>
                <a:gd name="connsiteX13" fmla="*/ 201772 w 734505"/>
                <a:gd name="connsiteY13" fmla="*/ 240529 h 720009"/>
                <a:gd name="connsiteX14" fmla="*/ 190521 w 734505"/>
                <a:gd name="connsiteY14" fmla="*/ 263979 h 720009"/>
                <a:gd name="connsiteX15" fmla="*/ 218323 w 734505"/>
                <a:gd name="connsiteY15" fmla="*/ 352299 h 720009"/>
                <a:gd name="connsiteX16" fmla="*/ 294620 w 734505"/>
                <a:gd name="connsiteY16" fmla="*/ 374721 h 720009"/>
                <a:gd name="connsiteX17" fmla="*/ 332451 w 734505"/>
                <a:gd name="connsiteY17" fmla="*/ 360374 h 720009"/>
                <a:gd name="connsiteX18" fmla="*/ 383004 w 734505"/>
                <a:gd name="connsiteY18" fmla="*/ 406737 h 720009"/>
                <a:gd name="connsiteX19" fmla="*/ 340760 w 734505"/>
                <a:gd name="connsiteY19" fmla="*/ 395556 h 720009"/>
                <a:gd name="connsiteX20" fmla="*/ 298566 w 734505"/>
                <a:gd name="connsiteY20" fmla="*/ 437405 h 720009"/>
                <a:gd name="connsiteX21" fmla="*/ 399135 w 734505"/>
                <a:gd name="connsiteY21" fmla="*/ 463944 h 720009"/>
                <a:gd name="connsiteX22" fmla="*/ 429559 w 734505"/>
                <a:gd name="connsiteY22" fmla="*/ 449431 h 720009"/>
                <a:gd name="connsiteX23" fmla="*/ 442381 w 734505"/>
                <a:gd name="connsiteY23" fmla="*/ 461191 h 720009"/>
                <a:gd name="connsiteX24" fmla="*/ 468750 w 734505"/>
                <a:gd name="connsiteY24" fmla="*/ 432439 h 720009"/>
                <a:gd name="connsiteX25" fmla="*/ 456885 w 734505"/>
                <a:gd name="connsiteY25" fmla="*/ 421557 h 720009"/>
                <a:gd name="connsiteX26" fmla="*/ 471230 w 734505"/>
                <a:gd name="connsiteY26" fmla="*/ 388972 h 720009"/>
                <a:gd name="connsiteX27" fmla="*/ 442128 w 734505"/>
                <a:gd name="connsiteY27" fmla="*/ 290936 h 720009"/>
                <a:gd name="connsiteX28" fmla="*/ 442288 w 734505"/>
                <a:gd name="connsiteY28" fmla="*/ 290749 h 720009"/>
                <a:gd name="connsiteX29" fmla="*/ 441161 w 734505"/>
                <a:gd name="connsiteY29" fmla="*/ 289921 h 720009"/>
                <a:gd name="connsiteX30" fmla="*/ 440778 w 734505"/>
                <a:gd name="connsiteY30" fmla="*/ 289519 h 720009"/>
                <a:gd name="connsiteX31" fmla="*/ 440712 w 734505"/>
                <a:gd name="connsiteY31" fmla="*/ 289591 h 720009"/>
                <a:gd name="connsiteX32" fmla="*/ 366586 w 734505"/>
                <a:gd name="connsiteY32" fmla="*/ 270558 h 720009"/>
                <a:gd name="connsiteX33" fmla="*/ 321287 w 734505"/>
                <a:gd name="connsiteY33" fmla="*/ 297202 h 720009"/>
                <a:gd name="connsiteX34" fmla="*/ 268971 w 734505"/>
                <a:gd name="connsiteY34" fmla="*/ 249223 h 720009"/>
                <a:gd name="connsiteX35" fmla="*/ 272026 w 734505"/>
                <a:gd name="connsiteY35" fmla="*/ 247904 h 720009"/>
                <a:gd name="connsiteX36" fmla="*/ 310128 w 734505"/>
                <a:gd name="connsiteY36" fmla="*/ 257959 h 720009"/>
                <a:gd name="connsiteX37" fmla="*/ 348112 w 734505"/>
                <a:gd name="connsiteY37" fmla="*/ 220286 h 720009"/>
                <a:gd name="connsiteX38" fmla="*/ 257577 w 734505"/>
                <a:gd name="connsiteY38" fmla="*/ 196395 h 720009"/>
                <a:gd name="connsiteX39" fmla="*/ 227586 w 734505"/>
                <a:gd name="connsiteY39" fmla="*/ 211270 h 720009"/>
                <a:gd name="connsiteX40" fmla="*/ 215402 w 734505"/>
                <a:gd name="connsiteY40" fmla="*/ 200096 h 720009"/>
                <a:gd name="connsiteX41" fmla="*/ 189034 w 734505"/>
                <a:gd name="connsiteY41" fmla="*/ 228847 h 720009"/>
                <a:gd name="connsiteX42" fmla="*/ 13766 w 734505"/>
                <a:gd name="connsiteY42" fmla="*/ 315347 h 720009"/>
                <a:gd name="connsiteX43" fmla="*/ 238993 w 734505"/>
                <a:gd name="connsiteY43" fmla="*/ 1283 h 720009"/>
                <a:gd name="connsiteX44" fmla="*/ 652101 w 734505"/>
                <a:gd name="connsiteY44" fmla="*/ 95361 h 720009"/>
                <a:gd name="connsiteX45" fmla="*/ 602372 w 734505"/>
                <a:gd name="connsiteY45" fmla="*/ 557888 h 720009"/>
                <a:gd name="connsiteX46" fmla="*/ 84904 w 734505"/>
                <a:gd name="connsiteY46" fmla="*/ 624637 h 720009"/>
                <a:gd name="connsiteX47" fmla="*/ 34164 w 734505"/>
                <a:gd name="connsiteY47" fmla="*/ 555144 h 720009"/>
                <a:gd name="connsiteX48" fmla="*/ 13766 w 734505"/>
                <a:gd name="connsiteY48" fmla="*/ 315347 h 720009"/>
                <a:gd name="connsiteX0" fmla="*/ 362658 w 734505"/>
                <a:gd name="connsiteY0" fmla="*/ 335142 h 735979"/>
                <a:gd name="connsiteX1" fmla="*/ 375498 w 734505"/>
                <a:gd name="connsiteY1" fmla="*/ 326619 h 735979"/>
                <a:gd name="connsiteX2" fmla="*/ 401363 w 734505"/>
                <a:gd name="connsiteY2" fmla="*/ 334106 h 735979"/>
                <a:gd name="connsiteX3" fmla="*/ 413427 w 734505"/>
                <a:gd name="connsiteY3" fmla="*/ 375173 h 735979"/>
                <a:gd name="connsiteX4" fmla="*/ 411846 w 734505"/>
                <a:gd name="connsiteY4" fmla="*/ 380253 h 735979"/>
                <a:gd name="connsiteX5" fmla="*/ 362658 w 734505"/>
                <a:gd name="connsiteY5" fmla="*/ 335142 h 735979"/>
                <a:gd name="connsiteX6" fmla="*/ 244339 w 734505"/>
                <a:gd name="connsiteY6" fmla="*/ 279568 h 735979"/>
                <a:gd name="connsiteX7" fmla="*/ 288551 w 734505"/>
                <a:gd name="connsiteY7" fmla="*/ 320114 h 735979"/>
                <a:gd name="connsiteX8" fmla="*/ 288091 w 734505"/>
                <a:gd name="connsiteY8" fmla="*/ 320230 h 735979"/>
                <a:gd name="connsiteX9" fmla="*/ 253715 w 734505"/>
                <a:gd name="connsiteY9" fmla="*/ 310362 h 735979"/>
                <a:gd name="connsiteX10" fmla="*/ 253470 w 734505"/>
                <a:gd name="connsiteY10" fmla="*/ 310653 h 735979"/>
                <a:gd name="connsiteX11" fmla="*/ 244339 w 734505"/>
                <a:gd name="connsiteY11" fmla="*/ 279568 h 735979"/>
                <a:gd name="connsiteX12" fmla="*/ 189034 w 734505"/>
                <a:gd name="connsiteY12" fmla="*/ 228847 h 735979"/>
                <a:gd name="connsiteX13" fmla="*/ 201772 w 734505"/>
                <a:gd name="connsiteY13" fmla="*/ 240529 h 735979"/>
                <a:gd name="connsiteX14" fmla="*/ 190521 w 734505"/>
                <a:gd name="connsiteY14" fmla="*/ 263979 h 735979"/>
                <a:gd name="connsiteX15" fmla="*/ 218323 w 734505"/>
                <a:gd name="connsiteY15" fmla="*/ 352299 h 735979"/>
                <a:gd name="connsiteX16" fmla="*/ 294620 w 734505"/>
                <a:gd name="connsiteY16" fmla="*/ 374721 h 735979"/>
                <a:gd name="connsiteX17" fmla="*/ 332451 w 734505"/>
                <a:gd name="connsiteY17" fmla="*/ 360374 h 735979"/>
                <a:gd name="connsiteX18" fmla="*/ 383004 w 734505"/>
                <a:gd name="connsiteY18" fmla="*/ 406737 h 735979"/>
                <a:gd name="connsiteX19" fmla="*/ 340760 w 734505"/>
                <a:gd name="connsiteY19" fmla="*/ 395556 h 735979"/>
                <a:gd name="connsiteX20" fmla="*/ 298566 w 734505"/>
                <a:gd name="connsiteY20" fmla="*/ 437405 h 735979"/>
                <a:gd name="connsiteX21" fmla="*/ 399135 w 734505"/>
                <a:gd name="connsiteY21" fmla="*/ 463944 h 735979"/>
                <a:gd name="connsiteX22" fmla="*/ 429559 w 734505"/>
                <a:gd name="connsiteY22" fmla="*/ 449431 h 735979"/>
                <a:gd name="connsiteX23" fmla="*/ 442381 w 734505"/>
                <a:gd name="connsiteY23" fmla="*/ 461191 h 735979"/>
                <a:gd name="connsiteX24" fmla="*/ 468750 w 734505"/>
                <a:gd name="connsiteY24" fmla="*/ 432439 h 735979"/>
                <a:gd name="connsiteX25" fmla="*/ 456885 w 734505"/>
                <a:gd name="connsiteY25" fmla="*/ 421557 h 735979"/>
                <a:gd name="connsiteX26" fmla="*/ 471230 w 734505"/>
                <a:gd name="connsiteY26" fmla="*/ 388972 h 735979"/>
                <a:gd name="connsiteX27" fmla="*/ 442128 w 734505"/>
                <a:gd name="connsiteY27" fmla="*/ 290936 h 735979"/>
                <a:gd name="connsiteX28" fmla="*/ 442288 w 734505"/>
                <a:gd name="connsiteY28" fmla="*/ 290749 h 735979"/>
                <a:gd name="connsiteX29" fmla="*/ 441161 w 734505"/>
                <a:gd name="connsiteY29" fmla="*/ 289921 h 735979"/>
                <a:gd name="connsiteX30" fmla="*/ 440778 w 734505"/>
                <a:gd name="connsiteY30" fmla="*/ 289519 h 735979"/>
                <a:gd name="connsiteX31" fmla="*/ 440712 w 734505"/>
                <a:gd name="connsiteY31" fmla="*/ 289591 h 735979"/>
                <a:gd name="connsiteX32" fmla="*/ 366586 w 734505"/>
                <a:gd name="connsiteY32" fmla="*/ 270558 h 735979"/>
                <a:gd name="connsiteX33" fmla="*/ 321287 w 734505"/>
                <a:gd name="connsiteY33" fmla="*/ 297202 h 735979"/>
                <a:gd name="connsiteX34" fmla="*/ 268971 w 734505"/>
                <a:gd name="connsiteY34" fmla="*/ 249223 h 735979"/>
                <a:gd name="connsiteX35" fmla="*/ 272026 w 734505"/>
                <a:gd name="connsiteY35" fmla="*/ 247904 h 735979"/>
                <a:gd name="connsiteX36" fmla="*/ 310128 w 734505"/>
                <a:gd name="connsiteY36" fmla="*/ 257959 h 735979"/>
                <a:gd name="connsiteX37" fmla="*/ 348112 w 734505"/>
                <a:gd name="connsiteY37" fmla="*/ 220286 h 735979"/>
                <a:gd name="connsiteX38" fmla="*/ 257577 w 734505"/>
                <a:gd name="connsiteY38" fmla="*/ 196395 h 735979"/>
                <a:gd name="connsiteX39" fmla="*/ 227586 w 734505"/>
                <a:gd name="connsiteY39" fmla="*/ 211270 h 735979"/>
                <a:gd name="connsiteX40" fmla="*/ 215402 w 734505"/>
                <a:gd name="connsiteY40" fmla="*/ 200096 h 735979"/>
                <a:gd name="connsiteX41" fmla="*/ 189034 w 734505"/>
                <a:gd name="connsiteY41" fmla="*/ 228847 h 735979"/>
                <a:gd name="connsiteX42" fmla="*/ 13766 w 734505"/>
                <a:gd name="connsiteY42" fmla="*/ 315347 h 735979"/>
                <a:gd name="connsiteX43" fmla="*/ 238993 w 734505"/>
                <a:gd name="connsiteY43" fmla="*/ 1283 h 735979"/>
                <a:gd name="connsiteX44" fmla="*/ 652101 w 734505"/>
                <a:gd name="connsiteY44" fmla="*/ 95361 h 735979"/>
                <a:gd name="connsiteX45" fmla="*/ 602372 w 734505"/>
                <a:gd name="connsiteY45" fmla="*/ 557888 h 735979"/>
                <a:gd name="connsiteX46" fmla="*/ 146920 w 734505"/>
                <a:gd name="connsiteY46" fmla="*/ 655663 h 735979"/>
                <a:gd name="connsiteX47" fmla="*/ 34164 w 734505"/>
                <a:gd name="connsiteY47" fmla="*/ 555144 h 735979"/>
                <a:gd name="connsiteX48" fmla="*/ 13766 w 734505"/>
                <a:gd name="connsiteY48" fmla="*/ 315347 h 735979"/>
                <a:gd name="connsiteX0" fmla="*/ 348892 w 720739"/>
                <a:gd name="connsiteY0" fmla="*/ 335142 h 735979"/>
                <a:gd name="connsiteX1" fmla="*/ 361732 w 720739"/>
                <a:gd name="connsiteY1" fmla="*/ 326619 h 735979"/>
                <a:gd name="connsiteX2" fmla="*/ 387597 w 720739"/>
                <a:gd name="connsiteY2" fmla="*/ 334106 h 735979"/>
                <a:gd name="connsiteX3" fmla="*/ 399661 w 720739"/>
                <a:gd name="connsiteY3" fmla="*/ 375173 h 735979"/>
                <a:gd name="connsiteX4" fmla="*/ 398080 w 720739"/>
                <a:gd name="connsiteY4" fmla="*/ 380253 h 735979"/>
                <a:gd name="connsiteX5" fmla="*/ 348892 w 720739"/>
                <a:gd name="connsiteY5" fmla="*/ 335142 h 735979"/>
                <a:gd name="connsiteX6" fmla="*/ 230573 w 720739"/>
                <a:gd name="connsiteY6" fmla="*/ 279568 h 735979"/>
                <a:gd name="connsiteX7" fmla="*/ 274785 w 720739"/>
                <a:gd name="connsiteY7" fmla="*/ 320114 h 735979"/>
                <a:gd name="connsiteX8" fmla="*/ 274325 w 720739"/>
                <a:gd name="connsiteY8" fmla="*/ 320230 h 735979"/>
                <a:gd name="connsiteX9" fmla="*/ 239949 w 720739"/>
                <a:gd name="connsiteY9" fmla="*/ 310362 h 735979"/>
                <a:gd name="connsiteX10" fmla="*/ 239704 w 720739"/>
                <a:gd name="connsiteY10" fmla="*/ 310653 h 735979"/>
                <a:gd name="connsiteX11" fmla="*/ 230573 w 720739"/>
                <a:gd name="connsiteY11" fmla="*/ 279568 h 735979"/>
                <a:gd name="connsiteX12" fmla="*/ 175268 w 720739"/>
                <a:gd name="connsiteY12" fmla="*/ 228847 h 735979"/>
                <a:gd name="connsiteX13" fmla="*/ 188006 w 720739"/>
                <a:gd name="connsiteY13" fmla="*/ 240529 h 735979"/>
                <a:gd name="connsiteX14" fmla="*/ 176755 w 720739"/>
                <a:gd name="connsiteY14" fmla="*/ 263979 h 735979"/>
                <a:gd name="connsiteX15" fmla="*/ 204557 w 720739"/>
                <a:gd name="connsiteY15" fmla="*/ 352299 h 735979"/>
                <a:gd name="connsiteX16" fmla="*/ 280854 w 720739"/>
                <a:gd name="connsiteY16" fmla="*/ 374721 h 735979"/>
                <a:gd name="connsiteX17" fmla="*/ 318685 w 720739"/>
                <a:gd name="connsiteY17" fmla="*/ 360374 h 735979"/>
                <a:gd name="connsiteX18" fmla="*/ 369238 w 720739"/>
                <a:gd name="connsiteY18" fmla="*/ 406737 h 735979"/>
                <a:gd name="connsiteX19" fmla="*/ 326994 w 720739"/>
                <a:gd name="connsiteY19" fmla="*/ 395556 h 735979"/>
                <a:gd name="connsiteX20" fmla="*/ 284800 w 720739"/>
                <a:gd name="connsiteY20" fmla="*/ 437405 h 735979"/>
                <a:gd name="connsiteX21" fmla="*/ 385369 w 720739"/>
                <a:gd name="connsiteY21" fmla="*/ 463944 h 735979"/>
                <a:gd name="connsiteX22" fmla="*/ 415793 w 720739"/>
                <a:gd name="connsiteY22" fmla="*/ 449431 h 735979"/>
                <a:gd name="connsiteX23" fmla="*/ 428615 w 720739"/>
                <a:gd name="connsiteY23" fmla="*/ 461191 h 735979"/>
                <a:gd name="connsiteX24" fmla="*/ 454984 w 720739"/>
                <a:gd name="connsiteY24" fmla="*/ 432439 h 735979"/>
                <a:gd name="connsiteX25" fmla="*/ 443119 w 720739"/>
                <a:gd name="connsiteY25" fmla="*/ 421557 h 735979"/>
                <a:gd name="connsiteX26" fmla="*/ 457464 w 720739"/>
                <a:gd name="connsiteY26" fmla="*/ 388972 h 735979"/>
                <a:gd name="connsiteX27" fmla="*/ 428362 w 720739"/>
                <a:gd name="connsiteY27" fmla="*/ 290936 h 735979"/>
                <a:gd name="connsiteX28" fmla="*/ 428522 w 720739"/>
                <a:gd name="connsiteY28" fmla="*/ 290749 h 735979"/>
                <a:gd name="connsiteX29" fmla="*/ 427395 w 720739"/>
                <a:gd name="connsiteY29" fmla="*/ 289921 h 735979"/>
                <a:gd name="connsiteX30" fmla="*/ 427012 w 720739"/>
                <a:gd name="connsiteY30" fmla="*/ 289519 h 735979"/>
                <a:gd name="connsiteX31" fmla="*/ 426946 w 720739"/>
                <a:gd name="connsiteY31" fmla="*/ 289591 h 735979"/>
                <a:gd name="connsiteX32" fmla="*/ 352820 w 720739"/>
                <a:gd name="connsiteY32" fmla="*/ 270558 h 735979"/>
                <a:gd name="connsiteX33" fmla="*/ 307521 w 720739"/>
                <a:gd name="connsiteY33" fmla="*/ 297202 h 735979"/>
                <a:gd name="connsiteX34" fmla="*/ 255205 w 720739"/>
                <a:gd name="connsiteY34" fmla="*/ 249223 h 735979"/>
                <a:gd name="connsiteX35" fmla="*/ 258260 w 720739"/>
                <a:gd name="connsiteY35" fmla="*/ 247904 h 735979"/>
                <a:gd name="connsiteX36" fmla="*/ 296362 w 720739"/>
                <a:gd name="connsiteY36" fmla="*/ 257959 h 735979"/>
                <a:gd name="connsiteX37" fmla="*/ 334346 w 720739"/>
                <a:gd name="connsiteY37" fmla="*/ 220286 h 735979"/>
                <a:gd name="connsiteX38" fmla="*/ 243811 w 720739"/>
                <a:gd name="connsiteY38" fmla="*/ 196395 h 735979"/>
                <a:gd name="connsiteX39" fmla="*/ 213820 w 720739"/>
                <a:gd name="connsiteY39" fmla="*/ 211270 h 735979"/>
                <a:gd name="connsiteX40" fmla="*/ 201636 w 720739"/>
                <a:gd name="connsiteY40" fmla="*/ 200096 h 735979"/>
                <a:gd name="connsiteX41" fmla="*/ 175268 w 720739"/>
                <a:gd name="connsiteY41" fmla="*/ 228847 h 735979"/>
                <a:gd name="connsiteX42" fmla="*/ 0 w 720739"/>
                <a:gd name="connsiteY42" fmla="*/ 315347 h 735979"/>
                <a:gd name="connsiteX43" fmla="*/ 225227 w 720739"/>
                <a:gd name="connsiteY43" fmla="*/ 1283 h 735979"/>
                <a:gd name="connsiteX44" fmla="*/ 638335 w 720739"/>
                <a:gd name="connsiteY44" fmla="*/ 95361 h 735979"/>
                <a:gd name="connsiteX45" fmla="*/ 588606 w 720739"/>
                <a:gd name="connsiteY45" fmla="*/ 557888 h 735979"/>
                <a:gd name="connsiteX46" fmla="*/ 133154 w 720739"/>
                <a:gd name="connsiteY46" fmla="*/ 655663 h 735979"/>
                <a:gd name="connsiteX47" fmla="*/ 0 w 720739"/>
                <a:gd name="connsiteY47" fmla="*/ 315347 h 735979"/>
                <a:gd name="connsiteX0" fmla="*/ 348892 w 720739"/>
                <a:gd name="connsiteY0" fmla="*/ 335142 h 719800"/>
                <a:gd name="connsiteX1" fmla="*/ 361732 w 720739"/>
                <a:gd name="connsiteY1" fmla="*/ 326619 h 719800"/>
                <a:gd name="connsiteX2" fmla="*/ 387597 w 720739"/>
                <a:gd name="connsiteY2" fmla="*/ 334106 h 719800"/>
                <a:gd name="connsiteX3" fmla="*/ 399661 w 720739"/>
                <a:gd name="connsiteY3" fmla="*/ 375173 h 719800"/>
                <a:gd name="connsiteX4" fmla="*/ 398080 w 720739"/>
                <a:gd name="connsiteY4" fmla="*/ 380253 h 719800"/>
                <a:gd name="connsiteX5" fmla="*/ 348892 w 720739"/>
                <a:gd name="connsiteY5" fmla="*/ 335142 h 719800"/>
                <a:gd name="connsiteX6" fmla="*/ 230573 w 720739"/>
                <a:gd name="connsiteY6" fmla="*/ 279568 h 719800"/>
                <a:gd name="connsiteX7" fmla="*/ 274785 w 720739"/>
                <a:gd name="connsiteY7" fmla="*/ 320114 h 719800"/>
                <a:gd name="connsiteX8" fmla="*/ 274325 w 720739"/>
                <a:gd name="connsiteY8" fmla="*/ 320230 h 719800"/>
                <a:gd name="connsiteX9" fmla="*/ 239949 w 720739"/>
                <a:gd name="connsiteY9" fmla="*/ 310362 h 719800"/>
                <a:gd name="connsiteX10" fmla="*/ 239704 w 720739"/>
                <a:gd name="connsiteY10" fmla="*/ 310653 h 719800"/>
                <a:gd name="connsiteX11" fmla="*/ 230573 w 720739"/>
                <a:gd name="connsiteY11" fmla="*/ 279568 h 719800"/>
                <a:gd name="connsiteX12" fmla="*/ 175268 w 720739"/>
                <a:gd name="connsiteY12" fmla="*/ 228847 h 719800"/>
                <a:gd name="connsiteX13" fmla="*/ 188006 w 720739"/>
                <a:gd name="connsiteY13" fmla="*/ 240529 h 719800"/>
                <a:gd name="connsiteX14" fmla="*/ 176755 w 720739"/>
                <a:gd name="connsiteY14" fmla="*/ 263979 h 719800"/>
                <a:gd name="connsiteX15" fmla="*/ 204557 w 720739"/>
                <a:gd name="connsiteY15" fmla="*/ 352299 h 719800"/>
                <a:gd name="connsiteX16" fmla="*/ 280854 w 720739"/>
                <a:gd name="connsiteY16" fmla="*/ 374721 h 719800"/>
                <a:gd name="connsiteX17" fmla="*/ 318685 w 720739"/>
                <a:gd name="connsiteY17" fmla="*/ 360374 h 719800"/>
                <a:gd name="connsiteX18" fmla="*/ 369238 w 720739"/>
                <a:gd name="connsiteY18" fmla="*/ 406737 h 719800"/>
                <a:gd name="connsiteX19" fmla="*/ 326994 w 720739"/>
                <a:gd name="connsiteY19" fmla="*/ 395556 h 719800"/>
                <a:gd name="connsiteX20" fmla="*/ 284800 w 720739"/>
                <a:gd name="connsiteY20" fmla="*/ 437405 h 719800"/>
                <a:gd name="connsiteX21" fmla="*/ 385369 w 720739"/>
                <a:gd name="connsiteY21" fmla="*/ 463944 h 719800"/>
                <a:gd name="connsiteX22" fmla="*/ 415793 w 720739"/>
                <a:gd name="connsiteY22" fmla="*/ 449431 h 719800"/>
                <a:gd name="connsiteX23" fmla="*/ 428615 w 720739"/>
                <a:gd name="connsiteY23" fmla="*/ 461191 h 719800"/>
                <a:gd name="connsiteX24" fmla="*/ 454984 w 720739"/>
                <a:gd name="connsiteY24" fmla="*/ 432439 h 719800"/>
                <a:gd name="connsiteX25" fmla="*/ 443119 w 720739"/>
                <a:gd name="connsiteY25" fmla="*/ 421557 h 719800"/>
                <a:gd name="connsiteX26" fmla="*/ 457464 w 720739"/>
                <a:gd name="connsiteY26" fmla="*/ 388972 h 719800"/>
                <a:gd name="connsiteX27" fmla="*/ 428362 w 720739"/>
                <a:gd name="connsiteY27" fmla="*/ 290936 h 719800"/>
                <a:gd name="connsiteX28" fmla="*/ 428522 w 720739"/>
                <a:gd name="connsiteY28" fmla="*/ 290749 h 719800"/>
                <a:gd name="connsiteX29" fmla="*/ 427395 w 720739"/>
                <a:gd name="connsiteY29" fmla="*/ 289921 h 719800"/>
                <a:gd name="connsiteX30" fmla="*/ 427012 w 720739"/>
                <a:gd name="connsiteY30" fmla="*/ 289519 h 719800"/>
                <a:gd name="connsiteX31" fmla="*/ 426946 w 720739"/>
                <a:gd name="connsiteY31" fmla="*/ 289591 h 719800"/>
                <a:gd name="connsiteX32" fmla="*/ 352820 w 720739"/>
                <a:gd name="connsiteY32" fmla="*/ 270558 h 719800"/>
                <a:gd name="connsiteX33" fmla="*/ 307521 w 720739"/>
                <a:gd name="connsiteY33" fmla="*/ 297202 h 719800"/>
                <a:gd name="connsiteX34" fmla="*/ 255205 w 720739"/>
                <a:gd name="connsiteY34" fmla="*/ 249223 h 719800"/>
                <a:gd name="connsiteX35" fmla="*/ 258260 w 720739"/>
                <a:gd name="connsiteY35" fmla="*/ 247904 h 719800"/>
                <a:gd name="connsiteX36" fmla="*/ 296362 w 720739"/>
                <a:gd name="connsiteY36" fmla="*/ 257959 h 719800"/>
                <a:gd name="connsiteX37" fmla="*/ 334346 w 720739"/>
                <a:gd name="connsiteY37" fmla="*/ 220286 h 719800"/>
                <a:gd name="connsiteX38" fmla="*/ 243811 w 720739"/>
                <a:gd name="connsiteY38" fmla="*/ 196395 h 719800"/>
                <a:gd name="connsiteX39" fmla="*/ 213820 w 720739"/>
                <a:gd name="connsiteY39" fmla="*/ 211270 h 719800"/>
                <a:gd name="connsiteX40" fmla="*/ 201636 w 720739"/>
                <a:gd name="connsiteY40" fmla="*/ 200096 h 719800"/>
                <a:gd name="connsiteX41" fmla="*/ 175268 w 720739"/>
                <a:gd name="connsiteY41" fmla="*/ 228847 h 719800"/>
                <a:gd name="connsiteX42" fmla="*/ 0 w 720739"/>
                <a:gd name="connsiteY42" fmla="*/ 315347 h 719800"/>
                <a:gd name="connsiteX43" fmla="*/ 225227 w 720739"/>
                <a:gd name="connsiteY43" fmla="*/ 1283 h 719800"/>
                <a:gd name="connsiteX44" fmla="*/ 638335 w 720739"/>
                <a:gd name="connsiteY44" fmla="*/ 95361 h 719800"/>
                <a:gd name="connsiteX45" fmla="*/ 588606 w 720739"/>
                <a:gd name="connsiteY45" fmla="*/ 557888 h 719800"/>
                <a:gd name="connsiteX46" fmla="*/ 81233 w 720739"/>
                <a:gd name="connsiteY46" fmla="*/ 624201 h 719800"/>
                <a:gd name="connsiteX47" fmla="*/ 0 w 720739"/>
                <a:gd name="connsiteY47" fmla="*/ 315347 h 719800"/>
                <a:gd name="connsiteX0" fmla="*/ 348892 w 720739"/>
                <a:gd name="connsiteY0" fmla="*/ 335142 h 719800"/>
                <a:gd name="connsiteX1" fmla="*/ 361732 w 720739"/>
                <a:gd name="connsiteY1" fmla="*/ 326619 h 719800"/>
                <a:gd name="connsiteX2" fmla="*/ 387597 w 720739"/>
                <a:gd name="connsiteY2" fmla="*/ 334106 h 719800"/>
                <a:gd name="connsiteX3" fmla="*/ 399661 w 720739"/>
                <a:gd name="connsiteY3" fmla="*/ 375173 h 719800"/>
                <a:gd name="connsiteX4" fmla="*/ 398080 w 720739"/>
                <a:gd name="connsiteY4" fmla="*/ 380253 h 719800"/>
                <a:gd name="connsiteX5" fmla="*/ 348892 w 720739"/>
                <a:gd name="connsiteY5" fmla="*/ 335142 h 719800"/>
                <a:gd name="connsiteX6" fmla="*/ 230573 w 720739"/>
                <a:gd name="connsiteY6" fmla="*/ 279568 h 719800"/>
                <a:gd name="connsiteX7" fmla="*/ 274785 w 720739"/>
                <a:gd name="connsiteY7" fmla="*/ 320114 h 719800"/>
                <a:gd name="connsiteX8" fmla="*/ 274325 w 720739"/>
                <a:gd name="connsiteY8" fmla="*/ 320230 h 719800"/>
                <a:gd name="connsiteX9" fmla="*/ 239949 w 720739"/>
                <a:gd name="connsiteY9" fmla="*/ 310362 h 719800"/>
                <a:gd name="connsiteX10" fmla="*/ 239704 w 720739"/>
                <a:gd name="connsiteY10" fmla="*/ 310653 h 719800"/>
                <a:gd name="connsiteX11" fmla="*/ 230573 w 720739"/>
                <a:gd name="connsiteY11" fmla="*/ 279568 h 719800"/>
                <a:gd name="connsiteX12" fmla="*/ 175268 w 720739"/>
                <a:gd name="connsiteY12" fmla="*/ 228847 h 719800"/>
                <a:gd name="connsiteX13" fmla="*/ 188006 w 720739"/>
                <a:gd name="connsiteY13" fmla="*/ 240529 h 719800"/>
                <a:gd name="connsiteX14" fmla="*/ 176755 w 720739"/>
                <a:gd name="connsiteY14" fmla="*/ 263979 h 719800"/>
                <a:gd name="connsiteX15" fmla="*/ 204557 w 720739"/>
                <a:gd name="connsiteY15" fmla="*/ 352299 h 719800"/>
                <a:gd name="connsiteX16" fmla="*/ 280854 w 720739"/>
                <a:gd name="connsiteY16" fmla="*/ 374721 h 719800"/>
                <a:gd name="connsiteX17" fmla="*/ 318685 w 720739"/>
                <a:gd name="connsiteY17" fmla="*/ 360374 h 719800"/>
                <a:gd name="connsiteX18" fmla="*/ 369238 w 720739"/>
                <a:gd name="connsiteY18" fmla="*/ 406737 h 719800"/>
                <a:gd name="connsiteX19" fmla="*/ 326994 w 720739"/>
                <a:gd name="connsiteY19" fmla="*/ 395556 h 719800"/>
                <a:gd name="connsiteX20" fmla="*/ 284800 w 720739"/>
                <a:gd name="connsiteY20" fmla="*/ 437405 h 719800"/>
                <a:gd name="connsiteX21" fmla="*/ 385369 w 720739"/>
                <a:gd name="connsiteY21" fmla="*/ 463944 h 719800"/>
                <a:gd name="connsiteX22" fmla="*/ 415793 w 720739"/>
                <a:gd name="connsiteY22" fmla="*/ 449431 h 719800"/>
                <a:gd name="connsiteX23" fmla="*/ 428615 w 720739"/>
                <a:gd name="connsiteY23" fmla="*/ 461191 h 719800"/>
                <a:gd name="connsiteX24" fmla="*/ 454984 w 720739"/>
                <a:gd name="connsiteY24" fmla="*/ 432439 h 719800"/>
                <a:gd name="connsiteX25" fmla="*/ 443119 w 720739"/>
                <a:gd name="connsiteY25" fmla="*/ 421557 h 719800"/>
                <a:gd name="connsiteX26" fmla="*/ 457464 w 720739"/>
                <a:gd name="connsiteY26" fmla="*/ 388972 h 719800"/>
                <a:gd name="connsiteX27" fmla="*/ 428362 w 720739"/>
                <a:gd name="connsiteY27" fmla="*/ 290936 h 719800"/>
                <a:gd name="connsiteX28" fmla="*/ 428522 w 720739"/>
                <a:gd name="connsiteY28" fmla="*/ 290749 h 719800"/>
                <a:gd name="connsiteX29" fmla="*/ 427395 w 720739"/>
                <a:gd name="connsiteY29" fmla="*/ 289921 h 719800"/>
                <a:gd name="connsiteX30" fmla="*/ 427012 w 720739"/>
                <a:gd name="connsiteY30" fmla="*/ 289519 h 719800"/>
                <a:gd name="connsiteX31" fmla="*/ 426946 w 720739"/>
                <a:gd name="connsiteY31" fmla="*/ 289591 h 719800"/>
                <a:gd name="connsiteX32" fmla="*/ 352820 w 720739"/>
                <a:gd name="connsiteY32" fmla="*/ 270558 h 719800"/>
                <a:gd name="connsiteX33" fmla="*/ 307521 w 720739"/>
                <a:gd name="connsiteY33" fmla="*/ 297202 h 719800"/>
                <a:gd name="connsiteX34" fmla="*/ 255205 w 720739"/>
                <a:gd name="connsiteY34" fmla="*/ 249223 h 719800"/>
                <a:gd name="connsiteX35" fmla="*/ 258260 w 720739"/>
                <a:gd name="connsiteY35" fmla="*/ 247904 h 719800"/>
                <a:gd name="connsiteX36" fmla="*/ 296362 w 720739"/>
                <a:gd name="connsiteY36" fmla="*/ 257959 h 719800"/>
                <a:gd name="connsiteX37" fmla="*/ 334346 w 720739"/>
                <a:gd name="connsiteY37" fmla="*/ 220286 h 719800"/>
                <a:gd name="connsiteX38" fmla="*/ 243811 w 720739"/>
                <a:gd name="connsiteY38" fmla="*/ 196395 h 719800"/>
                <a:gd name="connsiteX39" fmla="*/ 213820 w 720739"/>
                <a:gd name="connsiteY39" fmla="*/ 211270 h 719800"/>
                <a:gd name="connsiteX40" fmla="*/ 201636 w 720739"/>
                <a:gd name="connsiteY40" fmla="*/ 200096 h 719800"/>
                <a:gd name="connsiteX41" fmla="*/ 175268 w 720739"/>
                <a:gd name="connsiteY41" fmla="*/ 228847 h 719800"/>
                <a:gd name="connsiteX42" fmla="*/ 0 w 720739"/>
                <a:gd name="connsiteY42" fmla="*/ 315347 h 719800"/>
                <a:gd name="connsiteX43" fmla="*/ 225227 w 720739"/>
                <a:gd name="connsiteY43" fmla="*/ 1283 h 719800"/>
                <a:gd name="connsiteX44" fmla="*/ 638335 w 720739"/>
                <a:gd name="connsiteY44" fmla="*/ 95361 h 719800"/>
                <a:gd name="connsiteX45" fmla="*/ 588606 w 720739"/>
                <a:gd name="connsiteY45" fmla="*/ 557888 h 719800"/>
                <a:gd name="connsiteX46" fmla="*/ 81233 w 720739"/>
                <a:gd name="connsiteY46" fmla="*/ 624201 h 719800"/>
                <a:gd name="connsiteX47" fmla="*/ 0 w 720739"/>
                <a:gd name="connsiteY47" fmla="*/ 315347 h 719800"/>
                <a:gd name="connsiteX0" fmla="*/ 348892 w 720739"/>
                <a:gd name="connsiteY0" fmla="*/ 335142 h 729933"/>
                <a:gd name="connsiteX1" fmla="*/ 361732 w 720739"/>
                <a:gd name="connsiteY1" fmla="*/ 326619 h 729933"/>
                <a:gd name="connsiteX2" fmla="*/ 387597 w 720739"/>
                <a:gd name="connsiteY2" fmla="*/ 334106 h 729933"/>
                <a:gd name="connsiteX3" fmla="*/ 399661 w 720739"/>
                <a:gd name="connsiteY3" fmla="*/ 375173 h 729933"/>
                <a:gd name="connsiteX4" fmla="*/ 398080 w 720739"/>
                <a:gd name="connsiteY4" fmla="*/ 380253 h 729933"/>
                <a:gd name="connsiteX5" fmla="*/ 348892 w 720739"/>
                <a:gd name="connsiteY5" fmla="*/ 335142 h 729933"/>
                <a:gd name="connsiteX6" fmla="*/ 230573 w 720739"/>
                <a:gd name="connsiteY6" fmla="*/ 279568 h 729933"/>
                <a:gd name="connsiteX7" fmla="*/ 274785 w 720739"/>
                <a:gd name="connsiteY7" fmla="*/ 320114 h 729933"/>
                <a:gd name="connsiteX8" fmla="*/ 274325 w 720739"/>
                <a:gd name="connsiteY8" fmla="*/ 320230 h 729933"/>
                <a:gd name="connsiteX9" fmla="*/ 239949 w 720739"/>
                <a:gd name="connsiteY9" fmla="*/ 310362 h 729933"/>
                <a:gd name="connsiteX10" fmla="*/ 239704 w 720739"/>
                <a:gd name="connsiteY10" fmla="*/ 310653 h 729933"/>
                <a:gd name="connsiteX11" fmla="*/ 230573 w 720739"/>
                <a:gd name="connsiteY11" fmla="*/ 279568 h 729933"/>
                <a:gd name="connsiteX12" fmla="*/ 175268 w 720739"/>
                <a:gd name="connsiteY12" fmla="*/ 228847 h 729933"/>
                <a:gd name="connsiteX13" fmla="*/ 188006 w 720739"/>
                <a:gd name="connsiteY13" fmla="*/ 240529 h 729933"/>
                <a:gd name="connsiteX14" fmla="*/ 176755 w 720739"/>
                <a:gd name="connsiteY14" fmla="*/ 263979 h 729933"/>
                <a:gd name="connsiteX15" fmla="*/ 204557 w 720739"/>
                <a:gd name="connsiteY15" fmla="*/ 352299 h 729933"/>
                <a:gd name="connsiteX16" fmla="*/ 280854 w 720739"/>
                <a:gd name="connsiteY16" fmla="*/ 374721 h 729933"/>
                <a:gd name="connsiteX17" fmla="*/ 318685 w 720739"/>
                <a:gd name="connsiteY17" fmla="*/ 360374 h 729933"/>
                <a:gd name="connsiteX18" fmla="*/ 369238 w 720739"/>
                <a:gd name="connsiteY18" fmla="*/ 406737 h 729933"/>
                <a:gd name="connsiteX19" fmla="*/ 326994 w 720739"/>
                <a:gd name="connsiteY19" fmla="*/ 395556 h 729933"/>
                <a:gd name="connsiteX20" fmla="*/ 284800 w 720739"/>
                <a:gd name="connsiteY20" fmla="*/ 437405 h 729933"/>
                <a:gd name="connsiteX21" fmla="*/ 385369 w 720739"/>
                <a:gd name="connsiteY21" fmla="*/ 463944 h 729933"/>
                <a:gd name="connsiteX22" fmla="*/ 415793 w 720739"/>
                <a:gd name="connsiteY22" fmla="*/ 449431 h 729933"/>
                <a:gd name="connsiteX23" fmla="*/ 428615 w 720739"/>
                <a:gd name="connsiteY23" fmla="*/ 461191 h 729933"/>
                <a:gd name="connsiteX24" fmla="*/ 454984 w 720739"/>
                <a:gd name="connsiteY24" fmla="*/ 432439 h 729933"/>
                <a:gd name="connsiteX25" fmla="*/ 443119 w 720739"/>
                <a:gd name="connsiteY25" fmla="*/ 421557 h 729933"/>
                <a:gd name="connsiteX26" fmla="*/ 457464 w 720739"/>
                <a:gd name="connsiteY26" fmla="*/ 388972 h 729933"/>
                <a:gd name="connsiteX27" fmla="*/ 428362 w 720739"/>
                <a:gd name="connsiteY27" fmla="*/ 290936 h 729933"/>
                <a:gd name="connsiteX28" fmla="*/ 428522 w 720739"/>
                <a:gd name="connsiteY28" fmla="*/ 290749 h 729933"/>
                <a:gd name="connsiteX29" fmla="*/ 427395 w 720739"/>
                <a:gd name="connsiteY29" fmla="*/ 289921 h 729933"/>
                <a:gd name="connsiteX30" fmla="*/ 427012 w 720739"/>
                <a:gd name="connsiteY30" fmla="*/ 289519 h 729933"/>
                <a:gd name="connsiteX31" fmla="*/ 426946 w 720739"/>
                <a:gd name="connsiteY31" fmla="*/ 289591 h 729933"/>
                <a:gd name="connsiteX32" fmla="*/ 352820 w 720739"/>
                <a:gd name="connsiteY32" fmla="*/ 270558 h 729933"/>
                <a:gd name="connsiteX33" fmla="*/ 307521 w 720739"/>
                <a:gd name="connsiteY33" fmla="*/ 297202 h 729933"/>
                <a:gd name="connsiteX34" fmla="*/ 255205 w 720739"/>
                <a:gd name="connsiteY34" fmla="*/ 249223 h 729933"/>
                <a:gd name="connsiteX35" fmla="*/ 258260 w 720739"/>
                <a:gd name="connsiteY35" fmla="*/ 247904 h 729933"/>
                <a:gd name="connsiteX36" fmla="*/ 296362 w 720739"/>
                <a:gd name="connsiteY36" fmla="*/ 257959 h 729933"/>
                <a:gd name="connsiteX37" fmla="*/ 334346 w 720739"/>
                <a:gd name="connsiteY37" fmla="*/ 220286 h 729933"/>
                <a:gd name="connsiteX38" fmla="*/ 243811 w 720739"/>
                <a:gd name="connsiteY38" fmla="*/ 196395 h 729933"/>
                <a:gd name="connsiteX39" fmla="*/ 213820 w 720739"/>
                <a:gd name="connsiteY39" fmla="*/ 211270 h 729933"/>
                <a:gd name="connsiteX40" fmla="*/ 201636 w 720739"/>
                <a:gd name="connsiteY40" fmla="*/ 200096 h 729933"/>
                <a:gd name="connsiteX41" fmla="*/ 175268 w 720739"/>
                <a:gd name="connsiteY41" fmla="*/ 228847 h 729933"/>
                <a:gd name="connsiteX42" fmla="*/ 0 w 720739"/>
                <a:gd name="connsiteY42" fmla="*/ 315347 h 729933"/>
                <a:gd name="connsiteX43" fmla="*/ 225227 w 720739"/>
                <a:gd name="connsiteY43" fmla="*/ 1283 h 729933"/>
                <a:gd name="connsiteX44" fmla="*/ 638335 w 720739"/>
                <a:gd name="connsiteY44" fmla="*/ 95361 h 729933"/>
                <a:gd name="connsiteX45" fmla="*/ 588606 w 720739"/>
                <a:gd name="connsiteY45" fmla="*/ 557888 h 729933"/>
                <a:gd name="connsiteX46" fmla="*/ 120870 w 720739"/>
                <a:gd name="connsiteY46" fmla="*/ 644397 h 729933"/>
                <a:gd name="connsiteX47" fmla="*/ 0 w 720739"/>
                <a:gd name="connsiteY47" fmla="*/ 315347 h 729933"/>
                <a:gd name="connsiteX0" fmla="*/ 348892 w 720739"/>
                <a:gd name="connsiteY0" fmla="*/ 335142 h 731465"/>
                <a:gd name="connsiteX1" fmla="*/ 361732 w 720739"/>
                <a:gd name="connsiteY1" fmla="*/ 326619 h 731465"/>
                <a:gd name="connsiteX2" fmla="*/ 387597 w 720739"/>
                <a:gd name="connsiteY2" fmla="*/ 334106 h 731465"/>
                <a:gd name="connsiteX3" fmla="*/ 399661 w 720739"/>
                <a:gd name="connsiteY3" fmla="*/ 375173 h 731465"/>
                <a:gd name="connsiteX4" fmla="*/ 398080 w 720739"/>
                <a:gd name="connsiteY4" fmla="*/ 380253 h 731465"/>
                <a:gd name="connsiteX5" fmla="*/ 348892 w 720739"/>
                <a:gd name="connsiteY5" fmla="*/ 335142 h 731465"/>
                <a:gd name="connsiteX6" fmla="*/ 230573 w 720739"/>
                <a:gd name="connsiteY6" fmla="*/ 279568 h 731465"/>
                <a:gd name="connsiteX7" fmla="*/ 274785 w 720739"/>
                <a:gd name="connsiteY7" fmla="*/ 320114 h 731465"/>
                <a:gd name="connsiteX8" fmla="*/ 274325 w 720739"/>
                <a:gd name="connsiteY8" fmla="*/ 320230 h 731465"/>
                <a:gd name="connsiteX9" fmla="*/ 239949 w 720739"/>
                <a:gd name="connsiteY9" fmla="*/ 310362 h 731465"/>
                <a:gd name="connsiteX10" fmla="*/ 239704 w 720739"/>
                <a:gd name="connsiteY10" fmla="*/ 310653 h 731465"/>
                <a:gd name="connsiteX11" fmla="*/ 230573 w 720739"/>
                <a:gd name="connsiteY11" fmla="*/ 279568 h 731465"/>
                <a:gd name="connsiteX12" fmla="*/ 175268 w 720739"/>
                <a:gd name="connsiteY12" fmla="*/ 228847 h 731465"/>
                <a:gd name="connsiteX13" fmla="*/ 188006 w 720739"/>
                <a:gd name="connsiteY13" fmla="*/ 240529 h 731465"/>
                <a:gd name="connsiteX14" fmla="*/ 176755 w 720739"/>
                <a:gd name="connsiteY14" fmla="*/ 263979 h 731465"/>
                <a:gd name="connsiteX15" fmla="*/ 204557 w 720739"/>
                <a:gd name="connsiteY15" fmla="*/ 352299 h 731465"/>
                <a:gd name="connsiteX16" fmla="*/ 280854 w 720739"/>
                <a:gd name="connsiteY16" fmla="*/ 374721 h 731465"/>
                <a:gd name="connsiteX17" fmla="*/ 318685 w 720739"/>
                <a:gd name="connsiteY17" fmla="*/ 360374 h 731465"/>
                <a:gd name="connsiteX18" fmla="*/ 369238 w 720739"/>
                <a:gd name="connsiteY18" fmla="*/ 406737 h 731465"/>
                <a:gd name="connsiteX19" fmla="*/ 326994 w 720739"/>
                <a:gd name="connsiteY19" fmla="*/ 395556 h 731465"/>
                <a:gd name="connsiteX20" fmla="*/ 284800 w 720739"/>
                <a:gd name="connsiteY20" fmla="*/ 437405 h 731465"/>
                <a:gd name="connsiteX21" fmla="*/ 385369 w 720739"/>
                <a:gd name="connsiteY21" fmla="*/ 463944 h 731465"/>
                <a:gd name="connsiteX22" fmla="*/ 415793 w 720739"/>
                <a:gd name="connsiteY22" fmla="*/ 449431 h 731465"/>
                <a:gd name="connsiteX23" fmla="*/ 428615 w 720739"/>
                <a:gd name="connsiteY23" fmla="*/ 461191 h 731465"/>
                <a:gd name="connsiteX24" fmla="*/ 454984 w 720739"/>
                <a:gd name="connsiteY24" fmla="*/ 432439 h 731465"/>
                <a:gd name="connsiteX25" fmla="*/ 443119 w 720739"/>
                <a:gd name="connsiteY25" fmla="*/ 421557 h 731465"/>
                <a:gd name="connsiteX26" fmla="*/ 457464 w 720739"/>
                <a:gd name="connsiteY26" fmla="*/ 388972 h 731465"/>
                <a:gd name="connsiteX27" fmla="*/ 428362 w 720739"/>
                <a:gd name="connsiteY27" fmla="*/ 290936 h 731465"/>
                <a:gd name="connsiteX28" fmla="*/ 428522 w 720739"/>
                <a:gd name="connsiteY28" fmla="*/ 290749 h 731465"/>
                <a:gd name="connsiteX29" fmla="*/ 427395 w 720739"/>
                <a:gd name="connsiteY29" fmla="*/ 289921 h 731465"/>
                <a:gd name="connsiteX30" fmla="*/ 427012 w 720739"/>
                <a:gd name="connsiteY30" fmla="*/ 289519 h 731465"/>
                <a:gd name="connsiteX31" fmla="*/ 426946 w 720739"/>
                <a:gd name="connsiteY31" fmla="*/ 289591 h 731465"/>
                <a:gd name="connsiteX32" fmla="*/ 352820 w 720739"/>
                <a:gd name="connsiteY32" fmla="*/ 270558 h 731465"/>
                <a:gd name="connsiteX33" fmla="*/ 307521 w 720739"/>
                <a:gd name="connsiteY33" fmla="*/ 297202 h 731465"/>
                <a:gd name="connsiteX34" fmla="*/ 255205 w 720739"/>
                <a:gd name="connsiteY34" fmla="*/ 249223 h 731465"/>
                <a:gd name="connsiteX35" fmla="*/ 258260 w 720739"/>
                <a:gd name="connsiteY35" fmla="*/ 247904 h 731465"/>
                <a:gd name="connsiteX36" fmla="*/ 296362 w 720739"/>
                <a:gd name="connsiteY36" fmla="*/ 257959 h 731465"/>
                <a:gd name="connsiteX37" fmla="*/ 334346 w 720739"/>
                <a:gd name="connsiteY37" fmla="*/ 220286 h 731465"/>
                <a:gd name="connsiteX38" fmla="*/ 243811 w 720739"/>
                <a:gd name="connsiteY38" fmla="*/ 196395 h 731465"/>
                <a:gd name="connsiteX39" fmla="*/ 213820 w 720739"/>
                <a:gd name="connsiteY39" fmla="*/ 211270 h 731465"/>
                <a:gd name="connsiteX40" fmla="*/ 201636 w 720739"/>
                <a:gd name="connsiteY40" fmla="*/ 200096 h 731465"/>
                <a:gd name="connsiteX41" fmla="*/ 175268 w 720739"/>
                <a:gd name="connsiteY41" fmla="*/ 228847 h 731465"/>
                <a:gd name="connsiteX42" fmla="*/ 0 w 720739"/>
                <a:gd name="connsiteY42" fmla="*/ 315347 h 731465"/>
                <a:gd name="connsiteX43" fmla="*/ 225227 w 720739"/>
                <a:gd name="connsiteY43" fmla="*/ 1283 h 731465"/>
                <a:gd name="connsiteX44" fmla="*/ 638335 w 720739"/>
                <a:gd name="connsiteY44" fmla="*/ 95361 h 731465"/>
                <a:gd name="connsiteX45" fmla="*/ 588606 w 720739"/>
                <a:gd name="connsiteY45" fmla="*/ 557888 h 731465"/>
                <a:gd name="connsiteX46" fmla="*/ 120870 w 720739"/>
                <a:gd name="connsiteY46" fmla="*/ 644397 h 731465"/>
                <a:gd name="connsiteX47" fmla="*/ 0 w 720739"/>
                <a:gd name="connsiteY47" fmla="*/ 315347 h 731465"/>
                <a:gd name="connsiteX0" fmla="*/ 348892 w 731940"/>
                <a:gd name="connsiteY0" fmla="*/ 336207 h 746412"/>
                <a:gd name="connsiteX1" fmla="*/ 361732 w 731940"/>
                <a:gd name="connsiteY1" fmla="*/ 327684 h 746412"/>
                <a:gd name="connsiteX2" fmla="*/ 387597 w 731940"/>
                <a:gd name="connsiteY2" fmla="*/ 335171 h 746412"/>
                <a:gd name="connsiteX3" fmla="*/ 399661 w 731940"/>
                <a:gd name="connsiteY3" fmla="*/ 376238 h 746412"/>
                <a:gd name="connsiteX4" fmla="*/ 398080 w 731940"/>
                <a:gd name="connsiteY4" fmla="*/ 381318 h 746412"/>
                <a:gd name="connsiteX5" fmla="*/ 348892 w 731940"/>
                <a:gd name="connsiteY5" fmla="*/ 336207 h 746412"/>
                <a:gd name="connsiteX6" fmla="*/ 230573 w 731940"/>
                <a:gd name="connsiteY6" fmla="*/ 280633 h 746412"/>
                <a:gd name="connsiteX7" fmla="*/ 274785 w 731940"/>
                <a:gd name="connsiteY7" fmla="*/ 321179 h 746412"/>
                <a:gd name="connsiteX8" fmla="*/ 274325 w 731940"/>
                <a:gd name="connsiteY8" fmla="*/ 321295 h 746412"/>
                <a:gd name="connsiteX9" fmla="*/ 239949 w 731940"/>
                <a:gd name="connsiteY9" fmla="*/ 311427 h 746412"/>
                <a:gd name="connsiteX10" fmla="*/ 239704 w 731940"/>
                <a:gd name="connsiteY10" fmla="*/ 311718 h 746412"/>
                <a:gd name="connsiteX11" fmla="*/ 230573 w 731940"/>
                <a:gd name="connsiteY11" fmla="*/ 280633 h 746412"/>
                <a:gd name="connsiteX12" fmla="*/ 175268 w 731940"/>
                <a:gd name="connsiteY12" fmla="*/ 229912 h 746412"/>
                <a:gd name="connsiteX13" fmla="*/ 188006 w 731940"/>
                <a:gd name="connsiteY13" fmla="*/ 241594 h 746412"/>
                <a:gd name="connsiteX14" fmla="*/ 176755 w 731940"/>
                <a:gd name="connsiteY14" fmla="*/ 265044 h 746412"/>
                <a:gd name="connsiteX15" fmla="*/ 204557 w 731940"/>
                <a:gd name="connsiteY15" fmla="*/ 353364 h 746412"/>
                <a:gd name="connsiteX16" fmla="*/ 280854 w 731940"/>
                <a:gd name="connsiteY16" fmla="*/ 375786 h 746412"/>
                <a:gd name="connsiteX17" fmla="*/ 318685 w 731940"/>
                <a:gd name="connsiteY17" fmla="*/ 361439 h 746412"/>
                <a:gd name="connsiteX18" fmla="*/ 369238 w 731940"/>
                <a:gd name="connsiteY18" fmla="*/ 407802 h 746412"/>
                <a:gd name="connsiteX19" fmla="*/ 326994 w 731940"/>
                <a:gd name="connsiteY19" fmla="*/ 396621 h 746412"/>
                <a:gd name="connsiteX20" fmla="*/ 284800 w 731940"/>
                <a:gd name="connsiteY20" fmla="*/ 438470 h 746412"/>
                <a:gd name="connsiteX21" fmla="*/ 385369 w 731940"/>
                <a:gd name="connsiteY21" fmla="*/ 465009 h 746412"/>
                <a:gd name="connsiteX22" fmla="*/ 415793 w 731940"/>
                <a:gd name="connsiteY22" fmla="*/ 450496 h 746412"/>
                <a:gd name="connsiteX23" fmla="*/ 428615 w 731940"/>
                <a:gd name="connsiteY23" fmla="*/ 462256 h 746412"/>
                <a:gd name="connsiteX24" fmla="*/ 454984 w 731940"/>
                <a:gd name="connsiteY24" fmla="*/ 433504 h 746412"/>
                <a:gd name="connsiteX25" fmla="*/ 443119 w 731940"/>
                <a:gd name="connsiteY25" fmla="*/ 422622 h 746412"/>
                <a:gd name="connsiteX26" fmla="*/ 457464 w 731940"/>
                <a:gd name="connsiteY26" fmla="*/ 390037 h 746412"/>
                <a:gd name="connsiteX27" fmla="*/ 428362 w 731940"/>
                <a:gd name="connsiteY27" fmla="*/ 292001 h 746412"/>
                <a:gd name="connsiteX28" fmla="*/ 428522 w 731940"/>
                <a:gd name="connsiteY28" fmla="*/ 291814 h 746412"/>
                <a:gd name="connsiteX29" fmla="*/ 427395 w 731940"/>
                <a:gd name="connsiteY29" fmla="*/ 290986 h 746412"/>
                <a:gd name="connsiteX30" fmla="*/ 427012 w 731940"/>
                <a:gd name="connsiteY30" fmla="*/ 290584 h 746412"/>
                <a:gd name="connsiteX31" fmla="*/ 426946 w 731940"/>
                <a:gd name="connsiteY31" fmla="*/ 290656 h 746412"/>
                <a:gd name="connsiteX32" fmla="*/ 352820 w 731940"/>
                <a:gd name="connsiteY32" fmla="*/ 271623 h 746412"/>
                <a:gd name="connsiteX33" fmla="*/ 307521 w 731940"/>
                <a:gd name="connsiteY33" fmla="*/ 298267 h 746412"/>
                <a:gd name="connsiteX34" fmla="*/ 255205 w 731940"/>
                <a:gd name="connsiteY34" fmla="*/ 250288 h 746412"/>
                <a:gd name="connsiteX35" fmla="*/ 258260 w 731940"/>
                <a:gd name="connsiteY35" fmla="*/ 248969 h 746412"/>
                <a:gd name="connsiteX36" fmla="*/ 296362 w 731940"/>
                <a:gd name="connsiteY36" fmla="*/ 259024 h 746412"/>
                <a:gd name="connsiteX37" fmla="*/ 334346 w 731940"/>
                <a:gd name="connsiteY37" fmla="*/ 221351 h 746412"/>
                <a:gd name="connsiteX38" fmla="*/ 243811 w 731940"/>
                <a:gd name="connsiteY38" fmla="*/ 197460 h 746412"/>
                <a:gd name="connsiteX39" fmla="*/ 213820 w 731940"/>
                <a:gd name="connsiteY39" fmla="*/ 212335 h 746412"/>
                <a:gd name="connsiteX40" fmla="*/ 201636 w 731940"/>
                <a:gd name="connsiteY40" fmla="*/ 201161 h 746412"/>
                <a:gd name="connsiteX41" fmla="*/ 175268 w 731940"/>
                <a:gd name="connsiteY41" fmla="*/ 229912 h 746412"/>
                <a:gd name="connsiteX42" fmla="*/ 0 w 731940"/>
                <a:gd name="connsiteY42" fmla="*/ 316412 h 746412"/>
                <a:gd name="connsiteX43" fmla="*/ 225227 w 731940"/>
                <a:gd name="connsiteY43" fmla="*/ 2348 h 746412"/>
                <a:gd name="connsiteX44" fmla="*/ 638335 w 731940"/>
                <a:gd name="connsiteY44" fmla="*/ 96426 h 746412"/>
                <a:gd name="connsiteX45" fmla="*/ 611711 w 731940"/>
                <a:gd name="connsiteY45" fmla="*/ 586606 h 746412"/>
                <a:gd name="connsiteX46" fmla="*/ 120870 w 731940"/>
                <a:gd name="connsiteY46" fmla="*/ 645462 h 746412"/>
                <a:gd name="connsiteX47" fmla="*/ 0 w 731940"/>
                <a:gd name="connsiteY47" fmla="*/ 316412 h 746412"/>
                <a:gd name="connsiteX0" fmla="*/ 348892 w 731940"/>
                <a:gd name="connsiteY0" fmla="*/ 336207 h 721787"/>
                <a:gd name="connsiteX1" fmla="*/ 361732 w 731940"/>
                <a:gd name="connsiteY1" fmla="*/ 327684 h 721787"/>
                <a:gd name="connsiteX2" fmla="*/ 387597 w 731940"/>
                <a:gd name="connsiteY2" fmla="*/ 335171 h 721787"/>
                <a:gd name="connsiteX3" fmla="*/ 399661 w 731940"/>
                <a:gd name="connsiteY3" fmla="*/ 376238 h 721787"/>
                <a:gd name="connsiteX4" fmla="*/ 398080 w 731940"/>
                <a:gd name="connsiteY4" fmla="*/ 381318 h 721787"/>
                <a:gd name="connsiteX5" fmla="*/ 348892 w 731940"/>
                <a:gd name="connsiteY5" fmla="*/ 336207 h 721787"/>
                <a:gd name="connsiteX6" fmla="*/ 230573 w 731940"/>
                <a:gd name="connsiteY6" fmla="*/ 280633 h 721787"/>
                <a:gd name="connsiteX7" fmla="*/ 274785 w 731940"/>
                <a:gd name="connsiteY7" fmla="*/ 321179 h 721787"/>
                <a:gd name="connsiteX8" fmla="*/ 274325 w 731940"/>
                <a:gd name="connsiteY8" fmla="*/ 321295 h 721787"/>
                <a:gd name="connsiteX9" fmla="*/ 239949 w 731940"/>
                <a:gd name="connsiteY9" fmla="*/ 311427 h 721787"/>
                <a:gd name="connsiteX10" fmla="*/ 239704 w 731940"/>
                <a:gd name="connsiteY10" fmla="*/ 311718 h 721787"/>
                <a:gd name="connsiteX11" fmla="*/ 230573 w 731940"/>
                <a:gd name="connsiteY11" fmla="*/ 280633 h 721787"/>
                <a:gd name="connsiteX12" fmla="*/ 175268 w 731940"/>
                <a:gd name="connsiteY12" fmla="*/ 229912 h 721787"/>
                <a:gd name="connsiteX13" fmla="*/ 188006 w 731940"/>
                <a:gd name="connsiteY13" fmla="*/ 241594 h 721787"/>
                <a:gd name="connsiteX14" fmla="*/ 176755 w 731940"/>
                <a:gd name="connsiteY14" fmla="*/ 265044 h 721787"/>
                <a:gd name="connsiteX15" fmla="*/ 204557 w 731940"/>
                <a:gd name="connsiteY15" fmla="*/ 353364 h 721787"/>
                <a:gd name="connsiteX16" fmla="*/ 280854 w 731940"/>
                <a:gd name="connsiteY16" fmla="*/ 375786 h 721787"/>
                <a:gd name="connsiteX17" fmla="*/ 318685 w 731940"/>
                <a:gd name="connsiteY17" fmla="*/ 361439 h 721787"/>
                <a:gd name="connsiteX18" fmla="*/ 369238 w 731940"/>
                <a:gd name="connsiteY18" fmla="*/ 407802 h 721787"/>
                <a:gd name="connsiteX19" fmla="*/ 326994 w 731940"/>
                <a:gd name="connsiteY19" fmla="*/ 396621 h 721787"/>
                <a:gd name="connsiteX20" fmla="*/ 284800 w 731940"/>
                <a:gd name="connsiteY20" fmla="*/ 438470 h 721787"/>
                <a:gd name="connsiteX21" fmla="*/ 385369 w 731940"/>
                <a:gd name="connsiteY21" fmla="*/ 465009 h 721787"/>
                <a:gd name="connsiteX22" fmla="*/ 415793 w 731940"/>
                <a:gd name="connsiteY22" fmla="*/ 450496 h 721787"/>
                <a:gd name="connsiteX23" fmla="*/ 428615 w 731940"/>
                <a:gd name="connsiteY23" fmla="*/ 462256 h 721787"/>
                <a:gd name="connsiteX24" fmla="*/ 454984 w 731940"/>
                <a:gd name="connsiteY24" fmla="*/ 433504 h 721787"/>
                <a:gd name="connsiteX25" fmla="*/ 443119 w 731940"/>
                <a:gd name="connsiteY25" fmla="*/ 422622 h 721787"/>
                <a:gd name="connsiteX26" fmla="*/ 457464 w 731940"/>
                <a:gd name="connsiteY26" fmla="*/ 390037 h 721787"/>
                <a:gd name="connsiteX27" fmla="*/ 428362 w 731940"/>
                <a:gd name="connsiteY27" fmla="*/ 292001 h 721787"/>
                <a:gd name="connsiteX28" fmla="*/ 428522 w 731940"/>
                <a:gd name="connsiteY28" fmla="*/ 291814 h 721787"/>
                <a:gd name="connsiteX29" fmla="*/ 427395 w 731940"/>
                <a:gd name="connsiteY29" fmla="*/ 290986 h 721787"/>
                <a:gd name="connsiteX30" fmla="*/ 427012 w 731940"/>
                <a:gd name="connsiteY30" fmla="*/ 290584 h 721787"/>
                <a:gd name="connsiteX31" fmla="*/ 426946 w 731940"/>
                <a:gd name="connsiteY31" fmla="*/ 290656 h 721787"/>
                <a:gd name="connsiteX32" fmla="*/ 352820 w 731940"/>
                <a:gd name="connsiteY32" fmla="*/ 271623 h 721787"/>
                <a:gd name="connsiteX33" fmla="*/ 307521 w 731940"/>
                <a:gd name="connsiteY33" fmla="*/ 298267 h 721787"/>
                <a:gd name="connsiteX34" fmla="*/ 255205 w 731940"/>
                <a:gd name="connsiteY34" fmla="*/ 250288 h 721787"/>
                <a:gd name="connsiteX35" fmla="*/ 258260 w 731940"/>
                <a:gd name="connsiteY35" fmla="*/ 248969 h 721787"/>
                <a:gd name="connsiteX36" fmla="*/ 296362 w 731940"/>
                <a:gd name="connsiteY36" fmla="*/ 259024 h 721787"/>
                <a:gd name="connsiteX37" fmla="*/ 334346 w 731940"/>
                <a:gd name="connsiteY37" fmla="*/ 221351 h 721787"/>
                <a:gd name="connsiteX38" fmla="*/ 243811 w 731940"/>
                <a:gd name="connsiteY38" fmla="*/ 197460 h 721787"/>
                <a:gd name="connsiteX39" fmla="*/ 213820 w 731940"/>
                <a:gd name="connsiteY39" fmla="*/ 212335 h 721787"/>
                <a:gd name="connsiteX40" fmla="*/ 201636 w 731940"/>
                <a:gd name="connsiteY40" fmla="*/ 201161 h 721787"/>
                <a:gd name="connsiteX41" fmla="*/ 175268 w 731940"/>
                <a:gd name="connsiteY41" fmla="*/ 229912 h 721787"/>
                <a:gd name="connsiteX42" fmla="*/ 0 w 731940"/>
                <a:gd name="connsiteY42" fmla="*/ 316412 h 721787"/>
                <a:gd name="connsiteX43" fmla="*/ 225227 w 731940"/>
                <a:gd name="connsiteY43" fmla="*/ 2348 h 721787"/>
                <a:gd name="connsiteX44" fmla="*/ 638335 w 731940"/>
                <a:gd name="connsiteY44" fmla="*/ 96426 h 721787"/>
                <a:gd name="connsiteX45" fmla="*/ 611711 w 731940"/>
                <a:gd name="connsiteY45" fmla="*/ 586606 h 721787"/>
                <a:gd name="connsiteX46" fmla="*/ 120870 w 731940"/>
                <a:gd name="connsiteY46" fmla="*/ 645462 h 721787"/>
                <a:gd name="connsiteX47" fmla="*/ 0 w 731940"/>
                <a:gd name="connsiteY47" fmla="*/ 316412 h 721787"/>
                <a:gd name="connsiteX0" fmla="*/ 348892 w 703658"/>
                <a:gd name="connsiteY0" fmla="*/ 336207 h 721787"/>
                <a:gd name="connsiteX1" fmla="*/ 361732 w 703658"/>
                <a:gd name="connsiteY1" fmla="*/ 327684 h 721787"/>
                <a:gd name="connsiteX2" fmla="*/ 387597 w 703658"/>
                <a:gd name="connsiteY2" fmla="*/ 335171 h 721787"/>
                <a:gd name="connsiteX3" fmla="*/ 399661 w 703658"/>
                <a:gd name="connsiteY3" fmla="*/ 376238 h 721787"/>
                <a:gd name="connsiteX4" fmla="*/ 398080 w 703658"/>
                <a:gd name="connsiteY4" fmla="*/ 381318 h 721787"/>
                <a:gd name="connsiteX5" fmla="*/ 348892 w 703658"/>
                <a:gd name="connsiteY5" fmla="*/ 336207 h 721787"/>
                <a:gd name="connsiteX6" fmla="*/ 230573 w 703658"/>
                <a:gd name="connsiteY6" fmla="*/ 280633 h 721787"/>
                <a:gd name="connsiteX7" fmla="*/ 274785 w 703658"/>
                <a:gd name="connsiteY7" fmla="*/ 321179 h 721787"/>
                <a:gd name="connsiteX8" fmla="*/ 274325 w 703658"/>
                <a:gd name="connsiteY8" fmla="*/ 321295 h 721787"/>
                <a:gd name="connsiteX9" fmla="*/ 239949 w 703658"/>
                <a:gd name="connsiteY9" fmla="*/ 311427 h 721787"/>
                <a:gd name="connsiteX10" fmla="*/ 239704 w 703658"/>
                <a:gd name="connsiteY10" fmla="*/ 311718 h 721787"/>
                <a:gd name="connsiteX11" fmla="*/ 230573 w 703658"/>
                <a:gd name="connsiteY11" fmla="*/ 280633 h 721787"/>
                <a:gd name="connsiteX12" fmla="*/ 175268 w 703658"/>
                <a:gd name="connsiteY12" fmla="*/ 229912 h 721787"/>
                <a:gd name="connsiteX13" fmla="*/ 188006 w 703658"/>
                <a:gd name="connsiteY13" fmla="*/ 241594 h 721787"/>
                <a:gd name="connsiteX14" fmla="*/ 176755 w 703658"/>
                <a:gd name="connsiteY14" fmla="*/ 265044 h 721787"/>
                <a:gd name="connsiteX15" fmla="*/ 204557 w 703658"/>
                <a:gd name="connsiteY15" fmla="*/ 353364 h 721787"/>
                <a:gd name="connsiteX16" fmla="*/ 280854 w 703658"/>
                <a:gd name="connsiteY16" fmla="*/ 375786 h 721787"/>
                <a:gd name="connsiteX17" fmla="*/ 318685 w 703658"/>
                <a:gd name="connsiteY17" fmla="*/ 361439 h 721787"/>
                <a:gd name="connsiteX18" fmla="*/ 369238 w 703658"/>
                <a:gd name="connsiteY18" fmla="*/ 407802 h 721787"/>
                <a:gd name="connsiteX19" fmla="*/ 326994 w 703658"/>
                <a:gd name="connsiteY19" fmla="*/ 396621 h 721787"/>
                <a:gd name="connsiteX20" fmla="*/ 284800 w 703658"/>
                <a:gd name="connsiteY20" fmla="*/ 438470 h 721787"/>
                <a:gd name="connsiteX21" fmla="*/ 385369 w 703658"/>
                <a:gd name="connsiteY21" fmla="*/ 465009 h 721787"/>
                <a:gd name="connsiteX22" fmla="*/ 415793 w 703658"/>
                <a:gd name="connsiteY22" fmla="*/ 450496 h 721787"/>
                <a:gd name="connsiteX23" fmla="*/ 428615 w 703658"/>
                <a:gd name="connsiteY23" fmla="*/ 462256 h 721787"/>
                <a:gd name="connsiteX24" fmla="*/ 454984 w 703658"/>
                <a:gd name="connsiteY24" fmla="*/ 433504 h 721787"/>
                <a:gd name="connsiteX25" fmla="*/ 443119 w 703658"/>
                <a:gd name="connsiteY25" fmla="*/ 422622 h 721787"/>
                <a:gd name="connsiteX26" fmla="*/ 457464 w 703658"/>
                <a:gd name="connsiteY26" fmla="*/ 390037 h 721787"/>
                <a:gd name="connsiteX27" fmla="*/ 428362 w 703658"/>
                <a:gd name="connsiteY27" fmla="*/ 292001 h 721787"/>
                <a:gd name="connsiteX28" fmla="*/ 428522 w 703658"/>
                <a:gd name="connsiteY28" fmla="*/ 291814 h 721787"/>
                <a:gd name="connsiteX29" fmla="*/ 427395 w 703658"/>
                <a:gd name="connsiteY29" fmla="*/ 290986 h 721787"/>
                <a:gd name="connsiteX30" fmla="*/ 427012 w 703658"/>
                <a:gd name="connsiteY30" fmla="*/ 290584 h 721787"/>
                <a:gd name="connsiteX31" fmla="*/ 426946 w 703658"/>
                <a:gd name="connsiteY31" fmla="*/ 290656 h 721787"/>
                <a:gd name="connsiteX32" fmla="*/ 352820 w 703658"/>
                <a:gd name="connsiteY32" fmla="*/ 271623 h 721787"/>
                <a:gd name="connsiteX33" fmla="*/ 307521 w 703658"/>
                <a:gd name="connsiteY33" fmla="*/ 298267 h 721787"/>
                <a:gd name="connsiteX34" fmla="*/ 255205 w 703658"/>
                <a:gd name="connsiteY34" fmla="*/ 250288 h 721787"/>
                <a:gd name="connsiteX35" fmla="*/ 258260 w 703658"/>
                <a:gd name="connsiteY35" fmla="*/ 248969 h 721787"/>
                <a:gd name="connsiteX36" fmla="*/ 296362 w 703658"/>
                <a:gd name="connsiteY36" fmla="*/ 259024 h 721787"/>
                <a:gd name="connsiteX37" fmla="*/ 334346 w 703658"/>
                <a:gd name="connsiteY37" fmla="*/ 221351 h 721787"/>
                <a:gd name="connsiteX38" fmla="*/ 243811 w 703658"/>
                <a:gd name="connsiteY38" fmla="*/ 197460 h 721787"/>
                <a:gd name="connsiteX39" fmla="*/ 213820 w 703658"/>
                <a:gd name="connsiteY39" fmla="*/ 212335 h 721787"/>
                <a:gd name="connsiteX40" fmla="*/ 201636 w 703658"/>
                <a:gd name="connsiteY40" fmla="*/ 201161 h 721787"/>
                <a:gd name="connsiteX41" fmla="*/ 175268 w 703658"/>
                <a:gd name="connsiteY41" fmla="*/ 229912 h 721787"/>
                <a:gd name="connsiteX42" fmla="*/ 0 w 703658"/>
                <a:gd name="connsiteY42" fmla="*/ 316412 h 721787"/>
                <a:gd name="connsiteX43" fmla="*/ 225227 w 703658"/>
                <a:gd name="connsiteY43" fmla="*/ 2348 h 721787"/>
                <a:gd name="connsiteX44" fmla="*/ 638335 w 703658"/>
                <a:gd name="connsiteY44" fmla="*/ 96426 h 721787"/>
                <a:gd name="connsiteX45" fmla="*/ 611711 w 703658"/>
                <a:gd name="connsiteY45" fmla="*/ 586606 h 721787"/>
                <a:gd name="connsiteX46" fmla="*/ 120870 w 703658"/>
                <a:gd name="connsiteY46" fmla="*/ 645462 h 721787"/>
                <a:gd name="connsiteX47" fmla="*/ 0 w 703658"/>
                <a:gd name="connsiteY47" fmla="*/ 316412 h 721787"/>
                <a:gd name="connsiteX0" fmla="*/ 348892 w 712232"/>
                <a:gd name="connsiteY0" fmla="*/ 336300 h 724701"/>
                <a:gd name="connsiteX1" fmla="*/ 361732 w 712232"/>
                <a:gd name="connsiteY1" fmla="*/ 327777 h 724701"/>
                <a:gd name="connsiteX2" fmla="*/ 387597 w 712232"/>
                <a:gd name="connsiteY2" fmla="*/ 335264 h 724701"/>
                <a:gd name="connsiteX3" fmla="*/ 399661 w 712232"/>
                <a:gd name="connsiteY3" fmla="*/ 376331 h 724701"/>
                <a:gd name="connsiteX4" fmla="*/ 398080 w 712232"/>
                <a:gd name="connsiteY4" fmla="*/ 381411 h 724701"/>
                <a:gd name="connsiteX5" fmla="*/ 348892 w 712232"/>
                <a:gd name="connsiteY5" fmla="*/ 336300 h 724701"/>
                <a:gd name="connsiteX6" fmla="*/ 230573 w 712232"/>
                <a:gd name="connsiteY6" fmla="*/ 280726 h 724701"/>
                <a:gd name="connsiteX7" fmla="*/ 274785 w 712232"/>
                <a:gd name="connsiteY7" fmla="*/ 321272 h 724701"/>
                <a:gd name="connsiteX8" fmla="*/ 274325 w 712232"/>
                <a:gd name="connsiteY8" fmla="*/ 321388 h 724701"/>
                <a:gd name="connsiteX9" fmla="*/ 239949 w 712232"/>
                <a:gd name="connsiteY9" fmla="*/ 311520 h 724701"/>
                <a:gd name="connsiteX10" fmla="*/ 239704 w 712232"/>
                <a:gd name="connsiteY10" fmla="*/ 311811 h 724701"/>
                <a:gd name="connsiteX11" fmla="*/ 230573 w 712232"/>
                <a:gd name="connsiteY11" fmla="*/ 280726 h 724701"/>
                <a:gd name="connsiteX12" fmla="*/ 175268 w 712232"/>
                <a:gd name="connsiteY12" fmla="*/ 230005 h 724701"/>
                <a:gd name="connsiteX13" fmla="*/ 188006 w 712232"/>
                <a:gd name="connsiteY13" fmla="*/ 241687 h 724701"/>
                <a:gd name="connsiteX14" fmla="*/ 176755 w 712232"/>
                <a:gd name="connsiteY14" fmla="*/ 265137 h 724701"/>
                <a:gd name="connsiteX15" fmla="*/ 204557 w 712232"/>
                <a:gd name="connsiteY15" fmla="*/ 353457 h 724701"/>
                <a:gd name="connsiteX16" fmla="*/ 280854 w 712232"/>
                <a:gd name="connsiteY16" fmla="*/ 375879 h 724701"/>
                <a:gd name="connsiteX17" fmla="*/ 318685 w 712232"/>
                <a:gd name="connsiteY17" fmla="*/ 361532 h 724701"/>
                <a:gd name="connsiteX18" fmla="*/ 369238 w 712232"/>
                <a:gd name="connsiteY18" fmla="*/ 407895 h 724701"/>
                <a:gd name="connsiteX19" fmla="*/ 326994 w 712232"/>
                <a:gd name="connsiteY19" fmla="*/ 396714 h 724701"/>
                <a:gd name="connsiteX20" fmla="*/ 284800 w 712232"/>
                <a:gd name="connsiteY20" fmla="*/ 438563 h 724701"/>
                <a:gd name="connsiteX21" fmla="*/ 385369 w 712232"/>
                <a:gd name="connsiteY21" fmla="*/ 465102 h 724701"/>
                <a:gd name="connsiteX22" fmla="*/ 415793 w 712232"/>
                <a:gd name="connsiteY22" fmla="*/ 450589 h 724701"/>
                <a:gd name="connsiteX23" fmla="*/ 428615 w 712232"/>
                <a:gd name="connsiteY23" fmla="*/ 462349 h 724701"/>
                <a:gd name="connsiteX24" fmla="*/ 454984 w 712232"/>
                <a:gd name="connsiteY24" fmla="*/ 433597 h 724701"/>
                <a:gd name="connsiteX25" fmla="*/ 443119 w 712232"/>
                <a:gd name="connsiteY25" fmla="*/ 422715 h 724701"/>
                <a:gd name="connsiteX26" fmla="*/ 457464 w 712232"/>
                <a:gd name="connsiteY26" fmla="*/ 390130 h 724701"/>
                <a:gd name="connsiteX27" fmla="*/ 428362 w 712232"/>
                <a:gd name="connsiteY27" fmla="*/ 292094 h 724701"/>
                <a:gd name="connsiteX28" fmla="*/ 428522 w 712232"/>
                <a:gd name="connsiteY28" fmla="*/ 291907 h 724701"/>
                <a:gd name="connsiteX29" fmla="*/ 427395 w 712232"/>
                <a:gd name="connsiteY29" fmla="*/ 291079 h 724701"/>
                <a:gd name="connsiteX30" fmla="*/ 427012 w 712232"/>
                <a:gd name="connsiteY30" fmla="*/ 290677 h 724701"/>
                <a:gd name="connsiteX31" fmla="*/ 426946 w 712232"/>
                <a:gd name="connsiteY31" fmla="*/ 290749 h 724701"/>
                <a:gd name="connsiteX32" fmla="*/ 352820 w 712232"/>
                <a:gd name="connsiteY32" fmla="*/ 271716 h 724701"/>
                <a:gd name="connsiteX33" fmla="*/ 307521 w 712232"/>
                <a:gd name="connsiteY33" fmla="*/ 298360 h 724701"/>
                <a:gd name="connsiteX34" fmla="*/ 255205 w 712232"/>
                <a:gd name="connsiteY34" fmla="*/ 250381 h 724701"/>
                <a:gd name="connsiteX35" fmla="*/ 258260 w 712232"/>
                <a:gd name="connsiteY35" fmla="*/ 249062 h 724701"/>
                <a:gd name="connsiteX36" fmla="*/ 296362 w 712232"/>
                <a:gd name="connsiteY36" fmla="*/ 259117 h 724701"/>
                <a:gd name="connsiteX37" fmla="*/ 334346 w 712232"/>
                <a:gd name="connsiteY37" fmla="*/ 221444 h 724701"/>
                <a:gd name="connsiteX38" fmla="*/ 243811 w 712232"/>
                <a:gd name="connsiteY38" fmla="*/ 197553 h 724701"/>
                <a:gd name="connsiteX39" fmla="*/ 213820 w 712232"/>
                <a:gd name="connsiteY39" fmla="*/ 212428 h 724701"/>
                <a:gd name="connsiteX40" fmla="*/ 201636 w 712232"/>
                <a:gd name="connsiteY40" fmla="*/ 201254 h 724701"/>
                <a:gd name="connsiteX41" fmla="*/ 175268 w 712232"/>
                <a:gd name="connsiteY41" fmla="*/ 230005 h 724701"/>
                <a:gd name="connsiteX42" fmla="*/ 0 w 712232"/>
                <a:gd name="connsiteY42" fmla="*/ 316505 h 724701"/>
                <a:gd name="connsiteX43" fmla="*/ 225227 w 712232"/>
                <a:gd name="connsiteY43" fmla="*/ 2441 h 724701"/>
                <a:gd name="connsiteX44" fmla="*/ 638335 w 712232"/>
                <a:gd name="connsiteY44" fmla="*/ 96519 h 724701"/>
                <a:gd name="connsiteX45" fmla="*/ 625461 w 712232"/>
                <a:gd name="connsiteY45" fmla="*/ 592846 h 724701"/>
                <a:gd name="connsiteX46" fmla="*/ 120870 w 712232"/>
                <a:gd name="connsiteY46" fmla="*/ 645555 h 724701"/>
                <a:gd name="connsiteX47" fmla="*/ 0 w 712232"/>
                <a:gd name="connsiteY47" fmla="*/ 316505 h 724701"/>
                <a:gd name="connsiteX0" fmla="*/ 348892 w 716659"/>
                <a:gd name="connsiteY0" fmla="*/ 335530 h 723931"/>
                <a:gd name="connsiteX1" fmla="*/ 361732 w 716659"/>
                <a:gd name="connsiteY1" fmla="*/ 327007 h 723931"/>
                <a:gd name="connsiteX2" fmla="*/ 387597 w 716659"/>
                <a:gd name="connsiteY2" fmla="*/ 334494 h 723931"/>
                <a:gd name="connsiteX3" fmla="*/ 399661 w 716659"/>
                <a:gd name="connsiteY3" fmla="*/ 375561 h 723931"/>
                <a:gd name="connsiteX4" fmla="*/ 398080 w 716659"/>
                <a:gd name="connsiteY4" fmla="*/ 380641 h 723931"/>
                <a:gd name="connsiteX5" fmla="*/ 348892 w 716659"/>
                <a:gd name="connsiteY5" fmla="*/ 335530 h 723931"/>
                <a:gd name="connsiteX6" fmla="*/ 230573 w 716659"/>
                <a:gd name="connsiteY6" fmla="*/ 279956 h 723931"/>
                <a:gd name="connsiteX7" fmla="*/ 274785 w 716659"/>
                <a:gd name="connsiteY7" fmla="*/ 320502 h 723931"/>
                <a:gd name="connsiteX8" fmla="*/ 274325 w 716659"/>
                <a:gd name="connsiteY8" fmla="*/ 320618 h 723931"/>
                <a:gd name="connsiteX9" fmla="*/ 239949 w 716659"/>
                <a:gd name="connsiteY9" fmla="*/ 310750 h 723931"/>
                <a:gd name="connsiteX10" fmla="*/ 239704 w 716659"/>
                <a:gd name="connsiteY10" fmla="*/ 311041 h 723931"/>
                <a:gd name="connsiteX11" fmla="*/ 230573 w 716659"/>
                <a:gd name="connsiteY11" fmla="*/ 279956 h 723931"/>
                <a:gd name="connsiteX12" fmla="*/ 175268 w 716659"/>
                <a:gd name="connsiteY12" fmla="*/ 229235 h 723931"/>
                <a:gd name="connsiteX13" fmla="*/ 188006 w 716659"/>
                <a:gd name="connsiteY13" fmla="*/ 240917 h 723931"/>
                <a:gd name="connsiteX14" fmla="*/ 176755 w 716659"/>
                <a:gd name="connsiteY14" fmla="*/ 264367 h 723931"/>
                <a:gd name="connsiteX15" fmla="*/ 204557 w 716659"/>
                <a:gd name="connsiteY15" fmla="*/ 352687 h 723931"/>
                <a:gd name="connsiteX16" fmla="*/ 280854 w 716659"/>
                <a:gd name="connsiteY16" fmla="*/ 375109 h 723931"/>
                <a:gd name="connsiteX17" fmla="*/ 318685 w 716659"/>
                <a:gd name="connsiteY17" fmla="*/ 360762 h 723931"/>
                <a:gd name="connsiteX18" fmla="*/ 369238 w 716659"/>
                <a:gd name="connsiteY18" fmla="*/ 407125 h 723931"/>
                <a:gd name="connsiteX19" fmla="*/ 326994 w 716659"/>
                <a:gd name="connsiteY19" fmla="*/ 395944 h 723931"/>
                <a:gd name="connsiteX20" fmla="*/ 284800 w 716659"/>
                <a:gd name="connsiteY20" fmla="*/ 437793 h 723931"/>
                <a:gd name="connsiteX21" fmla="*/ 385369 w 716659"/>
                <a:gd name="connsiteY21" fmla="*/ 464332 h 723931"/>
                <a:gd name="connsiteX22" fmla="*/ 415793 w 716659"/>
                <a:gd name="connsiteY22" fmla="*/ 449819 h 723931"/>
                <a:gd name="connsiteX23" fmla="*/ 428615 w 716659"/>
                <a:gd name="connsiteY23" fmla="*/ 461579 h 723931"/>
                <a:gd name="connsiteX24" fmla="*/ 454984 w 716659"/>
                <a:gd name="connsiteY24" fmla="*/ 432827 h 723931"/>
                <a:gd name="connsiteX25" fmla="*/ 443119 w 716659"/>
                <a:gd name="connsiteY25" fmla="*/ 421945 h 723931"/>
                <a:gd name="connsiteX26" fmla="*/ 457464 w 716659"/>
                <a:gd name="connsiteY26" fmla="*/ 389360 h 723931"/>
                <a:gd name="connsiteX27" fmla="*/ 428362 w 716659"/>
                <a:gd name="connsiteY27" fmla="*/ 291324 h 723931"/>
                <a:gd name="connsiteX28" fmla="*/ 428522 w 716659"/>
                <a:gd name="connsiteY28" fmla="*/ 291137 h 723931"/>
                <a:gd name="connsiteX29" fmla="*/ 427395 w 716659"/>
                <a:gd name="connsiteY29" fmla="*/ 290309 h 723931"/>
                <a:gd name="connsiteX30" fmla="*/ 427012 w 716659"/>
                <a:gd name="connsiteY30" fmla="*/ 289907 h 723931"/>
                <a:gd name="connsiteX31" fmla="*/ 426946 w 716659"/>
                <a:gd name="connsiteY31" fmla="*/ 289979 h 723931"/>
                <a:gd name="connsiteX32" fmla="*/ 352820 w 716659"/>
                <a:gd name="connsiteY32" fmla="*/ 270946 h 723931"/>
                <a:gd name="connsiteX33" fmla="*/ 307521 w 716659"/>
                <a:gd name="connsiteY33" fmla="*/ 297590 h 723931"/>
                <a:gd name="connsiteX34" fmla="*/ 255205 w 716659"/>
                <a:gd name="connsiteY34" fmla="*/ 249611 h 723931"/>
                <a:gd name="connsiteX35" fmla="*/ 258260 w 716659"/>
                <a:gd name="connsiteY35" fmla="*/ 248292 h 723931"/>
                <a:gd name="connsiteX36" fmla="*/ 296362 w 716659"/>
                <a:gd name="connsiteY36" fmla="*/ 258347 h 723931"/>
                <a:gd name="connsiteX37" fmla="*/ 334346 w 716659"/>
                <a:gd name="connsiteY37" fmla="*/ 220674 h 723931"/>
                <a:gd name="connsiteX38" fmla="*/ 243811 w 716659"/>
                <a:gd name="connsiteY38" fmla="*/ 196783 h 723931"/>
                <a:gd name="connsiteX39" fmla="*/ 213820 w 716659"/>
                <a:gd name="connsiteY39" fmla="*/ 211658 h 723931"/>
                <a:gd name="connsiteX40" fmla="*/ 201636 w 716659"/>
                <a:gd name="connsiteY40" fmla="*/ 200484 h 723931"/>
                <a:gd name="connsiteX41" fmla="*/ 175268 w 716659"/>
                <a:gd name="connsiteY41" fmla="*/ 229235 h 723931"/>
                <a:gd name="connsiteX42" fmla="*/ 0 w 716659"/>
                <a:gd name="connsiteY42" fmla="*/ 315735 h 723931"/>
                <a:gd name="connsiteX43" fmla="*/ 225227 w 716659"/>
                <a:gd name="connsiteY43" fmla="*/ 1671 h 723931"/>
                <a:gd name="connsiteX44" fmla="*/ 638335 w 716659"/>
                <a:gd name="connsiteY44" fmla="*/ 95749 h 723931"/>
                <a:gd name="connsiteX45" fmla="*/ 625461 w 716659"/>
                <a:gd name="connsiteY45" fmla="*/ 592076 h 723931"/>
                <a:gd name="connsiteX46" fmla="*/ 120870 w 716659"/>
                <a:gd name="connsiteY46" fmla="*/ 644785 h 723931"/>
                <a:gd name="connsiteX47" fmla="*/ 0 w 716659"/>
                <a:gd name="connsiteY47" fmla="*/ 315735 h 723931"/>
                <a:gd name="connsiteX0" fmla="*/ 348892 w 734416"/>
                <a:gd name="connsiteY0" fmla="*/ 334428 h 722829"/>
                <a:gd name="connsiteX1" fmla="*/ 361732 w 734416"/>
                <a:gd name="connsiteY1" fmla="*/ 325905 h 722829"/>
                <a:gd name="connsiteX2" fmla="*/ 387597 w 734416"/>
                <a:gd name="connsiteY2" fmla="*/ 333392 h 722829"/>
                <a:gd name="connsiteX3" fmla="*/ 399661 w 734416"/>
                <a:gd name="connsiteY3" fmla="*/ 374459 h 722829"/>
                <a:gd name="connsiteX4" fmla="*/ 398080 w 734416"/>
                <a:gd name="connsiteY4" fmla="*/ 379539 h 722829"/>
                <a:gd name="connsiteX5" fmla="*/ 348892 w 734416"/>
                <a:gd name="connsiteY5" fmla="*/ 334428 h 722829"/>
                <a:gd name="connsiteX6" fmla="*/ 230573 w 734416"/>
                <a:gd name="connsiteY6" fmla="*/ 278854 h 722829"/>
                <a:gd name="connsiteX7" fmla="*/ 274785 w 734416"/>
                <a:gd name="connsiteY7" fmla="*/ 319400 h 722829"/>
                <a:gd name="connsiteX8" fmla="*/ 274325 w 734416"/>
                <a:gd name="connsiteY8" fmla="*/ 319516 h 722829"/>
                <a:gd name="connsiteX9" fmla="*/ 239949 w 734416"/>
                <a:gd name="connsiteY9" fmla="*/ 309648 h 722829"/>
                <a:gd name="connsiteX10" fmla="*/ 239704 w 734416"/>
                <a:gd name="connsiteY10" fmla="*/ 309939 h 722829"/>
                <a:gd name="connsiteX11" fmla="*/ 230573 w 734416"/>
                <a:gd name="connsiteY11" fmla="*/ 278854 h 722829"/>
                <a:gd name="connsiteX12" fmla="*/ 175268 w 734416"/>
                <a:gd name="connsiteY12" fmla="*/ 228133 h 722829"/>
                <a:gd name="connsiteX13" fmla="*/ 188006 w 734416"/>
                <a:gd name="connsiteY13" fmla="*/ 239815 h 722829"/>
                <a:gd name="connsiteX14" fmla="*/ 176755 w 734416"/>
                <a:gd name="connsiteY14" fmla="*/ 263265 h 722829"/>
                <a:gd name="connsiteX15" fmla="*/ 204557 w 734416"/>
                <a:gd name="connsiteY15" fmla="*/ 351585 h 722829"/>
                <a:gd name="connsiteX16" fmla="*/ 280854 w 734416"/>
                <a:gd name="connsiteY16" fmla="*/ 374007 h 722829"/>
                <a:gd name="connsiteX17" fmla="*/ 318685 w 734416"/>
                <a:gd name="connsiteY17" fmla="*/ 359660 h 722829"/>
                <a:gd name="connsiteX18" fmla="*/ 369238 w 734416"/>
                <a:gd name="connsiteY18" fmla="*/ 406023 h 722829"/>
                <a:gd name="connsiteX19" fmla="*/ 326994 w 734416"/>
                <a:gd name="connsiteY19" fmla="*/ 394842 h 722829"/>
                <a:gd name="connsiteX20" fmla="*/ 284800 w 734416"/>
                <a:gd name="connsiteY20" fmla="*/ 436691 h 722829"/>
                <a:gd name="connsiteX21" fmla="*/ 385369 w 734416"/>
                <a:gd name="connsiteY21" fmla="*/ 463230 h 722829"/>
                <a:gd name="connsiteX22" fmla="*/ 415793 w 734416"/>
                <a:gd name="connsiteY22" fmla="*/ 448717 h 722829"/>
                <a:gd name="connsiteX23" fmla="*/ 428615 w 734416"/>
                <a:gd name="connsiteY23" fmla="*/ 460477 h 722829"/>
                <a:gd name="connsiteX24" fmla="*/ 454984 w 734416"/>
                <a:gd name="connsiteY24" fmla="*/ 431725 h 722829"/>
                <a:gd name="connsiteX25" fmla="*/ 443119 w 734416"/>
                <a:gd name="connsiteY25" fmla="*/ 420843 h 722829"/>
                <a:gd name="connsiteX26" fmla="*/ 457464 w 734416"/>
                <a:gd name="connsiteY26" fmla="*/ 388258 h 722829"/>
                <a:gd name="connsiteX27" fmla="*/ 428362 w 734416"/>
                <a:gd name="connsiteY27" fmla="*/ 290222 h 722829"/>
                <a:gd name="connsiteX28" fmla="*/ 428522 w 734416"/>
                <a:gd name="connsiteY28" fmla="*/ 290035 h 722829"/>
                <a:gd name="connsiteX29" fmla="*/ 427395 w 734416"/>
                <a:gd name="connsiteY29" fmla="*/ 289207 h 722829"/>
                <a:gd name="connsiteX30" fmla="*/ 427012 w 734416"/>
                <a:gd name="connsiteY30" fmla="*/ 288805 h 722829"/>
                <a:gd name="connsiteX31" fmla="*/ 426946 w 734416"/>
                <a:gd name="connsiteY31" fmla="*/ 288877 h 722829"/>
                <a:gd name="connsiteX32" fmla="*/ 352820 w 734416"/>
                <a:gd name="connsiteY32" fmla="*/ 269844 h 722829"/>
                <a:gd name="connsiteX33" fmla="*/ 307521 w 734416"/>
                <a:gd name="connsiteY33" fmla="*/ 296488 h 722829"/>
                <a:gd name="connsiteX34" fmla="*/ 255205 w 734416"/>
                <a:gd name="connsiteY34" fmla="*/ 248509 h 722829"/>
                <a:gd name="connsiteX35" fmla="*/ 258260 w 734416"/>
                <a:gd name="connsiteY35" fmla="*/ 247190 h 722829"/>
                <a:gd name="connsiteX36" fmla="*/ 296362 w 734416"/>
                <a:gd name="connsiteY36" fmla="*/ 257245 h 722829"/>
                <a:gd name="connsiteX37" fmla="*/ 334346 w 734416"/>
                <a:gd name="connsiteY37" fmla="*/ 219572 h 722829"/>
                <a:gd name="connsiteX38" fmla="*/ 243811 w 734416"/>
                <a:gd name="connsiteY38" fmla="*/ 195681 h 722829"/>
                <a:gd name="connsiteX39" fmla="*/ 213820 w 734416"/>
                <a:gd name="connsiteY39" fmla="*/ 210556 h 722829"/>
                <a:gd name="connsiteX40" fmla="*/ 201636 w 734416"/>
                <a:gd name="connsiteY40" fmla="*/ 199382 h 722829"/>
                <a:gd name="connsiteX41" fmla="*/ 175268 w 734416"/>
                <a:gd name="connsiteY41" fmla="*/ 228133 h 722829"/>
                <a:gd name="connsiteX42" fmla="*/ 0 w 734416"/>
                <a:gd name="connsiteY42" fmla="*/ 314633 h 722829"/>
                <a:gd name="connsiteX43" fmla="*/ 225227 w 734416"/>
                <a:gd name="connsiteY43" fmla="*/ 569 h 722829"/>
                <a:gd name="connsiteX44" fmla="*/ 674161 w 734416"/>
                <a:gd name="connsiteY44" fmla="*/ 143659 h 722829"/>
                <a:gd name="connsiteX45" fmla="*/ 625461 w 734416"/>
                <a:gd name="connsiteY45" fmla="*/ 590974 h 722829"/>
                <a:gd name="connsiteX46" fmla="*/ 120870 w 734416"/>
                <a:gd name="connsiteY46" fmla="*/ 643683 h 722829"/>
                <a:gd name="connsiteX47" fmla="*/ 0 w 734416"/>
                <a:gd name="connsiteY47" fmla="*/ 314633 h 722829"/>
                <a:gd name="connsiteX0" fmla="*/ 348892 w 734000"/>
                <a:gd name="connsiteY0" fmla="*/ 334499 h 722900"/>
                <a:gd name="connsiteX1" fmla="*/ 361732 w 734000"/>
                <a:gd name="connsiteY1" fmla="*/ 325976 h 722900"/>
                <a:gd name="connsiteX2" fmla="*/ 387597 w 734000"/>
                <a:gd name="connsiteY2" fmla="*/ 333463 h 722900"/>
                <a:gd name="connsiteX3" fmla="*/ 399661 w 734000"/>
                <a:gd name="connsiteY3" fmla="*/ 374530 h 722900"/>
                <a:gd name="connsiteX4" fmla="*/ 398080 w 734000"/>
                <a:gd name="connsiteY4" fmla="*/ 379610 h 722900"/>
                <a:gd name="connsiteX5" fmla="*/ 348892 w 734000"/>
                <a:gd name="connsiteY5" fmla="*/ 334499 h 722900"/>
                <a:gd name="connsiteX6" fmla="*/ 230573 w 734000"/>
                <a:gd name="connsiteY6" fmla="*/ 278925 h 722900"/>
                <a:gd name="connsiteX7" fmla="*/ 274785 w 734000"/>
                <a:gd name="connsiteY7" fmla="*/ 319471 h 722900"/>
                <a:gd name="connsiteX8" fmla="*/ 274325 w 734000"/>
                <a:gd name="connsiteY8" fmla="*/ 319587 h 722900"/>
                <a:gd name="connsiteX9" fmla="*/ 239949 w 734000"/>
                <a:gd name="connsiteY9" fmla="*/ 309719 h 722900"/>
                <a:gd name="connsiteX10" fmla="*/ 239704 w 734000"/>
                <a:gd name="connsiteY10" fmla="*/ 310010 h 722900"/>
                <a:gd name="connsiteX11" fmla="*/ 230573 w 734000"/>
                <a:gd name="connsiteY11" fmla="*/ 278925 h 722900"/>
                <a:gd name="connsiteX12" fmla="*/ 175268 w 734000"/>
                <a:gd name="connsiteY12" fmla="*/ 228204 h 722900"/>
                <a:gd name="connsiteX13" fmla="*/ 188006 w 734000"/>
                <a:gd name="connsiteY13" fmla="*/ 239886 h 722900"/>
                <a:gd name="connsiteX14" fmla="*/ 176755 w 734000"/>
                <a:gd name="connsiteY14" fmla="*/ 263336 h 722900"/>
                <a:gd name="connsiteX15" fmla="*/ 204557 w 734000"/>
                <a:gd name="connsiteY15" fmla="*/ 351656 h 722900"/>
                <a:gd name="connsiteX16" fmla="*/ 280854 w 734000"/>
                <a:gd name="connsiteY16" fmla="*/ 374078 h 722900"/>
                <a:gd name="connsiteX17" fmla="*/ 318685 w 734000"/>
                <a:gd name="connsiteY17" fmla="*/ 359731 h 722900"/>
                <a:gd name="connsiteX18" fmla="*/ 369238 w 734000"/>
                <a:gd name="connsiteY18" fmla="*/ 406094 h 722900"/>
                <a:gd name="connsiteX19" fmla="*/ 326994 w 734000"/>
                <a:gd name="connsiteY19" fmla="*/ 394913 h 722900"/>
                <a:gd name="connsiteX20" fmla="*/ 284800 w 734000"/>
                <a:gd name="connsiteY20" fmla="*/ 436762 h 722900"/>
                <a:gd name="connsiteX21" fmla="*/ 385369 w 734000"/>
                <a:gd name="connsiteY21" fmla="*/ 463301 h 722900"/>
                <a:gd name="connsiteX22" fmla="*/ 415793 w 734000"/>
                <a:gd name="connsiteY22" fmla="*/ 448788 h 722900"/>
                <a:gd name="connsiteX23" fmla="*/ 428615 w 734000"/>
                <a:gd name="connsiteY23" fmla="*/ 460548 h 722900"/>
                <a:gd name="connsiteX24" fmla="*/ 454984 w 734000"/>
                <a:gd name="connsiteY24" fmla="*/ 431796 h 722900"/>
                <a:gd name="connsiteX25" fmla="*/ 443119 w 734000"/>
                <a:gd name="connsiteY25" fmla="*/ 420914 h 722900"/>
                <a:gd name="connsiteX26" fmla="*/ 457464 w 734000"/>
                <a:gd name="connsiteY26" fmla="*/ 388329 h 722900"/>
                <a:gd name="connsiteX27" fmla="*/ 428362 w 734000"/>
                <a:gd name="connsiteY27" fmla="*/ 290293 h 722900"/>
                <a:gd name="connsiteX28" fmla="*/ 428522 w 734000"/>
                <a:gd name="connsiteY28" fmla="*/ 290106 h 722900"/>
                <a:gd name="connsiteX29" fmla="*/ 427395 w 734000"/>
                <a:gd name="connsiteY29" fmla="*/ 289278 h 722900"/>
                <a:gd name="connsiteX30" fmla="*/ 427012 w 734000"/>
                <a:gd name="connsiteY30" fmla="*/ 288876 h 722900"/>
                <a:gd name="connsiteX31" fmla="*/ 426946 w 734000"/>
                <a:gd name="connsiteY31" fmla="*/ 288948 h 722900"/>
                <a:gd name="connsiteX32" fmla="*/ 352820 w 734000"/>
                <a:gd name="connsiteY32" fmla="*/ 269915 h 722900"/>
                <a:gd name="connsiteX33" fmla="*/ 307521 w 734000"/>
                <a:gd name="connsiteY33" fmla="*/ 296559 h 722900"/>
                <a:gd name="connsiteX34" fmla="*/ 255205 w 734000"/>
                <a:gd name="connsiteY34" fmla="*/ 248580 h 722900"/>
                <a:gd name="connsiteX35" fmla="*/ 258260 w 734000"/>
                <a:gd name="connsiteY35" fmla="*/ 247261 h 722900"/>
                <a:gd name="connsiteX36" fmla="*/ 296362 w 734000"/>
                <a:gd name="connsiteY36" fmla="*/ 257316 h 722900"/>
                <a:gd name="connsiteX37" fmla="*/ 334346 w 734000"/>
                <a:gd name="connsiteY37" fmla="*/ 219643 h 722900"/>
                <a:gd name="connsiteX38" fmla="*/ 243811 w 734000"/>
                <a:gd name="connsiteY38" fmla="*/ 195752 h 722900"/>
                <a:gd name="connsiteX39" fmla="*/ 213820 w 734000"/>
                <a:gd name="connsiteY39" fmla="*/ 210627 h 722900"/>
                <a:gd name="connsiteX40" fmla="*/ 201636 w 734000"/>
                <a:gd name="connsiteY40" fmla="*/ 199453 h 722900"/>
                <a:gd name="connsiteX41" fmla="*/ 175268 w 734000"/>
                <a:gd name="connsiteY41" fmla="*/ 228204 h 722900"/>
                <a:gd name="connsiteX42" fmla="*/ 0 w 734000"/>
                <a:gd name="connsiteY42" fmla="*/ 314704 h 722900"/>
                <a:gd name="connsiteX43" fmla="*/ 225227 w 734000"/>
                <a:gd name="connsiteY43" fmla="*/ 640 h 722900"/>
                <a:gd name="connsiteX44" fmla="*/ 674161 w 734000"/>
                <a:gd name="connsiteY44" fmla="*/ 143730 h 722900"/>
                <a:gd name="connsiteX45" fmla="*/ 625461 w 734000"/>
                <a:gd name="connsiteY45" fmla="*/ 591045 h 722900"/>
                <a:gd name="connsiteX46" fmla="*/ 120870 w 734000"/>
                <a:gd name="connsiteY46" fmla="*/ 643754 h 722900"/>
                <a:gd name="connsiteX47" fmla="*/ 0 w 734000"/>
                <a:gd name="connsiteY47" fmla="*/ 314704 h 722900"/>
                <a:gd name="connsiteX0" fmla="*/ 348892 w 734000"/>
                <a:gd name="connsiteY0" fmla="*/ 334499 h 722205"/>
                <a:gd name="connsiteX1" fmla="*/ 361732 w 734000"/>
                <a:gd name="connsiteY1" fmla="*/ 325976 h 722205"/>
                <a:gd name="connsiteX2" fmla="*/ 387597 w 734000"/>
                <a:gd name="connsiteY2" fmla="*/ 333463 h 722205"/>
                <a:gd name="connsiteX3" fmla="*/ 399661 w 734000"/>
                <a:gd name="connsiteY3" fmla="*/ 374530 h 722205"/>
                <a:gd name="connsiteX4" fmla="*/ 398080 w 734000"/>
                <a:gd name="connsiteY4" fmla="*/ 379610 h 722205"/>
                <a:gd name="connsiteX5" fmla="*/ 348892 w 734000"/>
                <a:gd name="connsiteY5" fmla="*/ 334499 h 722205"/>
                <a:gd name="connsiteX6" fmla="*/ 230573 w 734000"/>
                <a:gd name="connsiteY6" fmla="*/ 278925 h 722205"/>
                <a:gd name="connsiteX7" fmla="*/ 274785 w 734000"/>
                <a:gd name="connsiteY7" fmla="*/ 319471 h 722205"/>
                <a:gd name="connsiteX8" fmla="*/ 274325 w 734000"/>
                <a:gd name="connsiteY8" fmla="*/ 319587 h 722205"/>
                <a:gd name="connsiteX9" fmla="*/ 239949 w 734000"/>
                <a:gd name="connsiteY9" fmla="*/ 309719 h 722205"/>
                <a:gd name="connsiteX10" fmla="*/ 239704 w 734000"/>
                <a:gd name="connsiteY10" fmla="*/ 310010 h 722205"/>
                <a:gd name="connsiteX11" fmla="*/ 230573 w 734000"/>
                <a:gd name="connsiteY11" fmla="*/ 278925 h 722205"/>
                <a:gd name="connsiteX12" fmla="*/ 175268 w 734000"/>
                <a:gd name="connsiteY12" fmla="*/ 228204 h 722205"/>
                <a:gd name="connsiteX13" fmla="*/ 188006 w 734000"/>
                <a:gd name="connsiteY13" fmla="*/ 239886 h 722205"/>
                <a:gd name="connsiteX14" fmla="*/ 176755 w 734000"/>
                <a:gd name="connsiteY14" fmla="*/ 263336 h 722205"/>
                <a:gd name="connsiteX15" fmla="*/ 204557 w 734000"/>
                <a:gd name="connsiteY15" fmla="*/ 351656 h 722205"/>
                <a:gd name="connsiteX16" fmla="*/ 280854 w 734000"/>
                <a:gd name="connsiteY16" fmla="*/ 374078 h 722205"/>
                <a:gd name="connsiteX17" fmla="*/ 318685 w 734000"/>
                <a:gd name="connsiteY17" fmla="*/ 359731 h 722205"/>
                <a:gd name="connsiteX18" fmla="*/ 369238 w 734000"/>
                <a:gd name="connsiteY18" fmla="*/ 406094 h 722205"/>
                <a:gd name="connsiteX19" fmla="*/ 326994 w 734000"/>
                <a:gd name="connsiteY19" fmla="*/ 394913 h 722205"/>
                <a:gd name="connsiteX20" fmla="*/ 284800 w 734000"/>
                <a:gd name="connsiteY20" fmla="*/ 436762 h 722205"/>
                <a:gd name="connsiteX21" fmla="*/ 385369 w 734000"/>
                <a:gd name="connsiteY21" fmla="*/ 463301 h 722205"/>
                <a:gd name="connsiteX22" fmla="*/ 415793 w 734000"/>
                <a:gd name="connsiteY22" fmla="*/ 448788 h 722205"/>
                <a:gd name="connsiteX23" fmla="*/ 428615 w 734000"/>
                <a:gd name="connsiteY23" fmla="*/ 460548 h 722205"/>
                <a:gd name="connsiteX24" fmla="*/ 454984 w 734000"/>
                <a:gd name="connsiteY24" fmla="*/ 431796 h 722205"/>
                <a:gd name="connsiteX25" fmla="*/ 443119 w 734000"/>
                <a:gd name="connsiteY25" fmla="*/ 420914 h 722205"/>
                <a:gd name="connsiteX26" fmla="*/ 457464 w 734000"/>
                <a:gd name="connsiteY26" fmla="*/ 388329 h 722205"/>
                <a:gd name="connsiteX27" fmla="*/ 428362 w 734000"/>
                <a:gd name="connsiteY27" fmla="*/ 290293 h 722205"/>
                <a:gd name="connsiteX28" fmla="*/ 428522 w 734000"/>
                <a:gd name="connsiteY28" fmla="*/ 290106 h 722205"/>
                <a:gd name="connsiteX29" fmla="*/ 427395 w 734000"/>
                <a:gd name="connsiteY29" fmla="*/ 289278 h 722205"/>
                <a:gd name="connsiteX30" fmla="*/ 427012 w 734000"/>
                <a:gd name="connsiteY30" fmla="*/ 288876 h 722205"/>
                <a:gd name="connsiteX31" fmla="*/ 426946 w 734000"/>
                <a:gd name="connsiteY31" fmla="*/ 288948 h 722205"/>
                <a:gd name="connsiteX32" fmla="*/ 352820 w 734000"/>
                <a:gd name="connsiteY32" fmla="*/ 269915 h 722205"/>
                <a:gd name="connsiteX33" fmla="*/ 307521 w 734000"/>
                <a:gd name="connsiteY33" fmla="*/ 296559 h 722205"/>
                <a:gd name="connsiteX34" fmla="*/ 255205 w 734000"/>
                <a:gd name="connsiteY34" fmla="*/ 248580 h 722205"/>
                <a:gd name="connsiteX35" fmla="*/ 258260 w 734000"/>
                <a:gd name="connsiteY35" fmla="*/ 247261 h 722205"/>
                <a:gd name="connsiteX36" fmla="*/ 296362 w 734000"/>
                <a:gd name="connsiteY36" fmla="*/ 257316 h 722205"/>
                <a:gd name="connsiteX37" fmla="*/ 334346 w 734000"/>
                <a:gd name="connsiteY37" fmla="*/ 219643 h 722205"/>
                <a:gd name="connsiteX38" fmla="*/ 243811 w 734000"/>
                <a:gd name="connsiteY38" fmla="*/ 195752 h 722205"/>
                <a:gd name="connsiteX39" fmla="*/ 213820 w 734000"/>
                <a:gd name="connsiteY39" fmla="*/ 210627 h 722205"/>
                <a:gd name="connsiteX40" fmla="*/ 201636 w 734000"/>
                <a:gd name="connsiteY40" fmla="*/ 199453 h 722205"/>
                <a:gd name="connsiteX41" fmla="*/ 175268 w 734000"/>
                <a:gd name="connsiteY41" fmla="*/ 228204 h 722205"/>
                <a:gd name="connsiteX42" fmla="*/ 0 w 734000"/>
                <a:gd name="connsiteY42" fmla="*/ 314704 h 722205"/>
                <a:gd name="connsiteX43" fmla="*/ 225227 w 734000"/>
                <a:gd name="connsiteY43" fmla="*/ 640 h 722205"/>
                <a:gd name="connsiteX44" fmla="*/ 674161 w 734000"/>
                <a:gd name="connsiteY44" fmla="*/ 143730 h 722205"/>
                <a:gd name="connsiteX45" fmla="*/ 625461 w 734000"/>
                <a:gd name="connsiteY45" fmla="*/ 591045 h 722205"/>
                <a:gd name="connsiteX46" fmla="*/ 151149 w 734000"/>
                <a:gd name="connsiteY46" fmla="*/ 642445 h 722205"/>
                <a:gd name="connsiteX47" fmla="*/ 0 w 734000"/>
                <a:gd name="connsiteY47" fmla="*/ 314704 h 722205"/>
                <a:gd name="connsiteX0" fmla="*/ 348892 w 734000"/>
                <a:gd name="connsiteY0" fmla="*/ 334499 h 722205"/>
                <a:gd name="connsiteX1" fmla="*/ 361732 w 734000"/>
                <a:gd name="connsiteY1" fmla="*/ 325976 h 722205"/>
                <a:gd name="connsiteX2" fmla="*/ 387597 w 734000"/>
                <a:gd name="connsiteY2" fmla="*/ 333463 h 722205"/>
                <a:gd name="connsiteX3" fmla="*/ 399661 w 734000"/>
                <a:gd name="connsiteY3" fmla="*/ 374530 h 722205"/>
                <a:gd name="connsiteX4" fmla="*/ 398080 w 734000"/>
                <a:gd name="connsiteY4" fmla="*/ 379610 h 722205"/>
                <a:gd name="connsiteX5" fmla="*/ 348892 w 734000"/>
                <a:gd name="connsiteY5" fmla="*/ 334499 h 722205"/>
                <a:gd name="connsiteX6" fmla="*/ 230573 w 734000"/>
                <a:gd name="connsiteY6" fmla="*/ 278925 h 722205"/>
                <a:gd name="connsiteX7" fmla="*/ 274785 w 734000"/>
                <a:gd name="connsiteY7" fmla="*/ 319471 h 722205"/>
                <a:gd name="connsiteX8" fmla="*/ 274325 w 734000"/>
                <a:gd name="connsiteY8" fmla="*/ 319587 h 722205"/>
                <a:gd name="connsiteX9" fmla="*/ 239949 w 734000"/>
                <a:gd name="connsiteY9" fmla="*/ 309719 h 722205"/>
                <a:gd name="connsiteX10" fmla="*/ 239704 w 734000"/>
                <a:gd name="connsiteY10" fmla="*/ 310010 h 722205"/>
                <a:gd name="connsiteX11" fmla="*/ 230573 w 734000"/>
                <a:gd name="connsiteY11" fmla="*/ 278925 h 722205"/>
                <a:gd name="connsiteX12" fmla="*/ 175268 w 734000"/>
                <a:gd name="connsiteY12" fmla="*/ 228204 h 722205"/>
                <a:gd name="connsiteX13" fmla="*/ 188006 w 734000"/>
                <a:gd name="connsiteY13" fmla="*/ 239886 h 722205"/>
                <a:gd name="connsiteX14" fmla="*/ 176755 w 734000"/>
                <a:gd name="connsiteY14" fmla="*/ 263336 h 722205"/>
                <a:gd name="connsiteX15" fmla="*/ 204557 w 734000"/>
                <a:gd name="connsiteY15" fmla="*/ 351656 h 722205"/>
                <a:gd name="connsiteX16" fmla="*/ 280854 w 734000"/>
                <a:gd name="connsiteY16" fmla="*/ 374078 h 722205"/>
                <a:gd name="connsiteX17" fmla="*/ 318685 w 734000"/>
                <a:gd name="connsiteY17" fmla="*/ 359731 h 722205"/>
                <a:gd name="connsiteX18" fmla="*/ 369238 w 734000"/>
                <a:gd name="connsiteY18" fmla="*/ 406094 h 722205"/>
                <a:gd name="connsiteX19" fmla="*/ 326994 w 734000"/>
                <a:gd name="connsiteY19" fmla="*/ 394913 h 722205"/>
                <a:gd name="connsiteX20" fmla="*/ 284800 w 734000"/>
                <a:gd name="connsiteY20" fmla="*/ 436762 h 722205"/>
                <a:gd name="connsiteX21" fmla="*/ 385369 w 734000"/>
                <a:gd name="connsiteY21" fmla="*/ 463301 h 722205"/>
                <a:gd name="connsiteX22" fmla="*/ 415793 w 734000"/>
                <a:gd name="connsiteY22" fmla="*/ 448788 h 722205"/>
                <a:gd name="connsiteX23" fmla="*/ 428615 w 734000"/>
                <a:gd name="connsiteY23" fmla="*/ 460548 h 722205"/>
                <a:gd name="connsiteX24" fmla="*/ 454984 w 734000"/>
                <a:gd name="connsiteY24" fmla="*/ 431796 h 722205"/>
                <a:gd name="connsiteX25" fmla="*/ 443119 w 734000"/>
                <a:gd name="connsiteY25" fmla="*/ 420914 h 722205"/>
                <a:gd name="connsiteX26" fmla="*/ 457464 w 734000"/>
                <a:gd name="connsiteY26" fmla="*/ 388329 h 722205"/>
                <a:gd name="connsiteX27" fmla="*/ 428362 w 734000"/>
                <a:gd name="connsiteY27" fmla="*/ 290293 h 722205"/>
                <a:gd name="connsiteX28" fmla="*/ 428522 w 734000"/>
                <a:gd name="connsiteY28" fmla="*/ 290106 h 722205"/>
                <a:gd name="connsiteX29" fmla="*/ 427395 w 734000"/>
                <a:gd name="connsiteY29" fmla="*/ 289278 h 722205"/>
                <a:gd name="connsiteX30" fmla="*/ 427012 w 734000"/>
                <a:gd name="connsiteY30" fmla="*/ 288876 h 722205"/>
                <a:gd name="connsiteX31" fmla="*/ 426946 w 734000"/>
                <a:gd name="connsiteY31" fmla="*/ 288948 h 722205"/>
                <a:gd name="connsiteX32" fmla="*/ 352820 w 734000"/>
                <a:gd name="connsiteY32" fmla="*/ 269915 h 722205"/>
                <a:gd name="connsiteX33" fmla="*/ 307521 w 734000"/>
                <a:gd name="connsiteY33" fmla="*/ 296559 h 722205"/>
                <a:gd name="connsiteX34" fmla="*/ 255205 w 734000"/>
                <a:gd name="connsiteY34" fmla="*/ 248580 h 722205"/>
                <a:gd name="connsiteX35" fmla="*/ 258260 w 734000"/>
                <a:gd name="connsiteY35" fmla="*/ 247261 h 722205"/>
                <a:gd name="connsiteX36" fmla="*/ 296362 w 734000"/>
                <a:gd name="connsiteY36" fmla="*/ 257316 h 722205"/>
                <a:gd name="connsiteX37" fmla="*/ 334346 w 734000"/>
                <a:gd name="connsiteY37" fmla="*/ 219643 h 722205"/>
                <a:gd name="connsiteX38" fmla="*/ 243811 w 734000"/>
                <a:gd name="connsiteY38" fmla="*/ 195752 h 722205"/>
                <a:gd name="connsiteX39" fmla="*/ 213820 w 734000"/>
                <a:gd name="connsiteY39" fmla="*/ 210627 h 722205"/>
                <a:gd name="connsiteX40" fmla="*/ 201636 w 734000"/>
                <a:gd name="connsiteY40" fmla="*/ 199453 h 722205"/>
                <a:gd name="connsiteX41" fmla="*/ 175268 w 734000"/>
                <a:gd name="connsiteY41" fmla="*/ 228204 h 722205"/>
                <a:gd name="connsiteX42" fmla="*/ 0 w 734000"/>
                <a:gd name="connsiteY42" fmla="*/ 314704 h 722205"/>
                <a:gd name="connsiteX43" fmla="*/ 225227 w 734000"/>
                <a:gd name="connsiteY43" fmla="*/ 640 h 722205"/>
                <a:gd name="connsiteX44" fmla="*/ 674161 w 734000"/>
                <a:gd name="connsiteY44" fmla="*/ 143730 h 722205"/>
                <a:gd name="connsiteX45" fmla="*/ 625461 w 734000"/>
                <a:gd name="connsiteY45" fmla="*/ 591045 h 722205"/>
                <a:gd name="connsiteX46" fmla="*/ 151149 w 734000"/>
                <a:gd name="connsiteY46" fmla="*/ 642445 h 722205"/>
                <a:gd name="connsiteX47" fmla="*/ 0 w 734000"/>
                <a:gd name="connsiteY47" fmla="*/ 314704 h 722205"/>
                <a:gd name="connsiteX0" fmla="*/ 348892 w 734000"/>
                <a:gd name="connsiteY0" fmla="*/ 334499 h 725930"/>
                <a:gd name="connsiteX1" fmla="*/ 361732 w 734000"/>
                <a:gd name="connsiteY1" fmla="*/ 325976 h 725930"/>
                <a:gd name="connsiteX2" fmla="*/ 387597 w 734000"/>
                <a:gd name="connsiteY2" fmla="*/ 333463 h 725930"/>
                <a:gd name="connsiteX3" fmla="*/ 399661 w 734000"/>
                <a:gd name="connsiteY3" fmla="*/ 374530 h 725930"/>
                <a:gd name="connsiteX4" fmla="*/ 398080 w 734000"/>
                <a:gd name="connsiteY4" fmla="*/ 379610 h 725930"/>
                <a:gd name="connsiteX5" fmla="*/ 348892 w 734000"/>
                <a:gd name="connsiteY5" fmla="*/ 334499 h 725930"/>
                <a:gd name="connsiteX6" fmla="*/ 230573 w 734000"/>
                <a:gd name="connsiteY6" fmla="*/ 278925 h 725930"/>
                <a:gd name="connsiteX7" fmla="*/ 274785 w 734000"/>
                <a:gd name="connsiteY7" fmla="*/ 319471 h 725930"/>
                <a:gd name="connsiteX8" fmla="*/ 274325 w 734000"/>
                <a:gd name="connsiteY8" fmla="*/ 319587 h 725930"/>
                <a:gd name="connsiteX9" fmla="*/ 239949 w 734000"/>
                <a:gd name="connsiteY9" fmla="*/ 309719 h 725930"/>
                <a:gd name="connsiteX10" fmla="*/ 239704 w 734000"/>
                <a:gd name="connsiteY10" fmla="*/ 310010 h 725930"/>
                <a:gd name="connsiteX11" fmla="*/ 230573 w 734000"/>
                <a:gd name="connsiteY11" fmla="*/ 278925 h 725930"/>
                <a:gd name="connsiteX12" fmla="*/ 175268 w 734000"/>
                <a:gd name="connsiteY12" fmla="*/ 228204 h 725930"/>
                <a:gd name="connsiteX13" fmla="*/ 188006 w 734000"/>
                <a:gd name="connsiteY13" fmla="*/ 239886 h 725930"/>
                <a:gd name="connsiteX14" fmla="*/ 176755 w 734000"/>
                <a:gd name="connsiteY14" fmla="*/ 263336 h 725930"/>
                <a:gd name="connsiteX15" fmla="*/ 204557 w 734000"/>
                <a:gd name="connsiteY15" fmla="*/ 351656 h 725930"/>
                <a:gd name="connsiteX16" fmla="*/ 280854 w 734000"/>
                <a:gd name="connsiteY16" fmla="*/ 374078 h 725930"/>
                <a:gd name="connsiteX17" fmla="*/ 318685 w 734000"/>
                <a:gd name="connsiteY17" fmla="*/ 359731 h 725930"/>
                <a:gd name="connsiteX18" fmla="*/ 369238 w 734000"/>
                <a:gd name="connsiteY18" fmla="*/ 406094 h 725930"/>
                <a:gd name="connsiteX19" fmla="*/ 326994 w 734000"/>
                <a:gd name="connsiteY19" fmla="*/ 394913 h 725930"/>
                <a:gd name="connsiteX20" fmla="*/ 284800 w 734000"/>
                <a:gd name="connsiteY20" fmla="*/ 436762 h 725930"/>
                <a:gd name="connsiteX21" fmla="*/ 385369 w 734000"/>
                <a:gd name="connsiteY21" fmla="*/ 463301 h 725930"/>
                <a:gd name="connsiteX22" fmla="*/ 415793 w 734000"/>
                <a:gd name="connsiteY22" fmla="*/ 448788 h 725930"/>
                <a:gd name="connsiteX23" fmla="*/ 428615 w 734000"/>
                <a:gd name="connsiteY23" fmla="*/ 460548 h 725930"/>
                <a:gd name="connsiteX24" fmla="*/ 454984 w 734000"/>
                <a:gd name="connsiteY24" fmla="*/ 431796 h 725930"/>
                <a:gd name="connsiteX25" fmla="*/ 443119 w 734000"/>
                <a:gd name="connsiteY25" fmla="*/ 420914 h 725930"/>
                <a:gd name="connsiteX26" fmla="*/ 457464 w 734000"/>
                <a:gd name="connsiteY26" fmla="*/ 388329 h 725930"/>
                <a:gd name="connsiteX27" fmla="*/ 428362 w 734000"/>
                <a:gd name="connsiteY27" fmla="*/ 290293 h 725930"/>
                <a:gd name="connsiteX28" fmla="*/ 428522 w 734000"/>
                <a:gd name="connsiteY28" fmla="*/ 290106 h 725930"/>
                <a:gd name="connsiteX29" fmla="*/ 427395 w 734000"/>
                <a:gd name="connsiteY29" fmla="*/ 289278 h 725930"/>
                <a:gd name="connsiteX30" fmla="*/ 427012 w 734000"/>
                <a:gd name="connsiteY30" fmla="*/ 288876 h 725930"/>
                <a:gd name="connsiteX31" fmla="*/ 426946 w 734000"/>
                <a:gd name="connsiteY31" fmla="*/ 288948 h 725930"/>
                <a:gd name="connsiteX32" fmla="*/ 352820 w 734000"/>
                <a:gd name="connsiteY32" fmla="*/ 269915 h 725930"/>
                <a:gd name="connsiteX33" fmla="*/ 307521 w 734000"/>
                <a:gd name="connsiteY33" fmla="*/ 296559 h 725930"/>
                <a:gd name="connsiteX34" fmla="*/ 255205 w 734000"/>
                <a:gd name="connsiteY34" fmla="*/ 248580 h 725930"/>
                <a:gd name="connsiteX35" fmla="*/ 258260 w 734000"/>
                <a:gd name="connsiteY35" fmla="*/ 247261 h 725930"/>
                <a:gd name="connsiteX36" fmla="*/ 296362 w 734000"/>
                <a:gd name="connsiteY36" fmla="*/ 257316 h 725930"/>
                <a:gd name="connsiteX37" fmla="*/ 334346 w 734000"/>
                <a:gd name="connsiteY37" fmla="*/ 219643 h 725930"/>
                <a:gd name="connsiteX38" fmla="*/ 243811 w 734000"/>
                <a:gd name="connsiteY38" fmla="*/ 195752 h 725930"/>
                <a:gd name="connsiteX39" fmla="*/ 213820 w 734000"/>
                <a:gd name="connsiteY39" fmla="*/ 210627 h 725930"/>
                <a:gd name="connsiteX40" fmla="*/ 201636 w 734000"/>
                <a:gd name="connsiteY40" fmla="*/ 199453 h 725930"/>
                <a:gd name="connsiteX41" fmla="*/ 175268 w 734000"/>
                <a:gd name="connsiteY41" fmla="*/ 228204 h 725930"/>
                <a:gd name="connsiteX42" fmla="*/ 0 w 734000"/>
                <a:gd name="connsiteY42" fmla="*/ 314704 h 725930"/>
                <a:gd name="connsiteX43" fmla="*/ 225227 w 734000"/>
                <a:gd name="connsiteY43" fmla="*/ 640 h 725930"/>
                <a:gd name="connsiteX44" fmla="*/ 674161 w 734000"/>
                <a:gd name="connsiteY44" fmla="*/ 143730 h 725930"/>
                <a:gd name="connsiteX45" fmla="*/ 625461 w 734000"/>
                <a:gd name="connsiteY45" fmla="*/ 591045 h 725930"/>
                <a:gd name="connsiteX46" fmla="*/ 151149 w 734000"/>
                <a:gd name="connsiteY46" fmla="*/ 642445 h 725930"/>
                <a:gd name="connsiteX47" fmla="*/ 0 w 734000"/>
                <a:gd name="connsiteY47" fmla="*/ 314704 h 725930"/>
                <a:gd name="connsiteX0" fmla="*/ 348892 w 734000"/>
                <a:gd name="connsiteY0" fmla="*/ 334499 h 750920"/>
                <a:gd name="connsiteX1" fmla="*/ 361732 w 734000"/>
                <a:gd name="connsiteY1" fmla="*/ 325976 h 750920"/>
                <a:gd name="connsiteX2" fmla="*/ 387597 w 734000"/>
                <a:gd name="connsiteY2" fmla="*/ 333463 h 750920"/>
                <a:gd name="connsiteX3" fmla="*/ 399661 w 734000"/>
                <a:gd name="connsiteY3" fmla="*/ 374530 h 750920"/>
                <a:gd name="connsiteX4" fmla="*/ 398080 w 734000"/>
                <a:gd name="connsiteY4" fmla="*/ 379610 h 750920"/>
                <a:gd name="connsiteX5" fmla="*/ 348892 w 734000"/>
                <a:gd name="connsiteY5" fmla="*/ 334499 h 750920"/>
                <a:gd name="connsiteX6" fmla="*/ 230573 w 734000"/>
                <a:gd name="connsiteY6" fmla="*/ 278925 h 750920"/>
                <a:gd name="connsiteX7" fmla="*/ 274785 w 734000"/>
                <a:gd name="connsiteY7" fmla="*/ 319471 h 750920"/>
                <a:gd name="connsiteX8" fmla="*/ 274325 w 734000"/>
                <a:gd name="connsiteY8" fmla="*/ 319587 h 750920"/>
                <a:gd name="connsiteX9" fmla="*/ 239949 w 734000"/>
                <a:gd name="connsiteY9" fmla="*/ 309719 h 750920"/>
                <a:gd name="connsiteX10" fmla="*/ 239704 w 734000"/>
                <a:gd name="connsiteY10" fmla="*/ 310010 h 750920"/>
                <a:gd name="connsiteX11" fmla="*/ 230573 w 734000"/>
                <a:gd name="connsiteY11" fmla="*/ 278925 h 750920"/>
                <a:gd name="connsiteX12" fmla="*/ 175268 w 734000"/>
                <a:gd name="connsiteY12" fmla="*/ 228204 h 750920"/>
                <a:gd name="connsiteX13" fmla="*/ 188006 w 734000"/>
                <a:gd name="connsiteY13" fmla="*/ 239886 h 750920"/>
                <a:gd name="connsiteX14" fmla="*/ 176755 w 734000"/>
                <a:gd name="connsiteY14" fmla="*/ 263336 h 750920"/>
                <a:gd name="connsiteX15" fmla="*/ 204557 w 734000"/>
                <a:gd name="connsiteY15" fmla="*/ 351656 h 750920"/>
                <a:gd name="connsiteX16" fmla="*/ 280854 w 734000"/>
                <a:gd name="connsiteY16" fmla="*/ 374078 h 750920"/>
                <a:gd name="connsiteX17" fmla="*/ 318685 w 734000"/>
                <a:gd name="connsiteY17" fmla="*/ 359731 h 750920"/>
                <a:gd name="connsiteX18" fmla="*/ 369238 w 734000"/>
                <a:gd name="connsiteY18" fmla="*/ 406094 h 750920"/>
                <a:gd name="connsiteX19" fmla="*/ 326994 w 734000"/>
                <a:gd name="connsiteY19" fmla="*/ 394913 h 750920"/>
                <a:gd name="connsiteX20" fmla="*/ 284800 w 734000"/>
                <a:gd name="connsiteY20" fmla="*/ 436762 h 750920"/>
                <a:gd name="connsiteX21" fmla="*/ 385369 w 734000"/>
                <a:gd name="connsiteY21" fmla="*/ 463301 h 750920"/>
                <a:gd name="connsiteX22" fmla="*/ 415793 w 734000"/>
                <a:gd name="connsiteY22" fmla="*/ 448788 h 750920"/>
                <a:gd name="connsiteX23" fmla="*/ 428615 w 734000"/>
                <a:gd name="connsiteY23" fmla="*/ 460548 h 750920"/>
                <a:gd name="connsiteX24" fmla="*/ 454984 w 734000"/>
                <a:gd name="connsiteY24" fmla="*/ 431796 h 750920"/>
                <a:gd name="connsiteX25" fmla="*/ 443119 w 734000"/>
                <a:gd name="connsiteY25" fmla="*/ 420914 h 750920"/>
                <a:gd name="connsiteX26" fmla="*/ 457464 w 734000"/>
                <a:gd name="connsiteY26" fmla="*/ 388329 h 750920"/>
                <a:gd name="connsiteX27" fmla="*/ 428362 w 734000"/>
                <a:gd name="connsiteY27" fmla="*/ 290293 h 750920"/>
                <a:gd name="connsiteX28" fmla="*/ 428522 w 734000"/>
                <a:gd name="connsiteY28" fmla="*/ 290106 h 750920"/>
                <a:gd name="connsiteX29" fmla="*/ 427395 w 734000"/>
                <a:gd name="connsiteY29" fmla="*/ 289278 h 750920"/>
                <a:gd name="connsiteX30" fmla="*/ 427012 w 734000"/>
                <a:gd name="connsiteY30" fmla="*/ 288876 h 750920"/>
                <a:gd name="connsiteX31" fmla="*/ 426946 w 734000"/>
                <a:gd name="connsiteY31" fmla="*/ 288948 h 750920"/>
                <a:gd name="connsiteX32" fmla="*/ 352820 w 734000"/>
                <a:gd name="connsiteY32" fmla="*/ 269915 h 750920"/>
                <a:gd name="connsiteX33" fmla="*/ 307521 w 734000"/>
                <a:gd name="connsiteY33" fmla="*/ 296559 h 750920"/>
                <a:gd name="connsiteX34" fmla="*/ 255205 w 734000"/>
                <a:gd name="connsiteY34" fmla="*/ 248580 h 750920"/>
                <a:gd name="connsiteX35" fmla="*/ 258260 w 734000"/>
                <a:gd name="connsiteY35" fmla="*/ 247261 h 750920"/>
                <a:gd name="connsiteX36" fmla="*/ 296362 w 734000"/>
                <a:gd name="connsiteY36" fmla="*/ 257316 h 750920"/>
                <a:gd name="connsiteX37" fmla="*/ 334346 w 734000"/>
                <a:gd name="connsiteY37" fmla="*/ 219643 h 750920"/>
                <a:gd name="connsiteX38" fmla="*/ 243811 w 734000"/>
                <a:gd name="connsiteY38" fmla="*/ 195752 h 750920"/>
                <a:gd name="connsiteX39" fmla="*/ 213820 w 734000"/>
                <a:gd name="connsiteY39" fmla="*/ 210627 h 750920"/>
                <a:gd name="connsiteX40" fmla="*/ 201636 w 734000"/>
                <a:gd name="connsiteY40" fmla="*/ 199453 h 750920"/>
                <a:gd name="connsiteX41" fmla="*/ 175268 w 734000"/>
                <a:gd name="connsiteY41" fmla="*/ 228204 h 750920"/>
                <a:gd name="connsiteX42" fmla="*/ 0 w 734000"/>
                <a:gd name="connsiteY42" fmla="*/ 314704 h 750920"/>
                <a:gd name="connsiteX43" fmla="*/ 225227 w 734000"/>
                <a:gd name="connsiteY43" fmla="*/ 640 h 750920"/>
                <a:gd name="connsiteX44" fmla="*/ 674161 w 734000"/>
                <a:gd name="connsiteY44" fmla="*/ 143730 h 750920"/>
                <a:gd name="connsiteX45" fmla="*/ 625461 w 734000"/>
                <a:gd name="connsiteY45" fmla="*/ 591045 h 750920"/>
                <a:gd name="connsiteX46" fmla="*/ 193414 w 734000"/>
                <a:gd name="connsiteY46" fmla="*/ 684437 h 750920"/>
                <a:gd name="connsiteX47" fmla="*/ 0 w 734000"/>
                <a:gd name="connsiteY47" fmla="*/ 314704 h 750920"/>
                <a:gd name="connsiteX0" fmla="*/ 348892 w 734000"/>
                <a:gd name="connsiteY0" fmla="*/ 334499 h 740807"/>
                <a:gd name="connsiteX1" fmla="*/ 361732 w 734000"/>
                <a:gd name="connsiteY1" fmla="*/ 325976 h 740807"/>
                <a:gd name="connsiteX2" fmla="*/ 387597 w 734000"/>
                <a:gd name="connsiteY2" fmla="*/ 333463 h 740807"/>
                <a:gd name="connsiteX3" fmla="*/ 399661 w 734000"/>
                <a:gd name="connsiteY3" fmla="*/ 374530 h 740807"/>
                <a:gd name="connsiteX4" fmla="*/ 398080 w 734000"/>
                <a:gd name="connsiteY4" fmla="*/ 379610 h 740807"/>
                <a:gd name="connsiteX5" fmla="*/ 348892 w 734000"/>
                <a:gd name="connsiteY5" fmla="*/ 334499 h 740807"/>
                <a:gd name="connsiteX6" fmla="*/ 230573 w 734000"/>
                <a:gd name="connsiteY6" fmla="*/ 278925 h 740807"/>
                <a:gd name="connsiteX7" fmla="*/ 274785 w 734000"/>
                <a:gd name="connsiteY7" fmla="*/ 319471 h 740807"/>
                <a:gd name="connsiteX8" fmla="*/ 274325 w 734000"/>
                <a:gd name="connsiteY8" fmla="*/ 319587 h 740807"/>
                <a:gd name="connsiteX9" fmla="*/ 239949 w 734000"/>
                <a:gd name="connsiteY9" fmla="*/ 309719 h 740807"/>
                <a:gd name="connsiteX10" fmla="*/ 239704 w 734000"/>
                <a:gd name="connsiteY10" fmla="*/ 310010 h 740807"/>
                <a:gd name="connsiteX11" fmla="*/ 230573 w 734000"/>
                <a:gd name="connsiteY11" fmla="*/ 278925 h 740807"/>
                <a:gd name="connsiteX12" fmla="*/ 175268 w 734000"/>
                <a:gd name="connsiteY12" fmla="*/ 228204 h 740807"/>
                <a:gd name="connsiteX13" fmla="*/ 188006 w 734000"/>
                <a:gd name="connsiteY13" fmla="*/ 239886 h 740807"/>
                <a:gd name="connsiteX14" fmla="*/ 176755 w 734000"/>
                <a:gd name="connsiteY14" fmla="*/ 263336 h 740807"/>
                <a:gd name="connsiteX15" fmla="*/ 204557 w 734000"/>
                <a:gd name="connsiteY15" fmla="*/ 351656 h 740807"/>
                <a:gd name="connsiteX16" fmla="*/ 280854 w 734000"/>
                <a:gd name="connsiteY16" fmla="*/ 374078 h 740807"/>
                <a:gd name="connsiteX17" fmla="*/ 318685 w 734000"/>
                <a:gd name="connsiteY17" fmla="*/ 359731 h 740807"/>
                <a:gd name="connsiteX18" fmla="*/ 369238 w 734000"/>
                <a:gd name="connsiteY18" fmla="*/ 406094 h 740807"/>
                <a:gd name="connsiteX19" fmla="*/ 326994 w 734000"/>
                <a:gd name="connsiteY19" fmla="*/ 394913 h 740807"/>
                <a:gd name="connsiteX20" fmla="*/ 284800 w 734000"/>
                <a:gd name="connsiteY20" fmla="*/ 436762 h 740807"/>
                <a:gd name="connsiteX21" fmla="*/ 385369 w 734000"/>
                <a:gd name="connsiteY21" fmla="*/ 463301 h 740807"/>
                <a:gd name="connsiteX22" fmla="*/ 415793 w 734000"/>
                <a:gd name="connsiteY22" fmla="*/ 448788 h 740807"/>
                <a:gd name="connsiteX23" fmla="*/ 428615 w 734000"/>
                <a:gd name="connsiteY23" fmla="*/ 460548 h 740807"/>
                <a:gd name="connsiteX24" fmla="*/ 454984 w 734000"/>
                <a:gd name="connsiteY24" fmla="*/ 431796 h 740807"/>
                <a:gd name="connsiteX25" fmla="*/ 443119 w 734000"/>
                <a:gd name="connsiteY25" fmla="*/ 420914 h 740807"/>
                <a:gd name="connsiteX26" fmla="*/ 457464 w 734000"/>
                <a:gd name="connsiteY26" fmla="*/ 388329 h 740807"/>
                <a:gd name="connsiteX27" fmla="*/ 428362 w 734000"/>
                <a:gd name="connsiteY27" fmla="*/ 290293 h 740807"/>
                <a:gd name="connsiteX28" fmla="*/ 428522 w 734000"/>
                <a:gd name="connsiteY28" fmla="*/ 290106 h 740807"/>
                <a:gd name="connsiteX29" fmla="*/ 427395 w 734000"/>
                <a:gd name="connsiteY29" fmla="*/ 289278 h 740807"/>
                <a:gd name="connsiteX30" fmla="*/ 427012 w 734000"/>
                <a:gd name="connsiteY30" fmla="*/ 288876 h 740807"/>
                <a:gd name="connsiteX31" fmla="*/ 426946 w 734000"/>
                <a:gd name="connsiteY31" fmla="*/ 288948 h 740807"/>
                <a:gd name="connsiteX32" fmla="*/ 352820 w 734000"/>
                <a:gd name="connsiteY32" fmla="*/ 269915 h 740807"/>
                <a:gd name="connsiteX33" fmla="*/ 307521 w 734000"/>
                <a:gd name="connsiteY33" fmla="*/ 296559 h 740807"/>
                <a:gd name="connsiteX34" fmla="*/ 255205 w 734000"/>
                <a:gd name="connsiteY34" fmla="*/ 248580 h 740807"/>
                <a:gd name="connsiteX35" fmla="*/ 258260 w 734000"/>
                <a:gd name="connsiteY35" fmla="*/ 247261 h 740807"/>
                <a:gd name="connsiteX36" fmla="*/ 296362 w 734000"/>
                <a:gd name="connsiteY36" fmla="*/ 257316 h 740807"/>
                <a:gd name="connsiteX37" fmla="*/ 334346 w 734000"/>
                <a:gd name="connsiteY37" fmla="*/ 219643 h 740807"/>
                <a:gd name="connsiteX38" fmla="*/ 243811 w 734000"/>
                <a:gd name="connsiteY38" fmla="*/ 195752 h 740807"/>
                <a:gd name="connsiteX39" fmla="*/ 213820 w 734000"/>
                <a:gd name="connsiteY39" fmla="*/ 210627 h 740807"/>
                <a:gd name="connsiteX40" fmla="*/ 201636 w 734000"/>
                <a:gd name="connsiteY40" fmla="*/ 199453 h 740807"/>
                <a:gd name="connsiteX41" fmla="*/ 175268 w 734000"/>
                <a:gd name="connsiteY41" fmla="*/ 228204 h 740807"/>
                <a:gd name="connsiteX42" fmla="*/ 0 w 734000"/>
                <a:gd name="connsiteY42" fmla="*/ 314704 h 740807"/>
                <a:gd name="connsiteX43" fmla="*/ 225227 w 734000"/>
                <a:gd name="connsiteY43" fmla="*/ 640 h 740807"/>
                <a:gd name="connsiteX44" fmla="*/ 674161 w 734000"/>
                <a:gd name="connsiteY44" fmla="*/ 143730 h 740807"/>
                <a:gd name="connsiteX45" fmla="*/ 625461 w 734000"/>
                <a:gd name="connsiteY45" fmla="*/ 591045 h 740807"/>
                <a:gd name="connsiteX46" fmla="*/ 175864 w 734000"/>
                <a:gd name="connsiteY46" fmla="*/ 668341 h 740807"/>
                <a:gd name="connsiteX47" fmla="*/ 0 w 734000"/>
                <a:gd name="connsiteY47" fmla="*/ 314704 h 740807"/>
                <a:gd name="connsiteX0" fmla="*/ 348892 w 734000"/>
                <a:gd name="connsiteY0" fmla="*/ 334499 h 746516"/>
                <a:gd name="connsiteX1" fmla="*/ 361732 w 734000"/>
                <a:gd name="connsiteY1" fmla="*/ 325976 h 746516"/>
                <a:gd name="connsiteX2" fmla="*/ 387597 w 734000"/>
                <a:gd name="connsiteY2" fmla="*/ 333463 h 746516"/>
                <a:gd name="connsiteX3" fmla="*/ 399661 w 734000"/>
                <a:gd name="connsiteY3" fmla="*/ 374530 h 746516"/>
                <a:gd name="connsiteX4" fmla="*/ 398080 w 734000"/>
                <a:gd name="connsiteY4" fmla="*/ 379610 h 746516"/>
                <a:gd name="connsiteX5" fmla="*/ 348892 w 734000"/>
                <a:gd name="connsiteY5" fmla="*/ 334499 h 746516"/>
                <a:gd name="connsiteX6" fmla="*/ 230573 w 734000"/>
                <a:gd name="connsiteY6" fmla="*/ 278925 h 746516"/>
                <a:gd name="connsiteX7" fmla="*/ 274785 w 734000"/>
                <a:gd name="connsiteY7" fmla="*/ 319471 h 746516"/>
                <a:gd name="connsiteX8" fmla="*/ 274325 w 734000"/>
                <a:gd name="connsiteY8" fmla="*/ 319587 h 746516"/>
                <a:gd name="connsiteX9" fmla="*/ 239949 w 734000"/>
                <a:gd name="connsiteY9" fmla="*/ 309719 h 746516"/>
                <a:gd name="connsiteX10" fmla="*/ 239704 w 734000"/>
                <a:gd name="connsiteY10" fmla="*/ 310010 h 746516"/>
                <a:gd name="connsiteX11" fmla="*/ 230573 w 734000"/>
                <a:gd name="connsiteY11" fmla="*/ 278925 h 746516"/>
                <a:gd name="connsiteX12" fmla="*/ 175268 w 734000"/>
                <a:gd name="connsiteY12" fmla="*/ 228204 h 746516"/>
                <a:gd name="connsiteX13" fmla="*/ 188006 w 734000"/>
                <a:gd name="connsiteY13" fmla="*/ 239886 h 746516"/>
                <a:gd name="connsiteX14" fmla="*/ 176755 w 734000"/>
                <a:gd name="connsiteY14" fmla="*/ 263336 h 746516"/>
                <a:gd name="connsiteX15" fmla="*/ 204557 w 734000"/>
                <a:gd name="connsiteY15" fmla="*/ 351656 h 746516"/>
                <a:gd name="connsiteX16" fmla="*/ 280854 w 734000"/>
                <a:gd name="connsiteY16" fmla="*/ 374078 h 746516"/>
                <a:gd name="connsiteX17" fmla="*/ 318685 w 734000"/>
                <a:gd name="connsiteY17" fmla="*/ 359731 h 746516"/>
                <a:gd name="connsiteX18" fmla="*/ 369238 w 734000"/>
                <a:gd name="connsiteY18" fmla="*/ 406094 h 746516"/>
                <a:gd name="connsiteX19" fmla="*/ 326994 w 734000"/>
                <a:gd name="connsiteY19" fmla="*/ 394913 h 746516"/>
                <a:gd name="connsiteX20" fmla="*/ 284800 w 734000"/>
                <a:gd name="connsiteY20" fmla="*/ 436762 h 746516"/>
                <a:gd name="connsiteX21" fmla="*/ 385369 w 734000"/>
                <a:gd name="connsiteY21" fmla="*/ 463301 h 746516"/>
                <a:gd name="connsiteX22" fmla="*/ 415793 w 734000"/>
                <a:gd name="connsiteY22" fmla="*/ 448788 h 746516"/>
                <a:gd name="connsiteX23" fmla="*/ 428615 w 734000"/>
                <a:gd name="connsiteY23" fmla="*/ 460548 h 746516"/>
                <a:gd name="connsiteX24" fmla="*/ 454984 w 734000"/>
                <a:gd name="connsiteY24" fmla="*/ 431796 h 746516"/>
                <a:gd name="connsiteX25" fmla="*/ 443119 w 734000"/>
                <a:gd name="connsiteY25" fmla="*/ 420914 h 746516"/>
                <a:gd name="connsiteX26" fmla="*/ 457464 w 734000"/>
                <a:gd name="connsiteY26" fmla="*/ 388329 h 746516"/>
                <a:gd name="connsiteX27" fmla="*/ 428362 w 734000"/>
                <a:gd name="connsiteY27" fmla="*/ 290293 h 746516"/>
                <a:gd name="connsiteX28" fmla="*/ 428522 w 734000"/>
                <a:gd name="connsiteY28" fmla="*/ 290106 h 746516"/>
                <a:gd name="connsiteX29" fmla="*/ 427395 w 734000"/>
                <a:gd name="connsiteY29" fmla="*/ 289278 h 746516"/>
                <a:gd name="connsiteX30" fmla="*/ 427012 w 734000"/>
                <a:gd name="connsiteY30" fmla="*/ 288876 h 746516"/>
                <a:gd name="connsiteX31" fmla="*/ 426946 w 734000"/>
                <a:gd name="connsiteY31" fmla="*/ 288948 h 746516"/>
                <a:gd name="connsiteX32" fmla="*/ 352820 w 734000"/>
                <a:gd name="connsiteY32" fmla="*/ 269915 h 746516"/>
                <a:gd name="connsiteX33" fmla="*/ 307521 w 734000"/>
                <a:gd name="connsiteY33" fmla="*/ 296559 h 746516"/>
                <a:gd name="connsiteX34" fmla="*/ 255205 w 734000"/>
                <a:gd name="connsiteY34" fmla="*/ 248580 h 746516"/>
                <a:gd name="connsiteX35" fmla="*/ 258260 w 734000"/>
                <a:gd name="connsiteY35" fmla="*/ 247261 h 746516"/>
                <a:gd name="connsiteX36" fmla="*/ 296362 w 734000"/>
                <a:gd name="connsiteY36" fmla="*/ 257316 h 746516"/>
                <a:gd name="connsiteX37" fmla="*/ 334346 w 734000"/>
                <a:gd name="connsiteY37" fmla="*/ 219643 h 746516"/>
                <a:gd name="connsiteX38" fmla="*/ 243811 w 734000"/>
                <a:gd name="connsiteY38" fmla="*/ 195752 h 746516"/>
                <a:gd name="connsiteX39" fmla="*/ 213820 w 734000"/>
                <a:gd name="connsiteY39" fmla="*/ 210627 h 746516"/>
                <a:gd name="connsiteX40" fmla="*/ 201636 w 734000"/>
                <a:gd name="connsiteY40" fmla="*/ 199453 h 746516"/>
                <a:gd name="connsiteX41" fmla="*/ 175268 w 734000"/>
                <a:gd name="connsiteY41" fmla="*/ 228204 h 746516"/>
                <a:gd name="connsiteX42" fmla="*/ 0 w 734000"/>
                <a:gd name="connsiteY42" fmla="*/ 314704 h 746516"/>
                <a:gd name="connsiteX43" fmla="*/ 225227 w 734000"/>
                <a:gd name="connsiteY43" fmla="*/ 640 h 746516"/>
                <a:gd name="connsiteX44" fmla="*/ 674161 w 734000"/>
                <a:gd name="connsiteY44" fmla="*/ 143730 h 746516"/>
                <a:gd name="connsiteX45" fmla="*/ 625461 w 734000"/>
                <a:gd name="connsiteY45" fmla="*/ 591045 h 746516"/>
                <a:gd name="connsiteX46" fmla="*/ 157724 w 734000"/>
                <a:gd name="connsiteY46" fmla="*/ 677553 h 746516"/>
                <a:gd name="connsiteX47" fmla="*/ 0 w 734000"/>
                <a:gd name="connsiteY47" fmla="*/ 314704 h 746516"/>
                <a:gd name="connsiteX0" fmla="*/ 348892 w 729929"/>
                <a:gd name="connsiteY0" fmla="*/ 332354 h 744371"/>
                <a:gd name="connsiteX1" fmla="*/ 361732 w 729929"/>
                <a:gd name="connsiteY1" fmla="*/ 323831 h 744371"/>
                <a:gd name="connsiteX2" fmla="*/ 387597 w 729929"/>
                <a:gd name="connsiteY2" fmla="*/ 331318 h 744371"/>
                <a:gd name="connsiteX3" fmla="*/ 399661 w 729929"/>
                <a:gd name="connsiteY3" fmla="*/ 372385 h 744371"/>
                <a:gd name="connsiteX4" fmla="*/ 398080 w 729929"/>
                <a:gd name="connsiteY4" fmla="*/ 377465 h 744371"/>
                <a:gd name="connsiteX5" fmla="*/ 348892 w 729929"/>
                <a:gd name="connsiteY5" fmla="*/ 332354 h 744371"/>
                <a:gd name="connsiteX6" fmla="*/ 230573 w 729929"/>
                <a:gd name="connsiteY6" fmla="*/ 276780 h 744371"/>
                <a:gd name="connsiteX7" fmla="*/ 274785 w 729929"/>
                <a:gd name="connsiteY7" fmla="*/ 317326 h 744371"/>
                <a:gd name="connsiteX8" fmla="*/ 274325 w 729929"/>
                <a:gd name="connsiteY8" fmla="*/ 317442 h 744371"/>
                <a:gd name="connsiteX9" fmla="*/ 239949 w 729929"/>
                <a:gd name="connsiteY9" fmla="*/ 307574 h 744371"/>
                <a:gd name="connsiteX10" fmla="*/ 239704 w 729929"/>
                <a:gd name="connsiteY10" fmla="*/ 307865 h 744371"/>
                <a:gd name="connsiteX11" fmla="*/ 230573 w 729929"/>
                <a:gd name="connsiteY11" fmla="*/ 276780 h 744371"/>
                <a:gd name="connsiteX12" fmla="*/ 175268 w 729929"/>
                <a:gd name="connsiteY12" fmla="*/ 226059 h 744371"/>
                <a:gd name="connsiteX13" fmla="*/ 188006 w 729929"/>
                <a:gd name="connsiteY13" fmla="*/ 237741 h 744371"/>
                <a:gd name="connsiteX14" fmla="*/ 176755 w 729929"/>
                <a:gd name="connsiteY14" fmla="*/ 261191 h 744371"/>
                <a:gd name="connsiteX15" fmla="*/ 204557 w 729929"/>
                <a:gd name="connsiteY15" fmla="*/ 349511 h 744371"/>
                <a:gd name="connsiteX16" fmla="*/ 280854 w 729929"/>
                <a:gd name="connsiteY16" fmla="*/ 371933 h 744371"/>
                <a:gd name="connsiteX17" fmla="*/ 318685 w 729929"/>
                <a:gd name="connsiteY17" fmla="*/ 357586 h 744371"/>
                <a:gd name="connsiteX18" fmla="*/ 369238 w 729929"/>
                <a:gd name="connsiteY18" fmla="*/ 403949 h 744371"/>
                <a:gd name="connsiteX19" fmla="*/ 326994 w 729929"/>
                <a:gd name="connsiteY19" fmla="*/ 392768 h 744371"/>
                <a:gd name="connsiteX20" fmla="*/ 284800 w 729929"/>
                <a:gd name="connsiteY20" fmla="*/ 434617 h 744371"/>
                <a:gd name="connsiteX21" fmla="*/ 385369 w 729929"/>
                <a:gd name="connsiteY21" fmla="*/ 461156 h 744371"/>
                <a:gd name="connsiteX22" fmla="*/ 415793 w 729929"/>
                <a:gd name="connsiteY22" fmla="*/ 446643 h 744371"/>
                <a:gd name="connsiteX23" fmla="*/ 428615 w 729929"/>
                <a:gd name="connsiteY23" fmla="*/ 458403 h 744371"/>
                <a:gd name="connsiteX24" fmla="*/ 454984 w 729929"/>
                <a:gd name="connsiteY24" fmla="*/ 429651 h 744371"/>
                <a:gd name="connsiteX25" fmla="*/ 443119 w 729929"/>
                <a:gd name="connsiteY25" fmla="*/ 418769 h 744371"/>
                <a:gd name="connsiteX26" fmla="*/ 457464 w 729929"/>
                <a:gd name="connsiteY26" fmla="*/ 386184 h 744371"/>
                <a:gd name="connsiteX27" fmla="*/ 428362 w 729929"/>
                <a:gd name="connsiteY27" fmla="*/ 288148 h 744371"/>
                <a:gd name="connsiteX28" fmla="*/ 428522 w 729929"/>
                <a:gd name="connsiteY28" fmla="*/ 287961 h 744371"/>
                <a:gd name="connsiteX29" fmla="*/ 427395 w 729929"/>
                <a:gd name="connsiteY29" fmla="*/ 287133 h 744371"/>
                <a:gd name="connsiteX30" fmla="*/ 427012 w 729929"/>
                <a:gd name="connsiteY30" fmla="*/ 286731 h 744371"/>
                <a:gd name="connsiteX31" fmla="*/ 426946 w 729929"/>
                <a:gd name="connsiteY31" fmla="*/ 286803 h 744371"/>
                <a:gd name="connsiteX32" fmla="*/ 352820 w 729929"/>
                <a:gd name="connsiteY32" fmla="*/ 267770 h 744371"/>
                <a:gd name="connsiteX33" fmla="*/ 307521 w 729929"/>
                <a:gd name="connsiteY33" fmla="*/ 294414 h 744371"/>
                <a:gd name="connsiteX34" fmla="*/ 255205 w 729929"/>
                <a:gd name="connsiteY34" fmla="*/ 246435 h 744371"/>
                <a:gd name="connsiteX35" fmla="*/ 258260 w 729929"/>
                <a:gd name="connsiteY35" fmla="*/ 245116 h 744371"/>
                <a:gd name="connsiteX36" fmla="*/ 296362 w 729929"/>
                <a:gd name="connsiteY36" fmla="*/ 255171 h 744371"/>
                <a:gd name="connsiteX37" fmla="*/ 334346 w 729929"/>
                <a:gd name="connsiteY37" fmla="*/ 217498 h 744371"/>
                <a:gd name="connsiteX38" fmla="*/ 243811 w 729929"/>
                <a:gd name="connsiteY38" fmla="*/ 193607 h 744371"/>
                <a:gd name="connsiteX39" fmla="*/ 213820 w 729929"/>
                <a:gd name="connsiteY39" fmla="*/ 208482 h 744371"/>
                <a:gd name="connsiteX40" fmla="*/ 201636 w 729929"/>
                <a:gd name="connsiteY40" fmla="*/ 197308 h 744371"/>
                <a:gd name="connsiteX41" fmla="*/ 175268 w 729929"/>
                <a:gd name="connsiteY41" fmla="*/ 226059 h 744371"/>
                <a:gd name="connsiteX42" fmla="*/ 0 w 729929"/>
                <a:gd name="connsiteY42" fmla="*/ 312559 h 744371"/>
                <a:gd name="connsiteX43" fmla="*/ 213524 w 729929"/>
                <a:gd name="connsiteY43" fmla="*/ 687 h 744371"/>
                <a:gd name="connsiteX44" fmla="*/ 674161 w 729929"/>
                <a:gd name="connsiteY44" fmla="*/ 141585 h 744371"/>
                <a:gd name="connsiteX45" fmla="*/ 625461 w 729929"/>
                <a:gd name="connsiteY45" fmla="*/ 588900 h 744371"/>
                <a:gd name="connsiteX46" fmla="*/ 157724 w 729929"/>
                <a:gd name="connsiteY46" fmla="*/ 675408 h 744371"/>
                <a:gd name="connsiteX47" fmla="*/ 0 w 729929"/>
                <a:gd name="connsiteY47" fmla="*/ 312559 h 74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729929" h="744371">
                  <a:moveTo>
                    <a:pt x="348892" y="332354"/>
                  </a:moveTo>
                  <a:cubicBezTo>
                    <a:pt x="352388" y="329029"/>
                    <a:pt x="356359" y="326061"/>
                    <a:pt x="361732" y="323831"/>
                  </a:cubicBezTo>
                  <a:cubicBezTo>
                    <a:pt x="374189" y="321528"/>
                    <a:pt x="379381" y="323623"/>
                    <a:pt x="387597" y="331318"/>
                  </a:cubicBezTo>
                  <a:cubicBezTo>
                    <a:pt x="398618" y="341866"/>
                    <a:pt x="403216" y="357495"/>
                    <a:pt x="399661" y="372385"/>
                  </a:cubicBezTo>
                  <a:cubicBezTo>
                    <a:pt x="399245" y="374125"/>
                    <a:pt x="398726" y="375825"/>
                    <a:pt x="398080" y="377465"/>
                  </a:cubicBezTo>
                  <a:lnTo>
                    <a:pt x="348892" y="332354"/>
                  </a:lnTo>
                  <a:close/>
                  <a:moveTo>
                    <a:pt x="230573" y="276780"/>
                  </a:moveTo>
                  <a:lnTo>
                    <a:pt x="274785" y="317326"/>
                  </a:lnTo>
                  <a:lnTo>
                    <a:pt x="274325" y="317442"/>
                  </a:lnTo>
                  <a:cubicBezTo>
                    <a:pt x="260660" y="320930"/>
                    <a:pt x="248947" y="316497"/>
                    <a:pt x="239949" y="307574"/>
                  </a:cubicBezTo>
                  <a:lnTo>
                    <a:pt x="239704" y="307865"/>
                  </a:lnTo>
                  <a:cubicBezTo>
                    <a:pt x="231988" y="299485"/>
                    <a:pt x="228612" y="288033"/>
                    <a:pt x="230573" y="276780"/>
                  </a:cubicBezTo>
                  <a:close/>
                  <a:moveTo>
                    <a:pt x="175268" y="226059"/>
                  </a:moveTo>
                  <a:lnTo>
                    <a:pt x="188006" y="237741"/>
                  </a:lnTo>
                  <a:cubicBezTo>
                    <a:pt x="183964" y="244973"/>
                    <a:pt x="178732" y="252910"/>
                    <a:pt x="176755" y="261191"/>
                  </a:cubicBezTo>
                  <a:cubicBezTo>
                    <a:pt x="168623" y="294406"/>
                    <a:pt x="174493" y="321834"/>
                    <a:pt x="204557" y="349511"/>
                  </a:cubicBezTo>
                  <a:cubicBezTo>
                    <a:pt x="225638" y="367415"/>
                    <a:pt x="253310" y="375547"/>
                    <a:pt x="280854" y="371933"/>
                  </a:cubicBezTo>
                  <a:cubicBezTo>
                    <a:pt x="294628" y="370126"/>
                    <a:pt x="307353" y="365103"/>
                    <a:pt x="318685" y="357586"/>
                  </a:cubicBezTo>
                  <a:lnTo>
                    <a:pt x="369238" y="403949"/>
                  </a:lnTo>
                  <a:cubicBezTo>
                    <a:pt x="354173" y="408155"/>
                    <a:pt x="338011" y="403876"/>
                    <a:pt x="326994" y="392768"/>
                  </a:cubicBezTo>
                  <a:lnTo>
                    <a:pt x="284800" y="434617"/>
                  </a:lnTo>
                  <a:cubicBezTo>
                    <a:pt x="311024" y="461056"/>
                    <a:pt x="349514" y="471213"/>
                    <a:pt x="385369" y="461156"/>
                  </a:cubicBezTo>
                  <a:cubicBezTo>
                    <a:pt x="396446" y="458049"/>
                    <a:pt x="406734" y="453163"/>
                    <a:pt x="415793" y="446643"/>
                  </a:cubicBezTo>
                  <a:lnTo>
                    <a:pt x="428615" y="458403"/>
                  </a:lnTo>
                  <a:lnTo>
                    <a:pt x="454984" y="429651"/>
                  </a:lnTo>
                  <a:lnTo>
                    <a:pt x="443119" y="418769"/>
                  </a:lnTo>
                  <a:cubicBezTo>
                    <a:pt x="449792" y="409048"/>
                    <a:pt x="454639" y="398018"/>
                    <a:pt x="457464" y="386184"/>
                  </a:cubicBezTo>
                  <a:cubicBezTo>
                    <a:pt x="465960" y="350599"/>
                    <a:pt x="454859" y="313234"/>
                    <a:pt x="428362" y="288148"/>
                  </a:cubicBezTo>
                  <a:lnTo>
                    <a:pt x="428522" y="287961"/>
                  </a:lnTo>
                  <a:cubicBezTo>
                    <a:pt x="428167" y="287660"/>
                    <a:pt x="427809" y="287362"/>
                    <a:pt x="427395" y="287133"/>
                  </a:cubicBezTo>
                  <a:lnTo>
                    <a:pt x="427012" y="286731"/>
                  </a:lnTo>
                  <a:lnTo>
                    <a:pt x="426946" y="286803"/>
                  </a:lnTo>
                  <a:cubicBezTo>
                    <a:pt x="406154" y="269986"/>
                    <a:pt x="378148" y="260836"/>
                    <a:pt x="352820" y="267770"/>
                  </a:cubicBezTo>
                  <a:cubicBezTo>
                    <a:pt x="336255" y="272306"/>
                    <a:pt x="322112" y="280465"/>
                    <a:pt x="307521" y="294414"/>
                  </a:cubicBezTo>
                  <a:lnTo>
                    <a:pt x="255205" y="246435"/>
                  </a:lnTo>
                  <a:lnTo>
                    <a:pt x="258260" y="245116"/>
                  </a:lnTo>
                  <a:cubicBezTo>
                    <a:pt x="271844" y="241306"/>
                    <a:pt x="286426" y="245154"/>
                    <a:pt x="296362" y="255171"/>
                  </a:cubicBezTo>
                  <a:lnTo>
                    <a:pt x="334346" y="217498"/>
                  </a:lnTo>
                  <a:cubicBezTo>
                    <a:pt x="310738" y="193696"/>
                    <a:pt x="276089" y="184553"/>
                    <a:pt x="243811" y="193607"/>
                  </a:cubicBezTo>
                  <a:cubicBezTo>
                    <a:pt x="232788" y="196699"/>
                    <a:pt x="222632" y="201748"/>
                    <a:pt x="213820" y="208482"/>
                  </a:cubicBezTo>
                  <a:lnTo>
                    <a:pt x="201636" y="197308"/>
                  </a:lnTo>
                  <a:lnTo>
                    <a:pt x="175268" y="226059"/>
                  </a:lnTo>
                  <a:close/>
                  <a:moveTo>
                    <a:pt x="0" y="312559"/>
                  </a:moveTo>
                  <a:cubicBezTo>
                    <a:pt x="86239" y="219186"/>
                    <a:pt x="140005" y="115419"/>
                    <a:pt x="213524" y="687"/>
                  </a:cubicBezTo>
                  <a:cubicBezTo>
                    <a:pt x="387144" y="-6545"/>
                    <a:pt x="605505" y="43550"/>
                    <a:pt x="674161" y="141585"/>
                  </a:cubicBezTo>
                  <a:cubicBezTo>
                    <a:pt x="742817" y="239621"/>
                    <a:pt x="769900" y="428944"/>
                    <a:pt x="625461" y="588900"/>
                  </a:cubicBezTo>
                  <a:cubicBezTo>
                    <a:pt x="475818" y="769866"/>
                    <a:pt x="290388" y="784759"/>
                    <a:pt x="157724" y="675408"/>
                  </a:cubicBezTo>
                  <a:cubicBezTo>
                    <a:pt x="49897" y="575950"/>
                    <a:pt x="27078" y="415510"/>
                    <a:pt x="0" y="31255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68" name="Diagonal Stripe 18">
              <a:extLst>
                <a:ext uri="{FF2B5EF4-FFF2-40B4-BE49-F238E27FC236}">
                  <a16:creationId xmlns:a16="http://schemas.microsoft.com/office/drawing/2014/main" xmlns="" id="{41E4CACA-364C-4FB9-B66E-853FE79AAEF2}"/>
                </a:ext>
              </a:extLst>
            </p:cNvPr>
            <p:cNvSpPr>
              <a:spLocks noChangeAspect="1"/>
            </p:cNvSpPr>
            <p:nvPr/>
          </p:nvSpPr>
          <p:spPr>
            <a:xfrm rot="1410982">
              <a:off x="4070449" y="2766517"/>
              <a:ext cx="664631" cy="516467"/>
            </a:xfrm>
            <a:custGeom>
              <a:avLst/>
              <a:gdLst>
                <a:gd name="connsiteX0" fmla="*/ 135309 w 423074"/>
                <a:gd name="connsiteY0" fmla="*/ 155518 h 479287"/>
                <a:gd name="connsiteX1" fmla="*/ 261657 w 423074"/>
                <a:gd name="connsiteY1" fmla="*/ 130931 h 479287"/>
                <a:gd name="connsiteX2" fmla="*/ 348802 w 423074"/>
                <a:gd name="connsiteY2" fmla="*/ 966 h 479287"/>
                <a:gd name="connsiteX3" fmla="*/ 413416 w 423074"/>
                <a:gd name="connsiteY3" fmla="*/ 197164 h 479287"/>
                <a:gd name="connsiteX4" fmla="*/ 341534 w 423074"/>
                <a:gd name="connsiteY4" fmla="*/ 362378 h 479287"/>
                <a:gd name="connsiteX5" fmla="*/ 185579 w 423074"/>
                <a:gd name="connsiteY5" fmla="*/ 451773 h 479287"/>
                <a:gd name="connsiteX6" fmla="*/ 28008 w 423074"/>
                <a:gd name="connsiteY6" fmla="*/ 458124 h 479287"/>
                <a:gd name="connsiteX7" fmla="*/ 98259 w 423074"/>
                <a:gd name="connsiteY7" fmla="*/ 319870 h 479287"/>
                <a:gd name="connsiteX8" fmla="*/ 135309 w 423074"/>
                <a:gd name="connsiteY8" fmla="*/ 155518 h 479287"/>
                <a:gd name="connsiteX0" fmla="*/ 135309 w 423074"/>
                <a:gd name="connsiteY0" fmla="*/ 155518 h 479287"/>
                <a:gd name="connsiteX1" fmla="*/ 261657 w 423074"/>
                <a:gd name="connsiteY1" fmla="*/ 130931 h 479287"/>
                <a:gd name="connsiteX2" fmla="*/ 348802 w 423074"/>
                <a:gd name="connsiteY2" fmla="*/ 966 h 479287"/>
                <a:gd name="connsiteX3" fmla="*/ 413416 w 423074"/>
                <a:gd name="connsiteY3" fmla="*/ 197164 h 479287"/>
                <a:gd name="connsiteX4" fmla="*/ 353673 w 423074"/>
                <a:gd name="connsiteY4" fmla="*/ 370280 h 479287"/>
                <a:gd name="connsiteX5" fmla="*/ 185579 w 423074"/>
                <a:gd name="connsiteY5" fmla="*/ 451773 h 479287"/>
                <a:gd name="connsiteX6" fmla="*/ 28008 w 423074"/>
                <a:gd name="connsiteY6" fmla="*/ 458124 h 479287"/>
                <a:gd name="connsiteX7" fmla="*/ 98259 w 423074"/>
                <a:gd name="connsiteY7" fmla="*/ 319870 h 479287"/>
                <a:gd name="connsiteX8" fmla="*/ 135309 w 423074"/>
                <a:gd name="connsiteY8" fmla="*/ 155518 h 479287"/>
                <a:gd name="connsiteX0" fmla="*/ 135309 w 423074"/>
                <a:gd name="connsiteY0" fmla="*/ 155518 h 479287"/>
                <a:gd name="connsiteX1" fmla="*/ 261657 w 423074"/>
                <a:gd name="connsiteY1" fmla="*/ 130931 h 479287"/>
                <a:gd name="connsiteX2" fmla="*/ 348802 w 423074"/>
                <a:gd name="connsiteY2" fmla="*/ 966 h 479287"/>
                <a:gd name="connsiteX3" fmla="*/ 413416 w 423074"/>
                <a:gd name="connsiteY3" fmla="*/ 197164 h 479287"/>
                <a:gd name="connsiteX4" fmla="*/ 324557 w 423074"/>
                <a:gd name="connsiteY4" fmla="*/ 398504 h 479287"/>
                <a:gd name="connsiteX5" fmla="*/ 185579 w 423074"/>
                <a:gd name="connsiteY5" fmla="*/ 451773 h 479287"/>
                <a:gd name="connsiteX6" fmla="*/ 28008 w 423074"/>
                <a:gd name="connsiteY6" fmla="*/ 458124 h 479287"/>
                <a:gd name="connsiteX7" fmla="*/ 98259 w 423074"/>
                <a:gd name="connsiteY7" fmla="*/ 319870 h 479287"/>
                <a:gd name="connsiteX8" fmla="*/ 135309 w 423074"/>
                <a:gd name="connsiteY8" fmla="*/ 155518 h 479287"/>
                <a:gd name="connsiteX0" fmla="*/ 135309 w 423074"/>
                <a:gd name="connsiteY0" fmla="*/ 155518 h 479287"/>
                <a:gd name="connsiteX1" fmla="*/ 261657 w 423074"/>
                <a:gd name="connsiteY1" fmla="*/ 130931 h 479287"/>
                <a:gd name="connsiteX2" fmla="*/ 348802 w 423074"/>
                <a:gd name="connsiteY2" fmla="*/ 966 h 479287"/>
                <a:gd name="connsiteX3" fmla="*/ 413416 w 423074"/>
                <a:gd name="connsiteY3" fmla="*/ 197164 h 479287"/>
                <a:gd name="connsiteX4" fmla="*/ 389082 w 423074"/>
                <a:gd name="connsiteY4" fmla="*/ 331670 h 479287"/>
                <a:gd name="connsiteX5" fmla="*/ 324557 w 423074"/>
                <a:gd name="connsiteY5" fmla="*/ 398504 h 479287"/>
                <a:gd name="connsiteX6" fmla="*/ 185579 w 423074"/>
                <a:gd name="connsiteY6" fmla="*/ 451773 h 479287"/>
                <a:gd name="connsiteX7" fmla="*/ 28008 w 423074"/>
                <a:gd name="connsiteY7" fmla="*/ 458124 h 479287"/>
                <a:gd name="connsiteX8" fmla="*/ 98259 w 423074"/>
                <a:gd name="connsiteY8" fmla="*/ 319870 h 479287"/>
                <a:gd name="connsiteX9" fmla="*/ 135309 w 423074"/>
                <a:gd name="connsiteY9" fmla="*/ 155518 h 479287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89082 w 423074"/>
                <a:gd name="connsiteY4" fmla="*/ 331670 h 479286"/>
                <a:gd name="connsiteX5" fmla="*/ 324557 w 423074"/>
                <a:gd name="connsiteY5" fmla="*/ 398504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98593 w 423074"/>
                <a:gd name="connsiteY4" fmla="*/ 317776 h 479286"/>
                <a:gd name="connsiteX5" fmla="*/ 324557 w 423074"/>
                <a:gd name="connsiteY5" fmla="*/ 398504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98593 w 423074"/>
                <a:gd name="connsiteY4" fmla="*/ 317776 h 479286"/>
                <a:gd name="connsiteX5" fmla="*/ 330849 w 423074"/>
                <a:gd name="connsiteY5" fmla="*/ 388120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98593 w 423074"/>
                <a:gd name="connsiteY4" fmla="*/ 317776 h 479286"/>
                <a:gd name="connsiteX5" fmla="*/ 330849 w 423074"/>
                <a:gd name="connsiteY5" fmla="*/ 388120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98593 w 423074"/>
                <a:gd name="connsiteY4" fmla="*/ 317776 h 479286"/>
                <a:gd name="connsiteX5" fmla="*/ 338605 w 423074"/>
                <a:gd name="connsiteY5" fmla="*/ 372615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98593 w 423074"/>
                <a:gd name="connsiteY4" fmla="*/ 317776 h 479286"/>
                <a:gd name="connsiteX5" fmla="*/ 338605 w 423074"/>
                <a:gd name="connsiteY5" fmla="*/ 372615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88499 w 423074"/>
                <a:gd name="connsiteY4" fmla="*/ 318212 h 479286"/>
                <a:gd name="connsiteX5" fmla="*/ 338605 w 423074"/>
                <a:gd name="connsiteY5" fmla="*/ 372615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423074"/>
                <a:gd name="connsiteY0" fmla="*/ 155518 h 479286"/>
                <a:gd name="connsiteX1" fmla="*/ 261657 w 423074"/>
                <a:gd name="connsiteY1" fmla="*/ 130931 h 479286"/>
                <a:gd name="connsiteX2" fmla="*/ 348802 w 423074"/>
                <a:gd name="connsiteY2" fmla="*/ 966 h 479286"/>
                <a:gd name="connsiteX3" fmla="*/ 413416 w 423074"/>
                <a:gd name="connsiteY3" fmla="*/ 197164 h 479286"/>
                <a:gd name="connsiteX4" fmla="*/ 388499 w 423074"/>
                <a:gd name="connsiteY4" fmla="*/ 318212 h 479286"/>
                <a:gd name="connsiteX5" fmla="*/ 347379 w 423074"/>
                <a:gd name="connsiteY5" fmla="*/ 380662 h 479286"/>
                <a:gd name="connsiteX6" fmla="*/ 185579 w 423074"/>
                <a:gd name="connsiteY6" fmla="*/ 451772 h 479286"/>
                <a:gd name="connsiteX7" fmla="*/ 28008 w 423074"/>
                <a:gd name="connsiteY7" fmla="*/ 458124 h 479286"/>
                <a:gd name="connsiteX8" fmla="*/ 98259 w 423074"/>
                <a:gd name="connsiteY8" fmla="*/ 319870 h 479286"/>
                <a:gd name="connsiteX9" fmla="*/ 135309 w 423074"/>
                <a:gd name="connsiteY9" fmla="*/ 155518 h 479286"/>
                <a:gd name="connsiteX0" fmla="*/ 135309 w 396687"/>
                <a:gd name="connsiteY0" fmla="*/ 155783 h 479551"/>
                <a:gd name="connsiteX1" fmla="*/ 261657 w 396687"/>
                <a:gd name="connsiteY1" fmla="*/ 131196 h 479551"/>
                <a:gd name="connsiteX2" fmla="*/ 348802 w 396687"/>
                <a:gd name="connsiteY2" fmla="*/ 1231 h 479551"/>
                <a:gd name="connsiteX3" fmla="*/ 384590 w 396687"/>
                <a:gd name="connsiteY3" fmla="*/ 232383 h 479551"/>
                <a:gd name="connsiteX4" fmla="*/ 388499 w 396687"/>
                <a:gd name="connsiteY4" fmla="*/ 318477 h 479551"/>
                <a:gd name="connsiteX5" fmla="*/ 347379 w 396687"/>
                <a:gd name="connsiteY5" fmla="*/ 380927 h 479551"/>
                <a:gd name="connsiteX6" fmla="*/ 185579 w 396687"/>
                <a:gd name="connsiteY6" fmla="*/ 452037 h 479551"/>
                <a:gd name="connsiteX7" fmla="*/ 28008 w 396687"/>
                <a:gd name="connsiteY7" fmla="*/ 458389 h 479551"/>
                <a:gd name="connsiteX8" fmla="*/ 98259 w 396687"/>
                <a:gd name="connsiteY8" fmla="*/ 320135 h 479551"/>
                <a:gd name="connsiteX9" fmla="*/ 135309 w 396687"/>
                <a:gd name="connsiteY9" fmla="*/ 155783 h 479551"/>
                <a:gd name="connsiteX0" fmla="*/ 135309 w 411002"/>
                <a:gd name="connsiteY0" fmla="*/ 155418 h 479186"/>
                <a:gd name="connsiteX1" fmla="*/ 261657 w 411002"/>
                <a:gd name="connsiteY1" fmla="*/ 130831 h 479186"/>
                <a:gd name="connsiteX2" fmla="*/ 348802 w 411002"/>
                <a:gd name="connsiteY2" fmla="*/ 866 h 479186"/>
                <a:gd name="connsiteX3" fmla="*/ 400684 w 411002"/>
                <a:gd name="connsiteY3" fmla="*/ 214469 h 479186"/>
                <a:gd name="connsiteX4" fmla="*/ 388499 w 411002"/>
                <a:gd name="connsiteY4" fmla="*/ 318112 h 479186"/>
                <a:gd name="connsiteX5" fmla="*/ 347379 w 411002"/>
                <a:gd name="connsiteY5" fmla="*/ 380562 h 479186"/>
                <a:gd name="connsiteX6" fmla="*/ 185579 w 411002"/>
                <a:gd name="connsiteY6" fmla="*/ 451672 h 479186"/>
                <a:gd name="connsiteX7" fmla="*/ 28008 w 411002"/>
                <a:gd name="connsiteY7" fmla="*/ 458024 h 479186"/>
                <a:gd name="connsiteX8" fmla="*/ 98259 w 411002"/>
                <a:gd name="connsiteY8" fmla="*/ 319770 h 479186"/>
                <a:gd name="connsiteX9" fmla="*/ 135309 w 411002"/>
                <a:gd name="connsiteY9" fmla="*/ 155418 h 479186"/>
                <a:gd name="connsiteX0" fmla="*/ 135309 w 421299"/>
                <a:gd name="connsiteY0" fmla="*/ 155195 h 478963"/>
                <a:gd name="connsiteX1" fmla="*/ 261657 w 421299"/>
                <a:gd name="connsiteY1" fmla="*/ 130608 h 478963"/>
                <a:gd name="connsiteX2" fmla="*/ 348802 w 421299"/>
                <a:gd name="connsiteY2" fmla="*/ 643 h 478963"/>
                <a:gd name="connsiteX3" fmla="*/ 411949 w 421299"/>
                <a:gd name="connsiteY3" fmla="*/ 201961 h 478963"/>
                <a:gd name="connsiteX4" fmla="*/ 388499 w 421299"/>
                <a:gd name="connsiteY4" fmla="*/ 317889 h 478963"/>
                <a:gd name="connsiteX5" fmla="*/ 347379 w 421299"/>
                <a:gd name="connsiteY5" fmla="*/ 380339 h 478963"/>
                <a:gd name="connsiteX6" fmla="*/ 185579 w 421299"/>
                <a:gd name="connsiteY6" fmla="*/ 451449 h 478963"/>
                <a:gd name="connsiteX7" fmla="*/ 28008 w 421299"/>
                <a:gd name="connsiteY7" fmla="*/ 457801 h 478963"/>
                <a:gd name="connsiteX8" fmla="*/ 98259 w 421299"/>
                <a:gd name="connsiteY8" fmla="*/ 319547 h 478963"/>
                <a:gd name="connsiteX9" fmla="*/ 135309 w 421299"/>
                <a:gd name="connsiteY9" fmla="*/ 155195 h 478963"/>
                <a:gd name="connsiteX0" fmla="*/ 135309 w 421299"/>
                <a:gd name="connsiteY0" fmla="*/ 155195 h 478963"/>
                <a:gd name="connsiteX1" fmla="*/ 261657 w 421299"/>
                <a:gd name="connsiteY1" fmla="*/ 130608 h 478963"/>
                <a:gd name="connsiteX2" fmla="*/ 348802 w 421299"/>
                <a:gd name="connsiteY2" fmla="*/ 643 h 478963"/>
                <a:gd name="connsiteX3" fmla="*/ 411949 w 421299"/>
                <a:gd name="connsiteY3" fmla="*/ 201961 h 478963"/>
                <a:gd name="connsiteX4" fmla="*/ 388499 w 421299"/>
                <a:gd name="connsiteY4" fmla="*/ 317889 h 478963"/>
                <a:gd name="connsiteX5" fmla="*/ 347379 w 421299"/>
                <a:gd name="connsiteY5" fmla="*/ 380339 h 478963"/>
                <a:gd name="connsiteX6" fmla="*/ 185579 w 421299"/>
                <a:gd name="connsiteY6" fmla="*/ 451449 h 478963"/>
                <a:gd name="connsiteX7" fmla="*/ 28008 w 421299"/>
                <a:gd name="connsiteY7" fmla="*/ 457801 h 478963"/>
                <a:gd name="connsiteX8" fmla="*/ 98259 w 421299"/>
                <a:gd name="connsiteY8" fmla="*/ 319547 h 478963"/>
                <a:gd name="connsiteX9" fmla="*/ 135309 w 421299"/>
                <a:gd name="connsiteY9" fmla="*/ 155195 h 478963"/>
                <a:gd name="connsiteX0" fmla="*/ 135309 w 421299"/>
                <a:gd name="connsiteY0" fmla="*/ 155195 h 478963"/>
                <a:gd name="connsiteX1" fmla="*/ 261657 w 421299"/>
                <a:gd name="connsiteY1" fmla="*/ 130608 h 478963"/>
                <a:gd name="connsiteX2" fmla="*/ 348802 w 421299"/>
                <a:gd name="connsiteY2" fmla="*/ 643 h 478963"/>
                <a:gd name="connsiteX3" fmla="*/ 411949 w 421299"/>
                <a:gd name="connsiteY3" fmla="*/ 201961 h 478963"/>
                <a:gd name="connsiteX4" fmla="*/ 388499 w 421299"/>
                <a:gd name="connsiteY4" fmla="*/ 317889 h 478963"/>
                <a:gd name="connsiteX5" fmla="*/ 298292 w 421299"/>
                <a:gd name="connsiteY5" fmla="*/ 380924 h 478963"/>
                <a:gd name="connsiteX6" fmla="*/ 185579 w 421299"/>
                <a:gd name="connsiteY6" fmla="*/ 451449 h 478963"/>
                <a:gd name="connsiteX7" fmla="*/ 28008 w 421299"/>
                <a:gd name="connsiteY7" fmla="*/ 457801 h 478963"/>
                <a:gd name="connsiteX8" fmla="*/ 98259 w 421299"/>
                <a:gd name="connsiteY8" fmla="*/ 319547 h 478963"/>
                <a:gd name="connsiteX9" fmla="*/ 135309 w 421299"/>
                <a:gd name="connsiteY9" fmla="*/ 155195 h 478963"/>
                <a:gd name="connsiteX0" fmla="*/ 135309 w 421299"/>
                <a:gd name="connsiteY0" fmla="*/ 155195 h 478963"/>
                <a:gd name="connsiteX1" fmla="*/ 261657 w 421299"/>
                <a:gd name="connsiteY1" fmla="*/ 130608 h 478963"/>
                <a:gd name="connsiteX2" fmla="*/ 348802 w 421299"/>
                <a:gd name="connsiteY2" fmla="*/ 643 h 478963"/>
                <a:gd name="connsiteX3" fmla="*/ 411949 w 421299"/>
                <a:gd name="connsiteY3" fmla="*/ 201961 h 478963"/>
                <a:gd name="connsiteX4" fmla="*/ 371696 w 421299"/>
                <a:gd name="connsiteY4" fmla="*/ 332990 h 478963"/>
                <a:gd name="connsiteX5" fmla="*/ 298292 w 421299"/>
                <a:gd name="connsiteY5" fmla="*/ 380924 h 478963"/>
                <a:gd name="connsiteX6" fmla="*/ 185579 w 421299"/>
                <a:gd name="connsiteY6" fmla="*/ 451449 h 478963"/>
                <a:gd name="connsiteX7" fmla="*/ 28008 w 421299"/>
                <a:gd name="connsiteY7" fmla="*/ 457801 h 478963"/>
                <a:gd name="connsiteX8" fmla="*/ 98259 w 421299"/>
                <a:gd name="connsiteY8" fmla="*/ 319547 h 478963"/>
                <a:gd name="connsiteX9" fmla="*/ 135309 w 421299"/>
                <a:gd name="connsiteY9" fmla="*/ 155195 h 478963"/>
                <a:gd name="connsiteX0" fmla="*/ 135309 w 421299"/>
                <a:gd name="connsiteY0" fmla="*/ 155195 h 478963"/>
                <a:gd name="connsiteX1" fmla="*/ 261657 w 421299"/>
                <a:gd name="connsiteY1" fmla="*/ 130608 h 478963"/>
                <a:gd name="connsiteX2" fmla="*/ 348802 w 421299"/>
                <a:gd name="connsiteY2" fmla="*/ 643 h 478963"/>
                <a:gd name="connsiteX3" fmla="*/ 411949 w 421299"/>
                <a:gd name="connsiteY3" fmla="*/ 201961 h 478963"/>
                <a:gd name="connsiteX4" fmla="*/ 384515 w 421299"/>
                <a:gd name="connsiteY4" fmla="*/ 332607 h 478963"/>
                <a:gd name="connsiteX5" fmla="*/ 298292 w 421299"/>
                <a:gd name="connsiteY5" fmla="*/ 380924 h 478963"/>
                <a:gd name="connsiteX6" fmla="*/ 185579 w 421299"/>
                <a:gd name="connsiteY6" fmla="*/ 451449 h 478963"/>
                <a:gd name="connsiteX7" fmla="*/ 28008 w 421299"/>
                <a:gd name="connsiteY7" fmla="*/ 457801 h 478963"/>
                <a:gd name="connsiteX8" fmla="*/ 98259 w 421299"/>
                <a:gd name="connsiteY8" fmla="*/ 319547 h 478963"/>
                <a:gd name="connsiteX9" fmla="*/ 135309 w 421299"/>
                <a:gd name="connsiteY9" fmla="*/ 155195 h 478963"/>
                <a:gd name="connsiteX0" fmla="*/ 135309 w 406960"/>
                <a:gd name="connsiteY0" fmla="*/ 155910 h 479678"/>
                <a:gd name="connsiteX1" fmla="*/ 261657 w 406960"/>
                <a:gd name="connsiteY1" fmla="*/ 131323 h 479678"/>
                <a:gd name="connsiteX2" fmla="*/ 348802 w 406960"/>
                <a:gd name="connsiteY2" fmla="*/ 1358 h 479678"/>
                <a:gd name="connsiteX3" fmla="*/ 396200 w 406960"/>
                <a:gd name="connsiteY3" fmla="*/ 238096 h 479678"/>
                <a:gd name="connsiteX4" fmla="*/ 384515 w 406960"/>
                <a:gd name="connsiteY4" fmla="*/ 333322 h 479678"/>
                <a:gd name="connsiteX5" fmla="*/ 298292 w 406960"/>
                <a:gd name="connsiteY5" fmla="*/ 381639 h 479678"/>
                <a:gd name="connsiteX6" fmla="*/ 185579 w 406960"/>
                <a:gd name="connsiteY6" fmla="*/ 452164 h 479678"/>
                <a:gd name="connsiteX7" fmla="*/ 28008 w 406960"/>
                <a:gd name="connsiteY7" fmla="*/ 458516 h 479678"/>
                <a:gd name="connsiteX8" fmla="*/ 98259 w 406960"/>
                <a:gd name="connsiteY8" fmla="*/ 320262 h 479678"/>
                <a:gd name="connsiteX9" fmla="*/ 135309 w 406960"/>
                <a:gd name="connsiteY9" fmla="*/ 155910 h 479678"/>
                <a:gd name="connsiteX0" fmla="*/ 135309 w 406960"/>
                <a:gd name="connsiteY0" fmla="*/ 155910 h 479678"/>
                <a:gd name="connsiteX1" fmla="*/ 261657 w 406960"/>
                <a:gd name="connsiteY1" fmla="*/ 131323 h 479678"/>
                <a:gd name="connsiteX2" fmla="*/ 348802 w 406960"/>
                <a:gd name="connsiteY2" fmla="*/ 1358 h 479678"/>
                <a:gd name="connsiteX3" fmla="*/ 396200 w 406960"/>
                <a:gd name="connsiteY3" fmla="*/ 238096 h 479678"/>
                <a:gd name="connsiteX4" fmla="*/ 384515 w 406960"/>
                <a:gd name="connsiteY4" fmla="*/ 333322 h 479678"/>
                <a:gd name="connsiteX5" fmla="*/ 298292 w 406960"/>
                <a:gd name="connsiteY5" fmla="*/ 381639 h 479678"/>
                <a:gd name="connsiteX6" fmla="*/ 185579 w 406960"/>
                <a:gd name="connsiteY6" fmla="*/ 452164 h 479678"/>
                <a:gd name="connsiteX7" fmla="*/ 28008 w 406960"/>
                <a:gd name="connsiteY7" fmla="*/ 458516 h 479678"/>
                <a:gd name="connsiteX8" fmla="*/ 98259 w 406960"/>
                <a:gd name="connsiteY8" fmla="*/ 320262 h 479678"/>
                <a:gd name="connsiteX9" fmla="*/ 135309 w 406960"/>
                <a:gd name="connsiteY9" fmla="*/ 155910 h 479678"/>
                <a:gd name="connsiteX0" fmla="*/ 135309 w 408346"/>
                <a:gd name="connsiteY0" fmla="*/ 68274 h 392042"/>
                <a:gd name="connsiteX1" fmla="*/ 261657 w 408346"/>
                <a:gd name="connsiteY1" fmla="*/ 43687 h 392042"/>
                <a:gd name="connsiteX2" fmla="*/ 358989 w 408346"/>
                <a:gd name="connsiteY2" fmla="*/ 2779 h 392042"/>
                <a:gd name="connsiteX3" fmla="*/ 396200 w 408346"/>
                <a:gd name="connsiteY3" fmla="*/ 150460 h 392042"/>
                <a:gd name="connsiteX4" fmla="*/ 384515 w 408346"/>
                <a:gd name="connsiteY4" fmla="*/ 245686 h 392042"/>
                <a:gd name="connsiteX5" fmla="*/ 298292 w 408346"/>
                <a:gd name="connsiteY5" fmla="*/ 294003 h 392042"/>
                <a:gd name="connsiteX6" fmla="*/ 185579 w 408346"/>
                <a:gd name="connsiteY6" fmla="*/ 364528 h 392042"/>
                <a:gd name="connsiteX7" fmla="*/ 28008 w 408346"/>
                <a:gd name="connsiteY7" fmla="*/ 370880 h 392042"/>
                <a:gd name="connsiteX8" fmla="*/ 98259 w 408346"/>
                <a:gd name="connsiteY8" fmla="*/ 232626 h 392042"/>
                <a:gd name="connsiteX9" fmla="*/ 135309 w 408346"/>
                <a:gd name="connsiteY9" fmla="*/ 68274 h 392042"/>
                <a:gd name="connsiteX0" fmla="*/ 135309 w 409233"/>
                <a:gd name="connsiteY0" fmla="*/ 65611 h 389379"/>
                <a:gd name="connsiteX1" fmla="*/ 261657 w 409233"/>
                <a:gd name="connsiteY1" fmla="*/ 41024 h 389379"/>
                <a:gd name="connsiteX2" fmla="*/ 358989 w 409233"/>
                <a:gd name="connsiteY2" fmla="*/ 116 h 389379"/>
                <a:gd name="connsiteX3" fmla="*/ 396200 w 409233"/>
                <a:gd name="connsiteY3" fmla="*/ 147797 h 389379"/>
                <a:gd name="connsiteX4" fmla="*/ 384515 w 409233"/>
                <a:gd name="connsiteY4" fmla="*/ 243023 h 389379"/>
                <a:gd name="connsiteX5" fmla="*/ 298292 w 409233"/>
                <a:gd name="connsiteY5" fmla="*/ 291340 h 389379"/>
                <a:gd name="connsiteX6" fmla="*/ 185579 w 409233"/>
                <a:gd name="connsiteY6" fmla="*/ 361865 h 389379"/>
                <a:gd name="connsiteX7" fmla="*/ 28008 w 409233"/>
                <a:gd name="connsiteY7" fmla="*/ 368217 h 389379"/>
                <a:gd name="connsiteX8" fmla="*/ 98259 w 409233"/>
                <a:gd name="connsiteY8" fmla="*/ 229963 h 389379"/>
                <a:gd name="connsiteX9" fmla="*/ 135309 w 409233"/>
                <a:gd name="connsiteY9" fmla="*/ 65611 h 389379"/>
                <a:gd name="connsiteX0" fmla="*/ 135309 w 408718"/>
                <a:gd name="connsiteY0" fmla="*/ 67195 h 390963"/>
                <a:gd name="connsiteX1" fmla="*/ 245806 w 408718"/>
                <a:gd name="connsiteY1" fmla="*/ 59894 h 390963"/>
                <a:gd name="connsiteX2" fmla="*/ 358989 w 408718"/>
                <a:gd name="connsiteY2" fmla="*/ 1700 h 390963"/>
                <a:gd name="connsiteX3" fmla="*/ 396200 w 408718"/>
                <a:gd name="connsiteY3" fmla="*/ 149381 h 390963"/>
                <a:gd name="connsiteX4" fmla="*/ 384515 w 408718"/>
                <a:gd name="connsiteY4" fmla="*/ 244607 h 390963"/>
                <a:gd name="connsiteX5" fmla="*/ 298292 w 408718"/>
                <a:gd name="connsiteY5" fmla="*/ 292924 h 390963"/>
                <a:gd name="connsiteX6" fmla="*/ 185579 w 408718"/>
                <a:gd name="connsiteY6" fmla="*/ 363449 h 390963"/>
                <a:gd name="connsiteX7" fmla="*/ 28008 w 408718"/>
                <a:gd name="connsiteY7" fmla="*/ 369801 h 390963"/>
                <a:gd name="connsiteX8" fmla="*/ 98259 w 408718"/>
                <a:gd name="connsiteY8" fmla="*/ 231547 h 390963"/>
                <a:gd name="connsiteX9" fmla="*/ 135309 w 408718"/>
                <a:gd name="connsiteY9" fmla="*/ 67195 h 390963"/>
                <a:gd name="connsiteX0" fmla="*/ 135309 w 411878"/>
                <a:gd name="connsiteY0" fmla="*/ 68198 h 391966"/>
                <a:gd name="connsiteX1" fmla="*/ 358989 w 411878"/>
                <a:gd name="connsiteY1" fmla="*/ 2703 h 391966"/>
                <a:gd name="connsiteX2" fmla="*/ 396200 w 411878"/>
                <a:gd name="connsiteY2" fmla="*/ 150384 h 391966"/>
                <a:gd name="connsiteX3" fmla="*/ 384515 w 411878"/>
                <a:gd name="connsiteY3" fmla="*/ 245610 h 391966"/>
                <a:gd name="connsiteX4" fmla="*/ 298292 w 411878"/>
                <a:gd name="connsiteY4" fmla="*/ 293927 h 391966"/>
                <a:gd name="connsiteX5" fmla="*/ 185579 w 411878"/>
                <a:gd name="connsiteY5" fmla="*/ 364452 h 391966"/>
                <a:gd name="connsiteX6" fmla="*/ 28008 w 411878"/>
                <a:gd name="connsiteY6" fmla="*/ 370804 h 391966"/>
                <a:gd name="connsiteX7" fmla="*/ 98259 w 411878"/>
                <a:gd name="connsiteY7" fmla="*/ 232550 h 391966"/>
                <a:gd name="connsiteX8" fmla="*/ 135309 w 411878"/>
                <a:gd name="connsiteY8" fmla="*/ 68198 h 391966"/>
                <a:gd name="connsiteX0" fmla="*/ 135309 w 411115"/>
                <a:gd name="connsiteY0" fmla="*/ 70375 h 394143"/>
                <a:gd name="connsiteX1" fmla="*/ 358989 w 411115"/>
                <a:gd name="connsiteY1" fmla="*/ 4880 h 394143"/>
                <a:gd name="connsiteX2" fmla="*/ 396200 w 411115"/>
                <a:gd name="connsiteY2" fmla="*/ 152561 h 394143"/>
                <a:gd name="connsiteX3" fmla="*/ 384515 w 411115"/>
                <a:gd name="connsiteY3" fmla="*/ 247787 h 394143"/>
                <a:gd name="connsiteX4" fmla="*/ 298292 w 411115"/>
                <a:gd name="connsiteY4" fmla="*/ 296104 h 394143"/>
                <a:gd name="connsiteX5" fmla="*/ 185579 w 411115"/>
                <a:gd name="connsiteY5" fmla="*/ 366629 h 394143"/>
                <a:gd name="connsiteX6" fmla="*/ 28008 w 411115"/>
                <a:gd name="connsiteY6" fmla="*/ 372981 h 394143"/>
                <a:gd name="connsiteX7" fmla="*/ 98259 w 411115"/>
                <a:gd name="connsiteY7" fmla="*/ 234727 h 394143"/>
                <a:gd name="connsiteX8" fmla="*/ 135309 w 411115"/>
                <a:gd name="connsiteY8" fmla="*/ 70375 h 394143"/>
                <a:gd name="connsiteX0" fmla="*/ 135309 w 411115"/>
                <a:gd name="connsiteY0" fmla="*/ 70375 h 394143"/>
                <a:gd name="connsiteX1" fmla="*/ 358989 w 411115"/>
                <a:gd name="connsiteY1" fmla="*/ 4880 h 394143"/>
                <a:gd name="connsiteX2" fmla="*/ 396200 w 411115"/>
                <a:gd name="connsiteY2" fmla="*/ 152561 h 394143"/>
                <a:gd name="connsiteX3" fmla="*/ 384515 w 411115"/>
                <a:gd name="connsiteY3" fmla="*/ 247787 h 394143"/>
                <a:gd name="connsiteX4" fmla="*/ 298292 w 411115"/>
                <a:gd name="connsiteY4" fmla="*/ 296104 h 394143"/>
                <a:gd name="connsiteX5" fmla="*/ 185579 w 411115"/>
                <a:gd name="connsiteY5" fmla="*/ 366629 h 394143"/>
                <a:gd name="connsiteX6" fmla="*/ 28008 w 411115"/>
                <a:gd name="connsiteY6" fmla="*/ 372981 h 394143"/>
                <a:gd name="connsiteX7" fmla="*/ 98259 w 411115"/>
                <a:gd name="connsiteY7" fmla="*/ 234727 h 394143"/>
                <a:gd name="connsiteX8" fmla="*/ 135309 w 411115"/>
                <a:gd name="connsiteY8" fmla="*/ 70375 h 394143"/>
                <a:gd name="connsiteX0" fmla="*/ 108083 w 383889"/>
                <a:gd name="connsiteY0" fmla="*/ 70375 h 394143"/>
                <a:gd name="connsiteX1" fmla="*/ 331763 w 383889"/>
                <a:gd name="connsiteY1" fmla="*/ 4880 h 394143"/>
                <a:gd name="connsiteX2" fmla="*/ 368974 w 383889"/>
                <a:gd name="connsiteY2" fmla="*/ 152561 h 394143"/>
                <a:gd name="connsiteX3" fmla="*/ 357289 w 383889"/>
                <a:gd name="connsiteY3" fmla="*/ 247787 h 394143"/>
                <a:gd name="connsiteX4" fmla="*/ 271066 w 383889"/>
                <a:gd name="connsiteY4" fmla="*/ 296104 h 394143"/>
                <a:gd name="connsiteX5" fmla="*/ 158353 w 383889"/>
                <a:gd name="connsiteY5" fmla="*/ 366629 h 394143"/>
                <a:gd name="connsiteX6" fmla="*/ 782 w 383889"/>
                <a:gd name="connsiteY6" fmla="*/ 372981 h 394143"/>
                <a:gd name="connsiteX7" fmla="*/ 108083 w 383889"/>
                <a:gd name="connsiteY7" fmla="*/ 70375 h 394143"/>
                <a:gd name="connsiteX0" fmla="*/ 117788 w 393594"/>
                <a:gd name="connsiteY0" fmla="*/ 70375 h 394143"/>
                <a:gd name="connsiteX1" fmla="*/ 341468 w 393594"/>
                <a:gd name="connsiteY1" fmla="*/ 4880 h 394143"/>
                <a:gd name="connsiteX2" fmla="*/ 378679 w 393594"/>
                <a:gd name="connsiteY2" fmla="*/ 152561 h 394143"/>
                <a:gd name="connsiteX3" fmla="*/ 366994 w 393594"/>
                <a:gd name="connsiteY3" fmla="*/ 247787 h 394143"/>
                <a:gd name="connsiteX4" fmla="*/ 280771 w 393594"/>
                <a:gd name="connsiteY4" fmla="*/ 296104 h 394143"/>
                <a:gd name="connsiteX5" fmla="*/ 168058 w 393594"/>
                <a:gd name="connsiteY5" fmla="*/ 366629 h 394143"/>
                <a:gd name="connsiteX6" fmla="*/ 10487 w 393594"/>
                <a:gd name="connsiteY6" fmla="*/ 372981 h 394143"/>
                <a:gd name="connsiteX7" fmla="*/ 117788 w 393594"/>
                <a:gd name="connsiteY7" fmla="*/ 70375 h 394143"/>
                <a:gd name="connsiteX0" fmla="*/ 126405 w 402211"/>
                <a:gd name="connsiteY0" fmla="*/ 70375 h 394143"/>
                <a:gd name="connsiteX1" fmla="*/ 350085 w 402211"/>
                <a:gd name="connsiteY1" fmla="*/ 4880 h 394143"/>
                <a:gd name="connsiteX2" fmla="*/ 387296 w 402211"/>
                <a:gd name="connsiteY2" fmla="*/ 152561 h 394143"/>
                <a:gd name="connsiteX3" fmla="*/ 375611 w 402211"/>
                <a:gd name="connsiteY3" fmla="*/ 247787 h 394143"/>
                <a:gd name="connsiteX4" fmla="*/ 289388 w 402211"/>
                <a:gd name="connsiteY4" fmla="*/ 296104 h 394143"/>
                <a:gd name="connsiteX5" fmla="*/ 176675 w 402211"/>
                <a:gd name="connsiteY5" fmla="*/ 366629 h 394143"/>
                <a:gd name="connsiteX6" fmla="*/ 19104 w 402211"/>
                <a:gd name="connsiteY6" fmla="*/ 372981 h 394143"/>
                <a:gd name="connsiteX7" fmla="*/ 126405 w 402211"/>
                <a:gd name="connsiteY7" fmla="*/ 70375 h 394143"/>
                <a:gd name="connsiteX0" fmla="*/ 123649 w 399455"/>
                <a:gd name="connsiteY0" fmla="*/ 70375 h 394143"/>
                <a:gd name="connsiteX1" fmla="*/ 347329 w 399455"/>
                <a:gd name="connsiteY1" fmla="*/ 4880 h 394143"/>
                <a:gd name="connsiteX2" fmla="*/ 384540 w 399455"/>
                <a:gd name="connsiteY2" fmla="*/ 152561 h 394143"/>
                <a:gd name="connsiteX3" fmla="*/ 372855 w 399455"/>
                <a:gd name="connsiteY3" fmla="*/ 247787 h 394143"/>
                <a:gd name="connsiteX4" fmla="*/ 286632 w 399455"/>
                <a:gd name="connsiteY4" fmla="*/ 296104 h 394143"/>
                <a:gd name="connsiteX5" fmla="*/ 173919 w 399455"/>
                <a:gd name="connsiteY5" fmla="*/ 366629 h 394143"/>
                <a:gd name="connsiteX6" fmla="*/ 16348 w 399455"/>
                <a:gd name="connsiteY6" fmla="*/ 372981 h 394143"/>
                <a:gd name="connsiteX7" fmla="*/ 123649 w 399455"/>
                <a:gd name="connsiteY7" fmla="*/ 70375 h 394143"/>
                <a:gd name="connsiteX0" fmla="*/ 109959 w 385765"/>
                <a:gd name="connsiteY0" fmla="*/ 70375 h 394143"/>
                <a:gd name="connsiteX1" fmla="*/ 333639 w 385765"/>
                <a:gd name="connsiteY1" fmla="*/ 4880 h 394143"/>
                <a:gd name="connsiteX2" fmla="*/ 370850 w 385765"/>
                <a:gd name="connsiteY2" fmla="*/ 152561 h 394143"/>
                <a:gd name="connsiteX3" fmla="*/ 359165 w 385765"/>
                <a:gd name="connsiteY3" fmla="*/ 247787 h 394143"/>
                <a:gd name="connsiteX4" fmla="*/ 272942 w 385765"/>
                <a:gd name="connsiteY4" fmla="*/ 296104 h 394143"/>
                <a:gd name="connsiteX5" fmla="*/ 160229 w 385765"/>
                <a:gd name="connsiteY5" fmla="*/ 366629 h 394143"/>
                <a:gd name="connsiteX6" fmla="*/ 2658 w 385765"/>
                <a:gd name="connsiteY6" fmla="*/ 372981 h 394143"/>
                <a:gd name="connsiteX7" fmla="*/ 64907 w 385765"/>
                <a:gd name="connsiteY7" fmla="*/ 229031 h 394143"/>
                <a:gd name="connsiteX8" fmla="*/ 109959 w 385765"/>
                <a:gd name="connsiteY8" fmla="*/ 70375 h 394143"/>
                <a:gd name="connsiteX0" fmla="*/ 111916 w 387722"/>
                <a:gd name="connsiteY0" fmla="*/ 70375 h 394143"/>
                <a:gd name="connsiteX1" fmla="*/ 335596 w 387722"/>
                <a:gd name="connsiteY1" fmla="*/ 4880 h 394143"/>
                <a:gd name="connsiteX2" fmla="*/ 372807 w 387722"/>
                <a:gd name="connsiteY2" fmla="*/ 152561 h 394143"/>
                <a:gd name="connsiteX3" fmla="*/ 361122 w 387722"/>
                <a:gd name="connsiteY3" fmla="*/ 247787 h 394143"/>
                <a:gd name="connsiteX4" fmla="*/ 274899 w 387722"/>
                <a:gd name="connsiteY4" fmla="*/ 296104 h 394143"/>
                <a:gd name="connsiteX5" fmla="*/ 162186 w 387722"/>
                <a:gd name="connsiteY5" fmla="*/ 366629 h 394143"/>
                <a:gd name="connsiteX6" fmla="*/ 4615 w 387722"/>
                <a:gd name="connsiteY6" fmla="*/ 372981 h 394143"/>
                <a:gd name="connsiteX7" fmla="*/ 66864 w 387722"/>
                <a:gd name="connsiteY7" fmla="*/ 229031 h 394143"/>
                <a:gd name="connsiteX8" fmla="*/ 111916 w 38772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952"/>
                <a:gd name="connsiteY0" fmla="*/ 70375 h 394143"/>
                <a:gd name="connsiteX1" fmla="*/ 352826 w 404952"/>
                <a:gd name="connsiteY1" fmla="*/ 4880 h 394143"/>
                <a:gd name="connsiteX2" fmla="*/ 390037 w 404952"/>
                <a:gd name="connsiteY2" fmla="*/ 152561 h 394143"/>
                <a:gd name="connsiteX3" fmla="*/ 378352 w 404952"/>
                <a:gd name="connsiteY3" fmla="*/ 247787 h 394143"/>
                <a:gd name="connsiteX4" fmla="*/ 292129 w 404952"/>
                <a:gd name="connsiteY4" fmla="*/ 296104 h 394143"/>
                <a:gd name="connsiteX5" fmla="*/ 179416 w 404952"/>
                <a:gd name="connsiteY5" fmla="*/ 366629 h 394143"/>
                <a:gd name="connsiteX6" fmla="*/ 21845 w 404952"/>
                <a:gd name="connsiteY6" fmla="*/ 372981 h 394143"/>
                <a:gd name="connsiteX7" fmla="*/ 84094 w 404952"/>
                <a:gd name="connsiteY7" fmla="*/ 229031 h 394143"/>
                <a:gd name="connsiteX8" fmla="*/ 129146 w 404952"/>
                <a:gd name="connsiteY8" fmla="*/ 70375 h 394143"/>
                <a:gd name="connsiteX0" fmla="*/ 129146 w 404600"/>
                <a:gd name="connsiteY0" fmla="*/ 71361 h 395129"/>
                <a:gd name="connsiteX1" fmla="*/ 352826 w 404600"/>
                <a:gd name="connsiteY1" fmla="*/ 5866 h 395129"/>
                <a:gd name="connsiteX2" fmla="*/ 390037 w 404600"/>
                <a:gd name="connsiteY2" fmla="*/ 153547 h 395129"/>
                <a:gd name="connsiteX3" fmla="*/ 378352 w 404600"/>
                <a:gd name="connsiteY3" fmla="*/ 248773 h 395129"/>
                <a:gd name="connsiteX4" fmla="*/ 292129 w 404600"/>
                <a:gd name="connsiteY4" fmla="*/ 297090 h 395129"/>
                <a:gd name="connsiteX5" fmla="*/ 179416 w 404600"/>
                <a:gd name="connsiteY5" fmla="*/ 367615 h 395129"/>
                <a:gd name="connsiteX6" fmla="*/ 21845 w 404600"/>
                <a:gd name="connsiteY6" fmla="*/ 373967 h 395129"/>
                <a:gd name="connsiteX7" fmla="*/ 84094 w 404600"/>
                <a:gd name="connsiteY7" fmla="*/ 230017 h 395129"/>
                <a:gd name="connsiteX8" fmla="*/ 129146 w 404600"/>
                <a:gd name="connsiteY8" fmla="*/ 71361 h 395129"/>
                <a:gd name="connsiteX0" fmla="*/ 129146 w 404600"/>
                <a:gd name="connsiteY0" fmla="*/ 71361 h 395129"/>
                <a:gd name="connsiteX1" fmla="*/ 352826 w 404600"/>
                <a:gd name="connsiteY1" fmla="*/ 5866 h 395129"/>
                <a:gd name="connsiteX2" fmla="*/ 390037 w 404600"/>
                <a:gd name="connsiteY2" fmla="*/ 153547 h 395129"/>
                <a:gd name="connsiteX3" fmla="*/ 378352 w 404600"/>
                <a:gd name="connsiteY3" fmla="*/ 248773 h 395129"/>
                <a:gd name="connsiteX4" fmla="*/ 292129 w 404600"/>
                <a:gd name="connsiteY4" fmla="*/ 297090 h 395129"/>
                <a:gd name="connsiteX5" fmla="*/ 179416 w 404600"/>
                <a:gd name="connsiteY5" fmla="*/ 367615 h 395129"/>
                <a:gd name="connsiteX6" fmla="*/ 21845 w 404600"/>
                <a:gd name="connsiteY6" fmla="*/ 373967 h 395129"/>
                <a:gd name="connsiteX7" fmla="*/ 84094 w 404600"/>
                <a:gd name="connsiteY7" fmla="*/ 230017 h 395129"/>
                <a:gd name="connsiteX8" fmla="*/ 129146 w 404600"/>
                <a:gd name="connsiteY8" fmla="*/ 71361 h 395129"/>
                <a:gd name="connsiteX0" fmla="*/ 129146 w 408520"/>
                <a:gd name="connsiteY0" fmla="*/ 73202 h 396970"/>
                <a:gd name="connsiteX1" fmla="*/ 352826 w 408520"/>
                <a:gd name="connsiteY1" fmla="*/ 7707 h 396970"/>
                <a:gd name="connsiteX2" fmla="*/ 390037 w 408520"/>
                <a:gd name="connsiteY2" fmla="*/ 155388 h 396970"/>
                <a:gd name="connsiteX3" fmla="*/ 378352 w 408520"/>
                <a:gd name="connsiteY3" fmla="*/ 250614 h 396970"/>
                <a:gd name="connsiteX4" fmla="*/ 292129 w 408520"/>
                <a:gd name="connsiteY4" fmla="*/ 298931 h 396970"/>
                <a:gd name="connsiteX5" fmla="*/ 179416 w 408520"/>
                <a:gd name="connsiteY5" fmla="*/ 369456 h 396970"/>
                <a:gd name="connsiteX6" fmla="*/ 21845 w 408520"/>
                <a:gd name="connsiteY6" fmla="*/ 375808 h 396970"/>
                <a:gd name="connsiteX7" fmla="*/ 84094 w 408520"/>
                <a:gd name="connsiteY7" fmla="*/ 231858 h 396970"/>
                <a:gd name="connsiteX8" fmla="*/ 129146 w 408520"/>
                <a:gd name="connsiteY8" fmla="*/ 73202 h 396970"/>
                <a:gd name="connsiteX0" fmla="*/ 129146 w 423602"/>
                <a:gd name="connsiteY0" fmla="*/ 70985 h 394753"/>
                <a:gd name="connsiteX1" fmla="*/ 352826 w 423602"/>
                <a:gd name="connsiteY1" fmla="*/ 5490 h 394753"/>
                <a:gd name="connsiteX2" fmla="*/ 390037 w 423602"/>
                <a:gd name="connsiteY2" fmla="*/ 153171 h 394753"/>
                <a:gd name="connsiteX3" fmla="*/ 378352 w 423602"/>
                <a:gd name="connsiteY3" fmla="*/ 248397 h 394753"/>
                <a:gd name="connsiteX4" fmla="*/ 292129 w 423602"/>
                <a:gd name="connsiteY4" fmla="*/ 296714 h 394753"/>
                <a:gd name="connsiteX5" fmla="*/ 179416 w 423602"/>
                <a:gd name="connsiteY5" fmla="*/ 367239 h 394753"/>
                <a:gd name="connsiteX6" fmla="*/ 21845 w 423602"/>
                <a:gd name="connsiteY6" fmla="*/ 373591 h 394753"/>
                <a:gd name="connsiteX7" fmla="*/ 84094 w 423602"/>
                <a:gd name="connsiteY7" fmla="*/ 229641 h 394753"/>
                <a:gd name="connsiteX8" fmla="*/ 129146 w 423602"/>
                <a:gd name="connsiteY8" fmla="*/ 70985 h 394753"/>
                <a:gd name="connsiteX0" fmla="*/ 129146 w 423602"/>
                <a:gd name="connsiteY0" fmla="*/ 70985 h 385169"/>
                <a:gd name="connsiteX1" fmla="*/ 352826 w 423602"/>
                <a:gd name="connsiteY1" fmla="*/ 5490 h 385169"/>
                <a:gd name="connsiteX2" fmla="*/ 390037 w 423602"/>
                <a:gd name="connsiteY2" fmla="*/ 153171 h 385169"/>
                <a:gd name="connsiteX3" fmla="*/ 378352 w 423602"/>
                <a:gd name="connsiteY3" fmla="*/ 248397 h 385169"/>
                <a:gd name="connsiteX4" fmla="*/ 292129 w 423602"/>
                <a:gd name="connsiteY4" fmla="*/ 296714 h 385169"/>
                <a:gd name="connsiteX5" fmla="*/ 209601 w 423602"/>
                <a:gd name="connsiteY5" fmla="*/ 341119 h 385169"/>
                <a:gd name="connsiteX6" fmla="*/ 21845 w 423602"/>
                <a:gd name="connsiteY6" fmla="*/ 373591 h 385169"/>
                <a:gd name="connsiteX7" fmla="*/ 84094 w 423602"/>
                <a:gd name="connsiteY7" fmla="*/ 229641 h 385169"/>
                <a:gd name="connsiteX8" fmla="*/ 129146 w 423602"/>
                <a:gd name="connsiteY8" fmla="*/ 70985 h 385169"/>
                <a:gd name="connsiteX0" fmla="*/ 129146 w 423602"/>
                <a:gd name="connsiteY0" fmla="*/ 70985 h 382096"/>
                <a:gd name="connsiteX1" fmla="*/ 352826 w 423602"/>
                <a:gd name="connsiteY1" fmla="*/ 5490 h 382096"/>
                <a:gd name="connsiteX2" fmla="*/ 390037 w 423602"/>
                <a:gd name="connsiteY2" fmla="*/ 153171 h 382096"/>
                <a:gd name="connsiteX3" fmla="*/ 378352 w 423602"/>
                <a:gd name="connsiteY3" fmla="*/ 248397 h 382096"/>
                <a:gd name="connsiteX4" fmla="*/ 292129 w 423602"/>
                <a:gd name="connsiteY4" fmla="*/ 296714 h 382096"/>
                <a:gd name="connsiteX5" fmla="*/ 217952 w 423602"/>
                <a:gd name="connsiteY5" fmla="*/ 324499 h 382096"/>
                <a:gd name="connsiteX6" fmla="*/ 21845 w 423602"/>
                <a:gd name="connsiteY6" fmla="*/ 373591 h 382096"/>
                <a:gd name="connsiteX7" fmla="*/ 84094 w 423602"/>
                <a:gd name="connsiteY7" fmla="*/ 229641 h 382096"/>
                <a:gd name="connsiteX8" fmla="*/ 129146 w 423602"/>
                <a:gd name="connsiteY8" fmla="*/ 70985 h 382096"/>
                <a:gd name="connsiteX0" fmla="*/ 129146 w 423602"/>
                <a:gd name="connsiteY0" fmla="*/ 70985 h 383015"/>
                <a:gd name="connsiteX1" fmla="*/ 352826 w 423602"/>
                <a:gd name="connsiteY1" fmla="*/ 5490 h 383015"/>
                <a:gd name="connsiteX2" fmla="*/ 390037 w 423602"/>
                <a:gd name="connsiteY2" fmla="*/ 153171 h 383015"/>
                <a:gd name="connsiteX3" fmla="*/ 378352 w 423602"/>
                <a:gd name="connsiteY3" fmla="*/ 248397 h 383015"/>
                <a:gd name="connsiteX4" fmla="*/ 292129 w 423602"/>
                <a:gd name="connsiteY4" fmla="*/ 296714 h 383015"/>
                <a:gd name="connsiteX5" fmla="*/ 217952 w 423602"/>
                <a:gd name="connsiteY5" fmla="*/ 324499 h 383015"/>
                <a:gd name="connsiteX6" fmla="*/ 21845 w 423602"/>
                <a:gd name="connsiteY6" fmla="*/ 373591 h 383015"/>
                <a:gd name="connsiteX7" fmla="*/ 84094 w 423602"/>
                <a:gd name="connsiteY7" fmla="*/ 229641 h 383015"/>
                <a:gd name="connsiteX8" fmla="*/ 129146 w 423602"/>
                <a:gd name="connsiteY8" fmla="*/ 70985 h 383015"/>
                <a:gd name="connsiteX0" fmla="*/ 129146 w 423602"/>
                <a:gd name="connsiteY0" fmla="*/ 70985 h 383015"/>
                <a:gd name="connsiteX1" fmla="*/ 352826 w 423602"/>
                <a:gd name="connsiteY1" fmla="*/ 5490 h 383015"/>
                <a:gd name="connsiteX2" fmla="*/ 390037 w 423602"/>
                <a:gd name="connsiteY2" fmla="*/ 153171 h 383015"/>
                <a:gd name="connsiteX3" fmla="*/ 378352 w 423602"/>
                <a:gd name="connsiteY3" fmla="*/ 248397 h 383015"/>
                <a:gd name="connsiteX4" fmla="*/ 292129 w 423602"/>
                <a:gd name="connsiteY4" fmla="*/ 296714 h 383015"/>
                <a:gd name="connsiteX5" fmla="*/ 217952 w 423602"/>
                <a:gd name="connsiteY5" fmla="*/ 324499 h 383015"/>
                <a:gd name="connsiteX6" fmla="*/ 21845 w 423602"/>
                <a:gd name="connsiteY6" fmla="*/ 373591 h 383015"/>
                <a:gd name="connsiteX7" fmla="*/ 84094 w 423602"/>
                <a:gd name="connsiteY7" fmla="*/ 229641 h 383015"/>
                <a:gd name="connsiteX8" fmla="*/ 129146 w 423602"/>
                <a:gd name="connsiteY8" fmla="*/ 70985 h 383015"/>
                <a:gd name="connsiteX0" fmla="*/ 129146 w 423602"/>
                <a:gd name="connsiteY0" fmla="*/ 70985 h 383015"/>
                <a:gd name="connsiteX1" fmla="*/ 352826 w 423602"/>
                <a:gd name="connsiteY1" fmla="*/ 5490 h 383015"/>
                <a:gd name="connsiteX2" fmla="*/ 390037 w 423602"/>
                <a:gd name="connsiteY2" fmla="*/ 153171 h 383015"/>
                <a:gd name="connsiteX3" fmla="*/ 378352 w 423602"/>
                <a:gd name="connsiteY3" fmla="*/ 248397 h 383015"/>
                <a:gd name="connsiteX4" fmla="*/ 299730 w 423602"/>
                <a:gd name="connsiteY4" fmla="*/ 314182 h 383015"/>
                <a:gd name="connsiteX5" fmla="*/ 217952 w 423602"/>
                <a:gd name="connsiteY5" fmla="*/ 324499 h 383015"/>
                <a:gd name="connsiteX6" fmla="*/ 21845 w 423602"/>
                <a:gd name="connsiteY6" fmla="*/ 373591 h 383015"/>
                <a:gd name="connsiteX7" fmla="*/ 84094 w 423602"/>
                <a:gd name="connsiteY7" fmla="*/ 229641 h 383015"/>
                <a:gd name="connsiteX8" fmla="*/ 129146 w 423602"/>
                <a:gd name="connsiteY8" fmla="*/ 70985 h 383015"/>
                <a:gd name="connsiteX0" fmla="*/ 129146 w 423602"/>
                <a:gd name="connsiteY0" fmla="*/ 70985 h 383015"/>
                <a:gd name="connsiteX1" fmla="*/ 352826 w 423602"/>
                <a:gd name="connsiteY1" fmla="*/ 5490 h 383015"/>
                <a:gd name="connsiteX2" fmla="*/ 390037 w 423602"/>
                <a:gd name="connsiteY2" fmla="*/ 153171 h 383015"/>
                <a:gd name="connsiteX3" fmla="*/ 378352 w 423602"/>
                <a:gd name="connsiteY3" fmla="*/ 248397 h 383015"/>
                <a:gd name="connsiteX4" fmla="*/ 299730 w 423602"/>
                <a:gd name="connsiteY4" fmla="*/ 314182 h 383015"/>
                <a:gd name="connsiteX5" fmla="*/ 217952 w 423602"/>
                <a:gd name="connsiteY5" fmla="*/ 324499 h 383015"/>
                <a:gd name="connsiteX6" fmla="*/ 21845 w 423602"/>
                <a:gd name="connsiteY6" fmla="*/ 373591 h 383015"/>
                <a:gd name="connsiteX7" fmla="*/ 84094 w 423602"/>
                <a:gd name="connsiteY7" fmla="*/ 229641 h 383015"/>
                <a:gd name="connsiteX8" fmla="*/ 129146 w 423602"/>
                <a:gd name="connsiteY8" fmla="*/ 70985 h 383015"/>
                <a:gd name="connsiteX0" fmla="*/ 129146 w 423602"/>
                <a:gd name="connsiteY0" fmla="*/ 70985 h 383015"/>
                <a:gd name="connsiteX1" fmla="*/ 352826 w 423602"/>
                <a:gd name="connsiteY1" fmla="*/ 5490 h 383015"/>
                <a:gd name="connsiteX2" fmla="*/ 390037 w 423602"/>
                <a:gd name="connsiteY2" fmla="*/ 153171 h 383015"/>
                <a:gd name="connsiteX3" fmla="*/ 378352 w 423602"/>
                <a:gd name="connsiteY3" fmla="*/ 248397 h 383015"/>
                <a:gd name="connsiteX4" fmla="*/ 299730 w 423602"/>
                <a:gd name="connsiteY4" fmla="*/ 314182 h 383015"/>
                <a:gd name="connsiteX5" fmla="*/ 217952 w 423602"/>
                <a:gd name="connsiteY5" fmla="*/ 324499 h 383015"/>
                <a:gd name="connsiteX6" fmla="*/ 21845 w 423602"/>
                <a:gd name="connsiteY6" fmla="*/ 373591 h 383015"/>
                <a:gd name="connsiteX7" fmla="*/ 84094 w 423602"/>
                <a:gd name="connsiteY7" fmla="*/ 229641 h 383015"/>
                <a:gd name="connsiteX8" fmla="*/ 129146 w 423602"/>
                <a:gd name="connsiteY8" fmla="*/ 70985 h 383015"/>
                <a:gd name="connsiteX0" fmla="*/ 129146 w 413079"/>
                <a:gd name="connsiteY0" fmla="*/ 72048 h 384078"/>
                <a:gd name="connsiteX1" fmla="*/ 352826 w 413079"/>
                <a:gd name="connsiteY1" fmla="*/ 6553 h 384078"/>
                <a:gd name="connsiteX2" fmla="*/ 380119 w 413079"/>
                <a:gd name="connsiteY2" fmla="*/ 139979 h 384078"/>
                <a:gd name="connsiteX3" fmla="*/ 378352 w 413079"/>
                <a:gd name="connsiteY3" fmla="*/ 249460 h 384078"/>
                <a:gd name="connsiteX4" fmla="*/ 299730 w 413079"/>
                <a:gd name="connsiteY4" fmla="*/ 315245 h 384078"/>
                <a:gd name="connsiteX5" fmla="*/ 217952 w 413079"/>
                <a:gd name="connsiteY5" fmla="*/ 325562 h 384078"/>
                <a:gd name="connsiteX6" fmla="*/ 21845 w 413079"/>
                <a:gd name="connsiteY6" fmla="*/ 374654 h 384078"/>
                <a:gd name="connsiteX7" fmla="*/ 84094 w 413079"/>
                <a:gd name="connsiteY7" fmla="*/ 230704 h 384078"/>
                <a:gd name="connsiteX8" fmla="*/ 129146 w 413079"/>
                <a:gd name="connsiteY8" fmla="*/ 72048 h 384078"/>
                <a:gd name="connsiteX0" fmla="*/ 129146 w 421008"/>
                <a:gd name="connsiteY0" fmla="*/ 72048 h 384078"/>
                <a:gd name="connsiteX1" fmla="*/ 352826 w 421008"/>
                <a:gd name="connsiteY1" fmla="*/ 6553 h 384078"/>
                <a:gd name="connsiteX2" fmla="*/ 380119 w 421008"/>
                <a:gd name="connsiteY2" fmla="*/ 139979 h 384078"/>
                <a:gd name="connsiteX3" fmla="*/ 378352 w 421008"/>
                <a:gd name="connsiteY3" fmla="*/ 249460 h 384078"/>
                <a:gd name="connsiteX4" fmla="*/ 299730 w 421008"/>
                <a:gd name="connsiteY4" fmla="*/ 315245 h 384078"/>
                <a:gd name="connsiteX5" fmla="*/ 217952 w 421008"/>
                <a:gd name="connsiteY5" fmla="*/ 325562 h 384078"/>
                <a:gd name="connsiteX6" fmla="*/ 21845 w 421008"/>
                <a:gd name="connsiteY6" fmla="*/ 374654 h 384078"/>
                <a:gd name="connsiteX7" fmla="*/ 84094 w 421008"/>
                <a:gd name="connsiteY7" fmla="*/ 230704 h 384078"/>
                <a:gd name="connsiteX8" fmla="*/ 129146 w 421008"/>
                <a:gd name="connsiteY8" fmla="*/ 72048 h 384078"/>
                <a:gd name="connsiteX0" fmla="*/ 129146 w 466537"/>
                <a:gd name="connsiteY0" fmla="*/ 72048 h 384078"/>
                <a:gd name="connsiteX1" fmla="*/ 352826 w 466537"/>
                <a:gd name="connsiteY1" fmla="*/ 6553 h 384078"/>
                <a:gd name="connsiteX2" fmla="*/ 380119 w 466537"/>
                <a:gd name="connsiteY2" fmla="*/ 139979 h 384078"/>
                <a:gd name="connsiteX3" fmla="*/ 460904 w 466537"/>
                <a:gd name="connsiteY3" fmla="*/ 217252 h 384078"/>
                <a:gd name="connsiteX4" fmla="*/ 299730 w 466537"/>
                <a:gd name="connsiteY4" fmla="*/ 315245 h 384078"/>
                <a:gd name="connsiteX5" fmla="*/ 217952 w 466537"/>
                <a:gd name="connsiteY5" fmla="*/ 325562 h 384078"/>
                <a:gd name="connsiteX6" fmla="*/ 21845 w 466537"/>
                <a:gd name="connsiteY6" fmla="*/ 374654 h 384078"/>
                <a:gd name="connsiteX7" fmla="*/ 84094 w 466537"/>
                <a:gd name="connsiteY7" fmla="*/ 230704 h 384078"/>
                <a:gd name="connsiteX8" fmla="*/ 129146 w 466537"/>
                <a:gd name="connsiteY8" fmla="*/ 72048 h 384078"/>
                <a:gd name="connsiteX0" fmla="*/ 129146 w 466537"/>
                <a:gd name="connsiteY0" fmla="*/ 72048 h 384078"/>
                <a:gd name="connsiteX1" fmla="*/ 352826 w 466537"/>
                <a:gd name="connsiteY1" fmla="*/ 6553 h 384078"/>
                <a:gd name="connsiteX2" fmla="*/ 380119 w 466537"/>
                <a:gd name="connsiteY2" fmla="*/ 139979 h 384078"/>
                <a:gd name="connsiteX3" fmla="*/ 460904 w 466537"/>
                <a:gd name="connsiteY3" fmla="*/ 217252 h 384078"/>
                <a:gd name="connsiteX4" fmla="*/ 317369 w 466537"/>
                <a:gd name="connsiteY4" fmla="*/ 270429 h 384078"/>
                <a:gd name="connsiteX5" fmla="*/ 217952 w 466537"/>
                <a:gd name="connsiteY5" fmla="*/ 325562 h 384078"/>
                <a:gd name="connsiteX6" fmla="*/ 21845 w 466537"/>
                <a:gd name="connsiteY6" fmla="*/ 374654 h 384078"/>
                <a:gd name="connsiteX7" fmla="*/ 84094 w 466537"/>
                <a:gd name="connsiteY7" fmla="*/ 230704 h 384078"/>
                <a:gd name="connsiteX8" fmla="*/ 129146 w 466537"/>
                <a:gd name="connsiteY8" fmla="*/ 72048 h 384078"/>
                <a:gd name="connsiteX0" fmla="*/ 129146 w 471705"/>
                <a:gd name="connsiteY0" fmla="*/ 72048 h 384078"/>
                <a:gd name="connsiteX1" fmla="*/ 352826 w 471705"/>
                <a:gd name="connsiteY1" fmla="*/ 6553 h 384078"/>
                <a:gd name="connsiteX2" fmla="*/ 380119 w 471705"/>
                <a:gd name="connsiteY2" fmla="*/ 139979 h 384078"/>
                <a:gd name="connsiteX3" fmla="*/ 460904 w 471705"/>
                <a:gd name="connsiteY3" fmla="*/ 217252 h 384078"/>
                <a:gd name="connsiteX4" fmla="*/ 217952 w 471705"/>
                <a:gd name="connsiteY4" fmla="*/ 325562 h 384078"/>
                <a:gd name="connsiteX5" fmla="*/ 21845 w 471705"/>
                <a:gd name="connsiteY5" fmla="*/ 374654 h 384078"/>
                <a:gd name="connsiteX6" fmla="*/ 84094 w 471705"/>
                <a:gd name="connsiteY6" fmla="*/ 230704 h 384078"/>
                <a:gd name="connsiteX7" fmla="*/ 129146 w 471705"/>
                <a:gd name="connsiteY7" fmla="*/ 72048 h 384078"/>
                <a:gd name="connsiteX0" fmla="*/ 129146 w 473515"/>
                <a:gd name="connsiteY0" fmla="*/ 71748 h 383778"/>
                <a:gd name="connsiteX1" fmla="*/ 352826 w 473515"/>
                <a:gd name="connsiteY1" fmla="*/ 6253 h 383778"/>
                <a:gd name="connsiteX2" fmla="*/ 389487 w 473515"/>
                <a:gd name="connsiteY2" fmla="*/ 135602 h 383778"/>
                <a:gd name="connsiteX3" fmla="*/ 460904 w 473515"/>
                <a:gd name="connsiteY3" fmla="*/ 216952 h 383778"/>
                <a:gd name="connsiteX4" fmla="*/ 217952 w 473515"/>
                <a:gd name="connsiteY4" fmla="*/ 325262 h 383778"/>
                <a:gd name="connsiteX5" fmla="*/ 21845 w 473515"/>
                <a:gd name="connsiteY5" fmla="*/ 374354 h 383778"/>
                <a:gd name="connsiteX6" fmla="*/ 84094 w 473515"/>
                <a:gd name="connsiteY6" fmla="*/ 230404 h 383778"/>
                <a:gd name="connsiteX7" fmla="*/ 129146 w 473515"/>
                <a:gd name="connsiteY7" fmla="*/ 71748 h 383778"/>
                <a:gd name="connsiteX0" fmla="*/ 129146 w 473515"/>
                <a:gd name="connsiteY0" fmla="*/ 71748 h 383778"/>
                <a:gd name="connsiteX1" fmla="*/ 352826 w 473515"/>
                <a:gd name="connsiteY1" fmla="*/ 6253 h 383778"/>
                <a:gd name="connsiteX2" fmla="*/ 389487 w 473515"/>
                <a:gd name="connsiteY2" fmla="*/ 135602 h 383778"/>
                <a:gd name="connsiteX3" fmla="*/ 460904 w 473515"/>
                <a:gd name="connsiteY3" fmla="*/ 216952 h 383778"/>
                <a:gd name="connsiteX4" fmla="*/ 217952 w 473515"/>
                <a:gd name="connsiteY4" fmla="*/ 325262 h 383778"/>
                <a:gd name="connsiteX5" fmla="*/ 21845 w 473515"/>
                <a:gd name="connsiteY5" fmla="*/ 374354 h 383778"/>
                <a:gd name="connsiteX6" fmla="*/ 84094 w 473515"/>
                <a:gd name="connsiteY6" fmla="*/ 230404 h 383778"/>
                <a:gd name="connsiteX7" fmla="*/ 129146 w 473515"/>
                <a:gd name="connsiteY7" fmla="*/ 71748 h 383778"/>
                <a:gd name="connsiteX0" fmla="*/ 129146 w 479169"/>
                <a:gd name="connsiteY0" fmla="*/ 71748 h 383778"/>
                <a:gd name="connsiteX1" fmla="*/ 352826 w 479169"/>
                <a:gd name="connsiteY1" fmla="*/ 6253 h 383778"/>
                <a:gd name="connsiteX2" fmla="*/ 389487 w 479169"/>
                <a:gd name="connsiteY2" fmla="*/ 135602 h 383778"/>
                <a:gd name="connsiteX3" fmla="*/ 467960 w 479169"/>
                <a:gd name="connsiteY3" fmla="*/ 199026 h 383778"/>
                <a:gd name="connsiteX4" fmla="*/ 217952 w 479169"/>
                <a:gd name="connsiteY4" fmla="*/ 325262 h 383778"/>
                <a:gd name="connsiteX5" fmla="*/ 21845 w 479169"/>
                <a:gd name="connsiteY5" fmla="*/ 374354 h 383778"/>
                <a:gd name="connsiteX6" fmla="*/ 84094 w 479169"/>
                <a:gd name="connsiteY6" fmla="*/ 230404 h 383778"/>
                <a:gd name="connsiteX7" fmla="*/ 129146 w 479169"/>
                <a:gd name="connsiteY7" fmla="*/ 71748 h 383778"/>
                <a:gd name="connsiteX0" fmla="*/ 129146 w 467960"/>
                <a:gd name="connsiteY0" fmla="*/ 71748 h 383778"/>
                <a:gd name="connsiteX1" fmla="*/ 352826 w 467960"/>
                <a:gd name="connsiteY1" fmla="*/ 6253 h 383778"/>
                <a:gd name="connsiteX2" fmla="*/ 389487 w 467960"/>
                <a:gd name="connsiteY2" fmla="*/ 135602 h 383778"/>
                <a:gd name="connsiteX3" fmla="*/ 467960 w 467960"/>
                <a:gd name="connsiteY3" fmla="*/ 199026 h 383778"/>
                <a:gd name="connsiteX4" fmla="*/ 217952 w 467960"/>
                <a:gd name="connsiteY4" fmla="*/ 325262 h 383778"/>
                <a:gd name="connsiteX5" fmla="*/ 21845 w 467960"/>
                <a:gd name="connsiteY5" fmla="*/ 374354 h 383778"/>
                <a:gd name="connsiteX6" fmla="*/ 84094 w 467960"/>
                <a:gd name="connsiteY6" fmla="*/ 230404 h 383778"/>
                <a:gd name="connsiteX7" fmla="*/ 129146 w 467960"/>
                <a:gd name="connsiteY7" fmla="*/ 71748 h 383778"/>
                <a:gd name="connsiteX0" fmla="*/ 129146 w 467960"/>
                <a:gd name="connsiteY0" fmla="*/ 71748 h 383778"/>
                <a:gd name="connsiteX1" fmla="*/ 352826 w 467960"/>
                <a:gd name="connsiteY1" fmla="*/ 6253 h 383778"/>
                <a:gd name="connsiteX2" fmla="*/ 389487 w 467960"/>
                <a:gd name="connsiteY2" fmla="*/ 135602 h 383778"/>
                <a:gd name="connsiteX3" fmla="*/ 467960 w 467960"/>
                <a:gd name="connsiteY3" fmla="*/ 199026 h 383778"/>
                <a:gd name="connsiteX4" fmla="*/ 217952 w 467960"/>
                <a:gd name="connsiteY4" fmla="*/ 325262 h 383778"/>
                <a:gd name="connsiteX5" fmla="*/ 21845 w 467960"/>
                <a:gd name="connsiteY5" fmla="*/ 374354 h 383778"/>
                <a:gd name="connsiteX6" fmla="*/ 84094 w 467960"/>
                <a:gd name="connsiteY6" fmla="*/ 230404 h 383778"/>
                <a:gd name="connsiteX7" fmla="*/ 129146 w 467960"/>
                <a:gd name="connsiteY7" fmla="*/ 71748 h 383778"/>
                <a:gd name="connsiteX0" fmla="*/ 129146 w 467960"/>
                <a:gd name="connsiteY0" fmla="*/ 71748 h 383778"/>
                <a:gd name="connsiteX1" fmla="*/ 352826 w 467960"/>
                <a:gd name="connsiteY1" fmla="*/ 6253 h 383778"/>
                <a:gd name="connsiteX2" fmla="*/ 389487 w 467960"/>
                <a:gd name="connsiteY2" fmla="*/ 135602 h 383778"/>
                <a:gd name="connsiteX3" fmla="*/ 467960 w 467960"/>
                <a:gd name="connsiteY3" fmla="*/ 199026 h 383778"/>
                <a:gd name="connsiteX4" fmla="*/ 217952 w 467960"/>
                <a:gd name="connsiteY4" fmla="*/ 325262 h 383778"/>
                <a:gd name="connsiteX5" fmla="*/ 21845 w 467960"/>
                <a:gd name="connsiteY5" fmla="*/ 374354 h 383778"/>
                <a:gd name="connsiteX6" fmla="*/ 84094 w 467960"/>
                <a:gd name="connsiteY6" fmla="*/ 230404 h 383778"/>
                <a:gd name="connsiteX7" fmla="*/ 129146 w 467960"/>
                <a:gd name="connsiteY7" fmla="*/ 71748 h 383778"/>
                <a:gd name="connsiteX0" fmla="*/ 129146 w 467960"/>
                <a:gd name="connsiteY0" fmla="*/ 38929 h 350959"/>
                <a:gd name="connsiteX1" fmla="*/ 266889 w 467960"/>
                <a:gd name="connsiteY1" fmla="*/ 40543 h 350959"/>
                <a:gd name="connsiteX2" fmla="*/ 389487 w 467960"/>
                <a:gd name="connsiteY2" fmla="*/ 102783 h 350959"/>
                <a:gd name="connsiteX3" fmla="*/ 467960 w 467960"/>
                <a:gd name="connsiteY3" fmla="*/ 166207 h 350959"/>
                <a:gd name="connsiteX4" fmla="*/ 217952 w 467960"/>
                <a:gd name="connsiteY4" fmla="*/ 292443 h 350959"/>
                <a:gd name="connsiteX5" fmla="*/ 21845 w 467960"/>
                <a:gd name="connsiteY5" fmla="*/ 341535 h 350959"/>
                <a:gd name="connsiteX6" fmla="*/ 84094 w 467960"/>
                <a:gd name="connsiteY6" fmla="*/ 197585 h 350959"/>
                <a:gd name="connsiteX7" fmla="*/ 129146 w 467960"/>
                <a:gd name="connsiteY7" fmla="*/ 38929 h 350959"/>
                <a:gd name="connsiteX0" fmla="*/ 129146 w 467960"/>
                <a:gd name="connsiteY0" fmla="*/ 32109 h 344139"/>
                <a:gd name="connsiteX1" fmla="*/ 266889 w 467960"/>
                <a:gd name="connsiteY1" fmla="*/ 33723 h 344139"/>
                <a:gd name="connsiteX2" fmla="*/ 389487 w 467960"/>
                <a:gd name="connsiteY2" fmla="*/ 95963 h 344139"/>
                <a:gd name="connsiteX3" fmla="*/ 467960 w 467960"/>
                <a:gd name="connsiteY3" fmla="*/ 159387 h 344139"/>
                <a:gd name="connsiteX4" fmla="*/ 217952 w 467960"/>
                <a:gd name="connsiteY4" fmla="*/ 285623 h 344139"/>
                <a:gd name="connsiteX5" fmla="*/ 21845 w 467960"/>
                <a:gd name="connsiteY5" fmla="*/ 334715 h 344139"/>
                <a:gd name="connsiteX6" fmla="*/ 84094 w 467960"/>
                <a:gd name="connsiteY6" fmla="*/ 190765 h 344139"/>
                <a:gd name="connsiteX7" fmla="*/ 129146 w 467960"/>
                <a:gd name="connsiteY7" fmla="*/ 32109 h 344139"/>
                <a:gd name="connsiteX0" fmla="*/ 129146 w 467960"/>
                <a:gd name="connsiteY0" fmla="*/ 38148 h 350178"/>
                <a:gd name="connsiteX1" fmla="*/ 266889 w 467960"/>
                <a:gd name="connsiteY1" fmla="*/ 39762 h 350178"/>
                <a:gd name="connsiteX2" fmla="*/ 417998 w 467960"/>
                <a:gd name="connsiteY2" fmla="*/ 82167 h 350178"/>
                <a:gd name="connsiteX3" fmla="*/ 467960 w 467960"/>
                <a:gd name="connsiteY3" fmla="*/ 165426 h 350178"/>
                <a:gd name="connsiteX4" fmla="*/ 217952 w 467960"/>
                <a:gd name="connsiteY4" fmla="*/ 291662 h 350178"/>
                <a:gd name="connsiteX5" fmla="*/ 21845 w 467960"/>
                <a:gd name="connsiteY5" fmla="*/ 340754 h 350178"/>
                <a:gd name="connsiteX6" fmla="*/ 84094 w 467960"/>
                <a:gd name="connsiteY6" fmla="*/ 196804 h 350178"/>
                <a:gd name="connsiteX7" fmla="*/ 129146 w 467960"/>
                <a:gd name="connsiteY7" fmla="*/ 38148 h 350178"/>
                <a:gd name="connsiteX0" fmla="*/ 129146 w 467960"/>
                <a:gd name="connsiteY0" fmla="*/ 38413 h 350443"/>
                <a:gd name="connsiteX1" fmla="*/ 266889 w 467960"/>
                <a:gd name="connsiteY1" fmla="*/ 40027 h 350443"/>
                <a:gd name="connsiteX2" fmla="*/ 402384 w 467960"/>
                <a:gd name="connsiteY2" fmla="*/ 89227 h 350443"/>
                <a:gd name="connsiteX3" fmla="*/ 467960 w 467960"/>
                <a:gd name="connsiteY3" fmla="*/ 165691 h 350443"/>
                <a:gd name="connsiteX4" fmla="*/ 217952 w 467960"/>
                <a:gd name="connsiteY4" fmla="*/ 291927 h 350443"/>
                <a:gd name="connsiteX5" fmla="*/ 21845 w 467960"/>
                <a:gd name="connsiteY5" fmla="*/ 341019 h 350443"/>
                <a:gd name="connsiteX6" fmla="*/ 84094 w 467960"/>
                <a:gd name="connsiteY6" fmla="*/ 197069 h 350443"/>
                <a:gd name="connsiteX7" fmla="*/ 129146 w 467960"/>
                <a:gd name="connsiteY7" fmla="*/ 38413 h 350443"/>
                <a:gd name="connsiteX0" fmla="*/ 129146 w 467960"/>
                <a:gd name="connsiteY0" fmla="*/ 38413 h 350443"/>
                <a:gd name="connsiteX1" fmla="*/ 266889 w 467960"/>
                <a:gd name="connsiteY1" fmla="*/ 40027 h 350443"/>
                <a:gd name="connsiteX2" fmla="*/ 402384 w 467960"/>
                <a:gd name="connsiteY2" fmla="*/ 89227 h 350443"/>
                <a:gd name="connsiteX3" fmla="*/ 467960 w 467960"/>
                <a:gd name="connsiteY3" fmla="*/ 165691 h 350443"/>
                <a:gd name="connsiteX4" fmla="*/ 217952 w 467960"/>
                <a:gd name="connsiteY4" fmla="*/ 291927 h 350443"/>
                <a:gd name="connsiteX5" fmla="*/ 21845 w 467960"/>
                <a:gd name="connsiteY5" fmla="*/ 341019 h 350443"/>
                <a:gd name="connsiteX6" fmla="*/ 84094 w 467960"/>
                <a:gd name="connsiteY6" fmla="*/ 197069 h 350443"/>
                <a:gd name="connsiteX7" fmla="*/ 129146 w 467960"/>
                <a:gd name="connsiteY7" fmla="*/ 38413 h 350443"/>
                <a:gd name="connsiteX0" fmla="*/ 129146 w 467960"/>
                <a:gd name="connsiteY0" fmla="*/ 38413 h 350443"/>
                <a:gd name="connsiteX1" fmla="*/ 266889 w 467960"/>
                <a:gd name="connsiteY1" fmla="*/ 40027 h 350443"/>
                <a:gd name="connsiteX2" fmla="*/ 402384 w 467960"/>
                <a:gd name="connsiteY2" fmla="*/ 89227 h 350443"/>
                <a:gd name="connsiteX3" fmla="*/ 467960 w 467960"/>
                <a:gd name="connsiteY3" fmla="*/ 165691 h 350443"/>
                <a:gd name="connsiteX4" fmla="*/ 217952 w 467960"/>
                <a:gd name="connsiteY4" fmla="*/ 291927 h 350443"/>
                <a:gd name="connsiteX5" fmla="*/ 21845 w 467960"/>
                <a:gd name="connsiteY5" fmla="*/ 341019 h 350443"/>
                <a:gd name="connsiteX6" fmla="*/ 84094 w 467960"/>
                <a:gd name="connsiteY6" fmla="*/ 197069 h 350443"/>
                <a:gd name="connsiteX7" fmla="*/ 129146 w 467960"/>
                <a:gd name="connsiteY7" fmla="*/ 38413 h 350443"/>
                <a:gd name="connsiteX0" fmla="*/ 129146 w 467960"/>
                <a:gd name="connsiteY0" fmla="*/ 42237 h 354267"/>
                <a:gd name="connsiteX1" fmla="*/ 287390 w 467960"/>
                <a:gd name="connsiteY1" fmla="*/ 31216 h 354267"/>
                <a:gd name="connsiteX2" fmla="*/ 402384 w 467960"/>
                <a:gd name="connsiteY2" fmla="*/ 93051 h 354267"/>
                <a:gd name="connsiteX3" fmla="*/ 467960 w 467960"/>
                <a:gd name="connsiteY3" fmla="*/ 169515 h 354267"/>
                <a:gd name="connsiteX4" fmla="*/ 217952 w 467960"/>
                <a:gd name="connsiteY4" fmla="*/ 295751 h 354267"/>
                <a:gd name="connsiteX5" fmla="*/ 21845 w 467960"/>
                <a:gd name="connsiteY5" fmla="*/ 344843 h 354267"/>
                <a:gd name="connsiteX6" fmla="*/ 84094 w 467960"/>
                <a:gd name="connsiteY6" fmla="*/ 200893 h 354267"/>
                <a:gd name="connsiteX7" fmla="*/ 129146 w 467960"/>
                <a:gd name="connsiteY7" fmla="*/ 42237 h 354267"/>
                <a:gd name="connsiteX0" fmla="*/ 129146 w 467960"/>
                <a:gd name="connsiteY0" fmla="*/ 36796 h 348826"/>
                <a:gd name="connsiteX1" fmla="*/ 287390 w 467960"/>
                <a:gd name="connsiteY1" fmla="*/ 25775 h 348826"/>
                <a:gd name="connsiteX2" fmla="*/ 402384 w 467960"/>
                <a:gd name="connsiteY2" fmla="*/ 87610 h 348826"/>
                <a:gd name="connsiteX3" fmla="*/ 467960 w 467960"/>
                <a:gd name="connsiteY3" fmla="*/ 164074 h 348826"/>
                <a:gd name="connsiteX4" fmla="*/ 217952 w 467960"/>
                <a:gd name="connsiteY4" fmla="*/ 290310 h 348826"/>
                <a:gd name="connsiteX5" fmla="*/ 21845 w 467960"/>
                <a:gd name="connsiteY5" fmla="*/ 339402 h 348826"/>
                <a:gd name="connsiteX6" fmla="*/ 84094 w 467960"/>
                <a:gd name="connsiteY6" fmla="*/ 195452 h 348826"/>
                <a:gd name="connsiteX7" fmla="*/ 129146 w 467960"/>
                <a:gd name="connsiteY7" fmla="*/ 36796 h 348826"/>
                <a:gd name="connsiteX0" fmla="*/ 111767 w 467960"/>
                <a:gd name="connsiteY0" fmla="*/ 45721 h 346475"/>
                <a:gd name="connsiteX1" fmla="*/ 287390 w 467960"/>
                <a:gd name="connsiteY1" fmla="*/ 23424 h 346475"/>
                <a:gd name="connsiteX2" fmla="*/ 402384 w 467960"/>
                <a:gd name="connsiteY2" fmla="*/ 85259 h 346475"/>
                <a:gd name="connsiteX3" fmla="*/ 467960 w 467960"/>
                <a:gd name="connsiteY3" fmla="*/ 161723 h 346475"/>
                <a:gd name="connsiteX4" fmla="*/ 217952 w 467960"/>
                <a:gd name="connsiteY4" fmla="*/ 287959 h 346475"/>
                <a:gd name="connsiteX5" fmla="*/ 21845 w 467960"/>
                <a:gd name="connsiteY5" fmla="*/ 337051 h 346475"/>
                <a:gd name="connsiteX6" fmla="*/ 84094 w 467960"/>
                <a:gd name="connsiteY6" fmla="*/ 193101 h 346475"/>
                <a:gd name="connsiteX7" fmla="*/ 111767 w 467960"/>
                <a:gd name="connsiteY7" fmla="*/ 45721 h 346475"/>
                <a:gd name="connsiteX0" fmla="*/ 111767 w 467960"/>
                <a:gd name="connsiteY0" fmla="*/ 54635 h 355389"/>
                <a:gd name="connsiteX1" fmla="*/ 287390 w 467960"/>
                <a:gd name="connsiteY1" fmla="*/ 32338 h 355389"/>
                <a:gd name="connsiteX2" fmla="*/ 402384 w 467960"/>
                <a:gd name="connsiteY2" fmla="*/ 94173 h 355389"/>
                <a:gd name="connsiteX3" fmla="*/ 467960 w 467960"/>
                <a:gd name="connsiteY3" fmla="*/ 170637 h 355389"/>
                <a:gd name="connsiteX4" fmla="*/ 217952 w 467960"/>
                <a:gd name="connsiteY4" fmla="*/ 296873 h 355389"/>
                <a:gd name="connsiteX5" fmla="*/ 21845 w 467960"/>
                <a:gd name="connsiteY5" fmla="*/ 345965 h 355389"/>
                <a:gd name="connsiteX6" fmla="*/ 84094 w 467960"/>
                <a:gd name="connsiteY6" fmla="*/ 202015 h 355389"/>
                <a:gd name="connsiteX7" fmla="*/ 111767 w 467960"/>
                <a:gd name="connsiteY7" fmla="*/ 54635 h 355389"/>
                <a:gd name="connsiteX0" fmla="*/ 116194 w 472387"/>
                <a:gd name="connsiteY0" fmla="*/ 54635 h 355389"/>
                <a:gd name="connsiteX1" fmla="*/ 291817 w 472387"/>
                <a:gd name="connsiteY1" fmla="*/ 32338 h 355389"/>
                <a:gd name="connsiteX2" fmla="*/ 406811 w 472387"/>
                <a:gd name="connsiteY2" fmla="*/ 94173 h 355389"/>
                <a:gd name="connsiteX3" fmla="*/ 472387 w 472387"/>
                <a:gd name="connsiteY3" fmla="*/ 170637 h 355389"/>
                <a:gd name="connsiteX4" fmla="*/ 222379 w 472387"/>
                <a:gd name="connsiteY4" fmla="*/ 296873 h 355389"/>
                <a:gd name="connsiteX5" fmla="*/ 26272 w 472387"/>
                <a:gd name="connsiteY5" fmla="*/ 345965 h 355389"/>
                <a:gd name="connsiteX6" fmla="*/ 67615 w 472387"/>
                <a:gd name="connsiteY6" fmla="*/ 222254 h 355389"/>
                <a:gd name="connsiteX7" fmla="*/ 116194 w 472387"/>
                <a:gd name="connsiteY7" fmla="*/ 54635 h 355389"/>
                <a:gd name="connsiteX0" fmla="*/ 92570 w 472387"/>
                <a:gd name="connsiteY0" fmla="*/ 52058 h 338818"/>
                <a:gd name="connsiteX1" fmla="*/ 291817 w 472387"/>
                <a:gd name="connsiteY1" fmla="*/ 15767 h 338818"/>
                <a:gd name="connsiteX2" fmla="*/ 406811 w 472387"/>
                <a:gd name="connsiteY2" fmla="*/ 77602 h 338818"/>
                <a:gd name="connsiteX3" fmla="*/ 472387 w 472387"/>
                <a:gd name="connsiteY3" fmla="*/ 154066 h 338818"/>
                <a:gd name="connsiteX4" fmla="*/ 222379 w 472387"/>
                <a:gd name="connsiteY4" fmla="*/ 280302 h 338818"/>
                <a:gd name="connsiteX5" fmla="*/ 26272 w 472387"/>
                <a:gd name="connsiteY5" fmla="*/ 329394 h 338818"/>
                <a:gd name="connsiteX6" fmla="*/ 67615 w 472387"/>
                <a:gd name="connsiteY6" fmla="*/ 205683 h 338818"/>
                <a:gd name="connsiteX7" fmla="*/ 92570 w 472387"/>
                <a:gd name="connsiteY7" fmla="*/ 52058 h 338818"/>
                <a:gd name="connsiteX0" fmla="*/ 92570 w 472387"/>
                <a:gd name="connsiteY0" fmla="*/ 47391 h 334151"/>
                <a:gd name="connsiteX1" fmla="*/ 259230 w 472387"/>
                <a:gd name="connsiteY1" fmla="*/ 21567 h 334151"/>
                <a:gd name="connsiteX2" fmla="*/ 406811 w 472387"/>
                <a:gd name="connsiteY2" fmla="*/ 72935 h 334151"/>
                <a:gd name="connsiteX3" fmla="*/ 472387 w 472387"/>
                <a:gd name="connsiteY3" fmla="*/ 149399 h 334151"/>
                <a:gd name="connsiteX4" fmla="*/ 222379 w 472387"/>
                <a:gd name="connsiteY4" fmla="*/ 275635 h 334151"/>
                <a:gd name="connsiteX5" fmla="*/ 26272 w 472387"/>
                <a:gd name="connsiteY5" fmla="*/ 324727 h 334151"/>
                <a:gd name="connsiteX6" fmla="*/ 67615 w 472387"/>
                <a:gd name="connsiteY6" fmla="*/ 201016 h 334151"/>
                <a:gd name="connsiteX7" fmla="*/ 92570 w 472387"/>
                <a:gd name="connsiteY7" fmla="*/ 47391 h 334151"/>
                <a:gd name="connsiteX0" fmla="*/ 92570 w 472387"/>
                <a:gd name="connsiteY0" fmla="*/ 51559 h 338319"/>
                <a:gd name="connsiteX1" fmla="*/ 259230 w 472387"/>
                <a:gd name="connsiteY1" fmla="*/ 25735 h 338319"/>
                <a:gd name="connsiteX2" fmla="*/ 406811 w 472387"/>
                <a:gd name="connsiteY2" fmla="*/ 77103 h 338319"/>
                <a:gd name="connsiteX3" fmla="*/ 472387 w 472387"/>
                <a:gd name="connsiteY3" fmla="*/ 153567 h 338319"/>
                <a:gd name="connsiteX4" fmla="*/ 222379 w 472387"/>
                <a:gd name="connsiteY4" fmla="*/ 279803 h 338319"/>
                <a:gd name="connsiteX5" fmla="*/ 26272 w 472387"/>
                <a:gd name="connsiteY5" fmla="*/ 328895 h 338319"/>
                <a:gd name="connsiteX6" fmla="*/ 67615 w 472387"/>
                <a:gd name="connsiteY6" fmla="*/ 205184 h 338319"/>
                <a:gd name="connsiteX7" fmla="*/ 92570 w 472387"/>
                <a:gd name="connsiteY7" fmla="*/ 51559 h 338319"/>
                <a:gd name="connsiteX0" fmla="*/ 92570 w 472387"/>
                <a:gd name="connsiteY0" fmla="*/ 47325 h 334085"/>
                <a:gd name="connsiteX1" fmla="*/ 259230 w 472387"/>
                <a:gd name="connsiteY1" fmla="*/ 21501 h 334085"/>
                <a:gd name="connsiteX2" fmla="*/ 425691 w 472387"/>
                <a:gd name="connsiteY2" fmla="*/ 90653 h 334085"/>
                <a:gd name="connsiteX3" fmla="*/ 472387 w 472387"/>
                <a:gd name="connsiteY3" fmla="*/ 149333 h 334085"/>
                <a:gd name="connsiteX4" fmla="*/ 222379 w 472387"/>
                <a:gd name="connsiteY4" fmla="*/ 275569 h 334085"/>
                <a:gd name="connsiteX5" fmla="*/ 26272 w 472387"/>
                <a:gd name="connsiteY5" fmla="*/ 324661 h 334085"/>
                <a:gd name="connsiteX6" fmla="*/ 67615 w 472387"/>
                <a:gd name="connsiteY6" fmla="*/ 200950 h 334085"/>
                <a:gd name="connsiteX7" fmla="*/ 92570 w 472387"/>
                <a:gd name="connsiteY7" fmla="*/ 47325 h 334085"/>
                <a:gd name="connsiteX0" fmla="*/ 92570 w 472387"/>
                <a:gd name="connsiteY0" fmla="*/ 47325 h 334085"/>
                <a:gd name="connsiteX1" fmla="*/ 259230 w 472387"/>
                <a:gd name="connsiteY1" fmla="*/ 21501 h 334085"/>
                <a:gd name="connsiteX2" fmla="*/ 425691 w 472387"/>
                <a:gd name="connsiteY2" fmla="*/ 90653 h 334085"/>
                <a:gd name="connsiteX3" fmla="*/ 472387 w 472387"/>
                <a:gd name="connsiteY3" fmla="*/ 149333 h 334085"/>
                <a:gd name="connsiteX4" fmla="*/ 222379 w 472387"/>
                <a:gd name="connsiteY4" fmla="*/ 275569 h 334085"/>
                <a:gd name="connsiteX5" fmla="*/ 26272 w 472387"/>
                <a:gd name="connsiteY5" fmla="*/ 324661 h 334085"/>
                <a:gd name="connsiteX6" fmla="*/ 67615 w 472387"/>
                <a:gd name="connsiteY6" fmla="*/ 200950 h 334085"/>
                <a:gd name="connsiteX7" fmla="*/ 92570 w 472387"/>
                <a:gd name="connsiteY7" fmla="*/ 47325 h 334085"/>
                <a:gd name="connsiteX0" fmla="*/ 92570 w 451934"/>
                <a:gd name="connsiteY0" fmla="*/ 47325 h 334085"/>
                <a:gd name="connsiteX1" fmla="*/ 259230 w 451934"/>
                <a:gd name="connsiteY1" fmla="*/ 21501 h 334085"/>
                <a:gd name="connsiteX2" fmla="*/ 425691 w 451934"/>
                <a:gd name="connsiteY2" fmla="*/ 90653 h 334085"/>
                <a:gd name="connsiteX3" fmla="*/ 431790 w 451934"/>
                <a:gd name="connsiteY3" fmla="*/ 166999 h 334085"/>
                <a:gd name="connsiteX4" fmla="*/ 222379 w 451934"/>
                <a:gd name="connsiteY4" fmla="*/ 275569 h 334085"/>
                <a:gd name="connsiteX5" fmla="*/ 26272 w 451934"/>
                <a:gd name="connsiteY5" fmla="*/ 324661 h 334085"/>
                <a:gd name="connsiteX6" fmla="*/ 67615 w 451934"/>
                <a:gd name="connsiteY6" fmla="*/ 200950 h 334085"/>
                <a:gd name="connsiteX7" fmla="*/ 92570 w 451934"/>
                <a:gd name="connsiteY7" fmla="*/ 47325 h 334085"/>
                <a:gd name="connsiteX0" fmla="*/ 92570 w 456367"/>
                <a:gd name="connsiteY0" fmla="*/ 47325 h 334085"/>
                <a:gd name="connsiteX1" fmla="*/ 259230 w 456367"/>
                <a:gd name="connsiteY1" fmla="*/ 21501 h 334085"/>
                <a:gd name="connsiteX2" fmla="*/ 425691 w 456367"/>
                <a:gd name="connsiteY2" fmla="*/ 90653 h 334085"/>
                <a:gd name="connsiteX3" fmla="*/ 456367 w 456367"/>
                <a:gd name="connsiteY3" fmla="*/ 163732 h 334085"/>
                <a:gd name="connsiteX4" fmla="*/ 222379 w 456367"/>
                <a:gd name="connsiteY4" fmla="*/ 275569 h 334085"/>
                <a:gd name="connsiteX5" fmla="*/ 26272 w 456367"/>
                <a:gd name="connsiteY5" fmla="*/ 324661 h 334085"/>
                <a:gd name="connsiteX6" fmla="*/ 67615 w 456367"/>
                <a:gd name="connsiteY6" fmla="*/ 200950 h 334085"/>
                <a:gd name="connsiteX7" fmla="*/ 92570 w 456367"/>
                <a:gd name="connsiteY7" fmla="*/ 47325 h 334085"/>
                <a:gd name="connsiteX0" fmla="*/ 92570 w 456367"/>
                <a:gd name="connsiteY0" fmla="*/ 47325 h 334085"/>
                <a:gd name="connsiteX1" fmla="*/ 259230 w 456367"/>
                <a:gd name="connsiteY1" fmla="*/ 21501 h 334085"/>
                <a:gd name="connsiteX2" fmla="*/ 425691 w 456367"/>
                <a:gd name="connsiteY2" fmla="*/ 90653 h 334085"/>
                <a:gd name="connsiteX3" fmla="*/ 456367 w 456367"/>
                <a:gd name="connsiteY3" fmla="*/ 163732 h 334085"/>
                <a:gd name="connsiteX4" fmla="*/ 222379 w 456367"/>
                <a:gd name="connsiteY4" fmla="*/ 275569 h 334085"/>
                <a:gd name="connsiteX5" fmla="*/ 26272 w 456367"/>
                <a:gd name="connsiteY5" fmla="*/ 324661 h 334085"/>
                <a:gd name="connsiteX6" fmla="*/ 67615 w 456367"/>
                <a:gd name="connsiteY6" fmla="*/ 200950 h 334085"/>
                <a:gd name="connsiteX7" fmla="*/ 92570 w 456367"/>
                <a:gd name="connsiteY7" fmla="*/ 47325 h 334085"/>
                <a:gd name="connsiteX0" fmla="*/ 92570 w 451934"/>
                <a:gd name="connsiteY0" fmla="*/ 47325 h 334085"/>
                <a:gd name="connsiteX1" fmla="*/ 259230 w 451934"/>
                <a:gd name="connsiteY1" fmla="*/ 21501 h 334085"/>
                <a:gd name="connsiteX2" fmla="*/ 425691 w 451934"/>
                <a:gd name="connsiteY2" fmla="*/ 90653 h 334085"/>
                <a:gd name="connsiteX3" fmla="*/ 442922 w 451934"/>
                <a:gd name="connsiteY3" fmla="*/ 158440 h 334085"/>
                <a:gd name="connsiteX4" fmla="*/ 222379 w 451934"/>
                <a:gd name="connsiteY4" fmla="*/ 275569 h 334085"/>
                <a:gd name="connsiteX5" fmla="*/ 26272 w 451934"/>
                <a:gd name="connsiteY5" fmla="*/ 324661 h 334085"/>
                <a:gd name="connsiteX6" fmla="*/ 67615 w 451934"/>
                <a:gd name="connsiteY6" fmla="*/ 200950 h 334085"/>
                <a:gd name="connsiteX7" fmla="*/ 92570 w 451934"/>
                <a:gd name="connsiteY7" fmla="*/ 47325 h 334085"/>
                <a:gd name="connsiteX0" fmla="*/ 92570 w 471831"/>
                <a:gd name="connsiteY0" fmla="*/ 47222 h 333982"/>
                <a:gd name="connsiteX1" fmla="*/ 259230 w 471831"/>
                <a:gd name="connsiteY1" fmla="*/ 21398 h 333982"/>
                <a:gd name="connsiteX2" fmla="*/ 447146 w 471831"/>
                <a:gd name="connsiteY2" fmla="*/ 88642 h 333982"/>
                <a:gd name="connsiteX3" fmla="*/ 442922 w 471831"/>
                <a:gd name="connsiteY3" fmla="*/ 158337 h 333982"/>
                <a:gd name="connsiteX4" fmla="*/ 222379 w 471831"/>
                <a:gd name="connsiteY4" fmla="*/ 275466 h 333982"/>
                <a:gd name="connsiteX5" fmla="*/ 26272 w 471831"/>
                <a:gd name="connsiteY5" fmla="*/ 324558 h 333982"/>
                <a:gd name="connsiteX6" fmla="*/ 67615 w 471831"/>
                <a:gd name="connsiteY6" fmla="*/ 200847 h 333982"/>
                <a:gd name="connsiteX7" fmla="*/ 92570 w 471831"/>
                <a:gd name="connsiteY7" fmla="*/ 47222 h 333982"/>
                <a:gd name="connsiteX0" fmla="*/ 92570 w 454817"/>
                <a:gd name="connsiteY0" fmla="*/ 47251 h 334011"/>
                <a:gd name="connsiteX1" fmla="*/ 259230 w 454817"/>
                <a:gd name="connsiteY1" fmla="*/ 21427 h 334011"/>
                <a:gd name="connsiteX2" fmla="*/ 428813 w 454817"/>
                <a:gd name="connsiteY2" fmla="*/ 89220 h 334011"/>
                <a:gd name="connsiteX3" fmla="*/ 442922 w 454817"/>
                <a:gd name="connsiteY3" fmla="*/ 158366 h 334011"/>
                <a:gd name="connsiteX4" fmla="*/ 222379 w 454817"/>
                <a:gd name="connsiteY4" fmla="*/ 275495 h 334011"/>
                <a:gd name="connsiteX5" fmla="*/ 26272 w 454817"/>
                <a:gd name="connsiteY5" fmla="*/ 324587 h 334011"/>
                <a:gd name="connsiteX6" fmla="*/ 67615 w 454817"/>
                <a:gd name="connsiteY6" fmla="*/ 200876 h 334011"/>
                <a:gd name="connsiteX7" fmla="*/ 92570 w 454817"/>
                <a:gd name="connsiteY7" fmla="*/ 47251 h 334011"/>
                <a:gd name="connsiteX0" fmla="*/ 92570 w 442922"/>
                <a:gd name="connsiteY0" fmla="*/ 63333 h 350093"/>
                <a:gd name="connsiteX1" fmla="*/ 259230 w 442922"/>
                <a:gd name="connsiteY1" fmla="*/ 37509 h 350093"/>
                <a:gd name="connsiteX2" fmla="*/ 428813 w 442922"/>
                <a:gd name="connsiteY2" fmla="*/ 105302 h 350093"/>
                <a:gd name="connsiteX3" fmla="*/ 442922 w 442922"/>
                <a:gd name="connsiteY3" fmla="*/ 174448 h 350093"/>
                <a:gd name="connsiteX4" fmla="*/ 222379 w 442922"/>
                <a:gd name="connsiteY4" fmla="*/ 291577 h 350093"/>
                <a:gd name="connsiteX5" fmla="*/ 26272 w 442922"/>
                <a:gd name="connsiteY5" fmla="*/ 340669 h 350093"/>
                <a:gd name="connsiteX6" fmla="*/ 67615 w 442922"/>
                <a:gd name="connsiteY6" fmla="*/ 216958 h 350093"/>
                <a:gd name="connsiteX7" fmla="*/ 92570 w 442922"/>
                <a:gd name="connsiteY7" fmla="*/ 63333 h 350093"/>
                <a:gd name="connsiteX0" fmla="*/ 92570 w 435928"/>
                <a:gd name="connsiteY0" fmla="*/ 63333 h 350093"/>
                <a:gd name="connsiteX1" fmla="*/ 259230 w 435928"/>
                <a:gd name="connsiteY1" fmla="*/ 37509 h 350093"/>
                <a:gd name="connsiteX2" fmla="*/ 428813 w 435928"/>
                <a:gd name="connsiteY2" fmla="*/ 105302 h 350093"/>
                <a:gd name="connsiteX3" fmla="*/ 430431 w 435928"/>
                <a:gd name="connsiteY3" fmla="*/ 179884 h 350093"/>
                <a:gd name="connsiteX4" fmla="*/ 222379 w 435928"/>
                <a:gd name="connsiteY4" fmla="*/ 291577 h 350093"/>
                <a:gd name="connsiteX5" fmla="*/ 26272 w 435928"/>
                <a:gd name="connsiteY5" fmla="*/ 340669 h 350093"/>
                <a:gd name="connsiteX6" fmla="*/ 67615 w 435928"/>
                <a:gd name="connsiteY6" fmla="*/ 216958 h 350093"/>
                <a:gd name="connsiteX7" fmla="*/ 92570 w 435928"/>
                <a:gd name="connsiteY7" fmla="*/ 63333 h 350093"/>
                <a:gd name="connsiteX0" fmla="*/ 92570 w 450527"/>
                <a:gd name="connsiteY0" fmla="*/ 63333 h 350093"/>
                <a:gd name="connsiteX1" fmla="*/ 259230 w 450527"/>
                <a:gd name="connsiteY1" fmla="*/ 37509 h 350093"/>
                <a:gd name="connsiteX2" fmla="*/ 428813 w 450527"/>
                <a:gd name="connsiteY2" fmla="*/ 105302 h 350093"/>
                <a:gd name="connsiteX3" fmla="*/ 450527 w 450527"/>
                <a:gd name="connsiteY3" fmla="*/ 174853 h 350093"/>
                <a:gd name="connsiteX4" fmla="*/ 222379 w 450527"/>
                <a:gd name="connsiteY4" fmla="*/ 291577 h 350093"/>
                <a:gd name="connsiteX5" fmla="*/ 26272 w 450527"/>
                <a:gd name="connsiteY5" fmla="*/ 340669 h 350093"/>
                <a:gd name="connsiteX6" fmla="*/ 67615 w 450527"/>
                <a:gd name="connsiteY6" fmla="*/ 216958 h 350093"/>
                <a:gd name="connsiteX7" fmla="*/ 92570 w 450527"/>
                <a:gd name="connsiteY7" fmla="*/ 63333 h 35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0527" h="350093">
                  <a:moveTo>
                    <a:pt x="92570" y="63333"/>
                  </a:moveTo>
                  <a:cubicBezTo>
                    <a:pt x="197062" y="-19713"/>
                    <a:pt x="203190" y="30514"/>
                    <a:pt x="259230" y="37509"/>
                  </a:cubicBezTo>
                  <a:cubicBezTo>
                    <a:pt x="315270" y="44504"/>
                    <a:pt x="470850" y="-87212"/>
                    <a:pt x="428813" y="105302"/>
                  </a:cubicBezTo>
                  <a:cubicBezTo>
                    <a:pt x="448513" y="167592"/>
                    <a:pt x="429210" y="135248"/>
                    <a:pt x="450527" y="174853"/>
                  </a:cubicBezTo>
                  <a:cubicBezTo>
                    <a:pt x="407742" y="186642"/>
                    <a:pt x="292288" y="240765"/>
                    <a:pt x="222379" y="291577"/>
                  </a:cubicBezTo>
                  <a:cubicBezTo>
                    <a:pt x="181111" y="338112"/>
                    <a:pt x="62631" y="365651"/>
                    <a:pt x="26272" y="340669"/>
                  </a:cubicBezTo>
                  <a:cubicBezTo>
                    <a:pt x="-31084" y="292066"/>
                    <a:pt x="15930" y="261326"/>
                    <a:pt x="67615" y="216958"/>
                  </a:cubicBezTo>
                  <a:cubicBezTo>
                    <a:pt x="165053" y="134500"/>
                    <a:pt x="10517" y="156294"/>
                    <a:pt x="92570" y="633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  <a:ea typeface="08서울남산체 B" panose="02020603020101020101" pitchFamily="18" charset="-127"/>
              </a:endParaRPr>
            </a:p>
          </p:txBody>
        </p:sp>
        <p:grpSp>
          <p:nvGrpSpPr>
            <p:cNvPr id="69" name="Group 9">
              <a:extLst>
                <a:ext uri="{FF2B5EF4-FFF2-40B4-BE49-F238E27FC236}">
                  <a16:creationId xmlns:a16="http://schemas.microsoft.com/office/drawing/2014/main" xmlns="" id="{F957232D-A8A6-4CDD-AFFB-9634D35764FF}"/>
                </a:ext>
              </a:extLst>
            </p:cNvPr>
            <p:cNvGrpSpPr/>
            <p:nvPr/>
          </p:nvGrpSpPr>
          <p:grpSpPr>
            <a:xfrm flipH="1">
              <a:off x="4316824" y="3047206"/>
              <a:ext cx="2100224" cy="767272"/>
              <a:chOff x="2181528" y="3397417"/>
              <a:chExt cx="2100224" cy="767272"/>
            </a:xfrm>
          </p:grpSpPr>
          <p:sp>
            <p:nvSpPr>
              <p:cNvPr id="70" name="Freeform 20">
                <a:extLst>
                  <a:ext uri="{FF2B5EF4-FFF2-40B4-BE49-F238E27FC236}">
                    <a16:creationId xmlns:a16="http://schemas.microsoft.com/office/drawing/2014/main" xmlns="" id="{59B2041B-D8FF-4F23-811B-46DAB3973C88}"/>
                  </a:ext>
                </a:extLst>
              </p:cNvPr>
              <p:cNvSpPr/>
              <p:nvPr/>
            </p:nvSpPr>
            <p:spPr>
              <a:xfrm>
                <a:off x="3500604" y="3397417"/>
                <a:ext cx="781148" cy="767272"/>
              </a:xfrm>
              <a:custGeom>
                <a:avLst/>
                <a:gdLst>
                  <a:gd name="connsiteX0" fmla="*/ 543464 w 1086928"/>
                  <a:gd name="connsiteY0" fmla="*/ 0 h 1000664"/>
                  <a:gd name="connsiteX1" fmla="*/ 0 w 1086928"/>
                  <a:gd name="connsiteY1" fmla="*/ 276045 h 1000664"/>
                  <a:gd name="connsiteX2" fmla="*/ 0 w 1086928"/>
                  <a:gd name="connsiteY2" fmla="*/ 862641 h 1000664"/>
                  <a:gd name="connsiteX3" fmla="*/ 362309 w 1086928"/>
                  <a:gd name="connsiteY3" fmla="*/ 974784 h 1000664"/>
                  <a:gd name="connsiteX4" fmla="*/ 923026 w 1086928"/>
                  <a:gd name="connsiteY4" fmla="*/ 1000664 h 1000664"/>
                  <a:gd name="connsiteX5" fmla="*/ 974785 w 1086928"/>
                  <a:gd name="connsiteY5" fmla="*/ 793630 h 1000664"/>
                  <a:gd name="connsiteX6" fmla="*/ 1017917 w 1086928"/>
                  <a:gd name="connsiteY6" fmla="*/ 621101 h 1000664"/>
                  <a:gd name="connsiteX7" fmla="*/ 1086928 w 1086928"/>
                  <a:gd name="connsiteY7" fmla="*/ 439947 h 1000664"/>
                  <a:gd name="connsiteX8" fmla="*/ 1069675 w 1086928"/>
                  <a:gd name="connsiteY8" fmla="*/ 224286 h 1000664"/>
                  <a:gd name="connsiteX9" fmla="*/ 974785 w 1086928"/>
                  <a:gd name="connsiteY9" fmla="*/ 181154 h 1000664"/>
                  <a:gd name="connsiteX10" fmla="*/ 491706 w 1086928"/>
                  <a:gd name="connsiteY10" fmla="*/ 189781 h 1000664"/>
                  <a:gd name="connsiteX11" fmla="*/ 543464 w 1086928"/>
                  <a:gd name="connsiteY11" fmla="*/ 0 h 1000664"/>
                  <a:gd name="connsiteX0" fmla="*/ 543464 w 1086928"/>
                  <a:gd name="connsiteY0" fmla="*/ 0 h 1000664"/>
                  <a:gd name="connsiteX1" fmla="*/ 0 w 1086928"/>
                  <a:gd name="connsiteY1" fmla="*/ 276045 h 1000664"/>
                  <a:gd name="connsiteX2" fmla="*/ 0 w 1086928"/>
                  <a:gd name="connsiteY2" fmla="*/ 862641 h 1000664"/>
                  <a:gd name="connsiteX3" fmla="*/ 362309 w 1086928"/>
                  <a:gd name="connsiteY3" fmla="*/ 974784 h 1000664"/>
                  <a:gd name="connsiteX4" fmla="*/ 923026 w 1086928"/>
                  <a:gd name="connsiteY4" fmla="*/ 1000664 h 1000664"/>
                  <a:gd name="connsiteX5" fmla="*/ 974785 w 1086928"/>
                  <a:gd name="connsiteY5" fmla="*/ 793630 h 1000664"/>
                  <a:gd name="connsiteX6" fmla="*/ 1017917 w 1086928"/>
                  <a:gd name="connsiteY6" fmla="*/ 621101 h 1000664"/>
                  <a:gd name="connsiteX7" fmla="*/ 1086928 w 1086928"/>
                  <a:gd name="connsiteY7" fmla="*/ 439947 h 1000664"/>
                  <a:gd name="connsiteX8" fmla="*/ 1069675 w 1086928"/>
                  <a:gd name="connsiteY8" fmla="*/ 224286 h 1000664"/>
                  <a:gd name="connsiteX9" fmla="*/ 974785 w 1086928"/>
                  <a:gd name="connsiteY9" fmla="*/ 181154 h 1000664"/>
                  <a:gd name="connsiteX10" fmla="*/ 491706 w 1086928"/>
                  <a:gd name="connsiteY10" fmla="*/ 189781 h 1000664"/>
                  <a:gd name="connsiteX11" fmla="*/ 543464 w 1086928"/>
                  <a:gd name="connsiteY11" fmla="*/ 0 h 1000664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992037"/>
                  <a:gd name="connsiteX1" fmla="*/ 0 w 1086928"/>
                  <a:gd name="connsiteY1" fmla="*/ 267418 h 992037"/>
                  <a:gd name="connsiteX2" fmla="*/ 0 w 1086928"/>
                  <a:gd name="connsiteY2" fmla="*/ 854014 h 992037"/>
                  <a:gd name="connsiteX3" fmla="*/ 362309 w 1086928"/>
                  <a:gd name="connsiteY3" fmla="*/ 966157 h 992037"/>
                  <a:gd name="connsiteX4" fmla="*/ 923026 w 1086928"/>
                  <a:gd name="connsiteY4" fmla="*/ 992037 h 992037"/>
                  <a:gd name="connsiteX5" fmla="*/ 974785 w 1086928"/>
                  <a:gd name="connsiteY5" fmla="*/ 785003 h 992037"/>
                  <a:gd name="connsiteX6" fmla="*/ 1017917 w 1086928"/>
                  <a:gd name="connsiteY6" fmla="*/ 612474 h 992037"/>
                  <a:gd name="connsiteX7" fmla="*/ 1086928 w 1086928"/>
                  <a:gd name="connsiteY7" fmla="*/ 431320 h 992037"/>
                  <a:gd name="connsiteX8" fmla="*/ 1069675 w 1086928"/>
                  <a:gd name="connsiteY8" fmla="*/ 215659 h 992037"/>
                  <a:gd name="connsiteX9" fmla="*/ 974785 w 1086928"/>
                  <a:gd name="connsiteY9" fmla="*/ 172527 h 992037"/>
                  <a:gd name="connsiteX10" fmla="*/ 491706 w 1086928"/>
                  <a:gd name="connsiteY10" fmla="*/ 181154 h 992037"/>
                  <a:gd name="connsiteX11" fmla="*/ 595223 w 1086928"/>
                  <a:gd name="connsiteY11" fmla="*/ 0 h 992037"/>
                  <a:gd name="connsiteX0" fmla="*/ 595223 w 1086928"/>
                  <a:gd name="connsiteY0" fmla="*/ 0 h 1006555"/>
                  <a:gd name="connsiteX1" fmla="*/ 0 w 1086928"/>
                  <a:gd name="connsiteY1" fmla="*/ 267418 h 1006555"/>
                  <a:gd name="connsiteX2" fmla="*/ 0 w 1086928"/>
                  <a:gd name="connsiteY2" fmla="*/ 854014 h 1006555"/>
                  <a:gd name="connsiteX3" fmla="*/ 362309 w 1086928"/>
                  <a:gd name="connsiteY3" fmla="*/ 966157 h 1006555"/>
                  <a:gd name="connsiteX4" fmla="*/ 923026 w 1086928"/>
                  <a:gd name="connsiteY4" fmla="*/ 992037 h 1006555"/>
                  <a:gd name="connsiteX5" fmla="*/ 974785 w 1086928"/>
                  <a:gd name="connsiteY5" fmla="*/ 785003 h 1006555"/>
                  <a:gd name="connsiteX6" fmla="*/ 1017917 w 1086928"/>
                  <a:gd name="connsiteY6" fmla="*/ 612474 h 1006555"/>
                  <a:gd name="connsiteX7" fmla="*/ 1086928 w 1086928"/>
                  <a:gd name="connsiteY7" fmla="*/ 431320 h 1006555"/>
                  <a:gd name="connsiteX8" fmla="*/ 1069675 w 1086928"/>
                  <a:gd name="connsiteY8" fmla="*/ 215659 h 1006555"/>
                  <a:gd name="connsiteX9" fmla="*/ 974785 w 1086928"/>
                  <a:gd name="connsiteY9" fmla="*/ 172527 h 1006555"/>
                  <a:gd name="connsiteX10" fmla="*/ 491706 w 1086928"/>
                  <a:gd name="connsiteY10" fmla="*/ 181154 h 1006555"/>
                  <a:gd name="connsiteX11" fmla="*/ 595223 w 1086928"/>
                  <a:gd name="connsiteY11" fmla="*/ 0 h 1006555"/>
                  <a:gd name="connsiteX0" fmla="*/ 595223 w 1086928"/>
                  <a:gd name="connsiteY0" fmla="*/ 0 h 1006555"/>
                  <a:gd name="connsiteX1" fmla="*/ 0 w 1086928"/>
                  <a:gd name="connsiteY1" fmla="*/ 267418 h 1006555"/>
                  <a:gd name="connsiteX2" fmla="*/ 0 w 1086928"/>
                  <a:gd name="connsiteY2" fmla="*/ 854014 h 1006555"/>
                  <a:gd name="connsiteX3" fmla="*/ 362309 w 1086928"/>
                  <a:gd name="connsiteY3" fmla="*/ 966157 h 1006555"/>
                  <a:gd name="connsiteX4" fmla="*/ 923026 w 1086928"/>
                  <a:gd name="connsiteY4" fmla="*/ 992037 h 1006555"/>
                  <a:gd name="connsiteX5" fmla="*/ 974785 w 1086928"/>
                  <a:gd name="connsiteY5" fmla="*/ 785003 h 1006555"/>
                  <a:gd name="connsiteX6" fmla="*/ 1017917 w 1086928"/>
                  <a:gd name="connsiteY6" fmla="*/ 612474 h 1006555"/>
                  <a:gd name="connsiteX7" fmla="*/ 1086928 w 1086928"/>
                  <a:gd name="connsiteY7" fmla="*/ 431320 h 1006555"/>
                  <a:gd name="connsiteX8" fmla="*/ 1069675 w 1086928"/>
                  <a:gd name="connsiteY8" fmla="*/ 215659 h 1006555"/>
                  <a:gd name="connsiteX9" fmla="*/ 974785 w 1086928"/>
                  <a:gd name="connsiteY9" fmla="*/ 172527 h 1006555"/>
                  <a:gd name="connsiteX10" fmla="*/ 491706 w 1086928"/>
                  <a:gd name="connsiteY10" fmla="*/ 181154 h 1006555"/>
                  <a:gd name="connsiteX11" fmla="*/ 595223 w 1086928"/>
                  <a:gd name="connsiteY11" fmla="*/ 0 h 1006555"/>
                  <a:gd name="connsiteX0" fmla="*/ 595223 w 1086928"/>
                  <a:gd name="connsiteY0" fmla="*/ 0 h 1006555"/>
                  <a:gd name="connsiteX1" fmla="*/ 0 w 1086928"/>
                  <a:gd name="connsiteY1" fmla="*/ 267418 h 1006555"/>
                  <a:gd name="connsiteX2" fmla="*/ 0 w 1086928"/>
                  <a:gd name="connsiteY2" fmla="*/ 854014 h 1006555"/>
                  <a:gd name="connsiteX3" fmla="*/ 362309 w 1086928"/>
                  <a:gd name="connsiteY3" fmla="*/ 966157 h 1006555"/>
                  <a:gd name="connsiteX4" fmla="*/ 923026 w 1086928"/>
                  <a:gd name="connsiteY4" fmla="*/ 992037 h 1006555"/>
                  <a:gd name="connsiteX5" fmla="*/ 974785 w 1086928"/>
                  <a:gd name="connsiteY5" fmla="*/ 785003 h 1006555"/>
                  <a:gd name="connsiteX6" fmla="*/ 1017917 w 1086928"/>
                  <a:gd name="connsiteY6" fmla="*/ 612474 h 1006555"/>
                  <a:gd name="connsiteX7" fmla="*/ 1086928 w 1086928"/>
                  <a:gd name="connsiteY7" fmla="*/ 431320 h 1006555"/>
                  <a:gd name="connsiteX8" fmla="*/ 1069675 w 1086928"/>
                  <a:gd name="connsiteY8" fmla="*/ 215659 h 1006555"/>
                  <a:gd name="connsiteX9" fmla="*/ 974785 w 1086928"/>
                  <a:gd name="connsiteY9" fmla="*/ 172527 h 1006555"/>
                  <a:gd name="connsiteX10" fmla="*/ 491706 w 1086928"/>
                  <a:gd name="connsiteY10" fmla="*/ 181154 h 1006555"/>
                  <a:gd name="connsiteX11" fmla="*/ 595223 w 1086928"/>
                  <a:gd name="connsiteY11" fmla="*/ 0 h 1006555"/>
                  <a:gd name="connsiteX0" fmla="*/ 595223 w 1086928"/>
                  <a:gd name="connsiteY0" fmla="*/ 0 h 1006555"/>
                  <a:gd name="connsiteX1" fmla="*/ 0 w 1086928"/>
                  <a:gd name="connsiteY1" fmla="*/ 267418 h 1006555"/>
                  <a:gd name="connsiteX2" fmla="*/ 0 w 1086928"/>
                  <a:gd name="connsiteY2" fmla="*/ 854014 h 1006555"/>
                  <a:gd name="connsiteX3" fmla="*/ 362309 w 1086928"/>
                  <a:gd name="connsiteY3" fmla="*/ 966157 h 1006555"/>
                  <a:gd name="connsiteX4" fmla="*/ 923026 w 1086928"/>
                  <a:gd name="connsiteY4" fmla="*/ 992037 h 1006555"/>
                  <a:gd name="connsiteX5" fmla="*/ 974785 w 1086928"/>
                  <a:gd name="connsiteY5" fmla="*/ 785003 h 1006555"/>
                  <a:gd name="connsiteX6" fmla="*/ 1017917 w 1086928"/>
                  <a:gd name="connsiteY6" fmla="*/ 612474 h 1006555"/>
                  <a:gd name="connsiteX7" fmla="*/ 1086928 w 1086928"/>
                  <a:gd name="connsiteY7" fmla="*/ 431320 h 1006555"/>
                  <a:gd name="connsiteX8" fmla="*/ 1069675 w 1086928"/>
                  <a:gd name="connsiteY8" fmla="*/ 215659 h 1006555"/>
                  <a:gd name="connsiteX9" fmla="*/ 974785 w 1086928"/>
                  <a:gd name="connsiteY9" fmla="*/ 172527 h 1006555"/>
                  <a:gd name="connsiteX10" fmla="*/ 491706 w 1086928"/>
                  <a:gd name="connsiteY10" fmla="*/ 181154 h 1006555"/>
                  <a:gd name="connsiteX11" fmla="*/ 595223 w 1086928"/>
                  <a:gd name="connsiteY11" fmla="*/ 0 h 1006555"/>
                  <a:gd name="connsiteX0" fmla="*/ 595223 w 1086928"/>
                  <a:gd name="connsiteY0" fmla="*/ 0 h 1006555"/>
                  <a:gd name="connsiteX1" fmla="*/ 0 w 1086928"/>
                  <a:gd name="connsiteY1" fmla="*/ 267418 h 1006555"/>
                  <a:gd name="connsiteX2" fmla="*/ 0 w 1086928"/>
                  <a:gd name="connsiteY2" fmla="*/ 854014 h 1006555"/>
                  <a:gd name="connsiteX3" fmla="*/ 362309 w 1086928"/>
                  <a:gd name="connsiteY3" fmla="*/ 966157 h 1006555"/>
                  <a:gd name="connsiteX4" fmla="*/ 923026 w 1086928"/>
                  <a:gd name="connsiteY4" fmla="*/ 992037 h 1006555"/>
                  <a:gd name="connsiteX5" fmla="*/ 974785 w 1086928"/>
                  <a:gd name="connsiteY5" fmla="*/ 785003 h 1006555"/>
                  <a:gd name="connsiteX6" fmla="*/ 1017917 w 1086928"/>
                  <a:gd name="connsiteY6" fmla="*/ 612474 h 1006555"/>
                  <a:gd name="connsiteX7" fmla="*/ 1086928 w 1086928"/>
                  <a:gd name="connsiteY7" fmla="*/ 431320 h 1006555"/>
                  <a:gd name="connsiteX8" fmla="*/ 1069675 w 1086928"/>
                  <a:gd name="connsiteY8" fmla="*/ 215659 h 1006555"/>
                  <a:gd name="connsiteX9" fmla="*/ 974785 w 1086928"/>
                  <a:gd name="connsiteY9" fmla="*/ 172527 h 1006555"/>
                  <a:gd name="connsiteX10" fmla="*/ 491706 w 1086928"/>
                  <a:gd name="connsiteY10" fmla="*/ 181154 h 1006555"/>
                  <a:gd name="connsiteX11" fmla="*/ 595223 w 1086928"/>
                  <a:gd name="connsiteY11" fmla="*/ 0 h 1006555"/>
                  <a:gd name="connsiteX0" fmla="*/ 595223 w 1086928"/>
                  <a:gd name="connsiteY0" fmla="*/ 0 h 980502"/>
                  <a:gd name="connsiteX1" fmla="*/ 0 w 1086928"/>
                  <a:gd name="connsiteY1" fmla="*/ 267418 h 980502"/>
                  <a:gd name="connsiteX2" fmla="*/ 0 w 1086928"/>
                  <a:gd name="connsiteY2" fmla="*/ 854014 h 980502"/>
                  <a:gd name="connsiteX3" fmla="*/ 362309 w 1086928"/>
                  <a:gd name="connsiteY3" fmla="*/ 966157 h 980502"/>
                  <a:gd name="connsiteX4" fmla="*/ 934932 w 1086928"/>
                  <a:gd name="connsiteY4" fmla="*/ 946794 h 980502"/>
                  <a:gd name="connsiteX5" fmla="*/ 974785 w 1086928"/>
                  <a:gd name="connsiteY5" fmla="*/ 785003 h 980502"/>
                  <a:gd name="connsiteX6" fmla="*/ 1017917 w 1086928"/>
                  <a:gd name="connsiteY6" fmla="*/ 612474 h 980502"/>
                  <a:gd name="connsiteX7" fmla="*/ 1086928 w 1086928"/>
                  <a:gd name="connsiteY7" fmla="*/ 431320 h 980502"/>
                  <a:gd name="connsiteX8" fmla="*/ 1069675 w 1086928"/>
                  <a:gd name="connsiteY8" fmla="*/ 215659 h 980502"/>
                  <a:gd name="connsiteX9" fmla="*/ 974785 w 1086928"/>
                  <a:gd name="connsiteY9" fmla="*/ 172527 h 980502"/>
                  <a:gd name="connsiteX10" fmla="*/ 491706 w 1086928"/>
                  <a:gd name="connsiteY10" fmla="*/ 181154 h 980502"/>
                  <a:gd name="connsiteX11" fmla="*/ 595223 w 1086928"/>
                  <a:gd name="connsiteY11" fmla="*/ 0 h 980502"/>
                  <a:gd name="connsiteX0" fmla="*/ 595223 w 1086928"/>
                  <a:gd name="connsiteY0" fmla="*/ 0 h 1010346"/>
                  <a:gd name="connsiteX1" fmla="*/ 0 w 1086928"/>
                  <a:gd name="connsiteY1" fmla="*/ 267418 h 1010346"/>
                  <a:gd name="connsiteX2" fmla="*/ 0 w 1086928"/>
                  <a:gd name="connsiteY2" fmla="*/ 854014 h 1010346"/>
                  <a:gd name="connsiteX3" fmla="*/ 362309 w 1086928"/>
                  <a:gd name="connsiteY3" fmla="*/ 966157 h 1010346"/>
                  <a:gd name="connsiteX4" fmla="*/ 925407 w 1086928"/>
                  <a:gd name="connsiteY4" fmla="*/ 996801 h 1010346"/>
                  <a:gd name="connsiteX5" fmla="*/ 974785 w 1086928"/>
                  <a:gd name="connsiteY5" fmla="*/ 785003 h 1010346"/>
                  <a:gd name="connsiteX6" fmla="*/ 1017917 w 1086928"/>
                  <a:gd name="connsiteY6" fmla="*/ 612474 h 1010346"/>
                  <a:gd name="connsiteX7" fmla="*/ 1086928 w 1086928"/>
                  <a:gd name="connsiteY7" fmla="*/ 431320 h 1010346"/>
                  <a:gd name="connsiteX8" fmla="*/ 1069675 w 1086928"/>
                  <a:gd name="connsiteY8" fmla="*/ 215659 h 1010346"/>
                  <a:gd name="connsiteX9" fmla="*/ 974785 w 1086928"/>
                  <a:gd name="connsiteY9" fmla="*/ 172527 h 1010346"/>
                  <a:gd name="connsiteX10" fmla="*/ 491706 w 1086928"/>
                  <a:gd name="connsiteY10" fmla="*/ 181154 h 1010346"/>
                  <a:gd name="connsiteX11" fmla="*/ 595223 w 1086928"/>
                  <a:gd name="connsiteY11" fmla="*/ 0 h 1010346"/>
                  <a:gd name="connsiteX0" fmla="*/ 595223 w 1086928"/>
                  <a:gd name="connsiteY0" fmla="*/ 0 h 1010346"/>
                  <a:gd name="connsiteX1" fmla="*/ 0 w 1086928"/>
                  <a:gd name="connsiteY1" fmla="*/ 267418 h 1010346"/>
                  <a:gd name="connsiteX2" fmla="*/ 0 w 1086928"/>
                  <a:gd name="connsiteY2" fmla="*/ 854014 h 1010346"/>
                  <a:gd name="connsiteX3" fmla="*/ 362309 w 1086928"/>
                  <a:gd name="connsiteY3" fmla="*/ 966157 h 1010346"/>
                  <a:gd name="connsiteX4" fmla="*/ 925407 w 1086928"/>
                  <a:gd name="connsiteY4" fmla="*/ 996801 h 1010346"/>
                  <a:gd name="connsiteX5" fmla="*/ 974785 w 1086928"/>
                  <a:gd name="connsiteY5" fmla="*/ 785003 h 1010346"/>
                  <a:gd name="connsiteX6" fmla="*/ 1017917 w 1086928"/>
                  <a:gd name="connsiteY6" fmla="*/ 612474 h 1010346"/>
                  <a:gd name="connsiteX7" fmla="*/ 1086928 w 1086928"/>
                  <a:gd name="connsiteY7" fmla="*/ 431320 h 1010346"/>
                  <a:gd name="connsiteX8" fmla="*/ 1069675 w 1086928"/>
                  <a:gd name="connsiteY8" fmla="*/ 215659 h 1010346"/>
                  <a:gd name="connsiteX9" fmla="*/ 974785 w 1086928"/>
                  <a:gd name="connsiteY9" fmla="*/ 172527 h 1010346"/>
                  <a:gd name="connsiteX10" fmla="*/ 491706 w 1086928"/>
                  <a:gd name="connsiteY10" fmla="*/ 181154 h 1010346"/>
                  <a:gd name="connsiteX11" fmla="*/ 595223 w 1086928"/>
                  <a:gd name="connsiteY11" fmla="*/ 0 h 1010346"/>
                  <a:gd name="connsiteX0" fmla="*/ 595223 w 1086928"/>
                  <a:gd name="connsiteY0" fmla="*/ 0 h 1010346"/>
                  <a:gd name="connsiteX1" fmla="*/ 0 w 1086928"/>
                  <a:gd name="connsiteY1" fmla="*/ 267418 h 1010346"/>
                  <a:gd name="connsiteX2" fmla="*/ 0 w 1086928"/>
                  <a:gd name="connsiteY2" fmla="*/ 854014 h 1010346"/>
                  <a:gd name="connsiteX3" fmla="*/ 362309 w 1086928"/>
                  <a:gd name="connsiteY3" fmla="*/ 966157 h 1010346"/>
                  <a:gd name="connsiteX4" fmla="*/ 925407 w 1086928"/>
                  <a:gd name="connsiteY4" fmla="*/ 996801 h 1010346"/>
                  <a:gd name="connsiteX5" fmla="*/ 981929 w 1086928"/>
                  <a:gd name="connsiteY5" fmla="*/ 820721 h 1010346"/>
                  <a:gd name="connsiteX6" fmla="*/ 1017917 w 1086928"/>
                  <a:gd name="connsiteY6" fmla="*/ 612474 h 1010346"/>
                  <a:gd name="connsiteX7" fmla="*/ 1086928 w 1086928"/>
                  <a:gd name="connsiteY7" fmla="*/ 431320 h 1010346"/>
                  <a:gd name="connsiteX8" fmla="*/ 1069675 w 1086928"/>
                  <a:gd name="connsiteY8" fmla="*/ 215659 h 1010346"/>
                  <a:gd name="connsiteX9" fmla="*/ 974785 w 1086928"/>
                  <a:gd name="connsiteY9" fmla="*/ 172527 h 1010346"/>
                  <a:gd name="connsiteX10" fmla="*/ 491706 w 1086928"/>
                  <a:gd name="connsiteY10" fmla="*/ 181154 h 1010346"/>
                  <a:gd name="connsiteX11" fmla="*/ 595223 w 1086928"/>
                  <a:gd name="connsiteY11" fmla="*/ 0 h 1010346"/>
                  <a:gd name="connsiteX0" fmla="*/ 925407 w 1086928"/>
                  <a:gd name="connsiteY0" fmla="*/ 996801 h 1088241"/>
                  <a:gd name="connsiteX1" fmla="*/ 981929 w 1086928"/>
                  <a:gd name="connsiteY1" fmla="*/ 820721 h 1088241"/>
                  <a:gd name="connsiteX2" fmla="*/ 1017917 w 1086928"/>
                  <a:gd name="connsiteY2" fmla="*/ 612474 h 1088241"/>
                  <a:gd name="connsiteX3" fmla="*/ 1086928 w 1086928"/>
                  <a:gd name="connsiteY3" fmla="*/ 431320 h 1088241"/>
                  <a:gd name="connsiteX4" fmla="*/ 1069675 w 1086928"/>
                  <a:gd name="connsiteY4" fmla="*/ 215659 h 1088241"/>
                  <a:gd name="connsiteX5" fmla="*/ 974785 w 1086928"/>
                  <a:gd name="connsiteY5" fmla="*/ 172527 h 1088241"/>
                  <a:gd name="connsiteX6" fmla="*/ 491706 w 1086928"/>
                  <a:gd name="connsiteY6" fmla="*/ 181154 h 1088241"/>
                  <a:gd name="connsiteX7" fmla="*/ 595223 w 1086928"/>
                  <a:gd name="connsiteY7" fmla="*/ 0 h 1088241"/>
                  <a:gd name="connsiteX8" fmla="*/ 0 w 1086928"/>
                  <a:gd name="connsiteY8" fmla="*/ 267418 h 1088241"/>
                  <a:gd name="connsiteX9" fmla="*/ 0 w 1086928"/>
                  <a:gd name="connsiteY9" fmla="*/ 854014 h 1088241"/>
                  <a:gd name="connsiteX10" fmla="*/ 362309 w 1086928"/>
                  <a:gd name="connsiteY10" fmla="*/ 966157 h 1088241"/>
                  <a:gd name="connsiteX11" fmla="*/ 1016847 w 1086928"/>
                  <a:gd name="connsiteY11" fmla="*/ 1088241 h 1088241"/>
                  <a:gd name="connsiteX0" fmla="*/ 925407 w 1086928"/>
                  <a:gd name="connsiteY0" fmla="*/ 996801 h 1088241"/>
                  <a:gd name="connsiteX1" fmla="*/ 981929 w 1086928"/>
                  <a:gd name="connsiteY1" fmla="*/ 820721 h 1088241"/>
                  <a:gd name="connsiteX2" fmla="*/ 1017917 w 1086928"/>
                  <a:gd name="connsiteY2" fmla="*/ 612474 h 1088241"/>
                  <a:gd name="connsiteX3" fmla="*/ 1086928 w 1086928"/>
                  <a:gd name="connsiteY3" fmla="*/ 431320 h 1088241"/>
                  <a:gd name="connsiteX4" fmla="*/ 1069675 w 1086928"/>
                  <a:gd name="connsiteY4" fmla="*/ 215659 h 1088241"/>
                  <a:gd name="connsiteX5" fmla="*/ 974785 w 1086928"/>
                  <a:gd name="connsiteY5" fmla="*/ 172527 h 1088241"/>
                  <a:gd name="connsiteX6" fmla="*/ 491706 w 1086928"/>
                  <a:gd name="connsiteY6" fmla="*/ 181154 h 1088241"/>
                  <a:gd name="connsiteX7" fmla="*/ 595223 w 1086928"/>
                  <a:gd name="connsiteY7" fmla="*/ 0 h 1088241"/>
                  <a:gd name="connsiteX8" fmla="*/ 0 w 1086928"/>
                  <a:gd name="connsiteY8" fmla="*/ 267418 h 1088241"/>
                  <a:gd name="connsiteX9" fmla="*/ 0 w 1086928"/>
                  <a:gd name="connsiteY9" fmla="*/ 854014 h 1088241"/>
                  <a:gd name="connsiteX10" fmla="*/ 362309 w 1086928"/>
                  <a:gd name="connsiteY10" fmla="*/ 966157 h 1088241"/>
                  <a:gd name="connsiteX11" fmla="*/ 1016847 w 1086928"/>
                  <a:gd name="connsiteY11" fmla="*/ 1088241 h 108824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0" fmla="*/ 925407 w 1086928"/>
                  <a:gd name="connsiteY0" fmla="*/ 996801 h 996801"/>
                  <a:gd name="connsiteX1" fmla="*/ 981929 w 1086928"/>
                  <a:gd name="connsiteY1" fmla="*/ 820721 h 996801"/>
                  <a:gd name="connsiteX2" fmla="*/ 1017917 w 1086928"/>
                  <a:gd name="connsiteY2" fmla="*/ 612474 h 996801"/>
                  <a:gd name="connsiteX3" fmla="*/ 1086928 w 1086928"/>
                  <a:gd name="connsiteY3" fmla="*/ 431320 h 996801"/>
                  <a:gd name="connsiteX4" fmla="*/ 1069675 w 1086928"/>
                  <a:gd name="connsiteY4" fmla="*/ 215659 h 996801"/>
                  <a:gd name="connsiteX5" fmla="*/ 974785 w 1086928"/>
                  <a:gd name="connsiteY5" fmla="*/ 172527 h 996801"/>
                  <a:gd name="connsiteX6" fmla="*/ 491706 w 1086928"/>
                  <a:gd name="connsiteY6" fmla="*/ 181154 h 996801"/>
                  <a:gd name="connsiteX7" fmla="*/ 595223 w 1086928"/>
                  <a:gd name="connsiteY7" fmla="*/ 0 h 996801"/>
                  <a:gd name="connsiteX8" fmla="*/ 0 w 1086928"/>
                  <a:gd name="connsiteY8" fmla="*/ 267418 h 996801"/>
                  <a:gd name="connsiteX9" fmla="*/ 0 w 1086928"/>
                  <a:gd name="connsiteY9" fmla="*/ 854014 h 996801"/>
                  <a:gd name="connsiteX10" fmla="*/ 362309 w 1086928"/>
                  <a:gd name="connsiteY10" fmla="*/ 966157 h 996801"/>
                  <a:gd name="connsiteX11" fmla="*/ 925407 w 1086928"/>
                  <a:gd name="connsiteY11" fmla="*/ 996801 h 996801"/>
                  <a:gd name="connsiteX0" fmla="*/ 925407 w 1086928"/>
                  <a:gd name="connsiteY0" fmla="*/ 996801 h 1038224"/>
                  <a:gd name="connsiteX1" fmla="*/ 981929 w 1086928"/>
                  <a:gd name="connsiteY1" fmla="*/ 820721 h 1038224"/>
                  <a:gd name="connsiteX2" fmla="*/ 1017917 w 1086928"/>
                  <a:gd name="connsiteY2" fmla="*/ 612474 h 1038224"/>
                  <a:gd name="connsiteX3" fmla="*/ 1086928 w 1086928"/>
                  <a:gd name="connsiteY3" fmla="*/ 431320 h 1038224"/>
                  <a:gd name="connsiteX4" fmla="*/ 1069675 w 1086928"/>
                  <a:gd name="connsiteY4" fmla="*/ 215659 h 1038224"/>
                  <a:gd name="connsiteX5" fmla="*/ 974785 w 1086928"/>
                  <a:gd name="connsiteY5" fmla="*/ 172527 h 1038224"/>
                  <a:gd name="connsiteX6" fmla="*/ 491706 w 1086928"/>
                  <a:gd name="connsiteY6" fmla="*/ 181154 h 1038224"/>
                  <a:gd name="connsiteX7" fmla="*/ 595223 w 1086928"/>
                  <a:gd name="connsiteY7" fmla="*/ 0 h 1038224"/>
                  <a:gd name="connsiteX8" fmla="*/ 0 w 1086928"/>
                  <a:gd name="connsiteY8" fmla="*/ 267418 h 1038224"/>
                  <a:gd name="connsiteX9" fmla="*/ 0 w 1086928"/>
                  <a:gd name="connsiteY9" fmla="*/ 854014 h 1038224"/>
                  <a:gd name="connsiteX10" fmla="*/ 362309 w 1086928"/>
                  <a:gd name="connsiteY10" fmla="*/ 966157 h 1038224"/>
                  <a:gd name="connsiteX11" fmla="*/ 743220 w 1086928"/>
                  <a:gd name="connsiteY11" fmla="*/ 1038224 h 1038224"/>
                  <a:gd name="connsiteX12" fmla="*/ 925407 w 1086928"/>
                  <a:gd name="connsiteY12" fmla="*/ 996801 h 1038224"/>
                  <a:gd name="connsiteX0" fmla="*/ 925407 w 1086928"/>
                  <a:gd name="connsiteY0" fmla="*/ 996801 h 1038224"/>
                  <a:gd name="connsiteX1" fmla="*/ 981929 w 1086928"/>
                  <a:gd name="connsiteY1" fmla="*/ 820721 h 1038224"/>
                  <a:gd name="connsiteX2" fmla="*/ 1017917 w 1086928"/>
                  <a:gd name="connsiteY2" fmla="*/ 612474 h 1038224"/>
                  <a:gd name="connsiteX3" fmla="*/ 1086928 w 1086928"/>
                  <a:gd name="connsiteY3" fmla="*/ 431320 h 1038224"/>
                  <a:gd name="connsiteX4" fmla="*/ 1069675 w 1086928"/>
                  <a:gd name="connsiteY4" fmla="*/ 215659 h 1038224"/>
                  <a:gd name="connsiteX5" fmla="*/ 974785 w 1086928"/>
                  <a:gd name="connsiteY5" fmla="*/ 172527 h 1038224"/>
                  <a:gd name="connsiteX6" fmla="*/ 491706 w 1086928"/>
                  <a:gd name="connsiteY6" fmla="*/ 181154 h 1038224"/>
                  <a:gd name="connsiteX7" fmla="*/ 595223 w 1086928"/>
                  <a:gd name="connsiteY7" fmla="*/ 0 h 1038224"/>
                  <a:gd name="connsiteX8" fmla="*/ 0 w 1086928"/>
                  <a:gd name="connsiteY8" fmla="*/ 267418 h 1038224"/>
                  <a:gd name="connsiteX9" fmla="*/ 0 w 1086928"/>
                  <a:gd name="connsiteY9" fmla="*/ 854014 h 1038224"/>
                  <a:gd name="connsiteX10" fmla="*/ 362309 w 1086928"/>
                  <a:gd name="connsiteY10" fmla="*/ 966157 h 1038224"/>
                  <a:gd name="connsiteX11" fmla="*/ 743220 w 1086928"/>
                  <a:gd name="connsiteY11" fmla="*/ 1038224 h 1038224"/>
                  <a:gd name="connsiteX12" fmla="*/ 925407 w 1086928"/>
                  <a:gd name="connsiteY12" fmla="*/ 996801 h 1038224"/>
                  <a:gd name="connsiteX0" fmla="*/ 925407 w 1086928"/>
                  <a:gd name="connsiteY0" fmla="*/ 996801 h 1005589"/>
                  <a:gd name="connsiteX1" fmla="*/ 981929 w 1086928"/>
                  <a:gd name="connsiteY1" fmla="*/ 820721 h 1005589"/>
                  <a:gd name="connsiteX2" fmla="*/ 1017917 w 1086928"/>
                  <a:gd name="connsiteY2" fmla="*/ 612474 h 1005589"/>
                  <a:gd name="connsiteX3" fmla="*/ 1086928 w 1086928"/>
                  <a:gd name="connsiteY3" fmla="*/ 431320 h 1005589"/>
                  <a:gd name="connsiteX4" fmla="*/ 1069675 w 1086928"/>
                  <a:gd name="connsiteY4" fmla="*/ 215659 h 1005589"/>
                  <a:gd name="connsiteX5" fmla="*/ 974785 w 1086928"/>
                  <a:gd name="connsiteY5" fmla="*/ 172527 h 1005589"/>
                  <a:gd name="connsiteX6" fmla="*/ 491706 w 1086928"/>
                  <a:gd name="connsiteY6" fmla="*/ 181154 h 1005589"/>
                  <a:gd name="connsiteX7" fmla="*/ 595223 w 1086928"/>
                  <a:gd name="connsiteY7" fmla="*/ 0 h 1005589"/>
                  <a:gd name="connsiteX8" fmla="*/ 0 w 1086928"/>
                  <a:gd name="connsiteY8" fmla="*/ 267418 h 1005589"/>
                  <a:gd name="connsiteX9" fmla="*/ 0 w 1086928"/>
                  <a:gd name="connsiteY9" fmla="*/ 854014 h 1005589"/>
                  <a:gd name="connsiteX10" fmla="*/ 362309 w 1086928"/>
                  <a:gd name="connsiteY10" fmla="*/ 966157 h 1005589"/>
                  <a:gd name="connsiteX11" fmla="*/ 925407 w 1086928"/>
                  <a:gd name="connsiteY11" fmla="*/ 996801 h 1005589"/>
                  <a:gd name="connsiteX0" fmla="*/ 925407 w 1086928"/>
                  <a:gd name="connsiteY0" fmla="*/ 996801 h 1013821"/>
                  <a:gd name="connsiteX1" fmla="*/ 981929 w 1086928"/>
                  <a:gd name="connsiteY1" fmla="*/ 820721 h 1013821"/>
                  <a:gd name="connsiteX2" fmla="*/ 1017917 w 1086928"/>
                  <a:gd name="connsiteY2" fmla="*/ 612474 h 1013821"/>
                  <a:gd name="connsiteX3" fmla="*/ 1086928 w 1086928"/>
                  <a:gd name="connsiteY3" fmla="*/ 431320 h 1013821"/>
                  <a:gd name="connsiteX4" fmla="*/ 1069675 w 1086928"/>
                  <a:gd name="connsiteY4" fmla="*/ 215659 h 1013821"/>
                  <a:gd name="connsiteX5" fmla="*/ 974785 w 1086928"/>
                  <a:gd name="connsiteY5" fmla="*/ 172527 h 1013821"/>
                  <a:gd name="connsiteX6" fmla="*/ 491706 w 1086928"/>
                  <a:gd name="connsiteY6" fmla="*/ 181154 h 1013821"/>
                  <a:gd name="connsiteX7" fmla="*/ 595223 w 1086928"/>
                  <a:gd name="connsiteY7" fmla="*/ 0 h 1013821"/>
                  <a:gd name="connsiteX8" fmla="*/ 0 w 1086928"/>
                  <a:gd name="connsiteY8" fmla="*/ 267418 h 1013821"/>
                  <a:gd name="connsiteX9" fmla="*/ 0 w 1086928"/>
                  <a:gd name="connsiteY9" fmla="*/ 854014 h 1013821"/>
                  <a:gd name="connsiteX10" fmla="*/ 362309 w 1086928"/>
                  <a:gd name="connsiteY10" fmla="*/ 966157 h 1013821"/>
                  <a:gd name="connsiteX11" fmla="*/ 925407 w 1086928"/>
                  <a:gd name="connsiteY11" fmla="*/ 996801 h 1013821"/>
                  <a:gd name="connsiteX0" fmla="*/ 925407 w 1086928"/>
                  <a:gd name="connsiteY0" fmla="*/ 996801 h 1013821"/>
                  <a:gd name="connsiteX1" fmla="*/ 981929 w 1086928"/>
                  <a:gd name="connsiteY1" fmla="*/ 820721 h 1013821"/>
                  <a:gd name="connsiteX2" fmla="*/ 1017917 w 1086928"/>
                  <a:gd name="connsiteY2" fmla="*/ 612474 h 1013821"/>
                  <a:gd name="connsiteX3" fmla="*/ 1086928 w 1086928"/>
                  <a:gd name="connsiteY3" fmla="*/ 431320 h 1013821"/>
                  <a:gd name="connsiteX4" fmla="*/ 1069675 w 1086928"/>
                  <a:gd name="connsiteY4" fmla="*/ 215659 h 1013821"/>
                  <a:gd name="connsiteX5" fmla="*/ 974785 w 1086928"/>
                  <a:gd name="connsiteY5" fmla="*/ 172527 h 1013821"/>
                  <a:gd name="connsiteX6" fmla="*/ 491706 w 1086928"/>
                  <a:gd name="connsiteY6" fmla="*/ 181154 h 1013821"/>
                  <a:gd name="connsiteX7" fmla="*/ 595223 w 1086928"/>
                  <a:gd name="connsiteY7" fmla="*/ 0 h 1013821"/>
                  <a:gd name="connsiteX8" fmla="*/ 0 w 1086928"/>
                  <a:gd name="connsiteY8" fmla="*/ 267418 h 1013821"/>
                  <a:gd name="connsiteX9" fmla="*/ 0 w 1086928"/>
                  <a:gd name="connsiteY9" fmla="*/ 854014 h 1013821"/>
                  <a:gd name="connsiteX10" fmla="*/ 362309 w 1086928"/>
                  <a:gd name="connsiteY10" fmla="*/ 966157 h 1013821"/>
                  <a:gd name="connsiteX11" fmla="*/ 925407 w 1086928"/>
                  <a:gd name="connsiteY11" fmla="*/ 996801 h 1013821"/>
                  <a:gd name="connsiteX0" fmla="*/ 925407 w 1086928"/>
                  <a:gd name="connsiteY0" fmla="*/ 996801 h 1013821"/>
                  <a:gd name="connsiteX1" fmla="*/ 991454 w 1086928"/>
                  <a:gd name="connsiteY1" fmla="*/ 823103 h 1013821"/>
                  <a:gd name="connsiteX2" fmla="*/ 1017917 w 1086928"/>
                  <a:gd name="connsiteY2" fmla="*/ 612474 h 1013821"/>
                  <a:gd name="connsiteX3" fmla="*/ 1086928 w 1086928"/>
                  <a:gd name="connsiteY3" fmla="*/ 431320 h 1013821"/>
                  <a:gd name="connsiteX4" fmla="*/ 1069675 w 1086928"/>
                  <a:gd name="connsiteY4" fmla="*/ 215659 h 1013821"/>
                  <a:gd name="connsiteX5" fmla="*/ 974785 w 1086928"/>
                  <a:gd name="connsiteY5" fmla="*/ 172527 h 1013821"/>
                  <a:gd name="connsiteX6" fmla="*/ 491706 w 1086928"/>
                  <a:gd name="connsiteY6" fmla="*/ 181154 h 1013821"/>
                  <a:gd name="connsiteX7" fmla="*/ 595223 w 1086928"/>
                  <a:gd name="connsiteY7" fmla="*/ 0 h 1013821"/>
                  <a:gd name="connsiteX8" fmla="*/ 0 w 1086928"/>
                  <a:gd name="connsiteY8" fmla="*/ 267418 h 1013821"/>
                  <a:gd name="connsiteX9" fmla="*/ 0 w 1086928"/>
                  <a:gd name="connsiteY9" fmla="*/ 854014 h 1013821"/>
                  <a:gd name="connsiteX10" fmla="*/ 362309 w 1086928"/>
                  <a:gd name="connsiteY10" fmla="*/ 966157 h 1013821"/>
                  <a:gd name="connsiteX11" fmla="*/ 925407 w 1086928"/>
                  <a:gd name="connsiteY11" fmla="*/ 996801 h 1013821"/>
                  <a:gd name="connsiteX0" fmla="*/ 925407 w 1086928"/>
                  <a:gd name="connsiteY0" fmla="*/ 996801 h 1013821"/>
                  <a:gd name="connsiteX1" fmla="*/ 991454 w 1086928"/>
                  <a:gd name="connsiteY1" fmla="*/ 823103 h 1013821"/>
                  <a:gd name="connsiteX2" fmla="*/ 1017917 w 1086928"/>
                  <a:gd name="connsiteY2" fmla="*/ 612474 h 1013821"/>
                  <a:gd name="connsiteX3" fmla="*/ 1086928 w 1086928"/>
                  <a:gd name="connsiteY3" fmla="*/ 431320 h 1013821"/>
                  <a:gd name="connsiteX4" fmla="*/ 1069675 w 1086928"/>
                  <a:gd name="connsiteY4" fmla="*/ 215659 h 1013821"/>
                  <a:gd name="connsiteX5" fmla="*/ 974785 w 1086928"/>
                  <a:gd name="connsiteY5" fmla="*/ 172527 h 1013821"/>
                  <a:gd name="connsiteX6" fmla="*/ 491706 w 1086928"/>
                  <a:gd name="connsiteY6" fmla="*/ 181154 h 1013821"/>
                  <a:gd name="connsiteX7" fmla="*/ 595223 w 1086928"/>
                  <a:gd name="connsiteY7" fmla="*/ 0 h 1013821"/>
                  <a:gd name="connsiteX8" fmla="*/ 0 w 1086928"/>
                  <a:gd name="connsiteY8" fmla="*/ 267418 h 1013821"/>
                  <a:gd name="connsiteX9" fmla="*/ 0 w 1086928"/>
                  <a:gd name="connsiteY9" fmla="*/ 854014 h 1013821"/>
                  <a:gd name="connsiteX10" fmla="*/ 362309 w 1086928"/>
                  <a:gd name="connsiteY10" fmla="*/ 966157 h 1013821"/>
                  <a:gd name="connsiteX11" fmla="*/ 925407 w 1086928"/>
                  <a:gd name="connsiteY11" fmla="*/ 996801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1082894 w 1086928"/>
                  <a:gd name="connsiteY11" fmla="*/ 91454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1082894 w 1086928"/>
                  <a:gd name="connsiteY11" fmla="*/ 91454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1082894 w 1086928"/>
                  <a:gd name="connsiteY11" fmla="*/ 914543 h 1013821"/>
                  <a:gd name="connsiteX12" fmla="*/ 991454 w 1086928"/>
                  <a:gd name="connsiteY12" fmla="*/ 82310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1082894 w 1086928"/>
                  <a:gd name="connsiteY11" fmla="*/ 914543 h 1013821"/>
                  <a:gd name="connsiteX12" fmla="*/ 991454 w 1086928"/>
                  <a:gd name="connsiteY12" fmla="*/ 82310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91454 w 1086928"/>
                  <a:gd name="connsiteY11" fmla="*/ 82310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91454 w 1086928"/>
                  <a:gd name="connsiteY11" fmla="*/ 823103 h 1013821"/>
                  <a:gd name="connsiteX0" fmla="*/ 991454 w 1086928"/>
                  <a:gd name="connsiteY0" fmla="*/ 823103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91454 w 1086928"/>
                  <a:gd name="connsiteY11" fmla="*/ 823103 h 1013821"/>
                  <a:gd name="connsiteX0" fmla="*/ 977167 w 1086928"/>
                  <a:gd name="connsiteY0" fmla="*/ 825484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17917 w 1086928"/>
                  <a:gd name="connsiteY1" fmla="*/ 612474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88488 w 1086928"/>
                  <a:gd name="connsiteY11" fmla="*/ 833437 h 1013821"/>
                  <a:gd name="connsiteX12" fmla="*/ 977167 w 1086928"/>
                  <a:gd name="connsiteY12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88488 w 1086928"/>
                  <a:gd name="connsiteY11" fmla="*/ 833437 h 1013821"/>
                  <a:gd name="connsiteX12" fmla="*/ 977167 w 1086928"/>
                  <a:gd name="connsiteY12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88488 w 1086928"/>
                  <a:gd name="connsiteY11" fmla="*/ 833437 h 1013821"/>
                  <a:gd name="connsiteX12" fmla="*/ 977167 w 1086928"/>
                  <a:gd name="connsiteY12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34586 w 1086928"/>
                  <a:gd name="connsiteY1" fmla="*/ 633905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27442 w 1086928"/>
                  <a:gd name="connsiteY1" fmla="*/ 638668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86928"/>
                  <a:gd name="connsiteY0" fmla="*/ 825484 h 1013821"/>
                  <a:gd name="connsiteX1" fmla="*/ 1027442 w 1086928"/>
                  <a:gd name="connsiteY1" fmla="*/ 638668 h 1013821"/>
                  <a:gd name="connsiteX2" fmla="*/ 1086928 w 1086928"/>
                  <a:gd name="connsiteY2" fmla="*/ 431320 h 1013821"/>
                  <a:gd name="connsiteX3" fmla="*/ 1069675 w 1086928"/>
                  <a:gd name="connsiteY3" fmla="*/ 215659 h 1013821"/>
                  <a:gd name="connsiteX4" fmla="*/ 974785 w 1086928"/>
                  <a:gd name="connsiteY4" fmla="*/ 172527 h 1013821"/>
                  <a:gd name="connsiteX5" fmla="*/ 491706 w 1086928"/>
                  <a:gd name="connsiteY5" fmla="*/ 181154 h 1013821"/>
                  <a:gd name="connsiteX6" fmla="*/ 595223 w 1086928"/>
                  <a:gd name="connsiteY6" fmla="*/ 0 h 1013821"/>
                  <a:gd name="connsiteX7" fmla="*/ 0 w 1086928"/>
                  <a:gd name="connsiteY7" fmla="*/ 267418 h 1013821"/>
                  <a:gd name="connsiteX8" fmla="*/ 0 w 1086928"/>
                  <a:gd name="connsiteY8" fmla="*/ 854014 h 1013821"/>
                  <a:gd name="connsiteX9" fmla="*/ 362309 w 1086928"/>
                  <a:gd name="connsiteY9" fmla="*/ 966157 h 1013821"/>
                  <a:gd name="connsiteX10" fmla="*/ 925407 w 1086928"/>
                  <a:gd name="connsiteY10" fmla="*/ 996801 h 1013821"/>
                  <a:gd name="connsiteX11" fmla="*/ 977167 w 1086928"/>
                  <a:gd name="connsiteY11" fmla="*/ 825484 h 1013821"/>
                  <a:gd name="connsiteX0" fmla="*/ 977167 w 1069675"/>
                  <a:gd name="connsiteY0" fmla="*/ 825484 h 1013821"/>
                  <a:gd name="connsiteX1" fmla="*/ 1027442 w 1069675"/>
                  <a:gd name="connsiteY1" fmla="*/ 638668 h 1013821"/>
                  <a:gd name="connsiteX2" fmla="*/ 1051209 w 1069675"/>
                  <a:gd name="connsiteY2" fmla="*/ 447988 h 1013821"/>
                  <a:gd name="connsiteX3" fmla="*/ 1069675 w 1069675"/>
                  <a:gd name="connsiteY3" fmla="*/ 215659 h 1013821"/>
                  <a:gd name="connsiteX4" fmla="*/ 974785 w 1069675"/>
                  <a:gd name="connsiteY4" fmla="*/ 172527 h 1013821"/>
                  <a:gd name="connsiteX5" fmla="*/ 491706 w 1069675"/>
                  <a:gd name="connsiteY5" fmla="*/ 181154 h 1013821"/>
                  <a:gd name="connsiteX6" fmla="*/ 595223 w 1069675"/>
                  <a:gd name="connsiteY6" fmla="*/ 0 h 1013821"/>
                  <a:gd name="connsiteX7" fmla="*/ 0 w 1069675"/>
                  <a:gd name="connsiteY7" fmla="*/ 267418 h 1013821"/>
                  <a:gd name="connsiteX8" fmla="*/ 0 w 1069675"/>
                  <a:gd name="connsiteY8" fmla="*/ 854014 h 1013821"/>
                  <a:gd name="connsiteX9" fmla="*/ 362309 w 1069675"/>
                  <a:gd name="connsiteY9" fmla="*/ 966157 h 1013821"/>
                  <a:gd name="connsiteX10" fmla="*/ 925407 w 1069675"/>
                  <a:gd name="connsiteY10" fmla="*/ 996801 h 1013821"/>
                  <a:gd name="connsiteX11" fmla="*/ 977167 w 1069675"/>
                  <a:gd name="connsiteY11" fmla="*/ 825484 h 1013821"/>
                  <a:gd name="connsiteX0" fmla="*/ 977167 w 1083772"/>
                  <a:gd name="connsiteY0" fmla="*/ 825484 h 1013821"/>
                  <a:gd name="connsiteX1" fmla="*/ 1027442 w 1083772"/>
                  <a:gd name="connsiteY1" fmla="*/ 638668 h 1013821"/>
                  <a:gd name="connsiteX2" fmla="*/ 1051209 w 1083772"/>
                  <a:gd name="connsiteY2" fmla="*/ 447988 h 1013821"/>
                  <a:gd name="connsiteX3" fmla="*/ 1069675 w 1083772"/>
                  <a:gd name="connsiteY3" fmla="*/ 215659 h 1013821"/>
                  <a:gd name="connsiteX4" fmla="*/ 974785 w 1083772"/>
                  <a:gd name="connsiteY4" fmla="*/ 172527 h 1013821"/>
                  <a:gd name="connsiteX5" fmla="*/ 491706 w 1083772"/>
                  <a:gd name="connsiteY5" fmla="*/ 181154 h 1013821"/>
                  <a:gd name="connsiteX6" fmla="*/ 595223 w 1083772"/>
                  <a:gd name="connsiteY6" fmla="*/ 0 h 1013821"/>
                  <a:gd name="connsiteX7" fmla="*/ 0 w 1083772"/>
                  <a:gd name="connsiteY7" fmla="*/ 267418 h 1013821"/>
                  <a:gd name="connsiteX8" fmla="*/ 0 w 1083772"/>
                  <a:gd name="connsiteY8" fmla="*/ 854014 h 1013821"/>
                  <a:gd name="connsiteX9" fmla="*/ 362309 w 1083772"/>
                  <a:gd name="connsiteY9" fmla="*/ 966157 h 1013821"/>
                  <a:gd name="connsiteX10" fmla="*/ 925407 w 1083772"/>
                  <a:gd name="connsiteY10" fmla="*/ 996801 h 1013821"/>
                  <a:gd name="connsiteX11" fmla="*/ 977167 w 1083772"/>
                  <a:gd name="connsiteY11" fmla="*/ 825484 h 1013821"/>
                  <a:gd name="connsiteX0" fmla="*/ 977167 w 1083772"/>
                  <a:gd name="connsiteY0" fmla="*/ 825484 h 1013821"/>
                  <a:gd name="connsiteX1" fmla="*/ 1027442 w 1083772"/>
                  <a:gd name="connsiteY1" fmla="*/ 638668 h 1013821"/>
                  <a:gd name="connsiteX2" fmla="*/ 1051209 w 1083772"/>
                  <a:gd name="connsiteY2" fmla="*/ 447988 h 1013821"/>
                  <a:gd name="connsiteX3" fmla="*/ 1069675 w 1083772"/>
                  <a:gd name="connsiteY3" fmla="*/ 215659 h 1013821"/>
                  <a:gd name="connsiteX4" fmla="*/ 974785 w 1083772"/>
                  <a:gd name="connsiteY4" fmla="*/ 172527 h 1013821"/>
                  <a:gd name="connsiteX5" fmla="*/ 491706 w 1083772"/>
                  <a:gd name="connsiteY5" fmla="*/ 181154 h 1013821"/>
                  <a:gd name="connsiteX6" fmla="*/ 595223 w 1083772"/>
                  <a:gd name="connsiteY6" fmla="*/ 0 h 1013821"/>
                  <a:gd name="connsiteX7" fmla="*/ 0 w 1083772"/>
                  <a:gd name="connsiteY7" fmla="*/ 267418 h 1013821"/>
                  <a:gd name="connsiteX8" fmla="*/ 0 w 1083772"/>
                  <a:gd name="connsiteY8" fmla="*/ 854014 h 1013821"/>
                  <a:gd name="connsiteX9" fmla="*/ 362309 w 1083772"/>
                  <a:gd name="connsiteY9" fmla="*/ 966157 h 1013821"/>
                  <a:gd name="connsiteX10" fmla="*/ 925407 w 1083772"/>
                  <a:gd name="connsiteY10" fmla="*/ 996801 h 1013821"/>
                  <a:gd name="connsiteX11" fmla="*/ 977167 w 1083772"/>
                  <a:gd name="connsiteY11" fmla="*/ 825484 h 1013821"/>
                  <a:gd name="connsiteX0" fmla="*/ 977167 w 1083772"/>
                  <a:gd name="connsiteY0" fmla="*/ 825484 h 1013821"/>
                  <a:gd name="connsiteX1" fmla="*/ 1027442 w 1083772"/>
                  <a:gd name="connsiteY1" fmla="*/ 638668 h 1013821"/>
                  <a:gd name="connsiteX2" fmla="*/ 1051209 w 1083772"/>
                  <a:gd name="connsiteY2" fmla="*/ 447988 h 1013821"/>
                  <a:gd name="connsiteX3" fmla="*/ 1069675 w 1083772"/>
                  <a:gd name="connsiteY3" fmla="*/ 215659 h 1013821"/>
                  <a:gd name="connsiteX4" fmla="*/ 974785 w 1083772"/>
                  <a:gd name="connsiteY4" fmla="*/ 172527 h 1013821"/>
                  <a:gd name="connsiteX5" fmla="*/ 491706 w 1083772"/>
                  <a:gd name="connsiteY5" fmla="*/ 181154 h 1013821"/>
                  <a:gd name="connsiteX6" fmla="*/ 595223 w 1083772"/>
                  <a:gd name="connsiteY6" fmla="*/ 0 h 1013821"/>
                  <a:gd name="connsiteX7" fmla="*/ 0 w 1083772"/>
                  <a:gd name="connsiteY7" fmla="*/ 267418 h 1013821"/>
                  <a:gd name="connsiteX8" fmla="*/ 0 w 1083772"/>
                  <a:gd name="connsiteY8" fmla="*/ 854014 h 1013821"/>
                  <a:gd name="connsiteX9" fmla="*/ 362309 w 1083772"/>
                  <a:gd name="connsiteY9" fmla="*/ 966157 h 1013821"/>
                  <a:gd name="connsiteX10" fmla="*/ 925407 w 1083772"/>
                  <a:gd name="connsiteY10" fmla="*/ 996801 h 1013821"/>
                  <a:gd name="connsiteX11" fmla="*/ 977167 w 1083772"/>
                  <a:gd name="connsiteY11" fmla="*/ 825484 h 1013821"/>
                  <a:gd name="connsiteX0" fmla="*/ 977167 w 1083772"/>
                  <a:gd name="connsiteY0" fmla="*/ 825484 h 1013821"/>
                  <a:gd name="connsiteX1" fmla="*/ 1027442 w 1083772"/>
                  <a:gd name="connsiteY1" fmla="*/ 638668 h 1013821"/>
                  <a:gd name="connsiteX2" fmla="*/ 1051209 w 1083772"/>
                  <a:gd name="connsiteY2" fmla="*/ 447988 h 1013821"/>
                  <a:gd name="connsiteX3" fmla="*/ 1053006 w 1083772"/>
                  <a:gd name="connsiteY3" fmla="*/ 182321 h 1013821"/>
                  <a:gd name="connsiteX4" fmla="*/ 974785 w 1083772"/>
                  <a:gd name="connsiteY4" fmla="*/ 172527 h 1013821"/>
                  <a:gd name="connsiteX5" fmla="*/ 491706 w 1083772"/>
                  <a:gd name="connsiteY5" fmla="*/ 181154 h 1013821"/>
                  <a:gd name="connsiteX6" fmla="*/ 595223 w 1083772"/>
                  <a:gd name="connsiteY6" fmla="*/ 0 h 1013821"/>
                  <a:gd name="connsiteX7" fmla="*/ 0 w 1083772"/>
                  <a:gd name="connsiteY7" fmla="*/ 267418 h 1013821"/>
                  <a:gd name="connsiteX8" fmla="*/ 0 w 1083772"/>
                  <a:gd name="connsiteY8" fmla="*/ 854014 h 1013821"/>
                  <a:gd name="connsiteX9" fmla="*/ 362309 w 1083772"/>
                  <a:gd name="connsiteY9" fmla="*/ 966157 h 1013821"/>
                  <a:gd name="connsiteX10" fmla="*/ 925407 w 1083772"/>
                  <a:gd name="connsiteY10" fmla="*/ 996801 h 1013821"/>
                  <a:gd name="connsiteX11" fmla="*/ 977167 w 1083772"/>
                  <a:gd name="connsiteY11" fmla="*/ 825484 h 1013821"/>
                  <a:gd name="connsiteX0" fmla="*/ 977167 w 1107851"/>
                  <a:gd name="connsiteY0" fmla="*/ 825484 h 1013821"/>
                  <a:gd name="connsiteX1" fmla="*/ 1027442 w 1107851"/>
                  <a:gd name="connsiteY1" fmla="*/ 638668 h 1013821"/>
                  <a:gd name="connsiteX2" fmla="*/ 1051209 w 1107851"/>
                  <a:gd name="connsiteY2" fmla="*/ 447988 h 1013821"/>
                  <a:gd name="connsiteX3" fmla="*/ 1053006 w 1107851"/>
                  <a:gd name="connsiteY3" fmla="*/ 182321 h 1013821"/>
                  <a:gd name="connsiteX4" fmla="*/ 974785 w 1107851"/>
                  <a:gd name="connsiteY4" fmla="*/ 172527 h 1013821"/>
                  <a:gd name="connsiteX5" fmla="*/ 491706 w 1107851"/>
                  <a:gd name="connsiteY5" fmla="*/ 181154 h 1013821"/>
                  <a:gd name="connsiteX6" fmla="*/ 595223 w 1107851"/>
                  <a:gd name="connsiteY6" fmla="*/ 0 h 1013821"/>
                  <a:gd name="connsiteX7" fmla="*/ 0 w 1107851"/>
                  <a:gd name="connsiteY7" fmla="*/ 267418 h 1013821"/>
                  <a:gd name="connsiteX8" fmla="*/ 0 w 1107851"/>
                  <a:gd name="connsiteY8" fmla="*/ 854014 h 1013821"/>
                  <a:gd name="connsiteX9" fmla="*/ 362309 w 1107851"/>
                  <a:gd name="connsiteY9" fmla="*/ 966157 h 1013821"/>
                  <a:gd name="connsiteX10" fmla="*/ 925407 w 1107851"/>
                  <a:gd name="connsiteY10" fmla="*/ 996801 h 1013821"/>
                  <a:gd name="connsiteX11" fmla="*/ 977167 w 1107851"/>
                  <a:gd name="connsiteY11" fmla="*/ 825484 h 1013821"/>
                  <a:gd name="connsiteX0" fmla="*/ 977167 w 1109996"/>
                  <a:gd name="connsiteY0" fmla="*/ 825484 h 1013821"/>
                  <a:gd name="connsiteX1" fmla="*/ 1027442 w 1109996"/>
                  <a:gd name="connsiteY1" fmla="*/ 638668 h 1013821"/>
                  <a:gd name="connsiteX2" fmla="*/ 1055972 w 1109996"/>
                  <a:gd name="connsiteY2" fmla="*/ 407507 h 1013821"/>
                  <a:gd name="connsiteX3" fmla="*/ 1053006 w 1109996"/>
                  <a:gd name="connsiteY3" fmla="*/ 182321 h 1013821"/>
                  <a:gd name="connsiteX4" fmla="*/ 974785 w 1109996"/>
                  <a:gd name="connsiteY4" fmla="*/ 172527 h 1013821"/>
                  <a:gd name="connsiteX5" fmla="*/ 491706 w 1109996"/>
                  <a:gd name="connsiteY5" fmla="*/ 181154 h 1013821"/>
                  <a:gd name="connsiteX6" fmla="*/ 595223 w 1109996"/>
                  <a:gd name="connsiteY6" fmla="*/ 0 h 1013821"/>
                  <a:gd name="connsiteX7" fmla="*/ 0 w 1109996"/>
                  <a:gd name="connsiteY7" fmla="*/ 267418 h 1013821"/>
                  <a:gd name="connsiteX8" fmla="*/ 0 w 1109996"/>
                  <a:gd name="connsiteY8" fmla="*/ 854014 h 1013821"/>
                  <a:gd name="connsiteX9" fmla="*/ 362309 w 1109996"/>
                  <a:gd name="connsiteY9" fmla="*/ 966157 h 1013821"/>
                  <a:gd name="connsiteX10" fmla="*/ 925407 w 1109996"/>
                  <a:gd name="connsiteY10" fmla="*/ 996801 h 1013821"/>
                  <a:gd name="connsiteX11" fmla="*/ 977167 w 1109996"/>
                  <a:gd name="connsiteY11" fmla="*/ 825484 h 1013821"/>
                  <a:gd name="connsiteX0" fmla="*/ 977167 w 1109996"/>
                  <a:gd name="connsiteY0" fmla="*/ 825484 h 1013821"/>
                  <a:gd name="connsiteX1" fmla="*/ 1027442 w 1109996"/>
                  <a:gd name="connsiteY1" fmla="*/ 638668 h 1013821"/>
                  <a:gd name="connsiteX2" fmla="*/ 1055972 w 1109996"/>
                  <a:gd name="connsiteY2" fmla="*/ 407507 h 1013821"/>
                  <a:gd name="connsiteX3" fmla="*/ 1053006 w 1109996"/>
                  <a:gd name="connsiteY3" fmla="*/ 182321 h 1013821"/>
                  <a:gd name="connsiteX4" fmla="*/ 974785 w 1109996"/>
                  <a:gd name="connsiteY4" fmla="*/ 172527 h 1013821"/>
                  <a:gd name="connsiteX5" fmla="*/ 491706 w 1109996"/>
                  <a:gd name="connsiteY5" fmla="*/ 181154 h 1013821"/>
                  <a:gd name="connsiteX6" fmla="*/ 595223 w 1109996"/>
                  <a:gd name="connsiteY6" fmla="*/ 0 h 1013821"/>
                  <a:gd name="connsiteX7" fmla="*/ 0 w 1109996"/>
                  <a:gd name="connsiteY7" fmla="*/ 267418 h 1013821"/>
                  <a:gd name="connsiteX8" fmla="*/ 0 w 1109996"/>
                  <a:gd name="connsiteY8" fmla="*/ 854014 h 1013821"/>
                  <a:gd name="connsiteX9" fmla="*/ 362309 w 1109996"/>
                  <a:gd name="connsiteY9" fmla="*/ 966157 h 1013821"/>
                  <a:gd name="connsiteX10" fmla="*/ 925407 w 1109996"/>
                  <a:gd name="connsiteY10" fmla="*/ 996801 h 1013821"/>
                  <a:gd name="connsiteX11" fmla="*/ 977167 w 1109996"/>
                  <a:gd name="connsiteY11" fmla="*/ 825484 h 1013821"/>
                  <a:gd name="connsiteX0" fmla="*/ 977167 w 1109996"/>
                  <a:gd name="connsiteY0" fmla="*/ 825484 h 1013821"/>
                  <a:gd name="connsiteX1" fmla="*/ 1027442 w 1109996"/>
                  <a:gd name="connsiteY1" fmla="*/ 638668 h 1013821"/>
                  <a:gd name="connsiteX2" fmla="*/ 1055972 w 1109996"/>
                  <a:gd name="connsiteY2" fmla="*/ 407507 h 1013821"/>
                  <a:gd name="connsiteX3" fmla="*/ 1053006 w 1109996"/>
                  <a:gd name="connsiteY3" fmla="*/ 182321 h 1013821"/>
                  <a:gd name="connsiteX4" fmla="*/ 974785 w 1109996"/>
                  <a:gd name="connsiteY4" fmla="*/ 172527 h 1013821"/>
                  <a:gd name="connsiteX5" fmla="*/ 491706 w 1109996"/>
                  <a:gd name="connsiteY5" fmla="*/ 181154 h 1013821"/>
                  <a:gd name="connsiteX6" fmla="*/ 595223 w 1109996"/>
                  <a:gd name="connsiteY6" fmla="*/ 0 h 1013821"/>
                  <a:gd name="connsiteX7" fmla="*/ 0 w 1109996"/>
                  <a:gd name="connsiteY7" fmla="*/ 267418 h 1013821"/>
                  <a:gd name="connsiteX8" fmla="*/ 0 w 1109996"/>
                  <a:gd name="connsiteY8" fmla="*/ 854014 h 1013821"/>
                  <a:gd name="connsiteX9" fmla="*/ 362309 w 1109996"/>
                  <a:gd name="connsiteY9" fmla="*/ 966157 h 1013821"/>
                  <a:gd name="connsiteX10" fmla="*/ 925407 w 1109996"/>
                  <a:gd name="connsiteY10" fmla="*/ 996801 h 1013821"/>
                  <a:gd name="connsiteX11" fmla="*/ 977167 w 1109996"/>
                  <a:gd name="connsiteY11" fmla="*/ 825484 h 1013821"/>
                  <a:gd name="connsiteX0" fmla="*/ 986692 w 1109996"/>
                  <a:gd name="connsiteY0" fmla="*/ 825484 h 1013821"/>
                  <a:gd name="connsiteX1" fmla="*/ 1027442 w 1109996"/>
                  <a:gd name="connsiteY1" fmla="*/ 638668 h 1013821"/>
                  <a:gd name="connsiteX2" fmla="*/ 1055972 w 1109996"/>
                  <a:gd name="connsiteY2" fmla="*/ 407507 h 1013821"/>
                  <a:gd name="connsiteX3" fmla="*/ 1053006 w 1109996"/>
                  <a:gd name="connsiteY3" fmla="*/ 182321 h 1013821"/>
                  <a:gd name="connsiteX4" fmla="*/ 974785 w 1109996"/>
                  <a:gd name="connsiteY4" fmla="*/ 172527 h 1013821"/>
                  <a:gd name="connsiteX5" fmla="*/ 491706 w 1109996"/>
                  <a:gd name="connsiteY5" fmla="*/ 181154 h 1013821"/>
                  <a:gd name="connsiteX6" fmla="*/ 595223 w 1109996"/>
                  <a:gd name="connsiteY6" fmla="*/ 0 h 1013821"/>
                  <a:gd name="connsiteX7" fmla="*/ 0 w 1109996"/>
                  <a:gd name="connsiteY7" fmla="*/ 267418 h 1013821"/>
                  <a:gd name="connsiteX8" fmla="*/ 0 w 1109996"/>
                  <a:gd name="connsiteY8" fmla="*/ 854014 h 1013821"/>
                  <a:gd name="connsiteX9" fmla="*/ 362309 w 1109996"/>
                  <a:gd name="connsiteY9" fmla="*/ 966157 h 1013821"/>
                  <a:gd name="connsiteX10" fmla="*/ 925407 w 1109996"/>
                  <a:gd name="connsiteY10" fmla="*/ 996801 h 1013821"/>
                  <a:gd name="connsiteX11" fmla="*/ 986692 w 1109996"/>
                  <a:gd name="connsiteY11" fmla="*/ 825484 h 1013821"/>
                  <a:gd name="connsiteX0" fmla="*/ 986692 w 1109996"/>
                  <a:gd name="connsiteY0" fmla="*/ 825484 h 1013821"/>
                  <a:gd name="connsiteX1" fmla="*/ 1027442 w 1109996"/>
                  <a:gd name="connsiteY1" fmla="*/ 638668 h 1013821"/>
                  <a:gd name="connsiteX2" fmla="*/ 1055972 w 1109996"/>
                  <a:gd name="connsiteY2" fmla="*/ 407507 h 1013821"/>
                  <a:gd name="connsiteX3" fmla="*/ 1053006 w 1109996"/>
                  <a:gd name="connsiteY3" fmla="*/ 182321 h 1013821"/>
                  <a:gd name="connsiteX4" fmla="*/ 974785 w 1109996"/>
                  <a:gd name="connsiteY4" fmla="*/ 172527 h 1013821"/>
                  <a:gd name="connsiteX5" fmla="*/ 491706 w 1109996"/>
                  <a:gd name="connsiteY5" fmla="*/ 181154 h 1013821"/>
                  <a:gd name="connsiteX6" fmla="*/ 595223 w 1109996"/>
                  <a:gd name="connsiteY6" fmla="*/ 0 h 1013821"/>
                  <a:gd name="connsiteX7" fmla="*/ 0 w 1109996"/>
                  <a:gd name="connsiteY7" fmla="*/ 267418 h 1013821"/>
                  <a:gd name="connsiteX8" fmla="*/ 0 w 1109996"/>
                  <a:gd name="connsiteY8" fmla="*/ 854014 h 1013821"/>
                  <a:gd name="connsiteX9" fmla="*/ 362309 w 1109996"/>
                  <a:gd name="connsiteY9" fmla="*/ 966157 h 1013821"/>
                  <a:gd name="connsiteX10" fmla="*/ 925407 w 1109996"/>
                  <a:gd name="connsiteY10" fmla="*/ 996801 h 1013821"/>
                  <a:gd name="connsiteX11" fmla="*/ 986692 w 1109996"/>
                  <a:gd name="connsiteY11" fmla="*/ 825484 h 1013821"/>
                  <a:gd name="connsiteX0" fmla="*/ 986692 w 1109996"/>
                  <a:gd name="connsiteY0" fmla="*/ 825484 h 996152"/>
                  <a:gd name="connsiteX1" fmla="*/ 1027442 w 1109996"/>
                  <a:gd name="connsiteY1" fmla="*/ 638668 h 996152"/>
                  <a:gd name="connsiteX2" fmla="*/ 1055972 w 1109996"/>
                  <a:gd name="connsiteY2" fmla="*/ 407507 h 996152"/>
                  <a:gd name="connsiteX3" fmla="*/ 1053006 w 1109996"/>
                  <a:gd name="connsiteY3" fmla="*/ 182321 h 996152"/>
                  <a:gd name="connsiteX4" fmla="*/ 974785 w 1109996"/>
                  <a:gd name="connsiteY4" fmla="*/ 172527 h 996152"/>
                  <a:gd name="connsiteX5" fmla="*/ 491706 w 1109996"/>
                  <a:gd name="connsiteY5" fmla="*/ 181154 h 996152"/>
                  <a:gd name="connsiteX6" fmla="*/ 595223 w 1109996"/>
                  <a:gd name="connsiteY6" fmla="*/ 0 h 996152"/>
                  <a:gd name="connsiteX7" fmla="*/ 0 w 1109996"/>
                  <a:gd name="connsiteY7" fmla="*/ 267418 h 996152"/>
                  <a:gd name="connsiteX8" fmla="*/ 0 w 1109996"/>
                  <a:gd name="connsiteY8" fmla="*/ 854014 h 996152"/>
                  <a:gd name="connsiteX9" fmla="*/ 362309 w 1109996"/>
                  <a:gd name="connsiteY9" fmla="*/ 966157 h 996152"/>
                  <a:gd name="connsiteX10" fmla="*/ 880164 w 1109996"/>
                  <a:gd name="connsiteY10" fmla="*/ 972989 h 996152"/>
                  <a:gd name="connsiteX11" fmla="*/ 986692 w 1109996"/>
                  <a:gd name="connsiteY11" fmla="*/ 825484 h 996152"/>
                  <a:gd name="connsiteX0" fmla="*/ 986692 w 1109996"/>
                  <a:gd name="connsiteY0" fmla="*/ 825484 h 996152"/>
                  <a:gd name="connsiteX1" fmla="*/ 1027442 w 1109996"/>
                  <a:gd name="connsiteY1" fmla="*/ 638668 h 996152"/>
                  <a:gd name="connsiteX2" fmla="*/ 1055972 w 1109996"/>
                  <a:gd name="connsiteY2" fmla="*/ 407507 h 996152"/>
                  <a:gd name="connsiteX3" fmla="*/ 1053006 w 1109996"/>
                  <a:gd name="connsiteY3" fmla="*/ 182321 h 996152"/>
                  <a:gd name="connsiteX4" fmla="*/ 974785 w 1109996"/>
                  <a:gd name="connsiteY4" fmla="*/ 172527 h 996152"/>
                  <a:gd name="connsiteX5" fmla="*/ 491706 w 1109996"/>
                  <a:gd name="connsiteY5" fmla="*/ 181154 h 996152"/>
                  <a:gd name="connsiteX6" fmla="*/ 595223 w 1109996"/>
                  <a:gd name="connsiteY6" fmla="*/ 0 h 996152"/>
                  <a:gd name="connsiteX7" fmla="*/ 0 w 1109996"/>
                  <a:gd name="connsiteY7" fmla="*/ 267418 h 996152"/>
                  <a:gd name="connsiteX8" fmla="*/ 0 w 1109996"/>
                  <a:gd name="connsiteY8" fmla="*/ 854014 h 996152"/>
                  <a:gd name="connsiteX9" fmla="*/ 362309 w 1109996"/>
                  <a:gd name="connsiteY9" fmla="*/ 966157 h 996152"/>
                  <a:gd name="connsiteX10" fmla="*/ 880164 w 1109996"/>
                  <a:gd name="connsiteY10" fmla="*/ 972989 h 996152"/>
                  <a:gd name="connsiteX11" fmla="*/ 986692 w 1109996"/>
                  <a:gd name="connsiteY11" fmla="*/ 825484 h 996152"/>
                  <a:gd name="connsiteX0" fmla="*/ 986692 w 1109996"/>
                  <a:gd name="connsiteY0" fmla="*/ 825484 h 986974"/>
                  <a:gd name="connsiteX1" fmla="*/ 1027442 w 1109996"/>
                  <a:gd name="connsiteY1" fmla="*/ 638668 h 986974"/>
                  <a:gd name="connsiteX2" fmla="*/ 1055972 w 1109996"/>
                  <a:gd name="connsiteY2" fmla="*/ 407507 h 986974"/>
                  <a:gd name="connsiteX3" fmla="*/ 1053006 w 1109996"/>
                  <a:gd name="connsiteY3" fmla="*/ 182321 h 986974"/>
                  <a:gd name="connsiteX4" fmla="*/ 974785 w 1109996"/>
                  <a:gd name="connsiteY4" fmla="*/ 172527 h 986974"/>
                  <a:gd name="connsiteX5" fmla="*/ 491706 w 1109996"/>
                  <a:gd name="connsiteY5" fmla="*/ 181154 h 986974"/>
                  <a:gd name="connsiteX6" fmla="*/ 595223 w 1109996"/>
                  <a:gd name="connsiteY6" fmla="*/ 0 h 986974"/>
                  <a:gd name="connsiteX7" fmla="*/ 0 w 1109996"/>
                  <a:gd name="connsiteY7" fmla="*/ 267418 h 986974"/>
                  <a:gd name="connsiteX8" fmla="*/ 0 w 1109996"/>
                  <a:gd name="connsiteY8" fmla="*/ 854014 h 986974"/>
                  <a:gd name="connsiteX9" fmla="*/ 362309 w 1109996"/>
                  <a:gd name="connsiteY9" fmla="*/ 966157 h 986974"/>
                  <a:gd name="connsiteX10" fmla="*/ 880164 w 1109996"/>
                  <a:gd name="connsiteY10" fmla="*/ 972989 h 986974"/>
                  <a:gd name="connsiteX11" fmla="*/ 986692 w 1109996"/>
                  <a:gd name="connsiteY11" fmla="*/ 825484 h 986974"/>
                  <a:gd name="connsiteX0" fmla="*/ 986692 w 1109996"/>
                  <a:gd name="connsiteY0" fmla="*/ 825484 h 986974"/>
                  <a:gd name="connsiteX1" fmla="*/ 1027442 w 1109996"/>
                  <a:gd name="connsiteY1" fmla="*/ 638668 h 986974"/>
                  <a:gd name="connsiteX2" fmla="*/ 1055972 w 1109996"/>
                  <a:gd name="connsiteY2" fmla="*/ 407507 h 986974"/>
                  <a:gd name="connsiteX3" fmla="*/ 1053006 w 1109996"/>
                  <a:gd name="connsiteY3" fmla="*/ 182321 h 986974"/>
                  <a:gd name="connsiteX4" fmla="*/ 974785 w 1109996"/>
                  <a:gd name="connsiteY4" fmla="*/ 172527 h 986974"/>
                  <a:gd name="connsiteX5" fmla="*/ 491706 w 1109996"/>
                  <a:gd name="connsiteY5" fmla="*/ 181154 h 986974"/>
                  <a:gd name="connsiteX6" fmla="*/ 595223 w 1109996"/>
                  <a:gd name="connsiteY6" fmla="*/ 0 h 986974"/>
                  <a:gd name="connsiteX7" fmla="*/ 0 w 1109996"/>
                  <a:gd name="connsiteY7" fmla="*/ 267418 h 986974"/>
                  <a:gd name="connsiteX8" fmla="*/ 0 w 1109996"/>
                  <a:gd name="connsiteY8" fmla="*/ 854014 h 986974"/>
                  <a:gd name="connsiteX9" fmla="*/ 362309 w 1109996"/>
                  <a:gd name="connsiteY9" fmla="*/ 966157 h 986974"/>
                  <a:gd name="connsiteX10" fmla="*/ 880164 w 1109996"/>
                  <a:gd name="connsiteY10" fmla="*/ 972989 h 986974"/>
                  <a:gd name="connsiteX11" fmla="*/ 986692 w 1109996"/>
                  <a:gd name="connsiteY11" fmla="*/ 825484 h 986974"/>
                  <a:gd name="connsiteX0" fmla="*/ 986692 w 1109996"/>
                  <a:gd name="connsiteY0" fmla="*/ 825484 h 986974"/>
                  <a:gd name="connsiteX1" fmla="*/ 1027442 w 1109996"/>
                  <a:gd name="connsiteY1" fmla="*/ 638668 h 986974"/>
                  <a:gd name="connsiteX2" fmla="*/ 1055972 w 1109996"/>
                  <a:gd name="connsiteY2" fmla="*/ 407507 h 986974"/>
                  <a:gd name="connsiteX3" fmla="*/ 1053006 w 1109996"/>
                  <a:gd name="connsiteY3" fmla="*/ 182321 h 986974"/>
                  <a:gd name="connsiteX4" fmla="*/ 974785 w 1109996"/>
                  <a:gd name="connsiteY4" fmla="*/ 172527 h 986974"/>
                  <a:gd name="connsiteX5" fmla="*/ 491706 w 1109996"/>
                  <a:gd name="connsiteY5" fmla="*/ 181154 h 986974"/>
                  <a:gd name="connsiteX6" fmla="*/ 595223 w 1109996"/>
                  <a:gd name="connsiteY6" fmla="*/ 0 h 986974"/>
                  <a:gd name="connsiteX7" fmla="*/ 0 w 1109996"/>
                  <a:gd name="connsiteY7" fmla="*/ 267418 h 986974"/>
                  <a:gd name="connsiteX8" fmla="*/ 0 w 1109996"/>
                  <a:gd name="connsiteY8" fmla="*/ 854014 h 986974"/>
                  <a:gd name="connsiteX9" fmla="*/ 362309 w 1109996"/>
                  <a:gd name="connsiteY9" fmla="*/ 966157 h 986974"/>
                  <a:gd name="connsiteX10" fmla="*/ 880164 w 1109996"/>
                  <a:gd name="connsiteY10" fmla="*/ 972989 h 986974"/>
                  <a:gd name="connsiteX11" fmla="*/ 986692 w 1109996"/>
                  <a:gd name="connsiteY11" fmla="*/ 825484 h 986974"/>
                  <a:gd name="connsiteX0" fmla="*/ 986692 w 1109996"/>
                  <a:gd name="connsiteY0" fmla="*/ 825484 h 995044"/>
                  <a:gd name="connsiteX1" fmla="*/ 1027442 w 1109996"/>
                  <a:gd name="connsiteY1" fmla="*/ 638668 h 995044"/>
                  <a:gd name="connsiteX2" fmla="*/ 1055972 w 1109996"/>
                  <a:gd name="connsiteY2" fmla="*/ 407507 h 995044"/>
                  <a:gd name="connsiteX3" fmla="*/ 1053006 w 1109996"/>
                  <a:gd name="connsiteY3" fmla="*/ 182321 h 995044"/>
                  <a:gd name="connsiteX4" fmla="*/ 974785 w 1109996"/>
                  <a:gd name="connsiteY4" fmla="*/ 172527 h 995044"/>
                  <a:gd name="connsiteX5" fmla="*/ 491706 w 1109996"/>
                  <a:gd name="connsiteY5" fmla="*/ 181154 h 995044"/>
                  <a:gd name="connsiteX6" fmla="*/ 595223 w 1109996"/>
                  <a:gd name="connsiteY6" fmla="*/ 0 h 995044"/>
                  <a:gd name="connsiteX7" fmla="*/ 0 w 1109996"/>
                  <a:gd name="connsiteY7" fmla="*/ 267418 h 995044"/>
                  <a:gd name="connsiteX8" fmla="*/ 0 w 1109996"/>
                  <a:gd name="connsiteY8" fmla="*/ 854014 h 995044"/>
                  <a:gd name="connsiteX9" fmla="*/ 362309 w 1109996"/>
                  <a:gd name="connsiteY9" fmla="*/ 966157 h 995044"/>
                  <a:gd name="connsiteX10" fmla="*/ 884927 w 1109996"/>
                  <a:gd name="connsiteY10" fmla="*/ 984895 h 995044"/>
                  <a:gd name="connsiteX11" fmla="*/ 986692 w 1109996"/>
                  <a:gd name="connsiteY11" fmla="*/ 825484 h 995044"/>
                  <a:gd name="connsiteX0" fmla="*/ 986692 w 1109996"/>
                  <a:gd name="connsiteY0" fmla="*/ 825484 h 995044"/>
                  <a:gd name="connsiteX1" fmla="*/ 1027442 w 1109996"/>
                  <a:gd name="connsiteY1" fmla="*/ 638668 h 995044"/>
                  <a:gd name="connsiteX2" fmla="*/ 1055972 w 1109996"/>
                  <a:gd name="connsiteY2" fmla="*/ 407507 h 995044"/>
                  <a:gd name="connsiteX3" fmla="*/ 1053006 w 1109996"/>
                  <a:gd name="connsiteY3" fmla="*/ 182321 h 995044"/>
                  <a:gd name="connsiteX4" fmla="*/ 974785 w 1109996"/>
                  <a:gd name="connsiteY4" fmla="*/ 172527 h 995044"/>
                  <a:gd name="connsiteX5" fmla="*/ 491706 w 1109996"/>
                  <a:gd name="connsiteY5" fmla="*/ 181154 h 995044"/>
                  <a:gd name="connsiteX6" fmla="*/ 595223 w 1109996"/>
                  <a:gd name="connsiteY6" fmla="*/ 0 h 995044"/>
                  <a:gd name="connsiteX7" fmla="*/ 0 w 1109996"/>
                  <a:gd name="connsiteY7" fmla="*/ 267418 h 995044"/>
                  <a:gd name="connsiteX8" fmla="*/ 0 w 1109996"/>
                  <a:gd name="connsiteY8" fmla="*/ 854014 h 995044"/>
                  <a:gd name="connsiteX9" fmla="*/ 362309 w 1109996"/>
                  <a:gd name="connsiteY9" fmla="*/ 966157 h 995044"/>
                  <a:gd name="connsiteX10" fmla="*/ 884927 w 1109996"/>
                  <a:gd name="connsiteY10" fmla="*/ 984895 h 995044"/>
                  <a:gd name="connsiteX11" fmla="*/ 986692 w 1109996"/>
                  <a:gd name="connsiteY11" fmla="*/ 825484 h 995044"/>
                  <a:gd name="connsiteX0" fmla="*/ 986692 w 1109996"/>
                  <a:gd name="connsiteY0" fmla="*/ 825484 h 988698"/>
                  <a:gd name="connsiteX1" fmla="*/ 1027442 w 1109996"/>
                  <a:gd name="connsiteY1" fmla="*/ 638668 h 988698"/>
                  <a:gd name="connsiteX2" fmla="*/ 1055972 w 1109996"/>
                  <a:gd name="connsiteY2" fmla="*/ 407507 h 988698"/>
                  <a:gd name="connsiteX3" fmla="*/ 1053006 w 1109996"/>
                  <a:gd name="connsiteY3" fmla="*/ 182321 h 988698"/>
                  <a:gd name="connsiteX4" fmla="*/ 974785 w 1109996"/>
                  <a:gd name="connsiteY4" fmla="*/ 172527 h 988698"/>
                  <a:gd name="connsiteX5" fmla="*/ 491706 w 1109996"/>
                  <a:gd name="connsiteY5" fmla="*/ 181154 h 988698"/>
                  <a:gd name="connsiteX6" fmla="*/ 595223 w 1109996"/>
                  <a:gd name="connsiteY6" fmla="*/ 0 h 988698"/>
                  <a:gd name="connsiteX7" fmla="*/ 0 w 1109996"/>
                  <a:gd name="connsiteY7" fmla="*/ 267418 h 988698"/>
                  <a:gd name="connsiteX8" fmla="*/ 0 w 1109996"/>
                  <a:gd name="connsiteY8" fmla="*/ 854014 h 988698"/>
                  <a:gd name="connsiteX9" fmla="*/ 362309 w 1109996"/>
                  <a:gd name="connsiteY9" fmla="*/ 966157 h 988698"/>
                  <a:gd name="connsiteX10" fmla="*/ 884927 w 1109996"/>
                  <a:gd name="connsiteY10" fmla="*/ 984895 h 988698"/>
                  <a:gd name="connsiteX11" fmla="*/ 986692 w 1109996"/>
                  <a:gd name="connsiteY11" fmla="*/ 825484 h 988698"/>
                  <a:gd name="connsiteX0" fmla="*/ 986692 w 1109996"/>
                  <a:gd name="connsiteY0" fmla="*/ 825484 h 988698"/>
                  <a:gd name="connsiteX1" fmla="*/ 1027442 w 1109996"/>
                  <a:gd name="connsiteY1" fmla="*/ 638668 h 988698"/>
                  <a:gd name="connsiteX2" fmla="*/ 1055972 w 1109996"/>
                  <a:gd name="connsiteY2" fmla="*/ 407507 h 988698"/>
                  <a:gd name="connsiteX3" fmla="*/ 1053006 w 1109996"/>
                  <a:gd name="connsiteY3" fmla="*/ 182321 h 988698"/>
                  <a:gd name="connsiteX4" fmla="*/ 974785 w 1109996"/>
                  <a:gd name="connsiteY4" fmla="*/ 172527 h 988698"/>
                  <a:gd name="connsiteX5" fmla="*/ 491706 w 1109996"/>
                  <a:gd name="connsiteY5" fmla="*/ 181154 h 988698"/>
                  <a:gd name="connsiteX6" fmla="*/ 595223 w 1109996"/>
                  <a:gd name="connsiteY6" fmla="*/ 0 h 988698"/>
                  <a:gd name="connsiteX7" fmla="*/ 0 w 1109996"/>
                  <a:gd name="connsiteY7" fmla="*/ 267418 h 988698"/>
                  <a:gd name="connsiteX8" fmla="*/ 0 w 1109996"/>
                  <a:gd name="connsiteY8" fmla="*/ 854014 h 988698"/>
                  <a:gd name="connsiteX9" fmla="*/ 362309 w 1109996"/>
                  <a:gd name="connsiteY9" fmla="*/ 966157 h 988698"/>
                  <a:gd name="connsiteX10" fmla="*/ 884927 w 1109996"/>
                  <a:gd name="connsiteY10" fmla="*/ 984895 h 988698"/>
                  <a:gd name="connsiteX11" fmla="*/ 986692 w 1109996"/>
                  <a:gd name="connsiteY11" fmla="*/ 825484 h 988698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491706 w 1109996"/>
                  <a:gd name="connsiteY5" fmla="*/ 137941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82271 h 945485"/>
                  <a:gd name="connsiteX1" fmla="*/ 1027442 w 1109996"/>
                  <a:gd name="connsiteY1" fmla="*/ 595455 h 945485"/>
                  <a:gd name="connsiteX2" fmla="*/ 1055972 w 1109996"/>
                  <a:gd name="connsiteY2" fmla="*/ 364294 h 945485"/>
                  <a:gd name="connsiteX3" fmla="*/ 1053006 w 1109996"/>
                  <a:gd name="connsiteY3" fmla="*/ 139108 h 945485"/>
                  <a:gd name="connsiteX4" fmla="*/ 974785 w 1109996"/>
                  <a:gd name="connsiteY4" fmla="*/ 129314 h 945485"/>
                  <a:gd name="connsiteX5" fmla="*/ 570238 w 1109996"/>
                  <a:gd name="connsiteY5" fmla="*/ 125595 h 945485"/>
                  <a:gd name="connsiteX6" fmla="*/ 559527 w 1109996"/>
                  <a:gd name="connsiteY6" fmla="*/ 0 h 945485"/>
                  <a:gd name="connsiteX7" fmla="*/ 0 w 1109996"/>
                  <a:gd name="connsiteY7" fmla="*/ 224205 h 945485"/>
                  <a:gd name="connsiteX8" fmla="*/ 0 w 1109996"/>
                  <a:gd name="connsiteY8" fmla="*/ 810801 h 945485"/>
                  <a:gd name="connsiteX9" fmla="*/ 362309 w 1109996"/>
                  <a:gd name="connsiteY9" fmla="*/ 922944 h 945485"/>
                  <a:gd name="connsiteX10" fmla="*/ 884927 w 1109996"/>
                  <a:gd name="connsiteY10" fmla="*/ 941682 h 945485"/>
                  <a:gd name="connsiteX11" fmla="*/ 986692 w 1109996"/>
                  <a:gd name="connsiteY11" fmla="*/ 782271 h 945485"/>
                  <a:gd name="connsiteX0" fmla="*/ 986692 w 1109996"/>
                  <a:gd name="connsiteY0" fmla="*/ 779541 h 942755"/>
                  <a:gd name="connsiteX1" fmla="*/ 1027442 w 1109996"/>
                  <a:gd name="connsiteY1" fmla="*/ 592725 h 942755"/>
                  <a:gd name="connsiteX2" fmla="*/ 1055972 w 1109996"/>
                  <a:gd name="connsiteY2" fmla="*/ 361564 h 942755"/>
                  <a:gd name="connsiteX3" fmla="*/ 1053006 w 1109996"/>
                  <a:gd name="connsiteY3" fmla="*/ 136378 h 942755"/>
                  <a:gd name="connsiteX4" fmla="*/ 974785 w 1109996"/>
                  <a:gd name="connsiteY4" fmla="*/ 126584 h 942755"/>
                  <a:gd name="connsiteX5" fmla="*/ 570238 w 1109996"/>
                  <a:gd name="connsiteY5" fmla="*/ 122865 h 942755"/>
                  <a:gd name="connsiteX6" fmla="*/ 543741 w 1109996"/>
                  <a:gd name="connsiteY6" fmla="*/ 0 h 942755"/>
                  <a:gd name="connsiteX7" fmla="*/ 0 w 1109996"/>
                  <a:gd name="connsiteY7" fmla="*/ 221475 h 942755"/>
                  <a:gd name="connsiteX8" fmla="*/ 0 w 1109996"/>
                  <a:gd name="connsiteY8" fmla="*/ 808071 h 942755"/>
                  <a:gd name="connsiteX9" fmla="*/ 362309 w 1109996"/>
                  <a:gd name="connsiteY9" fmla="*/ 920214 h 942755"/>
                  <a:gd name="connsiteX10" fmla="*/ 884927 w 1109996"/>
                  <a:gd name="connsiteY10" fmla="*/ 938952 h 942755"/>
                  <a:gd name="connsiteX11" fmla="*/ 986692 w 1109996"/>
                  <a:gd name="connsiteY11" fmla="*/ 779541 h 942755"/>
                  <a:gd name="connsiteX0" fmla="*/ 986692 w 1109996"/>
                  <a:gd name="connsiteY0" fmla="*/ 779541 h 942755"/>
                  <a:gd name="connsiteX1" fmla="*/ 1027442 w 1109996"/>
                  <a:gd name="connsiteY1" fmla="*/ 592725 h 942755"/>
                  <a:gd name="connsiteX2" fmla="*/ 1055972 w 1109996"/>
                  <a:gd name="connsiteY2" fmla="*/ 361564 h 942755"/>
                  <a:gd name="connsiteX3" fmla="*/ 1053006 w 1109996"/>
                  <a:gd name="connsiteY3" fmla="*/ 136378 h 942755"/>
                  <a:gd name="connsiteX4" fmla="*/ 974785 w 1109996"/>
                  <a:gd name="connsiteY4" fmla="*/ 126584 h 942755"/>
                  <a:gd name="connsiteX5" fmla="*/ 570238 w 1109996"/>
                  <a:gd name="connsiteY5" fmla="*/ 122865 h 942755"/>
                  <a:gd name="connsiteX6" fmla="*/ 543741 w 1109996"/>
                  <a:gd name="connsiteY6" fmla="*/ 0 h 942755"/>
                  <a:gd name="connsiteX7" fmla="*/ 0 w 1109996"/>
                  <a:gd name="connsiteY7" fmla="*/ 221475 h 942755"/>
                  <a:gd name="connsiteX8" fmla="*/ 0 w 1109996"/>
                  <a:gd name="connsiteY8" fmla="*/ 808071 h 942755"/>
                  <a:gd name="connsiteX9" fmla="*/ 362309 w 1109996"/>
                  <a:gd name="connsiteY9" fmla="*/ 920214 h 942755"/>
                  <a:gd name="connsiteX10" fmla="*/ 884927 w 1109996"/>
                  <a:gd name="connsiteY10" fmla="*/ 938952 h 942755"/>
                  <a:gd name="connsiteX11" fmla="*/ 986692 w 1109996"/>
                  <a:gd name="connsiteY11" fmla="*/ 779541 h 942755"/>
                  <a:gd name="connsiteX0" fmla="*/ 986692 w 1109996"/>
                  <a:gd name="connsiteY0" fmla="*/ 779541 h 942755"/>
                  <a:gd name="connsiteX1" fmla="*/ 1027442 w 1109996"/>
                  <a:gd name="connsiteY1" fmla="*/ 592725 h 942755"/>
                  <a:gd name="connsiteX2" fmla="*/ 1055972 w 1109996"/>
                  <a:gd name="connsiteY2" fmla="*/ 361564 h 942755"/>
                  <a:gd name="connsiteX3" fmla="*/ 1053006 w 1109996"/>
                  <a:gd name="connsiteY3" fmla="*/ 136378 h 942755"/>
                  <a:gd name="connsiteX4" fmla="*/ 974785 w 1109996"/>
                  <a:gd name="connsiteY4" fmla="*/ 126584 h 942755"/>
                  <a:gd name="connsiteX5" fmla="*/ 570238 w 1109996"/>
                  <a:gd name="connsiteY5" fmla="*/ 122865 h 942755"/>
                  <a:gd name="connsiteX6" fmla="*/ 543741 w 1109996"/>
                  <a:gd name="connsiteY6" fmla="*/ 0 h 942755"/>
                  <a:gd name="connsiteX7" fmla="*/ 0 w 1109996"/>
                  <a:gd name="connsiteY7" fmla="*/ 221475 h 942755"/>
                  <a:gd name="connsiteX8" fmla="*/ 0 w 1109996"/>
                  <a:gd name="connsiteY8" fmla="*/ 808071 h 942755"/>
                  <a:gd name="connsiteX9" fmla="*/ 362309 w 1109996"/>
                  <a:gd name="connsiteY9" fmla="*/ 920214 h 942755"/>
                  <a:gd name="connsiteX10" fmla="*/ 884927 w 1109996"/>
                  <a:gd name="connsiteY10" fmla="*/ 938952 h 942755"/>
                  <a:gd name="connsiteX11" fmla="*/ 986692 w 1109996"/>
                  <a:gd name="connsiteY11" fmla="*/ 779541 h 942755"/>
                  <a:gd name="connsiteX0" fmla="*/ 986692 w 1109996"/>
                  <a:gd name="connsiteY0" fmla="*/ 779541 h 942755"/>
                  <a:gd name="connsiteX1" fmla="*/ 1027442 w 1109996"/>
                  <a:gd name="connsiteY1" fmla="*/ 592725 h 942755"/>
                  <a:gd name="connsiteX2" fmla="*/ 1055972 w 1109996"/>
                  <a:gd name="connsiteY2" fmla="*/ 361564 h 942755"/>
                  <a:gd name="connsiteX3" fmla="*/ 1053006 w 1109996"/>
                  <a:gd name="connsiteY3" fmla="*/ 136378 h 942755"/>
                  <a:gd name="connsiteX4" fmla="*/ 974785 w 1109996"/>
                  <a:gd name="connsiteY4" fmla="*/ 126584 h 942755"/>
                  <a:gd name="connsiteX5" fmla="*/ 570238 w 1109996"/>
                  <a:gd name="connsiteY5" fmla="*/ 122865 h 942755"/>
                  <a:gd name="connsiteX6" fmla="*/ 540584 w 1109996"/>
                  <a:gd name="connsiteY6" fmla="*/ 0 h 942755"/>
                  <a:gd name="connsiteX7" fmla="*/ 0 w 1109996"/>
                  <a:gd name="connsiteY7" fmla="*/ 221475 h 942755"/>
                  <a:gd name="connsiteX8" fmla="*/ 0 w 1109996"/>
                  <a:gd name="connsiteY8" fmla="*/ 808071 h 942755"/>
                  <a:gd name="connsiteX9" fmla="*/ 362309 w 1109996"/>
                  <a:gd name="connsiteY9" fmla="*/ 920214 h 942755"/>
                  <a:gd name="connsiteX10" fmla="*/ 884927 w 1109996"/>
                  <a:gd name="connsiteY10" fmla="*/ 938952 h 942755"/>
                  <a:gd name="connsiteX11" fmla="*/ 986692 w 1109996"/>
                  <a:gd name="connsiteY11" fmla="*/ 779541 h 942755"/>
                  <a:gd name="connsiteX0" fmla="*/ 986692 w 1109996"/>
                  <a:gd name="connsiteY0" fmla="*/ 779541 h 942755"/>
                  <a:gd name="connsiteX1" fmla="*/ 1027442 w 1109996"/>
                  <a:gd name="connsiteY1" fmla="*/ 592725 h 942755"/>
                  <a:gd name="connsiteX2" fmla="*/ 1055972 w 1109996"/>
                  <a:gd name="connsiteY2" fmla="*/ 361564 h 942755"/>
                  <a:gd name="connsiteX3" fmla="*/ 1053006 w 1109996"/>
                  <a:gd name="connsiteY3" fmla="*/ 136378 h 942755"/>
                  <a:gd name="connsiteX4" fmla="*/ 974785 w 1109996"/>
                  <a:gd name="connsiteY4" fmla="*/ 126584 h 942755"/>
                  <a:gd name="connsiteX5" fmla="*/ 570238 w 1109996"/>
                  <a:gd name="connsiteY5" fmla="*/ 122865 h 942755"/>
                  <a:gd name="connsiteX6" fmla="*/ 540584 w 1109996"/>
                  <a:gd name="connsiteY6" fmla="*/ 0 h 942755"/>
                  <a:gd name="connsiteX7" fmla="*/ 0 w 1109996"/>
                  <a:gd name="connsiteY7" fmla="*/ 221475 h 942755"/>
                  <a:gd name="connsiteX8" fmla="*/ 0 w 1109996"/>
                  <a:gd name="connsiteY8" fmla="*/ 808071 h 942755"/>
                  <a:gd name="connsiteX9" fmla="*/ 362309 w 1109996"/>
                  <a:gd name="connsiteY9" fmla="*/ 920214 h 942755"/>
                  <a:gd name="connsiteX10" fmla="*/ 884927 w 1109996"/>
                  <a:gd name="connsiteY10" fmla="*/ 938952 h 942755"/>
                  <a:gd name="connsiteX11" fmla="*/ 986692 w 1109996"/>
                  <a:gd name="connsiteY11" fmla="*/ 779541 h 942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9996" h="942755">
                    <a:moveTo>
                      <a:pt x="986692" y="779541"/>
                    </a:moveTo>
                    <a:cubicBezTo>
                      <a:pt x="1020437" y="749688"/>
                      <a:pt x="1117840" y="705004"/>
                      <a:pt x="1027442" y="592725"/>
                    </a:cubicBezTo>
                    <a:cubicBezTo>
                      <a:pt x="1094896" y="559327"/>
                      <a:pt x="1129012" y="425918"/>
                      <a:pt x="1055972" y="361564"/>
                    </a:cubicBezTo>
                    <a:cubicBezTo>
                      <a:pt x="1119277" y="300790"/>
                      <a:pt x="1137338" y="211439"/>
                      <a:pt x="1053006" y="136378"/>
                    </a:cubicBezTo>
                    <a:cubicBezTo>
                      <a:pt x="1003120" y="125969"/>
                      <a:pt x="1000859" y="129849"/>
                      <a:pt x="974785" y="126584"/>
                    </a:cubicBezTo>
                    <a:cubicBezTo>
                      <a:pt x="855720" y="122614"/>
                      <a:pt x="705087" y="124105"/>
                      <a:pt x="570238" y="122865"/>
                    </a:cubicBezTo>
                    <a:cubicBezTo>
                      <a:pt x="566862" y="73399"/>
                      <a:pt x="578688" y="74034"/>
                      <a:pt x="540584" y="0"/>
                    </a:cubicBezTo>
                    <a:cubicBezTo>
                      <a:pt x="221406" y="48883"/>
                      <a:pt x="181155" y="129460"/>
                      <a:pt x="0" y="221475"/>
                    </a:cubicBezTo>
                    <a:lnTo>
                      <a:pt x="0" y="808071"/>
                    </a:lnTo>
                    <a:cubicBezTo>
                      <a:pt x="69011" y="810946"/>
                      <a:pt x="189780" y="900086"/>
                      <a:pt x="362309" y="920214"/>
                    </a:cubicBezTo>
                    <a:cubicBezTo>
                      <a:pt x="516544" y="944012"/>
                      <a:pt x="753082" y="946522"/>
                      <a:pt x="884927" y="938952"/>
                    </a:cubicBezTo>
                    <a:cubicBezTo>
                      <a:pt x="1065985" y="934556"/>
                      <a:pt x="1049459" y="820975"/>
                      <a:pt x="986692" y="77954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1" name="Rectangle 11">
                <a:extLst>
                  <a:ext uri="{FF2B5EF4-FFF2-40B4-BE49-F238E27FC236}">
                    <a16:creationId xmlns:a16="http://schemas.microsoft.com/office/drawing/2014/main" xmlns="" id="{36682F2F-2CB9-4073-8D91-9518E45EEF44}"/>
                  </a:ext>
                </a:extLst>
              </p:cNvPr>
              <p:cNvSpPr/>
              <p:nvPr/>
            </p:nvSpPr>
            <p:spPr>
              <a:xfrm>
                <a:off x="2181528" y="3533421"/>
                <a:ext cx="1072717" cy="63126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2" name="Rectangle 12">
                <a:extLst>
                  <a:ext uri="{FF2B5EF4-FFF2-40B4-BE49-F238E27FC236}">
                    <a16:creationId xmlns:a16="http://schemas.microsoft.com/office/drawing/2014/main" xmlns="" id="{A25AA976-2801-42CF-9748-BF51BD4A2A53}"/>
                  </a:ext>
                </a:extLst>
              </p:cNvPr>
              <p:cNvSpPr/>
              <p:nvPr/>
            </p:nvSpPr>
            <p:spPr>
              <a:xfrm>
                <a:off x="3254243" y="3562478"/>
                <a:ext cx="246361" cy="50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3" name="Oval 13">
                <a:extLst>
                  <a:ext uri="{FF2B5EF4-FFF2-40B4-BE49-F238E27FC236}">
                    <a16:creationId xmlns:a16="http://schemas.microsoft.com/office/drawing/2014/main" xmlns="" id="{41227B96-ECFD-414B-93DA-C1ECEAB538E6}"/>
                  </a:ext>
                </a:extLst>
              </p:cNvPr>
              <p:cNvSpPr/>
              <p:nvPr/>
            </p:nvSpPr>
            <p:spPr>
              <a:xfrm>
                <a:off x="3314041" y="3928164"/>
                <a:ext cx="108000" cy="10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</p:grpSp>
      </p:grpSp>
      <p:grpSp>
        <p:nvGrpSpPr>
          <p:cNvPr id="74" name="Group 14">
            <a:extLst>
              <a:ext uri="{FF2B5EF4-FFF2-40B4-BE49-F238E27FC236}">
                <a16:creationId xmlns:a16="http://schemas.microsoft.com/office/drawing/2014/main" xmlns="" id="{6AF785A2-0FF8-44AC-8E52-7F4EDD191560}"/>
              </a:ext>
            </a:extLst>
          </p:cNvPr>
          <p:cNvGrpSpPr/>
          <p:nvPr/>
        </p:nvGrpSpPr>
        <p:grpSpPr>
          <a:xfrm>
            <a:off x="4573621" y="4283557"/>
            <a:ext cx="1473263" cy="360210"/>
            <a:chOff x="2499805" y="4719592"/>
            <a:chExt cx="2694742" cy="677103"/>
          </a:xfrm>
        </p:grpSpPr>
        <p:sp>
          <p:nvSpPr>
            <p:cNvPr id="75" name="Freeform 3">
              <a:extLst>
                <a:ext uri="{FF2B5EF4-FFF2-40B4-BE49-F238E27FC236}">
                  <a16:creationId xmlns:a16="http://schemas.microsoft.com/office/drawing/2014/main" xmlns="" id="{BDCD00BA-19C2-4AED-BE41-53D953D8EB52}"/>
                </a:ext>
              </a:extLst>
            </p:cNvPr>
            <p:cNvSpPr/>
            <p:nvPr/>
          </p:nvSpPr>
          <p:spPr>
            <a:xfrm flipH="1">
              <a:off x="3322830" y="4719592"/>
              <a:ext cx="1871717" cy="630148"/>
            </a:xfrm>
            <a:custGeom>
              <a:avLst/>
              <a:gdLst>
                <a:gd name="connsiteX0" fmla="*/ 5029200 w 5029200"/>
                <a:gd name="connsiteY0" fmla="*/ 666750 h 1752600"/>
                <a:gd name="connsiteX1" fmla="*/ 4848225 w 5029200"/>
                <a:gd name="connsiteY1" fmla="*/ 1752600 h 1752600"/>
                <a:gd name="connsiteX2" fmla="*/ 2238375 w 5029200"/>
                <a:gd name="connsiteY2" fmla="*/ 1219200 h 1752600"/>
                <a:gd name="connsiteX3" fmla="*/ 1914525 w 5029200"/>
                <a:gd name="connsiteY3" fmla="*/ 1085850 h 1752600"/>
                <a:gd name="connsiteX4" fmla="*/ 200025 w 5029200"/>
                <a:gd name="connsiteY4" fmla="*/ 723900 h 1752600"/>
                <a:gd name="connsiteX5" fmla="*/ 323850 w 5029200"/>
                <a:gd name="connsiteY5" fmla="*/ 533400 h 1752600"/>
                <a:gd name="connsiteX6" fmla="*/ 0 w 5029200"/>
                <a:gd name="connsiteY6" fmla="*/ 485775 h 1752600"/>
                <a:gd name="connsiteX7" fmla="*/ 590550 w 5029200"/>
                <a:gd name="connsiteY7" fmla="*/ 266700 h 1752600"/>
                <a:gd name="connsiteX8" fmla="*/ 1495425 w 5029200"/>
                <a:gd name="connsiteY8" fmla="*/ 504825 h 1752600"/>
                <a:gd name="connsiteX9" fmla="*/ 2257425 w 5029200"/>
                <a:gd name="connsiteY9" fmla="*/ 409575 h 1752600"/>
                <a:gd name="connsiteX10" fmla="*/ 2171700 w 5029200"/>
                <a:gd name="connsiteY10" fmla="*/ 409575 h 1752600"/>
                <a:gd name="connsiteX11" fmla="*/ 1476375 w 5029200"/>
                <a:gd name="connsiteY11" fmla="*/ 361950 h 1752600"/>
                <a:gd name="connsiteX12" fmla="*/ 1362075 w 5029200"/>
                <a:gd name="connsiteY12" fmla="*/ 85725 h 1752600"/>
                <a:gd name="connsiteX13" fmla="*/ 2333625 w 5029200"/>
                <a:gd name="connsiteY13" fmla="*/ 0 h 1752600"/>
                <a:gd name="connsiteX14" fmla="*/ 3724275 w 5029200"/>
                <a:gd name="connsiteY14" fmla="*/ 66675 h 1752600"/>
                <a:gd name="connsiteX15" fmla="*/ 5029200 w 5029200"/>
                <a:gd name="connsiteY15" fmla="*/ 666750 h 1752600"/>
                <a:gd name="connsiteX0" fmla="*/ 4973541 w 5077377"/>
                <a:gd name="connsiteY0" fmla="*/ 694580 h 1763901"/>
                <a:gd name="connsiteX1" fmla="*/ 4848225 w 5077377"/>
                <a:gd name="connsiteY1" fmla="*/ 1752600 h 1763901"/>
                <a:gd name="connsiteX2" fmla="*/ 2238375 w 5077377"/>
                <a:gd name="connsiteY2" fmla="*/ 1219200 h 1763901"/>
                <a:gd name="connsiteX3" fmla="*/ 1914525 w 5077377"/>
                <a:gd name="connsiteY3" fmla="*/ 1085850 h 1763901"/>
                <a:gd name="connsiteX4" fmla="*/ 200025 w 5077377"/>
                <a:gd name="connsiteY4" fmla="*/ 723900 h 1763901"/>
                <a:gd name="connsiteX5" fmla="*/ 323850 w 5077377"/>
                <a:gd name="connsiteY5" fmla="*/ 533400 h 1763901"/>
                <a:gd name="connsiteX6" fmla="*/ 0 w 5077377"/>
                <a:gd name="connsiteY6" fmla="*/ 485775 h 1763901"/>
                <a:gd name="connsiteX7" fmla="*/ 590550 w 5077377"/>
                <a:gd name="connsiteY7" fmla="*/ 266700 h 1763901"/>
                <a:gd name="connsiteX8" fmla="*/ 1495425 w 5077377"/>
                <a:gd name="connsiteY8" fmla="*/ 504825 h 1763901"/>
                <a:gd name="connsiteX9" fmla="*/ 2257425 w 5077377"/>
                <a:gd name="connsiteY9" fmla="*/ 409575 h 1763901"/>
                <a:gd name="connsiteX10" fmla="*/ 2171700 w 5077377"/>
                <a:gd name="connsiteY10" fmla="*/ 409575 h 1763901"/>
                <a:gd name="connsiteX11" fmla="*/ 1476375 w 5077377"/>
                <a:gd name="connsiteY11" fmla="*/ 361950 h 1763901"/>
                <a:gd name="connsiteX12" fmla="*/ 1362075 w 5077377"/>
                <a:gd name="connsiteY12" fmla="*/ 85725 h 1763901"/>
                <a:gd name="connsiteX13" fmla="*/ 2333625 w 5077377"/>
                <a:gd name="connsiteY13" fmla="*/ 0 h 1763901"/>
                <a:gd name="connsiteX14" fmla="*/ 3724275 w 5077377"/>
                <a:gd name="connsiteY14" fmla="*/ 66675 h 1763901"/>
                <a:gd name="connsiteX15" fmla="*/ 4973541 w 5077377"/>
                <a:gd name="connsiteY15" fmla="*/ 694580 h 1763901"/>
                <a:gd name="connsiteX0" fmla="*/ 4973541 w 5077377"/>
                <a:gd name="connsiteY0" fmla="*/ 694580 h 1763901"/>
                <a:gd name="connsiteX1" fmla="*/ 4848225 w 5077377"/>
                <a:gd name="connsiteY1" fmla="*/ 1752600 h 1763901"/>
                <a:gd name="connsiteX2" fmla="*/ 2238375 w 5077377"/>
                <a:gd name="connsiteY2" fmla="*/ 1219200 h 1763901"/>
                <a:gd name="connsiteX3" fmla="*/ 1914525 w 5077377"/>
                <a:gd name="connsiteY3" fmla="*/ 1085850 h 1763901"/>
                <a:gd name="connsiteX4" fmla="*/ 200025 w 5077377"/>
                <a:gd name="connsiteY4" fmla="*/ 723900 h 1763901"/>
                <a:gd name="connsiteX5" fmla="*/ 323850 w 5077377"/>
                <a:gd name="connsiteY5" fmla="*/ 533400 h 1763901"/>
                <a:gd name="connsiteX6" fmla="*/ 0 w 5077377"/>
                <a:gd name="connsiteY6" fmla="*/ 485775 h 1763901"/>
                <a:gd name="connsiteX7" fmla="*/ 590550 w 5077377"/>
                <a:gd name="connsiteY7" fmla="*/ 266700 h 1763901"/>
                <a:gd name="connsiteX8" fmla="*/ 1495425 w 5077377"/>
                <a:gd name="connsiteY8" fmla="*/ 504825 h 1763901"/>
                <a:gd name="connsiteX9" fmla="*/ 2257425 w 5077377"/>
                <a:gd name="connsiteY9" fmla="*/ 409575 h 1763901"/>
                <a:gd name="connsiteX10" fmla="*/ 2171700 w 5077377"/>
                <a:gd name="connsiteY10" fmla="*/ 409575 h 1763901"/>
                <a:gd name="connsiteX11" fmla="*/ 1476375 w 5077377"/>
                <a:gd name="connsiteY11" fmla="*/ 361950 h 1763901"/>
                <a:gd name="connsiteX12" fmla="*/ 1362075 w 5077377"/>
                <a:gd name="connsiteY12" fmla="*/ 85725 h 1763901"/>
                <a:gd name="connsiteX13" fmla="*/ 2333625 w 5077377"/>
                <a:gd name="connsiteY13" fmla="*/ 0 h 1763901"/>
                <a:gd name="connsiteX14" fmla="*/ 3724275 w 5077377"/>
                <a:gd name="connsiteY14" fmla="*/ 66675 h 1763901"/>
                <a:gd name="connsiteX15" fmla="*/ 4973541 w 5077377"/>
                <a:gd name="connsiteY15" fmla="*/ 694580 h 1763901"/>
                <a:gd name="connsiteX0" fmla="*/ 4973541 w 5077377"/>
                <a:gd name="connsiteY0" fmla="*/ 694580 h 1763901"/>
                <a:gd name="connsiteX1" fmla="*/ 4848225 w 5077377"/>
                <a:gd name="connsiteY1" fmla="*/ 1752600 h 1763901"/>
                <a:gd name="connsiteX2" fmla="*/ 2238375 w 5077377"/>
                <a:gd name="connsiteY2" fmla="*/ 1219200 h 1763901"/>
                <a:gd name="connsiteX3" fmla="*/ 1914525 w 5077377"/>
                <a:gd name="connsiteY3" fmla="*/ 1085850 h 1763901"/>
                <a:gd name="connsiteX4" fmla="*/ 200025 w 5077377"/>
                <a:gd name="connsiteY4" fmla="*/ 723900 h 1763901"/>
                <a:gd name="connsiteX5" fmla="*/ 323850 w 5077377"/>
                <a:gd name="connsiteY5" fmla="*/ 533400 h 1763901"/>
                <a:gd name="connsiteX6" fmla="*/ 0 w 5077377"/>
                <a:gd name="connsiteY6" fmla="*/ 485775 h 1763901"/>
                <a:gd name="connsiteX7" fmla="*/ 590550 w 5077377"/>
                <a:gd name="connsiteY7" fmla="*/ 266700 h 1763901"/>
                <a:gd name="connsiteX8" fmla="*/ 1495425 w 5077377"/>
                <a:gd name="connsiteY8" fmla="*/ 504825 h 1763901"/>
                <a:gd name="connsiteX9" fmla="*/ 2257425 w 5077377"/>
                <a:gd name="connsiteY9" fmla="*/ 409575 h 1763901"/>
                <a:gd name="connsiteX10" fmla="*/ 2171700 w 5077377"/>
                <a:gd name="connsiteY10" fmla="*/ 409575 h 1763901"/>
                <a:gd name="connsiteX11" fmla="*/ 1476375 w 5077377"/>
                <a:gd name="connsiteY11" fmla="*/ 361950 h 1763901"/>
                <a:gd name="connsiteX12" fmla="*/ 1362075 w 5077377"/>
                <a:gd name="connsiteY12" fmla="*/ 85725 h 1763901"/>
                <a:gd name="connsiteX13" fmla="*/ 2333625 w 5077377"/>
                <a:gd name="connsiteY13" fmla="*/ 0 h 1763901"/>
                <a:gd name="connsiteX14" fmla="*/ 3724275 w 5077377"/>
                <a:gd name="connsiteY14" fmla="*/ 66675 h 1763901"/>
                <a:gd name="connsiteX15" fmla="*/ 4973541 w 5077377"/>
                <a:gd name="connsiteY15" fmla="*/ 694580 h 1763901"/>
                <a:gd name="connsiteX0" fmla="*/ 4973541 w 5077377"/>
                <a:gd name="connsiteY0" fmla="*/ 694580 h 1763901"/>
                <a:gd name="connsiteX1" fmla="*/ 4848225 w 5077377"/>
                <a:gd name="connsiteY1" fmla="*/ 1752600 h 1763901"/>
                <a:gd name="connsiteX2" fmla="*/ 2238375 w 5077377"/>
                <a:gd name="connsiteY2" fmla="*/ 1219200 h 1763901"/>
                <a:gd name="connsiteX3" fmla="*/ 1914525 w 5077377"/>
                <a:gd name="connsiteY3" fmla="*/ 1085850 h 1763901"/>
                <a:gd name="connsiteX4" fmla="*/ 200025 w 5077377"/>
                <a:gd name="connsiteY4" fmla="*/ 723900 h 1763901"/>
                <a:gd name="connsiteX5" fmla="*/ 323850 w 5077377"/>
                <a:gd name="connsiteY5" fmla="*/ 533400 h 1763901"/>
                <a:gd name="connsiteX6" fmla="*/ 0 w 5077377"/>
                <a:gd name="connsiteY6" fmla="*/ 485775 h 1763901"/>
                <a:gd name="connsiteX7" fmla="*/ 590550 w 5077377"/>
                <a:gd name="connsiteY7" fmla="*/ 266700 h 1763901"/>
                <a:gd name="connsiteX8" fmla="*/ 1495425 w 5077377"/>
                <a:gd name="connsiteY8" fmla="*/ 504825 h 1763901"/>
                <a:gd name="connsiteX9" fmla="*/ 2257425 w 5077377"/>
                <a:gd name="connsiteY9" fmla="*/ 409575 h 1763901"/>
                <a:gd name="connsiteX10" fmla="*/ 2171700 w 5077377"/>
                <a:gd name="connsiteY10" fmla="*/ 409575 h 1763901"/>
                <a:gd name="connsiteX11" fmla="*/ 1476375 w 5077377"/>
                <a:gd name="connsiteY11" fmla="*/ 361950 h 1763901"/>
                <a:gd name="connsiteX12" fmla="*/ 1362075 w 5077377"/>
                <a:gd name="connsiteY12" fmla="*/ 85725 h 1763901"/>
                <a:gd name="connsiteX13" fmla="*/ 2333625 w 5077377"/>
                <a:gd name="connsiteY13" fmla="*/ 0 h 1763901"/>
                <a:gd name="connsiteX14" fmla="*/ 3700421 w 5077377"/>
                <a:gd name="connsiteY14" fmla="*/ 82578 h 1763901"/>
                <a:gd name="connsiteX15" fmla="*/ 4973541 w 5077377"/>
                <a:gd name="connsiteY15" fmla="*/ 694580 h 1763901"/>
                <a:gd name="connsiteX0" fmla="*/ 4973541 w 5077377"/>
                <a:gd name="connsiteY0" fmla="*/ 694580 h 1763901"/>
                <a:gd name="connsiteX1" fmla="*/ 4848225 w 5077377"/>
                <a:gd name="connsiteY1" fmla="*/ 1752600 h 1763901"/>
                <a:gd name="connsiteX2" fmla="*/ 2238375 w 5077377"/>
                <a:gd name="connsiteY2" fmla="*/ 1219200 h 1763901"/>
                <a:gd name="connsiteX3" fmla="*/ 1914525 w 5077377"/>
                <a:gd name="connsiteY3" fmla="*/ 1085850 h 1763901"/>
                <a:gd name="connsiteX4" fmla="*/ 200025 w 5077377"/>
                <a:gd name="connsiteY4" fmla="*/ 723900 h 1763901"/>
                <a:gd name="connsiteX5" fmla="*/ 323850 w 5077377"/>
                <a:gd name="connsiteY5" fmla="*/ 533400 h 1763901"/>
                <a:gd name="connsiteX6" fmla="*/ 0 w 5077377"/>
                <a:gd name="connsiteY6" fmla="*/ 485775 h 1763901"/>
                <a:gd name="connsiteX7" fmla="*/ 590550 w 5077377"/>
                <a:gd name="connsiteY7" fmla="*/ 266700 h 1763901"/>
                <a:gd name="connsiteX8" fmla="*/ 1495425 w 5077377"/>
                <a:gd name="connsiteY8" fmla="*/ 504825 h 1763901"/>
                <a:gd name="connsiteX9" fmla="*/ 2257425 w 5077377"/>
                <a:gd name="connsiteY9" fmla="*/ 409575 h 1763901"/>
                <a:gd name="connsiteX10" fmla="*/ 2171700 w 5077377"/>
                <a:gd name="connsiteY10" fmla="*/ 409575 h 1763901"/>
                <a:gd name="connsiteX11" fmla="*/ 1476375 w 5077377"/>
                <a:gd name="connsiteY11" fmla="*/ 361950 h 1763901"/>
                <a:gd name="connsiteX12" fmla="*/ 1362075 w 5077377"/>
                <a:gd name="connsiteY12" fmla="*/ 85725 h 1763901"/>
                <a:gd name="connsiteX13" fmla="*/ 2333625 w 5077377"/>
                <a:gd name="connsiteY13" fmla="*/ 0 h 1763901"/>
                <a:gd name="connsiteX14" fmla="*/ 3700421 w 5077377"/>
                <a:gd name="connsiteY14" fmla="*/ 82578 h 1763901"/>
                <a:gd name="connsiteX15" fmla="*/ 4973541 w 5077377"/>
                <a:gd name="connsiteY15" fmla="*/ 694580 h 1763901"/>
                <a:gd name="connsiteX0" fmla="*/ 4973541 w 5077377"/>
                <a:gd name="connsiteY0" fmla="*/ 775793 h 1845114"/>
                <a:gd name="connsiteX1" fmla="*/ 4848225 w 5077377"/>
                <a:gd name="connsiteY1" fmla="*/ 1833813 h 1845114"/>
                <a:gd name="connsiteX2" fmla="*/ 2238375 w 5077377"/>
                <a:gd name="connsiteY2" fmla="*/ 1300413 h 1845114"/>
                <a:gd name="connsiteX3" fmla="*/ 1914525 w 5077377"/>
                <a:gd name="connsiteY3" fmla="*/ 1167063 h 1845114"/>
                <a:gd name="connsiteX4" fmla="*/ 200025 w 5077377"/>
                <a:gd name="connsiteY4" fmla="*/ 805113 h 1845114"/>
                <a:gd name="connsiteX5" fmla="*/ 323850 w 5077377"/>
                <a:gd name="connsiteY5" fmla="*/ 614613 h 1845114"/>
                <a:gd name="connsiteX6" fmla="*/ 0 w 5077377"/>
                <a:gd name="connsiteY6" fmla="*/ 566988 h 1845114"/>
                <a:gd name="connsiteX7" fmla="*/ 590550 w 5077377"/>
                <a:gd name="connsiteY7" fmla="*/ 347913 h 1845114"/>
                <a:gd name="connsiteX8" fmla="*/ 1495425 w 5077377"/>
                <a:gd name="connsiteY8" fmla="*/ 586038 h 1845114"/>
                <a:gd name="connsiteX9" fmla="*/ 2257425 w 5077377"/>
                <a:gd name="connsiteY9" fmla="*/ 490788 h 1845114"/>
                <a:gd name="connsiteX10" fmla="*/ 2171700 w 5077377"/>
                <a:gd name="connsiteY10" fmla="*/ 490788 h 1845114"/>
                <a:gd name="connsiteX11" fmla="*/ 1476375 w 5077377"/>
                <a:gd name="connsiteY11" fmla="*/ 443163 h 1845114"/>
                <a:gd name="connsiteX12" fmla="*/ 1362075 w 5077377"/>
                <a:gd name="connsiteY12" fmla="*/ 166938 h 1845114"/>
                <a:gd name="connsiteX13" fmla="*/ 2333625 w 5077377"/>
                <a:gd name="connsiteY13" fmla="*/ 81213 h 1845114"/>
                <a:gd name="connsiteX14" fmla="*/ 3700421 w 5077377"/>
                <a:gd name="connsiteY14" fmla="*/ 163791 h 1845114"/>
                <a:gd name="connsiteX15" fmla="*/ 4973541 w 5077377"/>
                <a:gd name="connsiteY15" fmla="*/ 775793 h 1845114"/>
                <a:gd name="connsiteX0" fmla="*/ 4973541 w 5077377"/>
                <a:gd name="connsiteY0" fmla="*/ 771984 h 1841305"/>
                <a:gd name="connsiteX1" fmla="*/ 4848225 w 5077377"/>
                <a:gd name="connsiteY1" fmla="*/ 1830004 h 1841305"/>
                <a:gd name="connsiteX2" fmla="*/ 2238375 w 5077377"/>
                <a:gd name="connsiteY2" fmla="*/ 1296604 h 1841305"/>
                <a:gd name="connsiteX3" fmla="*/ 1914525 w 5077377"/>
                <a:gd name="connsiteY3" fmla="*/ 1163254 h 1841305"/>
                <a:gd name="connsiteX4" fmla="*/ 200025 w 5077377"/>
                <a:gd name="connsiteY4" fmla="*/ 801304 h 1841305"/>
                <a:gd name="connsiteX5" fmla="*/ 323850 w 5077377"/>
                <a:gd name="connsiteY5" fmla="*/ 610804 h 1841305"/>
                <a:gd name="connsiteX6" fmla="*/ 0 w 5077377"/>
                <a:gd name="connsiteY6" fmla="*/ 563179 h 1841305"/>
                <a:gd name="connsiteX7" fmla="*/ 590550 w 5077377"/>
                <a:gd name="connsiteY7" fmla="*/ 344104 h 1841305"/>
                <a:gd name="connsiteX8" fmla="*/ 1495425 w 5077377"/>
                <a:gd name="connsiteY8" fmla="*/ 582229 h 1841305"/>
                <a:gd name="connsiteX9" fmla="*/ 2257425 w 5077377"/>
                <a:gd name="connsiteY9" fmla="*/ 486979 h 1841305"/>
                <a:gd name="connsiteX10" fmla="*/ 2171700 w 5077377"/>
                <a:gd name="connsiteY10" fmla="*/ 486979 h 1841305"/>
                <a:gd name="connsiteX11" fmla="*/ 1476375 w 5077377"/>
                <a:gd name="connsiteY11" fmla="*/ 439354 h 1841305"/>
                <a:gd name="connsiteX12" fmla="*/ 1362075 w 5077377"/>
                <a:gd name="connsiteY12" fmla="*/ 163129 h 1841305"/>
                <a:gd name="connsiteX13" fmla="*/ 2345552 w 5077377"/>
                <a:gd name="connsiteY13" fmla="*/ 89331 h 1841305"/>
                <a:gd name="connsiteX14" fmla="*/ 3700421 w 5077377"/>
                <a:gd name="connsiteY14" fmla="*/ 159982 h 1841305"/>
                <a:gd name="connsiteX15" fmla="*/ 4973541 w 5077377"/>
                <a:gd name="connsiteY15" fmla="*/ 771984 h 1841305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362075 w 5077377"/>
                <a:gd name="connsiteY12" fmla="*/ 205171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362075 w 5077377"/>
                <a:gd name="connsiteY12" fmla="*/ 205171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362075 w 5077377"/>
                <a:gd name="connsiteY12" fmla="*/ 205171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476375 w 5077377"/>
                <a:gd name="connsiteY11" fmla="*/ 481396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659255 w 5077377"/>
                <a:gd name="connsiteY11" fmla="*/ 517177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2171700 w 5077377"/>
                <a:gd name="connsiteY10" fmla="*/ 529021 h 1883347"/>
                <a:gd name="connsiteX11" fmla="*/ 1659255 w 5077377"/>
                <a:gd name="connsiteY11" fmla="*/ 517177 h 1883347"/>
                <a:gd name="connsiteX12" fmla="*/ 1409783 w 5077377"/>
                <a:gd name="connsiteY12" fmla="*/ 165415 h 1883347"/>
                <a:gd name="connsiteX13" fmla="*/ 2345552 w 5077377"/>
                <a:gd name="connsiteY13" fmla="*/ 131373 h 1883347"/>
                <a:gd name="connsiteX14" fmla="*/ 3700421 w 5077377"/>
                <a:gd name="connsiteY14" fmla="*/ 202024 h 1883347"/>
                <a:gd name="connsiteX15" fmla="*/ 4973541 w 5077377"/>
                <a:gd name="connsiteY15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57425 w 5077377"/>
                <a:gd name="connsiteY9" fmla="*/ 529021 h 1883347"/>
                <a:gd name="connsiteX10" fmla="*/ 1659255 w 5077377"/>
                <a:gd name="connsiteY10" fmla="*/ 517177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25620 w 5077377"/>
                <a:gd name="connsiteY9" fmla="*/ 513119 h 1883347"/>
                <a:gd name="connsiteX10" fmla="*/ 1659255 w 5077377"/>
                <a:gd name="connsiteY10" fmla="*/ 517177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59255 w 5077377"/>
                <a:gd name="connsiteY10" fmla="*/ 517177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59255 w 5077377"/>
                <a:gd name="connsiteY10" fmla="*/ 517177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27450 w 5077377"/>
                <a:gd name="connsiteY10" fmla="*/ 48537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27450 w 5077377"/>
                <a:gd name="connsiteY10" fmla="*/ 48537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41522 w 5077377"/>
                <a:gd name="connsiteY9" fmla="*/ 536973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513202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3541 w 5077377"/>
                <a:gd name="connsiteY0" fmla="*/ 814026 h 1883347"/>
                <a:gd name="connsiteX1" fmla="*/ 4848225 w 5077377"/>
                <a:gd name="connsiteY1" fmla="*/ 1872046 h 1883347"/>
                <a:gd name="connsiteX2" fmla="*/ 2238375 w 5077377"/>
                <a:gd name="connsiteY2" fmla="*/ 1338646 h 1883347"/>
                <a:gd name="connsiteX3" fmla="*/ 1914525 w 5077377"/>
                <a:gd name="connsiteY3" fmla="*/ 1205296 h 1883347"/>
                <a:gd name="connsiteX4" fmla="*/ 200025 w 5077377"/>
                <a:gd name="connsiteY4" fmla="*/ 843346 h 1883347"/>
                <a:gd name="connsiteX5" fmla="*/ 323850 w 5077377"/>
                <a:gd name="connsiteY5" fmla="*/ 652846 h 1883347"/>
                <a:gd name="connsiteX6" fmla="*/ 0 w 5077377"/>
                <a:gd name="connsiteY6" fmla="*/ 605221 h 1883347"/>
                <a:gd name="connsiteX7" fmla="*/ 590550 w 5077377"/>
                <a:gd name="connsiteY7" fmla="*/ 386146 h 1883347"/>
                <a:gd name="connsiteX8" fmla="*/ 1495425 w 5077377"/>
                <a:gd name="connsiteY8" fmla="*/ 624271 h 1883347"/>
                <a:gd name="connsiteX9" fmla="*/ 2205741 w 5077377"/>
                <a:gd name="connsiteY9" fmla="*/ 525046 h 1883347"/>
                <a:gd name="connsiteX10" fmla="*/ 1619499 w 5077377"/>
                <a:gd name="connsiteY10" fmla="*/ 493323 h 1883347"/>
                <a:gd name="connsiteX11" fmla="*/ 1409783 w 5077377"/>
                <a:gd name="connsiteY11" fmla="*/ 165415 h 1883347"/>
                <a:gd name="connsiteX12" fmla="*/ 2345552 w 5077377"/>
                <a:gd name="connsiteY12" fmla="*/ 131373 h 1883347"/>
                <a:gd name="connsiteX13" fmla="*/ 3700421 w 5077377"/>
                <a:gd name="connsiteY13" fmla="*/ 202024 h 1883347"/>
                <a:gd name="connsiteX14" fmla="*/ 4973541 w 5077377"/>
                <a:gd name="connsiteY14" fmla="*/ 814026 h 1883347"/>
                <a:gd name="connsiteX0" fmla="*/ 4977516 w 5081352"/>
                <a:gd name="connsiteY0" fmla="*/ 814026 h 1883347"/>
                <a:gd name="connsiteX1" fmla="*/ 4852200 w 5081352"/>
                <a:gd name="connsiteY1" fmla="*/ 1872046 h 1883347"/>
                <a:gd name="connsiteX2" fmla="*/ 2242350 w 5081352"/>
                <a:gd name="connsiteY2" fmla="*/ 1338646 h 1883347"/>
                <a:gd name="connsiteX3" fmla="*/ 1918500 w 5081352"/>
                <a:gd name="connsiteY3" fmla="*/ 1205296 h 1883347"/>
                <a:gd name="connsiteX4" fmla="*/ 204000 w 5081352"/>
                <a:gd name="connsiteY4" fmla="*/ 843346 h 1883347"/>
                <a:gd name="connsiteX5" fmla="*/ 327825 w 5081352"/>
                <a:gd name="connsiteY5" fmla="*/ 652846 h 1883347"/>
                <a:gd name="connsiteX6" fmla="*/ 0 w 5081352"/>
                <a:gd name="connsiteY6" fmla="*/ 585343 h 1883347"/>
                <a:gd name="connsiteX7" fmla="*/ 594525 w 5081352"/>
                <a:gd name="connsiteY7" fmla="*/ 386146 h 1883347"/>
                <a:gd name="connsiteX8" fmla="*/ 1499400 w 5081352"/>
                <a:gd name="connsiteY8" fmla="*/ 624271 h 1883347"/>
                <a:gd name="connsiteX9" fmla="*/ 2209716 w 5081352"/>
                <a:gd name="connsiteY9" fmla="*/ 525046 h 1883347"/>
                <a:gd name="connsiteX10" fmla="*/ 1623474 w 5081352"/>
                <a:gd name="connsiteY10" fmla="*/ 493323 h 1883347"/>
                <a:gd name="connsiteX11" fmla="*/ 1413758 w 5081352"/>
                <a:gd name="connsiteY11" fmla="*/ 165415 h 1883347"/>
                <a:gd name="connsiteX12" fmla="*/ 2349527 w 5081352"/>
                <a:gd name="connsiteY12" fmla="*/ 131373 h 1883347"/>
                <a:gd name="connsiteX13" fmla="*/ 3704396 w 5081352"/>
                <a:gd name="connsiteY13" fmla="*/ 202024 h 1883347"/>
                <a:gd name="connsiteX14" fmla="*/ 4977516 w 5081352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06018 w 5083370"/>
                <a:gd name="connsiteY4" fmla="*/ 843346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06018 w 5083370"/>
                <a:gd name="connsiteY4" fmla="*/ 843346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170237 w 5083370"/>
                <a:gd name="connsiteY4" fmla="*/ 835395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170237 w 5083370"/>
                <a:gd name="connsiteY4" fmla="*/ 835395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25897 w 5083370"/>
                <a:gd name="connsiteY4" fmla="*/ 879127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25897 w 5083370"/>
                <a:gd name="connsiteY4" fmla="*/ 879127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25897 w 5083370"/>
                <a:gd name="connsiteY4" fmla="*/ 879127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83347"/>
                <a:gd name="connsiteX1" fmla="*/ 4854218 w 5083370"/>
                <a:gd name="connsiteY1" fmla="*/ 1872046 h 1883347"/>
                <a:gd name="connsiteX2" fmla="*/ 2244368 w 5083370"/>
                <a:gd name="connsiteY2" fmla="*/ 1338646 h 1883347"/>
                <a:gd name="connsiteX3" fmla="*/ 1920518 w 5083370"/>
                <a:gd name="connsiteY3" fmla="*/ 1205296 h 1883347"/>
                <a:gd name="connsiteX4" fmla="*/ 225897 w 5083370"/>
                <a:gd name="connsiteY4" fmla="*/ 879127 h 1883347"/>
                <a:gd name="connsiteX5" fmla="*/ 329843 w 5083370"/>
                <a:gd name="connsiteY5" fmla="*/ 652846 h 1883347"/>
                <a:gd name="connsiteX6" fmla="*/ 2018 w 5083370"/>
                <a:gd name="connsiteY6" fmla="*/ 585343 h 1883347"/>
                <a:gd name="connsiteX7" fmla="*/ 596543 w 5083370"/>
                <a:gd name="connsiteY7" fmla="*/ 386146 h 1883347"/>
                <a:gd name="connsiteX8" fmla="*/ 1501418 w 5083370"/>
                <a:gd name="connsiteY8" fmla="*/ 624271 h 1883347"/>
                <a:gd name="connsiteX9" fmla="*/ 2211734 w 5083370"/>
                <a:gd name="connsiteY9" fmla="*/ 525046 h 1883347"/>
                <a:gd name="connsiteX10" fmla="*/ 1625492 w 5083370"/>
                <a:gd name="connsiteY10" fmla="*/ 493323 h 1883347"/>
                <a:gd name="connsiteX11" fmla="*/ 1415776 w 5083370"/>
                <a:gd name="connsiteY11" fmla="*/ 165415 h 1883347"/>
                <a:gd name="connsiteX12" fmla="*/ 2351545 w 5083370"/>
                <a:gd name="connsiteY12" fmla="*/ 131373 h 1883347"/>
                <a:gd name="connsiteX13" fmla="*/ 3706414 w 5083370"/>
                <a:gd name="connsiteY13" fmla="*/ 202024 h 1883347"/>
                <a:gd name="connsiteX14" fmla="*/ 4979534 w 5083370"/>
                <a:gd name="connsiteY14" fmla="*/ 814026 h 1883347"/>
                <a:gd name="connsiteX0" fmla="*/ 4979534 w 5083370"/>
                <a:gd name="connsiteY0" fmla="*/ 814026 h 1877839"/>
                <a:gd name="connsiteX1" fmla="*/ 4854218 w 5083370"/>
                <a:gd name="connsiteY1" fmla="*/ 1872046 h 1877839"/>
                <a:gd name="connsiteX2" fmla="*/ 2244368 w 5083370"/>
                <a:gd name="connsiteY2" fmla="*/ 1338646 h 1877839"/>
                <a:gd name="connsiteX3" fmla="*/ 1920518 w 5083370"/>
                <a:gd name="connsiteY3" fmla="*/ 1205296 h 1877839"/>
                <a:gd name="connsiteX4" fmla="*/ 225897 w 5083370"/>
                <a:gd name="connsiteY4" fmla="*/ 879127 h 1877839"/>
                <a:gd name="connsiteX5" fmla="*/ 329843 w 5083370"/>
                <a:gd name="connsiteY5" fmla="*/ 652846 h 1877839"/>
                <a:gd name="connsiteX6" fmla="*/ 2018 w 5083370"/>
                <a:gd name="connsiteY6" fmla="*/ 585343 h 1877839"/>
                <a:gd name="connsiteX7" fmla="*/ 596543 w 5083370"/>
                <a:gd name="connsiteY7" fmla="*/ 386146 h 1877839"/>
                <a:gd name="connsiteX8" fmla="*/ 1501418 w 5083370"/>
                <a:gd name="connsiteY8" fmla="*/ 624271 h 1877839"/>
                <a:gd name="connsiteX9" fmla="*/ 2211734 w 5083370"/>
                <a:gd name="connsiteY9" fmla="*/ 525046 h 1877839"/>
                <a:gd name="connsiteX10" fmla="*/ 1625492 w 5083370"/>
                <a:gd name="connsiteY10" fmla="*/ 493323 h 1877839"/>
                <a:gd name="connsiteX11" fmla="*/ 1415776 w 5083370"/>
                <a:gd name="connsiteY11" fmla="*/ 165415 h 1877839"/>
                <a:gd name="connsiteX12" fmla="*/ 2351545 w 5083370"/>
                <a:gd name="connsiteY12" fmla="*/ 131373 h 1877839"/>
                <a:gd name="connsiteX13" fmla="*/ 3706414 w 5083370"/>
                <a:gd name="connsiteY13" fmla="*/ 202024 h 1877839"/>
                <a:gd name="connsiteX14" fmla="*/ 4979534 w 5083370"/>
                <a:gd name="connsiteY14" fmla="*/ 814026 h 1877839"/>
                <a:gd name="connsiteX0" fmla="*/ 4979534 w 5083370"/>
                <a:gd name="connsiteY0" fmla="*/ 814026 h 1877839"/>
                <a:gd name="connsiteX1" fmla="*/ 4854218 w 5083370"/>
                <a:gd name="connsiteY1" fmla="*/ 1872046 h 1877839"/>
                <a:gd name="connsiteX2" fmla="*/ 2244368 w 5083370"/>
                <a:gd name="connsiteY2" fmla="*/ 1338646 h 1877839"/>
                <a:gd name="connsiteX3" fmla="*/ 1920518 w 5083370"/>
                <a:gd name="connsiteY3" fmla="*/ 1205296 h 1877839"/>
                <a:gd name="connsiteX4" fmla="*/ 225897 w 5083370"/>
                <a:gd name="connsiteY4" fmla="*/ 879127 h 1877839"/>
                <a:gd name="connsiteX5" fmla="*/ 329843 w 5083370"/>
                <a:gd name="connsiteY5" fmla="*/ 652846 h 1877839"/>
                <a:gd name="connsiteX6" fmla="*/ 2018 w 5083370"/>
                <a:gd name="connsiteY6" fmla="*/ 585343 h 1877839"/>
                <a:gd name="connsiteX7" fmla="*/ 596543 w 5083370"/>
                <a:gd name="connsiteY7" fmla="*/ 386146 h 1877839"/>
                <a:gd name="connsiteX8" fmla="*/ 1501418 w 5083370"/>
                <a:gd name="connsiteY8" fmla="*/ 624271 h 1877839"/>
                <a:gd name="connsiteX9" fmla="*/ 2211734 w 5083370"/>
                <a:gd name="connsiteY9" fmla="*/ 525046 h 1877839"/>
                <a:gd name="connsiteX10" fmla="*/ 1625492 w 5083370"/>
                <a:gd name="connsiteY10" fmla="*/ 493323 h 1877839"/>
                <a:gd name="connsiteX11" fmla="*/ 1415776 w 5083370"/>
                <a:gd name="connsiteY11" fmla="*/ 165415 h 1877839"/>
                <a:gd name="connsiteX12" fmla="*/ 2351545 w 5083370"/>
                <a:gd name="connsiteY12" fmla="*/ 131373 h 1877839"/>
                <a:gd name="connsiteX13" fmla="*/ 3706414 w 5083370"/>
                <a:gd name="connsiteY13" fmla="*/ 202024 h 1877839"/>
                <a:gd name="connsiteX14" fmla="*/ 4979534 w 5083370"/>
                <a:gd name="connsiteY14" fmla="*/ 814026 h 1877839"/>
                <a:gd name="connsiteX0" fmla="*/ 4979534 w 5083370"/>
                <a:gd name="connsiteY0" fmla="*/ 814026 h 1877839"/>
                <a:gd name="connsiteX1" fmla="*/ 4854218 w 5083370"/>
                <a:gd name="connsiteY1" fmla="*/ 1872046 h 1877839"/>
                <a:gd name="connsiteX2" fmla="*/ 2244368 w 5083370"/>
                <a:gd name="connsiteY2" fmla="*/ 1338646 h 1877839"/>
                <a:gd name="connsiteX3" fmla="*/ 1829078 w 5083370"/>
                <a:gd name="connsiteY3" fmla="*/ 1181443 h 1877839"/>
                <a:gd name="connsiteX4" fmla="*/ 225897 w 5083370"/>
                <a:gd name="connsiteY4" fmla="*/ 879127 h 1877839"/>
                <a:gd name="connsiteX5" fmla="*/ 329843 w 5083370"/>
                <a:gd name="connsiteY5" fmla="*/ 652846 h 1877839"/>
                <a:gd name="connsiteX6" fmla="*/ 2018 w 5083370"/>
                <a:gd name="connsiteY6" fmla="*/ 585343 h 1877839"/>
                <a:gd name="connsiteX7" fmla="*/ 596543 w 5083370"/>
                <a:gd name="connsiteY7" fmla="*/ 386146 h 1877839"/>
                <a:gd name="connsiteX8" fmla="*/ 1501418 w 5083370"/>
                <a:gd name="connsiteY8" fmla="*/ 624271 h 1877839"/>
                <a:gd name="connsiteX9" fmla="*/ 2211734 w 5083370"/>
                <a:gd name="connsiteY9" fmla="*/ 525046 h 1877839"/>
                <a:gd name="connsiteX10" fmla="*/ 1625492 w 5083370"/>
                <a:gd name="connsiteY10" fmla="*/ 493323 h 1877839"/>
                <a:gd name="connsiteX11" fmla="*/ 1415776 w 5083370"/>
                <a:gd name="connsiteY11" fmla="*/ 165415 h 1877839"/>
                <a:gd name="connsiteX12" fmla="*/ 2351545 w 5083370"/>
                <a:gd name="connsiteY12" fmla="*/ 131373 h 1877839"/>
                <a:gd name="connsiteX13" fmla="*/ 3706414 w 5083370"/>
                <a:gd name="connsiteY13" fmla="*/ 202024 h 1877839"/>
                <a:gd name="connsiteX14" fmla="*/ 4979534 w 5083370"/>
                <a:gd name="connsiteY14" fmla="*/ 814026 h 1877839"/>
                <a:gd name="connsiteX0" fmla="*/ 4979534 w 5083370"/>
                <a:gd name="connsiteY0" fmla="*/ 814026 h 1880329"/>
                <a:gd name="connsiteX1" fmla="*/ 4854218 w 5083370"/>
                <a:gd name="connsiteY1" fmla="*/ 1872046 h 1880329"/>
                <a:gd name="connsiteX2" fmla="*/ 2244368 w 5083370"/>
                <a:gd name="connsiteY2" fmla="*/ 1338646 h 1880329"/>
                <a:gd name="connsiteX3" fmla="*/ 1829078 w 5083370"/>
                <a:gd name="connsiteY3" fmla="*/ 1181443 h 1880329"/>
                <a:gd name="connsiteX4" fmla="*/ 225897 w 5083370"/>
                <a:gd name="connsiteY4" fmla="*/ 879127 h 1880329"/>
                <a:gd name="connsiteX5" fmla="*/ 329843 w 5083370"/>
                <a:gd name="connsiteY5" fmla="*/ 652846 h 1880329"/>
                <a:gd name="connsiteX6" fmla="*/ 2018 w 5083370"/>
                <a:gd name="connsiteY6" fmla="*/ 585343 h 1880329"/>
                <a:gd name="connsiteX7" fmla="*/ 596543 w 5083370"/>
                <a:gd name="connsiteY7" fmla="*/ 386146 h 1880329"/>
                <a:gd name="connsiteX8" fmla="*/ 1501418 w 5083370"/>
                <a:gd name="connsiteY8" fmla="*/ 624271 h 1880329"/>
                <a:gd name="connsiteX9" fmla="*/ 2211734 w 5083370"/>
                <a:gd name="connsiteY9" fmla="*/ 525046 h 1880329"/>
                <a:gd name="connsiteX10" fmla="*/ 1625492 w 5083370"/>
                <a:gd name="connsiteY10" fmla="*/ 493323 h 1880329"/>
                <a:gd name="connsiteX11" fmla="*/ 1415776 w 5083370"/>
                <a:gd name="connsiteY11" fmla="*/ 165415 h 1880329"/>
                <a:gd name="connsiteX12" fmla="*/ 2351545 w 5083370"/>
                <a:gd name="connsiteY12" fmla="*/ 131373 h 1880329"/>
                <a:gd name="connsiteX13" fmla="*/ 3706414 w 5083370"/>
                <a:gd name="connsiteY13" fmla="*/ 202024 h 1880329"/>
                <a:gd name="connsiteX14" fmla="*/ 4979534 w 5083370"/>
                <a:gd name="connsiteY14" fmla="*/ 814026 h 1880329"/>
                <a:gd name="connsiteX0" fmla="*/ 4979534 w 5083370"/>
                <a:gd name="connsiteY0" fmla="*/ 814026 h 1880329"/>
                <a:gd name="connsiteX1" fmla="*/ 4854218 w 5083370"/>
                <a:gd name="connsiteY1" fmla="*/ 1872046 h 1880329"/>
                <a:gd name="connsiteX2" fmla="*/ 2244368 w 5083370"/>
                <a:gd name="connsiteY2" fmla="*/ 1338646 h 1880329"/>
                <a:gd name="connsiteX3" fmla="*/ 1829078 w 5083370"/>
                <a:gd name="connsiteY3" fmla="*/ 1181443 h 1880329"/>
                <a:gd name="connsiteX4" fmla="*/ 225897 w 5083370"/>
                <a:gd name="connsiteY4" fmla="*/ 879127 h 1880329"/>
                <a:gd name="connsiteX5" fmla="*/ 329843 w 5083370"/>
                <a:gd name="connsiteY5" fmla="*/ 652846 h 1880329"/>
                <a:gd name="connsiteX6" fmla="*/ 2018 w 5083370"/>
                <a:gd name="connsiteY6" fmla="*/ 585343 h 1880329"/>
                <a:gd name="connsiteX7" fmla="*/ 596543 w 5083370"/>
                <a:gd name="connsiteY7" fmla="*/ 386146 h 1880329"/>
                <a:gd name="connsiteX8" fmla="*/ 1501418 w 5083370"/>
                <a:gd name="connsiteY8" fmla="*/ 624271 h 1880329"/>
                <a:gd name="connsiteX9" fmla="*/ 2211734 w 5083370"/>
                <a:gd name="connsiteY9" fmla="*/ 525046 h 1880329"/>
                <a:gd name="connsiteX10" fmla="*/ 1625492 w 5083370"/>
                <a:gd name="connsiteY10" fmla="*/ 493323 h 1880329"/>
                <a:gd name="connsiteX11" fmla="*/ 1415776 w 5083370"/>
                <a:gd name="connsiteY11" fmla="*/ 165415 h 1880329"/>
                <a:gd name="connsiteX12" fmla="*/ 2351545 w 5083370"/>
                <a:gd name="connsiteY12" fmla="*/ 131373 h 1880329"/>
                <a:gd name="connsiteX13" fmla="*/ 3706414 w 5083370"/>
                <a:gd name="connsiteY13" fmla="*/ 202024 h 1880329"/>
                <a:gd name="connsiteX14" fmla="*/ 4979534 w 5083370"/>
                <a:gd name="connsiteY14" fmla="*/ 814026 h 1880329"/>
                <a:gd name="connsiteX0" fmla="*/ 4979534 w 4994661"/>
                <a:gd name="connsiteY0" fmla="*/ 814026 h 1877098"/>
                <a:gd name="connsiteX1" fmla="*/ 4854218 w 4994661"/>
                <a:gd name="connsiteY1" fmla="*/ 1872046 h 1877098"/>
                <a:gd name="connsiteX2" fmla="*/ 3494379 w 4994661"/>
                <a:gd name="connsiteY2" fmla="*/ 1219542 h 1877098"/>
                <a:gd name="connsiteX3" fmla="*/ 2244368 w 4994661"/>
                <a:gd name="connsiteY3" fmla="*/ 1338646 h 1877098"/>
                <a:gd name="connsiteX4" fmla="*/ 1829078 w 4994661"/>
                <a:gd name="connsiteY4" fmla="*/ 1181443 h 1877098"/>
                <a:gd name="connsiteX5" fmla="*/ 225897 w 4994661"/>
                <a:gd name="connsiteY5" fmla="*/ 879127 h 1877098"/>
                <a:gd name="connsiteX6" fmla="*/ 329843 w 4994661"/>
                <a:gd name="connsiteY6" fmla="*/ 652846 h 1877098"/>
                <a:gd name="connsiteX7" fmla="*/ 2018 w 4994661"/>
                <a:gd name="connsiteY7" fmla="*/ 585343 h 1877098"/>
                <a:gd name="connsiteX8" fmla="*/ 596543 w 4994661"/>
                <a:gd name="connsiteY8" fmla="*/ 386146 h 1877098"/>
                <a:gd name="connsiteX9" fmla="*/ 1501418 w 4994661"/>
                <a:gd name="connsiteY9" fmla="*/ 624271 h 1877098"/>
                <a:gd name="connsiteX10" fmla="*/ 2211734 w 4994661"/>
                <a:gd name="connsiteY10" fmla="*/ 525046 h 1877098"/>
                <a:gd name="connsiteX11" fmla="*/ 1625492 w 4994661"/>
                <a:gd name="connsiteY11" fmla="*/ 493323 h 1877098"/>
                <a:gd name="connsiteX12" fmla="*/ 1415776 w 4994661"/>
                <a:gd name="connsiteY12" fmla="*/ 165415 h 1877098"/>
                <a:gd name="connsiteX13" fmla="*/ 2351545 w 4994661"/>
                <a:gd name="connsiteY13" fmla="*/ 131373 h 1877098"/>
                <a:gd name="connsiteX14" fmla="*/ 3706414 w 4994661"/>
                <a:gd name="connsiteY14" fmla="*/ 202024 h 1877098"/>
                <a:gd name="connsiteX15" fmla="*/ 4979534 w 4994661"/>
                <a:gd name="connsiteY15" fmla="*/ 814026 h 1877098"/>
                <a:gd name="connsiteX0" fmla="*/ 4979534 w 4994661"/>
                <a:gd name="connsiteY0" fmla="*/ 814026 h 1877098"/>
                <a:gd name="connsiteX1" fmla="*/ 4854218 w 4994661"/>
                <a:gd name="connsiteY1" fmla="*/ 1872046 h 1877098"/>
                <a:gd name="connsiteX2" fmla="*/ 3494379 w 4994661"/>
                <a:gd name="connsiteY2" fmla="*/ 1219542 h 1877098"/>
                <a:gd name="connsiteX3" fmla="*/ 2244368 w 4994661"/>
                <a:gd name="connsiteY3" fmla="*/ 1338646 h 1877098"/>
                <a:gd name="connsiteX4" fmla="*/ 1829078 w 4994661"/>
                <a:gd name="connsiteY4" fmla="*/ 1181443 h 1877098"/>
                <a:gd name="connsiteX5" fmla="*/ 225897 w 4994661"/>
                <a:gd name="connsiteY5" fmla="*/ 879127 h 1877098"/>
                <a:gd name="connsiteX6" fmla="*/ 329843 w 4994661"/>
                <a:gd name="connsiteY6" fmla="*/ 652846 h 1877098"/>
                <a:gd name="connsiteX7" fmla="*/ 2018 w 4994661"/>
                <a:gd name="connsiteY7" fmla="*/ 585343 h 1877098"/>
                <a:gd name="connsiteX8" fmla="*/ 596543 w 4994661"/>
                <a:gd name="connsiteY8" fmla="*/ 386146 h 1877098"/>
                <a:gd name="connsiteX9" fmla="*/ 1501418 w 4994661"/>
                <a:gd name="connsiteY9" fmla="*/ 624271 h 1877098"/>
                <a:gd name="connsiteX10" fmla="*/ 2211734 w 4994661"/>
                <a:gd name="connsiteY10" fmla="*/ 525046 h 1877098"/>
                <a:gd name="connsiteX11" fmla="*/ 1625492 w 4994661"/>
                <a:gd name="connsiteY11" fmla="*/ 493323 h 1877098"/>
                <a:gd name="connsiteX12" fmla="*/ 1415776 w 4994661"/>
                <a:gd name="connsiteY12" fmla="*/ 165415 h 1877098"/>
                <a:gd name="connsiteX13" fmla="*/ 2351545 w 4994661"/>
                <a:gd name="connsiteY13" fmla="*/ 131373 h 1877098"/>
                <a:gd name="connsiteX14" fmla="*/ 3706414 w 4994661"/>
                <a:gd name="connsiteY14" fmla="*/ 202024 h 1877098"/>
                <a:gd name="connsiteX15" fmla="*/ 4979534 w 4994661"/>
                <a:gd name="connsiteY15" fmla="*/ 814026 h 1877098"/>
                <a:gd name="connsiteX0" fmla="*/ 4979534 w 4994661"/>
                <a:gd name="connsiteY0" fmla="*/ 814026 h 1877098"/>
                <a:gd name="connsiteX1" fmla="*/ 4854218 w 4994661"/>
                <a:gd name="connsiteY1" fmla="*/ 1872046 h 1877098"/>
                <a:gd name="connsiteX2" fmla="*/ 3494379 w 4994661"/>
                <a:gd name="connsiteY2" fmla="*/ 1219542 h 1877098"/>
                <a:gd name="connsiteX3" fmla="*/ 2244368 w 4994661"/>
                <a:gd name="connsiteY3" fmla="*/ 1338646 h 1877098"/>
                <a:gd name="connsiteX4" fmla="*/ 1829078 w 4994661"/>
                <a:gd name="connsiteY4" fmla="*/ 1181443 h 1877098"/>
                <a:gd name="connsiteX5" fmla="*/ 225897 w 4994661"/>
                <a:gd name="connsiteY5" fmla="*/ 879127 h 1877098"/>
                <a:gd name="connsiteX6" fmla="*/ 329843 w 4994661"/>
                <a:gd name="connsiteY6" fmla="*/ 652846 h 1877098"/>
                <a:gd name="connsiteX7" fmla="*/ 2018 w 4994661"/>
                <a:gd name="connsiteY7" fmla="*/ 585343 h 1877098"/>
                <a:gd name="connsiteX8" fmla="*/ 596543 w 4994661"/>
                <a:gd name="connsiteY8" fmla="*/ 386146 h 1877098"/>
                <a:gd name="connsiteX9" fmla="*/ 1501418 w 4994661"/>
                <a:gd name="connsiteY9" fmla="*/ 624271 h 1877098"/>
                <a:gd name="connsiteX10" fmla="*/ 2211734 w 4994661"/>
                <a:gd name="connsiteY10" fmla="*/ 525046 h 1877098"/>
                <a:gd name="connsiteX11" fmla="*/ 1625492 w 4994661"/>
                <a:gd name="connsiteY11" fmla="*/ 493323 h 1877098"/>
                <a:gd name="connsiteX12" fmla="*/ 1415776 w 4994661"/>
                <a:gd name="connsiteY12" fmla="*/ 165415 h 1877098"/>
                <a:gd name="connsiteX13" fmla="*/ 2351545 w 4994661"/>
                <a:gd name="connsiteY13" fmla="*/ 131373 h 1877098"/>
                <a:gd name="connsiteX14" fmla="*/ 3706414 w 4994661"/>
                <a:gd name="connsiteY14" fmla="*/ 202024 h 1877098"/>
                <a:gd name="connsiteX15" fmla="*/ 4979534 w 4994661"/>
                <a:gd name="connsiteY15" fmla="*/ 814026 h 1877098"/>
                <a:gd name="connsiteX0" fmla="*/ 4979534 w 5026969"/>
                <a:gd name="connsiteY0" fmla="*/ 814026 h 1837656"/>
                <a:gd name="connsiteX1" fmla="*/ 4905901 w 5026969"/>
                <a:gd name="connsiteY1" fmla="*/ 1832290 h 1837656"/>
                <a:gd name="connsiteX2" fmla="*/ 3494379 w 5026969"/>
                <a:gd name="connsiteY2" fmla="*/ 1219542 h 1837656"/>
                <a:gd name="connsiteX3" fmla="*/ 2244368 w 5026969"/>
                <a:gd name="connsiteY3" fmla="*/ 1338646 h 1837656"/>
                <a:gd name="connsiteX4" fmla="*/ 1829078 w 5026969"/>
                <a:gd name="connsiteY4" fmla="*/ 1181443 h 1837656"/>
                <a:gd name="connsiteX5" fmla="*/ 225897 w 5026969"/>
                <a:gd name="connsiteY5" fmla="*/ 879127 h 1837656"/>
                <a:gd name="connsiteX6" fmla="*/ 329843 w 5026969"/>
                <a:gd name="connsiteY6" fmla="*/ 652846 h 1837656"/>
                <a:gd name="connsiteX7" fmla="*/ 2018 w 5026969"/>
                <a:gd name="connsiteY7" fmla="*/ 585343 h 1837656"/>
                <a:gd name="connsiteX8" fmla="*/ 596543 w 5026969"/>
                <a:gd name="connsiteY8" fmla="*/ 386146 h 1837656"/>
                <a:gd name="connsiteX9" fmla="*/ 1501418 w 5026969"/>
                <a:gd name="connsiteY9" fmla="*/ 624271 h 1837656"/>
                <a:gd name="connsiteX10" fmla="*/ 2211734 w 5026969"/>
                <a:gd name="connsiteY10" fmla="*/ 525046 h 1837656"/>
                <a:gd name="connsiteX11" fmla="*/ 1625492 w 5026969"/>
                <a:gd name="connsiteY11" fmla="*/ 493323 h 1837656"/>
                <a:gd name="connsiteX12" fmla="*/ 1415776 w 5026969"/>
                <a:gd name="connsiteY12" fmla="*/ 165415 h 1837656"/>
                <a:gd name="connsiteX13" fmla="*/ 2351545 w 5026969"/>
                <a:gd name="connsiteY13" fmla="*/ 131373 h 1837656"/>
                <a:gd name="connsiteX14" fmla="*/ 3706414 w 5026969"/>
                <a:gd name="connsiteY14" fmla="*/ 202024 h 1837656"/>
                <a:gd name="connsiteX15" fmla="*/ 4979534 w 5026969"/>
                <a:gd name="connsiteY15" fmla="*/ 814026 h 1837656"/>
                <a:gd name="connsiteX0" fmla="*/ 4979534 w 5013760"/>
                <a:gd name="connsiteY0" fmla="*/ 814026 h 1847738"/>
                <a:gd name="connsiteX1" fmla="*/ 4905901 w 5013760"/>
                <a:gd name="connsiteY1" fmla="*/ 1832290 h 1847738"/>
                <a:gd name="connsiteX2" fmla="*/ 3494379 w 5013760"/>
                <a:gd name="connsiteY2" fmla="*/ 1219542 h 1847738"/>
                <a:gd name="connsiteX3" fmla="*/ 2244368 w 5013760"/>
                <a:gd name="connsiteY3" fmla="*/ 1338646 h 1847738"/>
                <a:gd name="connsiteX4" fmla="*/ 1829078 w 5013760"/>
                <a:gd name="connsiteY4" fmla="*/ 1181443 h 1847738"/>
                <a:gd name="connsiteX5" fmla="*/ 225897 w 5013760"/>
                <a:gd name="connsiteY5" fmla="*/ 879127 h 1847738"/>
                <a:gd name="connsiteX6" fmla="*/ 329843 w 5013760"/>
                <a:gd name="connsiteY6" fmla="*/ 652846 h 1847738"/>
                <a:gd name="connsiteX7" fmla="*/ 2018 w 5013760"/>
                <a:gd name="connsiteY7" fmla="*/ 585343 h 1847738"/>
                <a:gd name="connsiteX8" fmla="*/ 596543 w 5013760"/>
                <a:gd name="connsiteY8" fmla="*/ 386146 h 1847738"/>
                <a:gd name="connsiteX9" fmla="*/ 1501418 w 5013760"/>
                <a:gd name="connsiteY9" fmla="*/ 624271 h 1847738"/>
                <a:gd name="connsiteX10" fmla="*/ 2211734 w 5013760"/>
                <a:gd name="connsiteY10" fmla="*/ 525046 h 1847738"/>
                <a:gd name="connsiteX11" fmla="*/ 1625492 w 5013760"/>
                <a:gd name="connsiteY11" fmla="*/ 493323 h 1847738"/>
                <a:gd name="connsiteX12" fmla="*/ 1415776 w 5013760"/>
                <a:gd name="connsiteY12" fmla="*/ 165415 h 1847738"/>
                <a:gd name="connsiteX13" fmla="*/ 2351545 w 5013760"/>
                <a:gd name="connsiteY13" fmla="*/ 131373 h 1847738"/>
                <a:gd name="connsiteX14" fmla="*/ 3706414 w 5013760"/>
                <a:gd name="connsiteY14" fmla="*/ 202024 h 1847738"/>
                <a:gd name="connsiteX15" fmla="*/ 4979534 w 5013760"/>
                <a:gd name="connsiteY15" fmla="*/ 814026 h 1847738"/>
                <a:gd name="connsiteX0" fmla="*/ 4979534 w 5013760"/>
                <a:gd name="connsiteY0" fmla="*/ 814026 h 1847738"/>
                <a:gd name="connsiteX1" fmla="*/ 4905901 w 5013760"/>
                <a:gd name="connsiteY1" fmla="*/ 1832290 h 1847738"/>
                <a:gd name="connsiteX2" fmla="*/ 3494379 w 5013760"/>
                <a:gd name="connsiteY2" fmla="*/ 1219542 h 1847738"/>
                <a:gd name="connsiteX3" fmla="*/ 2244368 w 5013760"/>
                <a:gd name="connsiteY3" fmla="*/ 1338646 h 1847738"/>
                <a:gd name="connsiteX4" fmla="*/ 1829078 w 5013760"/>
                <a:gd name="connsiteY4" fmla="*/ 1181443 h 1847738"/>
                <a:gd name="connsiteX5" fmla="*/ 225897 w 5013760"/>
                <a:gd name="connsiteY5" fmla="*/ 879127 h 1847738"/>
                <a:gd name="connsiteX6" fmla="*/ 329843 w 5013760"/>
                <a:gd name="connsiteY6" fmla="*/ 652846 h 1847738"/>
                <a:gd name="connsiteX7" fmla="*/ 2018 w 5013760"/>
                <a:gd name="connsiteY7" fmla="*/ 585343 h 1847738"/>
                <a:gd name="connsiteX8" fmla="*/ 596543 w 5013760"/>
                <a:gd name="connsiteY8" fmla="*/ 386146 h 1847738"/>
                <a:gd name="connsiteX9" fmla="*/ 1501418 w 5013760"/>
                <a:gd name="connsiteY9" fmla="*/ 624271 h 1847738"/>
                <a:gd name="connsiteX10" fmla="*/ 2211734 w 5013760"/>
                <a:gd name="connsiteY10" fmla="*/ 525046 h 1847738"/>
                <a:gd name="connsiteX11" fmla="*/ 1625492 w 5013760"/>
                <a:gd name="connsiteY11" fmla="*/ 493323 h 1847738"/>
                <a:gd name="connsiteX12" fmla="*/ 1415776 w 5013760"/>
                <a:gd name="connsiteY12" fmla="*/ 165415 h 1847738"/>
                <a:gd name="connsiteX13" fmla="*/ 2351545 w 5013760"/>
                <a:gd name="connsiteY13" fmla="*/ 131373 h 1847738"/>
                <a:gd name="connsiteX14" fmla="*/ 3706414 w 5013760"/>
                <a:gd name="connsiteY14" fmla="*/ 202024 h 1847738"/>
                <a:gd name="connsiteX15" fmla="*/ 4979534 w 5013760"/>
                <a:gd name="connsiteY15" fmla="*/ 814026 h 1847738"/>
                <a:gd name="connsiteX0" fmla="*/ 4979534 w 4979534"/>
                <a:gd name="connsiteY0" fmla="*/ 814026 h 1676452"/>
                <a:gd name="connsiteX1" fmla="*/ 4587849 w 4979534"/>
                <a:gd name="connsiteY1" fmla="*/ 1657361 h 1676452"/>
                <a:gd name="connsiteX2" fmla="*/ 3494379 w 4979534"/>
                <a:gd name="connsiteY2" fmla="*/ 1219542 h 1676452"/>
                <a:gd name="connsiteX3" fmla="*/ 2244368 w 4979534"/>
                <a:gd name="connsiteY3" fmla="*/ 1338646 h 1676452"/>
                <a:gd name="connsiteX4" fmla="*/ 1829078 w 4979534"/>
                <a:gd name="connsiteY4" fmla="*/ 1181443 h 1676452"/>
                <a:gd name="connsiteX5" fmla="*/ 225897 w 4979534"/>
                <a:gd name="connsiteY5" fmla="*/ 879127 h 1676452"/>
                <a:gd name="connsiteX6" fmla="*/ 329843 w 4979534"/>
                <a:gd name="connsiteY6" fmla="*/ 652846 h 1676452"/>
                <a:gd name="connsiteX7" fmla="*/ 2018 w 4979534"/>
                <a:gd name="connsiteY7" fmla="*/ 585343 h 1676452"/>
                <a:gd name="connsiteX8" fmla="*/ 596543 w 4979534"/>
                <a:gd name="connsiteY8" fmla="*/ 386146 h 1676452"/>
                <a:gd name="connsiteX9" fmla="*/ 1501418 w 4979534"/>
                <a:gd name="connsiteY9" fmla="*/ 624271 h 1676452"/>
                <a:gd name="connsiteX10" fmla="*/ 2211734 w 4979534"/>
                <a:gd name="connsiteY10" fmla="*/ 525046 h 1676452"/>
                <a:gd name="connsiteX11" fmla="*/ 1625492 w 4979534"/>
                <a:gd name="connsiteY11" fmla="*/ 493323 h 1676452"/>
                <a:gd name="connsiteX12" fmla="*/ 1415776 w 4979534"/>
                <a:gd name="connsiteY12" fmla="*/ 165415 h 1676452"/>
                <a:gd name="connsiteX13" fmla="*/ 2351545 w 4979534"/>
                <a:gd name="connsiteY13" fmla="*/ 131373 h 1676452"/>
                <a:gd name="connsiteX14" fmla="*/ 3706414 w 4979534"/>
                <a:gd name="connsiteY14" fmla="*/ 202024 h 1676452"/>
                <a:gd name="connsiteX15" fmla="*/ 4979534 w 4979534"/>
                <a:gd name="connsiteY15" fmla="*/ 814026 h 167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9534" h="1676452">
                  <a:moveTo>
                    <a:pt x="4979534" y="814026"/>
                  </a:moveTo>
                  <a:cubicBezTo>
                    <a:pt x="4937762" y="1166699"/>
                    <a:pt x="4805185" y="1793751"/>
                    <a:pt x="4587849" y="1657361"/>
                  </a:cubicBezTo>
                  <a:cubicBezTo>
                    <a:pt x="4062028" y="1327381"/>
                    <a:pt x="3949232" y="1260734"/>
                    <a:pt x="3494379" y="1219542"/>
                  </a:cubicBezTo>
                  <a:cubicBezTo>
                    <a:pt x="3059404" y="1154496"/>
                    <a:pt x="2535170" y="1357585"/>
                    <a:pt x="2244368" y="1338646"/>
                  </a:cubicBezTo>
                  <a:cubicBezTo>
                    <a:pt x="2148345" y="1322026"/>
                    <a:pt x="1937028" y="1225893"/>
                    <a:pt x="1829078" y="1181443"/>
                  </a:cubicBezTo>
                  <a:cubicBezTo>
                    <a:pt x="1264204" y="1072720"/>
                    <a:pt x="814625" y="948093"/>
                    <a:pt x="225897" y="879127"/>
                  </a:cubicBezTo>
                  <a:cubicBezTo>
                    <a:pt x="124047" y="863334"/>
                    <a:pt x="213030" y="700444"/>
                    <a:pt x="329843" y="652846"/>
                  </a:cubicBezTo>
                  <a:lnTo>
                    <a:pt x="2018" y="585343"/>
                  </a:lnTo>
                  <a:cubicBezTo>
                    <a:pt x="-27744" y="365219"/>
                    <a:pt x="276448" y="339902"/>
                    <a:pt x="596543" y="386146"/>
                  </a:cubicBezTo>
                  <a:cubicBezTo>
                    <a:pt x="933949" y="453594"/>
                    <a:pt x="1164012" y="517067"/>
                    <a:pt x="1501418" y="624271"/>
                  </a:cubicBezTo>
                  <a:cubicBezTo>
                    <a:pt x="1738190" y="591196"/>
                    <a:pt x="2050499" y="645585"/>
                    <a:pt x="2211734" y="525046"/>
                  </a:cubicBezTo>
                  <a:cubicBezTo>
                    <a:pt x="2016320" y="514472"/>
                    <a:pt x="1793077" y="539678"/>
                    <a:pt x="1625492" y="493323"/>
                  </a:cubicBezTo>
                  <a:cubicBezTo>
                    <a:pt x="1428366" y="479436"/>
                    <a:pt x="1278946" y="258815"/>
                    <a:pt x="1415776" y="165415"/>
                  </a:cubicBezTo>
                  <a:cubicBezTo>
                    <a:pt x="1711796" y="77205"/>
                    <a:pt x="2166843" y="187777"/>
                    <a:pt x="2351545" y="131373"/>
                  </a:cubicBezTo>
                  <a:cubicBezTo>
                    <a:pt x="2616313" y="19751"/>
                    <a:pt x="3111667" y="-127652"/>
                    <a:pt x="3706414" y="202024"/>
                  </a:cubicBezTo>
                  <a:cubicBezTo>
                    <a:pt x="4114885" y="423253"/>
                    <a:pt x="4443842" y="584846"/>
                    <a:pt x="4979534" y="8140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08서울남산체 B" panose="02020603020101020101" pitchFamily="18" charset="-127"/>
              </a:endParaRPr>
            </a:p>
          </p:txBody>
        </p:sp>
        <p:grpSp>
          <p:nvGrpSpPr>
            <p:cNvPr id="76" name="Group 16">
              <a:extLst>
                <a:ext uri="{FF2B5EF4-FFF2-40B4-BE49-F238E27FC236}">
                  <a16:creationId xmlns:a16="http://schemas.microsoft.com/office/drawing/2014/main" xmlns="" id="{252EA3E3-D4CF-4B2E-9272-EC4CE8AADD3C}"/>
                </a:ext>
              </a:extLst>
            </p:cNvPr>
            <p:cNvGrpSpPr/>
            <p:nvPr/>
          </p:nvGrpSpPr>
          <p:grpSpPr>
            <a:xfrm flipH="1">
              <a:off x="2499805" y="4765428"/>
              <a:ext cx="1258190" cy="631267"/>
              <a:chOff x="5250372" y="3335610"/>
              <a:chExt cx="1258190" cy="631267"/>
            </a:xfrm>
          </p:grpSpPr>
          <p:sp>
            <p:nvSpPr>
              <p:cNvPr id="77" name="Rectangle 17">
                <a:extLst>
                  <a:ext uri="{FF2B5EF4-FFF2-40B4-BE49-F238E27FC236}">
                    <a16:creationId xmlns:a16="http://schemas.microsoft.com/office/drawing/2014/main" xmlns="" id="{B34D6EB1-A496-4E8C-9150-8B8706C65567}"/>
                  </a:ext>
                </a:extLst>
              </p:cNvPr>
              <p:cNvSpPr/>
              <p:nvPr/>
            </p:nvSpPr>
            <p:spPr>
              <a:xfrm flipH="1">
                <a:off x="5496730" y="3335610"/>
                <a:ext cx="1011832" cy="63126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8" name="Rectangle 18">
                <a:extLst>
                  <a:ext uri="{FF2B5EF4-FFF2-40B4-BE49-F238E27FC236}">
                    <a16:creationId xmlns:a16="http://schemas.microsoft.com/office/drawing/2014/main" xmlns="" id="{205B19DA-8EDF-418D-9636-B0164F1BD0AD}"/>
                  </a:ext>
                </a:extLst>
              </p:cNvPr>
              <p:cNvSpPr/>
              <p:nvPr/>
            </p:nvSpPr>
            <p:spPr>
              <a:xfrm flipH="1">
                <a:off x="5250372" y="3364667"/>
                <a:ext cx="246361" cy="50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9" name="Oval 19">
                <a:extLst>
                  <a:ext uri="{FF2B5EF4-FFF2-40B4-BE49-F238E27FC236}">
                    <a16:creationId xmlns:a16="http://schemas.microsoft.com/office/drawing/2014/main" xmlns="" id="{13FA2BD9-1730-4DF6-A862-B29DA78DA45B}"/>
                  </a:ext>
                </a:extLst>
              </p:cNvPr>
              <p:cNvSpPr/>
              <p:nvPr/>
            </p:nvSpPr>
            <p:spPr>
              <a:xfrm flipH="1">
                <a:off x="5328935" y="3730353"/>
                <a:ext cx="108000" cy="10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ea typeface="08서울남산체 B" panose="02020603020101020101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4616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1">
            <a:extLst>
              <a:ext uri="{FF2B5EF4-FFF2-40B4-BE49-F238E27FC236}">
                <a16:creationId xmlns:a16="http://schemas.microsoft.com/office/drawing/2014/main" xmlns="" id="{FD0AF520-BF5B-4E95-8300-C2D0A3457EC7}"/>
              </a:ext>
            </a:extLst>
          </p:cNvPr>
          <p:cNvSpPr/>
          <p:nvPr/>
        </p:nvSpPr>
        <p:spPr>
          <a:xfrm>
            <a:off x="440142" y="998756"/>
            <a:ext cx="5510463" cy="5670883"/>
          </a:xfrm>
          <a:prstGeom prst="roundRect">
            <a:avLst>
              <a:gd name="adj" fmla="val 479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xmlns="" id="{BB3F61C6-41E2-4063-B202-056C5D1679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95" r="8424"/>
          <a:stretch/>
        </p:blipFill>
        <p:spPr>
          <a:xfrm>
            <a:off x="1070435" y="1317554"/>
            <a:ext cx="4255160" cy="1523355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xmlns="" id="{8B7BE323-AC33-49BB-A828-EF0386F0A0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480" y="2866588"/>
            <a:ext cx="4258114" cy="150692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xmlns="" id="{33825235-7281-44F8-A108-82FD3EA253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480" y="4439446"/>
            <a:ext cx="4258114" cy="2010724"/>
          </a:xfrm>
          <a:prstGeom prst="rect">
            <a:avLst/>
          </a:prstGeom>
        </p:spPr>
      </p:pic>
      <p:cxnSp>
        <p:nvCxnSpPr>
          <p:cNvPr id="17" name="Straight Connector 17">
            <a:extLst>
              <a:ext uri="{FF2B5EF4-FFF2-40B4-BE49-F238E27FC236}">
                <a16:creationId xmlns:a16="http://schemas.microsoft.com/office/drawing/2014/main" xmlns="" id="{6CA5DBFF-D40B-48D8-8512-BF4B9CA0E54B}"/>
              </a:ext>
            </a:extLst>
          </p:cNvPr>
          <p:cNvCxnSpPr>
            <a:cxnSpLocks/>
          </p:cNvCxnSpPr>
          <p:nvPr/>
        </p:nvCxnSpPr>
        <p:spPr>
          <a:xfrm>
            <a:off x="5325594" y="2100107"/>
            <a:ext cx="1254677" cy="0"/>
          </a:xfrm>
          <a:prstGeom prst="line">
            <a:avLst/>
          </a:prstGeom>
          <a:ln w="38100">
            <a:solidFill>
              <a:srgbClr val="98DC56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7">
            <a:extLst>
              <a:ext uri="{FF2B5EF4-FFF2-40B4-BE49-F238E27FC236}">
                <a16:creationId xmlns:a16="http://schemas.microsoft.com/office/drawing/2014/main" xmlns="" id="{CAB42EA9-F325-4B4E-89AA-F7D50E26B8F7}"/>
              </a:ext>
            </a:extLst>
          </p:cNvPr>
          <p:cNvCxnSpPr>
            <a:cxnSpLocks/>
          </p:cNvCxnSpPr>
          <p:nvPr/>
        </p:nvCxnSpPr>
        <p:spPr>
          <a:xfrm>
            <a:off x="5325594" y="3619956"/>
            <a:ext cx="1254677" cy="0"/>
          </a:xfrm>
          <a:prstGeom prst="line">
            <a:avLst/>
          </a:prstGeom>
          <a:ln w="38100">
            <a:solidFill>
              <a:srgbClr val="4CD6B0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7">
            <a:extLst>
              <a:ext uri="{FF2B5EF4-FFF2-40B4-BE49-F238E27FC236}">
                <a16:creationId xmlns:a16="http://schemas.microsoft.com/office/drawing/2014/main" xmlns="" id="{9FF7956E-60F0-4C4E-94FB-A021AD61D2AE}"/>
              </a:ext>
            </a:extLst>
          </p:cNvPr>
          <p:cNvCxnSpPr>
            <a:cxnSpLocks/>
          </p:cNvCxnSpPr>
          <p:nvPr/>
        </p:nvCxnSpPr>
        <p:spPr>
          <a:xfrm>
            <a:off x="5325594" y="5468871"/>
            <a:ext cx="1252349" cy="0"/>
          </a:xfrm>
          <a:prstGeom prst="line">
            <a:avLst/>
          </a:prstGeom>
          <a:ln w="38100">
            <a:solidFill>
              <a:srgbClr val="5EBEE4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1BC626F0-B6FF-4CD4-9EE4-F2D85DE3754B}"/>
              </a:ext>
            </a:extLst>
          </p:cNvPr>
          <p:cNvSpPr txBox="1"/>
          <p:nvPr/>
        </p:nvSpPr>
        <p:spPr>
          <a:xfrm>
            <a:off x="1067479" y="1012852"/>
            <a:ext cx="2523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‘</a:t>
            </a:r>
            <a:r>
              <a:rPr lang="ko-KR" altLang="en-US" sz="1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</a:t>
            </a:r>
            <a:r>
              <a:rPr lang="ko-KR" altLang="en-US" sz="14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r>
              <a:rPr lang="en-US" altLang="ko-KR" sz="1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’ </a:t>
            </a:r>
            <a:r>
              <a:rPr lang="ko-KR" altLang="en-US" sz="14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키워드 예시 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xmlns="" id="{027F782C-B247-462A-AAAD-17F5FFCA762E}"/>
              </a:ext>
            </a:extLst>
          </p:cNvPr>
          <p:cNvSpPr/>
          <p:nvPr/>
        </p:nvSpPr>
        <p:spPr>
          <a:xfrm>
            <a:off x="6580271" y="1539037"/>
            <a:ext cx="4761476" cy="1122140"/>
          </a:xfrm>
          <a:prstGeom prst="roundRect">
            <a:avLst/>
          </a:prstGeom>
          <a:noFill/>
          <a:ln w="57150">
            <a:solidFill>
              <a:srgbClr val="98D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3D43C74-6B0B-4D28-8512-C9275C536DE7}"/>
              </a:ext>
            </a:extLst>
          </p:cNvPr>
          <p:cNvSpPr txBox="1"/>
          <p:nvPr/>
        </p:nvSpPr>
        <p:spPr>
          <a:xfrm>
            <a:off x="6756734" y="1776941"/>
            <a:ext cx="4507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러 파일로 분리되어 있는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롤링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결과 파일들을 하나로 합치는 작업을 한다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xmlns="" id="{2E069620-3480-4CE7-BA1D-2F2E8CB7CF93}"/>
              </a:ext>
            </a:extLst>
          </p:cNvPr>
          <p:cNvSpPr/>
          <p:nvPr/>
        </p:nvSpPr>
        <p:spPr>
          <a:xfrm>
            <a:off x="6577943" y="3047887"/>
            <a:ext cx="4761476" cy="1200329"/>
          </a:xfrm>
          <a:prstGeom prst="roundRect">
            <a:avLst/>
          </a:prstGeom>
          <a:noFill/>
          <a:ln w="57150"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xmlns="" id="{6EF6032E-2CDF-4E7E-BDDF-57C7A5C0EDDA}"/>
              </a:ext>
            </a:extLst>
          </p:cNvPr>
          <p:cNvSpPr/>
          <p:nvPr/>
        </p:nvSpPr>
        <p:spPr>
          <a:xfrm>
            <a:off x="6577943" y="4730207"/>
            <a:ext cx="4761476" cy="1451205"/>
          </a:xfrm>
          <a:prstGeom prst="roundRect">
            <a:avLst/>
          </a:prstGeom>
          <a:noFill/>
          <a:ln w="57150">
            <a:solidFill>
              <a:srgbClr val="5EBE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E3CBD0A-50CE-4BEB-9D16-ABAA466FC51B}"/>
              </a:ext>
            </a:extLst>
          </p:cNvPr>
          <p:cNvSpPr txBox="1"/>
          <p:nvPr/>
        </p:nvSpPr>
        <p:spPr>
          <a:xfrm>
            <a:off x="6724649" y="3059007"/>
            <a:ext cx="44115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롤링된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블로그 문장들을 </a:t>
            </a:r>
            <a:r>
              <a:rPr lang="en-US" altLang="ko-KR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KoNLPy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라이브러리의 형태소 분석기를 이용하여 형태소 단위로 나눈다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후 두 글자 이상의 명사와 형용사만 추출하여 저장한다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C83A434-FC4C-4BEF-8825-CC1F16E1F19E}"/>
              </a:ext>
            </a:extLst>
          </p:cNvPr>
          <p:cNvSpPr txBox="1"/>
          <p:nvPr/>
        </p:nvSpPr>
        <p:spPr>
          <a:xfrm>
            <a:off x="6756734" y="4730207"/>
            <a:ext cx="447574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추출된 명사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amp;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형용사 리스트에서 각 단어들의 빈도를 센 다음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불용어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리스트에 들어갈 단어들을 정한다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마지막으로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불용어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리스트에 있는 단어를 제외한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빈도수 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00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상인 단어로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워드클라우드를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생성한다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A909A382-6E3B-475C-BA67-23F97FD4F8DD}"/>
              </a:ext>
            </a:extLst>
          </p:cNvPr>
          <p:cNvSpPr/>
          <p:nvPr/>
        </p:nvSpPr>
        <p:spPr>
          <a:xfrm>
            <a:off x="4726411" y="453796"/>
            <a:ext cx="3384886" cy="144912"/>
          </a:xfrm>
          <a:prstGeom prst="rect">
            <a:avLst/>
          </a:prstGeom>
          <a:solidFill>
            <a:srgbClr val="C1EA9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22F832D-6C20-49A3-85B2-D0D62414BCD6}"/>
              </a:ext>
            </a:extLst>
          </p:cNvPr>
          <p:cNvSpPr txBox="1"/>
          <p:nvPr/>
        </p:nvSpPr>
        <p:spPr>
          <a:xfrm>
            <a:off x="4598755" y="0"/>
            <a:ext cx="39583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워드클라우드 코드</a:t>
            </a:r>
          </a:p>
        </p:txBody>
      </p:sp>
    </p:spTree>
    <p:extLst>
      <p:ext uri="{BB962C8B-B14F-4D97-AF65-F5344CB8AC3E}">
        <p14:creationId xmlns:p14="http://schemas.microsoft.com/office/powerpoint/2010/main" val="2620507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84545E4A-45B4-46CF-A07E-9675D993B5CD}"/>
              </a:ext>
            </a:extLst>
          </p:cNvPr>
          <p:cNvSpPr/>
          <p:nvPr/>
        </p:nvSpPr>
        <p:spPr>
          <a:xfrm>
            <a:off x="398545" y="602582"/>
            <a:ext cx="4874400" cy="128336"/>
          </a:xfrm>
          <a:prstGeom prst="rect">
            <a:avLst/>
          </a:prstGeom>
          <a:solidFill>
            <a:srgbClr val="C1EA9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9" name="사각형: 잘린 대각선 방향 모서리 8">
            <a:extLst>
              <a:ext uri="{FF2B5EF4-FFF2-40B4-BE49-F238E27FC236}">
                <a16:creationId xmlns:a16="http://schemas.microsoft.com/office/drawing/2014/main" xmlns="" id="{CFE92847-21D2-4C35-B949-715FB980CB7D}"/>
              </a:ext>
            </a:extLst>
          </p:cNvPr>
          <p:cNvSpPr/>
          <p:nvPr/>
        </p:nvSpPr>
        <p:spPr>
          <a:xfrm>
            <a:off x="6695073" y="5117887"/>
            <a:ext cx="3789917" cy="403358"/>
          </a:xfrm>
          <a:prstGeom prst="snip2DiagRect">
            <a:avLst/>
          </a:prstGeom>
          <a:solidFill>
            <a:srgbClr val="4CD6B0"/>
          </a:solidFill>
          <a:ln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8" name="사각형: 잘린 대각선 방향 모서리 7">
            <a:extLst>
              <a:ext uri="{FF2B5EF4-FFF2-40B4-BE49-F238E27FC236}">
                <a16:creationId xmlns:a16="http://schemas.microsoft.com/office/drawing/2014/main" xmlns="" id="{58BC6F60-C0FA-4213-9F7B-3A73766DE40B}"/>
              </a:ext>
            </a:extLst>
          </p:cNvPr>
          <p:cNvSpPr/>
          <p:nvPr/>
        </p:nvSpPr>
        <p:spPr>
          <a:xfrm>
            <a:off x="1790177" y="5117887"/>
            <a:ext cx="3789917" cy="403358"/>
          </a:xfrm>
          <a:prstGeom prst="snip2DiagRect">
            <a:avLst/>
          </a:prstGeom>
          <a:solidFill>
            <a:srgbClr val="4CD6B0"/>
          </a:solidFill>
          <a:ln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5673" y="49118"/>
            <a:ext cx="5494421" cy="801798"/>
          </a:xfrm>
          <a:prstGeom prst="rect">
            <a:avLst/>
          </a:prstGeom>
        </p:spPr>
        <p:txBody>
          <a:bodyPr/>
          <a:lstStyle/>
          <a:p>
            <a:r>
              <a:rPr lang="ko-KR" altLang="en-US" sz="3600" dirty="0">
                <a:latin typeface="08서울남산체 B" panose="02020603020101020101" pitchFamily="18" charset="-127"/>
              </a:rPr>
              <a:t>워드 클라우드 키워드 분석</a:t>
            </a:r>
            <a:endParaRPr lang="en-US" sz="3600" dirty="0">
              <a:latin typeface="08서울남산체 B" panose="02020603020101020101" pitchFamily="18" charset="-127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6697632" y="4983308"/>
            <a:ext cx="508952" cy="144016"/>
            <a:chOff x="683568" y="4653136"/>
            <a:chExt cx="508952" cy="144016"/>
          </a:xfrm>
        </p:grpSpPr>
        <p:sp>
          <p:nvSpPr>
            <p:cNvPr id="23" name="Rectangle 22"/>
            <p:cNvSpPr/>
            <p:nvPr userDrawn="1"/>
          </p:nvSpPr>
          <p:spPr>
            <a:xfrm>
              <a:off x="683568" y="4653136"/>
              <a:ext cx="144016" cy="14401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866036" y="4653136"/>
              <a:ext cx="144016" cy="1440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048504" y="4653136"/>
              <a:ext cx="144016" cy="1440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790177" y="4983308"/>
            <a:ext cx="508952" cy="126288"/>
            <a:chOff x="683568" y="4653136"/>
            <a:chExt cx="508952" cy="144016"/>
          </a:xfrm>
        </p:grpSpPr>
        <p:sp>
          <p:nvSpPr>
            <p:cNvPr id="27" name="Rectangle 26"/>
            <p:cNvSpPr/>
            <p:nvPr userDrawn="1"/>
          </p:nvSpPr>
          <p:spPr>
            <a:xfrm>
              <a:off x="683568" y="4653136"/>
              <a:ext cx="144016" cy="14401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866036" y="4653136"/>
              <a:ext cx="144016" cy="1440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048504" y="4653136"/>
              <a:ext cx="144016" cy="1440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pic>
        <p:nvPicPr>
          <p:cNvPr id="10" name="그림 9">
            <a:extLst>
              <a:ext uri="{FF2B5EF4-FFF2-40B4-BE49-F238E27FC236}">
                <a16:creationId xmlns:a16="http://schemas.microsoft.com/office/drawing/2014/main" xmlns="" id="{46817601-EA94-4F93-A39E-72274E783C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65" r="1166" b="1007"/>
          <a:stretch/>
        </p:blipFill>
        <p:spPr>
          <a:xfrm>
            <a:off x="2119016" y="1274379"/>
            <a:ext cx="3205230" cy="31624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EEA6E37-44EA-498B-AE45-AF477C870388}"/>
              </a:ext>
            </a:extLst>
          </p:cNvPr>
          <p:cNvSpPr txBox="1"/>
          <p:nvPr/>
        </p:nvSpPr>
        <p:spPr>
          <a:xfrm>
            <a:off x="2985925" y="4591502"/>
            <a:ext cx="17267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lt;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외식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gt;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xmlns="" id="{0490FCDF-069C-45F4-BE7C-63AF6A0582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3"/>
          <a:stretch/>
        </p:blipFill>
        <p:spPr>
          <a:xfrm>
            <a:off x="6899770" y="1274379"/>
            <a:ext cx="3173214" cy="31624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200C758-1968-4C88-BD27-4E1C3692A89F}"/>
              </a:ext>
            </a:extLst>
          </p:cNvPr>
          <p:cNvSpPr txBox="1"/>
          <p:nvPr/>
        </p:nvSpPr>
        <p:spPr>
          <a:xfrm>
            <a:off x="7602346" y="4593852"/>
            <a:ext cx="1923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lt;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&gt;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C4B0413-AB3E-4E5A-9004-917BD123DC55}"/>
              </a:ext>
            </a:extLst>
          </p:cNvPr>
          <p:cNvSpPr txBox="1"/>
          <p:nvPr/>
        </p:nvSpPr>
        <p:spPr>
          <a:xfrm>
            <a:off x="1917583" y="5163016"/>
            <a:ext cx="40796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요 키워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맛집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메뉴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배달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가격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말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4D40E1D-D9DA-4B0D-8C52-1A230A460901}"/>
              </a:ext>
            </a:extLst>
          </p:cNvPr>
          <p:cNvSpPr txBox="1"/>
          <p:nvPr/>
        </p:nvSpPr>
        <p:spPr>
          <a:xfrm>
            <a:off x="6695073" y="5160118"/>
            <a:ext cx="37899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요 키워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추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문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재료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요리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</a:t>
            </a:r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xmlns="" id="{721CA149-DA03-461D-8BDA-DD752214661E}"/>
              </a:ext>
            </a:extLst>
          </p:cNvPr>
          <p:cNvSpPr/>
          <p:nvPr/>
        </p:nvSpPr>
        <p:spPr>
          <a:xfrm>
            <a:off x="3141123" y="5783650"/>
            <a:ext cx="6012401" cy="941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에 대한 인식이 좋고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9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로 인해 집에 있는 시간이</a:t>
            </a:r>
            <a:endParaRPr lang="en-US" altLang="ko-KR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많아져 집에서 직접 식사를 해결하는 경우가 증가했다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따라서 주문과 조리가 간편한 밀키트에 대한 새로운 혜택을 제공한다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32614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1582314" y="4776374"/>
            <a:ext cx="508952" cy="144016"/>
            <a:chOff x="683568" y="4653136"/>
            <a:chExt cx="508952" cy="144016"/>
          </a:xfrm>
        </p:grpSpPr>
        <p:sp>
          <p:nvSpPr>
            <p:cNvPr id="27" name="Rectangle 26"/>
            <p:cNvSpPr/>
            <p:nvPr userDrawn="1"/>
          </p:nvSpPr>
          <p:spPr>
            <a:xfrm>
              <a:off x="683568" y="4653136"/>
              <a:ext cx="144016" cy="14401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866036" y="4653136"/>
              <a:ext cx="144016" cy="1440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048504" y="4653136"/>
              <a:ext cx="144016" cy="1440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EEA6E37-44EA-498B-AE45-AF477C870388}"/>
              </a:ext>
            </a:extLst>
          </p:cNvPr>
          <p:cNvSpPr txBox="1"/>
          <p:nvPr/>
        </p:nvSpPr>
        <p:spPr>
          <a:xfrm>
            <a:off x="3030718" y="4397705"/>
            <a:ext cx="10457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&lt;</a:t>
            </a:r>
            <a:r>
              <a:rPr lang="ko-KR" altLang="en-US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구찌</a:t>
            </a:r>
            <a:r>
              <a:rPr lang="en-US" altLang="ko-KR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&gt;</a:t>
            </a:r>
            <a:endParaRPr lang="ko-KR" altLang="en-US" dirty="0">
              <a:latin typeface="서울남산 장체 EB" panose="02020503020101020101" pitchFamily="18" charset="-127"/>
              <a:ea typeface="서울남산 장체 EB" panose="02020503020101020101" pitchFamily="18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xmlns="" id="{8E3F175B-DAC1-4A99-BA39-0A4413D536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214"/>
          <a:stretch/>
        </p:blipFill>
        <p:spPr>
          <a:xfrm>
            <a:off x="1836790" y="1091269"/>
            <a:ext cx="3161222" cy="3162420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F7ED4BB6-09B3-4F0D-ACB6-A779F4425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5"/>
          <a:stretch/>
        </p:blipFill>
        <p:spPr>
          <a:xfrm>
            <a:off x="7514993" y="1090035"/>
            <a:ext cx="3154138" cy="31624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642FF29-A4FA-4F4C-B846-A346323C5B49}"/>
              </a:ext>
            </a:extLst>
          </p:cNvPr>
          <p:cNvSpPr txBox="1"/>
          <p:nvPr/>
        </p:nvSpPr>
        <p:spPr>
          <a:xfrm>
            <a:off x="8096510" y="4407042"/>
            <a:ext cx="2378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&lt;</a:t>
            </a:r>
            <a:r>
              <a:rPr lang="ko-KR" altLang="en-US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인터넷 쇼핑몰 옷</a:t>
            </a:r>
            <a:r>
              <a:rPr lang="en-US" altLang="ko-KR" dirty="0">
                <a:latin typeface="서울남산 장체 EB" panose="02020503020101020101" pitchFamily="18" charset="-127"/>
                <a:ea typeface="서울남산 장체 EB" panose="02020503020101020101" pitchFamily="18" charset="-127"/>
              </a:rPr>
              <a:t>&gt;</a:t>
            </a:r>
            <a:endParaRPr lang="ko-KR" altLang="en-US" dirty="0">
              <a:latin typeface="서울남산 장체 EB" panose="02020503020101020101" pitchFamily="18" charset="-127"/>
              <a:ea typeface="서울남산 장체 EB" panose="02020503020101020101" pitchFamily="18" charset="-127"/>
            </a:endParaRPr>
          </a:p>
        </p:txBody>
      </p:sp>
      <p:grpSp>
        <p:nvGrpSpPr>
          <p:cNvPr id="17" name="Group 25">
            <a:extLst>
              <a:ext uri="{FF2B5EF4-FFF2-40B4-BE49-F238E27FC236}">
                <a16:creationId xmlns:a16="http://schemas.microsoft.com/office/drawing/2014/main" xmlns="" id="{DB88FA12-8210-4A86-A634-F931FFD86E1B}"/>
              </a:ext>
            </a:extLst>
          </p:cNvPr>
          <p:cNvGrpSpPr/>
          <p:nvPr/>
        </p:nvGrpSpPr>
        <p:grpSpPr>
          <a:xfrm>
            <a:off x="7257048" y="4827635"/>
            <a:ext cx="508952" cy="144016"/>
            <a:chOff x="683568" y="4653136"/>
            <a:chExt cx="508952" cy="144016"/>
          </a:xfrm>
        </p:grpSpPr>
        <p:sp>
          <p:nvSpPr>
            <p:cNvPr id="18" name="Rectangle 26">
              <a:extLst>
                <a:ext uri="{FF2B5EF4-FFF2-40B4-BE49-F238E27FC236}">
                  <a16:creationId xmlns:a16="http://schemas.microsoft.com/office/drawing/2014/main" xmlns="" id="{58884941-CE0E-49FA-A413-CF09BA7858F8}"/>
                </a:ext>
              </a:extLst>
            </p:cNvPr>
            <p:cNvSpPr/>
            <p:nvPr userDrawn="1"/>
          </p:nvSpPr>
          <p:spPr>
            <a:xfrm>
              <a:off x="683568" y="4653136"/>
              <a:ext cx="144016" cy="14401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19" name="Rectangle 27">
              <a:extLst>
                <a:ext uri="{FF2B5EF4-FFF2-40B4-BE49-F238E27FC236}">
                  <a16:creationId xmlns:a16="http://schemas.microsoft.com/office/drawing/2014/main" xmlns="" id="{551AF6C5-1DC6-45F5-94B1-3CA6747D3861}"/>
                </a:ext>
              </a:extLst>
            </p:cNvPr>
            <p:cNvSpPr/>
            <p:nvPr userDrawn="1"/>
          </p:nvSpPr>
          <p:spPr>
            <a:xfrm>
              <a:off x="866036" y="4653136"/>
              <a:ext cx="144016" cy="1440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  <p:sp>
          <p:nvSpPr>
            <p:cNvPr id="20" name="Rectangle 28">
              <a:extLst>
                <a:ext uri="{FF2B5EF4-FFF2-40B4-BE49-F238E27FC236}">
                  <a16:creationId xmlns:a16="http://schemas.microsoft.com/office/drawing/2014/main" xmlns="" id="{27D229B5-A19D-44BA-A6F7-D7E2D40E1917}"/>
                </a:ext>
              </a:extLst>
            </p:cNvPr>
            <p:cNvSpPr/>
            <p:nvPr userDrawn="1"/>
          </p:nvSpPr>
          <p:spPr>
            <a:xfrm>
              <a:off x="1048504" y="4653136"/>
              <a:ext cx="144016" cy="1440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ea typeface="08서울남산체 B" panose="02020603020101020101" pitchFamily="18" charset="-127"/>
              </a:endParaRPr>
            </a:p>
          </p:txBody>
        </p:sp>
      </p:grpSp>
      <p:sp>
        <p:nvSpPr>
          <p:cNvPr id="8" name="사각형: 잘린 대각선 방향 모서리 7">
            <a:extLst>
              <a:ext uri="{FF2B5EF4-FFF2-40B4-BE49-F238E27FC236}">
                <a16:creationId xmlns:a16="http://schemas.microsoft.com/office/drawing/2014/main" xmlns="" id="{BE3844FB-15DE-4483-AE7A-08011B9F1CC0}"/>
              </a:ext>
            </a:extLst>
          </p:cNvPr>
          <p:cNvSpPr/>
          <p:nvPr/>
        </p:nvSpPr>
        <p:spPr>
          <a:xfrm>
            <a:off x="1582314" y="4920390"/>
            <a:ext cx="3789917" cy="403358"/>
          </a:xfrm>
          <a:prstGeom prst="snip2DiagRect">
            <a:avLst/>
          </a:prstGeom>
          <a:solidFill>
            <a:srgbClr val="4CD6B0"/>
          </a:solidFill>
          <a:ln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요 키워드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선물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품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매장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품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가격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endParaRPr lang="ko-KR" altLang="en-US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0" name="사각형: 잘린 대각선 방향 모서리 9">
            <a:extLst>
              <a:ext uri="{FF2B5EF4-FFF2-40B4-BE49-F238E27FC236}">
                <a16:creationId xmlns:a16="http://schemas.microsoft.com/office/drawing/2014/main" xmlns="" id="{41CD070A-F1EB-4B8C-9B68-2E0EC2775566}"/>
              </a:ext>
            </a:extLst>
          </p:cNvPr>
          <p:cNvSpPr/>
          <p:nvPr/>
        </p:nvSpPr>
        <p:spPr>
          <a:xfrm>
            <a:off x="7257048" y="4971651"/>
            <a:ext cx="3866147" cy="403358"/>
          </a:xfrm>
          <a:prstGeom prst="snip2DiagRect">
            <a:avLst/>
          </a:prstGeom>
          <a:solidFill>
            <a:srgbClr val="4CD6B0"/>
          </a:solidFill>
          <a:ln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주요 키워드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: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선물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구매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시간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예쁘다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사진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 </a:t>
            </a:r>
            <a:endParaRPr lang="ko-KR" altLang="en-US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2" name="Rounded Rectangle 4">
            <a:extLst>
              <a:ext uri="{FF2B5EF4-FFF2-40B4-BE49-F238E27FC236}">
                <a16:creationId xmlns:a16="http://schemas.microsoft.com/office/drawing/2014/main" xmlns="" id="{4501A46A-E964-4510-B3B1-ED9907264830}"/>
              </a:ext>
            </a:extLst>
          </p:cNvPr>
          <p:cNvSpPr/>
          <p:nvPr/>
        </p:nvSpPr>
        <p:spPr>
          <a:xfrm>
            <a:off x="821482" y="5564811"/>
            <a:ext cx="5209275" cy="109391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rgbClr val="C1E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품 브랜드 구찌에 대하여 긍정적인 평가가 많음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품과 가격에 대한 </a:t>
            </a:r>
            <a:r>
              <a:rPr lang="ko-KR" altLang="en-US" sz="1600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관심고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‘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매장</a:t>
            </a:r>
            <a:r>
              <a:rPr lang="en-US" altLang="ko-KR" sz="160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’</a:t>
            </a:r>
            <a:r>
              <a:rPr lang="ko-KR" altLang="en-US" sz="160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라는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키워드를 </a:t>
            </a:r>
            <a:r>
              <a:rPr lang="ko-KR" altLang="en-US" sz="1600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고려하여전시의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형태로 소비자에게 제품을 보여주는 전략을 결정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4" name="Rounded Rectangle 4">
            <a:extLst>
              <a:ext uri="{FF2B5EF4-FFF2-40B4-BE49-F238E27FC236}">
                <a16:creationId xmlns:a16="http://schemas.microsoft.com/office/drawing/2014/main" xmlns="" id="{9DD55EB1-71D3-4C31-A19B-0E2DCC767A56}"/>
              </a:ext>
            </a:extLst>
          </p:cNvPr>
          <p:cNvSpPr/>
          <p:nvPr/>
        </p:nvSpPr>
        <p:spPr>
          <a:xfrm>
            <a:off x="6681364" y="5596541"/>
            <a:ext cx="5209275" cy="10621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76200">
            <a:solidFill>
              <a:srgbClr val="C1E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‘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선물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’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라는 키워드를 통해서 인터넷 쇼핑을 통해 선물을 많이 주고 받는 것으로 보임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따라서 이에 대한 추가적인 서비스를 제공하여 관심을 유도하는 것이 유리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CD86985F-AD47-464A-84F5-DA1AFDE9C0C2}"/>
              </a:ext>
            </a:extLst>
          </p:cNvPr>
          <p:cNvSpPr/>
          <p:nvPr/>
        </p:nvSpPr>
        <p:spPr>
          <a:xfrm>
            <a:off x="398545" y="602582"/>
            <a:ext cx="4874400" cy="128336"/>
          </a:xfrm>
          <a:prstGeom prst="rect">
            <a:avLst/>
          </a:prstGeom>
          <a:solidFill>
            <a:srgbClr val="C1EA9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5" name="Title 4">
            <a:extLst>
              <a:ext uri="{FF2B5EF4-FFF2-40B4-BE49-F238E27FC236}">
                <a16:creationId xmlns:a16="http://schemas.microsoft.com/office/drawing/2014/main" xmlns="" id="{D62D3A06-BA0B-4889-B559-FCC7D4BA7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73" y="49118"/>
            <a:ext cx="5494421" cy="801798"/>
          </a:xfrm>
          <a:prstGeom prst="rect">
            <a:avLst/>
          </a:prstGeom>
        </p:spPr>
        <p:txBody>
          <a:bodyPr/>
          <a:lstStyle/>
          <a:p>
            <a:r>
              <a:rPr lang="ko-KR" altLang="en-US" sz="3600" dirty="0">
                <a:latin typeface="08서울남산체 B" panose="02020603020101020101" pitchFamily="18" charset="-127"/>
              </a:rPr>
              <a:t>워드 클라우드 키워드 분석</a:t>
            </a:r>
            <a:endParaRPr lang="en-US" sz="3600" dirty="0">
              <a:latin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72073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l="4816" t="10642" r="26101" b="26605"/>
          <a:stretch/>
        </p:blipFill>
        <p:spPr>
          <a:xfrm>
            <a:off x="223912" y="137867"/>
            <a:ext cx="6842465" cy="3496199"/>
          </a:xfrm>
          <a:prstGeom prst="rect">
            <a:avLst/>
          </a:prstGeom>
        </p:spPr>
      </p:pic>
      <p:sp>
        <p:nvSpPr>
          <p:cNvPr id="27" name="Round Same Side Corner Rectangle 5">
            <a:extLst>
              <a:ext uri="{FF2B5EF4-FFF2-40B4-BE49-F238E27FC236}">
                <a16:creationId xmlns:a16="http://schemas.microsoft.com/office/drawing/2014/main" xmlns="" id="{F7C3A124-161C-4E9C-89F4-E1E145A8B7D4}"/>
              </a:ext>
            </a:extLst>
          </p:cNvPr>
          <p:cNvSpPr/>
          <p:nvPr/>
        </p:nvSpPr>
        <p:spPr>
          <a:xfrm>
            <a:off x="6766342" y="3719422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8" name="Round Same Side Corner Rectangle 6">
            <a:extLst>
              <a:ext uri="{FF2B5EF4-FFF2-40B4-BE49-F238E27FC236}">
                <a16:creationId xmlns:a16="http://schemas.microsoft.com/office/drawing/2014/main" xmlns="" id="{FDE9383D-C25E-412B-A8F7-1D4834636E35}"/>
              </a:ext>
            </a:extLst>
          </p:cNvPr>
          <p:cNvSpPr/>
          <p:nvPr/>
        </p:nvSpPr>
        <p:spPr>
          <a:xfrm>
            <a:off x="6524777" y="3716210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9" name="Round Same Side Corner Rectangle 7">
            <a:extLst>
              <a:ext uri="{FF2B5EF4-FFF2-40B4-BE49-F238E27FC236}">
                <a16:creationId xmlns:a16="http://schemas.microsoft.com/office/drawing/2014/main" xmlns="" id="{46549CCE-FA17-4F8E-A330-0F8340C46232}"/>
              </a:ext>
            </a:extLst>
          </p:cNvPr>
          <p:cNvSpPr/>
          <p:nvPr/>
        </p:nvSpPr>
        <p:spPr>
          <a:xfrm>
            <a:off x="6268409" y="3716210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xmlns="" id="{F326CEE1-C695-41BD-A904-00FF2E6880FD}"/>
              </a:ext>
            </a:extLst>
          </p:cNvPr>
          <p:cNvSpPr/>
          <p:nvPr/>
        </p:nvSpPr>
        <p:spPr>
          <a:xfrm>
            <a:off x="384387" y="3861837"/>
            <a:ext cx="6116565" cy="2959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xmlns="" id="{425D2144-37D2-47E1-981B-F24701018CD7}"/>
              </a:ext>
            </a:extLst>
          </p:cNvPr>
          <p:cNvSpPr/>
          <p:nvPr/>
        </p:nvSpPr>
        <p:spPr>
          <a:xfrm>
            <a:off x="347889" y="4903340"/>
            <a:ext cx="6384995" cy="3196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3" name="직사각형 113">
            <a:extLst>
              <a:ext uri="{FF2B5EF4-FFF2-40B4-BE49-F238E27FC236}">
                <a16:creationId xmlns:a16="http://schemas.microsoft.com/office/drawing/2014/main" xmlns="" id="{0E17DF80-1AB4-4A05-8EF1-E68ADEC53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3737" y="4890935"/>
            <a:ext cx="321643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해외 유명 브랜드에 대한 소비 증가</a:t>
            </a:r>
            <a:endParaRPr lang="ko-KR" altLang="en-US" sz="16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4" name="Rectangle 21">
            <a:extLst>
              <a:ext uri="{FF2B5EF4-FFF2-40B4-BE49-F238E27FC236}">
                <a16:creationId xmlns:a16="http://schemas.microsoft.com/office/drawing/2014/main" xmlns="" id="{BC70883F-6F52-49BA-BC26-FC470DDA3B22}"/>
              </a:ext>
            </a:extLst>
          </p:cNvPr>
          <p:cNvSpPr/>
          <p:nvPr/>
        </p:nvSpPr>
        <p:spPr>
          <a:xfrm>
            <a:off x="384387" y="5908197"/>
            <a:ext cx="6610520" cy="3196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5" name="직사각형 113">
            <a:extLst>
              <a:ext uri="{FF2B5EF4-FFF2-40B4-BE49-F238E27FC236}">
                <a16:creationId xmlns:a16="http://schemas.microsoft.com/office/drawing/2014/main" xmlns="" id="{4F44CED5-19BB-432C-B647-E810EC5DF5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4945" y="5876282"/>
            <a:ext cx="170722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가정용품 증가</a:t>
            </a:r>
            <a:endParaRPr lang="ko-KR" altLang="en-US" sz="16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525294B1-0244-41F2-A41A-3CDB03439576}"/>
              </a:ext>
            </a:extLst>
          </p:cNvPr>
          <p:cNvSpPr txBox="1"/>
          <p:nvPr/>
        </p:nvSpPr>
        <p:spPr>
          <a:xfrm>
            <a:off x="347889" y="5201065"/>
            <a:ext cx="5917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면세점의 품목들이 백화점으로 들어오면서 백화점에서 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‘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면세명품대전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’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행사</a:t>
            </a:r>
            <a:endParaRPr lang="en-US" altLang="ko-KR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algn="r" defTabSz="914286" latinLnBrk="0"/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사람들은 주로 면세점에서 명품을 사는데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코로나로 인해 여행에 제약이 생기며 면세점에 가는 게 힘들어졌기에 명품을 백화점에서 구매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09520AFA-8ECE-40CE-A46A-5B673D3CD3D6}"/>
              </a:ext>
            </a:extLst>
          </p:cNvPr>
          <p:cNvSpPr txBox="1"/>
          <p:nvPr/>
        </p:nvSpPr>
        <p:spPr>
          <a:xfrm>
            <a:off x="83890" y="6230142"/>
            <a:ext cx="61945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코로나로 인해 집에 있는 시간이 많아지면서 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‘</a:t>
            </a:r>
            <a:r>
              <a:rPr lang="ko-KR" altLang="en-US" sz="1400" dirty="0" err="1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홈데코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‘, ‘</a:t>
            </a:r>
            <a:r>
              <a:rPr lang="ko-KR" altLang="en-US" sz="1400" dirty="0" err="1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홈인테리어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＇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등 집안을 꾸미는 데 관심을 갖는 사람들이 증가하였다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집안을 둘러보며 필요한 물품들을 구매 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223912" y="4159899"/>
            <a:ext cx="6091821" cy="783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86">
              <a:lnSpc>
                <a:spcPct val="107000"/>
              </a:lnSpc>
              <a:spcAft>
                <a:spcPts val="800"/>
              </a:spcAft>
            </a:pPr>
            <a:r>
              <a:rPr lang="ko-KR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장은 회사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출근용 복장이고 </a:t>
            </a:r>
            <a:r>
              <a:rPr lang="ko-KR" altLang="ko-KR" sz="1400" b="1" kern="100" dirty="0" err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캐쥬얼은</a:t>
            </a:r>
            <a:r>
              <a:rPr lang="ko-KR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직장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외의 삶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 입는 옷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      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코</a:t>
            </a:r>
            <a:r>
              <a:rPr lang="ko-KR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로나 이후 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외출이 줄었지만 직장은 가야 하는 곳이니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캐주얼의 매출이 더 감소하긴 하였으나 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“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의류</a:t>
            </a:r>
            <a:r>
              <a:rPr lang="en-US" altLang="ko-KR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” </a:t>
            </a:r>
            <a:r>
              <a:rPr lang="ko-KR" altLang="en-US" sz="1400" b="1" kern="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품목에 대해서는 전반적으로 많은 매출 하락</a:t>
            </a:r>
            <a:endParaRPr lang="ko-KR" altLang="ko-KR" sz="1400" b="1" kern="1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2676031" y="3844136"/>
            <a:ext cx="38250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86" latinLnBrk="0"/>
            <a:r>
              <a:rPr lang="ko-KR" altLang="ko-KR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여성 </a:t>
            </a:r>
            <a:r>
              <a:rPr lang="ko-KR" altLang="ko-KR" sz="1600" b="1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캐쥬얼</a:t>
            </a:r>
            <a:r>
              <a:rPr lang="ko-KR" altLang="en-US" sz="1600" b="1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과</a:t>
            </a:r>
            <a:r>
              <a:rPr lang="ko-KR" altLang="en-US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</a:t>
            </a:r>
            <a:r>
              <a:rPr lang="ko-KR" altLang="ko-KR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여성정장이 매출이 제일 감소</a:t>
            </a:r>
            <a:r>
              <a:rPr lang="en-US" altLang="ko-KR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</a:t>
            </a:r>
            <a:endParaRPr lang="ko-KR" altLang="en-US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3" name="오른쪽 화살표 22"/>
          <p:cNvSpPr/>
          <p:nvPr/>
        </p:nvSpPr>
        <p:spPr>
          <a:xfrm>
            <a:off x="7157952" y="1809580"/>
            <a:ext cx="1079111" cy="3648974"/>
          </a:xfrm>
          <a:prstGeom prst="rightArrow">
            <a:avLst>
              <a:gd name="adj1" fmla="val 41489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ea typeface="08서울남산체 B" panose="02020603020101020101" pitchFamily="18" charset="-127"/>
              </a:rPr>
              <a:t> HTML </a:t>
            </a:r>
            <a:r>
              <a:rPr lang="ko-KR" altLang="en-US" dirty="0">
                <a:ea typeface="08서울남산체 B" panose="02020603020101020101" pitchFamily="18" charset="-127"/>
              </a:rPr>
              <a:t>코드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3"/>
          <a:srcRect l="43939" t="12201" r="36250" b="29183"/>
          <a:stretch/>
        </p:blipFill>
        <p:spPr>
          <a:xfrm>
            <a:off x="8639103" y="759125"/>
            <a:ext cx="3222874" cy="339865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4"/>
          <a:srcRect l="42624" t="11279" r="18724" b="30576"/>
          <a:stretch/>
        </p:blipFill>
        <p:spPr>
          <a:xfrm>
            <a:off x="8633759" y="4022410"/>
            <a:ext cx="3207691" cy="2730952"/>
          </a:xfrm>
          <a:prstGeom prst="rect">
            <a:avLst/>
          </a:prstGeom>
        </p:spPr>
      </p:pic>
      <p:sp>
        <p:nvSpPr>
          <p:cNvPr id="3" name="모서리가 둥근 직사각형 2"/>
          <p:cNvSpPr/>
          <p:nvPr/>
        </p:nvSpPr>
        <p:spPr>
          <a:xfrm>
            <a:off x="7254815" y="69011"/>
            <a:ext cx="4822166" cy="57797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백화점 품목별 전년 대비 매출액 증감 데이터</a:t>
            </a:r>
          </a:p>
        </p:txBody>
      </p:sp>
    </p:spTree>
    <p:extLst>
      <p:ext uri="{BB962C8B-B14F-4D97-AF65-F5344CB8AC3E}">
        <p14:creationId xmlns:p14="http://schemas.microsoft.com/office/powerpoint/2010/main" val="38592330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 Same Side Corner Rectangle 5">
            <a:extLst>
              <a:ext uri="{FF2B5EF4-FFF2-40B4-BE49-F238E27FC236}">
                <a16:creationId xmlns:a16="http://schemas.microsoft.com/office/drawing/2014/main" xmlns="" id="{F7C3A124-161C-4E9C-89F4-E1E145A8B7D4}"/>
              </a:ext>
            </a:extLst>
          </p:cNvPr>
          <p:cNvSpPr/>
          <p:nvPr/>
        </p:nvSpPr>
        <p:spPr>
          <a:xfrm>
            <a:off x="6773650" y="3711806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8" name="Round Same Side Corner Rectangle 6">
            <a:extLst>
              <a:ext uri="{FF2B5EF4-FFF2-40B4-BE49-F238E27FC236}">
                <a16:creationId xmlns:a16="http://schemas.microsoft.com/office/drawing/2014/main" xmlns="" id="{FDE9383D-C25E-412B-A8F7-1D4834636E35}"/>
              </a:ext>
            </a:extLst>
          </p:cNvPr>
          <p:cNvSpPr/>
          <p:nvPr/>
        </p:nvSpPr>
        <p:spPr>
          <a:xfrm>
            <a:off x="6532085" y="3708594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9" name="Round Same Side Corner Rectangle 7">
            <a:extLst>
              <a:ext uri="{FF2B5EF4-FFF2-40B4-BE49-F238E27FC236}">
                <a16:creationId xmlns:a16="http://schemas.microsoft.com/office/drawing/2014/main" xmlns="" id="{46549CCE-FA17-4F8E-A330-0F8340C46232}"/>
              </a:ext>
            </a:extLst>
          </p:cNvPr>
          <p:cNvSpPr/>
          <p:nvPr/>
        </p:nvSpPr>
        <p:spPr>
          <a:xfrm>
            <a:off x="6275717" y="3708594"/>
            <a:ext cx="231135" cy="29732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xmlns="" id="{F326CEE1-C695-41BD-A904-00FF2E6880FD}"/>
              </a:ext>
            </a:extLst>
          </p:cNvPr>
          <p:cNvSpPr/>
          <p:nvPr/>
        </p:nvSpPr>
        <p:spPr>
          <a:xfrm>
            <a:off x="334621" y="3804235"/>
            <a:ext cx="6116565" cy="2959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r>
              <a:rPr lang="en-US" altLang="ko-KR" dirty="0">
                <a:solidFill>
                  <a:prstClr val="black"/>
                </a:solidFill>
                <a:ea typeface="08서울남산체 B" panose="02020603020101020101" pitchFamily="18" charset="-127"/>
              </a:rPr>
              <a:t> </a:t>
            </a:r>
            <a:endParaRPr lang="ko-KR" alt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xmlns="" id="{425D2144-37D2-47E1-981B-F24701018CD7}"/>
              </a:ext>
            </a:extLst>
          </p:cNvPr>
          <p:cNvSpPr/>
          <p:nvPr/>
        </p:nvSpPr>
        <p:spPr>
          <a:xfrm>
            <a:off x="334621" y="4878788"/>
            <a:ext cx="6384995" cy="3196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3" name="직사각형 113">
            <a:extLst>
              <a:ext uri="{FF2B5EF4-FFF2-40B4-BE49-F238E27FC236}">
                <a16:creationId xmlns:a16="http://schemas.microsoft.com/office/drawing/2014/main" xmlns="" id="{0E17DF80-1AB4-4A05-8EF1-E68ADEC53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4424" y="4869237"/>
            <a:ext cx="321643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의류</a:t>
            </a:r>
            <a:r>
              <a:rPr lang="en-US" altLang="ko-KR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, </a:t>
            </a:r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잡화 품목의 감소</a:t>
            </a:r>
            <a:endParaRPr lang="ko-KR" altLang="en-US" sz="16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4" name="Rectangle 21">
            <a:extLst>
              <a:ext uri="{FF2B5EF4-FFF2-40B4-BE49-F238E27FC236}">
                <a16:creationId xmlns:a16="http://schemas.microsoft.com/office/drawing/2014/main" xmlns="" id="{BC70883F-6F52-49BA-BC26-FC470DDA3B22}"/>
              </a:ext>
            </a:extLst>
          </p:cNvPr>
          <p:cNvSpPr/>
          <p:nvPr/>
        </p:nvSpPr>
        <p:spPr>
          <a:xfrm>
            <a:off x="349164" y="5876095"/>
            <a:ext cx="6610520" cy="3054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sz="2700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5" name="직사각형 113">
            <a:extLst>
              <a:ext uri="{FF2B5EF4-FFF2-40B4-BE49-F238E27FC236}">
                <a16:creationId xmlns:a16="http://schemas.microsoft.com/office/drawing/2014/main" xmlns="" id="{4F44CED5-19BB-432C-B647-E810EC5DF5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5276" y="5859687"/>
            <a:ext cx="23976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1600" b="1" dirty="0">
                <a:solidFill>
                  <a:prstClr val="white"/>
                </a:solidFill>
                <a:ea typeface="08서울남산체 B" panose="02020603020101020101" pitchFamily="18" charset="-127"/>
                <a:cs typeface="Arial" charset="0"/>
              </a:rPr>
              <a:t>스포츠 품목도 상당한 감소</a:t>
            </a:r>
            <a:endParaRPr lang="ko-KR" altLang="en-US" sz="1600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525294B1-0244-41F2-A41A-3CDB03439576}"/>
              </a:ext>
            </a:extLst>
          </p:cNvPr>
          <p:cNvSpPr txBox="1"/>
          <p:nvPr/>
        </p:nvSpPr>
        <p:spPr>
          <a:xfrm>
            <a:off x="347889" y="5201065"/>
            <a:ext cx="5917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백화점과 마찬가지로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집단 모임 금지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사회적 </a:t>
            </a:r>
            <a:r>
              <a:rPr lang="ko-KR" altLang="en-US" sz="1400" dirty="0" err="1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거리두기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 등으로 인해 외출의 빈도가 적어지면서 의류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잡화 품목에 대한 사람들의 관심이 감소</a:t>
            </a:r>
            <a:endParaRPr lang="en-US" altLang="ko-KR" sz="1400" dirty="0">
              <a:solidFill>
                <a:prstClr val="white"/>
              </a:solidFill>
              <a:ea typeface="08서울남산체 B" panose="02020603020101020101" pitchFamily="18" charset="-127"/>
              <a:cs typeface="Arial" pitchFamily="34" charset="0"/>
            </a:endParaRPr>
          </a:p>
          <a:p>
            <a:pPr algn="r" defTabSz="914286" latinLnBrk="0"/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*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잡화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: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머플러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신발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 err="1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악세서리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모자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가방 등 패션 용품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09520AFA-8ECE-40CE-A46A-5B673D3CD3D6}"/>
              </a:ext>
            </a:extLst>
          </p:cNvPr>
          <p:cNvSpPr txBox="1"/>
          <p:nvPr/>
        </p:nvSpPr>
        <p:spPr>
          <a:xfrm>
            <a:off x="227077" y="6168607"/>
            <a:ext cx="60854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286" latinLnBrk="0"/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주로 새로운 스포츠를 시작할 때 필요한 관련 용품들을 사는데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운동시설에 대한 코로나 집단 감염 우려로 운동을 새로 시작하는 사람이 없다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최근에는 운동도 산책</a:t>
            </a:r>
            <a:r>
              <a: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rPr>
              <a:t>러닝 위주 가벼운 운동을 하는 추세가 있어 스포츠 용품 매출이 감소한 것으로 추정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223911" y="4107277"/>
            <a:ext cx="6091821" cy="783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86">
              <a:lnSpc>
                <a:spcPct val="107000"/>
              </a:lnSpc>
              <a:spcAft>
                <a:spcPts val="800"/>
              </a:spcAft>
            </a:pP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백화점의 식품은 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‘</a:t>
            </a:r>
            <a:r>
              <a:rPr lang="ko-KR" altLang="en-US" sz="1400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푸드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코트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’ 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혹은 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‘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지상 </a:t>
            </a:r>
            <a:r>
              <a:rPr lang="ko-KR" altLang="en-US" sz="1400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식당가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’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의 형태로 마스크를 벗고 식사를 하는 형태인 반면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en-US" sz="1400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대형마트는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 개별 식품 자체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(</a:t>
            </a:r>
            <a:r>
              <a:rPr lang="ko-KR" altLang="en-US" sz="1400" kern="100" dirty="0" err="1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식재료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)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를 판매한다는 차이점이 있다</a:t>
            </a:r>
            <a:r>
              <a:rPr lang="en-US" altLang="ko-KR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. </a:t>
            </a:r>
            <a:r>
              <a:rPr lang="ko-KR" altLang="en-US" sz="1400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집에서 요리를 하기 위해 필요한 재료들을 구매</a:t>
            </a:r>
            <a:endParaRPr lang="ko-KR" altLang="ko-KR" sz="1400" kern="100" dirty="0">
              <a:solidFill>
                <a:prstClr val="white"/>
              </a:solidFill>
              <a:latin typeface="08서울남산체 B" panose="02020603020101020101" pitchFamily="18" charset="-127"/>
              <a:ea typeface="08서울남산체 B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3109406" y="3768723"/>
            <a:ext cx="32063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86" latinLnBrk="0"/>
            <a:r>
              <a:rPr lang="ko-KR" altLang="en-US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식품 소계의 증가</a:t>
            </a:r>
            <a:r>
              <a:rPr lang="en-US" altLang="ko-KR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-</a:t>
            </a:r>
            <a:r>
              <a:rPr lang="ko-KR" altLang="en-US" sz="1600" b="1" kern="100" dirty="0">
                <a:solidFill>
                  <a:prstClr val="white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  <a:cs typeface="Times New Roman" panose="02020603050405020304" pitchFamily="18" charset="0"/>
              </a:rPr>
              <a:t>백화점이랑 구별됨</a:t>
            </a:r>
            <a:endParaRPr lang="ko-KR" altLang="en-US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/>
          <a:srcRect l="6055" t="8196" r="27270" b="30153"/>
          <a:stretch/>
        </p:blipFill>
        <p:spPr>
          <a:xfrm>
            <a:off x="192947" y="164179"/>
            <a:ext cx="6801960" cy="3479089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>
            <a:off x="7157952" y="1809580"/>
            <a:ext cx="1009493" cy="3648974"/>
          </a:xfrm>
          <a:prstGeom prst="rightArrow">
            <a:avLst>
              <a:gd name="adj1" fmla="val 41489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ea typeface="08서울남산체 B" panose="02020603020101020101" pitchFamily="18" charset="-127"/>
              </a:rPr>
              <a:t> HTML </a:t>
            </a:r>
            <a:r>
              <a:rPr lang="ko-KR" altLang="en-US" dirty="0">
                <a:ea typeface="08서울남산체 B" panose="02020603020101020101" pitchFamily="18" charset="-127"/>
              </a:rPr>
              <a:t>코드</a:t>
            </a: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 rotWithShape="1">
          <a:blip r:embed="rId3"/>
          <a:srcRect l="42028" t="14591" r="24646" b="31195"/>
          <a:stretch/>
        </p:blipFill>
        <p:spPr>
          <a:xfrm>
            <a:off x="8607160" y="767910"/>
            <a:ext cx="3318118" cy="3036325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4"/>
          <a:srcRect l="44860" t="12201" r="18702" b="29812"/>
          <a:stretch/>
        </p:blipFill>
        <p:spPr>
          <a:xfrm>
            <a:off x="8649813" y="3815782"/>
            <a:ext cx="3308678" cy="2961749"/>
          </a:xfrm>
          <a:prstGeom prst="rect">
            <a:avLst/>
          </a:prstGeom>
        </p:spPr>
      </p:pic>
      <p:sp>
        <p:nvSpPr>
          <p:cNvPr id="20" name="모서리가 둥근 직사각형 19"/>
          <p:cNvSpPr/>
          <p:nvPr/>
        </p:nvSpPr>
        <p:spPr>
          <a:xfrm>
            <a:off x="7254815" y="82752"/>
            <a:ext cx="4822166" cy="57797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대형마트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품목별 전년 대비 매출액 증감 데이터</a:t>
            </a:r>
          </a:p>
        </p:txBody>
      </p:sp>
    </p:spTree>
    <p:extLst>
      <p:ext uri="{BB962C8B-B14F-4D97-AF65-F5344CB8AC3E}">
        <p14:creationId xmlns:p14="http://schemas.microsoft.com/office/powerpoint/2010/main" val="26112894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ko-KR" altLang="en-US" dirty="0" err="1"/>
              <a:t>종합몰</a:t>
            </a:r>
            <a:r>
              <a:rPr lang="en-US" altLang="ko-KR" dirty="0"/>
              <a:t>/</a:t>
            </a:r>
            <a:r>
              <a:rPr lang="ko-KR" altLang="en-US" dirty="0"/>
              <a:t>할인점에 대한 전략</a:t>
            </a:r>
            <a:endParaRPr lang="en-US" dirty="0"/>
          </a:p>
        </p:txBody>
      </p:sp>
      <p:pic>
        <p:nvPicPr>
          <p:cNvPr id="27" name="Picture 2" descr="E:\002-KIMS BUSINESS\007-04-1-FIVERR\01-PPT-TEMPLATE\COVER-PSD\05-cut-01.png">
            <a:extLst>
              <a:ext uri="{FF2B5EF4-FFF2-40B4-BE49-F238E27FC236}">
                <a16:creationId xmlns:a16="http://schemas.microsoft.com/office/drawing/2014/main" xmlns="" id="{1C5C72D7-CA51-4E96-AA5B-BF1EBC562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368023" y="2110974"/>
            <a:ext cx="1304914" cy="251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Pentagon 2">
            <a:extLst>
              <a:ext uri="{FF2B5EF4-FFF2-40B4-BE49-F238E27FC236}">
                <a16:creationId xmlns:a16="http://schemas.microsoft.com/office/drawing/2014/main" xmlns="" id="{DB47CC91-0EBA-4503-9493-96236D114A31}"/>
              </a:ext>
            </a:extLst>
          </p:cNvPr>
          <p:cNvSpPr/>
          <p:nvPr/>
        </p:nvSpPr>
        <p:spPr>
          <a:xfrm rot="5400000">
            <a:off x="5334685" y="2418732"/>
            <a:ext cx="1877479" cy="636470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  <a:effectLst>
            <a:outerShdw blurRad="50800" dist="50800" dir="5400000" algn="ctr" rotWithShape="0">
              <a:srgbClr val="000000">
                <a:alpha val="2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9" name="Rounded Rectangle 23">
            <a:extLst>
              <a:ext uri="{FF2B5EF4-FFF2-40B4-BE49-F238E27FC236}">
                <a16:creationId xmlns:a16="http://schemas.microsoft.com/office/drawing/2014/main" xmlns="" id="{C7F7A375-B865-4C70-8B7E-5C09CB31D815}"/>
              </a:ext>
            </a:extLst>
          </p:cNvPr>
          <p:cNvSpPr/>
          <p:nvPr/>
        </p:nvSpPr>
        <p:spPr>
          <a:xfrm rot="18900000">
            <a:off x="8213058" y="5087897"/>
            <a:ext cx="837070" cy="83652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86" latinLnBrk="0"/>
            <a:endParaRPr lang="ko-KR" alt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0" name="Rounded Rectangle 24">
            <a:extLst>
              <a:ext uri="{FF2B5EF4-FFF2-40B4-BE49-F238E27FC236}">
                <a16:creationId xmlns:a16="http://schemas.microsoft.com/office/drawing/2014/main" xmlns="" id="{72108CC0-B298-4C5D-BD8E-7CE8A3C9D035}"/>
              </a:ext>
            </a:extLst>
          </p:cNvPr>
          <p:cNvSpPr/>
          <p:nvPr/>
        </p:nvSpPr>
        <p:spPr>
          <a:xfrm rot="18900000">
            <a:off x="8291046" y="5165834"/>
            <a:ext cx="681166" cy="680719"/>
          </a:xfrm>
          <a:prstGeom prst="ellipse">
            <a:avLst/>
          </a:prstGeom>
          <a:solidFill>
            <a:schemeClr val="bg1"/>
          </a:solidFill>
          <a:ln w="63500"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9842C00-9650-4AAF-BAB3-D20BD07532B5}"/>
              </a:ext>
            </a:extLst>
          </p:cNvPr>
          <p:cNvSpPr txBox="1"/>
          <p:nvPr/>
        </p:nvSpPr>
        <p:spPr>
          <a:xfrm>
            <a:off x="8382611" y="5321686"/>
            <a:ext cx="498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86" latinLnBrk="0"/>
            <a:r>
              <a:rPr lang="en-US" altLang="ko-KR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03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32" name="Pentagon 3">
            <a:extLst>
              <a:ext uri="{FF2B5EF4-FFF2-40B4-BE49-F238E27FC236}">
                <a16:creationId xmlns:a16="http://schemas.microsoft.com/office/drawing/2014/main" xmlns="" id="{CA4D9453-6CAF-4CD6-8C08-E183DD94E2BE}"/>
              </a:ext>
            </a:extLst>
          </p:cNvPr>
          <p:cNvSpPr/>
          <p:nvPr/>
        </p:nvSpPr>
        <p:spPr>
          <a:xfrm rot="5400000">
            <a:off x="5232606" y="-817677"/>
            <a:ext cx="1626516" cy="587584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noFill/>
          </a:ln>
          <a:effectLst>
            <a:outerShdw blurRad="50800" dist="50800" dir="5400000" algn="ctr" rotWithShape="0">
              <a:srgbClr val="000000">
                <a:alpha val="2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3" name="Rounded Rectangle 5">
            <a:extLst>
              <a:ext uri="{FF2B5EF4-FFF2-40B4-BE49-F238E27FC236}">
                <a16:creationId xmlns:a16="http://schemas.microsoft.com/office/drawing/2014/main" xmlns="" id="{A98172EA-95D4-415C-954F-49DDF7E43202}"/>
              </a:ext>
            </a:extLst>
          </p:cNvPr>
          <p:cNvSpPr/>
          <p:nvPr/>
        </p:nvSpPr>
        <p:spPr>
          <a:xfrm rot="18900000">
            <a:off x="8027824" y="1682807"/>
            <a:ext cx="838760" cy="83821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86" latinLnBrk="0"/>
            <a:endParaRPr lang="ko-KR" alt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4" name="Rounded Rectangle 6">
            <a:extLst>
              <a:ext uri="{FF2B5EF4-FFF2-40B4-BE49-F238E27FC236}">
                <a16:creationId xmlns:a16="http://schemas.microsoft.com/office/drawing/2014/main" xmlns="" id="{7207F62F-9F57-4229-8523-5C1B83637635}"/>
              </a:ext>
            </a:extLst>
          </p:cNvPr>
          <p:cNvSpPr/>
          <p:nvPr/>
        </p:nvSpPr>
        <p:spPr>
          <a:xfrm rot="18900000">
            <a:off x="8105970" y="1760902"/>
            <a:ext cx="682540" cy="682092"/>
          </a:xfrm>
          <a:prstGeom prst="ellipse">
            <a:avLst/>
          </a:prstGeom>
          <a:solidFill>
            <a:schemeClr val="bg1"/>
          </a:solidFill>
          <a:ln w="63500"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9FD890B-7341-4ED4-AC05-F0A9FBE419AD}"/>
              </a:ext>
            </a:extLst>
          </p:cNvPr>
          <p:cNvSpPr txBox="1"/>
          <p:nvPr/>
        </p:nvSpPr>
        <p:spPr>
          <a:xfrm>
            <a:off x="8197719" y="1917440"/>
            <a:ext cx="499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86" latinLnBrk="0"/>
            <a:r>
              <a:rPr lang="en-US" altLang="ko-KR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01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pic>
        <p:nvPicPr>
          <p:cNvPr id="36" name="Picture 2" descr="E:\002-KIMS BUSINESS\007-04-1-FIVERR\01-PPT-TEMPLATE\COVER-PSD\05-cut-01.png">
            <a:extLst>
              <a:ext uri="{FF2B5EF4-FFF2-40B4-BE49-F238E27FC236}">
                <a16:creationId xmlns:a16="http://schemas.microsoft.com/office/drawing/2014/main" xmlns="" id="{D2CDFDE9-F391-4175-B8F3-C5AE24D59B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85855" y="3794579"/>
            <a:ext cx="5040000" cy="229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Pentagon 12">
            <a:extLst>
              <a:ext uri="{FF2B5EF4-FFF2-40B4-BE49-F238E27FC236}">
                <a16:creationId xmlns:a16="http://schemas.microsoft.com/office/drawing/2014/main" xmlns="" id="{95CA3CB6-1BED-4A7A-83CD-76823DC69392}"/>
              </a:ext>
            </a:extLst>
          </p:cNvPr>
          <p:cNvSpPr/>
          <p:nvPr/>
        </p:nvSpPr>
        <p:spPr>
          <a:xfrm rot="16200000">
            <a:off x="4403656" y="812647"/>
            <a:ext cx="1755009" cy="602295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  <a:effectLst>
            <a:outerShdw blurRad="50800" dist="50800" dir="5400000" algn="ctr" rotWithShape="0">
              <a:srgbClr val="000000">
                <a:alpha val="2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2" name="Rounded Rectangle 15">
            <a:extLst>
              <a:ext uri="{FF2B5EF4-FFF2-40B4-BE49-F238E27FC236}">
                <a16:creationId xmlns:a16="http://schemas.microsoft.com/office/drawing/2014/main" xmlns="" id="{3317DFC8-4FFE-4A26-9310-DD036E6995C9}"/>
              </a:ext>
            </a:extLst>
          </p:cNvPr>
          <p:cNvSpPr/>
          <p:nvPr/>
        </p:nvSpPr>
        <p:spPr>
          <a:xfrm rot="18900000">
            <a:off x="2543011" y="3414944"/>
            <a:ext cx="837070" cy="836521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86" latinLnBrk="0"/>
            <a:endParaRPr lang="ko-KR" altLang="en-US" dirty="0">
              <a:solidFill>
                <a:prstClr val="black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3" name="Rounded Rectangle 16">
            <a:extLst>
              <a:ext uri="{FF2B5EF4-FFF2-40B4-BE49-F238E27FC236}">
                <a16:creationId xmlns:a16="http://schemas.microsoft.com/office/drawing/2014/main" xmlns="" id="{3CE88172-0AF2-4E23-879D-5A2359023CD3}"/>
              </a:ext>
            </a:extLst>
          </p:cNvPr>
          <p:cNvSpPr/>
          <p:nvPr/>
        </p:nvSpPr>
        <p:spPr>
          <a:xfrm rot="18900000">
            <a:off x="2623604" y="3519249"/>
            <a:ext cx="681166" cy="680719"/>
          </a:xfrm>
          <a:prstGeom prst="ellipse">
            <a:avLst/>
          </a:prstGeom>
          <a:solidFill>
            <a:schemeClr val="bg1"/>
          </a:solidFill>
          <a:ln w="63500">
            <a:noFill/>
          </a:ln>
          <a:effectLst>
            <a:outerShdw blurRad="50800" dist="38100" dir="5400000" algn="ctr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0DFA1691-FAD0-4A27-88C9-B84342CED132}"/>
              </a:ext>
            </a:extLst>
          </p:cNvPr>
          <p:cNvSpPr txBox="1"/>
          <p:nvPr/>
        </p:nvSpPr>
        <p:spPr>
          <a:xfrm>
            <a:off x="2715169" y="3675101"/>
            <a:ext cx="498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86" latinLnBrk="0"/>
            <a:r>
              <a:rPr lang="en-US" altLang="ko-KR" b="1" dirty="0">
                <a:solidFill>
                  <a:prstClr val="black">
                    <a:lumMod val="75000"/>
                    <a:lumOff val="25000"/>
                  </a:prstClr>
                </a:solidFill>
                <a:ea typeface="08서울남산체 B" panose="02020603020101020101" pitchFamily="18" charset="-127"/>
                <a:cs typeface="Arial" pitchFamily="34" charset="0"/>
              </a:rPr>
              <a:t>02</a:t>
            </a:r>
            <a:endParaRPr lang="ko-KR" altLang="en-US" b="1" dirty="0">
              <a:solidFill>
                <a:prstClr val="black">
                  <a:lumMod val="75000"/>
                  <a:lumOff val="25000"/>
                </a:prstClr>
              </a:solidFill>
              <a:ea typeface="08서울남산체 B" panose="02020603020101020101" pitchFamily="18" charset="-127"/>
              <a:cs typeface="Arial" pitchFamily="34" charset="0"/>
            </a:endParaRPr>
          </a:p>
        </p:txBody>
      </p:sp>
      <p:pic>
        <p:nvPicPr>
          <p:cNvPr id="45" name="Picture 2" descr="E:\002-KIMS BUSINESS\007-04-1-FIVERR\01-PPT-TEMPLATE\COVER-PSD\05-cut-01.png">
            <a:extLst>
              <a:ext uri="{FF2B5EF4-FFF2-40B4-BE49-F238E27FC236}">
                <a16:creationId xmlns:a16="http://schemas.microsoft.com/office/drawing/2014/main" xmlns="" id="{FB9D57BB-CE89-4E16-8463-A6050FE7DB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362176" y="5530354"/>
            <a:ext cx="1333697" cy="226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E:\002-KIMS BUSINESS\007-04-1-FIVERR\01-PPT-TEMPLATE\COVER-PSD\05-cut-01.png">
            <a:extLst>
              <a:ext uri="{FF2B5EF4-FFF2-40B4-BE49-F238E27FC236}">
                <a16:creationId xmlns:a16="http://schemas.microsoft.com/office/drawing/2014/main" xmlns="" id="{AAE76612-D303-4A1F-9556-4F58FEBAE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455401" y="3326052"/>
            <a:ext cx="1150267" cy="205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32">
            <a:extLst>
              <a:ext uri="{FF2B5EF4-FFF2-40B4-BE49-F238E27FC236}">
                <a16:creationId xmlns:a16="http://schemas.microsoft.com/office/drawing/2014/main" xmlns="" id="{A2D5F9D4-3E41-4960-94EE-DFA6C8A7A566}"/>
              </a:ext>
            </a:extLst>
          </p:cNvPr>
          <p:cNvGrpSpPr/>
          <p:nvPr/>
        </p:nvGrpSpPr>
        <p:grpSpPr>
          <a:xfrm>
            <a:off x="3153989" y="1356593"/>
            <a:ext cx="4858726" cy="1497465"/>
            <a:chOff x="-886196" y="4167074"/>
            <a:chExt cx="6054668" cy="1498448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F47323F3-3C27-48C0-AD2F-D2482B3148A5}"/>
                </a:ext>
              </a:extLst>
            </p:cNvPr>
            <p:cNvSpPr txBox="1"/>
            <p:nvPr/>
          </p:nvSpPr>
          <p:spPr>
            <a:xfrm>
              <a:off x="-886196" y="4495204"/>
              <a:ext cx="6054668" cy="1170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백화점 전년 동월대비 항목별 매출액 차이를 비교해보면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명품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품목에 대해서는 코로나 상황에도 소비가 증가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명품에는 사람들이 지속적으로 관심을 가지고 있으며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면세점에서 판매되지 않은 명품 품목들이 백화점으로 이전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카드사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VIP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고객을 대상으로 명품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예약제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전시회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초청권을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제공 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C29A07C4-1FE4-4AB1-9B70-7B579023ADBA}"/>
                </a:ext>
              </a:extLst>
            </p:cNvPr>
            <p:cNvSpPr txBox="1"/>
            <p:nvPr/>
          </p:nvSpPr>
          <p:spPr>
            <a:xfrm>
              <a:off x="-103710" y="4167074"/>
              <a:ext cx="4984458" cy="338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286" latinLnBrk="0"/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명품 </a:t>
              </a:r>
              <a:r>
                <a:rPr lang="ko-KR" altLang="en-US" sz="1600" b="1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예약제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전시회 개최</a:t>
              </a:r>
            </a:p>
          </p:txBody>
        </p:sp>
      </p:grpSp>
      <p:grpSp>
        <p:nvGrpSpPr>
          <p:cNvPr id="50" name="Group 32">
            <a:extLst>
              <a:ext uri="{FF2B5EF4-FFF2-40B4-BE49-F238E27FC236}">
                <a16:creationId xmlns:a16="http://schemas.microsoft.com/office/drawing/2014/main" xmlns="" id="{16149485-0246-4A7A-AF5B-6F0894FA356F}"/>
              </a:ext>
            </a:extLst>
          </p:cNvPr>
          <p:cNvGrpSpPr/>
          <p:nvPr/>
        </p:nvGrpSpPr>
        <p:grpSpPr>
          <a:xfrm>
            <a:off x="3489786" y="3015594"/>
            <a:ext cx="4725059" cy="1642783"/>
            <a:chOff x="200944" y="4307149"/>
            <a:chExt cx="4687727" cy="1613315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8F68CF1D-A132-48F5-8041-165FCEE6F143}"/>
                </a:ext>
              </a:extLst>
            </p:cNvPr>
            <p:cNvSpPr txBox="1"/>
            <p:nvPr/>
          </p:nvSpPr>
          <p:spPr>
            <a:xfrm>
              <a:off x="245430" y="4560313"/>
              <a:ext cx="4620351" cy="13601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해당 카드로 결제하는 고객들을 대상으로 무료 선물포장 서비스 제공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285750" indent="-285750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현재 백화점 온라인 몰에서는 쇼핑백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선물포장을 제공하지 않는 경우가 많음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-&gt;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소비자들의 구매 망설임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285750" indent="-285750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백화점 데이터 중에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의류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품목이 가장 많이 감소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-&gt;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이에 대해 추가적인 서비스를 제공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52974761-561B-48B2-B201-D8A188823A60}"/>
                </a:ext>
              </a:extLst>
            </p:cNvPr>
            <p:cNvSpPr txBox="1"/>
            <p:nvPr/>
          </p:nvSpPr>
          <p:spPr>
            <a:xfrm>
              <a:off x="200944" y="4307149"/>
              <a:ext cx="4687727" cy="3324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86" latinLnBrk="0"/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백화점 상품 온라인 구매 시 선물포장 서비스 제공</a:t>
              </a:r>
            </a:p>
          </p:txBody>
        </p:sp>
      </p:grpSp>
      <p:grpSp>
        <p:nvGrpSpPr>
          <p:cNvPr id="53" name="Group 32">
            <a:extLst>
              <a:ext uri="{FF2B5EF4-FFF2-40B4-BE49-F238E27FC236}">
                <a16:creationId xmlns:a16="http://schemas.microsoft.com/office/drawing/2014/main" xmlns="" id="{33DE773B-7A23-46E5-9AFD-F4439600BE43}"/>
              </a:ext>
            </a:extLst>
          </p:cNvPr>
          <p:cNvGrpSpPr/>
          <p:nvPr/>
        </p:nvGrpSpPr>
        <p:grpSpPr>
          <a:xfrm>
            <a:off x="2989068" y="4766525"/>
            <a:ext cx="5094216" cy="1858609"/>
            <a:chOff x="200944" y="4307147"/>
            <a:chExt cx="4687726" cy="1773628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xmlns="" id="{D521B6D8-1F38-4D57-AC82-9EC1C664478F}"/>
                </a:ext>
              </a:extLst>
            </p:cNvPr>
            <p:cNvSpPr txBox="1"/>
            <p:nvPr/>
          </p:nvSpPr>
          <p:spPr>
            <a:xfrm>
              <a:off x="321566" y="4553513"/>
              <a:ext cx="4470126" cy="15272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코로나 상황으로 인해 카드 매출의 대부분을 차지하는 요식 업종의 소비가 감소했으나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식품 품목에 대한 소비는 증가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대형마트들이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진출하고 있는 시장은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밀키트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시장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‘-&gt;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사람들이 외식을 하지 않고도 집에서 간편하게 요리를 해 먹을 수 있음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  <a:p>
              <a:pPr marL="171450" indent="-171450" algn="r" defTabSz="914286" latinLnBrk="0">
                <a:buFont typeface="Arial" panose="020B0604020202020204" pitchFamily="34" charset="0"/>
                <a:buChar char="•"/>
              </a:pP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코로나로 인해 외식을 기피하는 사람들이 찾는 것이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밀키트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-&gt;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현재 소비가 활발하게 일어나는 품목이므로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이를 공략하여 카드로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밀키트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한달권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400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결제시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en-US" altLang="ko-KR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5% </a:t>
              </a:r>
              <a:r>
                <a:rPr lang="ko-KR" altLang="en-US" sz="1400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할인 서비스 </a:t>
              </a:r>
              <a:endParaRPr lang="en-US" altLang="ko-KR" sz="1400" dirty="0">
                <a:solidFill>
                  <a:prstClr val="white"/>
                </a:solidFill>
                <a:ea typeface="08서울남산체 B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D6DA01B7-0F08-448C-9826-1F7EDD9CBF6C}"/>
                </a:ext>
              </a:extLst>
            </p:cNvPr>
            <p:cNvSpPr txBox="1"/>
            <p:nvPr/>
          </p:nvSpPr>
          <p:spPr>
            <a:xfrm>
              <a:off x="200944" y="4307147"/>
              <a:ext cx="4687726" cy="323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286" latinLnBrk="0"/>
              <a:r>
                <a:rPr lang="ko-KR" altLang="en-US" sz="1600" b="1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밀키트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600" b="1" dirty="0" err="1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한달권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 구매 시 </a:t>
              </a:r>
              <a:r>
                <a:rPr lang="en-US" altLang="ko-KR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5% </a:t>
              </a:r>
              <a:r>
                <a:rPr lang="ko-KR" altLang="en-US" sz="1600" b="1" dirty="0">
                  <a:solidFill>
                    <a:prstClr val="white"/>
                  </a:solidFill>
                  <a:ea typeface="08서울남산체 B" panose="02020603020101020101" pitchFamily="18" charset="-127"/>
                  <a:cs typeface="Arial" pitchFamily="34" charset="0"/>
                </a:rPr>
                <a:t>할인</a:t>
              </a:r>
            </a:p>
          </p:txBody>
        </p:sp>
      </p:grpSp>
      <p:grpSp>
        <p:nvGrpSpPr>
          <p:cNvPr id="59" name="그룹 87">
            <a:extLst>
              <a:ext uri="{FF2B5EF4-FFF2-40B4-BE49-F238E27FC236}">
                <a16:creationId xmlns:a16="http://schemas.microsoft.com/office/drawing/2014/main" xmlns="" id="{01CF5A1E-96A8-41A1-89E8-56CD56440BD3}"/>
              </a:ext>
            </a:extLst>
          </p:cNvPr>
          <p:cNvGrpSpPr/>
          <p:nvPr/>
        </p:nvGrpSpPr>
        <p:grpSpPr>
          <a:xfrm>
            <a:off x="293478" y="4325955"/>
            <a:ext cx="2523434" cy="1065203"/>
            <a:chOff x="1682410" y="2217893"/>
            <a:chExt cx="2019261" cy="852379"/>
          </a:xfrm>
          <a:solidFill>
            <a:schemeClr val="bg1">
              <a:lumMod val="85000"/>
            </a:schemeClr>
          </a:solidFill>
        </p:grpSpPr>
        <p:grpSp>
          <p:nvGrpSpPr>
            <p:cNvPr id="60" name="그룹 86">
              <a:extLst>
                <a:ext uri="{FF2B5EF4-FFF2-40B4-BE49-F238E27FC236}">
                  <a16:creationId xmlns:a16="http://schemas.microsoft.com/office/drawing/2014/main" xmlns="" id="{46DC49DF-5AFB-440F-8ECB-3843F7F4D592}"/>
                </a:ext>
              </a:extLst>
            </p:cNvPr>
            <p:cNvGrpSpPr/>
            <p:nvPr/>
          </p:nvGrpSpPr>
          <p:grpSpPr>
            <a:xfrm>
              <a:off x="1774163" y="2217893"/>
              <a:ext cx="1927508" cy="852379"/>
              <a:chOff x="1774163" y="2217893"/>
              <a:chExt cx="1927508" cy="852379"/>
            </a:xfrm>
            <a:grpFill/>
          </p:grpSpPr>
          <p:sp>
            <p:nvSpPr>
              <p:cNvPr id="62" name="Freeform 18">
                <a:extLst>
                  <a:ext uri="{FF2B5EF4-FFF2-40B4-BE49-F238E27FC236}">
                    <a16:creationId xmlns:a16="http://schemas.microsoft.com/office/drawing/2014/main" xmlns="" id="{1A86191F-1373-4CF4-B1A2-917D9C71A473}"/>
                  </a:ext>
                </a:extLst>
              </p:cNvPr>
              <p:cNvSpPr/>
              <p:nvPr/>
            </p:nvSpPr>
            <p:spPr>
              <a:xfrm flipH="1">
                <a:off x="1774163" y="2350717"/>
                <a:ext cx="1600825" cy="719555"/>
              </a:xfrm>
              <a:custGeom>
                <a:avLst/>
                <a:gdLst>
                  <a:gd name="connsiteX0" fmla="*/ 4126727 w 4126727"/>
                  <a:gd name="connsiteY0" fmla="*/ 866693 h 1836752"/>
                  <a:gd name="connsiteX1" fmla="*/ 2782957 w 4126727"/>
                  <a:gd name="connsiteY1" fmla="*/ 0 h 1836752"/>
                  <a:gd name="connsiteX2" fmla="*/ 2703444 w 4126727"/>
                  <a:gd name="connsiteY2" fmla="*/ 7952 h 1836752"/>
                  <a:gd name="connsiteX3" fmla="*/ 1375576 w 4126727"/>
                  <a:gd name="connsiteY3" fmla="*/ 326004 h 1836752"/>
                  <a:gd name="connsiteX4" fmla="*/ 0 w 4126727"/>
                  <a:gd name="connsiteY4" fmla="*/ 477079 h 1836752"/>
                  <a:gd name="connsiteX5" fmla="*/ 1574358 w 4126727"/>
                  <a:gd name="connsiteY5" fmla="*/ 898498 h 1836752"/>
                  <a:gd name="connsiteX6" fmla="*/ 2576223 w 4126727"/>
                  <a:gd name="connsiteY6" fmla="*/ 1280160 h 1836752"/>
                  <a:gd name="connsiteX7" fmla="*/ 3267986 w 4126727"/>
                  <a:gd name="connsiteY7" fmla="*/ 1836752 h 1836752"/>
                  <a:gd name="connsiteX8" fmla="*/ 4126727 w 4126727"/>
                  <a:gd name="connsiteY8" fmla="*/ 866693 h 1836752"/>
                  <a:gd name="connsiteX0" fmla="*/ 4126727 w 4126727"/>
                  <a:gd name="connsiteY0" fmla="*/ 884466 h 1854525"/>
                  <a:gd name="connsiteX1" fmla="*/ 2782957 w 4126727"/>
                  <a:gd name="connsiteY1" fmla="*/ 17773 h 1854525"/>
                  <a:gd name="connsiteX2" fmla="*/ 2703444 w 4126727"/>
                  <a:gd name="connsiteY2" fmla="*/ 25725 h 1854525"/>
                  <a:gd name="connsiteX3" fmla="*/ 1375576 w 4126727"/>
                  <a:gd name="connsiteY3" fmla="*/ 343777 h 1854525"/>
                  <a:gd name="connsiteX4" fmla="*/ 0 w 4126727"/>
                  <a:gd name="connsiteY4" fmla="*/ 494852 h 1854525"/>
                  <a:gd name="connsiteX5" fmla="*/ 1574358 w 4126727"/>
                  <a:gd name="connsiteY5" fmla="*/ 916271 h 1854525"/>
                  <a:gd name="connsiteX6" fmla="*/ 2576223 w 4126727"/>
                  <a:gd name="connsiteY6" fmla="*/ 1297933 h 1854525"/>
                  <a:gd name="connsiteX7" fmla="*/ 3267986 w 4126727"/>
                  <a:gd name="connsiteY7" fmla="*/ 1854525 h 1854525"/>
                  <a:gd name="connsiteX8" fmla="*/ 4126727 w 4126727"/>
                  <a:gd name="connsiteY8" fmla="*/ 884466 h 1854525"/>
                  <a:gd name="connsiteX0" fmla="*/ 1375576 w 4126727"/>
                  <a:gd name="connsiteY0" fmla="*/ 331865 h 1842613"/>
                  <a:gd name="connsiteX1" fmla="*/ 0 w 4126727"/>
                  <a:gd name="connsiteY1" fmla="*/ 482940 h 1842613"/>
                  <a:gd name="connsiteX2" fmla="*/ 1574358 w 4126727"/>
                  <a:gd name="connsiteY2" fmla="*/ 904359 h 1842613"/>
                  <a:gd name="connsiteX3" fmla="*/ 2576223 w 4126727"/>
                  <a:gd name="connsiteY3" fmla="*/ 1286021 h 1842613"/>
                  <a:gd name="connsiteX4" fmla="*/ 3267986 w 4126727"/>
                  <a:gd name="connsiteY4" fmla="*/ 1842613 h 1842613"/>
                  <a:gd name="connsiteX5" fmla="*/ 4126727 w 4126727"/>
                  <a:gd name="connsiteY5" fmla="*/ 872554 h 1842613"/>
                  <a:gd name="connsiteX6" fmla="*/ 2782957 w 4126727"/>
                  <a:gd name="connsiteY6" fmla="*/ 5861 h 1842613"/>
                  <a:gd name="connsiteX7" fmla="*/ 2794884 w 4126727"/>
                  <a:gd name="connsiteY7" fmla="*/ 105253 h 1842613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90578 h 1901326"/>
                  <a:gd name="connsiteX1" fmla="*/ 0 w 4063117"/>
                  <a:gd name="connsiteY1" fmla="*/ 541653 h 1901326"/>
                  <a:gd name="connsiteX2" fmla="*/ 1574358 w 4063117"/>
                  <a:gd name="connsiteY2" fmla="*/ 963072 h 1901326"/>
                  <a:gd name="connsiteX3" fmla="*/ 2576223 w 4063117"/>
                  <a:gd name="connsiteY3" fmla="*/ 1344734 h 1901326"/>
                  <a:gd name="connsiteX4" fmla="*/ 3267986 w 4063117"/>
                  <a:gd name="connsiteY4" fmla="*/ 1901326 h 1901326"/>
                  <a:gd name="connsiteX5" fmla="*/ 4063117 w 4063117"/>
                  <a:gd name="connsiteY5" fmla="*/ 994878 h 1901326"/>
                  <a:gd name="connsiteX6" fmla="*/ 2782957 w 4063117"/>
                  <a:gd name="connsiteY6" fmla="*/ 64574 h 1901326"/>
                  <a:gd name="connsiteX7" fmla="*/ 2178658 w 4063117"/>
                  <a:gd name="connsiteY7" fmla="*/ 96380 h 1901326"/>
                  <a:gd name="connsiteX8" fmla="*/ 1375576 w 4063117"/>
                  <a:gd name="connsiteY8" fmla="*/ 390578 h 1901326"/>
                  <a:gd name="connsiteX0" fmla="*/ 1375576 w 4063117"/>
                  <a:gd name="connsiteY0" fmla="*/ 383650 h 1894398"/>
                  <a:gd name="connsiteX1" fmla="*/ 0 w 4063117"/>
                  <a:gd name="connsiteY1" fmla="*/ 534725 h 1894398"/>
                  <a:gd name="connsiteX2" fmla="*/ 1574358 w 4063117"/>
                  <a:gd name="connsiteY2" fmla="*/ 956144 h 1894398"/>
                  <a:gd name="connsiteX3" fmla="*/ 2576223 w 4063117"/>
                  <a:gd name="connsiteY3" fmla="*/ 1337806 h 1894398"/>
                  <a:gd name="connsiteX4" fmla="*/ 3267986 w 4063117"/>
                  <a:gd name="connsiteY4" fmla="*/ 1894398 h 1894398"/>
                  <a:gd name="connsiteX5" fmla="*/ 4063117 w 4063117"/>
                  <a:gd name="connsiteY5" fmla="*/ 987950 h 1894398"/>
                  <a:gd name="connsiteX6" fmla="*/ 2782957 w 4063117"/>
                  <a:gd name="connsiteY6" fmla="*/ 57646 h 1894398"/>
                  <a:gd name="connsiteX7" fmla="*/ 2178658 w 4063117"/>
                  <a:gd name="connsiteY7" fmla="*/ 89452 h 1894398"/>
                  <a:gd name="connsiteX8" fmla="*/ 1375576 w 4063117"/>
                  <a:gd name="connsiteY8" fmla="*/ 383650 h 1894398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625109 w 4112003"/>
                  <a:gd name="connsiteY3" fmla="*/ 1280160 h 1836752"/>
                  <a:gd name="connsiteX4" fmla="*/ 3316872 w 4112003"/>
                  <a:gd name="connsiteY4" fmla="*/ 1836752 h 1836752"/>
                  <a:gd name="connsiteX5" fmla="*/ 4112003 w 4112003"/>
                  <a:gd name="connsiteY5" fmla="*/ 930304 h 1836752"/>
                  <a:gd name="connsiteX6" fmla="*/ 2831843 w 4112003"/>
                  <a:gd name="connsiteY6" fmla="*/ 0 h 1836752"/>
                  <a:gd name="connsiteX7" fmla="*/ 2227544 w 4112003"/>
                  <a:gd name="connsiteY7" fmla="*/ 31806 h 1836752"/>
                  <a:gd name="connsiteX8" fmla="*/ 1424462 w 4112003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132129 w 4112003"/>
                  <a:gd name="connsiteY3" fmla="*/ 993914 h 1836752"/>
                  <a:gd name="connsiteX4" fmla="*/ 2625109 w 4112003"/>
                  <a:gd name="connsiteY4" fmla="*/ 1280160 h 1836752"/>
                  <a:gd name="connsiteX5" fmla="*/ 3316872 w 4112003"/>
                  <a:gd name="connsiteY5" fmla="*/ 1836752 h 1836752"/>
                  <a:gd name="connsiteX6" fmla="*/ 4112003 w 4112003"/>
                  <a:gd name="connsiteY6" fmla="*/ 930304 h 1836752"/>
                  <a:gd name="connsiteX7" fmla="*/ 2831843 w 4112003"/>
                  <a:gd name="connsiteY7" fmla="*/ 0 h 1836752"/>
                  <a:gd name="connsiteX8" fmla="*/ 2227544 w 4112003"/>
                  <a:gd name="connsiteY8" fmla="*/ 31806 h 1836752"/>
                  <a:gd name="connsiteX9" fmla="*/ 1424462 w 4112003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38408 h 1849156"/>
                  <a:gd name="connsiteX1" fmla="*/ 59649 w 4122766"/>
                  <a:gd name="connsiteY1" fmla="*/ 489483 h 1849156"/>
                  <a:gd name="connsiteX2" fmla="*/ 1634007 w 4122766"/>
                  <a:gd name="connsiteY2" fmla="*/ 910902 h 1849156"/>
                  <a:gd name="connsiteX3" fmla="*/ 2142892 w 4122766"/>
                  <a:gd name="connsiteY3" fmla="*/ 1006318 h 1849156"/>
                  <a:gd name="connsiteX4" fmla="*/ 2635872 w 4122766"/>
                  <a:gd name="connsiteY4" fmla="*/ 1292564 h 1849156"/>
                  <a:gd name="connsiteX5" fmla="*/ 3327635 w 4122766"/>
                  <a:gd name="connsiteY5" fmla="*/ 1849156 h 1849156"/>
                  <a:gd name="connsiteX6" fmla="*/ 4122766 w 4122766"/>
                  <a:gd name="connsiteY6" fmla="*/ 942708 h 1849156"/>
                  <a:gd name="connsiteX7" fmla="*/ 2842606 w 4122766"/>
                  <a:gd name="connsiteY7" fmla="*/ 12404 h 1849156"/>
                  <a:gd name="connsiteX8" fmla="*/ 2238307 w 4122766"/>
                  <a:gd name="connsiteY8" fmla="*/ 44210 h 1849156"/>
                  <a:gd name="connsiteX9" fmla="*/ 1435225 w 4122766"/>
                  <a:gd name="connsiteY9" fmla="*/ 338408 h 1849156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39809 h 1850557"/>
                  <a:gd name="connsiteX1" fmla="*/ 59649 w 4122766"/>
                  <a:gd name="connsiteY1" fmla="*/ 490884 h 1850557"/>
                  <a:gd name="connsiteX2" fmla="*/ 1634007 w 4122766"/>
                  <a:gd name="connsiteY2" fmla="*/ 912303 h 1850557"/>
                  <a:gd name="connsiteX3" fmla="*/ 2142892 w 4122766"/>
                  <a:gd name="connsiteY3" fmla="*/ 1007719 h 1850557"/>
                  <a:gd name="connsiteX4" fmla="*/ 2635872 w 4122766"/>
                  <a:gd name="connsiteY4" fmla="*/ 1293965 h 1850557"/>
                  <a:gd name="connsiteX5" fmla="*/ 3327635 w 4122766"/>
                  <a:gd name="connsiteY5" fmla="*/ 1850557 h 1850557"/>
                  <a:gd name="connsiteX6" fmla="*/ 4122766 w 4122766"/>
                  <a:gd name="connsiteY6" fmla="*/ 944109 h 1850557"/>
                  <a:gd name="connsiteX7" fmla="*/ 2842606 w 4122766"/>
                  <a:gd name="connsiteY7" fmla="*/ 13805 h 1850557"/>
                  <a:gd name="connsiteX8" fmla="*/ 2166745 w 4122766"/>
                  <a:gd name="connsiteY8" fmla="*/ 93319 h 1850557"/>
                  <a:gd name="connsiteX9" fmla="*/ 1435225 w 4122766"/>
                  <a:gd name="connsiteY9" fmla="*/ 339809 h 1850557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76690 h 1887438"/>
                  <a:gd name="connsiteX1" fmla="*/ 59649 w 4122766"/>
                  <a:gd name="connsiteY1" fmla="*/ 527765 h 1887438"/>
                  <a:gd name="connsiteX2" fmla="*/ 1634007 w 4122766"/>
                  <a:gd name="connsiteY2" fmla="*/ 949184 h 1887438"/>
                  <a:gd name="connsiteX3" fmla="*/ 2142892 w 4122766"/>
                  <a:gd name="connsiteY3" fmla="*/ 1044600 h 1887438"/>
                  <a:gd name="connsiteX4" fmla="*/ 2635872 w 4122766"/>
                  <a:gd name="connsiteY4" fmla="*/ 1330846 h 1887438"/>
                  <a:gd name="connsiteX5" fmla="*/ 3327635 w 4122766"/>
                  <a:gd name="connsiteY5" fmla="*/ 1887438 h 1887438"/>
                  <a:gd name="connsiteX6" fmla="*/ 4122766 w 4122766"/>
                  <a:gd name="connsiteY6" fmla="*/ 980990 h 1887438"/>
                  <a:gd name="connsiteX7" fmla="*/ 2842606 w 4122766"/>
                  <a:gd name="connsiteY7" fmla="*/ 18881 h 1887438"/>
                  <a:gd name="connsiteX8" fmla="*/ 2166745 w 4122766"/>
                  <a:gd name="connsiteY8" fmla="*/ 130200 h 1887438"/>
                  <a:gd name="connsiteX9" fmla="*/ 1435225 w 4122766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548408 w 4067107"/>
                  <a:gd name="connsiteY4" fmla="*/ 1275187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089096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747240"/>
                  <a:gd name="connsiteX1" fmla="*/ 59649 w 4067107"/>
                  <a:gd name="connsiteY1" fmla="*/ 527765 h 1747240"/>
                  <a:gd name="connsiteX2" fmla="*/ 1634007 w 4067107"/>
                  <a:gd name="connsiteY2" fmla="*/ 949184 h 1747240"/>
                  <a:gd name="connsiteX3" fmla="*/ 2142892 w 4067107"/>
                  <a:gd name="connsiteY3" fmla="*/ 1044600 h 1747240"/>
                  <a:gd name="connsiteX4" fmla="*/ 2476846 w 4067107"/>
                  <a:gd name="connsiteY4" fmla="*/ 1378554 h 1747240"/>
                  <a:gd name="connsiteX5" fmla="*/ 3004138 w 4067107"/>
                  <a:gd name="connsiteY5" fmla="*/ 1747240 h 1747240"/>
                  <a:gd name="connsiteX6" fmla="*/ 4067107 w 4067107"/>
                  <a:gd name="connsiteY6" fmla="*/ 1036649 h 1747240"/>
                  <a:gd name="connsiteX7" fmla="*/ 2842606 w 4067107"/>
                  <a:gd name="connsiteY7" fmla="*/ 18881 h 1747240"/>
                  <a:gd name="connsiteX8" fmla="*/ 2166745 w 4067107"/>
                  <a:gd name="connsiteY8" fmla="*/ 130200 h 1747240"/>
                  <a:gd name="connsiteX9" fmla="*/ 1435225 w 4067107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3004138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2806187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7153" h="1747240">
                    <a:moveTo>
                      <a:pt x="1435225" y="376690"/>
                    </a:moveTo>
                    <a:cubicBezTo>
                      <a:pt x="921041" y="355486"/>
                      <a:pt x="168317" y="374040"/>
                      <a:pt x="59649" y="527765"/>
                    </a:cubicBezTo>
                    <a:cubicBezTo>
                      <a:pt x="-282257" y="890874"/>
                      <a:pt x="926341" y="920030"/>
                      <a:pt x="1634007" y="949184"/>
                    </a:cubicBezTo>
                    <a:cubicBezTo>
                      <a:pt x="1755927" y="988940"/>
                      <a:pt x="2020972" y="1004844"/>
                      <a:pt x="2142892" y="1044600"/>
                    </a:cubicBezTo>
                    <a:lnTo>
                      <a:pt x="2476846" y="1378554"/>
                    </a:lnTo>
                    <a:lnTo>
                      <a:pt x="2806187" y="1747240"/>
                    </a:lnTo>
                    <a:lnTo>
                      <a:pt x="3887153" y="784714"/>
                    </a:lnTo>
                    <a:cubicBezTo>
                      <a:pt x="3502840" y="495816"/>
                      <a:pt x="3512746" y="372650"/>
                      <a:pt x="2842606" y="18881"/>
                    </a:cubicBezTo>
                    <a:cubicBezTo>
                      <a:pt x="2541783" y="-38103"/>
                      <a:pt x="2417210" y="44060"/>
                      <a:pt x="2166745" y="130200"/>
                    </a:cubicBezTo>
                    <a:cubicBezTo>
                      <a:pt x="1932182" y="184534"/>
                      <a:pt x="1811587" y="315730"/>
                      <a:pt x="1435225" y="3766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63" name="Freeform 19">
                <a:extLst>
                  <a:ext uri="{FF2B5EF4-FFF2-40B4-BE49-F238E27FC236}">
                    <a16:creationId xmlns:a16="http://schemas.microsoft.com/office/drawing/2014/main" xmlns="" id="{92A9D9A2-B4B2-49DE-817B-4435928AD177}"/>
                  </a:ext>
                </a:extLst>
              </p:cNvPr>
              <p:cNvSpPr/>
              <p:nvPr/>
            </p:nvSpPr>
            <p:spPr>
              <a:xfrm flipH="1">
                <a:off x="2156087" y="2217893"/>
                <a:ext cx="1545584" cy="794676"/>
              </a:xfrm>
              <a:custGeom>
                <a:avLst/>
                <a:gdLst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35267 h 1979038"/>
                  <a:gd name="connsiteX1" fmla="*/ 659958 w 3347499"/>
                  <a:gd name="connsiteY1" fmla="*/ 78676 h 1979038"/>
                  <a:gd name="connsiteX2" fmla="*/ 373711 w 3347499"/>
                  <a:gd name="connsiteY2" fmla="*/ 23017 h 1979038"/>
                  <a:gd name="connsiteX3" fmla="*/ 95416 w 3347499"/>
                  <a:gd name="connsiteY3" fmla="*/ 38919 h 1979038"/>
                  <a:gd name="connsiteX4" fmla="*/ 111318 w 3347499"/>
                  <a:gd name="connsiteY4" fmla="*/ 134335 h 1979038"/>
                  <a:gd name="connsiteX5" fmla="*/ 0 w 3347499"/>
                  <a:gd name="connsiteY5" fmla="*/ 197946 h 1979038"/>
                  <a:gd name="connsiteX6" fmla="*/ 779228 w 3347499"/>
                  <a:gd name="connsiteY6" fmla="*/ 1247518 h 1979038"/>
                  <a:gd name="connsiteX7" fmla="*/ 1900362 w 3347499"/>
                  <a:gd name="connsiteY7" fmla="*/ 1979038 h 1979038"/>
                  <a:gd name="connsiteX8" fmla="*/ 3347499 w 3347499"/>
                  <a:gd name="connsiteY8" fmla="*/ 1637132 h 1979038"/>
                  <a:gd name="connsiteX9" fmla="*/ 1304013 w 3347499"/>
                  <a:gd name="connsiteY9" fmla="*/ 635267 h 1979038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11318 w 3347499"/>
                  <a:gd name="connsiteY4" fmla="*/ 153906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811033 w 3347499"/>
                  <a:gd name="connsiteY6" fmla="*/ 1243235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863437"/>
                  <a:gd name="connsiteX1" fmla="*/ 659958 w 3347499"/>
                  <a:gd name="connsiteY1" fmla="*/ 98247 h 1863437"/>
                  <a:gd name="connsiteX2" fmla="*/ 373711 w 3347499"/>
                  <a:gd name="connsiteY2" fmla="*/ 42588 h 1863437"/>
                  <a:gd name="connsiteX3" fmla="*/ 95416 w 3347499"/>
                  <a:gd name="connsiteY3" fmla="*/ 58490 h 1863437"/>
                  <a:gd name="connsiteX4" fmla="*/ 174928 w 3347499"/>
                  <a:gd name="connsiteY4" fmla="*/ 177759 h 1863437"/>
                  <a:gd name="connsiteX5" fmla="*/ 0 w 3347499"/>
                  <a:gd name="connsiteY5" fmla="*/ 217517 h 1863437"/>
                  <a:gd name="connsiteX6" fmla="*/ 811033 w 3347499"/>
                  <a:gd name="connsiteY6" fmla="*/ 1243235 h 1863437"/>
                  <a:gd name="connsiteX7" fmla="*/ 1924216 w 3347499"/>
                  <a:gd name="connsiteY7" fmla="*/ 1863437 h 1863437"/>
                  <a:gd name="connsiteX8" fmla="*/ 3347499 w 3347499"/>
                  <a:gd name="connsiteY8" fmla="*/ 1656703 h 1863437"/>
                  <a:gd name="connsiteX9" fmla="*/ 1304013 w 3347499"/>
                  <a:gd name="connsiteY9" fmla="*/ 654838 h 1863437"/>
                  <a:gd name="connsiteX0" fmla="*/ 1304013 w 3347499"/>
                  <a:gd name="connsiteY0" fmla="*/ 654838 h 1982707"/>
                  <a:gd name="connsiteX1" fmla="*/ 659958 w 3347499"/>
                  <a:gd name="connsiteY1" fmla="*/ 98247 h 1982707"/>
                  <a:gd name="connsiteX2" fmla="*/ 373711 w 3347499"/>
                  <a:gd name="connsiteY2" fmla="*/ 42588 h 1982707"/>
                  <a:gd name="connsiteX3" fmla="*/ 95416 w 3347499"/>
                  <a:gd name="connsiteY3" fmla="*/ 58490 h 1982707"/>
                  <a:gd name="connsiteX4" fmla="*/ 174928 w 3347499"/>
                  <a:gd name="connsiteY4" fmla="*/ 177759 h 1982707"/>
                  <a:gd name="connsiteX5" fmla="*/ 0 w 3347499"/>
                  <a:gd name="connsiteY5" fmla="*/ 217517 h 1982707"/>
                  <a:gd name="connsiteX6" fmla="*/ 811033 w 3347499"/>
                  <a:gd name="connsiteY6" fmla="*/ 1243235 h 1982707"/>
                  <a:gd name="connsiteX7" fmla="*/ 2146852 w 3347499"/>
                  <a:gd name="connsiteY7" fmla="*/ 1982707 h 1982707"/>
                  <a:gd name="connsiteX8" fmla="*/ 3347499 w 3347499"/>
                  <a:gd name="connsiteY8" fmla="*/ 1656703 h 1982707"/>
                  <a:gd name="connsiteX9" fmla="*/ 1304013 w 3347499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1304013 w 3387256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304013 w 3387256"/>
                  <a:gd name="connsiteY10" fmla="*/ 654838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72207 w 3753016"/>
                  <a:gd name="connsiteY11" fmla="*/ 630984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5192 h 1985110"/>
                  <a:gd name="connsiteX1" fmla="*/ 699714 w 3753016"/>
                  <a:gd name="connsiteY1" fmla="*/ 92698 h 1985110"/>
                  <a:gd name="connsiteX2" fmla="*/ 397565 w 3753016"/>
                  <a:gd name="connsiteY2" fmla="*/ 37040 h 1985110"/>
                  <a:gd name="connsiteX3" fmla="*/ 95416 w 3753016"/>
                  <a:gd name="connsiteY3" fmla="*/ 60893 h 1985110"/>
                  <a:gd name="connsiteX4" fmla="*/ 119269 w 3753016"/>
                  <a:gd name="connsiteY4" fmla="*/ 172211 h 1985110"/>
                  <a:gd name="connsiteX5" fmla="*/ 0 w 3753016"/>
                  <a:gd name="connsiteY5" fmla="*/ 219920 h 1985110"/>
                  <a:gd name="connsiteX6" fmla="*/ 811033 w 3753016"/>
                  <a:gd name="connsiteY6" fmla="*/ 1245638 h 1985110"/>
                  <a:gd name="connsiteX7" fmla="*/ 2146852 w 3753016"/>
                  <a:gd name="connsiteY7" fmla="*/ 1985110 h 1985110"/>
                  <a:gd name="connsiteX8" fmla="*/ 3753016 w 3753016"/>
                  <a:gd name="connsiteY8" fmla="*/ 1500080 h 1985110"/>
                  <a:gd name="connsiteX9" fmla="*/ 2409244 w 3753016"/>
                  <a:gd name="connsiteY9" fmla="*/ 1293347 h 1985110"/>
                  <a:gd name="connsiteX10" fmla="*/ 755373 w 3753016"/>
                  <a:gd name="connsiteY10" fmla="*/ 871927 h 1985110"/>
                  <a:gd name="connsiteX11" fmla="*/ 1311965 w 3753016"/>
                  <a:gd name="connsiteY11" fmla="*/ 665192 h 1985110"/>
                  <a:gd name="connsiteX0" fmla="*/ 1311965 w 3753016"/>
                  <a:gd name="connsiteY0" fmla="*/ 670630 h 1990548"/>
                  <a:gd name="connsiteX1" fmla="*/ 699714 w 3753016"/>
                  <a:gd name="connsiteY1" fmla="*/ 98136 h 1990548"/>
                  <a:gd name="connsiteX2" fmla="*/ 453224 w 3753016"/>
                  <a:gd name="connsiteY2" fmla="*/ 26576 h 1990548"/>
                  <a:gd name="connsiteX3" fmla="*/ 95416 w 3753016"/>
                  <a:gd name="connsiteY3" fmla="*/ 66331 h 1990548"/>
                  <a:gd name="connsiteX4" fmla="*/ 119269 w 3753016"/>
                  <a:gd name="connsiteY4" fmla="*/ 177649 h 1990548"/>
                  <a:gd name="connsiteX5" fmla="*/ 0 w 3753016"/>
                  <a:gd name="connsiteY5" fmla="*/ 225358 h 1990548"/>
                  <a:gd name="connsiteX6" fmla="*/ 811033 w 3753016"/>
                  <a:gd name="connsiteY6" fmla="*/ 1251076 h 1990548"/>
                  <a:gd name="connsiteX7" fmla="*/ 2146852 w 3753016"/>
                  <a:gd name="connsiteY7" fmla="*/ 1990548 h 1990548"/>
                  <a:gd name="connsiteX8" fmla="*/ 3753016 w 3753016"/>
                  <a:gd name="connsiteY8" fmla="*/ 1505518 h 1990548"/>
                  <a:gd name="connsiteX9" fmla="*/ 2409244 w 3753016"/>
                  <a:gd name="connsiteY9" fmla="*/ 1298785 h 1990548"/>
                  <a:gd name="connsiteX10" fmla="*/ 755373 w 3753016"/>
                  <a:gd name="connsiteY10" fmla="*/ 877365 h 1990548"/>
                  <a:gd name="connsiteX11" fmla="*/ 1311965 w 3753016"/>
                  <a:gd name="connsiteY11" fmla="*/ 670630 h 1990548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95416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37304 w 3778355"/>
                  <a:gd name="connsiteY0" fmla="*/ 671729 h 1991647"/>
                  <a:gd name="connsiteX1" fmla="*/ 725053 w 3778355"/>
                  <a:gd name="connsiteY1" fmla="*/ 99235 h 1991647"/>
                  <a:gd name="connsiteX2" fmla="*/ 478563 w 3778355"/>
                  <a:gd name="connsiteY2" fmla="*/ 27675 h 1991647"/>
                  <a:gd name="connsiteX3" fmla="*/ 152560 w 3778355"/>
                  <a:gd name="connsiteY3" fmla="*/ 67430 h 1991647"/>
                  <a:gd name="connsiteX4" fmla="*/ 232072 w 3778355"/>
                  <a:gd name="connsiteY4" fmla="*/ 186702 h 1991647"/>
                  <a:gd name="connsiteX5" fmla="*/ 25339 w 3778355"/>
                  <a:gd name="connsiteY5" fmla="*/ 226457 h 1991647"/>
                  <a:gd name="connsiteX6" fmla="*/ 836372 w 3778355"/>
                  <a:gd name="connsiteY6" fmla="*/ 1252175 h 1991647"/>
                  <a:gd name="connsiteX7" fmla="*/ 2172191 w 3778355"/>
                  <a:gd name="connsiteY7" fmla="*/ 1991647 h 1991647"/>
                  <a:gd name="connsiteX8" fmla="*/ 3778355 w 3778355"/>
                  <a:gd name="connsiteY8" fmla="*/ 1506617 h 1991647"/>
                  <a:gd name="connsiteX9" fmla="*/ 2434583 w 3778355"/>
                  <a:gd name="connsiteY9" fmla="*/ 1299884 h 1991647"/>
                  <a:gd name="connsiteX10" fmla="*/ 780712 w 3778355"/>
                  <a:gd name="connsiteY10" fmla="*/ 878464 h 1991647"/>
                  <a:gd name="connsiteX11" fmla="*/ 1337304 w 3778355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206733 w 3753016"/>
                  <a:gd name="connsiteY4" fmla="*/ 186702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9647"/>
                  <a:gd name="connsiteX1" fmla="*/ 699714 w 3753016"/>
                  <a:gd name="connsiteY1" fmla="*/ 99235 h 1929647"/>
                  <a:gd name="connsiteX2" fmla="*/ 453224 w 3753016"/>
                  <a:gd name="connsiteY2" fmla="*/ 27675 h 1929647"/>
                  <a:gd name="connsiteX3" fmla="*/ 127221 w 3753016"/>
                  <a:gd name="connsiteY3" fmla="*/ 67430 h 1929647"/>
                  <a:gd name="connsiteX4" fmla="*/ 166977 w 3753016"/>
                  <a:gd name="connsiteY4" fmla="*/ 154897 h 1929647"/>
                  <a:gd name="connsiteX5" fmla="*/ 0 w 3753016"/>
                  <a:gd name="connsiteY5" fmla="*/ 226457 h 1929647"/>
                  <a:gd name="connsiteX6" fmla="*/ 818984 w 3753016"/>
                  <a:gd name="connsiteY6" fmla="*/ 1347591 h 1929647"/>
                  <a:gd name="connsiteX7" fmla="*/ 2011680 w 3753016"/>
                  <a:gd name="connsiteY7" fmla="*/ 1928037 h 1929647"/>
                  <a:gd name="connsiteX8" fmla="*/ 3753016 w 3753016"/>
                  <a:gd name="connsiteY8" fmla="*/ 1506617 h 1929647"/>
                  <a:gd name="connsiteX9" fmla="*/ 2409244 w 3753016"/>
                  <a:gd name="connsiteY9" fmla="*/ 1299884 h 1929647"/>
                  <a:gd name="connsiteX10" fmla="*/ 755373 w 3753016"/>
                  <a:gd name="connsiteY10" fmla="*/ 878464 h 1929647"/>
                  <a:gd name="connsiteX11" fmla="*/ 1311965 w 3753016"/>
                  <a:gd name="connsiteY11" fmla="*/ 671729 h 19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53016" h="1929647">
                    <a:moveTo>
                      <a:pt x="1311965" y="671729"/>
                    </a:moveTo>
                    <a:cubicBezTo>
                      <a:pt x="1166191" y="480897"/>
                      <a:pt x="893195" y="-35936"/>
                      <a:pt x="699714" y="99235"/>
                    </a:cubicBezTo>
                    <a:cubicBezTo>
                      <a:pt x="667909" y="136342"/>
                      <a:pt x="636104" y="-73042"/>
                      <a:pt x="453224" y="27675"/>
                    </a:cubicBezTo>
                    <a:cubicBezTo>
                      <a:pt x="360459" y="32976"/>
                      <a:pt x="331304" y="-57141"/>
                      <a:pt x="127221" y="67430"/>
                    </a:cubicBezTo>
                    <a:cubicBezTo>
                      <a:pt x="74212" y="88634"/>
                      <a:pt x="188181" y="128392"/>
                      <a:pt x="166977" y="154897"/>
                    </a:cubicBezTo>
                    <a:cubicBezTo>
                      <a:pt x="145773" y="181402"/>
                      <a:pt x="70236" y="131041"/>
                      <a:pt x="0" y="226457"/>
                    </a:cubicBezTo>
                    <a:cubicBezTo>
                      <a:pt x="272995" y="600168"/>
                      <a:pt x="673210" y="1283981"/>
                      <a:pt x="818984" y="1347591"/>
                    </a:cubicBezTo>
                    <a:cubicBezTo>
                      <a:pt x="1216549" y="1541073"/>
                      <a:pt x="1741336" y="1885630"/>
                      <a:pt x="2011680" y="1928037"/>
                    </a:cubicBezTo>
                    <a:cubicBezTo>
                      <a:pt x="2266121" y="1954542"/>
                      <a:pt x="3172571" y="1647090"/>
                      <a:pt x="3753016" y="1506617"/>
                    </a:cubicBezTo>
                    <a:cubicBezTo>
                      <a:pt x="3697357" y="1407226"/>
                      <a:pt x="3208351" y="1168688"/>
                      <a:pt x="2409244" y="1299884"/>
                    </a:cubicBezTo>
                    <a:cubicBezTo>
                      <a:pt x="489003" y="1295909"/>
                      <a:pt x="734169" y="972555"/>
                      <a:pt x="755373" y="878464"/>
                    </a:cubicBezTo>
                    <a:cubicBezTo>
                      <a:pt x="816333" y="727390"/>
                      <a:pt x="1115833" y="695583"/>
                      <a:pt x="1311965" y="6717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61" name="직사각형 85">
              <a:extLst>
                <a:ext uri="{FF2B5EF4-FFF2-40B4-BE49-F238E27FC236}">
                  <a16:creationId xmlns:a16="http://schemas.microsoft.com/office/drawing/2014/main" xmlns="" id="{B7A92156-AF78-4CC0-91B2-B7A057A049DA}"/>
                </a:ext>
              </a:extLst>
            </p:cNvPr>
            <p:cNvSpPr/>
            <p:nvPr/>
          </p:nvSpPr>
          <p:spPr>
            <a:xfrm rot="18740140">
              <a:off x="1894195" y="2506511"/>
              <a:ext cx="285737" cy="70930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50800" dir="5400000" algn="ctr" rotWithShape="0">
                <a:srgbClr val="000000">
                  <a:alpha val="2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64" name="그룹 88">
            <a:extLst>
              <a:ext uri="{FF2B5EF4-FFF2-40B4-BE49-F238E27FC236}">
                <a16:creationId xmlns:a16="http://schemas.microsoft.com/office/drawing/2014/main" xmlns="" id="{90C15BBF-79BC-4354-8464-D36A001EFF62}"/>
              </a:ext>
            </a:extLst>
          </p:cNvPr>
          <p:cNvGrpSpPr/>
          <p:nvPr/>
        </p:nvGrpSpPr>
        <p:grpSpPr>
          <a:xfrm>
            <a:off x="293478" y="2038068"/>
            <a:ext cx="2523434" cy="1065203"/>
            <a:chOff x="1682410" y="2217893"/>
            <a:chExt cx="2019261" cy="852379"/>
          </a:xfrm>
          <a:solidFill>
            <a:schemeClr val="bg1">
              <a:lumMod val="85000"/>
            </a:schemeClr>
          </a:solidFill>
        </p:grpSpPr>
        <p:grpSp>
          <p:nvGrpSpPr>
            <p:cNvPr id="65" name="그룹 89">
              <a:extLst>
                <a:ext uri="{FF2B5EF4-FFF2-40B4-BE49-F238E27FC236}">
                  <a16:creationId xmlns:a16="http://schemas.microsoft.com/office/drawing/2014/main" xmlns="" id="{7FFBB734-A11A-4C7D-9E4D-81C7E1A809A7}"/>
                </a:ext>
              </a:extLst>
            </p:cNvPr>
            <p:cNvGrpSpPr/>
            <p:nvPr/>
          </p:nvGrpSpPr>
          <p:grpSpPr>
            <a:xfrm>
              <a:off x="1774163" y="2217893"/>
              <a:ext cx="1927508" cy="852379"/>
              <a:chOff x="1774163" y="2217893"/>
              <a:chExt cx="1927508" cy="852379"/>
            </a:xfrm>
            <a:grpFill/>
          </p:grpSpPr>
          <p:sp>
            <p:nvSpPr>
              <p:cNvPr id="67" name="Freeform 18">
                <a:extLst>
                  <a:ext uri="{FF2B5EF4-FFF2-40B4-BE49-F238E27FC236}">
                    <a16:creationId xmlns:a16="http://schemas.microsoft.com/office/drawing/2014/main" xmlns="" id="{D48C12DF-0664-472C-A991-3FD9C6AA1EF7}"/>
                  </a:ext>
                </a:extLst>
              </p:cNvPr>
              <p:cNvSpPr/>
              <p:nvPr/>
            </p:nvSpPr>
            <p:spPr>
              <a:xfrm flipH="1">
                <a:off x="1774163" y="2350717"/>
                <a:ext cx="1600825" cy="719555"/>
              </a:xfrm>
              <a:custGeom>
                <a:avLst/>
                <a:gdLst>
                  <a:gd name="connsiteX0" fmla="*/ 4126727 w 4126727"/>
                  <a:gd name="connsiteY0" fmla="*/ 866693 h 1836752"/>
                  <a:gd name="connsiteX1" fmla="*/ 2782957 w 4126727"/>
                  <a:gd name="connsiteY1" fmla="*/ 0 h 1836752"/>
                  <a:gd name="connsiteX2" fmla="*/ 2703444 w 4126727"/>
                  <a:gd name="connsiteY2" fmla="*/ 7952 h 1836752"/>
                  <a:gd name="connsiteX3" fmla="*/ 1375576 w 4126727"/>
                  <a:gd name="connsiteY3" fmla="*/ 326004 h 1836752"/>
                  <a:gd name="connsiteX4" fmla="*/ 0 w 4126727"/>
                  <a:gd name="connsiteY4" fmla="*/ 477079 h 1836752"/>
                  <a:gd name="connsiteX5" fmla="*/ 1574358 w 4126727"/>
                  <a:gd name="connsiteY5" fmla="*/ 898498 h 1836752"/>
                  <a:gd name="connsiteX6" fmla="*/ 2576223 w 4126727"/>
                  <a:gd name="connsiteY6" fmla="*/ 1280160 h 1836752"/>
                  <a:gd name="connsiteX7" fmla="*/ 3267986 w 4126727"/>
                  <a:gd name="connsiteY7" fmla="*/ 1836752 h 1836752"/>
                  <a:gd name="connsiteX8" fmla="*/ 4126727 w 4126727"/>
                  <a:gd name="connsiteY8" fmla="*/ 866693 h 1836752"/>
                  <a:gd name="connsiteX0" fmla="*/ 4126727 w 4126727"/>
                  <a:gd name="connsiteY0" fmla="*/ 884466 h 1854525"/>
                  <a:gd name="connsiteX1" fmla="*/ 2782957 w 4126727"/>
                  <a:gd name="connsiteY1" fmla="*/ 17773 h 1854525"/>
                  <a:gd name="connsiteX2" fmla="*/ 2703444 w 4126727"/>
                  <a:gd name="connsiteY2" fmla="*/ 25725 h 1854525"/>
                  <a:gd name="connsiteX3" fmla="*/ 1375576 w 4126727"/>
                  <a:gd name="connsiteY3" fmla="*/ 343777 h 1854525"/>
                  <a:gd name="connsiteX4" fmla="*/ 0 w 4126727"/>
                  <a:gd name="connsiteY4" fmla="*/ 494852 h 1854525"/>
                  <a:gd name="connsiteX5" fmla="*/ 1574358 w 4126727"/>
                  <a:gd name="connsiteY5" fmla="*/ 916271 h 1854525"/>
                  <a:gd name="connsiteX6" fmla="*/ 2576223 w 4126727"/>
                  <a:gd name="connsiteY6" fmla="*/ 1297933 h 1854525"/>
                  <a:gd name="connsiteX7" fmla="*/ 3267986 w 4126727"/>
                  <a:gd name="connsiteY7" fmla="*/ 1854525 h 1854525"/>
                  <a:gd name="connsiteX8" fmla="*/ 4126727 w 4126727"/>
                  <a:gd name="connsiteY8" fmla="*/ 884466 h 1854525"/>
                  <a:gd name="connsiteX0" fmla="*/ 1375576 w 4126727"/>
                  <a:gd name="connsiteY0" fmla="*/ 331865 h 1842613"/>
                  <a:gd name="connsiteX1" fmla="*/ 0 w 4126727"/>
                  <a:gd name="connsiteY1" fmla="*/ 482940 h 1842613"/>
                  <a:gd name="connsiteX2" fmla="*/ 1574358 w 4126727"/>
                  <a:gd name="connsiteY2" fmla="*/ 904359 h 1842613"/>
                  <a:gd name="connsiteX3" fmla="*/ 2576223 w 4126727"/>
                  <a:gd name="connsiteY3" fmla="*/ 1286021 h 1842613"/>
                  <a:gd name="connsiteX4" fmla="*/ 3267986 w 4126727"/>
                  <a:gd name="connsiteY4" fmla="*/ 1842613 h 1842613"/>
                  <a:gd name="connsiteX5" fmla="*/ 4126727 w 4126727"/>
                  <a:gd name="connsiteY5" fmla="*/ 872554 h 1842613"/>
                  <a:gd name="connsiteX6" fmla="*/ 2782957 w 4126727"/>
                  <a:gd name="connsiteY6" fmla="*/ 5861 h 1842613"/>
                  <a:gd name="connsiteX7" fmla="*/ 2794884 w 4126727"/>
                  <a:gd name="connsiteY7" fmla="*/ 105253 h 1842613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90578 h 1901326"/>
                  <a:gd name="connsiteX1" fmla="*/ 0 w 4063117"/>
                  <a:gd name="connsiteY1" fmla="*/ 541653 h 1901326"/>
                  <a:gd name="connsiteX2" fmla="*/ 1574358 w 4063117"/>
                  <a:gd name="connsiteY2" fmla="*/ 963072 h 1901326"/>
                  <a:gd name="connsiteX3" fmla="*/ 2576223 w 4063117"/>
                  <a:gd name="connsiteY3" fmla="*/ 1344734 h 1901326"/>
                  <a:gd name="connsiteX4" fmla="*/ 3267986 w 4063117"/>
                  <a:gd name="connsiteY4" fmla="*/ 1901326 h 1901326"/>
                  <a:gd name="connsiteX5" fmla="*/ 4063117 w 4063117"/>
                  <a:gd name="connsiteY5" fmla="*/ 994878 h 1901326"/>
                  <a:gd name="connsiteX6" fmla="*/ 2782957 w 4063117"/>
                  <a:gd name="connsiteY6" fmla="*/ 64574 h 1901326"/>
                  <a:gd name="connsiteX7" fmla="*/ 2178658 w 4063117"/>
                  <a:gd name="connsiteY7" fmla="*/ 96380 h 1901326"/>
                  <a:gd name="connsiteX8" fmla="*/ 1375576 w 4063117"/>
                  <a:gd name="connsiteY8" fmla="*/ 390578 h 1901326"/>
                  <a:gd name="connsiteX0" fmla="*/ 1375576 w 4063117"/>
                  <a:gd name="connsiteY0" fmla="*/ 383650 h 1894398"/>
                  <a:gd name="connsiteX1" fmla="*/ 0 w 4063117"/>
                  <a:gd name="connsiteY1" fmla="*/ 534725 h 1894398"/>
                  <a:gd name="connsiteX2" fmla="*/ 1574358 w 4063117"/>
                  <a:gd name="connsiteY2" fmla="*/ 956144 h 1894398"/>
                  <a:gd name="connsiteX3" fmla="*/ 2576223 w 4063117"/>
                  <a:gd name="connsiteY3" fmla="*/ 1337806 h 1894398"/>
                  <a:gd name="connsiteX4" fmla="*/ 3267986 w 4063117"/>
                  <a:gd name="connsiteY4" fmla="*/ 1894398 h 1894398"/>
                  <a:gd name="connsiteX5" fmla="*/ 4063117 w 4063117"/>
                  <a:gd name="connsiteY5" fmla="*/ 987950 h 1894398"/>
                  <a:gd name="connsiteX6" fmla="*/ 2782957 w 4063117"/>
                  <a:gd name="connsiteY6" fmla="*/ 57646 h 1894398"/>
                  <a:gd name="connsiteX7" fmla="*/ 2178658 w 4063117"/>
                  <a:gd name="connsiteY7" fmla="*/ 89452 h 1894398"/>
                  <a:gd name="connsiteX8" fmla="*/ 1375576 w 4063117"/>
                  <a:gd name="connsiteY8" fmla="*/ 383650 h 1894398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625109 w 4112003"/>
                  <a:gd name="connsiteY3" fmla="*/ 1280160 h 1836752"/>
                  <a:gd name="connsiteX4" fmla="*/ 3316872 w 4112003"/>
                  <a:gd name="connsiteY4" fmla="*/ 1836752 h 1836752"/>
                  <a:gd name="connsiteX5" fmla="*/ 4112003 w 4112003"/>
                  <a:gd name="connsiteY5" fmla="*/ 930304 h 1836752"/>
                  <a:gd name="connsiteX6" fmla="*/ 2831843 w 4112003"/>
                  <a:gd name="connsiteY6" fmla="*/ 0 h 1836752"/>
                  <a:gd name="connsiteX7" fmla="*/ 2227544 w 4112003"/>
                  <a:gd name="connsiteY7" fmla="*/ 31806 h 1836752"/>
                  <a:gd name="connsiteX8" fmla="*/ 1424462 w 4112003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132129 w 4112003"/>
                  <a:gd name="connsiteY3" fmla="*/ 993914 h 1836752"/>
                  <a:gd name="connsiteX4" fmla="*/ 2625109 w 4112003"/>
                  <a:gd name="connsiteY4" fmla="*/ 1280160 h 1836752"/>
                  <a:gd name="connsiteX5" fmla="*/ 3316872 w 4112003"/>
                  <a:gd name="connsiteY5" fmla="*/ 1836752 h 1836752"/>
                  <a:gd name="connsiteX6" fmla="*/ 4112003 w 4112003"/>
                  <a:gd name="connsiteY6" fmla="*/ 930304 h 1836752"/>
                  <a:gd name="connsiteX7" fmla="*/ 2831843 w 4112003"/>
                  <a:gd name="connsiteY7" fmla="*/ 0 h 1836752"/>
                  <a:gd name="connsiteX8" fmla="*/ 2227544 w 4112003"/>
                  <a:gd name="connsiteY8" fmla="*/ 31806 h 1836752"/>
                  <a:gd name="connsiteX9" fmla="*/ 1424462 w 4112003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38408 h 1849156"/>
                  <a:gd name="connsiteX1" fmla="*/ 59649 w 4122766"/>
                  <a:gd name="connsiteY1" fmla="*/ 489483 h 1849156"/>
                  <a:gd name="connsiteX2" fmla="*/ 1634007 w 4122766"/>
                  <a:gd name="connsiteY2" fmla="*/ 910902 h 1849156"/>
                  <a:gd name="connsiteX3" fmla="*/ 2142892 w 4122766"/>
                  <a:gd name="connsiteY3" fmla="*/ 1006318 h 1849156"/>
                  <a:gd name="connsiteX4" fmla="*/ 2635872 w 4122766"/>
                  <a:gd name="connsiteY4" fmla="*/ 1292564 h 1849156"/>
                  <a:gd name="connsiteX5" fmla="*/ 3327635 w 4122766"/>
                  <a:gd name="connsiteY5" fmla="*/ 1849156 h 1849156"/>
                  <a:gd name="connsiteX6" fmla="*/ 4122766 w 4122766"/>
                  <a:gd name="connsiteY6" fmla="*/ 942708 h 1849156"/>
                  <a:gd name="connsiteX7" fmla="*/ 2842606 w 4122766"/>
                  <a:gd name="connsiteY7" fmla="*/ 12404 h 1849156"/>
                  <a:gd name="connsiteX8" fmla="*/ 2238307 w 4122766"/>
                  <a:gd name="connsiteY8" fmla="*/ 44210 h 1849156"/>
                  <a:gd name="connsiteX9" fmla="*/ 1435225 w 4122766"/>
                  <a:gd name="connsiteY9" fmla="*/ 338408 h 1849156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39809 h 1850557"/>
                  <a:gd name="connsiteX1" fmla="*/ 59649 w 4122766"/>
                  <a:gd name="connsiteY1" fmla="*/ 490884 h 1850557"/>
                  <a:gd name="connsiteX2" fmla="*/ 1634007 w 4122766"/>
                  <a:gd name="connsiteY2" fmla="*/ 912303 h 1850557"/>
                  <a:gd name="connsiteX3" fmla="*/ 2142892 w 4122766"/>
                  <a:gd name="connsiteY3" fmla="*/ 1007719 h 1850557"/>
                  <a:gd name="connsiteX4" fmla="*/ 2635872 w 4122766"/>
                  <a:gd name="connsiteY4" fmla="*/ 1293965 h 1850557"/>
                  <a:gd name="connsiteX5" fmla="*/ 3327635 w 4122766"/>
                  <a:gd name="connsiteY5" fmla="*/ 1850557 h 1850557"/>
                  <a:gd name="connsiteX6" fmla="*/ 4122766 w 4122766"/>
                  <a:gd name="connsiteY6" fmla="*/ 944109 h 1850557"/>
                  <a:gd name="connsiteX7" fmla="*/ 2842606 w 4122766"/>
                  <a:gd name="connsiteY7" fmla="*/ 13805 h 1850557"/>
                  <a:gd name="connsiteX8" fmla="*/ 2166745 w 4122766"/>
                  <a:gd name="connsiteY8" fmla="*/ 93319 h 1850557"/>
                  <a:gd name="connsiteX9" fmla="*/ 1435225 w 4122766"/>
                  <a:gd name="connsiteY9" fmla="*/ 339809 h 1850557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76690 h 1887438"/>
                  <a:gd name="connsiteX1" fmla="*/ 59649 w 4122766"/>
                  <a:gd name="connsiteY1" fmla="*/ 527765 h 1887438"/>
                  <a:gd name="connsiteX2" fmla="*/ 1634007 w 4122766"/>
                  <a:gd name="connsiteY2" fmla="*/ 949184 h 1887438"/>
                  <a:gd name="connsiteX3" fmla="*/ 2142892 w 4122766"/>
                  <a:gd name="connsiteY3" fmla="*/ 1044600 h 1887438"/>
                  <a:gd name="connsiteX4" fmla="*/ 2635872 w 4122766"/>
                  <a:gd name="connsiteY4" fmla="*/ 1330846 h 1887438"/>
                  <a:gd name="connsiteX5" fmla="*/ 3327635 w 4122766"/>
                  <a:gd name="connsiteY5" fmla="*/ 1887438 h 1887438"/>
                  <a:gd name="connsiteX6" fmla="*/ 4122766 w 4122766"/>
                  <a:gd name="connsiteY6" fmla="*/ 980990 h 1887438"/>
                  <a:gd name="connsiteX7" fmla="*/ 2842606 w 4122766"/>
                  <a:gd name="connsiteY7" fmla="*/ 18881 h 1887438"/>
                  <a:gd name="connsiteX8" fmla="*/ 2166745 w 4122766"/>
                  <a:gd name="connsiteY8" fmla="*/ 130200 h 1887438"/>
                  <a:gd name="connsiteX9" fmla="*/ 1435225 w 4122766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548408 w 4067107"/>
                  <a:gd name="connsiteY4" fmla="*/ 1275187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089096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747240"/>
                  <a:gd name="connsiteX1" fmla="*/ 59649 w 4067107"/>
                  <a:gd name="connsiteY1" fmla="*/ 527765 h 1747240"/>
                  <a:gd name="connsiteX2" fmla="*/ 1634007 w 4067107"/>
                  <a:gd name="connsiteY2" fmla="*/ 949184 h 1747240"/>
                  <a:gd name="connsiteX3" fmla="*/ 2142892 w 4067107"/>
                  <a:gd name="connsiteY3" fmla="*/ 1044600 h 1747240"/>
                  <a:gd name="connsiteX4" fmla="*/ 2476846 w 4067107"/>
                  <a:gd name="connsiteY4" fmla="*/ 1378554 h 1747240"/>
                  <a:gd name="connsiteX5" fmla="*/ 3004138 w 4067107"/>
                  <a:gd name="connsiteY5" fmla="*/ 1747240 h 1747240"/>
                  <a:gd name="connsiteX6" fmla="*/ 4067107 w 4067107"/>
                  <a:gd name="connsiteY6" fmla="*/ 1036649 h 1747240"/>
                  <a:gd name="connsiteX7" fmla="*/ 2842606 w 4067107"/>
                  <a:gd name="connsiteY7" fmla="*/ 18881 h 1747240"/>
                  <a:gd name="connsiteX8" fmla="*/ 2166745 w 4067107"/>
                  <a:gd name="connsiteY8" fmla="*/ 130200 h 1747240"/>
                  <a:gd name="connsiteX9" fmla="*/ 1435225 w 4067107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3004138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2806187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7153" h="1747240">
                    <a:moveTo>
                      <a:pt x="1435225" y="376690"/>
                    </a:moveTo>
                    <a:cubicBezTo>
                      <a:pt x="921041" y="355486"/>
                      <a:pt x="168317" y="374040"/>
                      <a:pt x="59649" y="527765"/>
                    </a:cubicBezTo>
                    <a:cubicBezTo>
                      <a:pt x="-282257" y="890874"/>
                      <a:pt x="926341" y="920030"/>
                      <a:pt x="1634007" y="949184"/>
                    </a:cubicBezTo>
                    <a:cubicBezTo>
                      <a:pt x="1755927" y="988940"/>
                      <a:pt x="2020972" y="1004844"/>
                      <a:pt x="2142892" y="1044600"/>
                    </a:cubicBezTo>
                    <a:lnTo>
                      <a:pt x="2476846" y="1378554"/>
                    </a:lnTo>
                    <a:lnTo>
                      <a:pt x="2806187" y="1747240"/>
                    </a:lnTo>
                    <a:lnTo>
                      <a:pt x="3887153" y="784714"/>
                    </a:lnTo>
                    <a:cubicBezTo>
                      <a:pt x="3502840" y="495816"/>
                      <a:pt x="3512746" y="372650"/>
                      <a:pt x="2842606" y="18881"/>
                    </a:cubicBezTo>
                    <a:cubicBezTo>
                      <a:pt x="2541783" y="-38103"/>
                      <a:pt x="2417210" y="44060"/>
                      <a:pt x="2166745" y="130200"/>
                    </a:cubicBezTo>
                    <a:cubicBezTo>
                      <a:pt x="1932182" y="184534"/>
                      <a:pt x="1811587" y="315730"/>
                      <a:pt x="1435225" y="3766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68" name="Freeform 19">
                <a:extLst>
                  <a:ext uri="{FF2B5EF4-FFF2-40B4-BE49-F238E27FC236}">
                    <a16:creationId xmlns:a16="http://schemas.microsoft.com/office/drawing/2014/main" xmlns="" id="{E50F6835-6D34-4D88-954F-DE129D8E189B}"/>
                  </a:ext>
                </a:extLst>
              </p:cNvPr>
              <p:cNvSpPr/>
              <p:nvPr/>
            </p:nvSpPr>
            <p:spPr>
              <a:xfrm flipH="1">
                <a:off x="2156087" y="2217893"/>
                <a:ext cx="1545584" cy="794676"/>
              </a:xfrm>
              <a:custGeom>
                <a:avLst/>
                <a:gdLst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35267 h 1979038"/>
                  <a:gd name="connsiteX1" fmla="*/ 659958 w 3347499"/>
                  <a:gd name="connsiteY1" fmla="*/ 78676 h 1979038"/>
                  <a:gd name="connsiteX2" fmla="*/ 373711 w 3347499"/>
                  <a:gd name="connsiteY2" fmla="*/ 23017 h 1979038"/>
                  <a:gd name="connsiteX3" fmla="*/ 95416 w 3347499"/>
                  <a:gd name="connsiteY3" fmla="*/ 38919 h 1979038"/>
                  <a:gd name="connsiteX4" fmla="*/ 111318 w 3347499"/>
                  <a:gd name="connsiteY4" fmla="*/ 134335 h 1979038"/>
                  <a:gd name="connsiteX5" fmla="*/ 0 w 3347499"/>
                  <a:gd name="connsiteY5" fmla="*/ 197946 h 1979038"/>
                  <a:gd name="connsiteX6" fmla="*/ 779228 w 3347499"/>
                  <a:gd name="connsiteY6" fmla="*/ 1247518 h 1979038"/>
                  <a:gd name="connsiteX7" fmla="*/ 1900362 w 3347499"/>
                  <a:gd name="connsiteY7" fmla="*/ 1979038 h 1979038"/>
                  <a:gd name="connsiteX8" fmla="*/ 3347499 w 3347499"/>
                  <a:gd name="connsiteY8" fmla="*/ 1637132 h 1979038"/>
                  <a:gd name="connsiteX9" fmla="*/ 1304013 w 3347499"/>
                  <a:gd name="connsiteY9" fmla="*/ 635267 h 1979038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11318 w 3347499"/>
                  <a:gd name="connsiteY4" fmla="*/ 153906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811033 w 3347499"/>
                  <a:gd name="connsiteY6" fmla="*/ 1243235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863437"/>
                  <a:gd name="connsiteX1" fmla="*/ 659958 w 3347499"/>
                  <a:gd name="connsiteY1" fmla="*/ 98247 h 1863437"/>
                  <a:gd name="connsiteX2" fmla="*/ 373711 w 3347499"/>
                  <a:gd name="connsiteY2" fmla="*/ 42588 h 1863437"/>
                  <a:gd name="connsiteX3" fmla="*/ 95416 w 3347499"/>
                  <a:gd name="connsiteY3" fmla="*/ 58490 h 1863437"/>
                  <a:gd name="connsiteX4" fmla="*/ 174928 w 3347499"/>
                  <a:gd name="connsiteY4" fmla="*/ 177759 h 1863437"/>
                  <a:gd name="connsiteX5" fmla="*/ 0 w 3347499"/>
                  <a:gd name="connsiteY5" fmla="*/ 217517 h 1863437"/>
                  <a:gd name="connsiteX6" fmla="*/ 811033 w 3347499"/>
                  <a:gd name="connsiteY6" fmla="*/ 1243235 h 1863437"/>
                  <a:gd name="connsiteX7" fmla="*/ 1924216 w 3347499"/>
                  <a:gd name="connsiteY7" fmla="*/ 1863437 h 1863437"/>
                  <a:gd name="connsiteX8" fmla="*/ 3347499 w 3347499"/>
                  <a:gd name="connsiteY8" fmla="*/ 1656703 h 1863437"/>
                  <a:gd name="connsiteX9" fmla="*/ 1304013 w 3347499"/>
                  <a:gd name="connsiteY9" fmla="*/ 654838 h 1863437"/>
                  <a:gd name="connsiteX0" fmla="*/ 1304013 w 3347499"/>
                  <a:gd name="connsiteY0" fmla="*/ 654838 h 1982707"/>
                  <a:gd name="connsiteX1" fmla="*/ 659958 w 3347499"/>
                  <a:gd name="connsiteY1" fmla="*/ 98247 h 1982707"/>
                  <a:gd name="connsiteX2" fmla="*/ 373711 w 3347499"/>
                  <a:gd name="connsiteY2" fmla="*/ 42588 h 1982707"/>
                  <a:gd name="connsiteX3" fmla="*/ 95416 w 3347499"/>
                  <a:gd name="connsiteY3" fmla="*/ 58490 h 1982707"/>
                  <a:gd name="connsiteX4" fmla="*/ 174928 w 3347499"/>
                  <a:gd name="connsiteY4" fmla="*/ 177759 h 1982707"/>
                  <a:gd name="connsiteX5" fmla="*/ 0 w 3347499"/>
                  <a:gd name="connsiteY5" fmla="*/ 217517 h 1982707"/>
                  <a:gd name="connsiteX6" fmla="*/ 811033 w 3347499"/>
                  <a:gd name="connsiteY6" fmla="*/ 1243235 h 1982707"/>
                  <a:gd name="connsiteX7" fmla="*/ 2146852 w 3347499"/>
                  <a:gd name="connsiteY7" fmla="*/ 1982707 h 1982707"/>
                  <a:gd name="connsiteX8" fmla="*/ 3347499 w 3347499"/>
                  <a:gd name="connsiteY8" fmla="*/ 1656703 h 1982707"/>
                  <a:gd name="connsiteX9" fmla="*/ 1304013 w 3347499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1304013 w 3387256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304013 w 3387256"/>
                  <a:gd name="connsiteY10" fmla="*/ 654838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72207 w 3753016"/>
                  <a:gd name="connsiteY11" fmla="*/ 630984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5192 h 1985110"/>
                  <a:gd name="connsiteX1" fmla="*/ 699714 w 3753016"/>
                  <a:gd name="connsiteY1" fmla="*/ 92698 h 1985110"/>
                  <a:gd name="connsiteX2" fmla="*/ 397565 w 3753016"/>
                  <a:gd name="connsiteY2" fmla="*/ 37040 h 1985110"/>
                  <a:gd name="connsiteX3" fmla="*/ 95416 w 3753016"/>
                  <a:gd name="connsiteY3" fmla="*/ 60893 h 1985110"/>
                  <a:gd name="connsiteX4" fmla="*/ 119269 w 3753016"/>
                  <a:gd name="connsiteY4" fmla="*/ 172211 h 1985110"/>
                  <a:gd name="connsiteX5" fmla="*/ 0 w 3753016"/>
                  <a:gd name="connsiteY5" fmla="*/ 219920 h 1985110"/>
                  <a:gd name="connsiteX6" fmla="*/ 811033 w 3753016"/>
                  <a:gd name="connsiteY6" fmla="*/ 1245638 h 1985110"/>
                  <a:gd name="connsiteX7" fmla="*/ 2146852 w 3753016"/>
                  <a:gd name="connsiteY7" fmla="*/ 1985110 h 1985110"/>
                  <a:gd name="connsiteX8" fmla="*/ 3753016 w 3753016"/>
                  <a:gd name="connsiteY8" fmla="*/ 1500080 h 1985110"/>
                  <a:gd name="connsiteX9" fmla="*/ 2409244 w 3753016"/>
                  <a:gd name="connsiteY9" fmla="*/ 1293347 h 1985110"/>
                  <a:gd name="connsiteX10" fmla="*/ 755373 w 3753016"/>
                  <a:gd name="connsiteY10" fmla="*/ 871927 h 1985110"/>
                  <a:gd name="connsiteX11" fmla="*/ 1311965 w 3753016"/>
                  <a:gd name="connsiteY11" fmla="*/ 665192 h 1985110"/>
                  <a:gd name="connsiteX0" fmla="*/ 1311965 w 3753016"/>
                  <a:gd name="connsiteY0" fmla="*/ 670630 h 1990548"/>
                  <a:gd name="connsiteX1" fmla="*/ 699714 w 3753016"/>
                  <a:gd name="connsiteY1" fmla="*/ 98136 h 1990548"/>
                  <a:gd name="connsiteX2" fmla="*/ 453224 w 3753016"/>
                  <a:gd name="connsiteY2" fmla="*/ 26576 h 1990548"/>
                  <a:gd name="connsiteX3" fmla="*/ 95416 w 3753016"/>
                  <a:gd name="connsiteY3" fmla="*/ 66331 h 1990548"/>
                  <a:gd name="connsiteX4" fmla="*/ 119269 w 3753016"/>
                  <a:gd name="connsiteY4" fmla="*/ 177649 h 1990548"/>
                  <a:gd name="connsiteX5" fmla="*/ 0 w 3753016"/>
                  <a:gd name="connsiteY5" fmla="*/ 225358 h 1990548"/>
                  <a:gd name="connsiteX6" fmla="*/ 811033 w 3753016"/>
                  <a:gd name="connsiteY6" fmla="*/ 1251076 h 1990548"/>
                  <a:gd name="connsiteX7" fmla="*/ 2146852 w 3753016"/>
                  <a:gd name="connsiteY7" fmla="*/ 1990548 h 1990548"/>
                  <a:gd name="connsiteX8" fmla="*/ 3753016 w 3753016"/>
                  <a:gd name="connsiteY8" fmla="*/ 1505518 h 1990548"/>
                  <a:gd name="connsiteX9" fmla="*/ 2409244 w 3753016"/>
                  <a:gd name="connsiteY9" fmla="*/ 1298785 h 1990548"/>
                  <a:gd name="connsiteX10" fmla="*/ 755373 w 3753016"/>
                  <a:gd name="connsiteY10" fmla="*/ 877365 h 1990548"/>
                  <a:gd name="connsiteX11" fmla="*/ 1311965 w 3753016"/>
                  <a:gd name="connsiteY11" fmla="*/ 670630 h 1990548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95416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37304 w 3778355"/>
                  <a:gd name="connsiteY0" fmla="*/ 671729 h 1991647"/>
                  <a:gd name="connsiteX1" fmla="*/ 725053 w 3778355"/>
                  <a:gd name="connsiteY1" fmla="*/ 99235 h 1991647"/>
                  <a:gd name="connsiteX2" fmla="*/ 478563 w 3778355"/>
                  <a:gd name="connsiteY2" fmla="*/ 27675 h 1991647"/>
                  <a:gd name="connsiteX3" fmla="*/ 152560 w 3778355"/>
                  <a:gd name="connsiteY3" fmla="*/ 67430 h 1991647"/>
                  <a:gd name="connsiteX4" fmla="*/ 232072 w 3778355"/>
                  <a:gd name="connsiteY4" fmla="*/ 186702 h 1991647"/>
                  <a:gd name="connsiteX5" fmla="*/ 25339 w 3778355"/>
                  <a:gd name="connsiteY5" fmla="*/ 226457 h 1991647"/>
                  <a:gd name="connsiteX6" fmla="*/ 836372 w 3778355"/>
                  <a:gd name="connsiteY6" fmla="*/ 1252175 h 1991647"/>
                  <a:gd name="connsiteX7" fmla="*/ 2172191 w 3778355"/>
                  <a:gd name="connsiteY7" fmla="*/ 1991647 h 1991647"/>
                  <a:gd name="connsiteX8" fmla="*/ 3778355 w 3778355"/>
                  <a:gd name="connsiteY8" fmla="*/ 1506617 h 1991647"/>
                  <a:gd name="connsiteX9" fmla="*/ 2434583 w 3778355"/>
                  <a:gd name="connsiteY9" fmla="*/ 1299884 h 1991647"/>
                  <a:gd name="connsiteX10" fmla="*/ 780712 w 3778355"/>
                  <a:gd name="connsiteY10" fmla="*/ 878464 h 1991647"/>
                  <a:gd name="connsiteX11" fmla="*/ 1337304 w 3778355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206733 w 3753016"/>
                  <a:gd name="connsiteY4" fmla="*/ 186702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9647"/>
                  <a:gd name="connsiteX1" fmla="*/ 699714 w 3753016"/>
                  <a:gd name="connsiteY1" fmla="*/ 99235 h 1929647"/>
                  <a:gd name="connsiteX2" fmla="*/ 453224 w 3753016"/>
                  <a:gd name="connsiteY2" fmla="*/ 27675 h 1929647"/>
                  <a:gd name="connsiteX3" fmla="*/ 127221 w 3753016"/>
                  <a:gd name="connsiteY3" fmla="*/ 67430 h 1929647"/>
                  <a:gd name="connsiteX4" fmla="*/ 166977 w 3753016"/>
                  <a:gd name="connsiteY4" fmla="*/ 154897 h 1929647"/>
                  <a:gd name="connsiteX5" fmla="*/ 0 w 3753016"/>
                  <a:gd name="connsiteY5" fmla="*/ 226457 h 1929647"/>
                  <a:gd name="connsiteX6" fmla="*/ 818984 w 3753016"/>
                  <a:gd name="connsiteY6" fmla="*/ 1347591 h 1929647"/>
                  <a:gd name="connsiteX7" fmla="*/ 2011680 w 3753016"/>
                  <a:gd name="connsiteY7" fmla="*/ 1928037 h 1929647"/>
                  <a:gd name="connsiteX8" fmla="*/ 3753016 w 3753016"/>
                  <a:gd name="connsiteY8" fmla="*/ 1506617 h 1929647"/>
                  <a:gd name="connsiteX9" fmla="*/ 2409244 w 3753016"/>
                  <a:gd name="connsiteY9" fmla="*/ 1299884 h 1929647"/>
                  <a:gd name="connsiteX10" fmla="*/ 755373 w 3753016"/>
                  <a:gd name="connsiteY10" fmla="*/ 878464 h 1929647"/>
                  <a:gd name="connsiteX11" fmla="*/ 1311965 w 3753016"/>
                  <a:gd name="connsiteY11" fmla="*/ 671729 h 19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53016" h="1929647">
                    <a:moveTo>
                      <a:pt x="1311965" y="671729"/>
                    </a:moveTo>
                    <a:cubicBezTo>
                      <a:pt x="1166191" y="480897"/>
                      <a:pt x="893195" y="-35936"/>
                      <a:pt x="699714" y="99235"/>
                    </a:cubicBezTo>
                    <a:cubicBezTo>
                      <a:pt x="667909" y="136342"/>
                      <a:pt x="636104" y="-73042"/>
                      <a:pt x="453224" y="27675"/>
                    </a:cubicBezTo>
                    <a:cubicBezTo>
                      <a:pt x="360459" y="32976"/>
                      <a:pt x="331304" y="-57141"/>
                      <a:pt x="127221" y="67430"/>
                    </a:cubicBezTo>
                    <a:cubicBezTo>
                      <a:pt x="74212" y="88634"/>
                      <a:pt x="188181" y="128392"/>
                      <a:pt x="166977" y="154897"/>
                    </a:cubicBezTo>
                    <a:cubicBezTo>
                      <a:pt x="145773" y="181402"/>
                      <a:pt x="70236" y="131041"/>
                      <a:pt x="0" y="226457"/>
                    </a:cubicBezTo>
                    <a:cubicBezTo>
                      <a:pt x="272995" y="600168"/>
                      <a:pt x="673210" y="1283981"/>
                      <a:pt x="818984" y="1347591"/>
                    </a:cubicBezTo>
                    <a:cubicBezTo>
                      <a:pt x="1216549" y="1541073"/>
                      <a:pt x="1741336" y="1885630"/>
                      <a:pt x="2011680" y="1928037"/>
                    </a:cubicBezTo>
                    <a:cubicBezTo>
                      <a:pt x="2266121" y="1954542"/>
                      <a:pt x="3172571" y="1647090"/>
                      <a:pt x="3753016" y="1506617"/>
                    </a:cubicBezTo>
                    <a:cubicBezTo>
                      <a:pt x="3697357" y="1407226"/>
                      <a:pt x="3208351" y="1168688"/>
                      <a:pt x="2409244" y="1299884"/>
                    </a:cubicBezTo>
                    <a:cubicBezTo>
                      <a:pt x="489003" y="1295909"/>
                      <a:pt x="734169" y="972555"/>
                      <a:pt x="755373" y="878464"/>
                    </a:cubicBezTo>
                    <a:cubicBezTo>
                      <a:pt x="816333" y="727390"/>
                      <a:pt x="1115833" y="695583"/>
                      <a:pt x="1311965" y="6717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66" name="직사각형 90">
              <a:extLst>
                <a:ext uri="{FF2B5EF4-FFF2-40B4-BE49-F238E27FC236}">
                  <a16:creationId xmlns:a16="http://schemas.microsoft.com/office/drawing/2014/main" xmlns="" id="{3F6021CE-E5CA-46D5-BA80-FD296DC09948}"/>
                </a:ext>
              </a:extLst>
            </p:cNvPr>
            <p:cNvSpPr/>
            <p:nvPr/>
          </p:nvSpPr>
          <p:spPr>
            <a:xfrm rot="18740140">
              <a:off x="1894195" y="2506511"/>
              <a:ext cx="285737" cy="7093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50800" dir="5400000" algn="ctr" rotWithShape="0">
                <a:srgbClr val="000000">
                  <a:alpha val="2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69" name="그룹 93">
            <a:extLst>
              <a:ext uri="{FF2B5EF4-FFF2-40B4-BE49-F238E27FC236}">
                <a16:creationId xmlns:a16="http://schemas.microsoft.com/office/drawing/2014/main" xmlns="" id="{F0797998-48C0-480D-A175-D9F86622E9B7}"/>
              </a:ext>
            </a:extLst>
          </p:cNvPr>
          <p:cNvGrpSpPr/>
          <p:nvPr/>
        </p:nvGrpSpPr>
        <p:grpSpPr>
          <a:xfrm rot="10800000" flipV="1">
            <a:off x="9455779" y="5435099"/>
            <a:ext cx="2523434" cy="1065203"/>
            <a:chOff x="1682410" y="2217893"/>
            <a:chExt cx="2019261" cy="852379"/>
          </a:xfrm>
          <a:solidFill>
            <a:schemeClr val="bg1">
              <a:lumMod val="85000"/>
            </a:schemeClr>
          </a:solidFill>
        </p:grpSpPr>
        <p:grpSp>
          <p:nvGrpSpPr>
            <p:cNvPr id="70" name="그룹 94">
              <a:extLst>
                <a:ext uri="{FF2B5EF4-FFF2-40B4-BE49-F238E27FC236}">
                  <a16:creationId xmlns:a16="http://schemas.microsoft.com/office/drawing/2014/main" xmlns="" id="{E44D978B-0B71-4F74-942B-E949AF329071}"/>
                </a:ext>
              </a:extLst>
            </p:cNvPr>
            <p:cNvGrpSpPr/>
            <p:nvPr/>
          </p:nvGrpSpPr>
          <p:grpSpPr>
            <a:xfrm>
              <a:off x="1774163" y="2217893"/>
              <a:ext cx="1927508" cy="852379"/>
              <a:chOff x="1774163" y="2217893"/>
              <a:chExt cx="1927508" cy="852379"/>
            </a:xfrm>
            <a:grpFill/>
          </p:grpSpPr>
          <p:sp>
            <p:nvSpPr>
              <p:cNvPr id="72" name="Freeform 18">
                <a:extLst>
                  <a:ext uri="{FF2B5EF4-FFF2-40B4-BE49-F238E27FC236}">
                    <a16:creationId xmlns:a16="http://schemas.microsoft.com/office/drawing/2014/main" xmlns="" id="{31AD42C8-14D7-4BB6-81B7-86F5919B5DFC}"/>
                  </a:ext>
                </a:extLst>
              </p:cNvPr>
              <p:cNvSpPr/>
              <p:nvPr/>
            </p:nvSpPr>
            <p:spPr>
              <a:xfrm flipH="1">
                <a:off x="1774163" y="2350717"/>
                <a:ext cx="1600825" cy="719555"/>
              </a:xfrm>
              <a:custGeom>
                <a:avLst/>
                <a:gdLst>
                  <a:gd name="connsiteX0" fmla="*/ 4126727 w 4126727"/>
                  <a:gd name="connsiteY0" fmla="*/ 866693 h 1836752"/>
                  <a:gd name="connsiteX1" fmla="*/ 2782957 w 4126727"/>
                  <a:gd name="connsiteY1" fmla="*/ 0 h 1836752"/>
                  <a:gd name="connsiteX2" fmla="*/ 2703444 w 4126727"/>
                  <a:gd name="connsiteY2" fmla="*/ 7952 h 1836752"/>
                  <a:gd name="connsiteX3" fmla="*/ 1375576 w 4126727"/>
                  <a:gd name="connsiteY3" fmla="*/ 326004 h 1836752"/>
                  <a:gd name="connsiteX4" fmla="*/ 0 w 4126727"/>
                  <a:gd name="connsiteY4" fmla="*/ 477079 h 1836752"/>
                  <a:gd name="connsiteX5" fmla="*/ 1574358 w 4126727"/>
                  <a:gd name="connsiteY5" fmla="*/ 898498 h 1836752"/>
                  <a:gd name="connsiteX6" fmla="*/ 2576223 w 4126727"/>
                  <a:gd name="connsiteY6" fmla="*/ 1280160 h 1836752"/>
                  <a:gd name="connsiteX7" fmla="*/ 3267986 w 4126727"/>
                  <a:gd name="connsiteY7" fmla="*/ 1836752 h 1836752"/>
                  <a:gd name="connsiteX8" fmla="*/ 4126727 w 4126727"/>
                  <a:gd name="connsiteY8" fmla="*/ 866693 h 1836752"/>
                  <a:gd name="connsiteX0" fmla="*/ 4126727 w 4126727"/>
                  <a:gd name="connsiteY0" fmla="*/ 884466 h 1854525"/>
                  <a:gd name="connsiteX1" fmla="*/ 2782957 w 4126727"/>
                  <a:gd name="connsiteY1" fmla="*/ 17773 h 1854525"/>
                  <a:gd name="connsiteX2" fmla="*/ 2703444 w 4126727"/>
                  <a:gd name="connsiteY2" fmla="*/ 25725 h 1854525"/>
                  <a:gd name="connsiteX3" fmla="*/ 1375576 w 4126727"/>
                  <a:gd name="connsiteY3" fmla="*/ 343777 h 1854525"/>
                  <a:gd name="connsiteX4" fmla="*/ 0 w 4126727"/>
                  <a:gd name="connsiteY4" fmla="*/ 494852 h 1854525"/>
                  <a:gd name="connsiteX5" fmla="*/ 1574358 w 4126727"/>
                  <a:gd name="connsiteY5" fmla="*/ 916271 h 1854525"/>
                  <a:gd name="connsiteX6" fmla="*/ 2576223 w 4126727"/>
                  <a:gd name="connsiteY6" fmla="*/ 1297933 h 1854525"/>
                  <a:gd name="connsiteX7" fmla="*/ 3267986 w 4126727"/>
                  <a:gd name="connsiteY7" fmla="*/ 1854525 h 1854525"/>
                  <a:gd name="connsiteX8" fmla="*/ 4126727 w 4126727"/>
                  <a:gd name="connsiteY8" fmla="*/ 884466 h 1854525"/>
                  <a:gd name="connsiteX0" fmla="*/ 1375576 w 4126727"/>
                  <a:gd name="connsiteY0" fmla="*/ 331865 h 1842613"/>
                  <a:gd name="connsiteX1" fmla="*/ 0 w 4126727"/>
                  <a:gd name="connsiteY1" fmla="*/ 482940 h 1842613"/>
                  <a:gd name="connsiteX2" fmla="*/ 1574358 w 4126727"/>
                  <a:gd name="connsiteY2" fmla="*/ 904359 h 1842613"/>
                  <a:gd name="connsiteX3" fmla="*/ 2576223 w 4126727"/>
                  <a:gd name="connsiteY3" fmla="*/ 1286021 h 1842613"/>
                  <a:gd name="connsiteX4" fmla="*/ 3267986 w 4126727"/>
                  <a:gd name="connsiteY4" fmla="*/ 1842613 h 1842613"/>
                  <a:gd name="connsiteX5" fmla="*/ 4126727 w 4126727"/>
                  <a:gd name="connsiteY5" fmla="*/ 872554 h 1842613"/>
                  <a:gd name="connsiteX6" fmla="*/ 2782957 w 4126727"/>
                  <a:gd name="connsiteY6" fmla="*/ 5861 h 1842613"/>
                  <a:gd name="connsiteX7" fmla="*/ 2794884 w 4126727"/>
                  <a:gd name="connsiteY7" fmla="*/ 105253 h 1842613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90578 h 1901326"/>
                  <a:gd name="connsiteX1" fmla="*/ 0 w 4063117"/>
                  <a:gd name="connsiteY1" fmla="*/ 541653 h 1901326"/>
                  <a:gd name="connsiteX2" fmla="*/ 1574358 w 4063117"/>
                  <a:gd name="connsiteY2" fmla="*/ 963072 h 1901326"/>
                  <a:gd name="connsiteX3" fmla="*/ 2576223 w 4063117"/>
                  <a:gd name="connsiteY3" fmla="*/ 1344734 h 1901326"/>
                  <a:gd name="connsiteX4" fmla="*/ 3267986 w 4063117"/>
                  <a:gd name="connsiteY4" fmla="*/ 1901326 h 1901326"/>
                  <a:gd name="connsiteX5" fmla="*/ 4063117 w 4063117"/>
                  <a:gd name="connsiteY5" fmla="*/ 994878 h 1901326"/>
                  <a:gd name="connsiteX6" fmla="*/ 2782957 w 4063117"/>
                  <a:gd name="connsiteY6" fmla="*/ 64574 h 1901326"/>
                  <a:gd name="connsiteX7" fmla="*/ 2178658 w 4063117"/>
                  <a:gd name="connsiteY7" fmla="*/ 96380 h 1901326"/>
                  <a:gd name="connsiteX8" fmla="*/ 1375576 w 4063117"/>
                  <a:gd name="connsiteY8" fmla="*/ 390578 h 1901326"/>
                  <a:gd name="connsiteX0" fmla="*/ 1375576 w 4063117"/>
                  <a:gd name="connsiteY0" fmla="*/ 383650 h 1894398"/>
                  <a:gd name="connsiteX1" fmla="*/ 0 w 4063117"/>
                  <a:gd name="connsiteY1" fmla="*/ 534725 h 1894398"/>
                  <a:gd name="connsiteX2" fmla="*/ 1574358 w 4063117"/>
                  <a:gd name="connsiteY2" fmla="*/ 956144 h 1894398"/>
                  <a:gd name="connsiteX3" fmla="*/ 2576223 w 4063117"/>
                  <a:gd name="connsiteY3" fmla="*/ 1337806 h 1894398"/>
                  <a:gd name="connsiteX4" fmla="*/ 3267986 w 4063117"/>
                  <a:gd name="connsiteY4" fmla="*/ 1894398 h 1894398"/>
                  <a:gd name="connsiteX5" fmla="*/ 4063117 w 4063117"/>
                  <a:gd name="connsiteY5" fmla="*/ 987950 h 1894398"/>
                  <a:gd name="connsiteX6" fmla="*/ 2782957 w 4063117"/>
                  <a:gd name="connsiteY6" fmla="*/ 57646 h 1894398"/>
                  <a:gd name="connsiteX7" fmla="*/ 2178658 w 4063117"/>
                  <a:gd name="connsiteY7" fmla="*/ 89452 h 1894398"/>
                  <a:gd name="connsiteX8" fmla="*/ 1375576 w 4063117"/>
                  <a:gd name="connsiteY8" fmla="*/ 383650 h 1894398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625109 w 4112003"/>
                  <a:gd name="connsiteY3" fmla="*/ 1280160 h 1836752"/>
                  <a:gd name="connsiteX4" fmla="*/ 3316872 w 4112003"/>
                  <a:gd name="connsiteY4" fmla="*/ 1836752 h 1836752"/>
                  <a:gd name="connsiteX5" fmla="*/ 4112003 w 4112003"/>
                  <a:gd name="connsiteY5" fmla="*/ 930304 h 1836752"/>
                  <a:gd name="connsiteX6" fmla="*/ 2831843 w 4112003"/>
                  <a:gd name="connsiteY6" fmla="*/ 0 h 1836752"/>
                  <a:gd name="connsiteX7" fmla="*/ 2227544 w 4112003"/>
                  <a:gd name="connsiteY7" fmla="*/ 31806 h 1836752"/>
                  <a:gd name="connsiteX8" fmla="*/ 1424462 w 4112003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132129 w 4112003"/>
                  <a:gd name="connsiteY3" fmla="*/ 993914 h 1836752"/>
                  <a:gd name="connsiteX4" fmla="*/ 2625109 w 4112003"/>
                  <a:gd name="connsiteY4" fmla="*/ 1280160 h 1836752"/>
                  <a:gd name="connsiteX5" fmla="*/ 3316872 w 4112003"/>
                  <a:gd name="connsiteY5" fmla="*/ 1836752 h 1836752"/>
                  <a:gd name="connsiteX6" fmla="*/ 4112003 w 4112003"/>
                  <a:gd name="connsiteY6" fmla="*/ 930304 h 1836752"/>
                  <a:gd name="connsiteX7" fmla="*/ 2831843 w 4112003"/>
                  <a:gd name="connsiteY7" fmla="*/ 0 h 1836752"/>
                  <a:gd name="connsiteX8" fmla="*/ 2227544 w 4112003"/>
                  <a:gd name="connsiteY8" fmla="*/ 31806 h 1836752"/>
                  <a:gd name="connsiteX9" fmla="*/ 1424462 w 4112003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38408 h 1849156"/>
                  <a:gd name="connsiteX1" fmla="*/ 59649 w 4122766"/>
                  <a:gd name="connsiteY1" fmla="*/ 489483 h 1849156"/>
                  <a:gd name="connsiteX2" fmla="*/ 1634007 w 4122766"/>
                  <a:gd name="connsiteY2" fmla="*/ 910902 h 1849156"/>
                  <a:gd name="connsiteX3" fmla="*/ 2142892 w 4122766"/>
                  <a:gd name="connsiteY3" fmla="*/ 1006318 h 1849156"/>
                  <a:gd name="connsiteX4" fmla="*/ 2635872 w 4122766"/>
                  <a:gd name="connsiteY4" fmla="*/ 1292564 h 1849156"/>
                  <a:gd name="connsiteX5" fmla="*/ 3327635 w 4122766"/>
                  <a:gd name="connsiteY5" fmla="*/ 1849156 h 1849156"/>
                  <a:gd name="connsiteX6" fmla="*/ 4122766 w 4122766"/>
                  <a:gd name="connsiteY6" fmla="*/ 942708 h 1849156"/>
                  <a:gd name="connsiteX7" fmla="*/ 2842606 w 4122766"/>
                  <a:gd name="connsiteY7" fmla="*/ 12404 h 1849156"/>
                  <a:gd name="connsiteX8" fmla="*/ 2238307 w 4122766"/>
                  <a:gd name="connsiteY8" fmla="*/ 44210 h 1849156"/>
                  <a:gd name="connsiteX9" fmla="*/ 1435225 w 4122766"/>
                  <a:gd name="connsiteY9" fmla="*/ 338408 h 1849156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39809 h 1850557"/>
                  <a:gd name="connsiteX1" fmla="*/ 59649 w 4122766"/>
                  <a:gd name="connsiteY1" fmla="*/ 490884 h 1850557"/>
                  <a:gd name="connsiteX2" fmla="*/ 1634007 w 4122766"/>
                  <a:gd name="connsiteY2" fmla="*/ 912303 h 1850557"/>
                  <a:gd name="connsiteX3" fmla="*/ 2142892 w 4122766"/>
                  <a:gd name="connsiteY3" fmla="*/ 1007719 h 1850557"/>
                  <a:gd name="connsiteX4" fmla="*/ 2635872 w 4122766"/>
                  <a:gd name="connsiteY4" fmla="*/ 1293965 h 1850557"/>
                  <a:gd name="connsiteX5" fmla="*/ 3327635 w 4122766"/>
                  <a:gd name="connsiteY5" fmla="*/ 1850557 h 1850557"/>
                  <a:gd name="connsiteX6" fmla="*/ 4122766 w 4122766"/>
                  <a:gd name="connsiteY6" fmla="*/ 944109 h 1850557"/>
                  <a:gd name="connsiteX7" fmla="*/ 2842606 w 4122766"/>
                  <a:gd name="connsiteY7" fmla="*/ 13805 h 1850557"/>
                  <a:gd name="connsiteX8" fmla="*/ 2166745 w 4122766"/>
                  <a:gd name="connsiteY8" fmla="*/ 93319 h 1850557"/>
                  <a:gd name="connsiteX9" fmla="*/ 1435225 w 4122766"/>
                  <a:gd name="connsiteY9" fmla="*/ 339809 h 1850557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76690 h 1887438"/>
                  <a:gd name="connsiteX1" fmla="*/ 59649 w 4122766"/>
                  <a:gd name="connsiteY1" fmla="*/ 527765 h 1887438"/>
                  <a:gd name="connsiteX2" fmla="*/ 1634007 w 4122766"/>
                  <a:gd name="connsiteY2" fmla="*/ 949184 h 1887438"/>
                  <a:gd name="connsiteX3" fmla="*/ 2142892 w 4122766"/>
                  <a:gd name="connsiteY3" fmla="*/ 1044600 h 1887438"/>
                  <a:gd name="connsiteX4" fmla="*/ 2635872 w 4122766"/>
                  <a:gd name="connsiteY4" fmla="*/ 1330846 h 1887438"/>
                  <a:gd name="connsiteX5" fmla="*/ 3327635 w 4122766"/>
                  <a:gd name="connsiteY5" fmla="*/ 1887438 h 1887438"/>
                  <a:gd name="connsiteX6" fmla="*/ 4122766 w 4122766"/>
                  <a:gd name="connsiteY6" fmla="*/ 980990 h 1887438"/>
                  <a:gd name="connsiteX7" fmla="*/ 2842606 w 4122766"/>
                  <a:gd name="connsiteY7" fmla="*/ 18881 h 1887438"/>
                  <a:gd name="connsiteX8" fmla="*/ 2166745 w 4122766"/>
                  <a:gd name="connsiteY8" fmla="*/ 130200 h 1887438"/>
                  <a:gd name="connsiteX9" fmla="*/ 1435225 w 4122766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548408 w 4067107"/>
                  <a:gd name="connsiteY4" fmla="*/ 1275187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089096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747240"/>
                  <a:gd name="connsiteX1" fmla="*/ 59649 w 4067107"/>
                  <a:gd name="connsiteY1" fmla="*/ 527765 h 1747240"/>
                  <a:gd name="connsiteX2" fmla="*/ 1634007 w 4067107"/>
                  <a:gd name="connsiteY2" fmla="*/ 949184 h 1747240"/>
                  <a:gd name="connsiteX3" fmla="*/ 2142892 w 4067107"/>
                  <a:gd name="connsiteY3" fmla="*/ 1044600 h 1747240"/>
                  <a:gd name="connsiteX4" fmla="*/ 2476846 w 4067107"/>
                  <a:gd name="connsiteY4" fmla="*/ 1378554 h 1747240"/>
                  <a:gd name="connsiteX5" fmla="*/ 3004138 w 4067107"/>
                  <a:gd name="connsiteY5" fmla="*/ 1747240 h 1747240"/>
                  <a:gd name="connsiteX6" fmla="*/ 4067107 w 4067107"/>
                  <a:gd name="connsiteY6" fmla="*/ 1036649 h 1747240"/>
                  <a:gd name="connsiteX7" fmla="*/ 2842606 w 4067107"/>
                  <a:gd name="connsiteY7" fmla="*/ 18881 h 1747240"/>
                  <a:gd name="connsiteX8" fmla="*/ 2166745 w 4067107"/>
                  <a:gd name="connsiteY8" fmla="*/ 130200 h 1747240"/>
                  <a:gd name="connsiteX9" fmla="*/ 1435225 w 4067107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3004138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2806187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7153" h="1747240">
                    <a:moveTo>
                      <a:pt x="1435225" y="376690"/>
                    </a:moveTo>
                    <a:cubicBezTo>
                      <a:pt x="921041" y="355486"/>
                      <a:pt x="168317" y="374040"/>
                      <a:pt x="59649" y="527765"/>
                    </a:cubicBezTo>
                    <a:cubicBezTo>
                      <a:pt x="-282257" y="890874"/>
                      <a:pt x="926341" y="920030"/>
                      <a:pt x="1634007" y="949184"/>
                    </a:cubicBezTo>
                    <a:cubicBezTo>
                      <a:pt x="1755927" y="988940"/>
                      <a:pt x="2020972" y="1004844"/>
                      <a:pt x="2142892" y="1044600"/>
                    </a:cubicBezTo>
                    <a:lnTo>
                      <a:pt x="2476846" y="1378554"/>
                    </a:lnTo>
                    <a:lnTo>
                      <a:pt x="2806187" y="1747240"/>
                    </a:lnTo>
                    <a:lnTo>
                      <a:pt x="3887153" y="784714"/>
                    </a:lnTo>
                    <a:cubicBezTo>
                      <a:pt x="3502840" y="495816"/>
                      <a:pt x="3512746" y="372650"/>
                      <a:pt x="2842606" y="18881"/>
                    </a:cubicBezTo>
                    <a:cubicBezTo>
                      <a:pt x="2541783" y="-38103"/>
                      <a:pt x="2417210" y="44060"/>
                      <a:pt x="2166745" y="130200"/>
                    </a:cubicBezTo>
                    <a:cubicBezTo>
                      <a:pt x="1932182" y="184534"/>
                      <a:pt x="1811587" y="315730"/>
                      <a:pt x="1435225" y="3766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3" name="Freeform 19">
                <a:extLst>
                  <a:ext uri="{FF2B5EF4-FFF2-40B4-BE49-F238E27FC236}">
                    <a16:creationId xmlns:a16="http://schemas.microsoft.com/office/drawing/2014/main" xmlns="" id="{5ADD6B09-F150-4B20-A7FF-9DC706C8A919}"/>
                  </a:ext>
                </a:extLst>
              </p:cNvPr>
              <p:cNvSpPr/>
              <p:nvPr/>
            </p:nvSpPr>
            <p:spPr>
              <a:xfrm flipH="1">
                <a:off x="2156087" y="2217893"/>
                <a:ext cx="1545584" cy="794676"/>
              </a:xfrm>
              <a:custGeom>
                <a:avLst/>
                <a:gdLst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35267 h 1979038"/>
                  <a:gd name="connsiteX1" fmla="*/ 659958 w 3347499"/>
                  <a:gd name="connsiteY1" fmla="*/ 78676 h 1979038"/>
                  <a:gd name="connsiteX2" fmla="*/ 373711 w 3347499"/>
                  <a:gd name="connsiteY2" fmla="*/ 23017 h 1979038"/>
                  <a:gd name="connsiteX3" fmla="*/ 95416 w 3347499"/>
                  <a:gd name="connsiteY3" fmla="*/ 38919 h 1979038"/>
                  <a:gd name="connsiteX4" fmla="*/ 111318 w 3347499"/>
                  <a:gd name="connsiteY4" fmla="*/ 134335 h 1979038"/>
                  <a:gd name="connsiteX5" fmla="*/ 0 w 3347499"/>
                  <a:gd name="connsiteY5" fmla="*/ 197946 h 1979038"/>
                  <a:gd name="connsiteX6" fmla="*/ 779228 w 3347499"/>
                  <a:gd name="connsiteY6" fmla="*/ 1247518 h 1979038"/>
                  <a:gd name="connsiteX7" fmla="*/ 1900362 w 3347499"/>
                  <a:gd name="connsiteY7" fmla="*/ 1979038 h 1979038"/>
                  <a:gd name="connsiteX8" fmla="*/ 3347499 w 3347499"/>
                  <a:gd name="connsiteY8" fmla="*/ 1637132 h 1979038"/>
                  <a:gd name="connsiteX9" fmla="*/ 1304013 w 3347499"/>
                  <a:gd name="connsiteY9" fmla="*/ 635267 h 1979038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11318 w 3347499"/>
                  <a:gd name="connsiteY4" fmla="*/ 153906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811033 w 3347499"/>
                  <a:gd name="connsiteY6" fmla="*/ 1243235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863437"/>
                  <a:gd name="connsiteX1" fmla="*/ 659958 w 3347499"/>
                  <a:gd name="connsiteY1" fmla="*/ 98247 h 1863437"/>
                  <a:gd name="connsiteX2" fmla="*/ 373711 w 3347499"/>
                  <a:gd name="connsiteY2" fmla="*/ 42588 h 1863437"/>
                  <a:gd name="connsiteX3" fmla="*/ 95416 w 3347499"/>
                  <a:gd name="connsiteY3" fmla="*/ 58490 h 1863437"/>
                  <a:gd name="connsiteX4" fmla="*/ 174928 w 3347499"/>
                  <a:gd name="connsiteY4" fmla="*/ 177759 h 1863437"/>
                  <a:gd name="connsiteX5" fmla="*/ 0 w 3347499"/>
                  <a:gd name="connsiteY5" fmla="*/ 217517 h 1863437"/>
                  <a:gd name="connsiteX6" fmla="*/ 811033 w 3347499"/>
                  <a:gd name="connsiteY6" fmla="*/ 1243235 h 1863437"/>
                  <a:gd name="connsiteX7" fmla="*/ 1924216 w 3347499"/>
                  <a:gd name="connsiteY7" fmla="*/ 1863437 h 1863437"/>
                  <a:gd name="connsiteX8" fmla="*/ 3347499 w 3347499"/>
                  <a:gd name="connsiteY8" fmla="*/ 1656703 h 1863437"/>
                  <a:gd name="connsiteX9" fmla="*/ 1304013 w 3347499"/>
                  <a:gd name="connsiteY9" fmla="*/ 654838 h 1863437"/>
                  <a:gd name="connsiteX0" fmla="*/ 1304013 w 3347499"/>
                  <a:gd name="connsiteY0" fmla="*/ 654838 h 1982707"/>
                  <a:gd name="connsiteX1" fmla="*/ 659958 w 3347499"/>
                  <a:gd name="connsiteY1" fmla="*/ 98247 h 1982707"/>
                  <a:gd name="connsiteX2" fmla="*/ 373711 w 3347499"/>
                  <a:gd name="connsiteY2" fmla="*/ 42588 h 1982707"/>
                  <a:gd name="connsiteX3" fmla="*/ 95416 w 3347499"/>
                  <a:gd name="connsiteY3" fmla="*/ 58490 h 1982707"/>
                  <a:gd name="connsiteX4" fmla="*/ 174928 w 3347499"/>
                  <a:gd name="connsiteY4" fmla="*/ 177759 h 1982707"/>
                  <a:gd name="connsiteX5" fmla="*/ 0 w 3347499"/>
                  <a:gd name="connsiteY5" fmla="*/ 217517 h 1982707"/>
                  <a:gd name="connsiteX6" fmla="*/ 811033 w 3347499"/>
                  <a:gd name="connsiteY6" fmla="*/ 1243235 h 1982707"/>
                  <a:gd name="connsiteX7" fmla="*/ 2146852 w 3347499"/>
                  <a:gd name="connsiteY7" fmla="*/ 1982707 h 1982707"/>
                  <a:gd name="connsiteX8" fmla="*/ 3347499 w 3347499"/>
                  <a:gd name="connsiteY8" fmla="*/ 1656703 h 1982707"/>
                  <a:gd name="connsiteX9" fmla="*/ 1304013 w 3347499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1304013 w 3387256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304013 w 3387256"/>
                  <a:gd name="connsiteY10" fmla="*/ 654838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72207 w 3753016"/>
                  <a:gd name="connsiteY11" fmla="*/ 630984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5192 h 1985110"/>
                  <a:gd name="connsiteX1" fmla="*/ 699714 w 3753016"/>
                  <a:gd name="connsiteY1" fmla="*/ 92698 h 1985110"/>
                  <a:gd name="connsiteX2" fmla="*/ 397565 w 3753016"/>
                  <a:gd name="connsiteY2" fmla="*/ 37040 h 1985110"/>
                  <a:gd name="connsiteX3" fmla="*/ 95416 w 3753016"/>
                  <a:gd name="connsiteY3" fmla="*/ 60893 h 1985110"/>
                  <a:gd name="connsiteX4" fmla="*/ 119269 w 3753016"/>
                  <a:gd name="connsiteY4" fmla="*/ 172211 h 1985110"/>
                  <a:gd name="connsiteX5" fmla="*/ 0 w 3753016"/>
                  <a:gd name="connsiteY5" fmla="*/ 219920 h 1985110"/>
                  <a:gd name="connsiteX6" fmla="*/ 811033 w 3753016"/>
                  <a:gd name="connsiteY6" fmla="*/ 1245638 h 1985110"/>
                  <a:gd name="connsiteX7" fmla="*/ 2146852 w 3753016"/>
                  <a:gd name="connsiteY7" fmla="*/ 1985110 h 1985110"/>
                  <a:gd name="connsiteX8" fmla="*/ 3753016 w 3753016"/>
                  <a:gd name="connsiteY8" fmla="*/ 1500080 h 1985110"/>
                  <a:gd name="connsiteX9" fmla="*/ 2409244 w 3753016"/>
                  <a:gd name="connsiteY9" fmla="*/ 1293347 h 1985110"/>
                  <a:gd name="connsiteX10" fmla="*/ 755373 w 3753016"/>
                  <a:gd name="connsiteY10" fmla="*/ 871927 h 1985110"/>
                  <a:gd name="connsiteX11" fmla="*/ 1311965 w 3753016"/>
                  <a:gd name="connsiteY11" fmla="*/ 665192 h 1985110"/>
                  <a:gd name="connsiteX0" fmla="*/ 1311965 w 3753016"/>
                  <a:gd name="connsiteY0" fmla="*/ 670630 h 1990548"/>
                  <a:gd name="connsiteX1" fmla="*/ 699714 w 3753016"/>
                  <a:gd name="connsiteY1" fmla="*/ 98136 h 1990548"/>
                  <a:gd name="connsiteX2" fmla="*/ 453224 w 3753016"/>
                  <a:gd name="connsiteY2" fmla="*/ 26576 h 1990548"/>
                  <a:gd name="connsiteX3" fmla="*/ 95416 w 3753016"/>
                  <a:gd name="connsiteY3" fmla="*/ 66331 h 1990548"/>
                  <a:gd name="connsiteX4" fmla="*/ 119269 w 3753016"/>
                  <a:gd name="connsiteY4" fmla="*/ 177649 h 1990548"/>
                  <a:gd name="connsiteX5" fmla="*/ 0 w 3753016"/>
                  <a:gd name="connsiteY5" fmla="*/ 225358 h 1990548"/>
                  <a:gd name="connsiteX6" fmla="*/ 811033 w 3753016"/>
                  <a:gd name="connsiteY6" fmla="*/ 1251076 h 1990548"/>
                  <a:gd name="connsiteX7" fmla="*/ 2146852 w 3753016"/>
                  <a:gd name="connsiteY7" fmla="*/ 1990548 h 1990548"/>
                  <a:gd name="connsiteX8" fmla="*/ 3753016 w 3753016"/>
                  <a:gd name="connsiteY8" fmla="*/ 1505518 h 1990548"/>
                  <a:gd name="connsiteX9" fmla="*/ 2409244 w 3753016"/>
                  <a:gd name="connsiteY9" fmla="*/ 1298785 h 1990548"/>
                  <a:gd name="connsiteX10" fmla="*/ 755373 w 3753016"/>
                  <a:gd name="connsiteY10" fmla="*/ 877365 h 1990548"/>
                  <a:gd name="connsiteX11" fmla="*/ 1311965 w 3753016"/>
                  <a:gd name="connsiteY11" fmla="*/ 670630 h 1990548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95416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37304 w 3778355"/>
                  <a:gd name="connsiteY0" fmla="*/ 671729 h 1991647"/>
                  <a:gd name="connsiteX1" fmla="*/ 725053 w 3778355"/>
                  <a:gd name="connsiteY1" fmla="*/ 99235 h 1991647"/>
                  <a:gd name="connsiteX2" fmla="*/ 478563 w 3778355"/>
                  <a:gd name="connsiteY2" fmla="*/ 27675 h 1991647"/>
                  <a:gd name="connsiteX3" fmla="*/ 152560 w 3778355"/>
                  <a:gd name="connsiteY3" fmla="*/ 67430 h 1991647"/>
                  <a:gd name="connsiteX4" fmla="*/ 232072 w 3778355"/>
                  <a:gd name="connsiteY4" fmla="*/ 186702 h 1991647"/>
                  <a:gd name="connsiteX5" fmla="*/ 25339 w 3778355"/>
                  <a:gd name="connsiteY5" fmla="*/ 226457 h 1991647"/>
                  <a:gd name="connsiteX6" fmla="*/ 836372 w 3778355"/>
                  <a:gd name="connsiteY6" fmla="*/ 1252175 h 1991647"/>
                  <a:gd name="connsiteX7" fmla="*/ 2172191 w 3778355"/>
                  <a:gd name="connsiteY7" fmla="*/ 1991647 h 1991647"/>
                  <a:gd name="connsiteX8" fmla="*/ 3778355 w 3778355"/>
                  <a:gd name="connsiteY8" fmla="*/ 1506617 h 1991647"/>
                  <a:gd name="connsiteX9" fmla="*/ 2434583 w 3778355"/>
                  <a:gd name="connsiteY9" fmla="*/ 1299884 h 1991647"/>
                  <a:gd name="connsiteX10" fmla="*/ 780712 w 3778355"/>
                  <a:gd name="connsiteY10" fmla="*/ 878464 h 1991647"/>
                  <a:gd name="connsiteX11" fmla="*/ 1337304 w 3778355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206733 w 3753016"/>
                  <a:gd name="connsiteY4" fmla="*/ 186702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9647"/>
                  <a:gd name="connsiteX1" fmla="*/ 699714 w 3753016"/>
                  <a:gd name="connsiteY1" fmla="*/ 99235 h 1929647"/>
                  <a:gd name="connsiteX2" fmla="*/ 453224 w 3753016"/>
                  <a:gd name="connsiteY2" fmla="*/ 27675 h 1929647"/>
                  <a:gd name="connsiteX3" fmla="*/ 127221 w 3753016"/>
                  <a:gd name="connsiteY3" fmla="*/ 67430 h 1929647"/>
                  <a:gd name="connsiteX4" fmla="*/ 166977 w 3753016"/>
                  <a:gd name="connsiteY4" fmla="*/ 154897 h 1929647"/>
                  <a:gd name="connsiteX5" fmla="*/ 0 w 3753016"/>
                  <a:gd name="connsiteY5" fmla="*/ 226457 h 1929647"/>
                  <a:gd name="connsiteX6" fmla="*/ 818984 w 3753016"/>
                  <a:gd name="connsiteY6" fmla="*/ 1347591 h 1929647"/>
                  <a:gd name="connsiteX7" fmla="*/ 2011680 w 3753016"/>
                  <a:gd name="connsiteY7" fmla="*/ 1928037 h 1929647"/>
                  <a:gd name="connsiteX8" fmla="*/ 3753016 w 3753016"/>
                  <a:gd name="connsiteY8" fmla="*/ 1506617 h 1929647"/>
                  <a:gd name="connsiteX9" fmla="*/ 2409244 w 3753016"/>
                  <a:gd name="connsiteY9" fmla="*/ 1299884 h 1929647"/>
                  <a:gd name="connsiteX10" fmla="*/ 755373 w 3753016"/>
                  <a:gd name="connsiteY10" fmla="*/ 878464 h 1929647"/>
                  <a:gd name="connsiteX11" fmla="*/ 1311965 w 3753016"/>
                  <a:gd name="connsiteY11" fmla="*/ 671729 h 19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53016" h="1929647">
                    <a:moveTo>
                      <a:pt x="1311965" y="671729"/>
                    </a:moveTo>
                    <a:cubicBezTo>
                      <a:pt x="1166191" y="480897"/>
                      <a:pt x="893195" y="-35936"/>
                      <a:pt x="699714" y="99235"/>
                    </a:cubicBezTo>
                    <a:cubicBezTo>
                      <a:pt x="667909" y="136342"/>
                      <a:pt x="636104" y="-73042"/>
                      <a:pt x="453224" y="27675"/>
                    </a:cubicBezTo>
                    <a:cubicBezTo>
                      <a:pt x="360459" y="32976"/>
                      <a:pt x="331304" y="-57141"/>
                      <a:pt x="127221" y="67430"/>
                    </a:cubicBezTo>
                    <a:cubicBezTo>
                      <a:pt x="74212" y="88634"/>
                      <a:pt x="188181" y="128392"/>
                      <a:pt x="166977" y="154897"/>
                    </a:cubicBezTo>
                    <a:cubicBezTo>
                      <a:pt x="145773" y="181402"/>
                      <a:pt x="70236" y="131041"/>
                      <a:pt x="0" y="226457"/>
                    </a:cubicBezTo>
                    <a:cubicBezTo>
                      <a:pt x="272995" y="600168"/>
                      <a:pt x="673210" y="1283981"/>
                      <a:pt x="818984" y="1347591"/>
                    </a:cubicBezTo>
                    <a:cubicBezTo>
                      <a:pt x="1216549" y="1541073"/>
                      <a:pt x="1741336" y="1885630"/>
                      <a:pt x="2011680" y="1928037"/>
                    </a:cubicBezTo>
                    <a:cubicBezTo>
                      <a:pt x="2266121" y="1954542"/>
                      <a:pt x="3172571" y="1647090"/>
                      <a:pt x="3753016" y="1506617"/>
                    </a:cubicBezTo>
                    <a:cubicBezTo>
                      <a:pt x="3697357" y="1407226"/>
                      <a:pt x="3208351" y="1168688"/>
                      <a:pt x="2409244" y="1299884"/>
                    </a:cubicBezTo>
                    <a:cubicBezTo>
                      <a:pt x="489003" y="1295909"/>
                      <a:pt x="734169" y="972555"/>
                      <a:pt x="755373" y="878464"/>
                    </a:cubicBezTo>
                    <a:cubicBezTo>
                      <a:pt x="816333" y="727390"/>
                      <a:pt x="1115833" y="695583"/>
                      <a:pt x="1311965" y="6717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71" name="직사각형 95">
              <a:extLst>
                <a:ext uri="{FF2B5EF4-FFF2-40B4-BE49-F238E27FC236}">
                  <a16:creationId xmlns:a16="http://schemas.microsoft.com/office/drawing/2014/main" xmlns="" id="{E15235EB-6DB5-429B-B4F9-C22C9A470621}"/>
                </a:ext>
              </a:extLst>
            </p:cNvPr>
            <p:cNvSpPr/>
            <p:nvPr/>
          </p:nvSpPr>
          <p:spPr>
            <a:xfrm rot="18740140">
              <a:off x="1894195" y="2506511"/>
              <a:ext cx="285737" cy="7093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50800" dir="5400000" algn="ctr" rotWithShape="0">
                <a:srgbClr val="000000">
                  <a:alpha val="2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74" name="그룹 98">
            <a:extLst>
              <a:ext uri="{FF2B5EF4-FFF2-40B4-BE49-F238E27FC236}">
                <a16:creationId xmlns:a16="http://schemas.microsoft.com/office/drawing/2014/main" xmlns="" id="{90B4AF84-3410-418D-8683-69634E6839F7}"/>
              </a:ext>
            </a:extLst>
          </p:cNvPr>
          <p:cNvGrpSpPr/>
          <p:nvPr/>
        </p:nvGrpSpPr>
        <p:grpSpPr>
          <a:xfrm rot="10800000" flipV="1">
            <a:off x="9194932" y="3094304"/>
            <a:ext cx="2523434" cy="1065203"/>
            <a:chOff x="1682410" y="2217893"/>
            <a:chExt cx="2019261" cy="852379"/>
          </a:xfrm>
          <a:solidFill>
            <a:schemeClr val="bg1">
              <a:lumMod val="85000"/>
            </a:schemeClr>
          </a:solidFill>
        </p:grpSpPr>
        <p:grpSp>
          <p:nvGrpSpPr>
            <p:cNvPr id="75" name="그룹 99">
              <a:extLst>
                <a:ext uri="{FF2B5EF4-FFF2-40B4-BE49-F238E27FC236}">
                  <a16:creationId xmlns:a16="http://schemas.microsoft.com/office/drawing/2014/main" xmlns="" id="{7B7F50BF-B7B6-4BC7-ACD0-E1D207AD3E2C}"/>
                </a:ext>
              </a:extLst>
            </p:cNvPr>
            <p:cNvGrpSpPr/>
            <p:nvPr/>
          </p:nvGrpSpPr>
          <p:grpSpPr>
            <a:xfrm>
              <a:off x="1774163" y="2217893"/>
              <a:ext cx="1927508" cy="852379"/>
              <a:chOff x="1774163" y="2217893"/>
              <a:chExt cx="1927508" cy="852379"/>
            </a:xfrm>
            <a:grpFill/>
          </p:grpSpPr>
          <p:sp>
            <p:nvSpPr>
              <p:cNvPr id="77" name="Freeform 18">
                <a:extLst>
                  <a:ext uri="{FF2B5EF4-FFF2-40B4-BE49-F238E27FC236}">
                    <a16:creationId xmlns:a16="http://schemas.microsoft.com/office/drawing/2014/main" xmlns="" id="{FAFB2F86-C169-428E-964A-AFA075A58E8A}"/>
                  </a:ext>
                </a:extLst>
              </p:cNvPr>
              <p:cNvSpPr/>
              <p:nvPr/>
            </p:nvSpPr>
            <p:spPr>
              <a:xfrm flipH="1">
                <a:off x="1774163" y="2350717"/>
                <a:ext cx="1600825" cy="719555"/>
              </a:xfrm>
              <a:custGeom>
                <a:avLst/>
                <a:gdLst>
                  <a:gd name="connsiteX0" fmla="*/ 4126727 w 4126727"/>
                  <a:gd name="connsiteY0" fmla="*/ 866693 h 1836752"/>
                  <a:gd name="connsiteX1" fmla="*/ 2782957 w 4126727"/>
                  <a:gd name="connsiteY1" fmla="*/ 0 h 1836752"/>
                  <a:gd name="connsiteX2" fmla="*/ 2703444 w 4126727"/>
                  <a:gd name="connsiteY2" fmla="*/ 7952 h 1836752"/>
                  <a:gd name="connsiteX3" fmla="*/ 1375576 w 4126727"/>
                  <a:gd name="connsiteY3" fmla="*/ 326004 h 1836752"/>
                  <a:gd name="connsiteX4" fmla="*/ 0 w 4126727"/>
                  <a:gd name="connsiteY4" fmla="*/ 477079 h 1836752"/>
                  <a:gd name="connsiteX5" fmla="*/ 1574358 w 4126727"/>
                  <a:gd name="connsiteY5" fmla="*/ 898498 h 1836752"/>
                  <a:gd name="connsiteX6" fmla="*/ 2576223 w 4126727"/>
                  <a:gd name="connsiteY6" fmla="*/ 1280160 h 1836752"/>
                  <a:gd name="connsiteX7" fmla="*/ 3267986 w 4126727"/>
                  <a:gd name="connsiteY7" fmla="*/ 1836752 h 1836752"/>
                  <a:gd name="connsiteX8" fmla="*/ 4126727 w 4126727"/>
                  <a:gd name="connsiteY8" fmla="*/ 866693 h 1836752"/>
                  <a:gd name="connsiteX0" fmla="*/ 4126727 w 4126727"/>
                  <a:gd name="connsiteY0" fmla="*/ 884466 h 1854525"/>
                  <a:gd name="connsiteX1" fmla="*/ 2782957 w 4126727"/>
                  <a:gd name="connsiteY1" fmla="*/ 17773 h 1854525"/>
                  <a:gd name="connsiteX2" fmla="*/ 2703444 w 4126727"/>
                  <a:gd name="connsiteY2" fmla="*/ 25725 h 1854525"/>
                  <a:gd name="connsiteX3" fmla="*/ 1375576 w 4126727"/>
                  <a:gd name="connsiteY3" fmla="*/ 343777 h 1854525"/>
                  <a:gd name="connsiteX4" fmla="*/ 0 w 4126727"/>
                  <a:gd name="connsiteY4" fmla="*/ 494852 h 1854525"/>
                  <a:gd name="connsiteX5" fmla="*/ 1574358 w 4126727"/>
                  <a:gd name="connsiteY5" fmla="*/ 916271 h 1854525"/>
                  <a:gd name="connsiteX6" fmla="*/ 2576223 w 4126727"/>
                  <a:gd name="connsiteY6" fmla="*/ 1297933 h 1854525"/>
                  <a:gd name="connsiteX7" fmla="*/ 3267986 w 4126727"/>
                  <a:gd name="connsiteY7" fmla="*/ 1854525 h 1854525"/>
                  <a:gd name="connsiteX8" fmla="*/ 4126727 w 4126727"/>
                  <a:gd name="connsiteY8" fmla="*/ 884466 h 1854525"/>
                  <a:gd name="connsiteX0" fmla="*/ 1375576 w 4126727"/>
                  <a:gd name="connsiteY0" fmla="*/ 331865 h 1842613"/>
                  <a:gd name="connsiteX1" fmla="*/ 0 w 4126727"/>
                  <a:gd name="connsiteY1" fmla="*/ 482940 h 1842613"/>
                  <a:gd name="connsiteX2" fmla="*/ 1574358 w 4126727"/>
                  <a:gd name="connsiteY2" fmla="*/ 904359 h 1842613"/>
                  <a:gd name="connsiteX3" fmla="*/ 2576223 w 4126727"/>
                  <a:gd name="connsiteY3" fmla="*/ 1286021 h 1842613"/>
                  <a:gd name="connsiteX4" fmla="*/ 3267986 w 4126727"/>
                  <a:gd name="connsiteY4" fmla="*/ 1842613 h 1842613"/>
                  <a:gd name="connsiteX5" fmla="*/ 4126727 w 4126727"/>
                  <a:gd name="connsiteY5" fmla="*/ 872554 h 1842613"/>
                  <a:gd name="connsiteX6" fmla="*/ 2782957 w 4126727"/>
                  <a:gd name="connsiteY6" fmla="*/ 5861 h 1842613"/>
                  <a:gd name="connsiteX7" fmla="*/ 2794884 w 4126727"/>
                  <a:gd name="connsiteY7" fmla="*/ 105253 h 1842613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90578 h 1901326"/>
                  <a:gd name="connsiteX1" fmla="*/ 0 w 4063117"/>
                  <a:gd name="connsiteY1" fmla="*/ 541653 h 1901326"/>
                  <a:gd name="connsiteX2" fmla="*/ 1574358 w 4063117"/>
                  <a:gd name="connsiteY2" fmla="*/ 963072 h 1901326"/>
                  <a:gd name="connsiteX3" fmla="*/ 2576223 w 4063117"/>
                  <a:gd name="connsiteY3" fmla="*/ 1344734 h 1901326"/>
                  <a:gd name="connsiteX4" fmla="*/ 3267986 w 4063117"/>
                  <a:gd name="connsiteY4" fmla="*/ 1901326 h 1901326"/>
                  <a:gd name="connsiteX5" fmla="*/ 4063117 w 4063117"/>
                  <a:gd name="connsiteY5" fmla="*/ 994878 h 1901326"/>
                  <a:gd name="connsiteX6" fmla="*/ 2782957 w 4063117"/>
                  <a:gd name="connsiteY6" fmla="*/ 64574 h 1901326"/>
                  <a:gd name="connsiteX7" fmla="*/ 2178658 w 4063117"/>
                  <a:gd name="connsiteY7" fmla="*/ 96380 h 1901326"/>
                  <a:gd name="connsiteX8" fmla="*/ 1375576 w 4063117"/>
                  <a:gd name="connsiteY8" fmla="*/ 390578 h 1901326"/>
                  <a:gd name="connsiteX0" fmla="*/ 1375576 w 4063117"/>
                  <a:gd name="connsiteY0" fmla="*/ 383650 h 1894398"/>
                  <a:gd name="connsiteX1" fmla="*/ 0 w 4063117"/>
                  <a:gd name="connsiteY1" fmla="*/ 534725 h 1894398"/>
                  <a:gd name="connsiteX2" fmla="*/ 1574358 w 4063117"/>
                  <a:gd name="connsiteY2" fmla="*/ 956144 h 1894398"/>
                  <a:gd name="connsiteX3" fmla="*/ 2576223 w 4063117"/>
                  <a:gd name="connsiteY3" fmla="*/ 1337806 h 1894398"/>
                  <a:gd name="connsiteX4" fmla="*/ 3267986 w 4063117"/>
                  <a:gd name="connsiteY4" fmla="*/ 1894398 h 1894398"/>
                  <a:gd name="connsiteX5" fmla="*/ 4063117 w 4063117"/>
                  <a:gd name="connsiteY5" fmla="*/ 987950 h 1894398"/>
                  <a:gd name="connsiteX6" fmla="*/ 2782957 w 4063117"/>
                  <a:gd name="connsiteY6" fmla="*/ 57646 h 1894398"/>
                  <a:gd name="connsiteX7" fmla="*/ 2178658 w 4063117"/>
                  <a:gd name="connsiteY7" fmla="*/ 89452 h 1894398"/>
                  <a:gd name="connsiteX8" fmla="*/ 1375576 w 4063117"/>
                  <a:gd name="connsiteY8" fmla="*/ 383650 h 1894398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625109 w 4112003"/>
                  <a:gd name="connsiteY3" fmla="*/ 1280160 h 1836752"/>
                  <a:gd name="connsiteX4" fmla="*/ 3316872 w 4112003"/>
                  <a:gd name="connsiteY4" fmla="*/ 1836752 h 1836752"/>
                  <a:gd name="connsiteX5" fmla="*/ 4112003 w 4112003"/>
                  <a:gd name="connsiteY5" fmla="*/ 930304 h 1836752"/>
                  <a:gd name="connsiteX6" fmla="*/ 2831843 w 4112003"/>
                  <a:gd name="connsiteY6" fmla="*/ 0 h 1836752"/>
                  <a:gd name="connsiteX7" fmla="*/ 2227544 w 4112003"/>
                  <a:gd name="connsiteY7" fmla="*/ 31806 h 1836752"/>
                  <a:gd name="connsiteX8" fmla="*/ 1424462 w 4112003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132129 w 4112003"/>
                  <a:gd name="connsiteY3" fmla="*/ 993914 h 1836752"/>
                  <a:gd name="connsiteX4" fmla="*/ 2625109 w 4112003"/>
                  <a:gd name="connsiteY4" fmla="*/ 1280160 h 1836752"/>
                  <a:gd name="connsiteX5" fmla="*/ 3316872 w 4112003"/>
                  <a:gd name="connsiteY5" fmla="*/ 1836752 h 1836752"/>
                  <a:gd name="connsiteX6" fmla="*/ 4112003 w 4112003"/>
                  <a:gd name="connsiteY6" fmla="*/ 930304 h 1836752"/>
                  <a:gd name="connsiteX7" fmla="*/ 2831843 w 4112003"/>
                  <a:gd name="connsiteY7" fmla="*/ 0 h 1836752"/>
                  <a:gd name="connsiteX8" fmla="*/ 2227544 w 4112003"/>
                  <a:gd name="connsiteY8" fmla="*/ 31806 h 1836752"/>
                  <a:gd name="connsiteX9" fmla="*/ 1424462 w 4112003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38408 h 1849156"/>
                  <a:gd name="connsiteX1" fmla="*/ 59649 w 4122766"/>
                  <a:gd name="connsiteY1" fmla="*/ 489483 h 1849156"/>
                  <a:gd name="connsiteX2" fmla="*/ 1634007 w 4122766"/>
                  <a:gd name="connsiteY2" fmla="*/ 910902 h 1849156"/>
                  <a:gd name="connsiteX3" fmla="*/ 2142892 w 4122766"/>
                  <a:gd name="connsiteY3" fmla="*/ 1006318 h 1849156"/>
                  <a:gd name="connsiteX4" fmla="*/ 2635872 w 4122766"/>
                  <a:gd name="connsiteY4" fmla="*/ 1292564 h 1849156"/>
                  <a:gd name="connsiteX5" fmla="*/ 3327635 w 4122766"/>
                  <a:gd name="connsiteY5" fmla="*/ 1849156 h 1849156"/>
                  <a:gd name="connsiteX6" fmla="*/ 4122766 w 4122766"/>
                  <a:gd name="connsiteY6" fmla="*/ 942708 h 1849156"/>
                  <a:gd name="connsiteX7" fmla="*/ 2842606 w 4122766"/>
                  <a:gd name="connsiteY7" fmla="*/ 12404 h 1849156"/>
                  <a:gd name="connsiteX8" fmla="*/ 2238307 w 4122766"/>
                  <a:gd name="connsiteY8" fmla="*/ 44210 h 1849156"/>
                  <a:gd name="connsiteX9" fmla="*/ 1435225 w 4122766"/>
                  <a:gd name="connsiteY9" fmla="*/ 338408 h 1849156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39809 h 1850557"/>
                  <a:gd name="connsiteX1" fmla="*/ 59649 w 4122766"/>
                  <a:gd name="connsiteY1" fmla="*/ 490884 h 1850557"/>
                  <a:gd name="connsiteX2" fmla="*/ 1634007 w 4122766"/>
                  <a:gd name="connsiteY2" fmla="*/ 912303 h 1850557"/>
                  <a:gd name="connsiteX3" fmla="*/ 2142892 w 4122766"/>
                  <a:gd name="connsiteY3" fmla="*/ 1007719 h 1850557"/>
                  <a:gd name="connsiteX4" fmla="*/ 2635872 w 4122766"/>
                  <a:gd name="connsiteY4" fmla="*/ 1293965 h 1850557"/>
                  <a:gd name="connsiteX5" fmla="*/ 3327635 w 4122766"/>
                  <a:gd name="connsiteY5" fmla="*/ 1850557 h 1850557"/>
                  <a:gd name="connsiteX6" fmla="*/ 4122766 w 4122766"/>
                  <a:gd name="connsiteY6" fmla="*/ 944109 h 1850557"/>
                  <a:gd name="connsiteX7" fmla="*/ 2842606 w 4122766"/>
                  <a:gd name="connsiteY7" fmla="*/ 13805 h 1850557"/>
                  <a:gd name="connsiteX8" fmla="*/ 2166745 w 4122766"/>
                  <a:gd name="connsiteY8" fmla="*/ 93319 h 1850557"/>
                  <a:gd name="connsiteX9" fmla="*/ 1435225 w 4122766"/>
                  <a:gd name="connsiteY9" fmla="*/ 339809 h 1850557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76690 h 1887438"/>
                  <a:gd name="connsiteX1" fmla="*/ 59649 w 4122766"/>
                  <a:gd name="connsiteY1" fmla="*/ 527765 h 1887438"/>
                  <a:gd name="connsiteX2" fmla="*/ 1634007 w 4122766"/>
                  <a:gd name="connsiteY2" fmla="*/ 949184 h 1887438"/>
                  <a:gd name="connsiteX3" fmla="*/ 2142892 w 4122766"/>
                  <a:gd name="connsiteY3" fmla="*/ 1044600 h 1887438"/>
                  <a:gd name="connsiteX4" fmla="*/ 2635872 w 4122766"/>
                  <a:gd name="connsiteY4" fmla="*/ 1330846 h 1887438"/>
                  <a:gd name="connsiteX5" fmla="*/ 3327635 w 4122766"/>
                  <a:gd name="connsiteY5" fmla="*/ 1887438 h 1887438"/>
                  <a:gd name="connsiteX6" fmla="*/ 4122766 w 4122766"/>
                  <a:gd name="connsiteY6" fmla="*/ 980990 h 1887438"/>
                  <a:gd name="connsiteX7" fmla="*/ 2842606 w 4122766"/>
                  <a:gd name="connsiteY7" fmla="*/ 18881 h 1887438"/>
                  <a:gd name="connsiteX8" fmla="*/ 2166745 w 4122766"/>
                  <a:gd name="connsiteY8" fmla="*/ 130200 h 1887438"/>
                  <a:gd name="connsiteX9" fmla="*/ 1435225 w 4122766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548408 w 4067107"/>
                  <a:gd name="connsiteY4" fmla="*/ 1275187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089096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747240"/>
                  <a:gd name="connsiteX1" fmla="*/ 59649 w 4067107"/>
                  <a:gd name="connsiteY1" fmla="*/ 527765 h 1747240"/>
                  <a:gd name="connsiteX2" fmla="*/ 1634007 w 4067107"/>
                  <a:gd name="connsiteY2" fmla="*/ 949184 h 1747240"/>
                  <a:gd name="connsiteX3" fmla="*/ 2142892 w 4067107"/>
                  <a:gd name="connsiteY3" fmla="*/ 1044600 h 1747240"/>
                  <a:gd name="connsiteX4" fmla="*/ 2476846 w 4067107"/>
                  <a:gd name="connsiteY4" fmla="*/ 1378554 h 1747240"/>
                  <a:gd name="connsiteX5" fmla="*/ 3004138 w 4067107"/>
                  <a:gd name="connsiteY5" fmla="*/ 1747240 h 1747240"/>
                  <a:gd name="connsiteX6" fmla="*/ 4067107 w 4067107"/>
                  <a:gd name="connsiteY6" fmla="*/ 1036649 h 1747240"/>
                  <a:gd name="connsiteX7" fmla="*/ 2842606 w 4067107"/>
                  <a:gd name="connsiteY7" fmla="*/ 18881 h 1747240"/>
                  <a:gd name="connsiteX8" fmla="*/ 2166745 w 4067107"/>
                  <a:gd name="connsiteY8" fmla="*/ 130200 h 1747240"/>
                  <a:gd name="connsiteX9" fmla="*/ 1435225 w 4067107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3004138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2806187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7153" h="1747240">
                    <a:moveTo>
                      <a:pt x="1435225" y="376690"/>
                    </a:moveTo>
                    <a:cubicBezTo>
                      <a:pt x="921041" y="355486"/>
                      <a:pt x="168317" y="374040"/>
                      <a:pt x="59649" y="527765"/>
                    </a:cubicBezTo>
                    <a:cubicBezTo>
                      <a:pt x="-282257" y="890874"/>
                      <a:pt x="926341" y="920030"/>
                      <a:pt x="1634007" y="949184"/>
                    </a:cubicBezTo>
                    <a:cubicBezTo>
                      <a:pt x="1755927" y="988940"/>
                      <a:pt x="2020972" y="1004844"/>
                      <a:pt x="2142892" y="1044600"/>
                    </a:cubicBezTo>
                    <a:lnTo>
                      <a:pt x="2476846" y="1378554"/>
                    </a:lnTo>
                    <a:lnTo>
                      <a:pt x="2806187" y="1747240"/>
                    </a:lnTo>
                    <a:lnTo>
                      <a:pt x="3887153" y="784714"/>
                    </a:lnTo>
                    <a:cubicBezTo>
                      <a:pt x="3502840" y="495816"/>
                      <a:pt x="3512746" y="372650"/>
                      <a:pt x="2842606" y="18881"/>
                    </a:cubicBezTo>
                    <a:cubicBezTo>
                      <a:pt x="2541783" y="-38103"/>
                      <a:pt x="2417210" y="44060"/>
                      <a:pt x="2166745" y="130200"/>
                    </a:cubicBezTo>
                    <a:cubicBezTo>
                      <a:pt x="1932182" y="184534"/>
                      <a:pt x="1811587" y="315730"/>
                      <a:pt x="1435225" y="3766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78" name="Freeform 19">
                <a:extLst>
                  <a:ext uri="{FF2B5EF4-FFF2-40B4-BE49-F238E27FC236}">
                    <a16:creationId xmlns:a16="http://schemas.microsoft.com/office/drawing/2014/main" xmlns="" id="{6AB1489E-08D6-4847-BC5F-1E617A1375BF}"/>
                  </a:ext>
                </a:extLst>
              </p:cNvPr>
              <p:cNvSpPr/>
              <p:nvPr/>
            </p:nvSpPr>
            <p:spPr>
              <a:xfrm flipH="1">
                <a:off x="2156087" y="2217893"/>
                <a:ext cx="1545584" cy="794676"/>
              </a:xfrm>
              <a:custGeom>
                <a:avLst/>
                <a:gdLst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35267 h 1979038"/>
                  <a:gd name="connsiteX1" fmla="*/ 659958 w 3347499"/>
                  <a:gd name="connsiteY1" fmla="*/ 78676 h 1979038"/>
                  <a:gd name="connsiteX2" fmla="*/ 373711 w 3347499"/>
                  <a:gd name="connsiteY2" fmla="*/ 23017 h 1979038"/>
                  <a:gd name="connsiteX3" fmla="*/ 95416 w 3347499"/>
                  <a:gd name="connsiteY3" fmla="*/ 38919 h 1979038"/>
                  <a:gd name="connsiteX4" fmla="*/ 111318 w 3347499"/>
                  <a:gd name="connsiteY4" fmla="*/ 134335 h 1979038"/>
                  <a:gd name="connsiteX5" fmla="*/ 0 w 3347499"/>
                  <a:gd name="connsiteY5" fmla="*/ 197946 h 1979038"/>
                  <a:gd name="connsiteX6" fmla="*/ 779228 w 3347499"/>
                  <a:gd name="connsiteY6" fmla="*/ 1247518 h 1979038"/>
                  <a:gd name="connsiteX7" fmla="*/ 1900362 w 3347499"/>
                  <a:gd name="connsiteY7" fmla="*/ 1979038 h 1979038"/>
                  <a:gd name="connsiteX8" fmla="*/ 3347499 w 3347499"/>
                  <a:gd name="connsiteY8" fmla="*/ 1637132 h 1979038"/>
                  <a:gd name="connsiteX9" fmla="*/ 1304013 w 3347499"/>
                  <a:gd name="connsiteY9" fmla="*/ 635267 h 1979038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11318 w 3347499"/>
                  <a:gd name="connsiteY4" fmla="*/ 153906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811033 w 3347499"/>
                  <a:gd name="connsiteY6" fmla="*/ 1243235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863437"/>
                  <a:gd name="connsiteX1" fmla="*/ 659958 w 3347499"/>
                  <a:gd name="connsiteY1" fmla="*/ 98247 h 1863437"/>
                  <a:gd name="connsiteX2" fmla="*/ 373711 w 3347499"/>
                  <a:gd name="connsiteY2" fmla="*/ 42588 h 1863437"/>
                  <a:gd name="connsiteX3" fmla="*/ 95416 w 3347499"/>
                  <a:gd name="connsiteY3" fmla="*/ 58490 h 1863437"/>
                  <a:gd name="connsiteX4" fmla="*/ 174928 w 3347499"/>
                  <a:gd name="connsiteY4" fmla="*/ 177759 h 1863437"/>
                  <a:gd name="connsiteX5" fmla="*/ 0 w 3347499"/>
                  <a:gd name="connsiteY5" fmla="*/ 217517 h 1863437"/>
                  <a:gd name="connsiteX6" fmla="*/ 811033 w 3347499"/>
                  <a:gd name="connsiteY6" fmla="*/ 1243235 h 1863437"/>
                  <a:gd name="connsiteX7" fmla="*/ 1924216 w 3347499"/>
                  <a:gd name="connsiteY7" fmla="*/ 1863437 h 1863437"/>
                  <a:gd name="connsiteX8" fmla="*/ 3347499 w 3347499"/>
                  <a:gd name="connsiteY8" fmla="*/ 1656703 h 1863437"/>
                  <a:gd name="connsiteX9" fmla="*/ 1304013 w 3347499"/>
                  <a:gd name="connsiteY9" fmla="*/ 654838 h 1863437"/>
                  <a:gd name="connsiteX0" fmla="*/ 1304013 w 3347499"/>
                  <a:gd name="connsiteY0" fmla="*/ 654838 h 1982707"/>
                  <a:gd name="connsiteX1" fmla="*/ 659958 w 3347499"/>
                  <a:gd name="connsiteY1" fmla="*/ 98247 h 1982707"/>
                  <a:gd name="connsiteX2" fmla="*/ 373711 w 3347499"/>
                  <a:gd name="connsiteY2" fmla="*/ 42588 h 1982707"/>
                  <a:gd name="connsiteX3" fmla="*/ 95416 w 3347499"/>
                  <a:gd name="connsiteY3" fmla="*/ 58490 h 1982707"/>
                  <a:gd name="connsiteX4" fmla="*/ 174928 w 3347499"/>
                  <a:gd name="connsiteY4" fmla="*/ 177759 h 1982707"/>
                  <a:gd name="connsiteX5" fmla="*/ 0 w 3347499"/>
                  <a:gd name="connsiteY5" fmla="*/ 217517 h 1982707"/>
                  <a:gd name="connsiteX6" fmla="*/ 811033 w 3347499"/>
                  <a:gd name="connsiteY6" fmla="*/ 1243235 h 1982707"/>
                  <a:gd name="connsiteX7" fmla="*/ 2146852 w 3347499"/>
                  <a:gd name="connsiteY7" fmla="*/ 1982707 h 1982707"/>
                  <a:gd name="connsiteX8" fmla="*/ 3347499 w 3347499"/>
                  <a:gd name="connsiteY8" fmla="*/ 1656703 h 1982707"/>
                  <a:gd name="connsiteX9" fmla="*/ 1304013 w 3347499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1304013 w 3387256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304013 w 3387256"/>
                  <a:gd name="connsiteY10" fmla="*/ 654838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72207 w 3753016"/>
                  <a:gd name="connsiteY11" fmla="*/ 630984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5192 h 1985110"/>
                  <a:gd name="connsiteX1" fmla="*/ 699714 w 3753016"/>
                  <a:gd name="connsiteY1" fmla="*/ 92698 h 1985110"/>
                  <a:gd name="connsiteX2" fmla="*/ 397565 w 3753016"/>
                  <a:gd name="connsiteY2" fmla="*/ 37040 h 1985110"/>
                  <a:gd name="connsiteX3" fmla="*/ 95416 w 3753016"/>
                  <a:gd name="connsiteY3" fmla="*/ 60893 h 1985110"/>
                  <a:gd name="connsiteX4" fmla="*/ 119269 w 3753016"/>
                  <a:gd name="connsiteY4" fmla="*/ 172211 h 1985110"/>
                  <a:gd name="connsiteX5" fmla="*/ 0 w 3753016"/>
                  <a:gd name="connsiteY5" fmla="*/ 219920 h 1985110"/>
                  <a:gd name="connsiteX6" fmla="*/ 811033 w 3753016"/>
                  <a:gd name="connsiteY6" fmla="*/ 1245638 h 1985110"/>
                  <a:gd name="connsiteX7" fmla="*/ 2146852 w 3753016"/>
                  <a:gd name="connsiteY7" fmla="*/ 1985110 h 1985110"/>
                  <a:gd name="connsiteX8" fmla="*/ 3753016 w 3753016"/>
                  <a:gd name="connsiteY8" fmla="*/ 1500080 h 1985110"/>
                  <a:gd name="connsiteX9" fmla="*/ 2409244 w 3753016"/>
                  <a:gd name="connsiteY9" fmla="*/ 1293347 h 1985110"/>
                  <a:gd name="connsiteX10" fmla="*/ 755373 w 3753016"/>
                  <a:gd name="connsiteY10" fmla="*/ 871927 h 1985110"/>
                  <a:gd name="connsiteX11" fmla="*/ 1311965 w 3753016"/>
                  <a:gd name="connsiteY11" fmla="*/ 665192 h 1985110"/>
                  <a:gd name="connsiteX0" fmla="*/ 1311965 w 3753016"/>
                  <a:gd name="connsiteY0" fmla="*/ 670630 h 1990548"/>
                  <a:gd name="connsiteX1" fmla="*/ 699714 w 3753016"/>
                  <a:gd name="connsiteY1" fmla="*/ 98136 h 1990548"/>
                  <a:gd name="connsiteX2" fmla="*/ 453224 w 3753016"/>
                  <a:gd name="connsiteY2" fmla="*/ 26576 h 1990548"/>
                  <a:gd name="connsiteX3" fmla="*/ 95416 w 3753016"/>
                  <a:gd name="connsiteY3" fmla="*/ 66331 h 1990548"/>
                  <a:gd name="connsiteX4" fmla="*/ 119269 w 3753016"/>
                  <a:gd name="connsiteY4" fmla="*/ 177649 h 1990548"/>
                  <a:gd name="connsiteX5" fmla="*/ 0 w 3753016"/>
                  <a:gd name="connsiteY5" fmla="*/ 225358 h 1990548"/>
                  <a:gd name="connsiteX6" fmla="*/ 811033 w 3753016"/>
                  <a:gd name="connsiteY6" fmla="*/ 1251076 h 1990548"/>
                  <a:gd name="connsiteX7" fmla="*/ 2146852 w 3753016"/>
                  <a:gd name="connsiteY7" fmla="*/ 1990548 h 1990548"/>
                  <a:gd name="connsiteX8" fmla="*/ 3753016 w 3753016"/>
                  <a:gd name="connsiteY8" fmla="*/ 1505518 h 1990548"/>
                  <a:gd name="connsiteX9" fmla="*/ 2409244 w 3753016"/>
                  <a:gd name="connsiteY9" fmla="*/ 1298785 h 1990548"/>
                  <a:gd name="connsiteX10" fmla="*/ 755373 w 3753016"/>
                  <a:gd name="connsiteY10" fmla="*/ 877365 h 1990548"/>
                  <a:gd name="connsiteX11" fmla="*/ 1311965 w 3753016"/>
                  <a:gd name="connsiteY11" fmla="*/ 670630 h 1990548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95416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37304 w 3778355"/>
                  <a:gd name="connsiteY0" fmla="*/ 671729 h 1991647"/>
                  <a:gd name="connsiteX1" fmla="*/ 725053 w 3778355"/>
                  <a:gd name="connsiteY1" fmla="*/ 99235 h 1991647"/>
                  <a:gd name="connsiteX2" fmla="*/ 478563 w 3778355"/>
                  <a:gd name="connsiteY2" fmla="*/ 27675 h 1991647"/>
                  <a:gd name="connsiteX3" fmla="*/ 152560 w 3778355"/>
                  <a:gd name="connsiteY3" fmla="*/ 67430 h 1991647"/>
                  <a:gd name="connsiteX4" fmla="*/ 232072 w 3778355"/>
                  <a:gd name="connsiteY4" fmla="*/ 186702 h 1991647"/>
                  <a:gd name="connsiteX5" fmla="*/ 25339 w 3778355"/>
                  <a:gd name="connsiteY5" fmla="*/ 226457 h 1991647"/>
                  <a:gd name="connsiteX6" fmla="*/ 836372 w 3778355"/>
                  <a:gd name="connsiteY6" fmla="*/ 1252175 h 1991647"/>
                  <a:gd name="connsiteX7" fmla="*/ 2172191 w 3778355"/>
                  <a:gd name="connsiteY7" fmla="*/ 1991647 h 1991647"/>
                  <a:gd name="connsiteX8" fmla="*/ 3778355 w 3778355"/>
                  <a:gd name="connsiteY8" fmla="*/ 1506617 h 1991647"/>
                  <a:gd name="connsiteX9" fmla="*/ 2434583 w 3778355"/>
                  <a:gd name="connsiteY9" fmla="*/ 1299884 h 1991647"/>
                  <a:gd name="connsiteX10" fmla="*/ 780712 w 3778355"/>
                  <a:gd name="connsiteY10" fmla="*/ 878464 h 1991647"/>
                  <a:gd name="connsiteX11" fmla="*/ 1337304 w 3778355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206733 w 3753016"/>
                  <a:gd name="connsiteY4" fmla="*/ 186702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9647"/>
                  <a:gd name="connsiteX1" fmla="*/ 699714 w 3753016"/>
                  <a:gd name="connsiteY1" fmla="*/ 99235 h 1929647"/>
                  <a:gd name="connsiteX2" fmla="*/ 453224 w 3753016"/>
                  <a:gd name="connsiteY2" fmla="*/ 27675 h 1929647"/>
                  <a:gd name="connsiteX3" fmla="*/ 127221 w 3753016"/>
                  <a:gd name="connsiteY3" fmla="*/ 67430 h 1929647"/>
                  <a:gd name="connsiteX4" fmla="*/ 166977 w 3753016"/>
                  <a:gd name="connsiteY4" fmla="*/ 154897 h 1929647"/>
                  <a:gd name="connsiteX5" fmla="*/ 0 w 3753016"/>
                  <a:gd name="connsiteY5" fmla="*/ 226457 h 1929647"/>
                  <a:gd name="connsiteX6" fmla="*/ 818984 w 3753016"/>
                  <a:gd name="connsiteY6" fmla="*/ 1347591 h 1929647"/>
                  <a:gd name="connsiteX7" fmla="*/ 2011680 w 3753016"/>
                  <a:gd name="connsiteY7" fmla="*/ 1928037 h 1929647"/>
                  <a:gd name="connsiteX8" fmla="*/ 3753016 w 3753016"/>
                  <a:gd name="connsiteY8" fmla="*/ 1506617 h 1929647"/>
                  <a:gd name="connsiteX9" fmla="*/ 2409244 w 3753016"/>
                  <a:gd name="connsiteY9" fmla="*/ 1299884 h 1929647"/>
                  <a:gd name="connsiteX10" fmla="*/ 755373 w 3753016"/>
                  <a:gd name="connsiteY10" fmla="*/ 878464 h 1929647"/>
                  <a:gd name="connsiteX11" fmla="*/ 1311965 w 3753016"/>
                  <a:gd name="connsiteY11" fmla="*/ 671729 h 19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53016" h="1929647">
                    <a:moveTo>
                      <a:pt x="1311965" y="671729"/>
                    </a:moveTo>
                    <a:cubicBezTo>
                      <a:pt x="1166191" y="480897"/>
                      <a:pt x="893195" y="-35936"/>
                      <a:pt x="699714" y="99235"/>
                    </a:cubicBezTo>
                    <a:cubicBezTo>
                      <a:pt x="667909" y="136342"/>
                      <a:pt x="636104" y="-73042"/>
                      <a:pt x="453224" y="27675"/>
                    </a:cubicBezTo>
                    <a:cubicBezTo>
                      <a:pt x="360459" y="32976"/>
                      <a:pt x="331304" y="-57141"/>
                      <a:pt x="127221" y="67430"/>
                    </a:cubicBezTo>
                    <a:cubicBezTo>
                      <a:pt x="74212" y="88634"/>
                      <a:pt x="188181" y="128392"/>
                      <a:pt x="166977" y="154897"/>
                    </a:cubicBezTo>
                    <a:cubicBezTo>
                      <a:pt x="145773" y="181402"/>
                      <a:pt x="70236" y="131041"/>
                      <a:pt x="0" y="226457"/>
                    </a:cubicBezTo>
                    <a:cubicBezTo>
                      <a:pt x="272995" y="600168"/>
                      <a:pt x="673210" y="1283981"/>
                      <a:pt x="818984" y="1347591"/>
                    </a:cubicBezTo>
                    <a:cubicBezTo>
                      <a:pt x="1216549" y="1541073"/>
                      <a:pt x="1741336" y="1885630"/>
                      <a:pt x="2011680" y="1928037"/>
                    </a:cubicBezTo>
                    <a:cubicBezTo>
                      <a:pt x="2266121" y="1954542"/>
                      <a:pt x="3172571" y="1647090"/>
                      <a:pt x="3753016" y="1506617"/>
                    </a:cubicBezTo>
                    <a:cubicBezTo>
                      <a:pt x="3697357" y="1407226"/>
                      <a:pt x="3208351" y="1168688"/>
                      <a:pt x="2409244" y="1299884"/>
                    </a:cubicBezTo>
                    <a:cubicBezTo>
                      <a:pt x="489003" y="1295909"/>
                      <a:pt x="734169" y="972555"/>
                      <a:pt x="755373" y="878464"/>
                    </a:cubicBezTo>
                    <a:cubicBezTo>
                      <a:pt x="816333" y="727390"/>
                      <a:pt x="1115833" y="695583"/>
                      <a:pt x="1311965" y="6717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76" name="직사각형 100">
              <a:extLst>
                <a:ext uri="{FF2B5EF4-FFF2-40B4-BE49-F238E27FC236}">
                  <a16:creationId xmlns:a16="http://schemas.microsoft.com/office/drawing/2014/main" xmlns="" id="{F1E70B82-F90A-440E-820B-CBBABF015D08}"/>
                </a:ext>
              </a:extLst>
            </p:cNvPr>
            <p:cNvSpPr/>
            <p:nvPr/>
          </p:nvSpPr>
          <p:spPr>
            <a:xfrm rot="18740140">
              <a:off x="1894195" y="2506511"/>
              <a:ext cx="285737" cy="70930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50800" dir="5400000" algn="ctr" rotWithShape="0">
                <a:srgbClr val="000000">
                  <a:alpha val="2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</p:grpSp>
      <p:sp>
        <p:nvSpPr>
          <p:cNvPr id="79" name="Rectangle 21">
            <a:extLst>
              <a:ext uri="{FF2B5EF4-FFF2-40B4-BE49-F238E27FC236}">
                <a16:creationId xmlns:a16="http://schemas.microsoft.com/office/drawing/2014/main" xmlns="" id="{333817EA-7337-43FE-8B58-936C2D6864B0}"/>
              </a:ext>
            </a:extLst>
          </p:cNvPr>
          <p:cNvSpPr/>
          <p:nvPr/>
        </p:nvSpPr>
        <p:spPr>
          <a:xfrm>
            <a:off x="9805098" y="2485844"/>
            <a:ext cx="1142334" cy="639925"/>
          </a:xfrm>
          <a:custGeom>
            <a:avLst/>
            <a:gdLst/>
            <a:ahLst/>
            <a:cxnLst/>
            <a:rect l="l" t="t" r="r" b="b"/>
            <a:pathLst>
              <a:path w="4560938" h="2554996">
                <a:moveTo>
                  <a:pt x="2315585" y="1351978"/>
                </a:moveTo>
                <a:lnTo>
                  <a:pt x="2315585" y="1608128"/>
                </a:lnTo>
                <a:cubicBezTo>
                  <a:pt x="2332000" y="1604085"/>
                  <a:pt x="2347685" y="1596777"/>
                  <a:pt x="2361832" y="1586519"/>
                </a:cubicBezTo>
                <a:cubicBezTo>
                  <a:pt x="2403345" y="1556419"/>
                  <a:pt x="2424829" y="1505846"/>
                  <a:pt x="2417675" y="1455070"/>
                </a:cubicBezTo>
                <a:cubicBezTo>
                  <a:pt x="2409025" y="1388817"/>
                  <a:pt x="2368208" y="1366470"/>
                  <a:pt x="2315585" y="1351978"/>
                </a:cubicBezTo>
                <a:close/>
                <a:moveTo>
                  <a:pt x="3612086" y="989467"/>
                </a:moveTo>
                <a:cubicBezTo>
                  <a:pt x="3453010" y="989467"/>
                  <a:pt x="3324054" y="1118423"/>
                  <a:pt x="3324054" y="1277499"/>
                </a:cubicBezTo>
                <a:cubicBezTo>
                  <a:pt x="3324054" y="1436575"/>
                  <a:pt x="3453010" y="1565531"/>
                  <a:pt x="3612086" y="1565531"/>
                </a:cubicBezTo>
                <a:cubicBezTo>
                  <a:pt x="3771162" y="1565531"/>
                  <a:pt x="3900118" y="1436575"/>
                  <a:pt x="3900118" y="1277499"/>
                </a:cubicBezTo>
                <a:cubicBezTo>
                  <a:pt x="3900118" y="1118423"/>
                  <a:pt x="3771162" y="989467"/>
                  <a:pt x="3612086" y="989467"/>
                </a:cubicBezTo>
                <a:close/>
                <a:moveTo>
                  <a:pt x="948854" y="989467"/>
                </a:moveTo>
                <a:cubicBezTo>
                  <a:pt x="789778" y="989467"/>
                  <a:pt x="660822" y="1118423"/>
                  <a:pt x="660822" y="1277499"/>
                </a:cubicBezTo>
                <a:cubicBezTo>
                  <a:pt x="660822" y="1436575"/>
                  <a:pt x="789778" y="1565531"/>
                  <a:pt x="948854" y="1565531"/>
                </a:cubicBezTo>
                <a:cubicBezTo>
                  <a:pt x="1107930" y="1565531"/>
                  <a:pt x="1236886" y="1436575"/>
                  <a:pt x="1236886" y="1277499"/>
                </a:cubicBezTo>
                <a:cubicBezTo>
                  <a:pt x="1236886" y="1118423"/>
                  <a:pt x="1107930" y="989467"/>
                  <a:pt x="948854" y="989467"/>
                </a:cubicBezTo>
                <a:close/>
                <a:moveTo>
                  <a:pt x="2247651" y="946230"/>
                </a:moveTo>
                <a:cubicBezTo>
                  <a:pt x="2230469" y="950266"/>
                  <a:pt x="2214012" y="957763"/>
                  <a:pt x="2199233" y="968479"/>
                </a:cubicBezTo>
                <a:cubicBezTo>
                  <a:pt x="2157721" y="998579"/>
                  <a:pt x="2136236" y="1049152"/>
                  <a:pt x="2143390" y="1099928"/>
                </a:cubicBezTo>
                <a:cubicBezTo>
                  <a:pt x="2157154" y="1167662"/>
                  <a:pt x="2197550" y="1197656"/>
                  <a:pt x="2247651" y="1217102"/>
                </a:cubicBezTo>
                <a:close/>
                <a:moveTo>
                  <a:pt x="2247651" y="785264"/>
                </a:moveTo>
                <a:lnTo>
                  <a:pt x="2315585" y="785264"/>
                </a:lnTo>
                <a:lnTo>
                  <a:pt x="2315585" y="832380"/>
                </a:lnTo>
                <a:cubicBezTo>
                  <a:pt x="2341411" y="835890"/>
                  <a:pt x="2366862" y="843587"/>
                  <a:pt x="2390991" y="855423"/>
                </a:cubicBezTo>
                <a:cubicBezTo>
                  <a:pt x="2474360" y="896319"/>
                  <a:pt x="2528313" y="979930"/>
                  <a:pt x="2531223" y="1072743"/>
                </a:cubicBezTo>
                <a:lnTo>
                  <a:pt x="2418963" y="1076264"/>
                </a:lnTo>
                <a:cubicBezTo>
                  <a:pt x="2417356" y="1025012"/>
                  <a:pt x="2387564" y="978842"/>
                  <a:pt x="2341528" y="956260"/>
                </a:cubicBezTo>
                <a:cubicBezTo>
                  <a:pt x="2333151" y="952151"/>
                  <a:pt x="2324486" y="948946"/>
                  <a:pt x="2315585" y="946938"/>
                </a:cubicBezTo>
                <a:lnTo>
                  <a:pt x="2315585" y="1239083"/>
                </a:lnTo>
                <a:cubicBezTo>
                  <a:pt x="2404308" y="1264638"/>
                  <a:pt x="2499083" y="1293869"/>
                  <a:pt x="2528899" y="1441205"/>
                </a:cubicBezTo>
                <a:cubicBezTo>
                  <a:pt x="2541347" y="1532528"/>
                  <a:pt x="2502457" y="1623287"/>
                  <a:pt x="2427762" y="1677447"/>
                </a:cubicBezTo>
                <a:cubicBezTo>
                  <a:pt x="2394006" y="1701923"/>
                  <a:pt x="2355419" y="1717125"/>
                  <a:pt x="2315585" y="1722661"/>
                </a:cubicBezTo>
                <a:lnTo>
                  <a:pt x="2315585" y="1769734"/>
                </a:lnTo>
                <a:lnTo>
                  <a:pt x="2247651" y="1769734"/>
                </a:lnTo>
                <a:lnTo>
                  <a:pt x="2247651" y="1722944"/>
                </a:lnTo>
                <a:cubicBezTo>
                  <a:pt x="2221084" y="1719537"/>
                  <a:pt x="2194881" y="1711743"/>
                  <a:pt x="2170074" y="1699575"/>
                </a:cubicBezTo>
                <a:cubicBezTo>
                  <a:pt x="2086705" y="1658679"/>
                  <a:pt x="2032752" y="1575069"/>
                  <a:pt x="2029842" y="1482255"/>
                </a:cubicBezTo>
                <a:lnTo>
                  <a:pt x="2142102" y="1478734"/>
                </a:lnTo>
                <a:cubicBezTo>
                  <a:pt x="2143709" y="1529986"/>
                  <a:pt x="2173501" y="1576156"/>
                  <a:pt x="2219537" y="1598738"/>
                </a:cubicBezTo>
                <a:cubicBezTo>
                  <a:pt x="2228602" y="1603184"/>
                  <a:pt x="2238004" y="1606573"/>
                  <a:pt x="2247651" y="1608616"/>
                </a:cubicBezTo>
                <a:lnTo>
                  <a:pt x="2247651" y="1335176"/>
                </a:lnTo>
                <a:cubicBezTo>
                  <a:pt x="2162261" y="1314127"/>
                  <a:pt x="2069489" y="1278142"/>
                  <a:pt x="2032173" y="1115597"/>
                </a:cubicBezTo>
                <a:cubicBezTo>
                  <a:pt x="2019217" y="1023646"/>
                  <a:pt x="2058125" y="932061"/>
                  <a:pt x="2133303" y="877552"/>
                </a:cubicBezTo>
                <a:cubicBezTo>
                  <a:pt x="2167670" y="852632"/>
                  <a:pt x="2207046" y="837325"/>
                  <a:pt x="2247651" y="832077"/>
                </a:cubicBezTo>
                <a:close/>
                <a:moveTo>
                  <a:pt x="2280470" y="617534"/>
                </a:moveTo>
                <a:cubicBezTo>
                  <a:pt x="1915981" y="617534"/>
                  <a:pt x="1620504" y="913011"/>
                  <a:pt x="1620504" y="1277500"/>
                </a:cubicBezTo>
                <a:cubicBezTo>
                  <a:pt x="1620504" y="1641989"/>
                  <a:pt x="1915981" y="1937466"/>
                  <a:pt x="2280470" y="1937466"/>
                </a:cubicBezTo>
                <a:cubicBezTo>
                  <a:pt x="2644959" y="1937466"/>
                  <a:pt x="2940436" y="1641989"/>
                  <a:pt x="2940436" y="1277500"/>
                </a:cubicBezTo>
                <a:cubicBezTo>
                  <a:pt x="2940436" y="913011"/>
                  <a:pt x="2644959" y="617534"/>
                  <a:pt x="2280470" y="617534"/>
                </a:cubicBezTo>
                <a:close/>
                <a:moveTo>
                  <a:pt x="284505" y="265281"/>
                </a:moveTo>
                <a:lnTo>
                  <a:pt x="4276434" y="265281"/>
                </a:lnTo>
                <a:lnTo>
                  <a:pt x="4276434" y="2289716"/>
                </a:lnTo>
                <a:lnTo>
                  <a:pt x="284505" y="2289716"/>
                </a:lnTo>
                <a:close/>
                <a:moveTo>
                  <a:pt x="180344" y="148161"/>
                </a:moveTo>
                <a:lnTo>
                  <a:pt x="180344" y="2406836"/>
                </a:lnTo>
                <a:lnTo>
                  <a:pt x="4380595" y="2406836"/>
                </a:lnTo>
                <a:lnTo>
                  <a:pt x="4380595" y="148161"/>
                </a:lnTo>
                <a:close/>
                <a:moveTo>
                  <a:pt x="0" y="0"/>
                </a:moveTo>
                <a:lnTo>
                  <a:pt x="4560938" y="0"/>
                </a:lnTo>
                <a:lnTo>
                  <a:pt x="4560938" y="2554996"/>
                </a:lnTo>
                <a:lnTo>
                  <a:pt x="0" y="25549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 latinLnBrk="0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grpSp>
        <p:nvGrpSpPr>
          <p:cNvPr id="80" name="그룹 3">
            <a:extLst>
              <a:ext uri="{FF2B5EF4-FFF2-40B4-BE49-F238E27FC236}">
                <a16:creationId xmlns:a16="http://schemas.microsoft.com/office/drawing/2014/main" xmlns="" id="{5639A761-BD56-4742-A098-3B4573C59190}"/>
              </a:ext>
            </a:extLst>
          </p:cNvPr>
          <p:cNvGrpSpPr/>
          <p:nvPr/>
        </p:nvGrpSpPr>
        <p:grpSpPr>
          <a:xfrm>
            <a:off x="1111576" y="1467003"/>
            <a:ext cx="1116529" cy="741016"/>
            <a:chOff x="9017332" y="4660057"/>
            <a:chExt cx="1116529" cy="741016"/>
          </a:xfrm>
        </p:grpSpPr>
        <p:grpSp>
          <p:nvGrpSpPr>
            <p:cNvPr id="81" name="그룹 106">
              <a:extLst>
                <a:ext uri="{FF2B5EF4-FFF2-40B4-BE49-F238E27FC236}">
                  <a16:creationId xmlns:a16="http://schemas.microsoft.com/office/drawing/2014/main" xmlns="" id="{99AE7487-AEB0-4B9C-8CC0-1D56DAFB1C63}"/>
                </a:ext>
              </a:extLst>
            </p:cNvPr>
            <p:cNvGrpSpPr/>
            <p:nvPr/>
          </p:nvGrpSpPr>
          <p:grpSpPr>
            <a:xfrm>
              <a:off x="9017332" y="4660057"/>
              <a:ext cx="1116529" cy="741016"/>
              <a:chOff x="8890504" y="1819747"/>
              <a:chExt cx="2424749" cy="1609253"/>
            </a:xfrm>
          </p:grpSpPr>
          <p:sp>
            <p:nvSpPr>
              <p:cNvPr id="83" name="사각형: 둥근 모서리 108">
                <a:extLst>
                  <a:ext uri="{FF2B5EF4-FFF2-40B4-BE49-F238E27FC236}">
                    <a16:creationId xmlns:a16="http://schemas.microsoft.com/office/drawing/2014/main" xmlns="" id="{5FE494D7-7D3B-4569-A673-28EC23DF8304}"/>
                  </a:ext>
                </a:extLst>
              </p:cNvPr>
              <p:cNvSpPr/>
              <p:nvPr/>
            </p:nvSpPr>
            <p:spPr>
              <a:xfrm>
                <a:off x="8890504" y="1819747"/>
                <a:ext cx="2338544" cy="1609253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84" name="사각형: 둥근 모서리 109">
                <a:extLst>
                  <a:ext uri="{FF2B5EF4-FFF2-40B4-BE49-F238E27FC236}">
                    <a16:creationId xmlns:a16="http://schemas.microsoft.com/office/drawing/2014/main" xmlns="" id="{F5906E4D-26C7-437B-AD23-F402B8A2F0D4}"/>
                  </a:ext>
                </a:extLst>
              </p:cNvPr>
              <p:cNvSpPr/>
              <p:nvPr/>
            </p:nvSpPr>
            <p:spPr>
              <a:xfrm>
                <a:off x="9000521" y="1954285"/>
                <a:ext cx="2118510" cy="1340176"/>
              </a:xfrm>
              <a:prstGeom prst="roundRect">
                <a:avLst>
                  <a:gd name="adj" fmla="val 12614"/>
                </a:avLst>
              </a:prstGeom>
              <a:noFill/>
              <a:ln w="22225">
                <a:solidFill>
                  <a:schemeClr val="bg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85" name="사각형: 둥근 모서리 110">
                <a:extLst>
                  <a:ext uri="{FF2B5EF4-FFF2-40B4-BE49-F238E27FC236}">
                    <a16:creationId xmlns:a16="http://schemas.microsoft.com/office/drawing/2014/main" xmlns="" id="{35C39759-121D-45DB-8E68-002AD436DE97}"/>
                  </a:ext>
                </a:extLst>
              </p:cNvPr>
              <p:cNvSpPr/>
              <p:nvPr/>
            </p:nvSpPr>
            <p:spPr>
              <a:xfrm>
                <a:off x="10616628" y="2383996"/>
                <a:ext cx="698625" cy="480754"/>
              </a:xfrm>
              <a:prstGeom prst="roundRect">
                <a:avLst/>
              </a:prstGeom>
              <a:solidFill>
                <a:schemeClr val="accent4"/>
              </a:solidFill>
              <a:ln w="158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  <p:sp>
            <p:nvSpPr>
              <p:cNvPr id="86" name="타원 111">
                <a:extLst>
                  <a:ext uri="{FF2B5EF4-FFF2-40B4-BE49-F238E27FC236}">
                    <a16:creationId xmlns:a16="http://schemas.microsoft.com/office/drawing/2014/main" xmlns="" id="{3F7D3D44-CFD5-484A-897E-087EC611B74B}"/>
                  </a:ext>
                </a:extLst>
              </p:cNvPr>
              <p:cNvSpPr/>
              <p:nvPr/>
            </p:nvSpPr>
            <p:spPr>
              <a:xfrm>
                <a:off x="10732612" y="2479518"/>
                <a:ext cx="289711" cy="28971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 latinLnBrk="0"/>
                <a:endParaRPr lang="ko-KR" altLang="en-US" dirty="0">
                  <a:solidFill>
                    <a:prstClr val="white"/>
                  </a:solidFill>
                  <a:ea typeface="08서울남산체 B" panose="02020603020101020101" pitchFamily="18" charset="-127"/>
                </a:endParaRPr>
              </a:p>
            </p:txBody>
          </p:sp>
        </p:grpSp>
        <p:sp>
          <p:nvSpPr>
            <p:cNvPr id="82" name="Block Arc 11">
              <a:extLst>
                <a:ext uri="{FF2B5EF4-FFF2-40B4-BE49-F238E27FC236}">
                  <a16:creationId xmlns:a16="http://schemas.microsoft.com/office/drawing/2014/main" xmlns="" id="{FD4F1077-E96B-4845-9DD2-A56090A5A784}"/>
                </a:ext>
              </a:extLst>
            </p:cNvPr>
            <p:cNvSpPr/>
            <p:nvPr/>
          </p:nvSpPr>
          <p:spPr>
            <a:xfrm>
              <a:off x="9415738" y="4824489"/>
              <a:ext cx="255069" cy="415030"/>
            </a:xfrm>
            <a:custGeom>
              <a:avLst/>
              <a:gdLst/>
              <a:ahLst/>
              <a:cxnLst/>
              <a:rect l="l" t="t" r="r" b="b"/>
              <a:pathLst>
                <a:path w="3636337" h="7138182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87" name="그룹 2">
            <a:extLst>
              <a:ext uri="{FF2B5EF4-FFF2-40B4-BE49-F238E27FC236}">
                <a16:creationId xmlns:a16="http://schemas.microsoft.com/office/drawing/2014/main" xmlns="" id="{ED8B6662-E737-4084-841E-9D0A36C12436}"/>
              </a:ext>
            </a:extLst>
          </p:cNvPr>
          <p:cNvGrpSpPr/>
          <p:nvPr/>
        </p:nvGrpSpPr>
        <p:grpSpPr>
          <a:xfrm>
            <a:off x="1079112" y="3394272"/>
            <a:ext cx="1181456" cy="1172060"/>
            <a:chOff x="2112749" y="3418107"/>
            <a:chExt cx="1181456" cy="1172060"/>
          </a:xfrm>
        </p:grpSpPr>
        <p:sp>
          <p:nvSpPr>
            <p:cNvPr id="88" name="자유형: 도형 113">
              <a:extLst>
                <a:ext uri="{FF2B5EF4-FFF2-40B4-BE49-F238E27FC236}">
                  <a16:creationId xmlns:a16="http://schemas.microsoft.com/office/drawing/2014/main" xmlns="" id="{02D65830-562E-437E-84C4-8B64E6D4927E}"/>
                </a:ext>
              </a:extLst>
            </p:cNvPr>
            <p:cNvSpPr>
              <a:spLocks noChangeAspect="1"/>
            </p:cNvSpPr>
            <p:nvPr/>
          </p:nvSpPr>
          <p:spPr>
            <a:xfrm rot="2848566">
              <a:off x="2117447" y="3413409"/>
              <a:ext cx="1172060" cy="1181456"/>
            </a:xfrm>
            <a:custGeom>
              <a:avLst/>
              <a:gdLst>
                <a:gd name="connsiteX0" fmla="*/ 302812 w 1172060"/>
                <a:gd name="connsiteY0" fmla="*/ 668924 h 1181456"/>
                <a:gd name="connsiteX1" fmla="*/ 629231 w 1172060"/>
                <a:gd name="connsiteY1" fmla="*/ 315506 h 1181456"/>
                <a:gd name="connsiteX2" fmla="*/ 1063707 w 1172060"/>
                <a:gd name="connsiteY2" fmla="*/ 395423 h 1181456"/>
                <a:gd name="connsiteX3" fmla="*/ 998378 w 1172060"/>
                <a:gd name="connsiteY3" fmla="*/ 964382 h 1181456"/>
                <a:gd name="connsiteX4" fmla="*/ 403821 w 1172060"/>
                <a:gd name="connsiteY4" fmla="*/ 1073546 h 1181456"/>
                <a:gd name="connsiteX5" fmla="*/ 403085 w 1172060"/>
                <a:gd name="connsiteY5" fmla="*/ 1072441 h 1181456"/>
                <a:gd name="connsiteX6" fmla="*/ 302812 w 1172060"/>
                <a:gd name="connsiteY6" fmla="*/ 668924 h 1181456"/>
                <a:gd name="connsiteX7" fmla="*/ 237854 w 1172060"/>
                <a:gd name="connsiteY7" fmla="*/ 595408 h 1181456"/>
                <a:gd name="connsiteX8" fmla="*/ 542985 w 1172060"/>
                <a:gd name="connsiteY8" fmla="*/ 262697 h 1181456"/>
                <a:gd name="connsiteX9" fmla="*/ 561746 w 1172060"/>
                <a:gd name="connsiteY9" fmla="*/ 261886 h 1181456"/>
                <a:gd name="connsiteX10" fmla="*/ 600889 w 1172060"/>
                <a:gd name="connsiteY10" fmla="*/ 297782 h 1181456"/>
                <a:gd name="connsiteX11" fmla="*/ 601700 w 1172060"/>
                <a:gd name="connsiteY11" fmla="*/ 316543 h 1181456"/>
                <a:gd name="connsiteX12" fmla="*/ 296568 w 1172060"/>
                <a:gd name="connsiteY12" fmla="*/ 649254 h 1181456"/>
                <a:gd name="connsiteX13" fmla="*/ 277807 w 1172060"/>
                <a:gd name="connsiteY13" fmla="*/ 650065 h 1181456"/>
                <a:gd name="connsiteX14" fmla="*/ 238665 w 1172060"/>
                <a:gd name="connsiteY14" fmla="*/ 614168 h 1181456"/>
                <a:gd name="connsiteX15" fmla="*/ 237854 w 1172060"/>
                <a:gd name="connsiteY15" fmla="*/ 595408 h 1181456"/>
                <a:gd name="connsiteX16" fmla="*/ 170715 w 1172060"/>
                <a:gd name="connsiteY16" fmla="*/ 196213 h 1181456"/>
                <a:gd name="connsiteX17" fmla="*/ 330127 w 1172060"/>
                <a:gd name="connsiteY17" fmla="*/ 165192 h 1181456"/>
                <a:gd name="connsiteX18" fmla="*/ 440075 w 1172060"/>
                <a:gd name="connsiteY18" fmla="*/ 1218 h 1181456"/>
                <a:gd name="connsiteX19" fmla="*/ 521596 w 1172060"/>
                <a:gd name="connsiteY19" fmla="*/ 248757 h 1181456"/>
                <a:gd name="connsiteX20" fmla="*/ 234141 w 1172060"/>
                <a:gd name="connsiteY20" fmla="*/ 569990 h 1181456"/>
                <a:gd name="connsiteX21" fmla="*/ 35337 w 1172060"/>
                <a:gd name="connsiteY21" fmla="*/ 578003 h 1181456"/>
                <a:gd name="connsiteX22" fmla="*/ 123970 w 1172060"/>
                <a:gd name="connsiteY22" fmla="*/ 403571 h 1181456"/>
                <a:gd name="connsiteX23" fmla="*/ 170715 w 1172060"/>
                <a:gd name="connsiteY23" fmla="*/ 196213 h 118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72060" h="1181456">
                  <a:moveTo>
                    <a:pt x="302812" y="668924"/>
                  </a:moveTo>
                  <a:lnTo>
                    <a:pt x="629231" y="315506"/>
                  </a:lnTo>
                  <a:cubicBezTo>
                    <a:pt x="848283" y="306381"/>
                    <a:pt x="978182" y="305056"/>
                    <a:pt x="1063707" y="395423"/>
                  </a:cubicBezTo>
                  <a:cubicBezTo>
                    <a:pt x="1170280" y="508029"/>
                    <a:pt x="1267197" y="650379"/>
                    <a:pt x="998378" y="964382"/>
                  </a:cubicBezTo>
                  <a:cubicBezTo>
                    <a:pt x="696240" y="1276281"/>
                    <a:pt x="521556" y="1194524"/>
                    <a:pt x="403821" y="1073546"/>
                  </a:cubicBezTo>
                  <a:lnTo>
                    <a:pt x="403085" y="1072441"/>
                  </a:lnTo>
                  <a:cubicBezTo>
                    <a:pt x="324908" y="984678"/>
                    <a:pt x="302320" y="883213"/>
                    <a:pt x="302812" y="668924"/>
                  </a:cubicBezTo>
                  <a:close/>
                  <a:moveTo>
                    <a:pt x="237854" y="595408"/>
                  </a:moveTo>
                  <a:lnTo>
                    <a:pt x="542985" y="262697"/>
                  </a:lnTo>
                  <a:cubicBezTo>
                    <a:pt x="547942" y="257292"/>
                    <a:pt x="556341" y="256929"/>
                    <a:pt x="561746" y="261886"/>
                  </a:cubicBezTo>
                  <a:lnTo>
                    <a:pt x="600889" y="297782"/>
                  </a:lnTo>
                  <a:cubicBezTo>
                    <a:pt x="606293" y="302739"/>
                    <a:pt x="606657" y="311139"/>
                    <a:pt x="601700" y="316543"/>
                  </a:cubicBezTo>
                  <a:lnTo>
                    <a:pt x="296568" y="649254"/>
                  </a:lnTo>
                  <a:cubicBezTo>
                    <a:pt x="291611" y="654659"/>
                    <a:pt x="283212" y="655022"/>
                    <a:pt x="277807" y="650065"/>
                  </a:cubicBezTo>
                  <a:lnTo>
                    <a:pt x="238665" y="614168"/>
                  </a:lnTo>
                  <a:cubicBezTo>
                    <a:pt x="233260" y="609211"/>
                    <a:pt x="232898" y="600812"/>
                    <a:pt x="237854" y="595408"/>
                  </a:cubicBezTo>
                  <a:close/>
                  <a:moveTo>
                    <a:pt x="170715" y="196213"/>
                  </a:moveTo>
                  <a:cubicBezTo>
                    <a:pt x="239941" y="133429"/>
                    <a:pt x="250327" y="149631"/>
                    <a:pt x="330127" y="165192"/>
                  </a:cubicBezTo>
                  <a:cubicBezTo>
                    <a:pt x="445765" y="184636"/>
                    <a:pt x="396659" y="17962"/>
                    <a:pt x="440075" y="1218"/>
                  </a:cubicBezTo>
                  <a:cubicBezTo>
                    <a:pt x="478089" y="-13442"/>
                    <a:pt x="565874" y="106294"/>
                    <a:pt x="521596" y="248757"/>
                  </a:cubicBezTo>
                  <a:cubicBezTo>
                    <a:pt x="421713" y="357668"/>
                    <a:pt x="334023" y="461079"/>
                    <a:pt x="234141" y="569990"/>
                  </a:cubicBezTo>
                  <a:cubicBezTo>
                    <a:pt x="126009" y="620334"/>
                    <a:pt x="81210" y="609522"/>
                    <a:pt x="35337" y="578003"/>
                  </a:cubicBezTo>
                  <a:cubicBezTo>
                    <a:pt x="-10537" y="546484"/>
                    <a:pt x="-37835" y="446419"/>
                    <a:pt x="123970" y="403571"/>
                  </a:cubicBezTo>
                  <a:cubicBezTo>
                    <a:pt x="185254" y="392132"/>
                    <a:pt x="69653" y="346354"/>
                    <a:pt x="170715" y="1962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86" latinLnBrk="0"/>
              <a:endParaRPr lang="ko-KR" alt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89" name="Block Arc 11">
              <a:extLst>
                <a:ext uri="{FF2B5EF4-FFF2-40B4-BE49-F238E27FC236}">
                  <a16:creationId xmlns:a16="http://schemas.microsoft.com/office/drawing/2014/main" xmlns="" id="{055A7CF9-BB3B-4995-AB6C-F2FF19999200}"/>
                </a:ext>
              </a:extLst>
            </p:cNvPr>
            <p:cNvSpPr/>
            <p:nvPr/>
          </p:nvSpPr>
          <p:spPr>
            <a:xfrm>
              <a:off x="2575942" y="4011357"/>
              <a:ext cx="255069" cy="415030"/>
            </a:xfrm>
            <a:custGeom>
              <a:avLst/>
              <a:gdLst/>
              <a:ahLst/>
              <a:cxnLst/>
              <a:rect l="l" t="t" r="r" b="b"/>
              <a:pathLst>
                <a:path w="3636337" h="7138182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  <p:grpSp>
        <p:nvGrpSpPr>
          <p:cNvPr id="90" name="그룹 5">
            <a:extLst>
              <a:ext uri="{FF2B5EF4-FFF2-40B4-BE49-F238E27FC236}">
                <a16:creationId xmlns:a16="http://schemas.microsoft.com/office/drawing/2014/main" xmlns="" id="{5F691474-0A83-4257-953C-8ABAA757CA9F}"/>
              </a:ext>
            </a:extLst>
          </p:cNvPr>
          <p:cNvGrpSpPr/>
          <p:nvPr/>
        </p:nvGrpSpPr>
        <p:grpSpPr>
          <a:xfrm>
            <a:off x="10179912" y="4662192"/>
            <a:ext cx="914400" cy="914400"/>
            <a:chOff x="2460435" y="1380960"/>
            <a:chExt cx="914400" cy="914400"/>
          </a:xfrm>
        </p:grpSpPr>
        <p:sp>
          <p:nvSpPr>
            <p:cNvPr id="91" name="타원 4">
              <a:extLst>
                <a:ext uri="{FF2B5EF4-FFF2-40B4-BE49-F238E27FC236}">
                  <a16:creationId xmlns:a16="http://schemas.microsoft.com/office/drawing/2014/main" xmlns="" id="{AB18A626-F538-4F22-8B98-A46E3D5B344E}"/>
                </a:ext>
              </a:extLst>
            </p:cNvPr>
            <p:cNvSpPr/>
            <p:nvPr/>
          </p:nvSpPr>
          <p:spPr>
            <a:xfrm>
              <a:off x="2460435" y="1380960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2" name="타원 105">
              <a:extLst>
                <a:ext uri="{FF2B5EF4-FFF2-40B4-BE49-F238E27FC236}">
                  <a16:creationId xmlns:a16="http://schemas.microsoft.com/office/drawing/2014/main" xmlns="" id="{A4A0AE56-B9D6-4C31-8C71-AE72AB4FBA07}"/>
                </a:ext>
              </a:extLst>
            </p:cNvPr>
            <p:cNvSpPr/>
            <p:nvPr/>
          </p:nvSpPr>
          <p:spPr>
            <a:xfrm>
              <a:off x="2529738" y="1453602"/>
              <a:ext cx="778252" cy="778252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white"/>
                </a:solidFill>
                <a:ea typeface="08서울남산체 B" panose="02020603020101020101" pitchFamily="18" charset="-127"/>
              </a:endParaRPr>
            </a:p>
          </p:txBody>
        </p:sp>
        <p:sp>
          <p:nvSpPr>
            <p:cNvPr id="93" name="Block Arc 11">
              <a:extLst>
                <a:ext uri="{FF2B5EF4-FFF2-40B4-BE49-F238E27FC236}">
                  <a16:creationId xmlns:a16="http://schemas.microsoft.com/office/drawing/2014/main" xmlns="" id="{E90C19C8-6124-485F-AF0B-CC8405E6499C}"/>
                </a:ext>
              </a:extLst>
            </p:cNvPr>
            <p:cNvSpPr/>
            <p:nvPr/>
          </p:nvSpPr>
          <p:spPr>
            <a:xfrm>
              <a:off x="2761961" y="1573266"/>
              <a:ext cx="311347" cy="506602"/>
            </a:xfrm>
            <a:custGeom>
              <a:avLst/>
              <a:gdLst/>
              <a:ahLst/>
              <a:cxnLst/>
              <a:rect l="l" t="t" r="r" b="b"/>
              <a:pathLst>
                <a:path w="3636337" h="7138182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 latinLnBrk="0"/>
              <a:endParaRPr lang="ko-KR" altLang="en-US" dirty="0">
                <a:solidFill>
                  <a:prstClr val="black"/>
                </a:solidFill>
                <a:ea typeface="08서울남산체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52157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3370" y="197356"/>
            <a:ext cx="10128448" cy="1035373"/>
          </a:xfrm>
        </p:spPr>
        <p:txBody>
          <a:bodyPr/>
          <a:lstStyle/>
          <a:p>
            <a:r>
              <a:rPr lang="en-US" altLang="ko-KR" dirty="0">
                <a:solidFill>
                  <a:schemeClr val="accent3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Promotion: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브이로그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제작</a:t>
            </a:r>
          </a:p>
        </p:txBody>
      </p:sp>
      <p:sp>
        <p:nvSpPr>
          <p:cNvPr id="4" name="Rectangle 3"/>
          <p:cNvSpPr/>
          <p:nvPr/>
        </p:nvSpPr>
        <p:spPr>
          <a:xfrm>
            <a:off x="2171700" y="2313450"/>
            <a:ext cx="8628823" cy="12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59810" y="2767926"/>
            <a:ext cx="7902347" cy="372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삼성카드에서 제작하는 서비스 및 앞서 제시한 새로운 프로모션 혜택들을 홍보하기 위해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SNS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채널을 적극 활용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코로나 일상 속 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뉴노멀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에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적응하며 삼성카드의 혜택들을 누리는 </a:t>
            </a:r>
            <a:r>
              <a:rPr kumimoji="0" lang="ko-KR" alt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시민의 하루를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담는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전 연령층이 편하게 다가가기 쉬운 귀여운 캐릭터를 주인공으로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브이로그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형식 영상을 제작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제작 후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영상을 공식 유튜브 및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인스타그램에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올려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온라인 플랫폼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에서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소비자들과의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소통을 활성화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Arial" pitchFamily="34" charset="0"/>
            </a:endParaRPr>
          </a:p>
          <a:p>
            <a:pPr marL="285750" marR="0" lvl="0" indent="-285750" algn="l" defTabSz="91428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이를 통해 코로나 속 </a:t>
            </a:r>
            <a:r>
              <a:rPr kumimoji="0" lang="ko-KR" altLang="en-US" sz="1800" b="1" i="0" u="sng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온택트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(Online + Contact)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 </a:t>
            </a:r>
            <a:r>
              <a:rPr kumimoji="0" lang="ko-KR" alt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공감대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를 형성할 뿐만 아니라 사용방법을 잘 모르거나 생소한 </a:t>
            </a:r>
            <a:r>
              <a:rPr kumimoji="0" lang="ko-KR" alt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서비스에 대한 인식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도 제고한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Arial" pitchFamily="34" charset="0"/>
              </a:rPr>
              <a:t>.</a:t>
            </a:r>
          </a:p>
        </p:txBody>
      </p:sp>
      <p:pic>
        <p:nvPicPr>
          <p:cNvPr id="3074" name="Picture 2" descr="Youtube Logo Icon of Flat style - Available in SVG, PNG, EPS, AI &amp; Icon  fonts">
            <a:extLst>
              <a:ext uri="{FF2B5EF4-FFF2-40B4-BE49-F238E27FC236}">
                <a16:creationId xmlns:a16="http://schemas.microsoft.com/office/drawing/2014/main" xmlns="" id="{05FA4AAC-EF45-44CA-B279-E2EB9145F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0485" y="2987001"/>
            <a:ext cx="657225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File:Instagram icon.png - Wikimedia Commons">
            <a:extLst>
              <a:ext uri="{FF2B5EF4-FFF2-40B4-BE49-F238E27FC236}">
                <a16:creationId xmlns:a16="http://schemas.microsoft.com/office/drawing/2014/main" xmlns="" id="{A3727452-6457-41B9-8C23-A555ADEB3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9060" y="4872427"/>
            <a:ext cx="600075" cy="60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ounded Rectangle 27">
            <a:extLst>
              <a:ext uri="{FF2B5EF4-FFF2-40B4-BE49-F238E27FC236}">
                <a16:creationId xmlns:a16="http://schemas.microsoft.com/office/drawing/2014/main" xmlns="" id="{0E12BD99-F4CE-42F8-9BEB-73BF19D5C7AB}"/>
              </a:ext>
            </a:extLst>
          </p:cNvPr>
          <p:cNvSpPr/>
          <p:nvPr/>
        </p:nvSpPr>
        <p:spPr>
          <a:xfrm>
            <a:off x="9023110" y="1835693"/>
            <a:ext cx="446400" cy="345600"/>
          </a:xfrm>
          <a:custGeom>
            <a:avLst/>
            <a:gdLst/>
            <a:ahLst/>
            <a:cxnLst/>
            <a:rect l="l" t="t" r="r" b="b"/>
            <a:pathLst>
              <a:path w="3186824" h="2447912">
                <a:moveTo>
                  <a:pt x="1917737" y="1021643"/>
                </a:moveTo>
                <a:cubicBezTo>
                  <a:pt x="2188548" y="1021643"/>
                  <a:pt x="2408083" y="1241178"/>
                  <a:pt x="2408083" y="1511989"/>
                </a:cubicBezTo>
                <a:cubicBezTo>
                  <a:pt x="2408083" y="1782800"/>
                  <a:pt x="2188548" y="2002335"/>
                  <a:pt x="1917737" y="2002335"/>
                </a:cubicBezTo>
                <a:cubicBezTo>
                  <a:pt x="1646926" y="2002335"/>
                  <a:pt x="1427391" y="1782800"/>
                  <a:pt x="1427391" y="1511989"/>
                </a:cubicBezTo>
                <a:cubicBezTo>
                  <a:pt x="1427391" y="1241178"/>
                  <a:pt x="1646926" y="1021643"/>
                  <a:pt x="1917737" y="1021643"/>
                </a:cubicBezTo>
                <a:close/>
                <a:moveTo>
                  <a:pt x="1917737" y="827913"/>
                </a:moveTo>
                <a:cubicBezTo>
                  <a:pt x="1539932" y="827913"/>
                  <a:pt x="1233661" y="1134184"/>
                  <a:pt x="1233661" y="1511989"/>
                </a:cubicBezTo>
                <a:cubicBezTo>
                  <a:pt x="1233661" y="1889794"/>
                  <a:pt x="1539932" y="2196065"/>
                  <a:pt x="1917737" y="2196065"/>
                </a:cubicBezTo>
                <a:cubicBezTo>
                  <a:pt x="2295542" y="2196065"/>
                  <a:pt x="2601813" y="1889794"/>
                  <a:pt x="2601813" y="1511989"/>
                </a:cubicBezTo>
                <a:cubicBezTo>
                  <a:pt x="2601813" y="1134184"/>
                  <a:pt x="2295542" y="827913"/>
                  <a:pt x="1917737" y="827913"/>
                </a:cubicBezTo>
                <a:close/>
                <a:moveTo>
                  <a:pt x="1112286" y="675885"/>
                </a:moveTo>
                <a:lnTo>
                  <a:pt x="1112286" y="830188"/>
                </a:lnTo>
                <a:lnTo>
                  <a:pt x="1328310" y="830188"/>
                </a:lnTo>
                <a:lnTo>
                  <a:pt x="1328310" y="675885"/>
                </a:lnTo>
                <a:close/>
                <a:moveTo>
                  <a:pt x="2586084" y="626422"/>
                </a:moveTo>
                <a:lnTo>
                  <a:pt x="2586084" y="830188"/>
                </a:lnTo>
                <a:lnTo>
                  <a:pt x="3001340" y="830188"/>
                </a:lnTo>
                <a:lnTo>
                  <a:pt x="3001340" y="626422"/>
                </a:lnTo>
                <a:close/>
                <a:moveTo>
                  <a:pt x="1593701" y="108218"/>
                </a:moveTo>
                <a:lnTo>
                  <a:pt x="1593701" y="432905"/>
                </a:lnTo>
                <a:lnTo>
                  <a:pt x="2241773" y="432905"/>
                </a:lnTo>
                <a:lnTo>
                  <a:pt x="2241773" y="108218"/>
                </a:lnTo>
                <a:close/>
                <a:moveTo>
                  <a:pt x="1452512" y="0"/>
                </a:moveTo>
                <a:lnTo>
                  <a:pt x="2382963" y="0"/>
                </a:lnTo>
                <a:cubicBezTo>
                  <a:pt x="2433311" y="0"/>
                  <a:pt x="2474127" y="40816"/>
                  <a:pt x="2474127" y="91164"/>
                </a:cubicBezTo>
                <a:lnTo>
                  <a:pt x="2474127" y="432905"/>
                </a:lnTo>
                <a:lnTo>
                  <a:pt x="2933014" y="432905"/>
                </a:lnTo>
                <a:cubicBezTo>
                  <a:pt x="3073189" y="432905"/>
                  <a:pt x="3186824" y="546540"/>
                  <a:pt x="3186824" y="686715"/>
                </a:cubicBezTo>
                <a:lnTo>
                  <a:pt x="3186824" y="2194102"/>
                </a:lnTo>
                <a:cubicBezTo>
                  <a:pt x="3186824" y="2334277"/>
                  <a:pt x="3073189" y="2447912"/>
                  <a:pt x="2933014" y="2447912"/>
                </a:cubicBezTo>
                <a:lnTo>
                  <a:pt x="253810" y="2447912"/>
                </a:lnTo>
                <a:cubicBezTo>
                  <a:pt x="113635" y="2447912"/>
                  <a:pt x="0" y="2334277"/>
                  <a:pt x="0" y="2194102"/>
                </a:cubicBezTo>
                <a:lnTo>
                  <a:pt x="0" y="686715"/>
                </a:lnTo>
                <a:cubicBezTo>
                  <a:pt x="0" y="546540"/>
                  <a:pt x="113635" y="432905"/>
                  <a:pt x="253810" y="432905"/>
                </a:cubicBezTo>
                <a:lnTo>
                  <a:pt x="307082" y="432905"/>
                </a:lnTo>
                <a:lnTo>
                  <a:pt x="307082" y="313169"/>
                </a:lnTo>
                <a:cubicBezTo>
                  <a:pt x="307082" y="287995"/>
                  <a:pt x="327490" y="267587"/>
                  <a:pt x="352664" y="267587"/>
                </a:cubicBezTo>
                <a:lnTo>
                  <a:pt x="817888" y="267587"/>
                </a:lnTo>
                <a:cubicBezTo>
                  <a:pt x="843062" y="267587"/>
                  <a:pt x="863470" y="287995"/>
                  <a:pt x="863470" y="313169"/>
                </a:cubicBezTo>
                <a:lnTo>
                  <a:pt x="863470" y="432905"/>
                </a:lnTo>
                <a:lnTo>
                  <a:pt x="1361348" y="432905"/>
                </a:lnTo>
                <a:lnTo>
                  <a:pt x="1361348" y="91164"/>
                </a:lnTo>
                <a:cubicBezTo>
                  <a:pt x="1361348" y="40816"/>
                  <a:pt x="1402164" y="0"/>
                  <a:pt x="1452512" y="0"/>
                </a:cubicBezTo>
                <a:close/>
              </a:path>
            </a:pathLst>
          </a:custGeom>
          <a:solidFill>
            <a:srgbClr val="98DC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3" name="Rounded Rectangle 7">
            <a:extLst>
              <a:ext uri="{FF2B5EF4-FFF2-40B4-BE49-F238E27FC236}">
                <a16:creationId xmlns:a16="http://schemas.microsoft.com/office/drawing/2014/main" xmlns="" id="{7E4040DE-5E9F-473D-9E1D-E5ABC9F43AA2}"/>
              </a:ext>
            </a:extLst>
          </p:cNvPr>
          <p:cNvSpPr/>
          <p:nvPr/>
        </p:nvSpPr>
        <p:spPr>
          <a:xfrm>
            <a:off x="3275750" y="1812441"/>
            <a:ext cx="460800" cy="396000"/>
          </a:xfrm>
          <a:custGeom>
            <a:avLst/>
            <a:gdLst/>
            <a:ahLst/>
            <a:cxnLst/>
            <a:rect l="l" t="t" r="r" b="b"/>
            <a:pathLst>
              <a:path w="3240006" h="2796091">
                <a:moveTo>
                  <a:pt x="686867" y="612319"/>
                </a:moveTo>
                <a:cubicBezTo>
                  <a:pt x="611281" y="612319"/>
                  <a:pt x="550007" y="673593"/>
                  <a:pt x="550007" y="749179"/>
                </a:cubicBezTo>
                <a:cubicBezTo>
                  <a:pt x="550007" y="824765"/>
                  <a:pt x="611281" y="886039"/>
                  <a:pt x="686867" y="886039"/>
                </a:cubicBezTo>
                <a:cubicBezTo>
                  <a:pt x="762453" y="886039"/>
                  <a:pt x="823727" y="824765"/>
                  <a:pt x="823727" y="749179"/>
                </a:cubicBezTo>
                <a:cubicBezTo>
                  <a:pt x="823727" y="673593"/>
                  <a:pt x="762453" y="612319"/>
                  <a:pt x="686867" y="612319"/>
                </a:cubicBezTo>
                <a:close/>
                <a:moveTo>
                  <a:pt x="1587500" y="281447"/>
                </a:moveTo>
                <a:cubicBezTo>
                  <a:pt x="1432061" y="281447"/>
                  <a:pt x="1306053" y="407455"/>
                  <a:pt x="1306053" y="562894"/>
                </a:cubicBezTo>
                <a:cubicBezTo>
                  <a:pt x="1306053" y="718333"/>
                  <a:pt x="1432061" y="844341"/>
                  <a:pt x="1587500" y="844341"/>
                </a:cubicBezTo>
                <a:cubicBezTo>
                  <a:pt x="1742939" y="844341"/>
                  <a:pt x="1868947" y="718333"/>
                  <a:pt x="1868947" y="562894"/>
                </a:cubicBezTo>
                <a:cubicBezTo>
                  <a:pt x="1868947" y="407455"/>
                  <a:pt x="1742939" y="281447"/>
                  <a:pt x="1587500" y="281447"/>
                </a:cubicBezTo>
                <a:close/>
                <a:moveTo>
                  <a:pt x="1587500" y="0"/>
                </a:moveTo>
                <a:cubicBezTo>
                  <a:pt x="1898378" y="0"/>
                  <a:pt x="2150394" y="252016"/>
                  <a:pt x="2150394" y="562894"/>
                </a:cubicBezTo>
                <a:cubicBezTo>
                  <a:pt x="2150394" y="786167"/>
                  <a:pt x="2020401" y="979078"/>
                  <a:pt x="1831095" y="1068260"/>
                </a:cubicBezTo>
                <a:lnTo>
                  <a:pt x="2215710" y="1068260"/>
                </a:lnTo>
                <a:cubicBezTo>
                  <a:pt x="2374756" y="1068260"/>
                  <a:pt x="2503688" y="1197192"/>
                  <a:pt x="2503688" y="1356238"/>
                </a:cubicBezTo>
                <a:lnTo>
                  <a:pt x="2503688" y="1474975"/>
                </a:lnTo>
                <a:lnTo>
                  <a:pt x="2656086" y="1474975"/>
                </a:lnTo>
                <a:cubicBezTo>
                  <a:pt x="2692420" y="1474975"/>
                  <a:pt x="2722815" y="1500405"/>
                  <a:pt x="2728975" y="1534767"/>
                </a:cubicBezTo>
                <a:lnTo>
                  <a:pt x="3240006" y="1109804"/>
                </a:lnTo>
                <a:lnTo>
                  <a:pt x="3240006" y="2754548"/>
                </a:lnTo>
                <a:lnTo>
                  <a:pt x="2728975" y="2329585"/>
                </a:lnTo>
                <a:cubicBezTo>
                  <a:pt x="2722815" y="2363946"/>
                  <a:pt x="2692420" y="2389375"/>
                  <a:pt x="2656086" y="2389375"/>
                </a:cubicBezTo>
                <a:lnTo>
                  <a:pt x="2503688" y="2389375"/>
                </a:lnTo>
                <a:lnTo>
                  <a:pt x="2503688" y="2508113"/>
                </a:lnTo>
                <a:cubicBezTo>
                  <a:pt x="2503688" y="2667159"/>
                  <a:pt x="2374756" y="2796091"/>
                  <a:pt x="2215710" y="2796091"/>
                </a:cubicBezTo>
                <a:lnTo>
                  <a:pt x="287978" y="2796091"/>
                </a:lnTo>
                <a:cubicBezTo>
                  <a:pt x="128932" y="2796091"/>
                  <a:pt x="0" y="2667159"/>
                  <a:pt x="0" y="2508113"/>
                </a:cubicBezTo>
                <a:lnTo>
                  <a:pt x="0" y="1356238"/>
                </a:lnTo>
                <a:cubicBezTo>
                  <a:pt x="0" y="1197192"/>
                  <a:pt x="128932" y="1068260"/>
                  <a:pt x="287978" y="1068260"/>
                </a:cubicBezTo>
                <a:lnTo>
                  <a:pt x="544513" y="1068260"/>
                </a:lnTo>
                <a:cubicBezTo>
                  <a:pt x="422089" y="1014226"/>
                  <a:pt x="336949" y="891645"/>
                  <a:pt x="336949" y="749179"/>
                </a:cubicBezTo>
                <a:cubicBezTo>
                  <a:pt x="336949" y="555925"/>
                  <a:pt x="493613" y="399261"/>
                  <a:pt x="686867" y="399261"/>
                </a:cubicBezTo>
                <a:cubicBezTo>
                  <a:pt x="880121" y="399261"/>
                  <a:pt x="1036785" y="555925"/>
                  <a:pt x="1036785" y="749179"/>
                </a:cubicBezTo>
                <a:cubicBezTo>
                  <a:pt x="1036785" y="891645"/>
                  <a:pt x="951645" y="1014226"/>
                  <a:pt x="829222" y="1068260"/>
                </a:cubicBezTo>
                <a:lnTo>
                  <a:pt x="1343906" y="1068260"/>
                </a:lnTo>
                <a:cubicBezTo>
                  <a:pt x="1154600" y="979078"/>
                  <a:pt x="1024606" y="786167"/>
                  <a:pt x="1024606" y="562894"/>
                </a:cubicBezTo>
                <a:cubicBezTo>
                  <a:pt x="1024606" y="252016"/>
                  <a:pt x="1276622" y="0"/>
                  <a:pt x="15875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xmlns="" id="{F77F6A11-8527-43F7-AEF6-FCA39678D8DD}"/>
              </a:ext>
            </a:extLst>
          </p:cNvPr>
          <p:cNvSpPr/>
          <p:nvPr/>
        </p:nvSpPr>
        <p:spPr>
          <a:xfrm>
            <a:off x="6210984" y="1846830"/>
            <a:ext cx="428400" cy="356400"/>
          </a:xfrm>
          <a:custGeom>
            <a:avLst/>
            <a:gdLst/>
            <a:ahLst/>
            <a:cxnLst/>
            <a:rect l="l" t="t" r="r" b="b"/>
            <a:pathLst>
              <a:path w="3186824" h="2663936">
                <a:moveTo>
                  <a:pt x="2624444" y="2376100"/>
                </a:moveTo>
                <a:lnTo>
                  <a:pt x="2624444" y="2520100"/>
                </a:lnTo>
                <a:lnTo>
                  <a:pt x="2952463" y="2520100"/>
                </a:lnTo>
                <a:lnTo>
                  <a:pt x="2952463" y="2376100"/>
                </a:lnTo>
                <a:close/>
                <a:moveTo>
                  <a:pt x="210911" y="2376100"/>
                </a:moveTo>
                <a:lnTo>
                  <a:pt x="210911" y="2520100"/>
                </a:lnTo>
                <a:lnTo>
                  <a:pt x="538930" y="2520100"/>
                </a:lnTo>
                <a:lnTo>
                  <a:pt x="538930" y="2376100"/>
                </a:lnTo>
                <a:close/>
                <a:moveTo>
                  <a:pt x="2624444" y="2095269"/>
                </a:moveTo>
                <a:lnTo>
                  <a:pt x="2624444" y="2239269"/>
                </a:lnTo>
                <a:lnTo>
                  <a:pt x="2952463" y="2239269"/>
                </a:lnTo>
                <a:lnTo>
                  <a:pt x="2952463" y="2095269"/>
                </a:lnTo>
                <a:close/>
                <a:moveTo>
                  <a:pt x="210911" y="2095269"/>
                </a:moveTo>
                <a:lnTo>
                  <a:pt x="210911" y="2239269"/>
                </a:lnTo>
                <a:lnTo>
                  <a:pt x="538930" y="2239269"/>
                </a:lnTo>
                <a:lnTo>
                  <a:pt x="538930" y="2095269"/>
                </a:lnTo>
                <a:close/>
                <a:moveTo>
                  <a:pt x="2624444" y="1814436"/>
                </a:moveTo>
                <a:lnTo>
                  <a:pt x="2624444" y="1958436"/>
                </a:lnTo>
                <a:lnTo>
                  <a:pt x="2952463" y="1958436"/>
                </a:lnTo>
                <a:lnTo>
                  <a:pt x="2952463" y="1814436"/>
                </a:lnTo>
                <a:close/>
                <a:moveTo>
                  <a:pt x="210911" y="1814436"/>
                </a:moveTo>
                <a:lnTo>
                  <a:pt x="210911" y="1958436"/>
                </a:lnTo>
                <a:lnTo>
                  <a:pt x="538930" y="1958436"/>
                </a:lnTo>
                <a:lnTo>
                  <a:pt x="538930" y="1814436"/>
                </a:lnTo>
                <a:close/>
                <a:moveTo>
                  <a:pt x="2624444" y="1533603"/>
                </a:moveTo>
                <a:lnTo>
                  <a:pt x="2624444" y="1677603"/>
                </a:lnTo>
                <a:lnTo>
                  <a:pt x="2952463" y="1677603"/>
                </a:lnTo>
                <a:lnTo>
                  <a:pt x="2952463" y="1533603"/>
                </a:lnTo>
                <a:close/>
                <a:moveTo>
                  <a:pt x="210911" y="1533603"/>
                </a:moveTo>
                <a:lnTo>
                  <a:pt x="210911" y="1677603"/>
                </a:lnTo>
                <a:lnTo>
                  <a:pt x="538930" y="1677603"/>
                </a:lnTo>
                <a:lnTo>
                  <a:pt x="538930" y="1533603"/>
                </a:lnTo>
                <a:close/>
                <a:moveTo>
                  <a:pt x="2624444" y="1252770"/>
                </a:moveTo>
                <a:lnTo>
                  <a:pt x="2624444" y="1396770"/>
                </a:lnTo>
                <a:lnTo>
                  <a:pt x="2952463" y="1396770"/>
                </a:lnTo>
                <a:lnTo>
                  <a:pt x="2952463" y="1252770"/>
                </a:lnTo>
                <a:close/>
                <a:moveTo>
                  <a:pt x="210911" y="1252770"/>
                </a:moveTo>
                <a:lnTo>
                  <a:pt x="210911" y="1396770"/>
                </a:lnTo>
                <a:lnTo>
                  <a:pt x="538930" y="1396770"/>
                </a:lnTo>
                <a:lnTo>
                  <a:pt x="538930" y="1252770"/>
                </a:lnTo>
                <a:close/>
                <a:moveTo>
                  <a:pt x="2624444" y="971937"/>
                </a:moveTo>
                <a:lnTo>
                  <a:pt x="2624444" y="1115937"/>
                </a:lnTo>
                <a:lnTo>
                  <a:pt x="2952463" y="1115937"/>
                </a:lnTo>
                <a:lnTo>
                  <a:pt x="2952463" y="971937"/>
                </a:lnTo>
                <a:close/>
                <a:moveTo>
                  <a:pt x="210911" y="971937"/>
                </a:moveTo>
                <a:lnTo>
                  <a:pt x="210911" y="1115937"/>
                </a:lnTo>
                <a:lnTo>
                  <a:pt x="538930" y="1115937"/>
                </a:lnTo>
                <a:lnTo>
                  <a:pt x="538930" y="971937"/>
                </a:lnTo>
                <a:close/>
                <a:moveTo>
                  <a:pt x="2624444" y="691104"/>
                </a:moveTo>
                <a:lnTo>
                  <a:pt x="2624444" y="835104"/>
                </a:lnTo>
                <a:lnTo>
                  <a:pt x="2952463" y="835104"/>
                </a:lnTo>
                <a:lnTo>
                  <a:pt x="2952463" y="691104"/>
                </a:lnTo>
                <a:close/>
                <a:moveTo>
                  <a:pt x="210911" y="691104"/>
                </a:moveTo>
                <a:lnTo>
                  <a:pt x="210911" y="835104"/>
                </a:lnTo>
                <a:lnTo>
                  <a:pt x="538930" y="835104"/>
                </a:lnTo>
                <a:lnTo>
                  <a:pt x="538930" y="691104"/>
                </a:lnTo>
                <a:close/>
                <a:moveTo>
                  <a:pt x="988006" y="552354"/>
                </a:moveTo>
                <a:lnTo>
                  <a:pt x="988006" y="2111583"/>
                </a:lnTo>
                <a:lnTo>
                  <a:pt x="2332169" y="1331969"/>
                </a:lnTo>
                <a:close/>
                <a:moveTo>
                  <a:pt x="2624444" y="410271"/>
                </a:moveTo>
                <a:lnTo>
                  <a:pt x="2624444" y="554271"/>
                </a:lnTo>
                <a:lnTo>
                  <a:pt x="2952463" y="554271"/>
                </a:lnTo>
                <a:lnTo>
                  <a:pt x="2952463" y="410271"/>
                </a:lnTo>
                <a:close/>
                <a:moveTo>
                  <a:pt x="210911" y="410271"/>
                </a:moveTo>
                <a:lnTo>
                  <a:pt x="210911" y="554271"/>
                </a:lnTo>
                <a:lnTo>
                  <a:pt x="538930" y="554271"/>
                </a:lnTo>
                <a:lnTo>
                  <a:pt x="538930" y="410271"/>
                </a:lnTo>
                <a:close/>
                <a:moveTo>
                  <a:pt x="2624444" y="129438"/>
                </a:moveTo>
                <a:lnTo>
                  <a:pt x="2624444" y="273438"/>
                </a:lnTo>
                <a:lnTo>
                  <a:pt x="2952463" y="273438"/>
                </a:lnTo>
                <a:lnTo>
                  <a:pt x="2952463" y="129438"/>
                </a:lnTo>
                <a:close/>
                <a:moveTo>
                  <a:pt x="210911" y="129438"/>
                </a:moveTo>
                <a:lnTo>
                  <a:pt x="210911" y="273438"/>
                </a:lnTo>
                <a:lnTo>
                  <a:pt x="538930" y="273438"/>
                </a:lnTo>
                <a:lnTo>
                  <a:pt x="538930" y="129438"/>
                </a:lnTo>
                <a:close/>
                <a:moveTo>
                  <a:pt x="0" y="0"/>
                </a:moveTo>
                <a:lnTo>
                  <a:pt x="3186824" y="0"/>
                </a:lnTo>
                <a:lnTo>
                  <a:pt x="3186824" y="2663936"/>
                </a:lnTo>
                <a:lnTo>
                  <a:pt x="0" y="26639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198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08E51973-9FCD-4C46-A05F-FAB93776E9C8}"/>
              </a:ext>
            </a:extLst>
          </p:cNvPr>
          <p:cNvSpPr txBox="1"/>
          <p:nvPr/>
        </p:nvSpPr>
        <p:spPr>
          <a:xfrm>
            <a:off x="999352" y="2489457"/>
            <a:ext cx="457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오늘은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11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월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6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일 금요일이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할 일을 후딱 끝내고 여유롭게 한 주를 마무리하려고 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얼른 씻고 하루를 시작해보자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7AADD57A-47B5-4D71-8F95-3E1BD9EAD26F}"/>
              </a:ext>
            </a:extLst>
          </p:cNvPr>
          <p:cNvSpPr/>
          <p:nvPr/>
        </p:nvSpPr>
        <p:spPr>
          <a:xfrm>
            <a:off x="6615112" y="369332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4E7619C-22D2-4969-957A-441BD1D6EDD4}"/>
              </a:ext>
            </a:extLst>
          </p:cNvPr>
          <p:cNvSpPr txBox="1"/>
          <p:nvPr/>
        </p:nvSpPr>
        <p:spPr>
          <a:xfrm>
            <a:off x="6615112" y="2489457"/>
            <a:ext cx="457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오늘은 모임통장 입금을 하기로 되어있는 날이라는 걸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깜빡할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뻔 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(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매월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6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일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)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삼성카드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앱을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켜 황급히 모임통장에 입금을 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6EA4C5C1-9FA8-4D33-AFC0-BABBD63A84CE}"/>
              </a:ext>
            </a:extLst>
          </p:cNvPr>
          <p:cNvSpPr/>
          <p:nvPr/>
        </p:nvSpPr>
        <p:spPr>
          <a:xfrm>
            <a:off x="1042212" y="3537548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AD62DFDD-1180-426D-BA1A-091E4811D5E5}"/>
              </a:ext>
            </a:extLst>
          </p:cNvPr>
          <p:cNvSpPr txBox="1"/>
          <p:nvPr/>
        </p:nvSpPr>
        <p:spPr>
          <a:xfrm>
            <a:off x="883812" y="5657671"/>
            <a:ext cx="48086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코로나가 심해져서 회사에서 원격근무를 하기로 결정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줌으로 회사 화상 회의를 하며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‘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언택트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시대의 삶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＇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을 몸소 체험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물론 회의 동안 다른 생각도 조금 한다</a:t>
            </a:r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64AAADA0-3EF8-4033-80D0-E0B7D3DA180B}"/>
              </a:ext>
            </a:extLst>
          </p:cNvPr>
          <p:cNvSpPr/>
          <p:nvPr/>
        </p:nvSpPr>
        <p:spPr>
          <a:xfrm>
            <a:off x="6700833" y="3537548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8E51973-9FCD-4C46-A05F-FAB93776E9C8}"/>
              </a:ext>
            </a:extLst>
          </p:cNvPr>
          <p:cNvSpPr txBox="1"/>
          <p:nvPr/>
        </p:nvSpPr>
        <p:spPr>
          <a:xfrm>
            <a:off x="6615112" y="5657671"/>
            <a:ext cx="457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점심시간이 되어 일주일 단위로 시킨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밀키트가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배달 되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회사를 가지 않아 주로 집에서 밥을 먹는데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간편하게 요리를 할 수 있어 행복하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5849E74A-65CA-4014-9A69-F1ACEE8C3DBB}"/>
              </a:ext>
            </a:extLst>
          </p:cNvPr>
          <p:cNvGrpSpPr/>
          <p:nvPr/>
        </p:nvGrpSpPr>
        <p:grpSpPr>
          <a:xfrm>
            <a:off x="1042213" y="224598"/>
            <a:ext cx="4534675" cy="2955177"/>
            <a:chOff x="1042213" y="186498"/>
            <a:chExt cx="4534675" cy="2955177"/>
          </a:xfrm>
        </p:grpSpPr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xmlns="" id="{3E014F31-FA1D-4A0C-921C-6B892A28EB87}"/>
                </a:ext>
              </a:extLst>
            </p:cNvPr>
            <p:cNvSpPr/>
            <p:nvPr/>
          </p:nvSpPr>
          <p:spPr>
            <a:xfrm>
              <a:off x="1042213" y="340757"/>
              <a:ext cx="4534675" cy="203438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endParaRPr>
            </a:p>
          </p:txBody>
        </p:sp>
        <p:pic>
          <p:nvPicPr>
            <p:cNvPr id="5" name="그림 4">
              <a:extLst>
                <a:ext uri="{FF2B5EF4-FFF2-40B4-BE49-F238E27FC236}">
                  <a16:creationId xmlns:a16="http://schemas.microsoft.com/office/drawing/2014/main" xmlns="" id="{203B18FE-E78D-4444-B2EE-DDB4B4E2D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755" y="525212"/>
              <a:ext cx="1687920" cy="1229152"/>
            </a:xfrm>
            <a:prstGeom prst="rect">
              <a:avLst/>
            </a:prstGeom>
          </p:spPr>
        </p:pic>
        <p:pic>
          <p:nvPicPr>
            <p:cNvPr id="19" name="Picture 4" descr="ArcticPusheen | Pusheen The Cat Amino Amino">
              <a:extLst>
                <a:ext uri="{FF2B5EF4-FFF2-40B4-BE49-F238E27FC236}">
                  <a16:creationId xmlns:a16="http://schemas.microsoft.com/office/drawing/2014/main" xmlns="" id="{917FFB30-071B-421F-96FE-E1EC43C0DE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4113" y="679463"/>
              <a:ext cx="2462212" cy="2462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8" descr="Pusheen : 3 Tips to Start Your Morning Routine with Pusheen - Pusheen">
              <a:extLst>
                <a:ext uri="{FF2B5EF4-FFF2-40B4-BE49-F238E27FC236}">
                  <a16:creationId xmlns:a16="http://schemas.microsoft.com/office/drawing/2014/main" xmlns="" id="{47628232-0279-437C-B7E4-B1A7CC5D51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5725" y="186498"/>
              <a:ext cx="2400048" cy="2400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0" name="Picture 2" descr="Organics to You | Meal Kits">
            <a:extLst>
              <a:ext uri="{FF2B5EF4-FFF2-40B4-BE49-F238E27FC236}">
                <a16:creationId xmlns:a16="http://schemas.microsoft.com/office/drawing/2014/main" xmlns="" id="{30A1DB03-A0F9-473D-8CAD-A2D9619B8A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89"/>
          <a:stretch/>
        </p:blipFill>
        <p:spPr bwMode="auto">
          <a:xfrm>
            <a:off x="10038103" y="4865953"/>
            <a:ext cx="1255014" cy="70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xmlns="" id="{4C5AA331-198F-4200-A564-0ECA61D5292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639"/>
          <a:stretch/>
        </p:blipFill>
        <p:spPr>
          <a:xfrm>
            <a:off x="7058555" y="4346614"/>
            <a:ext cx="2941072" cy="1212129"/>
          </a:xfrm>
          <a:prstGeom prst="rect">
            <a:avLst/>
          </a:prstGeom>
        </p:spPr>
      </p:pic>
      <p:pic>
        <p:nvPicPr>
          <p:cNvPr id="15" name="Picture 14" descr="Pusheen eating sushi | Pusheen cute, Pusheen cat, Pusheen lov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3839" y="3282807"/>
            <a:ext cx="2041872" cy="204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 descr="I Am Pusheen the Cat Kitten I Am Pusheen the Cat Purr, Cat, mammal,  animals, cat Like Mammal png | Klipartz">
            <a:extLst>
              <a:ext uri="{FF2B5EF4-FFF2-40B4-BE49-F238E27FC236}">
                <a16:creationId xmlns:a16="http://schemas.microsoft.com/office/drawing/2014/main" xmlns="" id="{4CE5CAB8-935A-40AD-A8DD-C9BCF8730D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4324" r="96757">
                        <a14:foregroundMark x1="94054" y1="58649" x2="94054" y2="58649"/>
                        <a14:foregroundMark x1="97297" y1="62973" x2="97297" y2="62973"/>
                        <a14:foregroundMark x1="8919" y1="64865" x2="8919" y2="64865"/>
                        <a14:foregroundMark x1="4324" y1="63784" x2="4324" y2="637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275" y="958820"/>
            <a:ext cx="1895475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Speech Balloon Thought Bubble Clip Art - Tree - Imagine Cliparts  Transparent PNG">
            <a:extLst>
              <a:ext uri="{FF2B5EF4-FFF2-40B4-BE49-F238E27FC236}">
                <a16:creationId xmlns:a16="http://schemas.microsoft.com/office/drawing/2014/main" xmlns="" id="{77700303-E987-4A0F-810C-CE44C3EFD0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4510" b="98824" l="10000" r="90000">
                        <a14:foregroundMark x1="39880" y1="6078" x2="39880" y2="6078"/>
                        <a14:foregroundMark x1="27349" y1="81569" x2="27349" y2="81569"/>
                        <a14:foregroundMark x1="20964" y1="92941" x2="20964" y2="92941"/>
                        <a14:foregroundMark x1="16265" y1="98824" x2="16265" y2="98824"/>
                        <a14:foregroundMark x1="43133" y1="4510" x2="43133" y2="45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36987" flipH="1">
            <a:off x="6325051" y="450781"/>
            <a:ext cx="3248025" cy="199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at Traveling Sticker by Pusheen for iOS &amp; Android | GIPHY"/>
          <p:cNvPicPr>
            <a:picLocks noChangeAspect="1" noChangeArrowheads="1" noCrop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904" y="609645"/>
            <a:ext cx="1488345" cy="1488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Oval 11">
            <a:extLst>
              <a:ext uri="{FF2B5EF4-FFF2-40B4-BE49-F238E27FC236}">
                <a16:creationId xmlns:a16="http://schemas.microsoft.com/office/drawing/2014/main" xmlns="" id="{72892920-9FAA-4A2F-9571-662FF138B51A}"/>
              </a:ext>
            </a:extLst>
          </p:cNvPr>
          <p:cNvSpPr/>
          <p:nvPr/>
        </p:nvSpPr>
        <p:spPr>
          <a:xfrm>
            <a:off x="6171037" y="399434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2</a:t>
            </a:r>
          </a:p>
        </p:txBody>
      </p:sp>
      <p:sp>
        <p:nvSpPr>
          <p:cNvPr id="38" name="Oval 11">
            <a:extLst>
              <a:ext uri="{FF2B5EF4-FFF2-40B4-BE49-F238E27FC236}">
                <a16:creationId xmlns:a16="http://schemas.microsoft.com/office/drawing/2014/main" xmlns="" id="{BA2FF790-A5EE-4137-B131-4F189431C136}"/>
              </a:ext>
            </a:extLst>
          </p:cNvPr>
          <p:cNvSpPr/>
          <p:nvPr/>
        </p:nvSpPr>
        <p:spPr>
          <a:xfrm>
            <a:off x="558829" y="372151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1</a:t>
            </a:r>
          </a:p>
        </p:txBody>
      </p:sp>
      <p:sp>
        <p:nvSpPr>
          <p:cNvPr id="39" name="Oval 11">
            <a:extLst>
              <a:ext uri="{FF2B5EF4-FFF2-40B4-BE49-F238E27FC236}">
                <a16:creationId xmlns:a16="http://schemas.microsoft.com/office/drawing/2014/main" xmlns="" id="{E11ABE00-705F-4B8E-BD46-E008AB43E00A}"/>
              </a:ext>
            </a:extLst>
          </p:cNvPr>
          <p:cNvSpPr/>
          <p:nvPr/>
        </p:nvSpPr>
        <p:spPr>
          <a:xfrm>
            <a:off x="611669" y="3537548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3</a:t>
            </a:r>
          </a:p>
        </p:txBody>
      </p:sp>
      <p:sp>
        <p:nvSpPr>
          <p:cNvPr id="40" name="Oval 11">
            <a:extLst>
              <a:ext uri="{FF2B5EF4-FFF2-40B4-BE49-F238E27FC236}">
                <a16:creationId xmlns:a16="http://schemas.microsoft.com/office/drawing/2014/main" xmlns="" id="{CBA68836-76D6-4496-B1F1-CB7F5EE4058A}"/>
              </a:ext>
            </a:extLst>
          </p:cNvPr>
          <p:cNvSpPr/>
          <p:nvPr/>
        </p:nvSpPr>
        <p:spPr>
          <a:xfrm>
            <a:off x="6227949" y="3537548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4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6EA4C5C1-9FA8-4D33-AFC0-BABBD63A84CE}"/>
              </a:ext>
            </a:extLst>
          </p:cNvPr>
          <p:cNvSpPr/>
          <p:nvPr/>
        </p:nvSpPr>
        <p:spPr>
          <a:xfrm>
            <a:off x="1042212" y="3537548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08서울남산체 B" panose="02020603020101020101" pitchFamily="18" charset="-127"/>
            </a:endParaRPr>
          </a:p>
        </p:txBody>
      </p:sp>
      <p:pic>
        <p:nvPicPr>
          <p:cNvPr id="34" name="Picture 12" descr="Pusheen Cat Clipart Laptop - Pusheen Cat Transparent Background , Free  Transparent Clipart - ClipartKey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155" y="3686354"/>
            <a:ext cx="2312188" cy="194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타원 34"/>
          <p:cNvSpPr/>
          <p:nvPr/>
        </p:nvSpPr>
        <p:spPr>
          <a:xfrm>
            <a:off x="1188575" y="3644201"/>
            <a:ext cx="814655" cy="7739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36" name="타원 35"/>
          <p:cNvSpPr/>
          <p:nvPr/>
        </p:nvSpPr>
        <p:spPr>
          <a:xfrm>
            <a:off x="4528894" y="4685588"/>
            <a:ext cx="823744" cy="7848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41" name="그림 40"/>
          <p:cNvPicPr>
            <a:picLocks noChangeAspect="1"/>
          </p:cNvPicPr>
          <p:nvPr/>
        </p:nvPicPr>
        <p:blipFill rotWithShape="1">
          <a:blip r:embed="rId16"/>
          <a:srcRect l="8705" t="56605" r="65604" b="22012"/>
          <a:stretch/>
        </p:blipFill>
        <p:spPr>
          <a:xfrm>
            <a:off x="1287466" y="3691409"/>
            <a:ext cx="687217" cy="800184"/>
          </a:xfrm>
          <a:prstGeom prst="rect">
            <a:avLst/>
          </a:prstGeom>
        </p:spPr>
      </p:pic>
      <p:pic>
        <p:nvPicPr>
          <p:cNvPr id="42" name="그림 41"/>
          <p:cNvPicPr>
            <a:picLocks noChangeAspect="1"/>
          </p:cNvPicPr>
          <p:nvPr/>
        </p:nvPicPr>
        <p:blipFill rotWithShape="1">
          <a:blip r:embed="rId17"/>
          <a:srcRect l="38620" t="56982" r="41000" b="26163"/>
          <a:stretch/>
        </p:blipFill>
        <p:spPr>
          <a:xfrm>
            <a:off x="4649422" y="4740930"/>
            <a:ext cx="582687" cy="674168"/>
          </a:xfrm>
          <a:prstGeom prst="rect">
            <a:avLst/>
          </a:prstGeom>
        </p:spPr>
      </p:pic>
      <p:sp>
        <p:nvSpPr>
          <p:cNvPr id="43" name="타원 42"/>
          <p:cNvSpPr/>
          <p:nvPr/>
        </p:nvSpPr>
        <p:spPr>
          <a:xfrm>
            <a:off x="4528894" y="3638266"/>
            <a:ext cx="823744" cy="7848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 rotWithShape="1">
          <a:blip r:embed="rId18"/>
          <a:srcRect l="65016" t="77358"/>
          <a:stretch/>
        </p:blipFill>
        <p:spPr>
          <a:xfrm>
            <a:off x="4643134" y="3751481"/>
            <a:ext cx="802976" cy="726979"/>
          </a:xfrm>
          <a:prstGeom prst="rect">
            <a:avLst/>
          </a:prstGeom>
        </p:spPr>
      </p:pic>
      <p:sp>
        <p:nvSpPr>
          <p:cNvPr id="45" name="타원 44"/>
          <p:cNvSpPr/>
          <p:nvPr/>
        </p:nvSpPr>
        <p:spPr>
          <a:xfrm>
            <a:off x="1179224" y="4740930"/>
            <a:ext cx="814655" cy="7739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19"/>
          <a:srcRect l="40252" t="35797" r="39336" b="45461"/>
          <a:stretch/>
        </p:blipFill>
        <p:spPr>
          <a:xfrm>
            <a:off x="1329112" y="4809196"/>
            <a:ext cx="514794" cy="66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14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3E014F31-FA1D-4A0C-921C-6B892A28EB87}"/>
              </a:ext>
            </a:extLst>
          </p:cNvPr>
          <p:cNvSpPr/>
          <p:nvPr/>
        </p:nvSpPr>
        <p:spPr>
          <a:xfrm>
            <a:off x="1042213" y="369332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08E51973-9FCD-4C46-A05F-FAB93776E9C8}"/>
              </a:ext>
            </a:extLst>
          </p:cNvPr>
          <p:cNvSpPr txBox="1"/>
          <p:nvPr/>
        </p:nvSpPr>
        <p:spPr>
          <a:xfrm>
            <a:off x="999352" y="2489457"/>
            <a:ext cx="457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오늘 저녁에는 잠시 친구를 만나 밥을 먹기로 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오늘은 금요일이라서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For young kids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카드로 외식비 할인을 받을 수 있는 날이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마스크 착용도 잊지 말자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7AADD57A-47B5-4D71-8F95-3E1BD9EAD26F}"/>
              </a:ext>
            </a:extLst>
          </p:cNvPr>
          <p:cNvSpPr/>
          <p:nvPr/>
        </p:nvSpPr>
        <p:spPr>
          <a:xfrm>
            <a:off x="6657973" y="369332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4E7619C-22D2-4969-957A-441BD1D6EDD4}"/>
              </a:ext>
            </a:extLst>
          </p:cNvPr>
          <p:cNvSpPr txBox="1"/>
          <p:nvPr/>
        </p:nvSpPr>
        <p:spPr>
          <a:xfrm>
            <a:off x="6587433" y="2494680"/>
            <a:ext cx="47614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친구를 만나 재테크에 관련한 이야기를 나누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투자 소득에 관심이 생겨 집에 돌아와 삼성카드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‘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크라우드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펀딩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’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을 통해 핸드폰으로 투자를 할 대상을 찾아봤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6EA4C5C1-9FA8-4D33-AFC0-BABBD63A84CE}"/>
              </a:ext>
            </a:extLst>
          </p:cNvPr>
          <p:cNvSpPr/>
          <p:nvPr/>
        </p:nvSpPr>
        <p:spPr>
          <a:xfrm>
            <a:off x="1042212" y="3537548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AD62DFDD-1180-426D-BA1A-091E4811D5E5}"/>
              </a:ext>
            </a:extLst>
          </p:cNvPr>
          <p:cNvSpPr txBox="1"/>
          <p:nvPr/>
        </p:nvSpPr>
        <p:spPr>
          <a:xfrm>
            <a:off x="883812" y="5657672"/>
            <a:ext cx="48086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캘린더를 보고 다음 주 생일인 친구를 발견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친구 선물을 사야 하는 데 코로나 시국에 백화점에 방문하기가 망설여진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마침 삼성카드 결제 시 온라인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종합몰에서도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 선물포장 서비스가 가능함을 확인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08서울남산체 B" panose="02020603020101020101" pitchFamily="18" charset="-127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64AAADA0-3EF8-4033-80D0-E0B7D3DA180B}"/>
              </a:ext>
            </a:extLst>
          </p:cNvPr>
          <p:cNvSpPr/>
          <p:nvPr/>
        </p:nvSpPr>
        <p:spPr>
          <a:xfrm>
            <a:off x="6700833" y="3537548"/>
            <a:ext cx="4534675" cy="20343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4104" name="Picture 8" descr="Christmas Celebrate Sticker by Pusheen for iOS &amp; Android | GIPHY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89" y="3561027"/>
            <a:ext cx="2041289" cy="198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Gigglebit: 5 GIFs that will make you see Pusheen in a different light -  Life | siliconrepublic.com - Ireland's Technology News Servic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606" y="413656"/>
            <a:ext cx="2705437" cy="19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8E51973-9FCD-4C46-A05F-FAB93776E9C8}"/>
              </a:ext>
            </a:extLst>
          </p:cNvPr>
          <p:cNvSpPr txBox="1"/>
          <p:nvPr/>
        </p:nvSpPr>
        <p:spPr>
          <a:xfrm>
            <a:off x="6615111" y="5657671"/>
            <a:ext cx="47337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바빴던 하루를 마무리하며 뿌듯한 마음으로 잠에 든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.</a:t>
            </a:r>
            <a:endParaRPr lang="en-US" altLang="ko-KR" sz="1600" dirty="0">
              <a:solidFill>
                <a:prstClr val="black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  <a:sym typeface="Wingdings" panose="05000000000000000000" pitchFamily="2" charset="2"/>
              </a:rPr>
              <a:t>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캐릭터의 모습을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fade-out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하며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‘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삼성카드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’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08서울남산체 B" panose="02020603020101020101" pitchFamily="18" charset="-127"/>
                <a:ea typeface="08서울남산체 B" panose="02020603020101020101" pitchFamily="18" charset="-127"/>
                <a:cs typeface="+mn-cs"/>
              </a:rPr>
              <a:t>이미지를 보여주며 광고 마침</a:t>
            </a:r>
          </a:p>
        </p:txBody>
      </p:sp>
      <p:pic>
        <p:nvPicPr>
          <p:cNvPr id="4112" name="Picture 16" descr="OSAKA, JPN by hillerypham on emaz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161" y="548681"/>
            <a:ext cx="2941415" cy="158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Scratch Studio - Pusheen Fans ♡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427" y="3355207"/>
            <a:ext cx="2446023" cy="2446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구름 모양 설명선 1"/>
          <p:cNvSpPr/>
          <p:nvPr/>
        </p:nvSpPr>
        <p:spPr>
          <a:xfrm>
            <a:off x="1462520" y="582127"/>
            <a:ext cx="1219200" cy="816864"/>
          </a:xfrm>
          <a:prstGeom prst="cloudCallout">
            <a:avLst>
              <a:gd name="adj1" fmla="val 62626"/>
              <a:gd name="adj2" fmla="val 490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4116" name="Picture 20" descr="Food Emoji Png &amp; Free Food Emoji.png Transparent Images #67288 - PNGi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533" y="697260"/>
            <a:ext cx="1153140" cy="586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2" name="Picture 26" descr="🎂 Birthday Cake Emoji on Google Android 7.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357" y="4559523"/>
            <a:ext cx="948399" cy="94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4" name="Picture 28" descr="🎁 Wrapped Present Emoji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6258" y="4496620"/>
            <a:ext cx="893935" cy="89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Businesses can still receive free face masks for employees - San Benito Live">
            <a:extLst>
              <a:ext uri="{FF2B5EF4-FFF2-40B4-BE49-F238E27FC236}">
                <a16:creationId xmlns:a16="http://schemas.microsoft.com/office/drawing/2014/main" xmlns="" id="{75DD6828-EB0B-4016-B7E5-F83B985DB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63427">
            <a:off x="3181350" y="514350"/>
            <a:ext cx="1038225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Oval 11">
            <a:extLst>
              <a:ext uri="{FF2B5EF4-FFF2-40B4-BE49-F238E27FC236}">
                <a16:creationId xmlns:a16="http://schemas.microsoft.com/office/drawing/2014/main" xmlns="" id="{948C40AB-E75B-49AD-B035-CACCFA21C383}"/>
              </a:ext>
            </a:extLst>
          </p:cNvPr>
          <p:cNvSpPr/>
          <p:nvPr/>
        </p:nvSpPr>
        <p:spPr>
          <a:xfrm>
            <a:off x="6169101" y="316951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Arial"/>
                <a:ea typeface="08서울남산체 B" panose="02020603020101020101" pitchFamily="18" charset="-127"/>
              </a:rPr>
              <a:t>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xmlns="" id="{733E2AC5-EA87-4EEC-A6C9-6677D240ACEF}"/>
              </a:ext>
            </a:extLst>
          </p:cNvPr>
          <p:cNvSpPr/>
          <p:nvPr/>
        </p:nvSpPr>
        <p:spPr>
          <a:xfrm>
            <a:off x="573703" y="298709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5</a:t>
            </a: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xmlns="" id="{0F505451-8D22-496B-AC11-25BFD7753725}"/>
              </a:ext>
            </a:extLst>
          </p:cNvPr>
          <p:cNvSpPr/>
          <p:nvPr/>
        </p:nvSpPr>
        <p:spPr>
          <a:xfrm>
            <a:off x="602144" y="3537548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7</a:t>
            </a:r>
          </a:p>
        </p:txBody>
      </p:sp>
      <p:sp>
        <p:nvSpPr>
          <p:cNvPr id="32" name="Oval 11">
            <a:extLst>
              <a:ext uri="{FF2B5EF4-FFF2-40B4-BE49-F238E27FC236}">
                <a16:creationId xmlns:a16="http://schemas.microsoft.com/office/drawing/2014/main" xmlns="" id="{16697623-CB32-4A60-BA70-B4C90916A949}"/>
              </a:ext>
            </a:extLst>
          </p:cNvPr>
          <p:cNvSpPr/>
          <p:nvPr/>
        </p:nvSpPr>
        <p:spPr>
          <a:xfrm>
            <a:off x="6227949" y="3537548"/>
            <a:ext cx="344222" cy="34422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08서울남산체 B" panose="02020603020101020101" pitchFamily="18" charset="-127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54668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99E6567E-A65C-403C-8976-FEB2D257B4D4}"/>
              </a:ext>
            </a:extLst>
          </p:cNvPr>
          <p:cNvSpPr/>
          <p:nvPr/>
        </p:nvSpPr>
        <p:spPr>
          <a:xfrm>
            <a:off x="3685669" y="630469"/>
            <a:ext cx="4874400" cy="128336"/>
          </a:xfrm>
          <a:prstGeom prst="rect">
            <a:avLst/>
          </a:prstGeom>
          <a:solidFill>
            <a:srgbClr val="5EBEE4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3" name="Rounded Rectangle 13">
            <a:extLst>
              <a:ext uri="{FF2B5EF4-FFF2-40B4-BE49-F238E27FC236}">
                <a16:creationId xmlns:a16="http://schemas.microsoft.com/office/drawing/2014/main" xmlns="" id="{D8CBF8B2-EAF8-44E0-BC43-41E9CA5AEC25}"/>
              </a:ext>
            </a:extLst>
          </p:cNvPr>
          <p:cNvSpPr/>
          <p:nvPr/>
        </p:nvSpPr>
        <p:spPr>
          <a:xfrm>
            <a:off x="3721719" y="1298854"/>
            <a:ext cx="6836632" cy="624276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dirty="0">
                <a:solidFill>
                  <a:srgbClr val="DEA9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시회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 통해서 명품 브랜드에 대한 관심을 유도할 수 있음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시회에서의 상품 구매로 인해 카드 이용률이 증가할 것으로 기대됨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r>
              <a:rPr lang="en-US" altLang="ko-KR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 </a:t>
            </a:r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" name="Rounded Rectangle 13">
            <a:extLst>
              <a:ext uri="{FF2B5EF4-FFF2-40B4-BE49-F238E27FC236}">
                <a16:creationId xmlns:a16="http://schemas.microsoft.com/office/drawing/2014/main" xmlns="" id="{42BD61A8-34BA-45A6-BEDD-3903FCD63124}"/>
              </a:ext>
            </a:extLst>
          </p:cNvPr>
          <p:cNvSpPr/>
          <p:nvPr/>
        </p:nvSpPr>
        <p:spPr>
          <a:xfrm>
            <a:off x="3745876" y="3008791"/>
            <a:ext cx="6836629" cy="909612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 </a:t>
            </a:r>
            <a:r>
              <a:rPr lang="ko-KR" altLang="en-US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구매시</a:t>
            </a:r>
            <a:r>
              <a:rPr lang="ko-KR" altLang="en-US" b="0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선물포장 서비스를 제공하여 온라인에서의 옷 구매 빈도와 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 이용률을</a:t>
            </a:r>
            <a:r>
              <a:rPr lang="ko-KR" altLang="en-US" b="0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높이고</a:t>
            </a:r>
            <a:r>
              <a:rPr lang="en-US" altLang="ko-KR" b="0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b="0" dirty="0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선물포장</a:t>
            </a:r>
            <a:r>
              <a:rPr lang="ko-KR" altLang="en-US" b="0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서비스를 필요로 하는 소비자에게 맞춤형 서비스를 제공함으로써 만족도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</a:t>
            </a:r>
            <a:r>
              <a:rPr lang="ko-KR" altLang="en-US" b="0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높일 수 있음</a:t>
            </a:r>
            <a:r>
              <a:rPr lang="en-US" altLang="ko-KR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b="0" dirty="0">
              <a:solidFill>
                <a:schemeClr val="tx1"/>
              </a:solidFill>
              <a:effectLst/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xmlns="" id="{5F20A215-A64C-44A8-812C-DDBEA3E69715}"/>
              </a:ext>
            </a:extLst>
          </p:cNvPr>
          <p:cNvSpPr/>
          <p:nvPr/>
        </p:nvSpPr>
        <p:spPr>
          <a:xfrm>
            <a:off x="3721719" y="4923704"/>
            <a:ext cx="6860785" cy="892661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요식 업종에서의 카드 사용률은 감소했으나 식품 부문은 증가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사람들의 </a:t>
            </a:r>
            <a:r>
              <a:rPr lang="ko-KR" altLang="en-US" sz="1800" b="0" i="0" u="none" strike="noStrike" dirty="0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에 대한 관심으로 이어졌음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그러므로 </a:t>
            </a:r>
            <a:r>
              <a:rPr lang="ko-KR" altLang="en-US" sz="1800" b="0" i="0" u="none" strike="noStrike" dirty="0" err="1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구매 시의 할인이 카드 이용률을 증가시킬 수 있음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9" name="Rounded Rectangle 14">
            <a:extLst>
              <a:ext uri="{FF2B5EF4-FFF2-40B4-BE49-F238E27FC236}">
                <a16:creationId xmlns:a16="http://schemas.microsoft.com/office/drawing/2014/main" xmlns="" id="{9946FD9A-84E8-4D23-99CE-2F03E7F55E89}"/>
              </a:ext>
            </a:extLst>
          </p:cNvPr>
          <p:cNvSpPr/>
          <p:nvPr/>
        </p:nvSpPr>
        <p:spPr>
          <a:xfrm>
            <a:off x="3721719" y="1962051"/>
            <a:ext cx="6836632" cy="624276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시회를 열기 전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홍보 비용 등 사전 비용이 소비됨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 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VIP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고객만을 대상으로 하기에 대상 고객층이 한정적임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1" name="Rounded Rectangle 14">
            <a:extLst>
              <a:ext uri="{FF2B5EF4-FFF2-40B4-BE49-F238E27FC236}">
                <a16:creationId xmlns:a16="http://schemas.microsoft.com/office/drawing/2014/main" xmlns="" id="{086AF4A6-7746-4586-92E9-7AB8902C7F68}"/>
              </a:ext>
            </a:extLst>
          </p:cNvPr>
          <p:cNvSpPr/>
          <p:nvPr/>
        </p:nvSpPr>
        <p:spPr>
          <a:xfrm>
            <a:off x="3745874" y="3955501"/>
            <a:ext cx="6836632" cy="601579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xmlns="" id="{F4E95C26-6501-477B-A191-35052E94E2AB}"/>
              </a:ext>
            </a:extLst>
          </p:cNvPr>
          <p:cNvSpPr/>
          <p:nvPr/>
        </p:nvSpPr>
        <p:spPr>
          <a:xfrm>
            <a:off x="3737823" y="5853302"/>
            <a:ext cx="6844681" cy="601579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한 달 단위로 구매한 소비자에 대해서만 할인을 적용하므로 비정기적으로 구매하는 소비자에게는 큰 관심을 끌지 못할 수 있음</a:t>
            </a:r>
            <a:r>
              <a:rPr lang="en-US" altLang="ko-KR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D2F041F-ED4E-4E06-91EE-31CE3B2FB4A7}"/>
              </a:ext>
            </a:extLst>
          </p:cNvPr>
          <p:cNvSpPr txBox="1"/>
          <p:nvPr/>
        </p:nvSpPr>
        <p:spPr>
          <a:xfrm>
            <a:off x="2216574" y="1628607"/>
            <a:ext cx="1309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예약제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명품 전시회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53AB1D2-1E4F-4AD1-B8AA-69424249B3FB}"/>
              </a:ext>
            </a:extLst>
          </p:cNvPr>
          <p:cNvSpPr txBox="1"/>
          <p:nvPr/>
        </p:nvSpPr>
        <p:spPr>
          <a:xfrm>
            <a:off x="2078301" y="3617256"/>
            <a:ext cx="17095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온라인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구매시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선물포장 서비스</a:t>
            </a:r>
          </a:p>
          <a:p>
            <a:pPr algn="ctr"/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B6C7FF6-B2B8-400B-B3BF-1EA74C31BFCA}"/>
              </a:ext>
            </a:extLst>
          </p:cNvPr>
          <p:cNvSpPr txBox="1"/>
          <p:nvPr/>
        </p:nvSpPr>
        <p:spPr>
          <a:xfrm>
            <a:off x="2185794" y="5512493"/>
            <a:ext cx="14030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endParaRPr lang="en-US" altLang="ko-KR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할인 제공</a:t>
            </a:r>
          </a:p>
        </p:txBody>
      </p:sp>
      <p:cxnSp>
        <p:nvCxnSpPr>
          <p:cNvPr id="16" name="Straight Connector 75">
            <a:extLst>
              <a:ext uri="{FF2B5EF4-FFF2-40B4-BE49-F238E27FC236}">
                <a16:creationId xmlns:a16="http://schemas.microsoft.com/office/drawing/2014/main" xmlns="" id="{C76560F1-1AED-4E31-878D-95FC81B2666E}"/>
              </a:ext>
            </a:extLst>
          </p:cNvPr>
          <p:cNvCxnSpPr>
            <a:cxnSpLocks/>
          </p:cNvCxnSpPr>
          <p:nvPr/>
        </p:nvCxnSpPr>
        <p:spPr>
          <a:xfrm flipV="1">
            <a:off x="1764912" y="1939060"/>
            <a:ext cx="1879588" cy="460"/>
          </a:xfrm>
          <a:prstGeom prst="line">
            <a:avLst/>
          </a:prstGeom>
          <a:ln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76">
            <a:extLst>
              <a:ext uri="{FF2B5EF4-FFF2-40B4-BE49-F238E27FC236}">
                <a16:creationId xmlns:a16="http://schemas.microsoft.com/office/drawing/2014/main" xmlns="" id="{4605AC8B-49C6-464E-B637-2B83FFAF6E4F}"/>
              </a:ext>
            </a:extLst>
          </p:cNvPr>
          <p:cNvSpPr/>
          <p:nvPr/>
        </p:nvSpPr>
        <p:spPr>
          <a:xfrm>
            <a:off x="1564157" y="1681039"/>
            <a:ext cx="540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1</a:t>
            </a:r>
          </a:p>
        </p:txBody>
      </p:sp>
      <p:cxnSp>
        <p:nvCxnSpPr>
          <p:cNvPr id="27" name="Straight Connector 84">
            <a:extLst>
              <a:ext uri="{FF2B5EF4-FFF2-40B4-BE49-F238E27FC236}">
                <a16:creationId xmlns:a16="http://schemas.microsoft.com/office/drawing/2014/main" xmlns="" id="{77EDC410-E153-4165-A577-20E3C81B677C}"/>
              </a:ext>
            </a:extLst>
          </p:cNvPr>
          <p:cNvCxnSpPr>
            <a:cxnSpLocks/>
          </p:cNvCxnSpPr>
          <p:nvPr/>
        </p:nvCxnSpPr>
        <p:spPr>
          <a:xfrm flipV="1">
            <a:off x="2040051" y="3932940"/>
            <a:ext cx="1625612" cy="4513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8">
            <a:extLst>
              <a:ext uri="{FF2B5EF4-FFF2-40B4-BE49-F238E27FC236}">
                <a16:creationId xmlns:a16="http://schemas.microsoft.com/office/drawing/2014/main" xmlns="" id="{FCECFD2D-476D-468F-AC66-2C11BB4E3E5E}"/>
              </a:ext>
            </a:extLst>
          </p:cNvPr>
          <p:cNvSpPr/>
          <p:nvPr/>
        </p:nvSpPr>
        <p:spPr>
          <a:xfrm>
            <a:off x="1580261" y="3648137"/>
            <a:ext cx="540000" cy="54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2</a:t>
            </a:r>
          </a:p>
        </p:txBody>
      </p: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xmlns="" id="{AE374133-8480-4E59-B911-84289DA9E6CD}"/>
              </a:ext>
            </a:extLst>
          </p:cNvPr>
          <p:cNvCxnSpPr>
            <a:cxnSpLocks/>
          </p:cNvCxnSpPr>
          <p:nvPr/>
        </p:nvCxnSpPr>
        <p:spPr>
          <a:xfrm>
            <a:off x="2122874" y="5816365"/>
            <a:ext cx="1528853" cy="0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88">
            <a:extLst>
              <a:ext uri="{FF2B5EF4-FFF2-40B4-BE49-F238E27FC236}">
                <a16:creationId xmlns:a16="http://schemas.microsoft.com/office/drawing/2014/main" xmlns="" id="{D80F55FC-81CE-43C6-879E-C44EC3C1CCBD}"/>
              </a:ext>
            </a:extLst>
          </p:cNvPr>
          <p:cNvSpPr/>
          <p:nvPr/>
        </p:nvSpPr>
        <p:spPr>
          <a:xfrm>
            <a:off x="1580261" y="5551792"/>
            <a:ext cx="540000" cy="540000"/>
          </a:xfrm>
          <a:prstGeom prst="rect">
            <a:avLst/>
          </a:prstGeom>
          <a:solidFill>
            <a:srgbClr val="C1E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2EDC255-19E2-43FD-B205-14D01B082545}"/>
              </a:ext>
            </a:extLst>
          </p:cNvPr>
          <p:cNvSpPr txBox="1"/>
          <p:nvPr/>
        </p:nvSpPr>
        <p:spPr>
          <a:xfrm>
            <a:off x="3775110" y="3944027"/>
            <a:ext cx="68366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모든 소비자가 선물포장 서비스를 필요로 하는 것은 아니므로 소비자 수의 비약적 증가를 기대하지는 못함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xmlns="" id="{BB90143F-D058-41CD-9A7D-559C112CE8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9397" y="114300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ko-KR" altLang="en-US" sz="3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략의 기대효과 및 한계점</a:t>
            </a:r>
            <a:endParaRPr lang="en-US" sz="3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474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D735F7F3-C1B5-4B60-A00A-4EB618DDF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4435" y="235180"/>
            <a:ext cx="11372291" cy="724247"/>
          </a:xfrm>
        </p:spPr>
        <p:txBody>
          <a:bodyPr/>
          <a:lstStyle/>
          <a:p>
            <a:r>
              <a:rPr lang="ko-KR" altLang="en-US" sz="3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</a:t>
            </a:r>
            <a:r>
              <a:rPr lang="ko-KR" altLang="en-US" sz="36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확진자</a:t>
            </a:r>
            <a:r>
              <a:rPr lang="ko-KR" altLang="en-US" sz="3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그래프</a:t>
            </a:r>
            <a:endParaRPr lang="en-US" sz="3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35" name="사각형: 잘린 대각선 방향 모서리 34">
            <a:extLst>
              <a:ext uri="{FF2B5EF4-FFF2-40B4-BE49-F238E27FC236}">
                <a16:creationId xmlns:a16="http://schemas.microsoft.com/office/drawing/2014/main" xmlns="" id="{207DB99D-EB69-4820-9E91-A8DDEC80FFA5}"/>
              </a:ext>
            </a:extLst>
          </p:cNvPr>
          <p:cNvSpPr/>
          <p:nvPr/>
        </p:nvSpPr>
        <p:spPr>
          <a:xfrm>
            <a:off x="8414084" y="1973178"/>
            <a:ext cx="3482642" cy="938463"/>
          </a:xfrm>
          <a:prstGeom prst="snip2DiagRect">
            <a:avLst/>
          </a:prstGeom>
          <a:solidFill>
            <a:srgbClr val="C1E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20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 </a:t>
            </a:r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</a:t>
            </a:r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1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부터 현재까지의 </a:t>
            </a:r>
            <a:r>
              <a:rPr lang="ko-KR" altLang="en-US" sz="16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확진자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그래프로</a:t>
            </a:r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x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축은 날짜</a:t>
            </a:r>
            <a:r>
              <a:rPr lang="en-US" altLang="ko-KR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y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축은 일일 </a:t>
            </a:r>
            <a:r>
              <a:rPr lang="ko-KR" altLang="en-US" sz="1600" dirty="0" err="1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확진자</a:t>
            </a:r>
            <a:r>
              <a:rPr lang="ko-KR" altLang="en-US" sz="1600" dirty="0">
                <a:solidFill>
                  <a:prstClr val="black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수를 의미</a:t>
            </a:r>
          </a:p>
        </p:txBody>
      </p:sp>
      <p:sp>
        <p:nvSpPr>
          <p:cNvPr id="37" name="사각형: 잘린 대각선 방향 모서리 36">
            <a:extLst>
              <a:ext uri="{FF2B5EF4-FFF2-40B4-BE49-F238E27FC236}">
                <a16:creationId xmlns:a16="http://schemas.microsoft.com/office/drawing/2014/main" xmlns="" id="{F4A2713C-6748-477E-8114-064E56E3143E}"/>
              </a:ext>
            </a:extLst>
          </p:cNvPr>
          <p:cNvSpPr/>
          <p:nvPr/>
        </p:nvSpPr>
        <p:spPr>
          <a:xfrm>
            <a:off x="8414084" y="3474842"/>
            <a:ext cx="3482642" cy="938464"/>
          </a:xfrm>
          <a:prstGeom prst="snip2DiagRect">
            <a:avLst/>
          </a:prstGeom>
          <a:solidFill>
            <a:srgbClr val="5EB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일일 </a:t>
            </a:r>
            <a:r>
              <a:rPr lang="ko-KR" altLang="en-US" sz="1600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확진자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수를 그룹화하여 다른 색을 적용</a:t>
            </a:r>
            <a:endParaRPr lang="en-US" altLang="ko-KR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ex) 300~500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 구간은 빨강</a:t>
            </a:r>
          </a:p>
        </p:txBody>
      </p:sp>
      <p:sp>
        <p:nvSpPr>
          <p:cNvPr id="41" name="사각형: 잘린 대각선 방향 모서리 40">
            <a:extLst>
              <a:ext uri="{FF2B5EF4-FFF2-40B4-BE49-F238E27FC236}">
                <a16:creationId xmlns:a16="http://schemas.microsoft.com/office/drawing/2014/main" xmlns="" id="{D9A50A38-072D-44D8-8DDD-C71E2ABBEFE6}"/>
              </a:ext>
            </a:extLst>
          </p:cNvPr>
          <p:cNvSpPr/>
          <p:nvPr/>
        </p:nvSpPr>
        <p:spPr>
          <a:xfrm>
            <a:off x="8414084" y="4976507"/>
            <a:ext cx="3482642" cy="1355553"/>
          </a:xfrm>
          <a:prstGeom prst="snip2DiagRect">
            <a:avLst/>
          </a:prstGeom>
          <a:solidFill>
            <a:srgbClr val="4CD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확진자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수는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3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초반에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700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을 넘기며 가장 높은 수치를 기록하였고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4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부터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7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까지는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00</a:t>
            </a:r>
            <a:r>
              <a:rPr lang="ko-KR" altLang="en-US" sz="1600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대를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유지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그 이후에는 </a:t>
            </a:r>
            <a:r>
              <a:rPr lang="en-US" altLang="ko-KR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00</a:t>
            </a:r>
            <a:r>
              <a:rPr lang="ko-KR" altLang="en-US" sz="1600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명대로 치솟았다가 다시 감소하는 </a:t>
            </a:r>
            <a:r>
              <a:rPr lang="ko-KR" altLang="en-US" sz="1600" dirty="0" smtClean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추세임</a:t>
            </a:r>
            <a:endParaRPr lang="ko-KR" altLang="en-US" sz="1600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787486C3-D224-4883-911A-E3E0C859E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0802" y="153863"/>
            <a:ext cx="1060796" cy="1030313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04FCC5B7-BA92-4559-8097-6B25F78E18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84176"/>
            <a:ext cx="8257026" cy="554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77499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13">
            <a:extLst>
              <a:ext uri="{FF2B5EF4-FFF2-40B4-BE49-F238E27FC236}">
                <a16:creationId xmlns:a16="http://schemas.microsoft.com/office/drawing/2014/main" xmlns="" id="{D8CBF8B2-EAF8-44E0-BC43-41E9CA5AEC25}"/>
              </a:ext>
            </a:extLst>
          </p:cNvPr>
          <p:cNvSpPr/>
          <p:nvPr/>
        </p:nvSpPr>
        <p:spPr>
          <a:xfrm>
            <a:off x="3737823" y="1167939"/>
            <a:ext cx="6836632" cy="879838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sz="1800" b="0" i="0" u="none" strike="noStrike" dirty="0" err="1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캐시백</a:t>
            </a:r>
            <a:r>
              <a:rPr lang="ko-KR" altLang="en-US" sz="1800" b="0" i="0" u="none" strike="noStrike" dirty="0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투자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방식으로 </a:t>
            </a:r>
            <a:r>
              <a:rPr lang="ko-KR" altLang="en-US" sz="1800" b="0" i="0" u="none" strike="noStrike" dirty="0" err="1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라우드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800" b="0" i="0" u="none" strike="noStrike" dirty="0" err="1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펀딩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진행해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경제적으로 어려운 소상공인을 지원하는 사회적 효과를 불러일으킴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 기업 이미지에 긍정적인 효과를 불러옴과 동시에 새로운 이용객 유입을 기대할 수 있음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5" name="Rounded Rectangle 13">
            <a:extLst>
              <a:ext uri="{FF2B5EF4-FFF2-40B4-BE49-F238E27FC236}">
                <a16:creationId xmlns:a16="http://schemas.microsoft.com/office/drawing/2014/main" xmlns="" id="{42BD61A8-34BA-45A6-BEDD-3903FCD63124}"/>
              </a:ext>
            </a:extLst>
          </p:cNvPr>
          <p:cNvSpPr/>
          <p:nvPr/>
        </p:nvSpPr>
        <p:spPr>
          <a:xfrm>
            <a:off x="3745876" y="3294774"/>
            <a:ext cx="6836629" cy="782887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b="0" i="0" u="none" strike="noStrike" dirty="0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</a:t>
            </a:r>
            <a:r>
              <a:rPr lang="ko-KR" altLang="en-US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을 주제로 </a:t>
            </a:r>
            <a:r>
              <a:rPr lang="ko-KR" altLang="en-US" b="0" i="0" u="none" strike="noStrike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모임통장</a:t>
            </a:r>
            <a:r>
              <a:rPr lang="ko-KR" altLang="en-US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을 개설하게 해 줌과 동시에 여러 서비스를 제공하여 카드 이용률을 증가시킬 수 있을 것으로 판단됨</a:t>
            </a:r>
            <a:r>
              <a:rPr lang="en-US" altLang="ko-KR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xmlns="" id="{5F20A215-A64C-44A8-812C-DDBEA3E69715}"/>
              </a:ext>
            </a:extLst>
          </p:cNvPr>
          <p:cNvSpPr/>
          <p:nvPr/>
        </p:nvSpPr>
        <p:spPr>
          <a:xfrm>
            <a:off x="3721720" y="5076825"/>
            <a:ext cx="6852736" cy="739540"/>
          </a:xfrm>
          <a:prstGeom prst="roundRect">
            <a:avLst>
              <a:gd name="adj" fmla="val 12448"/>
            </a:avLst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sz="1800" b="0" i="0" u="none" strike="noStrike" dirty="0">
                <a:solidFill>
                  <a:schemeClr val="tx1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별로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혜택을 나누어 적용하여 맞춤 서비스 제공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800" b="0" i="0" u="none" strike="noStrike" dirty="0">
                <a:solidFill>
                  <a:srgbClr val="DEA9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개인 만족도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를 높일 수 있음</a:t>
            </a:r>
            <a:r>
              <a:rPr lang="en-US" altLang="ko-KR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800" b="0" i="0" u="none" strike="noStrike" dirty="0">
                <a:solidFill>
                  <a:srgbClr val="000000"/>
                </a:solidFill>
                <a:effectLst/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새로운 카드 이용객과 더불어 카드 이용률도 증가할 것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9" name="Rounded Rectangle 14">
            <a:extLst>
              <a:ext uri="{FF2B5EF4-FFF2-40B4-BE49-F238E27FC236}">
                <a16:creationId xmlns:a16="http://schemas.microsoft.com/office/drawing/2014/main" xmlns="" id="{9946FD9A-84E8-4D23-99CE-2F03E7F55E89}"/>
              </a:ext>
            </a:extLst>
          </p:cNvPr>
          <p:cNvSpPr/>
          <p:nvPr/>
        </p:nvSpPr>
        <p:spPr>
          <a:xfrm>
            <a:off x="3737823" y="2094400"/>
            <a:ext cx="6836632" cy="892661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ea typeface="08서울남산체 B" panose="02020603020101020101" pitchFamily="18" charset="-127"/>
              </a:rPr>
              <a:t> </a:t>
            </a:r>
          </a:p>
          <a:p>
            <a:pPr algn="ctr"/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충분한 정보가 제공되지 않으면 </a:t>
            </a:r>
            <a:r>
              <a:rPr lang="ko-KR" altLang="en-US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캐시백을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통한 </a:t>
            </a:r>
            <a:r>
              <a:rPr lang="ko-KR" altLang="en-US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라우드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 err="1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펀딩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투자를 꺼려할 수 있음</a:t>
            </a:r>
            <a:r>
              <a:rPr lang="en-US" altLang="ko-KR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 투자를 통한 보상 및 시스템에 대한 뚜렷한 기준을 마련 </a:t>
            </a:r>
            <a:r>
              <a:rPr lang="ko-KR" altLang="en-US" dirty="0" smtClean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해야 함</a:t>
            </a:r>
            <a:r>
              <a:rPr lang="en-US" altLang="ko-KR" dirty="0">
                <a:solidFill>
                  <a:schemeClr val="tx1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solidFill>
                <a:schemeClr val="tx1"/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endParaRPr lang="ko-KR" altLang="en-US" dirty="0">
              <a:solidFill>
                <a:schemeClr val="tx1"/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1" name="Rounded Rectangle 14">
            <a:extLst>
              <a:ext uri="{FF2B5EF4-FFF2-40B4-BE49-F238E27FC236}">
                <a16:creationId xmlns:a16="http://schemas.microsoft.com/office/drawing/2014/main" xmlns="" id="{086AF4A6-7746-4586-92E9-7AB8902C7F68}"/>
              </a:ext>
            </a:extLst>
          </p:cNvPr>
          <p:cNvSpPr/>
          <p:nvPr/>
        </p:nvSpPr>
        <p:spPr>
          <a:xfrm>
            <a:off x="3745874" y="4124284"/>
            <a:ext cx="6828581" cy="699314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일반적인 모임통장은 카카오에서 이미 제공하고 있는 서비스이므로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여행을 중심으로 타 카드사의 전략과는 다르게 서비스 차별화 필요함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xmlns="" id="{F4E95C26-6501-477B-A191-35052E94E2AB}"/>
              </a:ext>
            </a:extLst>
          </p:cNvPr>
          <p:cNvSpPr/>
          <p:nvPr/>
        </p:nvSpPr>
        <p:spPr>
          <a:xfrm>
            <a:off x="3737823" y="5862827"/>
            <a:ext cx="6844682" cy="784797"/>
          </a:xfrm>
          <a:prstGeom prst="roundRect">
            <a:avLst>
              <a:gd name="adj" fmla="val 12448"/>
            </a:avLst>
          </a:prstGeom>
          <a:solidFill>
            <a:schemeClr val="accent3">
              <a:lumMod val="20000"/>
              <a:lumOff val="80000"/>
            </a:schemeClr>
          </a:solidFill>
          <a:ln w="31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ea typeface="08서울남산체 B" panose="02020603020101020101" pitchFamily="18" charset="-127"/>
              </a:rPr>
              <a:t> </a:t>
            </a:r>
            <a:r>
              <a:rPr lang="ko-KR" altLang="en-US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대별 카드 상품은 이미 타 카드사에서 제공되고 있는 상품이므로 독보적인 경쟁력을 확보하기 위해 노력해야 함</a:t>
            </a:r>
            <a:r>
              <a:rPr lang="en-US" altLang="ko-KR" dirty="0">
                <a:solidFill>
                  <a:srgbClr val="000000"/>
                </a:solidFill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D2F041F-ED4E-4E06-91EE-31CE3B2FB4A7}"/>
              </a:ext>
            </a:extLst>
          </p:cNvPr>
          <p:cNvSpPr txBox="1"/>
          <p:nvPr/>
        </p:nvSpPr>
        <p:spPr>
          <a:xfrm>
            <a:off x="2000848" y="1486665"/>
            <a:ext cx="1779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소상공인을 위한</a:t>
            </a:r>
            <a:endParaRPr lang="en-US" altLang="ko-KR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크라우드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펀딩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53AB1D2-1E4F-4AD1-B8AA-69424249B3FB}"/>
              </a:ext>
            </a:extLst>
          </p:cNvPr>
          <p:cNvSpPr txBox="1"/>
          <p:nvPr/>
        </p:nvSpPr>
        <p:spPr>
          <a:xfrm>
            <a:off x="2355548" y="3767671"/>
            <a:ext cx="11550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모임통장</a:t>
            </a:r>
            <a:endParaRPr lang="en-US" altLang="ko-KR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서비스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B6C7FF6-B2B8-400B-B3BF-1EA74C31BFCA}"/>
              </a:ext>
            </a:extLst>
          </p:cNvPr>
          <p:cNvSpPr txBox="1"/>
          <p:nvPr/>
        </p:nvSpPr>
        <p:spPr>
          <a:xfrm>
            <a:off x="2200590" y="5493199"/>
            <a:ext cx="14030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연령대별</a:t>
            </a:r>
            <a:endParaRPr lang="en-US" altLang="ko-KR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pPr algn="ctr"/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드 </a:t>
            </a:r>
          </a:p>
        </p:txBody>
      </p:sp>
      <p:cxnSp>
        <p:nvCxnSpPr>
          <p:cNvPr id="16" name="Straight Connector 75">
            <a:extLst>
              <a:ext uri="{FF2B5EF4-FFF2-40B4-BE49-F238E27FC236}">
                <a16:creationId xmlns:a16="http://schemas.microsoft.com/office/drawing/2014/main" xmlns="" id="{C76560F1-1AED-4E31-878D-95FC81B2666E}"/>
              </a:ext>
            </a:extLst>
          </p:cNvPr>
          <p:cNvCxnSpPr>
            <a:cxnSpLocks/>
          </p:cNvCxnSpPr>
          <p:nvPr/>
        </p:nvCxnSpPr>
        <p:spPr>
          <a:xfrm flipV="1">
            <a:off x="1781016" y="1797852"/>
            <a:ext cx="1879588" cy="460"/>
          </a:xfrm>
          <a:prstGeom prst="line">
            <a:avLst/>
          </a:prstGeom>
          <a:ln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76">
            <a:extLst>
              <a:ext uri="{FF2B5EF4-FFF2-40B4-BE49-F238E27FC236}">
                <a16:creationId xmlns:a16="http://schemas.microsoft.com/office/drawing/2014/main" xmlns="" id="{4605AC8B-49C6-464E-B637-2B83FFAF6E4F}"/>
              </a:ext>
            </a:extLst>
          </p:cNvPr>
          <p:cNvSpPr/>
          <p:nvPr/>
        </p:nvSpPr>
        <p:spPr>
          <a:xfrm>
            <a:off x="1580261" y="1539831"/>
            <a:ext cx="540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1</a:t>
            </a:r>
          </a:p>
        </p:txBody>
      </p:sp>
      <p:cxnSp>
        <p:nvCxnSpPr>
          <p:cNvPr id="27" name="Straight Connector 84">
            <a:extLst>
              <a:ext uri="{FF2B5EF4-FFF2-40B4-BE49-F238E27FC236}">
                <a16:creationId xmlns:a16="http://schemas.microsoft.com/office/drawing/2014/main" xmlns="" id="{77EDC410-E153-4165-A577-20E3C81B677C}"/>
              </a:ext>
            </a:extLst>
          </p:cNvPr>
          <p:cNvCxnSpPr>
            <a:cxnSpLocks/>
          </p:cNvCxnSpPr>
          <p:nvPr/>
        </p:nvCxnSpPr>
        <p:spPr>
          <a:xfrm flipV="1">
            <a:off x="2040051" y="4082673"/>
            <a:ext cx="1625612" cy="4513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8">
            <a:extLst>
              <a:ext uri="{FF2B5EF4-FFF2-40B4-BE49-F238E27FC236}">
                <a16:creationId xmlns:a16="http://schemas.microsoft.com/office/drawing/2014/main" xmlns="" id="{FCECFD2D-476D-468F-AC66-2C11BB4E3E5E}"/>
              </a:ext>
            </a:extLst>
          </p:cNvPr>
          <p:cNvSpPr/>
          <p:nvPr/>
        </p:nvSpPr>
        <p:spPr>
          <a:xfrm>
            <a:off x="1580261" y="3797870"/>
            <a:ext cx="540000" cy="54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2</a:t>
            </a:r>
          </a:p>
        </p:txBody>
      </p:sp>
      <p:cxnSp>
        <p:nvCxnSpPr>
          <p:cNvPr id="31" name="Straight Connector 84">
            <a:extLst>
              <a:ext uri="{FF2B5EF4-FFF2-40B4-BE49-F238E27FC236}">
                <a16:creationId xmlns:a16="http://schemas.microsoft.com/office/drawing/2014/main" xmlns="" id="{AE374133-8480-4E59-B911-84289DA9E6CD}"/>
              </a:ext>
            </a:extLst>
          </p:cNvPr>
          <p:cNvCxnSpPr>
            <a:cxnSpLocks/>
          </p:cNvCxnSpPr>
          <p:nvPr/>
        </p:nvCxnSpPr>
        <p:spPr>
          <a:xfrm>
            <a:off x="2122874" y="5816365"/>
            <a:ext cx="1528853" cy="0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88">
            <a:extLst>
              <a:ext uri="{FF2B5EF4-FFF2-40B4-BE49-F238E27FC236}">
                <a16:creationId xmlns:a16="http://schemas.microsoft.com/office/drawing/2014/main" xmlns="" id="{D80F55FC-81CE-43C6-879E-C44EC3C1CCBD}"/>
              </a:ext>
            </a:extLst>
          </p:cNvPr>
          <p:cNvSpPr/>
          <p:nvPr/>
        </p:nvSpPr>
        <p:spPr>
          <a:xfrm>
            <a:off x="1580261" y="5551792"/>
            <a:ext cx="540000" cy="540000"/>
          </a:xfrm>
          <a:prstGeom prst="rect">
            <a:avLst/>
          </a:prstGeom>
          <a:solidFill>
            <a:srgbClr val="C1E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ea typeface="08서울남산체 B" panose="02020603020101020101" pitchFamily="18" charset="-127"/>
              </a:rPr>
              <a:t>03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AE4345B1-00CD-4D3F-AABB-51548067AE35}"/>
              </a:ext>
            </a:extLst>
          </p:cNvPr>
          <p:cNvSpPr/>
          <p:nvPr/>
        </p:nvSpPr>
        <p:spPr>
          <a:xfrm>
            <a:off x="3685669" y="630469"/>
            <a:ext cx="4874400" cy="128336"/>
          </a:xfrm>
          <a:prstGeom prst="rect">
            <a:avLst/>
          </a:prstGeom>
          <a:solidFill>
            <a:srgbClr val="5EBEE4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xmlns="" id="{73E36A1C-E08F-4673-835E-CB0C9B8F03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9397" y="114300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ko-KR" altLang="en-US" sz="3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전략의 기대효과 및 한계점</a:t>
            </a:r>
            <a:endParaRPr lang="en-US" sz="3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8187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9E2F8A6-EA42-4738-B8C6-F2C57F99A3C6}"/>
              </a:ext>
            </a:extLst>
          </p:cNvPr>
          <p:cNvSpPr txBox="1"/>
          <p:nvPr/>
        </p:nvSpPr>
        <p:spPr>
          <a:xfrm>
            <a:off x="5265821" y="224589"/>
            <a:ext cx="21732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2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참고 문헌</a:t>
            </a:r>
          </a:p>
        </p:txBody>
      </p:sp>
      <p:sp>
        <p:nvSpPr>
          <p:cNvPr id="5" name="Rectangle 29">
            <a:extLst>
              <a:ext uri="{FF2B5EF4-FFF2-40B4-BE49-F238E27FC236}">
                <a16:creationId xmlns:a16="http://schemas.microsoft.com/office/drawing/2014/main" xmlns="" id="{45084E42-D447-4892-B83E-88DBD91FF1F1}"/>
              </a:ext>
            </a:extLst>
          </p:cNvPr>
          <p:cNvSpPr/>
          <p:nvPr/>
        </p:nvSpPr>
        <p:spPr>
          <a:xfrm>
            <a:off x="1560941" y="1259914"/>
            <a:ext cx="386385" cy="392601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1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1" name="Rectangle 30">
            <a:extLst>
              <a:ext uri="{FF2B5EF4-FFF2-40B4-BE49-F238E27FC236}">
                <a16:creationId xmlns:a16="http://schemas.microsoft.com/office/drawing/2014/main" xmlns="" id="{9E09CA02-BBD0-4C74-A045-F01DE42F35A5}"/>
              </a:ext>
            </a:extLst>
          </p:cNvPr>
          <p:cNvSpPr/>
          <p:nvPr/>
        </p:nvSpPr>
        <p:spPr>
          <a:xfrm>
            <a:off x="1560941" y="2059988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2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xmlns="" id="{F9519BC8-3292-43CF-A13E-C96C0EA1813C}"/>
              </a:ext>
            </a:extLst>
          </p:cNvPr>
          <p:cNvSpPr/>
          <p:nvPr/>
        </p:nvSpPr>
        <p:spPr>
          <a:xfrm>
            <a:off x="1560941" y="2827501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3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5" name="Rectangle 32">
            <a:extLst>
              <a:ext uri="{FF2B5EF4-FFF2-40B4-BE49-F238E27FC236}">
                <a16:creationId xmlns:a16="http://schemas.microsoft.com/office/drawing/2014/main" xmlns="" id="{E443D381-A3C6-4B6F-A73B-006A842CBE7E}"/>
              </a:ext>
            </a:extLst>
          </p:cNvPr>
          <p:cNvSpPr/>
          <p:nvPr/>
        </p:nvSpPr>
        <p:spPr>
          <a:xfrm>
            <a:off x="1560941" y="3595014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4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7" name="Rectangle 30">
            <a:extLst>
              <a:ext uri="{FF2B5EF4-FFF2-40B4-BE49-F238E27FC236}">
                <a16:creationId xmlns:a16="http://schemas.microsoft.com/office/drawing/2014/main" xmlns="" id="{975308DB-5BFF-4697-89D8-CD5CC10DE1B7}"/>
              </a:ext>
            </a:extLst>
          </p:cNvPr>
          <p:cNvSpPr/>
          <p:nvPr/>
        </p:nvSpPr>
        <p:spPr>
          <a:xfrm>
            <a:off x="1560941" y="4362527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5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9" name="Rectangle 31">
            <a:extLst>
              <a:ext uri="{FF2B5EF4-FFF2-40B4-BE49-F238E27FC236}">
                <a16:creationId xmlns:a16="http://schemas.microsoft.com/office/drawing/2014/main" xmlns="" id="{D2C0E9AD-C8A4-4BFB-97C4-6582FBBFE4F0}"/>
              </a:ext>
            </a:extLst>
          </p:cNvPr>
          <p:cNvSpPr/>
          <p:nvPr/>
        </p:nvSpPr>
        <p:spPr>
          <a:xfrm>
            <a:off x="1560941" y="5130040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6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21" name="Rectangle 29">
            <a:extLst>
              <a:ext uri="{FF2B5EF4-FFF2-40B4-BE49-F238E27FC236}">
                <a16:creationId xmlns:a16="http://schemas.microsoft.com/office/drawing/2014/main" xmlns="" id="{00E15A87-B5CA-412C-8378-013C6A7BEF6C}"/>
              </a:ext>
            </a:extLst>
          </p:cNvPr>
          <p:cNvSpPr/>
          <p:nvPr/>
        </p:nvSpPr>
        <p:spPr>
          <a:xfrm>
            <a:off x="1560941" y="5897553"/>
            <a:ext cx="386384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08서울남산체 B" panose="02020603020101020101" pitchFamily="18" charset="-127"/>
              </a:rPr>
              <a:t>07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DA35241-EF8C-4148-9414-D1F890CABAAA}"/>
              </a:ext>
            </a:extLst>
          </p:cNvPr>
          <p:cNvSpPr txBox="1"/>
          <p:nvPr/>
        </p:nvSpPr>
        <p:spPr>
          <a:xfrm>
            <a:off x="2069431" y="3515949"/>
            <a:ext cx="66611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삼성카드의 특징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및 강점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변화한 점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www.paxetv.com/news/articleView.html?idxno=9225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DBB5C3F-1B74-4E59-A96E-360814EBD3E1}"/>
              </a:ext>
            </a:extLst>
          </p:cNvPr>
          <p:cNvSpPr txBox="1"/>
          <p:nvPr/>
        </p:nvSpPr>
        <p:spPr>
          <a:xfrm>
            <a:off x="2069430" y="1975873"/>
            <a:ext cx="74555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이후의 국내 경제 상황 및 일자리 현황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biz.chosun.com/site/data/html_dir/2020/08/25/2020082501451.html</a:t>
            </a:r>
            <a:endParaRPr lang="ko-KR" altLang="en-US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E8C6D0D-4514-425F-B39B-41EE492662FA}"/>
              </a:ext>
            </a:extLst>
          </p:cNvPr>
          <p:cNvSpPr txBox="1"/>
          <p:nvPr/>
        </p:nvSpPr>
        <p:spPr>
          <a:xfrm>
            <a:off x="2073441" y="2745911"/>
            <a:ext cx="73004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8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 삼성카드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SWOT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분석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www.jobkorea.co.kr/starter/companyreport/view?Inside_No=14650</a:t>
            </a:r>
            <a:endParaRPr lang="ko-KR" altLang="en-US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92FB879F-76F3-4FE4-874A-67BEFF627DEF}"/>
              </a:ext>
            </a:extLst>
          </p:cNvPr>
          <p:cNvSpPr txBox="1"/>
          <p:nvPr/>
        </p:nvSpPr>
        <p:spPr>
          <a:xfrm>
            <a:off x="2073442" y="1205835"/>
            <a:ext cx="471496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이후의 국내 경제 상황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www.bbc.com/korean/news-53510287</a:t>
            </a:r>
            <a:endParaRPr lang="ko-KR" altLang="en-US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68CE39C-50D5-4490-93F4-9465CCB3943D}"/>
              </a:ext>
            </a:extLst>
          </p:cNvPr>
          <p:cNvSpPr txBox="1"/>
          <p:nvPr/>
        </p:nvSpPr>
        <p:spPr>
          <a:xfrm>
            <a:off x="2069430" y="4283462"/>
            <a:ext cx="74555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코로나 사태에 따른 </a:t>
            </a:r>
            <a:r>
              <a:rPr lang="ko-KR" altLang="en-US" sz="16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밀키트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시장의 급성장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biz.chosun.com/site/data/html_dir/2020/09/04/2020090402338.htm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9387771-CD16-414A-B6A6-F6345E19BEB9}"/>
              </a:ext>
            </a:extLst>
          </p:cNvPr>
          <p:cNvSpPr txBox="1"/>
          <p:nvPr/>
        </p:nvSpPr>
        <p:spPr>
          <a:xfrm>
            <a:off x="2069429" y="5048450"/>
            <a:ext cx="71453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기업계 카드사의 체크카드 점유율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://www.smedaily.co.kr/news/articleView.html?idxno=9308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FC0A79B-C263-4001-A98C-D0653C6E8A68}"/>
              </a:ext>
            </a:extLst>
          </p:cNvPr>
          <p:cNvSpPr txBox="1"/>
          <p:nvPr/>
        </p:nvSpPr>
        <p:spPr>
          <a:xfrm>
            <a:off x="2069430" y="5818488"/>
            <a:ext cx="599830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삼성카드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LINK,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보고플레이와 협업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https://www.mk.co.kr/news/economy/view/2020/08/885425/</a:t>
            </a:r>
            <a:endParaRPr lang="ko-KR" altLang="en-US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8566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xmlns="" id="{263620C3-8AA5-4894-BAF3-2637BD638A85}"/>
              </a:ext>
            </a:extLst>
          </p:cNvPr>
          <p:cNvSpPr/>
          <p:nvPr/>
        </p:nvSpPr>
        <p:spPr>
          <a:xfrm>
            <a:off x="152400" y="120316"/>
            <a:ext cx="11887200" cy="65772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7" name="Rectangle: Rounded Corners 1">
            <a:extLst>
              <a:ext uri="{FF2B5EF4-FFF2-40B4-BE49-F238E27FC236}">
                <a16:creationId xmlns:a16="http://schemas.microsoft.com/office/drawing/2014/main" xmlns="" id="{A2792B5A-5AFA-4949-9A07-962476C90276}"/>
              </a:ext>
            </a:extLst>
          </p:cNvPr>
          <p:cNvSpPr/>
          <p:nvPr/>
        </p:nvSpPr>
        <p:spPr>
          <a:xfrm>
            <a:off x="418885" y="1628274"/>
            <a:ext cx="11354230" cy="4621768"/>
          </a:xfrm>
          <a:prstGeom prst="roundRect">
            <a:avLst>
              <a:gd name="adj" fmla="val 479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</a:endParaRPr>
          </a:p>
        </p:txBody>
      </p:sp>
      <p:pic>
        <p:nvPicPr>
          <p:cNvPr id="3" name="그림 2" descr="실내, 컴퓨터, 테이블, 묶음이(가) 표시된 사진&#10;&#10;자동 생성된 설명">
            <a:extLst>
              <a:ext uri="{FF2B5EF4-FFF2-40B4-BE49-F238E27FC236}">
                <a16:creationId xmlns:a16="http://schemas.microsoft.com/office/drawing/2014/main" xmlns="" id="{4D7B4900-7C40-4684-B575-8E2F2A82C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7" y="2003509"/>
            <a:ext cx="10905066" cy="38712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6864096-FE0A-4297-A8E8-DF9378DAB098}"/>
              </a:ext>
            </a:extLst>
          </p:cNvPr>
          <p:cNvSpPr txBox="1"/>
          <p:nvPr/>
        </p:nvSpPr>
        <p:spPr>
          <a:xfrm>
            <a:off x="516634" y="452820"/>
            <a:ext cx="68186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9-2020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 </a:t>
            </a:r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, 5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카드 결제 건수 데이터</a:t>
            </a:r>
            <a:endParaRPr lang="en-US" altLang="ko-KR" sz="2400" b="1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095DB1E-F706-4DF7-AD5F-2E4C7805EB04}"/>
              </a:ext>
            </a:extLst>
          </p:cNvPr>
          <p:cNvSpPr txBox="1"/>
          <p:nvPr/>
        </p:nvSpPr>
        <p:spPr>
          <a:xfrm>
            <a:off x="516634" y="914485"/>
            <a:ext cx="5157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Track2_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] trend_w_demo.csv</a:t>
            </a:r>
          </a:p>
        </p:txBody>
      </p:sp>
    </p:spTree>
    <p:extLst>
      <p:ext uri="{BB962C8B-B14F-4D97-AF65-F5344CB8AC3E}">
        <p14:creationId xmlns:p14="http://schemas.microsoft.com/office/powerpoint/2010/main" val="2708936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50577F43-46FF-45F1-A625-103CE57C539F}"/>
              </a:ext>
            </a:extLst>
          </p:cNvPr>
          <p:cNvSpPr/>
          <p:nvPr/>
        </p:nvSpPr>
        <p:spPr>
          <a:xfrm>
            <a:off x="152400" y="144379"/>
            <a:ext cx="11887200" cy="65772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xmlns="" id="{67F93332-C332-4E2F-9704-0878B6D5860F}"/>
              </a:ext>
            </a:extLst>
          </p:cNvPr>
          <p:cNvSpPr/>
          <p:nvPr/>
        </p:nvSpPr>
        <p:spPr>
          <a:xfrm>
            <a:off x="6331970" y="1428114"/>
            <a:ext cx="5375189" cy="4738163"/>
          </a:xfrm>
          <a:prstGeom prst="roundRect">
            <a:avLst>
              <a:gd name="adj" fmla="val 479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sp>
        <p:nvSpPr>
          <p:cNvPr id="5" name="Rectangle: Rounded Corners 1">
            <a:extLst>
              <a:ext uri="{FF2B5EF4-FFF2-40B4-BE49-F238E27FC236}">
                <a16:creationId xmlns:a16="http://schemas.microsoft.com/office/drawing/2014/main" xmlns="" id="{FD0AF520-BF5B-4E95-8300-C2D0A3457EC7}"/>
              </a:ext>
            </a:extLst>
          </p:cNvPr>
          <p:cNvSpPr/>
          <p:nvPr/>
        </p:nvSpPr>
        <p:spPr>
          <a:xfrm>
            <a:off x="484843" y="1428114"/>
            <a:ext cx="5375189" cy="4738163"/>
          </a:xfrm>
          <a:prstGeom prst="roundRect">
            <a:avLst>
              <a:gd name="adj" fmla="val 479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B5D43CCB-C448-4A48-A73C-453DB7D8C2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101" y="2892775"/>
            <a:ext cx="4905375" cy="23526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B90BBD2-A209-4E86-88A7-6BDE3832DC16}"/>
              </a:ext>
            </a:extLst>
          </p:cNvPr>
          <p:cNvSpPr txBox="1"/>
          <p:nvPr/>
        </p:nvSpPr>
        <p:spPr>
          <a:xfrm>
            <a:off x="717355" y="1628169"/>
            <a:ext cx="42511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셋 구성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47CEAED-A4C8-415B-B877-798E04513347}"/>
              </a:ext>
            </a:extLst>
          </p:cNvPr>
          <p:cNvSpPr txBox="1"/>
          <p:nvPr/>
        </p:nvSpPr>
        <p:spPr>
          <a:xfrm>
            <a:off x="516634" y="452820"/>
            <a:ext cx="6697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19-2020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도 </a:t>
            </a:r>
            <a:r>
              <a:rPr lang="en-US" altLang="ko-KR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, 5</a:t>
            </a:r>
            <a:r>
              <a:rPr lang="ko-KR" altLang="en-US" sz="2400" b="1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 카드 결제 건수 데이터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xmlns="" id="{544A6F9D-AAB9-4F61-9167-F76D3D86B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355" y="2892775"/>
            <a:ext cx="4871466" cy="143278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1A2ED220-797B-4B5C-A320-AAC391430EB8}"/>
              </a:ext>
            </a:extLst>
          </p:cNvPr>
          <p:cNvSpPr txBox="1"/>
          <p:nvPr/>
        </p:nvSpPr>
        <p:spPr>
          <a:xfrm>
            <a:off x="6505101" y="1628169"/>
            <a:ext cx="42511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Category</a:t>
            </a:r>
            <a:r>
              <a:rPr lang="ko-KR" altLang="en-US" sz="20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변수 구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5E83932-52DB-4EB8-9391-0D42E400ADF4}"/>
              </a:ext>
            </a:extLst>
          </p:cNvPr>
          <p:cNvSpPr txBox="1"/>
          <p:nvPr/>
        </p:nvSpPr>
        <p:spPr>
          <a:xfrm>
            <a:off x="516634" y="914485"/>
            <a:ext cx="5157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[Track2_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데이터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] 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업종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_</a:t>
            </a:r>
            <a:r>
              <a:rPr lang="ko-KR" altLang="en-US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예시</a:t>
            </a:r>
            <a:r>
              <a:rPr lang="en-US" altLang="ko-KR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csv</a:t>
            </a:r>
            <a:endParaRPr lang="ko-KR" altLang="en-US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33744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BCF22CFF-449C-457E-AC9F-86D35D0C91EB}"/>
              </a:ext>
            </a:extLst>
          </p:cNvPr>
          <p:cNvSpPr/>
          <p:nvPr/>
        </p:nvSpPr>
        <p:spPr>
          <a:xfrm>
            <a:off x="3934318" y="691600"/>
            <a:ext cx="4179600" cy="109409"/>
          </a:xfrm>
          <a:prstGeom prst="rect">
            <a:avLst/>
          </a:prstGeom>
          <a:solidFill>
            <a:srgbClr val="92D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08서울남산체 B" panose="02020603020101020101" pitchFamily="18" charset="-127"/>
            </a:endParaRPr>
          </a:p>
        </p:txBody>
      </p:sp>
      <p:sp>
        <p:nvSpPr>
          <p:cNvPr id="8" name="Chevron 3">
            <a:extLst>
              <a:ext uri="{FF2B5EF4-FFF2-40B4-BE49-F238E27FC236}">
                <a16:creationId xmlns:a16="http://schemas.microsoft.com/office/drawing/2014/main" xmlns="" id="{53831F93-513E-4203-8D1C-F4F0D9CE1270}"/>
              </a:ext>
            </a:extLst>
          </p:cNvPr>
          <p:cNvSpPr/>
          <p:nvPr/>
        </p:nvSpPr>
        <p:spPr>
          <a:xfrm rot="10800000">
            <a:off x="5614083" y="5249066"/>
            <a:ext cx="6082616" cy="1127115"/>
          </a:xfrm>
          <a:prstGeom prst="chevron">
            <a:avLst/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>
                  <a:lumMod val="65000"/>
                  <a:lumOff val="3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7" name="Chevron 3">
            <a:extLst>
              <a:ext uri="{FF2B5EF4-FFF2-40B4-BE49-F238E27FC236}">
                <a16:creationId xmlns:a16="http://schemas.microsoft.com/office/drawing/2014/main" xmlns="" id="{8C81C91B-6CED-4B43-8656-6408F8E13818}"/>
              </a:ext>
            </a:extLst>
          </p:cNvPr>
          <p:cNvSpPr/>
          <p:nvPr/>
        </p:nvSpPr>
        <p:spPr>
          <a:xfrm rot="10800000">
            <a:off x="5838959" y="4011565"/>
            <a:ext cx="5857740" cy="1003017"/>
          </a:xfrm>
          <a:prstGeom prst="chevron">
            <a:avLst/>
          </a:prstGeom>
          <a:solidFill>
            <a:schemeClr val="bg1"/>
          </a:solidFill>
          <a:ln w="76200">
            <a:solidFill>
              <a:srgbClr val="4CD6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>
                  <a:lumMod val="65000"/>
                  <a:lumOff val="3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6" name="Chevron 3">
            <a:extLst>
              <a:ext uri="{FF2B5EF4-FFF2-40B4-BE49-F238E27FC236}">
                <a16:creationId xmlns:a16="http://schemas.microsoft.com/office/drawing/2014/main" xmlns="" id="{15B8A309-E007-47CA-89BA-A3A55B86C55E}"/>
              </a:ext>
            </a:extLst>
          </p:cNvPr>
          <p:cNvSpPr/>
          <p:nvPr/>
        </p:nvSpPr>
        <p:spPr>
          <a:xfrm rot="10800000">
            <a:off x="5838957" y="2800350"/>
            <a:ext cx="5857742" cy="996500"/>
          </a:xfrm>
          <a:prstGeom prst="chevron">
            <a:avLst/>
          </a:prstGeom>
          <a:solidFill>
            <a:schemeClr val="bg1"/>
          </a:solidFill>
          <a:ln w="76200">
            <a:solidFill>
              <a:srgbClr val="98DC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>
                  <a:lumMod val="65000"/>
                  <a:lumOff val="35000"/>
                </a:schemeClr>
              </a:solidFill>
              <a:ea typeface="08서울남산체 B" panose="02020603020101020101" pitchFamily="18" charset="-127"/>
            </a:endParaRPr>
          </a:p>
        </p:txBody>
      </p:sp>
      <p:sp>
        <p:nvSpPr>
          <p:cNvPr id="4" name="Chevron 3">
            <a:extLst>
              <a:ext uri="{FF2B5EF4-FFF2-40B4-BE49-F238E27FC236}">
                <a16:creationId xmlns:a16="http://schemas.microsoft.com/office/drawing/2014/main" xmlns="" id="{9F8CAED3-4516-457C-B694-29E9AB5D0DF2}"/>
              </a:ext>
            </a:extLst>
          </p:cNvPr>
          <p:cNvSpPr/>
          <p:nvPr/>
        </p:nvSpPr>
        <p:spPr>
          <a:xfrm rot="10800000">
            <a:off x="5193164" y="1642167"/>
            <a:ext cx="5753052" cy="916464"/>
          </a:xfrm>
          <a:prstGeom prst="chevron">
            <a:avLst/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799999"/>
              </a:camera>
              <a:lightRig rig="threePt" dir="t"/>
            </a:scene3d>
          </a:bodyPr>
          <a:lstStyle/>
          <a:p>
            <a:pPr algn="ctr"/>
            <a:endParaRPr lang="ko-KR" altLang="en-US" sz="1600" dirty="0">
              <a:solidFill>
                <a:schemeClr val="tx1">
                  <a:lumMod val="65000"/>
                  <a:lumOff val="35000"/>
                </a:schemeClr>
              </a:solidFill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42351" y="129606"/>
            <a:ext cx="11573197" cy="724247"/>
          </a:xfrm>
        </p:spPr>
        <p:txBody>
          <a:bodyPr>
            <a:normAutofit/>
          </a:bodyPr>
          <a:lstStyle/>
          <a:p>
            <a:r>
              <a:rPr lang="ko-KR" altLang="en-US" sz="4400" dirty="0">
                <a:latin typeface="08서울남산체 B" panose="02020603020101020101" pitchFamily="18" charset="-127"/>
              </a:rPr>
              <a:t>삼성카드 </a:t>
            </a:r>
            <a:r>
              <a:rPr lang="en-US" altLang="ko-KR" sz="4400" dirty="0">
                <a:latin typeface="08서울남산체 B" panose="02020603020101020101" pitchFamily="18" charset="-127"/>
              </a:rPr>
              <a:t>4P</a:t>
            </a:r>
            <a:r>
              <a:rPr lang="ko-KR" altLang="en-US" sz="4400" dirty="0">
                <a:latin typeface="08서울남산체 B" panose="02020603020101020101" pitchFamily="18" charset="-127"/>
              </a:rPr>
              <a:t> 분석</a:t>
            </a:r>
            <a:endParaRPr lang="en-US" sz="4400" dirty="0">
              <a:latin typeface="08서울남산체 B" panose="02020603020101020101" pitchFamily="18" charset="-127"/>
            </a:endParaRPr>
          </a:p>
        </p:txBody>
      </p:sp>
      <p:sp>
        <p:nvSpPr>
          <p:cNvPr id="3" name="Freeform 55">
            <a:extLst>
              <a:ext uri="{FF2B5EF4-FFF2-40B4-BE49-F238E27FC236}">
                <a16:creationId xmlns:a16="http://schemas.microsoft.com/office/drawing/2014/main" xmlns="" id="{67B27A2A-FB18-45E4-A9CE-3325DDF3F039}"/>
              </a:ext>
            </a:extLst>
          </p:cNvPr>
          <p:cNvSpPr/>
          <p:nvPr/>
        </p:nvSpPr>
        <p:spPr>
          <a:xfrm>
            <a:off x="0" y="2503485"/>
            <a:ext cx="2533515" cy="2760199"/>
          </a:xfrm>
          <a:custGeom>
            <a:avLst/>
            <a:gdLst/>
            <a:ahLst/>
            <a:cxnLst/>
            <a:rect l="l" t="t" r="r" b="b"/>
            <a:pathLst>
              <a:path w="3294587" h="5795631">
                <a:moveTo>
                  <a:pt x="0" y="0"/>
                </a:moveTo>
                <a:lnTo>
                  <a:pt x="3294587" y="2889259"/>
                </a:lnTo>
                <a:lnTo>
                  <a:pt x="0" y="5795631"/>
                </a:lnTo>
                <a:close/>
              </a:path>
            </a:pathLst>
          </a:cu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08서울남산체 B" panose="02020603020101020101" pitchFamily="18" charset="-127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763FF770-D07E-46E3-97C8-FA60C0FBC24F}"/>
              </a:ext>
            </a:extLst>
          </p:cNvPr>
          <p:cNvCxnSpPr>
            <a:cxnSpLocks/>
            <a:endCxn id="19" idx="2"/>
          </p:cNvCxnSpPr>
          <p:nvPr/>
        </p:nvCxnSpPr>
        <p:spPr>
          <a:xfrm>
            <a:off x="3643010" y="3889902"/>
            <a:ext cx="1469475" cy="55531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D091E1CB-AF1A-44F1-BCDF-A00FF26F1210}"/>
              </a:ext>
            </a:extLst>
          </p:cNvPr>
          <p:cNvCxnSpPr>
            <a:cxnSpLocks/>
          </p:cNvCxnSpPr>
          <p:nvPr/>
        </p:nvCxnSpPr>
        <p:spPr>
          <a:xfrm>
            <a:off x="3703147" y="4071786"/>
            <a:ext cx="1337916" cy="1296044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BAF2BB7B-E4D0-4096-AA3B-E5609030CBBB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3643010" y="3332982"/>
            <a:ext cx="1469475" cy="542866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EBECBF2F-C007-42B1-BB09-7A95EF1C1335}"/>
              </a:ext>
            </a:extLst>
          </p:cNvPr>
          <p:cNvCxnSpPr>
            <a:cxnSpLocks/>
            <a:endCxn id="21" idx="3"/>
          </p:cNvCxnSpPr>
          <p:nvPr/>
        </p:nvCxnSpPr>
        <p:spPr>
          <a:xfrm flipV="1">
            <a:off x="3643010" y="2544767"/>
            <a:ext cx="1017656" cy="1331082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2E16D446-9E8C-405B-BD09-6E062FB899BA}"/>
              </a:ext>
            </a:extLst>
          </p:cNvPr>
          <p:cNvSpPr/>
          <p:nvPr/>
        </p:nvSpPr>
        <p:spPr>
          <a:xfrm>
            <a:off x="2098738" y="3045116"/>
            <a:ext cx="1676936" cy="1676936"/>
          </a:xfrm>
          <a:prstGeom prst="ellipse">
            <a:avLst/>
          </a:prstGeom>
          <a:solidFill>
            <a:schemeClr val="accent6"/>
          </a:solidFill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11C47881-1B3D-4EDC-9D84-1BFDB488EDB2}"/>
              </a:ext>
            </a:extLst>
          </p:cNvPr>
          <p:cNvSpPr/>
          <p:nvPr/>
        </p:nvSpPr>
        <p:spPr>
          <a:xfrm>
            <a:off x="5112485" y="2874749"/>
            <a:ext cx="916465" cy="91646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서울남산 장체 B" panose="02020503020101020101" pitchFamily="18" charset="-127"/>
                <a:ea typeface="서울남산 장체 B" panose="02020503020101020101" pitchFamily="18" charset="-127"/>
                <a:cs typeface="Arial" pitchFamily="34" charset="0"/>
              </a:rPr>
              <a:t>가격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D141ED69-69D6-4DB7-BF68-54354C998A3D}"/>
              </a:ext>
            </a:extLst>
          </p:cNvPr>
          <p:cNvSpPr/>
          <p:nvPr/>
        </p:nvSpPr>
        <p:spPr>
          <a:xfrm>
            <a:off x="5112485" y="3986983"/>
            <a:ext cx="916465" cy="91646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서울남산 장체 B" panose="02020503020101020101" pitchFamily="18" charset="-127"/>
                <a:ea typeface="서울남산 장체 B" panose="02020503020101020101" pitchFamily="18" charset="-127"/>
                <a:cs typeface="Arial" pitchFamily="34" charset="0"/>
              </a:rPr>
              <a:t>유통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C6F34BD2-7E1B-465A-ADF3-1DB133917A7F}"/>
              </a:ext>
            </a:extLst>
          </p:cNvPr>
          <p:cNvSpPr/>
          <p:nvPr/>
        </p:nvSpPr>
        <p:spPr>
          <a:xfrm>
            <a:off x="4867381" y="5235272"/>
            <a:ext cx="916465" cy="91646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서울남산 장체 B" panose="02020503020101020101" pitchFamily="18" charset="-127"/>
                <a:ea typeface="서울남산 장체 B" panose="02020503020101020101" pitchFamily="18" charset="-127"/>
                <a:cs typeface="Arial" pitchFamily="34" charset="0"/>
              </a:rPr>
              <a:t>홍보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81854BC-4F94-40A5-B53F-824261E31C09}"/>
              </a:ext>
            </a:extLst>
          </p:cNvPr>
          <p:cNvSpPr/>
          <p:nvPr/>
        </p:nvSpPr>
        <p:spPr>
          <a:xfrm>
            <a:off x="4526453" y="1762515"/>
            <a:ext cx="916465" cy="91646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서울남산 장체 B" panose="02020503020101020101" pitchFamily="18" charset="-127"/>
                <a:ea typeface="서울남산 장체 B" panose="02020503020101020101" pitchFamily="18" charset="-127"/>
                <a:cs typeface="Arial" pitchFamily="34" charset="0"/>
              </a:rPr>
              <a:t>상품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AD1B9BB-51BE-4865-A860-98AB6482DD28}"/>
              </a:ext>
            </a:extLst>
          </p:cNvPr>
          <p:cNvSpPr txBox="1"/>
          <p:nvPr/>
        </p:nvSpPr>
        <p:spPr>
          <a:xfrm>
            <a:off x="2226632" y="3583906"/>
            <a:ext cx="14163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08서울남산체 B" panose="02020603020101020101" pitchFamily="18" charset="-127"/>
                <a:cs typeface="Arial" pitchFamily="34" charset="0"/>
              </a:rPr>
              <a:t>4</a:t>
            </a:r>
            <a:r>
              <a:rPr lang="en-US" altLang="ko-KR" sz="3200" b="1" dirty="0">
                <a:solidFill>
                  <a:prstClr val="white"/>
                </a:solidFill>
                <a:latin typeface="Arial" pitchFamily="34" charset="0"/>
                <a:ea typeface="08서울남산체 B" panose="02020603020101020101" pitchFamily="18" charset="-127"/>
                <a:cs typeface="Arial" pitchFamily="34" charset="0"/>
              </a:rPr>
              <a:t>P</a:t>
            </a:r>
            <a:endParaRPr kumimoji="0" lang="ko-KR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08서울남산체 B" panose="02020603020101020101" pitchFamily="18" charset="-127"/>
              <a:cs typeface="Arial" pitchFamily="34" charset="0"/>
            </a:endParaRPr>
          </a:p>
        </p:txBody>
      </p:sp>
      <p:sp>
        <p:nvSpPr>
          <p:cNvPr id="5" name="Graphic 14">
            <a:extLst>
              <a:ext uri="{FF2B5EF4-FFF2-40B4-BE49-F238E27FC236}">
                <a16:creationId xmlns:a16="http://schemas.microsoft.com/office/drawing/2014/main" xmlns="" id="{37F7376C-34BA-4A1F-AA72-70AC6D7E5FF9}"/>
              </a:ext>
            </a:extLst>
          </p:cNvPr>
          <p:cNvSpPr/>
          <p:nvPr/>
        </p:nvSpPr>
        <p:spPr>
          <a:xfrm flipH="1">
            <a:off x="187788" y="1961180"/>
            <a:ext cx="1679016" cy="4415002"/>
          </a:xfrm>
          <a:custGeom>
            <a:avLst/>
            <a:gdLst>
              <a:gd name="connsiteX0" fmla="*/ 1708188 w 1743075"/>
              <a:gd name="connsiteY0" fmla="*/ 1960294 h 4829175"/>
              <a:gd name="connsiteX1" fmla="*/ 1736763 w 1743075"/>
              <a:gd name="connsiteY1" fmla="*/ 1693594 h 4829175"/>
              <a:gd name="connsiteX2" fmla="*/ 1727238 w 1743075"/>
              <a:gd name="connsiteY2" fmla="*/ 1609774 h 4829175"/>
              <a:gd name="connsiteX3" fmla="*/ 1703425 w 1743075"/>
              <a:gd name="connsiteY3" fmla="*/ 1511666 h 4829175"/>
              <a:gd name="connsiteX4" fmla="*/ 1696757 w 1743075"/>
              <a:gd name="connsiteY4" fmla="*/ 1463089 h 4829175"/>
              <a:gd name="connsiteX5" fmla="*/ 1622463 w 1743075"/>
              <a:gd name="connsiteY5" fmla="*/ 865871 h 4829175"/>
              <a:gd name="connsiteX6" fmla="*/ 1587220 w 1743075"/>
              <a:gd name="connsiteY6" fmla="*/ 831581 h 4829175"/>
              <a:gd name="connsiteX7" fmla="*/ 1263370 w 1743075"/>
              <a:gd name="connsiteY7" fmla="*/ 719186 h 4829175"/>
              <a:gd name="connsiteX8" fmla="*/ 1215745 w 1743075"/>
              <a:gd name="connsiteY8" fmla="*/ 693469 h 4829175"/>
              <a:gd name="connsiteX9" fmla="*/ 1170025 w 1743075"/>
              <a:gd name="connsiteY9" fmla="*/ 662989 h 4829175"/>
              <a:gd name="connsiteX10" fmla="*/ 1111923 w 1743075"/>
              <a:gd name="connsiteY10" fmla="*/ 522019 h 4829175"/>
              <a:gd name="connsiteX11" fmla="*/ 1116685 w 1743075"/>
              <a:gd name="connsiteY11" fmla="*/ 461059 h 4829175"/>
              <a:gd name="connsiteX12" fmla="*/ 1131925 w 1743075"/>
              <a:gd name="connsiteY12" fmla="*/ 392479 h 4829175"/>
              <a:gd name="connsiteX13" fmla="*/ 1143355 w 1743075"/>
              <a:gd name="connsiteY13" fmla="*/ 291514 h 4829175"/>
              <a:gd name="connsiteX14" fmla="*/ 1142403 w 1743075"/>
              <a:gd name="connsiteY14" fmla="*/ 289609 h 4829175"/>
              <a:gd name="connsiteX15" fmla="*/ 1126210 w 1743075"/>
              <a:gd name="connsiteY15" fmla="*/ 271511 h 4829175"/>
              <a:gd name="connsiteX16" fmla="*/ 1112875 w 1743075"/>
              <a:gd name="connsiteY16" fmla="*/ 285799 h 4829175"/>
              <a:gd name="connsiteX17" fmla="*/ 1113828 w 1743075"/>
              <a:gd name="connsiteY17" fmla="*/ 258176 h 4829175"/>
              <a:gd name="connsiteX18" fmla="*/ 1112875 w 1743075"/>
              <a:gd name="connsiteY18" fmla="*/ 224839 h 4829175"/>
              <a:gd name="connsiteX19" fmla="*/ 1107160 w 1743075"/>
              <a:gd name="connsiteY19" fmla="*/ 199121 h 4829175"/>
              <a:gd name="connsiteX20" fmla="*/ 1103350 w 1743075"/>
              <a:gd name="connsiteY20" fmla="*/ 182929 h 4829175"/>
              <a:gd name="connsiteX21" fmla="*/ 1100493 w 1743075"/>
              <a:gd name="connsiteY21" fmla="*/ 166736 h 4829175"/>
              <a:gd name="connsiteX22" fmla="*/ 1096683 w 1743075"/>
              <a:gd name="connsiteY22" fmla="*/ 150544 h 4829175"/>
              <a:gd name="connsiteX23" fmla="*/ 1091920 w 1743075"/>
              <a:gd name="connsiteY23" fmla="*/ 135304 h 4829175"/>
              <a:gd name="connsiteX24" fmla="*/ 1086205 w 1743075"/>
              <a:gd name="connsiteY24" fmla="*/ 116254 h 4829175"/>
              <a:gd name="connsiteX25" fmla="*/ 1077633 w 1743075"/>
              <a:gd name="connsiteY25" fmla="*/ 104824 h 4829175"/>
              <a:gd name="connsiteX26" fmla="*/ 1067155 w 1743075"/>
              <a:gd name="connsiteY26" fmla="*/ 89584 h 4829175"/>
              <a:gd name="connsiteX27" fmla="*/ 1055725 w 1743075"/>
              <a:gd name="connsiteY27" fmla="*/ 76249 h 4829175"/>
              <a:gd name="connsiteX28" fmla="*/ 1043343 w 1743075"/>
              <a:gd name="connsiteY28" fmla="*/ 65771 h 4829175"/>
              <a:gd name="connsiteX29" fmla="*/ 1030960 w 1743075"/>
              <a:gd name="connsiteY29" fmla="*/ 54341 h 4829175"/>
              <a:gd name="connsiteX30" fmla="*/ 1017625 w 1743075"/>
              <a:gd name="connsiteY30" fmla="*/ 41006 h 4829175"/>
              <a:gd name="connsiteX31" fmla="*/ 1003338 w 1743075"/>
              <a:gd name="connsiteY31" fmla="*/ 38149 h 4829175"/>
              <a:gd name="connsiteX32" fmla="*/ 981430 w 1743075"/>
              <a:gd name="connsiteY32" fmla="*/ 28624 h 4829175"/>
              <a:gd name="connsiteX33" fmla="*/ 958570 w 1743075"/>
              <a:gd name="connsiteY33" fmla="*/ 21004 h 4829175"/>
              <a:gd name="connsiteX34" fmla="*/ 934758 w 1743075"/>
              <a:gd name="connsiteY34" fmla="*/ 16241 h 4829175"/>
              <a:gd name="connsiteX35" fmla="*/ 910945 w 1743075"/>
              <a:gd name="connsiteY35" fmla="*/ 12431 h 4829175"/>
              <a:gd name="connsiteX36" fmla="*/ 886180 w 1743075"/>
              <a:gd name="connsiteY36" fmla="*/ 9574 h 4829175"/>
              <a:gd name="connsiteX37" fmla="*/ 861415 w 1743075"/>
              <a:gd name="connsiteY37" fmla="*/ 8621 h 4829175"/>
              <a:gd name="connsiteX38" fmla="*/ 847127 w 1743075"/>
              <a:gd name="connsiteY38" fmla="*/ 9574 h 4829175"/>
              <a:gd name="connsiteX39" fmla="*/ 831888 w 1743075"/>
              <a:gd name="connsiteY39" fmla="*/ 13384 h 4829175"/>
              <a:gd name="connsiteX40" fmla="*/ 817600 w 1743075"/>
              <a:gd name="connsiteY40" fmla="*/ 19099 h 4829175"/>
              <a:gd name="connsiteX41" fmla="*/ 810933 w 1743075"/>
              <a:gd name="connsiteY41" fmla="*/ 11479 h 4829175"/>
              <a:gd name="connsiteX42" fmla="*/ 807123 w 1743075"/>
              <a:gd name="connsiteY42" fmla="*/ 29576 h 4829175"/>
              <a:gd name="connsiteX43" fmla="*/ 790930 w 1743075"/>
              <a:gd name="connsiteY43" fmla="*/ 41006 h 4829175"/>
              <a:gd name="connsiteX44" fmla="*/ 774738 w 1743075"/>
              <a:gd name="connsiteY44" fmla="*/ 59104 h 4829175"/>
              <a:gd name="connsiteX45" fmla="*/ 759498 w 1743075"/>
              <a:gd name="connsiteY45" fmla="*/ 76249 h 4829175"/>
              <a:gd name="connsiteX46" fmla="*/ 746163 w 1743075"/>
              <a:gd name="connsiteY46" fmla="*/ 89584 h 4829175"/>
              <a:gd name="connsiteX47" fmla="*/ 733780 w 1743075"/>
              <a:gd name="connsiteY47" fmla="*/ 105776 h 4829175"/>
              <a:gd name="connsiteX48" fmla="*/ 723302 w 1743075"/>
              <a:gd name="connsiteY48" fmla="*/ 122921 h 4829175"/>
              <a:gd name="connsiteX49" fmla="*/ 713777 w 1743075"/>
              <a:gd name="connsiteY49" fmla="*/ 139114 h 4829175"/>
              <a:gd name="connsiteX50" fmla="*/ 706158 w 1743075"/>
              <a:gd name="connsiteY50" fmla="*/ 160069 h 4829175"/>
              <a:gd name="connsiteX51" fmla="*/ 702348 w 1743075"/>
              <a:gd name="connsiteY51" fmla="*/ 175309 h 4829175"/>
              <a:gd name="connsiteX52" fmla="*/ 699490 w 1743075"/>
              <a:gd name="connsiteY52" fmla="*/ 186739 h 4829175"/>
              <a:gd name="connsiteX53" fmla="*/ 696633 w 1743075"/>
              <a:gd name="connsiteY53" fmla="*/ 216266 h 4829175"/>
              <a:gd name="connsiteX54" fmla="*/ 698538 w 1743075"/>
              <a:gd name="connsiteY54" fmla="*/ 247699 h 4829175"/>
              <a:gd name="connsiteX55" fmla="*/ 694727 w 1743075"/>
              <a:gd name="connsiteY55" fmla="*/ 306754 h 4829175"/>
              <a:gd name="connsiteX56" fmla="*/ 694727 w 1743075"/>
              <a:gd name="connsiteY56" fmla="*/ 306754 h 4829175"/>
              <a:gd name="connsiteX57" fmla="*/ 662343 w 1743075"/>
              <a:gd name="connsiteY57" fmla="*/ 320089 h 4829175"/>
              <a:gd name="connsiteX58" fmla="*/ 671868 w 1743075"/>
              <a:gd name="connsiteY58" fmla="*/ 384859 h 4829175"/>
              <a:gd name="connsiteX59" fmla="*/ 682345 w 1743075"/>
              <a:gd name="connsiteY59" fmla="*/ 400099 h 4829175"/>
              <a:gd name="connsiteX60" fmla="*/ 769975 w 1743075"/>
              <a:gd name="connsiteY60" fmla="*/ 575359 h 4829175"/>
              <a:gd name="connsiteX61" fmla="*/ 679488 w 1743075"/>
              <a:gd name="connsiteY61" fmla="*/ 741094 h 4829175"/>
              <a:gd name="connsiteX62" fmla="*/ 412787 w 1743075"/>
              <a:gd name="connsiteY62" fmla="*/ 837296 h 4829175"/>
              <a:gd name="connsiteX63" fmla="*/ 355637 w 1743075"/>
              <a:gd name="connsiteY63" fmla="*/ 917306 h 4829175"/>
              <a:gd name="connsiteX64" fmla="*/ 337540 w 1743075"/>
              <a:gd name="connsiteY64" fmla="*/ 1080184 h 4829175"/>
              <a:gd name="connsiteX65" fmla="*/ 323253 w 1743075"/>
              <a:gd name="connsiteY65" fmla="*/ 1267826 h 4829175"/>
              <a:gd name="connsiteX66" fmla="*/ 286105 w 1743075"/>
              <a:gd name="connsiteY66" fmla="*/ 1558339 h 4829175"/>
              <a:gd name="connsiteX67" fmla="*/ 277533 w 1743075"/>
              <a:gd name="connsiteY67" fmla="*/ 1647874 h 4829175"/>
              <a:gd name="connsiteX68" fmla="*/ 256578 w 1743075"/>
              <a:gd name="connsiteY68" fmla="*/ 1709786 h 4829175"/>
              <a:gd name="connsiteX69" fmla="*/ 246100 w 1743075"/>
              <a:gd name="connsiteY69" fmla="*/ 1762174 h 4829175"/>
              <a:gd name="connsiteX70" fmla="*/ 248005 w 1743075"/>
              <a:gd name="connsiteY70" fmla="*/ 1892666 h 4829175"/>
              <a:gd name="connsiteX71" fmla="*/ 242290 w 1743075"/>
              <a:gd name="connsiteY71" fmla="*/ 1940291 h 4829175"/>
              <a:gd name="connsiteX72" fmla="*/ 230860 w 1743075"/>
              <a:gd name="connsiteY72" fmla="*/ 2296526 h 4829175"/>
              <a:gd name="connsiteX73" fmla="*/ 225145 w 1743075"/>
              <a:gd name="connsiteY73" fmla="*/ 2352724 h 4829175"/>
              <a:gd name="connsiteX74" fmla="*/ 231813 w 1743075"/>
              <a:gd name="connsiteY74" fmla="*/ 2441306 h 4829175"/>
              <a:gd name="connsiteX75" fmla="*/ 238480 w 1743075"/>
              <a:gd name="connsiteY75" fmla="*/ 2520364 h 4829175"/>
              <a:gd name="connsiteX76" fmla="*/ 221335 w 1743075"/>
              <a:gd name="connsiteY76" fmla="*/ 2589896 h 4829175"/>
              <a:gd name="connsiteX77" fmla="*/ 228003 w 1743075"/>
              <a:gd name="connsiteY77" fmla="*/ 2667049 h 4829175"/>
              <a:gd name="connsiteX78" fmla="*/ 237528 w 1743075"/>
              <a:gd name="connsiteY78" fmla="*/ 2822306 h 4829175"/>
              <a:gd name="connsiteX79" fmla="*/ 171805 w 1743075"/>
              <a:gd name="connsiteY79" fmla="*/ 3010901 h 4829175"/>
              <a:gd name="connsiteX80" fmla="*/ 125132 w 1743075"/>
              <a:gd name="connsiteY80" fmla="*/ 3028999 h 4829175"/>
              <a:gd name="connsiteX81" fmla="*/ 93700 w 1743075"/>
              <a:gd name="connsiteY81" fmla="*/ 3107104 h 4829175"/>
              <a:gd name="connsiteX82" fmla="*/ 27025 w 1743075"/>
              <a:gd name="connsiteY82" fmla="*/ 3277601 h 4829175"/>
              <a:gd name="connsiteX83" fmla="*/ 19405 w 1743075"/>
              <a:gd name="connsiteY83" fmla="*/ 3385234 h 4829175"/>
              <a:gd name="connsiteX84" fmla="*/ 13690 w 1743075"/>
              <a:gd name="connsiteY84" fmla="*/ 3611929 h 4829175"/>
              <a:gd name="connsiteX85" fmla="*/ 23215 w 1743075"/>
              <a:gd name="connsiteY85" fmla="*/ 3724324 h 4829175"/>
              <a:gd name="connsiteX86" fmla="*/ 83222 w 1743075"/>
              <a:gd name="connsiteY86" fmla="*/ 3803381 h 4829175"/>
              <a:gd name="connsiteX87" fmla="*/ 190855 w 1743075"/>
              <a:gd name="connsiteY87" fmla="*/ 3811001 h 4829175"/>
              <a:gd name="connsiteX88" fmla="*/ 237528 w 1743075"/>
              <a:gd name="connsiteY88" fmla="*/ 3805286 h 4829175"/>
              <a:gd name="connsiteX89" fmla="*/ 327062 w 1743075"/>
              <a:gd name="connsiteY89" fmla="*/ 3796714 h 4829175"/>
              <a:gd name="connsiteX90" fmla="*/ 320395 w 1743075"/>
              <a:gd name="connsiteY90" fmla="*/ 4089131 h 4829175"/>
              <a:gd name="connsiteX91" fmla="*/ 314680 w 1743075"/>
              <a:gd name="connsiteY91" fmla="*/ 4139614 h 4829175"/>
              <a:gd name="connsiteX92" fmla="*/ 311823 w 1743075"/>
              <a:gd name="connsiteY92" fmla="*/ 4163426 h 4829175"/>
              <a:gd name="connsiteX93" fmla="*/ 279438 w 1743075"/>
              <a:gd name="connsiteY93" fmla="*/ 4415839 h 4829175"/>
              <a:gd name="connsiteX94" fmla="*/ 317537 w 1743075"/>
              <a:gd name="connsiteY94" fmla="*/ 4444414 h 4829175"/>
              <a:gd name="connsiteX95" fmla="*/ 286105 w 1743075"/>
              <a:gd name="connsiteY95" fmla="*/ 4481561 h 4829175"/>
              <a:gd name="connsiteX96" fmla="*/ 277533 w 1743075"/>
              <a:gd name="connsiteY96" fmla="*/ 4502516 h 4829175"/>
              <a:gd name="connsiteX97" fmla="*/ 260388 w 1743075"/>
              <a:gd name="connsiteY97" fmla="*/ 4569191 h 4829175"/>
              <a:gd name="connsiteX98" fmla="*/ 173710 w 1743075"/>
              <a:gd name="connsiteY98" fmla="*/ 4682539 h 4829175"/>
              <a:gd name="connsiteX99" fmla="*/ 111797 w 1743075"/>
              <a:gd name="connsiteY99" fmla="*/ 4718734 h 4829175"/>
              <a:gd name="connsiteX100" fmla="*/ 79412 w 1743075"/>
              <a:gd name="connsiteY100" fmla="*/ 4791124 h 4829175"/>
              <a:gd name="connsiteX101" fmla="*/ 136563 w 1743075"/>
              <a:gd name="connsiteY101" fmla="*/ 4813031 h 4829175"/>
              <a:gd name="connsiteX102" fmla="*/ 283248 w 1743075"/>
              <a:gd name="connsiteY102" fmla="*/ 4812079 h 4829175"/>
              <a:gd name="connsiteX103" fmla="*/ 358495 w 1743075"/>
              <a:gd name="connsiteY103" fmla="*/ 4777789 h 4829175"/>
              <a:gd name="connsiteX104" fmla="*/ 440410 w 1743075"/>
              <a:gd name="connsiteY104" fmla="*/ 4756834 h 4829175"/>
              <a:gd name="connsiteX105" fmla="*/ 594715 w 1743075"/>
              <a:gd name="connsiteY105" fmla="*/ 4730164 h 4829175"/>
              <a:gd name="connsiteX106" fmla="*/ 611860 w 1743075"/>
              <a:gd name="connsiteY106" fmla="*/ 4528234 h 4829175"/>
              <a:gd name="connsiteX107" fmla="*/ 650913 w 1743075"/>
              <a:gd name="connsiteY107" fmla="*/ 4437746 h 4829175"/>
              <a:gd name="connsiteX108" fmla="*/ 672820 w 1743075"/>
              <a:gd name="connsiteY108" fmla="*/ 4431079 h 4829175"/>
              <a:gd name="connsiteX109" fmla="*/ 716635 w 1743075"/>
              <a:gd name="connsiteY109" fmla="*/ 4253914 h 4829175"/>
              <a:gd name="connsiteX110" fmla="*/ 721398 w 1743075"/>
              <a:gd name="connsiteY110" fmla="*/ 4228196 h 4829175"/>
              <a:gd name="connsiteX111" fmla="*/ 755688 w 1743075"/>
              <a:gd name="connsiteY111" fmla="*/ 3985309 h 4829175"/>
              <a:gd name="connsiteX112" fmla="*/ 762355 w 1743075"/>
              <a:gd name="connsiteY112" fmla="*/ 3962449 h 4829175"/>
              <a:gd name="connsiteX113" fmla="*/ 826173 w 1743075"/>
              <a:gd name="connsiteY113" fmla="*/ 3636694 h 4829175"/>
              <a:gd name="connsiteX114" fmla="*/ 829983 w 1743075"/>
              <a:gd name="connsiteY114" fmla="*/ 3612881 h 4829175"/>
              <a:gd name="connsiteX115" fmla="*/ 836650 w 1743075"/>
              <a:gd name="connsiteY115" fmla="*/ 3565256 h 4829175"/>
              <a:gd name="connsiteX116" fmla="*/ 867130 w 1743075"/>
              <a:gd name="connsiteY116" fmla="*/ 3320464 h 4829175"/>
              <a:gd name="connsiteX117" fmla="*/ 915708 w 1743075"/>
              <a:gd name="connsiteY117" fmla="*/ 2997566 h 4829175"/>
              <a:gd name="connsiteX118" fmla="*/ 936663 w 1743075"/>
              <a:gd name="connsiteY118" fmla="*/ 3032809 h 4829175"/>
              <a:gd name="connsiteX119" fmla="*/ 949998 w 1743075"/>
              <a:gd name="connsiteY119" fmla="*/ 3197591 h 4829175"/>
              <a:gd name="connsiteX120" fmla="*/ 949045 w 1743075"/>
              <a:gd name="connsiteY120" fmla="*/ 3325226 h 4829175"/>
              <a:gd name="connsiteX121" fmla="*/ 980477 w 1743075"/>
              <a:gd name="connsiteY121" fmla="*/ 3579544 h 4829175"/>
              <a:gd name="connsiteX122" fmla="*/ 983335 w 1743075"/>
              <a:gd name="connsiteY122" fmla="*/ 3946256 h 4829175"/>
              <a:gd name="connsiteX123" fmla="*/ 989050 w 1743075"/>
              <a:gd name="connsiteY123" fmla="*/ 4107229 h 4829175"/>
              <a:gd name="connsiteX124" fmla="*/ 976668 w 1743075"/>
              <a:gd name="connsiteY124" fmla="*/ 4243436 h 4829175"/>
              <a:gd name="connsiteX125" fmla="*/ 971905 w 1743075"/>
              <a:gd name="connsiteY125" fmla="*/ 4266296 h 4829175"/>
              <a:gd name="connsiteX126" fmla="*/ 966190 w 1743075"/>
              <a:gd name="connsiteY126" fmla="*/ 4288204 h 4829175"/>
              <a:gd name="connsiteX127" fmla="*/ 961427 w 1743075"/>
              <a:gd name="connsiteY127" fmla="*/ 4595861 h 4829175"/>
              <a:gd name="connsiteX128" fmla="*/ 974763 w 1743075"/>
              <a:gd name="connsiteY128" fmla="*/ 4618721 h 4829175"/>
              <a:gd name="connsiteX129" fmla="*/ 1007148 w 1743075"/>
              <a:gd name="connsiteY129" fmla="*/ 4692064 h 4829175"/>
              <a:gd name="connsiteX130" fmla="*/ 1070013 w 1743075"/>
              <a:gd name="connsiteY130" fmla="*/ 4767311 h 4829175"/>
              <a:gd name="connsiteX131" fmla="*/ 1116685 w 1743075"/>
              <a:gd name="connsiteY131" fmla="*/ 4820651 h 4829175"/>
              <a:gd name="connsiteX132" fmla="*/ 1133830 w 1743075"/>
              <a:gd name="connsiteY132" fmla="*/ 4827319 h 4829175"/>
              <a:gd name="connsiteX133" fmla="*/ 1181455 w 1743075"/>
              <a:gd name="connsiteY133" fmla="*/ 4827319 h 4829175"/>
              <a:gd name="connsiteX134" fmla="*/ 1255750 w 1743075"/>
              <a:gd name="connsiteY134" fmla="*/ 4818746 h 4829175"/>
              <a:gd name="connsiteX135" fmla="*/ 1298613 w 1743075"/>
              <a:gd name="connsiteY135" fmla="*/ 4766359 h 4829175"/>
              <a:gd name="connsiteX136" fmla="*/ 1281468 w 1743075"/>
              <a:gd name="connsiteY136" fmla="*/ 4697779 h 4829175"/>
              <a:gd name="connsiteX137" fmla="*/ 1270038 w 1743075"/>
              <a:gd name="connsiteY137" fmla="*/ 4605386 h 4829175"/>
              <a:gd name="connsiteX138" fmla="*/ 1330998 w 1743075"/>
              <a:gd name="connsiteY138" fmla="*/ 4244389 h 4829175"/>
              <a:gd name="connsiteX139" fmla="*/ 1331950 w 1743075"/>
              <a:gd name="connsiteY139" fmla="*/ 4239626 h 4829175"/>
              <a:gd name="connsiteX140" fmla="*/ 1352905 w 1743075"/>
              <a:gd name="connsiteY140" fmla="*/ 3898631 h 4829175"/>
              <a:gd name="connsiteX141" fmla="*/ 1384338 w 1743075"/>
              <a:gd name="connsiteY141" fmla="*/ 3664316 h 4829175"/>
              <a:gd name="connsiteX142" fmla="*/ 1441488 w 1743075"/>
              <a:gd name="connsiteY142" fmla="*/ 3318559 h 4829175"/>
              <a:gd name="connsiteX143" fmla="*/ 1457680 w 1743075"/>
              <a:gd name="connsiteY143" fmla="*/ 3014711 h 4829175"/>
              <a:gd name="connsiteX144" fmla="*/ 1485303 w 1743075"/>
              <a:gd name="connsiteY144" fmla="*/ 2673716 h 4829175"/>
              <a:gd name="connsiteX145" fmla="*/ 1488160 w 1743075"/>
              <a:gd name="connsiteY145" fmla="*/ 2573704 h 4829175"/>
              <a:gd name="connsiteX146" fmla="*/ 1497685 w 1743075"/>
              <a:gd name="connsiteY146" fmla="*/ 2507981 h 4829175"/>
              <a:gd name="connsiteX147" fmla="*/ 1519593 w 1743075"/>
              <a:gd name="connsiteY147" fmla="*/ 2480359 h 4829175"/>
              <a:gd name="connsiteX148" fmla="*/ 1573885 w 1743075"/>
              <a:gd name="connsiteY148" fmla="*/ 2434639 h 4829175"/>
              <a:gd name="connsiteX149" fmla="*/ 1599603 w 1743075"/>
              <a:gd name="connsiteY149" fmla="*/ 2400349 h 4829175"/>
              <a:gd name="connsiteX150" fmla="*/ 1662468 w 1743075"/>
              <a:gd name="connsiteY150" fmla="*/ 2271761 h 4829175"/>
              <a:gd name="connsiteX151" fmla="*/ 1671040 w 1743075"/>
              <a:gd name="connsiteY151" fmla="*/ 2126029 h 4829175"/>
              <a:gd name="connsiteX152" fmla="*/ 1671993 w 1743075"/>
              <a:gd name="connsiteY152" fmla="*/ 2111741 h 4829175"/>
              <a:gd name="connsiteX153" fmla="*/ 1708188 w 1743075"/>
              <a:gd name="connsiteY153" fmla="*/ 1960294 h 4829175"/>
              <a:gd name="connsiteX154" fmla="*/ 284200 w 1743075"/>
              <a:gd name="connsiteY154" fmla="*/ 2927081 h 4829175"/>
              <a:gd name="connsiteX155" fmla="*/ 321348 w 1743075"/>
              <a:gd name="connsiteY155" fmla="*/ 2824211 h 4829175"/>
              <a:gd name="connsiteX156" fmla="*/ 328968 w 1743075"/>
              <a:gd name="connsiteY156" fmla="*/ 2825164 h 4829175"/>
              <a:gd name="connsiteX157" fmla="*/ 337540 w 1743075"/>
              <a:gd name="connsiteY157" fmla="*/ 2930891 h 4829175"/>
              <a:gd name="connsiteX158" fmla="*/ 284200 w 1743075"/>
              <a:gd name="connsiteY158" fmla="*/ 2927081 h 4829175"/>
              <a:gd name="connsiteX159" fmla="*/ 391833 w 1743075"/>
              <a:gd name="connsiteY159" fmla="*/ 2454641 h 4829175"/>
              <a:gd name="connsiteX160" fmla="*/ 262293 w 1743075"/>
              <a:gd name="connsiteY160" fmla="*/ 2454641 h 4829175"/>
              <a:gd name="connsiteX161" fmla="*/ 288963 w 1743075"/>
              <a:gd name="connsiteY161" fmla="*/ 2388919 h 4829175"/>
              <a:gd name="connsiteX162" fmla="*/ 401358 w 1743075"/>
              <a:gd name="connsiteY162" fmla="*/ 2401301 h 4829175"/>
              <a:gd name="connsiteX163" fmla="*/ 391833 w 1743075"/>
              <a:gd name="connsiteY163" fmla="*/ 2454641 h 4829175"/>
              <a:gd name="connsiteX164" fmla="*/ 422312 w 1743075"/>
              <a:gd name="connsiteY164" fmla="*/ 2628949 h 4829175"/>
              <a:gd name="connsiteX165" fmla="*/ 414693 w 1743075"/>
              <a:gd name="connsiteY165" fmla="*/ 2566084 h 4829175"/>
              <a:gd name="connsiteX166" fmla="*/ 408978 w 1743075"/>
              <a:gd name="connsiteY166" fmla="*/ 2500361 h 4829175"/>
              <a:gd name="connsiteX167" fmla="*/ 410883 w 1743075"/>
              <a:gd name="connsiteY167" fmla="*/ 2468929 h 4829175"/>
              <a:gd name="connsiteX168" fmla="*/ 448030 w 1743075"/>
              <a:gd name="connsiteY168" fmla="*/ 2374631 h 4829175"/>
              <a:gd name="connsiteX169" fmla="*/ 422312 w 1743075"/>
              <a:gd name="connsiteY169" fmla="*/ 2628949 h 4829175"/>
              <a:gd name="connsiteX170" fmla="*/ 814743 w 1743075"/>
              <a:gd name="connsiteY170" fmla="*/ 1037321 h 4829175"/>
              <a:gd name="connsiteX171" fmla="*/ 806170 w 1743075"/>
              <a:gd name="connsiteY171" fmla="*/ 1037321 h 4829175"/>
              <a:gd name="connsiteX172" fmla="*/ 793788 w 1743075"/>
              <a:gd name="connsiteY172" fmla="*/ 857299 h 4829175"/>
              <a:gd name="connsiteX173" fmla="*/ 802360 w 1743075"/>
              <a:gd name="connsiteY173" fmla="*/ 854441 h 4829175"/>
              <a:gd name="connsiteX174" fmla="*/ 849033 w 1743075"/>
              <a:gd name="connsiteY174" fmla="*/ 903971 h 4829175"/>
              <a:gd name="connsiteX175" fmla="*/ 862368 w 1743075"/>
              <a:gd name="connsiteY175" fmla="*/ 883969 h 4829175"/>
              <a:gd name="connsiteX176" fmla="*/ 885227 w 1743075"/>
              <a:gd name="connsiteY176" fmla="*/ 857299 h 4829175"/>
              <a:gd name="connsiteX177" fmla="*/ 891895 w 1743075"/>
              <a:gd name="connsiteY177" fmla="*/ 861109 h 4829175"/>
              <a:gd name="connsiteX178" fmla="*/ 814743 w 1743075"/>
              <a:gd name="connsiteY178" fmla="*/ 1037321 h 4829175"/>
              <a:gd name="connsiteX179" fmla="*/ 860463 w 1743075"/>
              <a:gd name="connsiteY179" fmla="*/ 883969 h 4829175"/>
              <a:gd name="connsiteX180" fmla="*/ 796645 w 1743075"/>
              <a:gd name="connsiteY180" fmla="*/ 786814 h 4829175"/>
              <a:gd name="connsiteX181" fmla="*/ 795693 w 1743075"/>
              <a:gd name="connsiteY181" fmla="*/ 672514 h 4829175"/>
              <a:gd name="connsiteX182" fmla="*/ 901420 w 1743075"/>
              <a:gd name="connsiteY182" fmla="*/ 747761 h 4829175"/>
              <a:gd name="connsiteX183" fmla="*/ 860463 w 1743075"/>
              <a:gd name="connsiteY183" fmla="*/ 883969 h 4829175"/>
              <a:gd name="connsiteX184" fmla="*/ 985240 w 1743075"/>
              <a:gd name="connsiteY184" fmla="*/ 1052561 h 4829175"/>
              <a:gd name="connsiteX185" fmla="*/ 979525 w 1743075"/>
              <a:gd name="connsiteY185" fmla="*/ 1050656 h 4829175"/>
              <a:gd name="connsiteX186" fmla="*/ 970952 w 1743075"/>
              <a:gd name="connsiteY186" fmla="*/ 869681 h 4829175"/>
              <a:gd name="connsiteX187" fmla="*/ 999527 w 1743075"/>
              <a:gd name="connsiteY187" fmla="*/ 913496 h 4829175"/>
              <a:gd name="connsiteX188" fmla="*/ 1044295 w 1743075"/>
              <a:gd name="connsiteY188" fmla="*/ 880159 h 4829175"/>
              <a:gd name="connsiteX189" fmla="*/ 985240 w 1743075"/>
              <a:gd name="connsiteY189" fmla="*/ 1052561 h 4829175"/>
              <a:gd name="connsiteX190" fmla="*/ 1001433 w 1743075"/>
              <a:gd name="connsiteY190" fmla="*/ 888731 h 4829175"/>
              <a:gd name="connsiteX191" fmla="*/ 942377 w 1743075"/>
              <a:gd name="connsiteY191" fmla="*/ 758239 h 4829175"/>
              <a:gd name="connsiteX192" fmla="*/ 1104303 w 1743075"/>
              <a:gd name="connsiteY192" fmla="*/ 632509 h 4829175"/>
              <a:gd name="connsiteX193" fmla="*/ 1001433 w 1743075"/>
              <a:gd name="connsiteY193" fmla="*/ 888731 h 4829175"/>
              <a:gd name="connsiteX194" fmla="*/ 1510068 w 1743075"/>
              <a:gd name="connsiteY194" fmla="*/ 2456546 h 4829175"/>
              <a:gd name="connsiteX195" fmla="*/ 1388148 w 1743075"/>
              <a:gd name="connsiteY195" fmla="*/ 2296526 h 4829175"/>
              <a:gd name="connsiteX196" fmla="*/ 1543405 w 1743075"/>
              <a:gd name="connsiteY196" fmla="*/ 2432734 h 4829175"/>
              <a:gd name="connsiteX197" fmla="*/ 1510068 w 1743075"/>
              <a:gd name="connsiteY197" fmla="*/ 2456546 h 4829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743075" h="4829175">
                <a:moveTo>
                  <a:pt x="1708188" y="1960294"/>
                </a:moveTo>
                <a:cubicBezTo>
                  <a:pt x="1708188" y="1871711"/>
                  <a:pt x="1736763" y="1782176"/>
                  <a:pt x="1736763" y="1693594"/>
                </a:cubicBezTo>
                <a:cubicBezTo>
                  <a:pt x="1733905" y="1665971"/>
                  <a:pt x="1731048" y="1637396"/>
                  <a:pt x="1727238" y="1609774"/>
                </a:cubicBezTo>
                <a:cubicBezTo>
                  <a:pt x="1722475" y="1577389"/>
                  <a:pt x="1708188" y="1544051"/>
                  <a:pt x="1703425" y="1511666"/>
                </a:cubicBezTo>
                <a:cubicBezTo>
                  <a:pt x="1700568" y="1495474"/>
                  <a:pt x="1698663" y="1479281"/>
                  <a:pt x="1696757" y="1463089"/>
                </a:cubicBezTo>
                <a:cubicBezTo>
                  <a:pt x="1670088" y="1265921"/>
                  <a:pt x="1689138" y="1056371"/>
                  <a:pt x="1622463" y="865871"/>
                </a:cubicBezTo>
                <a:cubicBezTo>
                  <a:pt x="1611985" y="852536"/>
                  <a:pt x="1599603" y="842059"/>
                  <a:pt x="1587220" y="831581"/>
                </a:cubicBezTo>
                <a:cubicBezTo>
                  <a:pt x="1498638" y="763954"/>
                  <a:pt x="1360525" y="772526"/>
                  <a:pt x="1263370" y="719186"/>
                </a:cubicBezTo>
                <a:cubicBezTo>
                  <a:pt x="1247178" y="711566"/>
                  <a:pt x="1230985" y="702994"/>
                  <a:pt x="1215745" y="693469"/>
                </a:cubicBezTo>
                <a:cubicBezTo>
                  <a:pt x="1200505" y="683944"/>
                  <a:pt x="1185265" y="674419"/>
                  <a:pt x="1170025" y="662989"/>
                </a:cubicBezTo>
                <a:cubicBezTo>
                  <a:pt x="1123353" y="626794"/>
                  <a:pt x="1099540" y="582979"/>
                  <a:pt x="1111923" y="522019"/>
                </a:cubicBezTo>
                <a:cubicBezTo>
                  <a:pt x="1115733" y="502016"/>
                  <a:pt x="1113828" y="481061"/>
                  <a:pt x="1116685" y="461059"/>
                </a:cubicBezTo>
                <a:cubicBezTo>
                  <a:pt x="1120495" y="438199"/>
                  <a:pt x="1123353" y="413434"/>
                  <a:pt x="1131925" y="392479"/>
                </a:cubicBezTo>
                <a:cubicBezTo>
                  <a:pt x="1146213" y="357236"/>
                  <a:pt x="1151928" y="324851"/>
                  <a:pt x="1143355" y="291514"/>
                </a:cubicBezTo>
                <a:lnTo>
                  <a:pt x="1142403" y="289609"/>
                </a:lnTo>
                <a:cubicBezTo>
                  <a:pt x="1137640" y="269606"/>
                  <a:pt x="1126210" y="271511"/>
                  <a:pt x="1126210" y="271511"/>
                </a:cubicBezTo>
                <a:cubicBezTo>
                  <a:pt x="1120495" y="275321"/>
                  <a:pt x="1112875" y="285799"/>
                  <a:pt x="1112875" y="285799"/>
                </a:cubicBezTo>
                <a:lnTo>
                  <a:pt x="1113828" y="258176"/>
                </a:lnTo>
                <a:lnTo>
                  <a:pt x="1112875" y="224839"/>
                </a:lnTo>
                <a:cubicBezTo>
                  <a:pt x="1110970" y="222934"/>
                  <a:pt x="1109065" y="207694"/>
                  <a:pt x="1107160" y="199121"/>
                </a:cubicBezTo>
                <a:cubicBezTo>
                  <a:pt x="1106208" y="187691"/>
                  <a:pt x="1104303" y="201026"/>
                  <a:pt x="1103350" y="182929"/>
                </a:cubicBezTo>
                <a:cubicBezTo>
                  <a:pt x="1102398" y="179119"/>
                  <a:pt x="1101445" y="179119"/>
                  <a:pt x="1100493" y="166736"/>
                </a:cubicBezTo>
                <a:cubicBezTo>
                  <a:pt x="1099540" y="143876"/>
                  <a:pt x="1098588" y="152449"/>
                  <a:pt x="1096683" y="150544"/>
                </a:cubicBezTo>
                <a:cubicBezTo>
                  <a:pt x="1095730" y="118159"/>
                  <a:pt x="1093825" y="115301"/>
                  <a:pt x="1091920" y="135304"/>
                </a:cubicBezTo>
                <a:cubicBezTo>
                  <a:pt x="1090015" y="129589"/>
                  <a:pt x="1088110" y="125779"/>
                  <a:pt x="1086205" y="116254"/>
                </a:cubicBezTo>
                <a:cubicBezTo>
                  <a:pt x="1083348" y="105776"/>
                  <a:pt x="1081443" y="99109"/>
                  <a:pt x="1077633" y="104824"/>
                </a:cubicBezTo>
                <a:cubicBezTo>
                  <a:pt x="1073823" y="117206"/>
                  <a:pt x="1070965" y="90536"/>
                  <a:pt x="1067155" y="89584"/>
                </a:cubicBezTo>
                <a:cubicBezTo>
                  <a:pt x="1063345" y="94346"/>
                  <a:pt x="1059535" y="50531"/>
                  <a:pt x="1055725" y="76249"/>
                </a:cubicBezTo>
                <a:cubicBezTo>
                  <a:pt x="1051915" y="85774"/>
                  <a:pt x="1048105" y="59104"/>
                  <a:pt x="1043343" y="65771"/>
                </a:cubicBezTo>
                <a:cubicBezTo>
                  <a:pt x="1039533" y="64819"/>
                  <a:pt x="1034770" y="66724"/>
                  <a:pt x="1030960" y="54341"/>
                </a:cubicBezTo>
                <a:cubicBezTo>
                  <a:pt x="1026198" y="52436"/>
                  <a:pt x="1022388" y="38149"/>
                  <a:pt x="1017625" y="41006"/>
                </a:cubicBezTo>
                <a:cubicBezTo>
                  <a:pt x="1012863" y="42911"/>
                  <a:pt x="1008100" y="32434"/>
                  <a:pt x="1003338" y="38149"/>
                </a:cubicBezTo>
                <a:cubicBezTo>
                  <a:pt x="996670" y="20051"/>
                  <a:pt x="989050" y="36244"/>
                  <a:pt x="981430" y="28624"/>
                </a:cubicBezTo>
                <a:cubicBezTo>
                  <a:pt x="973810" y="20051"/>
                  <a:pt x="966190" y="10526"/>
                  <a:pt x="958570" y="21004"/>
                </a:cubicBezTo>
                <a:cubicBezTo>
                  <a:pt x="950950" y="6716"/>
                  <a:pt x="943330" y="25766"/>
                  <a:pt x="934758" y="16241"/>
                </a:cubicBezTo>
                <a:cubicBezTo>
                  <a:pt x="927138" y="17194"/>
                  <a:pt x="918565" y="9574"/>
                  <a:pt x="910945" y="12431"/>
                </a:cubicBezTo>
                <a:cubicBezTo>
                  <a:pt x="902373" y="7669"/>
                  <a:pt x="894752" y="33386"/>
                  <a:pt x="886180" y="9574"/>
                </a:cubicBezTo>
                <a:cubicBezTo>
                  <a:pt x="877608" y="9574"/>
                  <a:pt x="869988" y="4811"/>
                  <a:pt x="861415" y="8621"/>
                </a:cubicBezTo>
                <a:cubicBezTo>
                  <a:pt x="856652" y="12431"/>
                  <a:pt x="851890" y="21004"/>
                  <a:pt x="847127" y="9574"/>
                </a:cubicBezTo>
                <a:cubicBezTo>
                  <a:pt x="842365" y="11479"/>
                  <a:pt x="836650" y="18146"/>
                  <a:pt x="831888" y="13384"/>
                </a:cubicBezTo>
                <a:cubicBezTo>
                  <a:pt x="827125" y="17194"/>
                  <a:pt x="822363" y="23861"/>
                  <a:pt x="817600" y="19099"/>
                </a:cubicBezTo>
                <a:cubicBezTo>
                  <a:pt x="815695" y="13384"/>
                  <a:pt x="812838" y="10526"/>
                  <a:pt x="810933" y="11479"/>
                </a:cubicBezTo>
                <a:cubicBezTo>
                  <a:pt x="809027" y="12431"/>
                  <a:pt x="809027" y="19099"/>
                  <a:pt x="807123" y="29576"/>
                </a:cubicBezTo>
                <a:cubicBezTo>
                  <a:pt x="801408" y="35291"/>
                  <a:pt x="795693" y="41006"/>
                  <a:pt x="790930" y="41006"/>
                </a:cubicBezTo>
                <a:cubicBezTo>
                  <a:pt x="785215" y="54341"/>
                  <a:pt x="780452" y="61009"/>
                  <a:pt x="774738" y="59104"/>
                </a:cubicBezTo>
                <a:cubicBezTo>
                  <a:pt x="769023" y="72439"/>
                  <a:pt x="764260" y="60056"/>
                  <a:pt x="759498" y="76249"/>
                </a:cubicBezTo>
                <a:cubicBezTo>
                  <a:pt x="754735" y="65771"/>
                  <a:pt x="749973" y="86726"/>
                  <a:pt x="746163" y="89584"/>
                </a:cubicBezTo>
                <a:cubicBezTo>
                  <a:pt x="741400" y="88631"/>
                  <a:pt x="737590" y="105776"/>
                  <a:pt x="733780" y="105776"/>
                </a:cubicBezTo>
                <a:cubicBezTo>
                  <a:pt x="729970" y="99109"/>
                  <a:pt x="726160" y="120064"/>
                  <a:pt x="723302" y="122921"/>
                </a:cubicBezTo>
                <a:cubicBezTo>
                  <a:pt x="719493" y="142924"/>
                  <a:pt x="716635" y="116254"/>
                  <a:pt x="713777" y="139114"/>
                </a:cubicBezTo>
                <a:cubicBezTo>
                  <a:pt x="710920" y="119111"/>
                  <a:pt x="708063" y="152449"/>
                  <a:pt x="706158" y="160069"/>
                </a:cubicBezTo>
                <a:cubicBezTo>
                  <a:pt x="705205" y="151496"/>
                  <a:pt x="703300" y="170546"/>
                  <a:pt x="702348" y="175309"/>
                </a:cubicBezTo>
                <a:cubicBezTo>
                  <a:pt x="701395" y="180071"/>
                  <a:pt x="700443" y="184834"/>
                  <a:pt x="699490" y="186739"/>
                </a:cubicBezTo>
                <a:cubicBezTo>
                  <a:pt x="697585" y="196264"/>
                  <a:pt x="696633" y="205789"/>
                  <a:pt x="696633" y="216266"/>
                </a:cubicBezTo>
                <a:cubicBezTo>
                  <a:pt x="696633" y="226744"/>
                  <a:pt x="696633" y="237221"/>
                  <a:pt x="698538" y="247699"/>
                </a:cubicBezTo>
                <a:cubicBezTo>
                  <a:pt x="701395" y="267701"/>
                  <a:pt x="700443" y="287704"/>
                  <a:pt x="694727" y="306754"/>
                </a:cubicBezTo>
                <a:lnTo>
                  <a:pt x="694727" y="306754"/>
                </a:lnTo>
                <a:cubicBezTo>
                  <a:pt x="694727" y="306754"/>
                  <a:pt x="667105" y="301039"/>
                  <a:pt x="662343" y="320089"/>
                </a:cubicBezTo>
                <a:cubicBezTo>
                  <a:pt x="662343" y="320089"/>
                  <a:pt x="655675" y="353426"/>
                  <a:pt x="671868" y="384859"/>
                </a:cubicBezTo>
                <a:cubicBezTo>
                  <a:pt x="673773" y="390574"/>
                  <a:pt x="677583" y="395336"/>
                  <a:pt x="682345" y="400099"/>
                </a:cubicBezTo>
                <a:cubicBezTo>
                  <a:pt x="729970" y="449629"/>
                  <a:pt x="754735" y="513446"/>
                  <a:pt x="769975" y="575359"/>
                </a:cubicBezTo>
                <a:cubicBezTo>
                  <a:pt x="789977" y="655369"/>
                  <a:pt x="787120" y="706804"/>
                  <a:pt x="679488" y="741094"/>
                </a:cubicBezTo>
                <a:cubicBezTo>
                  <a:pt x="592810" y="769669"/>
                  <a:pt x="497560" y="803006"/>
                  <a:pt x="412787" y="837296"/>
                </a:cubicBezTo>
                <a:cubicBezTo>
                  <a:pt x="378498" y="850631"/>
                  <a:pt x="356590" y="877301"/>
                  <a:pt x="355637" y="917306"/>
                </a:cubicBezTo>
                <a:cubicBezTo>
                  <a:pt x="354685" y="972551"/>
                  <a:pt x="350875" y="1025891"/>
                  <a:pt x="337540" y="1080184"/>
                </a:cubicBezTo>
                <a:cubicBezTo>
                  <a:pt x="322300" y="1141144"/>
                  <a:pt x="331825" y="1204961"/>
                  <a:pt x="323253" y="1267826"/>
                </a:cubicBezTo>
                <a:cubicBezTo>
                  <a:pt x="310870" y="1364981"/>
                  <a:pt x="279438" y="1459279"/>
                  <a:pt x="286105" y="1558339"/>
                </a:cubicBezTo>
                <a:cubicBezTo>
                  <a:pt x="288010" y="1587866"/>
                  <a:pt x="282295" y="1618346"/>
                  <a:pt x="277533" y="1647874"/>
                </a:cubicBezTo>
                <a:cubicBezTo>
                  <a:pt x="273723" y="1668829"/>
                  <a:pt x="263245" y="1688831"/>
                  <a:pt x="256578" y="1709786"/>
                </a:cubicBezTo>
                <a:cubicBezTo>
                  <a:pt x="251815" y="1726931"/>
                  <a:pt x="239432" y="1749791"/>
                  <a:pt x="246100" y="1762174"/>
                </a:cubicBezTo>
                <a:cubicBezTo>
                  <a:pt x="267055" y="1806941"/>
                  <a:pt x="249910" y="1849804"/>
                  <a:pt x="248005" y="1892666"/>
                </a:cubicBezTo>
                <a:cubicBezTo>
                  <a:pt x="247053" y="1908859"/>
                  <a:pt x="243242" y="1924099"/>
                  <a:pt x="242290" y="1940291"/>
                </a:cubicBezTo>
                <a:cubicBezTo>
                  <a:pt x="238480" y="2059354"/>
                  <a:pt x="234670" y="2178416"/>
                  <a:pt x="230860" y="2296526"/>
                </a:cubicBezTo>
                <a:cubicBezTo>
                  <a:pt x="229907" y="2315576"/>
                  <a:pt x="225145" y="2334626"/>
                  <a:pt x="225145" y="2352724"/>
                </a:cubicBezTo>
                <a:cubicBezTo>
                  <a:pt x="225145" y="2382251"/>
                  <a:pt x="222288" y="2414636"/>
                  <a:pt x="231813" y="2441306"/>
                </a:cubicBezTo>
                <a:cubicBezTo>
                  <a:pt x="241338" y="2468929"/>
                  <a:pt x="243242" y="2493694"/>
                  <a:pt x="238480" y="2520364"/>
                </a:cubicBezTo>
                <a:cubicBezTo>
                  <a:pt x="233717" y="2543224"/>
                  <a:pt x="228003" y="2567036"/>
                  <a:pt x="221335" y="2589896"/>
                </a:cubicBezTo>
                <a:cubicBezTo>
                  <a:pt x="212763" y="2617519"/>
                  <a:pt x="217525" y="2640379"/>
                  <a:pt x="228003" y="2667049"/>
                </a:cubicBezTo>
                <a:cubicBezTo>
                  <a:pt x="248005" y="2716579"/>
                  <a:pt x="262293" y="2766109"/>
                  <a:pt x="237528" y="2822306"/>
                </a:cubicBezTo>
                <a:cubicBezTo>
                  <a:pt x="211810" y="2880409"/>
                  <a:pt x="194665" y="2943274"/>
                  <a:pt x="171805" y="3010901"/>
                </a:cubicBezTo>
                <a:cubicBezTo>
                  <a:pt x="160375" y="3015664"/>
                  <a:pt x="142277" y="3022331"/>
                  <a:pt x="125132" y="3028999"/>
                </a:cubicBezTo>
                <a:cubicBezTo>
                  <a:pt x="113702" y="3057574"/>
                  <a:pt x="107035" y="3084244"/>
                  <a:pt x="93700" y="3107104"/>
                </a:cubicBezTo>
                <a:cubicBezTo>
                  <a:pt x="61315" y="3159491"/>
                  <a:pt x="40360" y="3218546"/>
                  <a:pt x="27025" y="3277601"/>
                </a:cubicBezTo>
                <a:cubicBezTo>
                  <a:pt x="19405" y="3312844"/>
                  <a:pt x="28930" y="3349991"/>
                  <a:pt x="19405" y="3385234"/>
                </a:cubicBezTo>
                <a:cubicBezTo>
                  <a:pt x="-1550" y="3460481"/>
                  <a:pt x="9880" y="3535729"/>
                  <a:pt x="13690" y="3611929"/>
                </a:cubicBezTo>
                <a:cubicBezTo>
                  <a:pt x="15595" y="3650029"/>
                  <a:pt x="14642" y="3687176"/>
                  <a:pt x="23215" y="3724324"/>
                </a:cubicBezTo>
                <a:cubicBezTo>
                  <a:pt x="30835" y="3759566"/>
                  <a:pt x="45122" y="3794809"/>
                  <a:pt x="83222" y="3803381"/>
                </a:cubicBezTo>
                <a:cubicBezTo>
                  <a:pt x="118465" y="3811001"/>
                  <a:pt x="155613" y="3813859"/>
                  <a:pt x="190855" y="3811001"/>
                </a:cubicBezTo>
                <a:cubicBezTo>
                  <a:pt x="206095" y="3810049"/>
                  <a:pt x="222288" y="3807191"/>
                  <a:pt x="237528" y="3805286"/>
                </a:cubicBezTo>
                <a:cubicBezTo>
                  <a:pt x="269913" y="3796714"/>
                  <a:pt x="317537" y="3787189"/>
                  <a:pt x="327062" y="3796714"/>
                </a:cubicBezTo>
                <a:cubicBezTo>
                  <a:pt x="384212" y="3882439"/>
                  <a:pt x="327062" y="3987214"/>
                  <a:pt x="320395" y="4089131"/>
                </a:cubicBezTo>
                <a:cubicBezTo>
                  <a:pt x="318490" y="4106276"/>
                  <a:pt x="316585" y="4122469"/>
                  <a:pt x="314680" y="4139614"/>
                </a:cubicBezTo>
                <a:cubicBezTo>
                  <a:pt x="313728" y="4147234"/>
                  <a:pt x="312775" y="4154854"/>
                  <a:pt x="311823" y="4163426"/>
                </a:cubicBezTo>
                <a:cubicBezTo>
                  <a:pt x="308013" y="4244389"/>
                  <a:pt x="269913" y="4330114"/>
                  <a:pt x="279438" y="4415839"/>
                </a:cubicBezTo>
                <a:cubicBezTo>
                  <a:pt x="279438" y="4434889"/>
                  <a:pt x="298488" y="4444414"/>
                  <a:pt x="317537" y="4444414"/>
                </a:cubicBezTo>
                <a:cubicBezTo>
                  <a:pt x="308013" y="4453939"/>
                  <a:pt x="298488" y="4463464"/>
                  <a:pt x="286105" y="4481561"/>
                </a:cubicBezTo>
                <a:cubicBezTo>
                  <a:pt x="282295" y="4488229"/>
                  <a:pt x="279438" y="4494896"/>
                  <a:pt x="277533" y="4502516"/>
                </a:cubicBezTo>
                <a:cubicBezTo>
                  <a:pt x="269913" y="4523471"/>
                  <a:pt x="266103" y="4546331"/>
                  <a:pt x="260388" y="4569191"/>
                </a:cubicBezTo>
                <a:cubicBezTo>
                  <a:pt x="248005" y="4620626"/>
                  <a:pt x="219430" y="4656821"/>
                  <a:pt x="173710" y="4682539"/>
                </a:cubicBezTo>
                <a:cubicBezTo>
                  <a:pt x="152755" y="4693969"/>
                  <a:pt x="132752" y="4707304"/>
                  <a:pt x="111797" y="4718734"/>
                </a:cubicBezTo>
                <a:cubicBezTo>
                  <a:pt x="85127" y="4733021"/>
                  <a:pt x="71792" y="4753976"/>
                  <a:pt x="79412" y="4791124"/>
                </a:cubicBezTo>
                <a:cubicBezTo>
                  <a:pt x="96557" y="4797791"/>
                  <a:pt x="116560" y="4812079"/>
                  <a:pt x="136563" y="4813031"/>
                </a:cubicBezTo>
                <a:cubicBezTo>
                  <a:pt x="185140" y="4815889"/>
                  <a:pt x="234670" y="4817794"/>
                  <a:pt x="283248" y="4812079"/>
                </a:cubicBezTo>
                <a:cubicBezTo>
                  <a:pt x="309918" y="4809221"/>
                  <a:pt x="338493" y="4794934"/>
                  <a:pt x="358495" y="4777789"/>
                </a:cubicBezTo>
                <a:cubicBezTo>
                  <a:pt x="384212" y="4754929"/>
                  <a:pt x="407073" y="4749214"/>
                  <a:pt x="440410" y="4756834"/>
                </a:cubicBezTo>
                <a:cubicBezTo>
                  <a:pt x="492798" y="4769216"/>
                  <a:pt x="544233" y="4761596"/>
                  <a:pt x="594715" y="4730164"/>
                </a:cubicBezTo>
                <a:cubicBezTo>
                  <a:pt x="600430" y="4663489"/>
                  <a:pt x="610908" y="4595861"/>
                  <a:pt x="611860" y="4528234"/>
                </a:cubicBezTo>
                <a:cubicBezTo>
                  <a:pt x="612813" y="4487276"/>
                  <a:pt x="619480" y="4452986"/>
                  <a:pt x="650913" y="4437746"/>
                </a:cubicBezTo>
                <a:cubicBezTo>
                  <a:pt x="657580" y="4434889"/>
                  <a:pt x="664248" y="4432031"/>
                  <a:pt x="672820" y="4431079"/>
                </a:cubicBezTo>
                <a:cubicBezTo>
                  <a:pt x="692823" y="4372976"/>
                  <a:pt x="704252" y="4312969"/>
                  <a:pt x="716635" y="4253914"/>
                </a:cubicBezTo>
                <a:cubicBezTo>
                  <a:pt x="718540" y="4245341"/>
                  <a:pt x="720445" y="4236769"/>
                  <a:pt x="721398" y="4228196"/>
                </a:cubicBezTo>
                <a:cubicBezTo>
                  <a:pt x="724255" y="4145329"/>
                  <a:pt x="735685" y="4063414"/>
                  <a:pt x="755688" y="3985309"/>
                </a:cubicBezTo>
                <a:cubicBezTo>
                  <a:pt x="757593" y="3977689"/>
                  <a:pt x="759498" y="3970069"/>
                  <a:pt x="762355" y="3962449"/>
                </a:cubicBezTo>
                <a:cubicBezTo>
                  <a:pt x="782358" y="3845291"/>
                  <a:pt x="782358" y="3740516"/>
                  <a:pt x="826173" y="3636694"/>
                </a:cubicBezTo>
                <a:cubicBezTo>
                  <a:pt x="827125" y="3629074"/>
                  <a:pt x="828077" y="3620501"/>
                  <a:pt x="829983" y="3612881"/>
                </a:cubicBezTo>
                <a:cubicBezTo>
                  <a:pt x="831888" y="3596689"/>
                  <a:pt x="834745" y="3580496"/>
                  <a:pt x="836650" y="3565256"/>
                </a:cubicBezTo>
                <a:cubicBezTo>
                  <a:pt x="848080" y="3483341"/>
                  <a:pt x="867130" y="3402379"/>
                  <a:pt x="867130" y="3320464"/>
                </a:cubicBezTo>
                <a:cubicBezTo>
                  <a:pt x="866177" y="3209974"/>
                  <a:pt x="900468" y="3106151"/>
                  <a:pt x="915708" y="2997566"/>
                </a:cubicBezTo>
                <a:cubicBezTo>
                  <a:pt x="926185" y="3008044"/>
                  <a:pt x="932852" y="3019474"/>
                  <a:pt x="936663" y="3032809"/>
                </a:cubicBezTo>
                <a:cubicBezTo>
                  <a:pt x="952855" y="3087101"/>
                  <a:pt x="955713" y="3141394"/>
                  <a:pt x="949998" y="3197591"/>
                </a:cubicBezTo>
                <a:cubicBezTo>
                  <a:pt x="946188" y="3239501"/>
                  <a:pt x="945235" y="3283316"/>
                  <a:pt x="949045" y="3325226"/>
                </a:cubicBezTo>
                <a:cubicBezTo>
                  <a:pt x="957618" y="3409999"/>
                  <a:pt x="976668" y="3494771"/>
                  <a:pt x="980477" y="3579544"/>
                </a:cubicBezTo>
                <a:cubicBezTo>
                  <a:pt x="986193" y="3701464"/>
                  <a:pt x="981430" y="3824336"/>
                  <a:pt x="983335" y="3946256"/>
                </a:cubicBezTo>
                <a:cubicBezTo>
                  <a:pt x="984288" y="3999596"/>
                  <a:pt x="990002" y="4053889"/>
                  <a:pt x="989050" y="4107229"/>
                </a:cubicBezTo>
                <a:cubicBezTo>
                  <a:pt x="988098" y="4152949"/>
                  <a:pt x="985240" y="4198669"/>
                  <a:pt x="976668" y="4243436"/>
                </a:cubicBezTo>
                <a:cubicBezTo>
                  <a:pt x="975715" y="4251056"/>
                  <a:pt x="973810" y="4258676"/>
                  <a:pt x="971905" y="4266296"/>
                </a:cubicBezTo>
                <a:cubicBezTo>
                  <a:pt x="970000" y="4273916"/>
                  <a:pt x="968095" y="4281536"/>
                  <a:pt x="966190" y="4288204"/>
                </a:cubicBezTo>
                <a:cubicBezTo>
                  <a:pt x="971905" y="4389169"/>
                  <a:pt x="943330" y="4493944"/>
                  <a:pt x="961427" y="4595861"/>
                </a:cubicBezTo>
                <a:cubicBezTo>
                  <a:pt x="965238" y="4603481"/>
                  <a:pt x="970000" y="4611101"/>
                  <a:pt x="974763" y="4618721"/>
                </a:cubicBezTo>
                <a:cubicBezTo>
                  <a:pt x="989050" y="4640629"/>
                  <a:pt x="1005243" y="4666346"/>
                  <a:pt x="1007148" y="4692064"/>
                </a:cubicBezTo>
                <a:cubicBezTo>
                  <a:pt x="1010958" y="4733021"/>
                  <a:pt x="1028102" y="4756834"/>
                  <a:pt x="1070013" y="4767311"/>
                </a:cubicBezTo>
                <a:cubicBezTo>
                  <a:pt x="1065250" y="4803506"/>
                  <a:pt x="1085253" y="4816841"/>
                  <a:pt x="1116685" y="4820651"/>
                </a:cubicBezTo>
                <a:cubicBezTo>
                  <a:pt x="1122400" y="4821604"/>
                  <a:pt x="1128115" y="4825414"/>
                  <a:pt x="1133830" y="4827319"/>
                </a:cubicBezTo>
                <a:cubicBezTo>
                  <a:pt x="1150023" y="4827319"/>
                  <a:pt x="1165263" y="4827319"/>
                  <a:pt x="1181455" y="4827319"/>
                </a:cubicBezTo>
                <a:cubicBezTo>
                  <a:pt x="1206220" y="4824461"/>
                  <a:pt x="1230985" y="4821604"/>
                  <a:pt x="1255750" y="4818746"/>
                </a:cubicBezTo>
                <a:cubicBezTo>
                  <a:pt x="1291945" y="4814936"/>
                  <a:pt x="1303375" y="4802554"/>
                  <a:pt x="1298613" y="4766359"/>
                </a:cubicBezTo>
                <a:cubicBezTo>
                  <a:pt x="1295755" y="4743499"/>
                  <a:pt x="1291945" y="4718734"/>
                  <a:pt x="1281468" y="4697779"/>
                </a:cubicBezTo>
                <a:cubicBezTo>
                  <a:pt x="1266228" y="4667299"/>
                  <a:pt x="1264323" y="4637771"/>
                  <a:pt x="1270038" y="4605386"/>
                </a:cubicBezTo>
                <a:cubicBezTo>
                  <a:pt x="1290993" y="4485371"/>
                  <a:pt x="1310995" y="4365356"/>
                  <a:pt x="1330998" y="4244389"/>
                </a:cubicBezTo>
                <a:cubicBezTo>
                  <a:pt x="1330998" y="4242484"/>
                  <a:pt x="1331950" y="4241531"/>
                  <a:pt x="1331950" y="4239626"/>
                </a:cubicBezTo>
                <a:cubicBezTo>
                  <a:pt x="1339570" y="4126279"/>
                  <a:pt x="1348143" y="4011979"/>
                  <a:pt x="1352905" y="3898631"/>
                </a:cubicBezTo>
                <a:cubicBezTo>
                  <a:pt x="1356715" y="3819574"/>
                  <a:pt x="1364335" y="3742421"/>
                  <a:pt x="1384338" y="3664316"/>
                </a:cubicBezTo>
                <a:cubicBezTo>
                  <a:pt x="1412913" y="3550969"/>
                  <a:pt x="1439582" y="3436669"/>
                  <a:pt x="1441488" y="3318559"/>
                </a:cubicBezTo>
                <a:cubicBezTo>
                  <a:pt x="1443393" y="3217594"/>
                  <a:pt x="1450060" y="3115676"/>
                  <a:pt x="1457680" y="3014711"/>
                </a:cubicBezTo>
                <a:cubicBezTo>
                  <a:pt x="1465300" y="2901364"/>
                  <a:pt x="1476730" y="2788016"/>
                  <a:pt x="1485303" y="2673716"/>
                </a:cubicBezTo>
                <a:cubicBezTo>
                  <a:pt x="1488160" y="2640379"/>
                  <a:pt x="1486255" y="2607041"/>
                  <a:pt x="1488160" y="2573704"/>
                </a:cubicBezTo>
                <a:cubicBezTo>
                  <a:pt x="1489113" y="2551796"/>
                  <a:pt x="1491970" y="2528936"/>
                  <a:pt x="1497685" y="2507981"/>
                </a:cubicBezTo>
                <a:cubicBezTo>
                  <a:pt x="1500543" y="2497504"/>
                  <a:pt x="1511973" y="2480359"/>
                  <a:pt x="1519593" y="2480359"/>
                </a:cubicBezTo>
                <a:cubicBezTo>
                  <a:pt x="1552930" y="2480359"/>
                  <a:pt x="1560550" y="2455594"/>
                  <a:pt x="1573885" y="2434639"/>
                </a:cubicBezTo>
                <a:cubicBezTo>
                  <a:pt x="1581505" y="2422256"/>
                  <a:pt x="1589125" y="2409874"/>
                  <a:pt x="1599603" y="2400349"/>
                </a:cubicBezTo>
                <a:cubicBezTo>
                  <a:pt x="1639607" y="2367011"/>
                  <a:pt x="1656753" y="2322244"/>
                  <a:pt x="1662468" y="2271761"/>
                </a:cubicBezTo>
                <a:cubicBezTo>
                  <a:pt x="1668182" y="2223184"/>
                  <a:pt x="1685328" y="2175559"/>
                  <a:pt x="1671040" y="2126029"/>
                </a:cubicBezTo>
                <a:cubicBezTo>
                  <a:pt x="1670088" y="2121266"/>
                  <a:pt x="1671040" y="2116504"/>
                  <a:pt x="1671993" y="2111741"/>
                </a:cubicBezTo>
                <a:cubicBezTo>
                  <a:pt x="1686280" y="2062211"/>
                  <a:pt x="1697710" y="2010776"/>
                  <a:pt x="1708188" y="1960294"/>
                </a:cubicBezTo>
                <a:close/>
                <a:moveTo>
                  <a:pt x="284200" y="2927081"/>
                </a:moveTo>
                <a:cubicBezTo>
                  <a:pt x="297535" y="2890886"/>
                  <a:pt x="308965" y="2857549"/>
                  <a:pt x="321348" y="2824211"/>
                </a:cubicBezTo>
                <a:cubicBezTo>
                  <a:pt x="324205" y="2824211"/>
                  <a:pt x="327062" y="2824211"/>
                  <a:pt x="328968" y="2825164"/>
                </a:cubicBezTo>
                <a:cubicBezTo>
                  <a:pt x="331825" y="2859454"/>
                  <a:pt x="334683" y="2893744"/>
                  <a:pt x="337540" y="2930891"/>
                </a:cubicBezTo>
                <a:cubicBezTo>
                  <a:pt x="318490" y="2928986"/>
                  <a:pt x="303250" y="2928034"/>
                  <a:pt x="284200" y="2927081"/>
                </a:cubicBezTo>
                <a:close/>
                <a:moveTo>
                  <a:pt x="391833" y="2454641"/>
                </a:moveTo>
                <a:cubicBezTo>
                  <a:pt x="345160" y="2454641"/>
                  <a:pt x="303250" y="2454641"/>
                  <a:pt x="262293" y="2454641"/>
                </a:cubicBezTo>
                <a:cubicBezTo>
                  <a:pt x="246100" y="2407016"/>
                  <a:pt x="249910" y="2400349"/>
                  <a:pt x="288963" y="2388919"/>
                </a:cubicBezTo>
                <a:cubicBezTo>
                  <a:pt x="326110" y="2377489"/>
                  <a:pt x="360400" y="2380346"/>
                  <a:pt x="401358" y="2401301"/>
                </a:cubicBezTo>
                <a:cubicBezTo>
                  <a:pt x="398500" y="2421304"/>
                  <a:pt x="394690" y="2439401"/>
                  <a:pt x="391833" y="2454641"/>
                </a:cubicBezTo>
                <a:close/>
                <a:moveTo>
                  <a:pt x="422312" y="2628949"/>
                </a:moveTo>
                <a:cubicBezTo>
                  <a:pt x="419455" y="2603231"/>
                  <a:pt x="416598" y="2585134"/>
                  <a:pt x="414693" y="2566084"/>
                </a:cubicBezTo>
                <a:cubicBezTo>
                  <a:pt x="412787" y="2544176"/>
                  <a:pt x="409930" y="2522269"/>
                  <a:pt x="408978" y="2500361"/>
                </a:cubicBezTo>
                <a:cubicBezTo>
                  <a:pt x="408025" y="2489884"/>
                  <a:pt x="405168" y="2473691"/>
                  <a:pt x="410883" y="2468929"/>
                </a:cubicBezTo>
                <a:cubicBezTo>
                  <a:pt x="439458" y="2443211"/>
                  <a:pt x="439458" y="2407016"/>
                  <a:pt x="448030" y="2374631"/>
                </a:cubicBezTo>
                <a:cubicBezTo>
                  <a:pt x="449935" y="2457499"/>
                  <a:pt x="455650" y="2540366"/>
                  <a:pt x="422312" y="2628949"/>
                </a:cubicBezTo>
                <a:close/>
                <a:moveTo>
                  <a:pt x="814743" y="1037321"/>
                </a:moveTo>
                <a:cubicBezTo>
                  <a:pt x="811885" y="1037321"/>
                  <a:pt x="809027" y="1037321"/>
                  <a:pt x="806170" y="1037321"/>
                </a:cubicBezTo>
                <a:cubicBezTo>
                  <a:pt x="802360" y="977314"/>
                  <a:pt x="797598" y="917306"/>
                  <a:pt x="793788" y="857299"/>
                </a:cubicBezTo>
                <a:cubicBezTo>
                  <a:pt x="796645" y="856346"/>
                  <a:pt x="799502" y="855394"/>
                  <a:pt x="802360" y="854441"/>
                </a:cubicBezTo>
                <a:cubicBezTo>
                  <a:pt x="816648" y="869681"/>
                  <a:pt x="831888" y="884921"/>
                  <a:pt x="849033" y="903971"/>
                </a:cubicBezTo>
                <a:cubicBezTo>
                  <a:pt x="854748" y="895399"/>
                  <a:pt x="858558" y="889684"/>
                  <a:pt x="862368" y="883969"/>
                </a:cubicBezTo>
                <a:cubicBezTo>
                  <a:pt x="869988" y="875396"/>
                  <a:pt x="877608" y="865871"/>
                  <a:pt x="885227" y="857299"/>
                </a:cubicBezTo>
                <a:cubicBezTo>
                  <a:pt x="887133" y="858251"/>
                  <a:pt x="889990" y="860156"/>
                  <a:pt x="891895" y="861109"/>
                </a:cubicBezTo>
                <a:cubicBezTo>
                  <a:pt x="865225" y="920164"/>
                  <a:pt x="839508" y="978266"/>
                  <a:pt x="814743" y="1037321"/>
                </a:cubicBezTo>
                <a:close/>
                <a:moveTo>
                  <a:pt x="860463" y="883969"/>
                </a:moveTo>
                <a:cubicBezTo>
                  <a:pt x="813790" y="868729"/>
                  <a:pt x="803313" y="825866"/>
                  <a:pt x="796645" y="786814"/>
                </a:cubicBezTo>
                <a:cubicBezTo>
                  <a:pt x="789977" y="753476"/>
                  <a:pt x="795693" y="718234"/>
                  <a:pt x="795693" y="672514"/>
                </a:cubicBezTo>
                <a:cubicBezTo>
                  <a:pt x="837602" y="702041"/>
                  <a:pt x="870940" y="725854"/>
                  <a:pt x="901420" y="747761"/>
                </a:cubicBezTo>
                <a:cubicBezTo>
                  <a:pt x="886180" y="796339"/>
                  <a:pt x="873798" y="840154"/>
                  <a:pt x="860463" y="883969"/>
                </a:cubicBezTo>
                <a:close/>
                <a:moveTo>
                  <a:pt x="985240" y="1052561"/>
                </a:moveTo>
                <a:cubicBezTo>
                  <a:pt x="983335" y="1051609"/>
                  <a:pt x="981430" y="1051609"/>
                  <a:pt x="979525" y="1050656"/>
                </a:cubicBezTo>
                <a:cubicBezTo>
                  <a:pt x="976668" y="989696"/>
                  <a:pt x="973810" y="928736"/>
                  <a:pt x="970952" y="869681"/>
                </a:cubicBezTo>
                <a:cubicBezTo>
                  <a:pt x="979525" y="882064"/>
                  <a:pt x="988098" y="896351"/>
                  <a:pt x="999527" y="913496"/>
                </a:cubicBezTo>
                <a:cubicBezTo>
                  <a:pt x="1012863" y="903019"/>
                  <a:pt x="1024293" y="895399"/>
                  <a:pt x="1044295" y="880159"/>
                </a:cubicBezTo>
                <a:cubicBezTo>
                  <a:pt x="1022388" y="943024"/>
                  <a:pt x="1003338" y="997316"/>
                  <a:pt x="985240" y="1052561"/>
                </a:cubicBezTo>
                <a:close/>
                <a:moveTo>
                  <a:pt x="1001433" y="888731"/>
                </a:moveTo>
                <a:cubicBezTo>
                  <a:pt x="982383" y="845869"/>
                  <a:pt x="963333" y="804911"/>
                  <a:pt x="942377" y="758239"/>
                </a:cubicBezTo>
                <a:cubicBezTo>
                  <a:pt x="997623" y="715376"/>
                  <a:pt x="1050963" y="674419"/>
                  <a:pt x="1104303" y="632509"/>
                </a:cubicBezTo>
                <a:cubicBezTo>
                  <a:pt x="1124305" y="682039"/>
                  <a:pt x="1071918" y="815389"/>
                  <a:pt x="1001433" y="888731"/>
                </a:cubicBezTo>
                <a:close/>
                <a:moveTo>
                  <a:pt x="1510068" y="2456546"/>
                </a:moveTo>
                <a:cubicBezTo>
                  <a:pt x="1469110" y="2403206"/>
                  <a:pt x="1430057" y="2352724"/>
                  <a:pt x="1388148" y="2296526"/>
                </a:cubicBezTo>
                <a:cubicBezTo>
                  <a:pt x="1473873" y="2307004"/>
                  <a:pt x="1508163" y="2367011"/>
                  <a:pt x="1543405" y="2432734"/>
                </a:cubicBezTo>
                <a:cubicBezTo>
                  <a:pt x="1531023" y="2441306"/>
                  <a:pt x="1521498" y="2447974"/>
                  <a:pt x="1510068" y="245654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ea typeface="08서울남산체 B" panose="02020603020101020101" pitchFamily="18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7A64480-E8C9-4B87-AFF9-A39848298AC6}"/>
              </a:ext>
            </a:extLst>
          </p:cNvPr>
          <p:cNvSpPr txBox="1"/>
          <p:nvPr/>
        </p:nvSpPr>
        <p:spPr>
          <a:xfrm>
            <a:off x="5614083" y="1715280"/>
            <a:ext cx="49769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숫자카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휴카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프리미엄 카드 등 다양한 혜택과 컨셉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비스를 기반으로 카드를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제공하고 있음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용카드는 총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2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종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체크카드는 총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6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종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39D446F-4E17-4D53-93D4-DC3485A8D1AF}"/>
              </a:ext>
            </a:extLst>
          </p:cNvPr>
          <p:cNvSpPr txBox="1"/>
          <p:nvPr/>
        </p:nvSpPr>
        <p:spPr>
          <a:xfrm>
            <a:off x="6221978" y="5290550"/>
            <a:ext cx="49769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2020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년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5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월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점차 업그레이드 되는 숫자카드를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‘Version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up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4 U’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라는 슬로건으로 홍보하였음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 최근에는 보고플레이와 협업하여 중소상공인과 상생하는 프로젝트를 진행하며 긍정적 기업 이미지를 공고히 하고자 함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 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68A1D33-8D4A-4C58-BEC9-5DF184AF0A7E}"/>
              </a:ext>
            </a:extLst>
          </p:cNvPr>
          <p:cNvSpPr txBox="1"/>
          <p:nvPr/>
        </p:nvSpPr>
        <p:spPr>
          <a:xfrm>
            <a:off x="6221979" y="4100466"/>
            <a:ext cx="49769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강남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하남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경기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의정부 등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3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곳에 고객서비스센터를 두고 있으며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서울 중구에 본사가 있음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또한 신세계백화점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이마트 </a:t>
            </a:r>
            <a:r>
              <a:rPr lang="ko-KR" altLang="en-US" sz="16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트레이더스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,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</a:t>
            </a:r>
            <a:r>
              <a:rPr lang="ko-KR" altLang="en-US" sz="16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다이소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등과 제휴하여 서비스를 제공</a:t>
            </a:r>
            <a:endParaRPr lang="en-US" altLang="ko-KR" sz="1600" dirty="0">
              <a:latin typeface="08서울남산체 B" panose="02020603020101020101" pitchFamily="18" charset="-127"/>
              <a:ea typeface="08서울남산체 B" panose="02020603020101020101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5A5E851-A852-4678-B2D7-DD10B56921DB}"/>
              </a:ext>
            </a:extLst>
          </p:cNvPr>
          <p:cNvSpPr txBox="1"/>
          <p:nvPr/>
        </p:nvSpPr>
        <p:spPr>
          <a:xfrm>
            <a:off x="6221979" y="2779715"/>
            <a:ext cx="49769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신용카드는 최소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7000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원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카카오뱅크 삼성카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부터 최대 약 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100000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원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(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삼성카드 </a:t>
            </a:r>
            <a:r>
              <a:rPr lang="ko-KR" altLang="en-US" sz="1600" dirty="0" err="1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스페셜마일리지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 카드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)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까지 카드 종류에 따라 다양한 연회비 분포를 보임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 </a:t>
            </a:r>
            <a:r>
              <a:rPr lang="ko-KR" altLang="en-US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체크카드의 경우 연회비 없음</a:t>
            </a:r>
            <a:r>
              <a:rPr lang="en-US" altLang="ko-KR" sz="1600" dirty="0">
                <a:latin typeface="08서울남산체 B" panose="02020603020101020101" pitchFamily="18" charset="-127"/>
                <a:ea typeface="08서울남산체 B" panose="02020603020101020101" pitchFamily="18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7729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s Slide Master">
  <a:themeElements>
    <a:clrScheme name="2019-Business pla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EBEE4"/>
      </a:accent1>
      <a:accent2>
        <a:srgbClr val="4CD6B0"/>
      </a:accent2>
      <a:accent3>
        <a:srgbClr val="98DC56"/>
      </a:accent3>
      <a:accent4>
        <a:srgbClr val="5EBEE4"/>
      </a:accent4>
      <a:accent5>
        <a:srgbClr val="4CD6B0"/>
      </a:accent5>
      <a:accent6>
        <a:srgbClr val="98DC56"/>
      </a:accent6>
      <a:hlink>
        <a:srgbClr val="BFBFBF"/>
      </a:hlink>
      <a:folHlink>
        <a:srgbClr val="BFBFB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s Slide Master">
  <a:themeElements>
    <a:clrScheme name="ALLPPT -COLOR 12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AAF40"/>
      </a:accent1>
      <a:accent2>
        <a:srgbClr val="F07624"/>
      </a:accent2>
      <a:accent3>
        <a:srgbClr val="E62949"/>
      </a:accent3>
      <a:accent4>
        <a:srgbClr val="2A78BD"/>
      </a:accent4>
      <a:accent5>
        <a:srgbClr val="379153"/>
      </a:accent5>
      <a:accent6>
        <a:srgbClr val="59595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ver and End Slide Master">
  <a:themeElements>
    <a:clrScheme name="2019-Business pla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EBEE4"/>
      </a:accent1>
      <a:accent2>
        <a:srgbClr val="4CD6B0"/>
      </a:accent2>
      <a:accent3>
        <a:srgbClr val="98DC56"/>
      </a:accent3>
      <a:accent4>
        <a:srgbClr val="5EBEE4"/>
      </a:accent4>
      <a:accent5>
        <a:srgbClr val="4CD6B0"/>
      </a:accent5>
      <a:accent6>
        <a:srgbClr val="98DC56"/>
      </a:accent6>
      <a:hlink>
        <a:srgbClr val="BFBFBF"/>
      </a:hlink>
      <a:folHlink>
        <a:srgbClr val="BFBFB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 Slide Master">
  <a:themeElements>
    <a:clrScheme name="ALLPPT-COLOR-A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76B1D1"/>
      </a:accent1>
      <a:accent2>
        <a:srgbClr val="A0C358"/>
      </a:accent2>
      <a:accent3>
        <a:srgbClr val="F3C04A"/>
      </a:accent3>
      <a:accent4>
        <a:srgbClr val="F26D9A"/>
      </a:accent4>
      <a:accent5>
        <a:srgbClr val="57687C"/>
      </a:accent5>
      <a:accent6>
        <a:srgbClr val="CBCBCB"/>
      </a:accent6>
      <a:hlink>
        <a:srgbClr val="3F3F3F"/>
      </a:hlink>
      <a:folHlink>
        <a:srgbClr val="3F3F3F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</TotalTime>
  <Words>4328</Words>
  <Application>Microsoft Office PowerPoint</Application>
  <PresentationFormat>와이드스크린</PresentationFormat>
  <Paragraphs>553</Paragraphs>
  <Slides>61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1</vt:i4>
      </vt:variant>
    </vt:vector>
  </HeadingPairs>
  <TitlesOfParts>
    <vt:vector size="78" baseType="lpstr">
      <vt:lpstr>맑은 고딕</vt:lpstr>
      <vt:lpstr>Calibri</vt:lpstr>
      <vt:lpstr>Arial Unicode MS</vt:lpstr>
      <vt:lpstr>Times New Roman</vt:lpstr>
      <vt:lpstr>Arial</vt:lpstr>
      <vt:lpstr>서울남산 장체 B</vt:lpstr>
      <vt:lpstr>Segoe UI Light</vt:lpstr>
      <vt:lpstr>Segoe UI</vt:lpstr>
      <vt:lpstr>서울남산 장체 EB</vt:lpstr>
      <vt:lpstr>08서울남산체 B</vt:lpstr>
      <vt:lpstr>서울남산체 B</vt:lpstr>
      <vt:lpstr>Wingdings</vt:lpstr>
      <vt:lpstr>Contents Slide Master</vt:lpstr>
      <vt:lpstr>2_Contents Slide Master</vt:lpstr>
      <vt:lpstr>Cover and End Slide Master</vt:lpstr>
      <vt:lpstr>1_Contents Slide Master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연령대 EDA 코드</vt:lpstr>
      <vt:lpstr>스코어 EDA 코드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K-Means 결과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워드 클라우드 키워드 분석</vt:lpstr>
      <vt:lpstr>워드 클라우드 키워드 분석</vt:lpstr>
      <vt:lpstr>PowerPoint 프레젠테이션</vt:lpstr>
      <vt:lpstr>PowerPoint 프레젠테이션</vt:lpstr>
      <vt:lpstr>PowerPoint 프레젠테이션</vt:lpstr>
      <vt:lpstr>Promotion: 브이로그 제작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은지</dc:creator>
  <cp:lastModifiedBy>이 은지</cp:lastModifiedBy>
  <cp:revision>48</cp:revision>
  <dcterms:created xsi:type="dcterms:W3CDTF">2020-11-06T09:38:08Z</dcterms:created>
  <dcterms:modified xsi:type="dcterms:W3CDTF">2020-11-10T06:14:22Z</dcterms:modified>
</cp:coreProperties>
</file>